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22.xml" ContentType="application/vnd.openxmlformats-officedocument.presentationml.tags+xml"/>
  <Override PartName="/ppt/notesSlides/notesSlide1.xml" ContentType="application/vnd.openxmlformats-officedocument.presentationml.notesSlide+xml"/>
  <Override PartName="/ppt/comments/modernComment_7FFFD99B_59F31B75.xml" ContentType="application/vnd.ms-powerpoint.comments+xml"/>
  <Override PartName="/ppt/tags/tag23.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50"/>
  </p:notesMasterIdLst>
  <p:handoutMasterIdLst>
    <p:handoutMasterId r:id="rId51"/>
  </p:handoutMasterIdLst>
  <p:sldIdLst>
    <p:sldId id="517" r:id="rId5"/>
    <p:sldId id="519" r:id="rId6"/>
    <p:sldId id="256" r:id="rId7"/>
    <p:sldId id="2147473817" r:id="rId8"/>
    <p:sldId id="556" r:id="rId9"/>
    <p:sldId id="2147473816" r:id="rId10"/>
    <p:sldId id="2147473819" r:id="rId11"/>
    <p:sldId id="2147473822" r:id="rId12"/>
    <p:sldId id="2147473824" r:id="rId13"/>
    <p:sldId id="526" r:id="rId14"/>
    <p:sldId id="2147473828" r:id="rId15"/>
    <p:sldId id="2147473829" r:id="rId16"/>
    <p:sldId id="2147473837" r:id="rId17"/>
    <p:sldId id="2147473835" r:id="rId18"/>
    <p:sldId id="2147473836" r:id="rId19"/>
    <p:sldId id="2147473825" r:id="rId20"/>
    <p:sldId id="2147473826" r:id="rId21"/>
    <p:sldId id="2147473843" r:id="rId22"/>
    <p:sldId id="2147473827" r:id="rId23"/>
    <p:sldId id="2147473830" r:id="rId24"/>
    <p:sldId id="2147473831" r:id="rId25"/>
    <p:sldId id="2147473832" r:id="rId26"/>
    <p:sldId id="2147473833" r:id="rId27"/>
    <p:sldId id="2147473834" r:id="rId28"/>
    <p:sldId id="2147473844" r:id="rId29"/>
    <p:sldId id="559" r:id="rId30"/>
    <p:sldId id="2147473849" r:id="rId31"/>
    <p:sldId id="2147473839" r:id="rId32"/>
    <p:sldId id="2147473840" r:id="rId33"/>
    <p:sldId id="2147473813" r:id="rId34"/>
    <p:sldId id="2147473812" r:id="rId35"/>
    <p:sldId id="2147473848" r:id="rId36"/>
    <p:sldId id="529" r:id="rId37"/>
    <p:sldId id="554" r:id="rId38"/>
    <p:sldId id="2147473807" r:id="rId39"/>
    <p:sldId id="2147473808" r:id="rId40"/>
    <p:sldId id="2147473845" r:id="rId41"/>
    <p:sldId id="2147473846" r:id="rId42"/>
    <p:sldId id="2147473847" r:id="rId43"/>
    <p:sldId id="531" r:id="rId44"/>
    <p:sldId id="2147473805" r:id="rId45"/>
    <p:sldId id="2147473804" r:id="rId46"/>
    <p:sldId id="552" r:id="rId47"/>
    <p:sldId id="2147473798" r:id="rId48"/>
    <p:sldId id="275" r:id="rId49"/>
  </p:sldIdLst>
  <p:sldSz cx="12192000" cy="6858000"/>
  <p:notesSz cx="6858000" cy="9144000"/>
  <p:custDataLst>
    <p:tags r:id="rId52"/>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D9AE064F-75D5-98AB-966F-5436E9984DBE}" name="Katharina Jacobi" initials="KJ" userId="S::katharina.jacobi@sensirion.com::76f3eb18-7ccc-4302-b788-668f75c1b81d" providerId="AD"/>
  <p188:author id="{6D10F889-EC19-54D0-1C66-F3692EC08252}" name="Kaitlin Howell" initials="KH" userId="S::kaitlin.howell@sensirion.com::f2d8a676-ee0b-4f40-8538-127748faa483" providerId="AD"/>
  <p188:author id="{F88FCADA-5A6C-F5F1-0A4F-A53024C33477}" name="David Kenneth" initials="DK" userId="S::david.kenneth@sensirion.com::d0824040-db21-42f7-b42e-bcd6844b4c04" providerId="AD"/>
</p188:authorLst>
</file>

<file path=ppt/presProps.xml><?xml version="1.0" encoding="utf-8"?>
<p:presentationPr xmlns:a="http://schemas.openxmlformats.org/drawingml/2006/main" xmlns:r="http://schemas.openxmlformats.org/officeDocument/2006/relationships" xmlns:p="http://schemas.openxmlformats.org/presentationml/2006/main">
  <p:prnPr scaleToFitPaper="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66CC33"/>
    <a:srgbClr val="BDBDBD"/>
    <a:srgbClr val="FFFFFF"/>
    <a:srgbClr val="004494"/>
    <a:srgbClr val="EEEEEE"/>
    <a:srgbClr val="2F4A68"/>
    <a:srgbClr val="7F9CB6"/>
    <a:srgbClr val="666666"/>
    <a:srgbClr val="A3E085"/>
    <a:srgbClr val="616161"/>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2708F65-D774-26CD-1E90-00ECFB5C3F70}" v="338" dt="2025-09-15T16:29:48.220"/>
    <p1510:client id="{96803F5B-96FC-47B5-8028-FB5BEFD81B98}" v="6" dt="2025-09-15T14:14:50.516"/>
    <p1510:client id="{99420C2B-C4CE-4BE3-812B-18599A4DF3A6}" v="110" dt="2025-09-15T14:49:04.035"/>
  </p1510:revLst>
</p1510:revInfo>
</file>

<file path=ppt/tableStyles.xml><?xml version="1.0" encoding="utf-8"?>
<a:tblStyleLst xmlns:a="http://schemas.openxmlformats.org/drawingml/2006/main" def="{69012ECD-51FC-41F1-AA8D-1B2483CD663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slideViewPr>
    <p:cSldViewPr snapToGrid="0">
      <p:cViewPr>
        <p:scale>
          <a:sx n="1" d="2"/>
          <a:sy n="1" d="2"/>
        </p:scale>
        <p:origin x="0" y="0"/>
      </p:cViewPr>
      <p:guideLst/>
    </p:cSldViewPr>
  </p:slide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notesMaster" Target="notesMasters/notesMaster1.xml"/><Relationship Id="rId55" Type="http://schemas.openxmlformats.org/officeDocument/2006/relationships/theme" Target="theme/theme1.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presProps" Target="presProps.xml"/><Relationship Id="rId58" Type="http://schemas.microsoft.com/office/2015/10/relationships/revisionInfo" Target="revisionInfo.xml"/><Relationship Id="rId5" Type="http://schemas.openxmlformats.org/officeDocument/2006/relationships/slide" Target="slides/slide1.xml"/><Relationship Id="rId19" Type="http://schemas.openxmlformats.org/officeDocument/2006/relationships/slide" Target="slides/slide15.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tableStyles" Target="tableStyles.xml"/><Relationship Id="rId8" Type="http://schemas.openxmlformats.org/officeDocument/2006/relationships/slide" Target="slides/slide4.xml"/><Relationship Id="rId51" Type="http://schemas.openxmlformats.org/officeDocument/2006/relationships/handoutMaster" Target="handoutMasters/handoutMaster1.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microsoft.com/office/2018/10/relationships/authors" Target="authors.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microsoft.com/office/2016/11/relationships/changesInfo" Target="changesInfos/changesInfo1.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tags" Target="tags/tag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Gary Mcnelly" userId="S::gary.mcnelly@sensirion.com::d1641cab-75f6-41fd-9815-3a526b9e46a5" providerId="AD" clId="Web-{DD65011B-1392-1470-13A9-54DCF7D59BEA}"/>
    <pc:docChg chg="addSld modSld">
      <pc:chgData name="Gary Mcnelly" userId="S::gary.mcnelly@sensirion.com::d1641cab-75f6-41fd-9815-3a526b9e46a5" providerId="AD" clId="Web-{DD65011B-1392-1470-13A9-54DCF7D59BEA}" dt="2025-09-08T17:53:24" v="1393" actId="20577"/>
      <pc:docMkLst>
        <pc:docMk/>
      </pc:docMkLst>
      <pc:sldChg chg="addSp delSp modSp">
        <pc:chgData name="Gary Mcnelly" userId="S::gary.mcnelly@sensirion.com::d1641cab-75f6-41fd-9815-3a526b9e46a5" providerId="AD" clId="Web-{DD65011B-1392-1470-13A9-54DCF7D59BEA}" dt="2025-09-08T17:46:21.570" v="687" actId="20577"/>
        <pc:sldMkLst>
          <pc:docMk/>
          <pc:sldMk cId="862353196" sldId="559"/>
        </pc:sldMkLst>
        <pc:spChg chg="mod">
          <ac:chgData name="Gary Mcnelly" userId="S::gary.mcnelly@sensirion.com::d1641cab-75f6-41fd-9815-3a526b9e46a5" providerId="AD" clId="Web-{DD65011B-1392-1470-13A9-54DCF7D59BEA}" dt="2025-09-08T17:46:21.570" v="687" actId="20577"/>
          <ac:spMkLst>
            <pc:docMk/>
            <pc:sldMk cId="862353196" sldId="559"/>
            <ac:spMk id="3" creationId="{F31BB8A2-2BA0-6F48-17EE-D7B9187C95A0}"/>
          </ac:spMkLst>
        </pc:spChg>
        <pc:spChg chg="mod">
          <ac:chgData name="Gary Mcnelly" userId="S::gary.mcnelly@sensirion.com::d1641cab-75f6-41fd-9815-3a526b9e46a5" providerId="AD" clId="Web-{DD65011B-1392-1470-13A9-54DCF7D59BEA}" dt="2025-09-08T17:33:47.820" v="12" actId="20577"/>
          <ac:spMkLst>
            <pc:docMk/>
            <pc:sldMk cId="862353196" sldId="559"/>
            <ac:spMk id="4" creationId="{E36B2B36-A22C-1873-A23E-571931F61B4D}"/>
          </ac:spMkLst>
        </pc:spChg>
        <pc:picChg chg="add mod">
          <ac:chgData name="Gary Mcnelly" userId="S::gary.mcnelly@sensirion.com::d1641cab-75f6-41fd-9815-3a526b9e46a5" providerId="AD" clId="Web-{DD65011B-1392-1470-13A9-54DCF7D59BEA}" dt="2025-09-08T17:45:43.053" v="670" actId="14100"/>
          <ac:picMkLst>
            <pc:docMk/>
            <pc:sldMk cId="862353196" sldId="559"/>
            <ac:picMk id="7" creationId="{2AC3F9C2-9CB0-B895-D7BA-906D57694EA6}"/>
          </ac:picMkLst>
        </pc:picChg>
      </pc:sldChg>
      <pc:sldChg chg="delSp modSp new">
        <pc:chgData name="Gary Mcnelly" userId="S::gary.mcnelly@sensirion.com::d1641cab-75f6-41fd-9815-3a526b9e46a5" providerId="AD" clId="Web-{DD65011B-1392-1470-13A9-54DCF7D59BEA}" dt="2025-09-08T17:46:54.883" v="716"/>
        <pc:sldMkLst>
          <pc:docMk/>
          <pc:sldMk cId="2745731834" sldId="2147473839"/>
        </pc:sldMkLst>
        <pc:spChg chg="mod">
          <ac:chgData name="Gary Mcnelly" userId="S::gary.mcnelly@sensirion.com::d1641cab-75f6-41fd-9815-3a526b9e46a5" providerId="AD" clId="Web-{DD65011B-1392-1470-13A9-54DCF7D59BEA}" dt="2025-09-08T17:46:50.383" v="715" actId="20577"/>
          <ac:spMkLst>
            <pc:docMk/>
            <pc:sldMk cId="2745731834" sldId="2147473839"/>
            <ac:spMk id="4" creationId="{77A43E9D-4E46-D56D-0B66-603E5DA09111}"/>
          </ac:spMkLst>
        </pc:spChg>
      </pc:sldChg>
      <pc:sldChg chg="delSp modSp new">
        <pc:chgData name="Gary Mcnelly" userId="S::gary.mcnelly@sensirion.com::d1641cab-75f6-41fd-9815-3a526b9e46a5" providerId="AD" clId="Web-{DD65011B-1392-1470-13A9-54DCF7D59BEA}" dt="2025-09-08T17:47:19.586" v="746"/>
        <pc:sldMkLst>
          <pc:docMk/>
          <pc:sldMk cId="929474867" sldId="2147473840"/>
        </pc:sldMkLst>
        <pc:spChg chg="mod">
          <ac:chgData name="Gary Mcnelly" userId="S::gary.mcnelly@sensirion.com::d1641cab-75f6-41fd-9815-3a526b9e46a5" providerId="AD" clId="Web-{DD65011B-1392-1470-13A9-54DCF7D59BEA}" dt="2025-09-08T17:47:11.367" v="745" actId="20577"/>
          <ac:spMkLst>
            <pc:docMk/>
            <pc:sldMk cId="929474867" sldId="2147473840"/>
            <ac:spMk id="4" creationId="{0E620590-1F7B-67E7-D6E6-9E36805D3FBF}"/>
          </ac:spMkLst>
        </pc:spChg>
      </pc:sldChg>
      <pc:sldChg chg="delSp modSp new">
        <pc:chgData name="Gary Mcnelly" userId="S::gary.mcnelly@sensirion.com::d1641cab-75f6-41fd-9815-3a526b9e46a5" providerId="AD" clId="Web-{DD65011B-1392-1470-13A9-54DCF7D59BEA}" dt="2025-09-08T17:53:24" v="1393" actId="20577"/>
        <pc:sldMkLst>
          <pc:docMk/>
          <pc:sldMk cId="3612533062" sldId="2147473841"/>
        </pc:sldMkLst>
      </pc:sldChg>
    </pc:docChg>
  </pc:docChgLst>
  <pc:docChgLst>
    <pc:chgData name="Katie Pflanz" userId="845eba84-3e5d-4f97-8ebe-e6c0a73342f9" providerId="ADAL" clId="{7A9D4245-1854-4DE5-9437-E05A05C1F3F7}"/>
    <pc:docChg chg="undo custSel modSld">
      <pc:chgData name="Katie Pflanz" userId="845eba84-3e5d-4f97-8ebe-e6c0a73342f9" providerId="ADAL" clId="{7A9D4245-1854-4DE5-9437-E05A05C1F3F7}" dt="2025-09-04T20:00:33.858" v="214" actId="20577"/>
      <pc:docMkLst>
        <pc:docMk/>
      </pc:docMkLst>
      <pc:sldChg chg="delSp modSp mod">
        <pc:chgData name="Katie Pflanz" userId="845eba84-3e5d-4f97-8ebe-e6c0a73342f9" providerId="ADAL" clId="{7A9D4245-1854-4DE5-9437-E05A05C1F3F7}" dt="2025-09-04T20:00:33.858" v="214" actId="20577"/>
        <pc:sldMkLst>
          <pc:docMk/>
          <pc:sldMk cId="734946971" sldId="2147473805"/>
        </pc:sldMkLst>
        <pc:spChg chg="mod">
          <ac:chgData name="Katie Pflanz" userId="845eba84-3e5d-4f97-8ebe-e6c0a73342f9" providerId="ADAL" clId="{7A9D4245-1854-4DE5-9437-E05A05C1F3F7}" dt="2025-09-04T20:00:33.858" v="214" actId="20577"/>
          <ac:spMkLst>
            <pc:docMk/>
            <pc:sldMk cId="734946971" sldId="2147473805"/>
            <ac:spMk id="3" creationId="{ECB68D42-AA55-68E5-8C2F-301E1DE1AC07}"/>
          </ac:spMkLst>
        </pc:spChg>
      </pc:sldChg>
    </pc:docChg>
  </pc:docChgLst>
  <pc:docChgLst>
    <pc:chgData name="Katie Pflanz" userId="S::katie.pflanz@sensirion.com::845eba84-3e5d-4f97-8ebe-e6c0a73342f9" providerId="AD" clId="Web-{1D634419-5D48-BAEE-CAA7-595AEED08C87}"/>
    <pc:docChg chg="modSld">
      <pc:chgData name="Katie Pflanz" userId="S::katie.pflanz@sensirion.com::845eba84-3e5d-4f97-8ebe-e6c0a73342f9" providerId="AD" clId="Web-{1D634419-5D48-BAEE-CAA7-595AEED08C87}" dt="2025-09-04T15:46:51.293" v="79" actId="20577"/>
      <pc:docMkLst>
        <pc:docMk/>
      </pc:docMkLst>
      <pc:sldChg chg="modSp">
        <pc:chgData name="Katie Pflanz" userId="S::katie.pflanz@sensirion.com::845eba84-3e5d-4f97-8ebe-e6c0a73342f9" providerId="AD" clId="Web-{1D634419-5D48-BAEE-CAA7-595AEED08C87}" dt="2025-09-04T15:46:51.293" v="79" actId="20577"/>
        <pc:sldMkLst>
          <pc:docMk/>
          <pc:sldMk cId="3262814712" sldId="556"/>
        </pc:sldMkLst>
        <pc:spChg chg="mod">
          <ac:chgData name="Katie Pflanz" userId="S::katie.pflanz@sensirion.com::845eba84-3e5d-4f97-8ebe-e6c0a73342f9" providerId="AD" clId="Web-{1D634419-5D48-BAEE-CAA7-595AEED08C87}" dt="2025-09-04T15:46:51.293" v="79" actId="20577"/>
          <ac:spMkLst>
            <pc:docMk/>
            <pc:sldMk cId="3262814712" sldId="556"/>
            <ac:spMk id="3" creationId="{9B076291-C646-6F39-DC78-623F507153DA}"/>
          </ac:spMkLst>
        </pc:spChg>
      </pc:sldChg>
    </pc:docChg>
  </pc:docChgLst>
  <pc:docChgLst>
    <pc:chgData name="Theresa Tesch" userId="02b376b8-6da7-485c-aa4f-6574a5771292" providerId="ADAL" clId="{00358FD1-B0D6-4D33-93BE-1D079DE9C85D}"/>
    <pc:docChg chg="modSld">
      <pc:chgData name="Theresa Tesch" userId="02b376b8-6da7-485c-aa4f-6574a5771292" providerId="ADAL" clId="{00358FD1-B0D6-4D33-93BE-1D079DE9C85D}" dt="2024-06-03T20:15:07.835" v="35" actId="6549"/>
      <pc:docMkLst>
        <pc:docMk/>
      </pc:docMkLst>
      <pc:sldChg chg="modSp mod">
        <pc:chgData name="Theresa Tesch" userId="02b376b8-6da7-485c-aa4f-6574a5771292" providerId="ADAL" clId="{00358FD1-B0D6-4D33-93BE-1D079DE9C85D}" dt="2024-06-03T20:15:07.835" v="35" actId="6549"/>
        <pc:sldMkLst>
          <pc:docMk/>
          <pc:sldMk cId="3814279874" sldId="517"/>
        </pc:sldMkLst>
      </pc:sldChg>
    </pc:docChg>
  </pc:docChgLst>
  <pc:docChgLst>
    <pc:chgData name="Holger Oswald" userId="S::holger.oswald@sensirion.com::88bb7036-742f-4c0f-9642-8942c7f8ab59" providerId="AD" clId="Web-{6443336F-34AC-5081-1D50-F78C8905E404}"/>
    <pc:docChg chg="addSld modSld">
      <pc:chgData name="Holger Oswald" userId="S::holger.oswald@sensirion.com::88bb7036-742f-4c0f-9642-8942c7f8ab59" providerId="AD" clId="Web-{6443336F-34AC-5081-1D50-F78C8905E404}" dt="2025-06-02T19:17:00.354" v="894" actId="20577"/>
      <pc:docMkLst>
        <pc:docMk/>
      </pc:docMkLst>
      <pc:sldChg chg="modSp">
        <pc:chgData name="Holger Oswald" userId="S::holger.oswald@sensirion.com::88bb7036-742f-4c0f-9642-8942c7f8ab59" providerId="AD" clId="Web-{6443336F-34AC-5081-1D50-F78C8905E404}" dt="2025-06-02T18:06:47.692" v="9" actId="20577"/>
        <pc:sldMkLst>
          <pc:docMk/>
          <pc:sldMk cId="1979916858" sldId="520"/>
        </pc:sldMkLst>
      </pc:sldChg>
      <pc:sldChg chg="modSp">
        <pc:chgData name="Holger Oswald" userId="S::holger.oswald@sensirion.com::88bb7036-742f-4c0f-9642-8942c7f8ab59" providerId="AD" clId="Web-{6443336F-34AC-5081-1D50-F78C8905E404}" dt="2025-06-02T18:11:03.058" v="68" actId="20577"/>
        <pc:sldMkLst>
          <pc:docMk/>
          <pc:sldMk cId="3198713874" sldId="530"/>
        </pc:sldMkLst>
      </pc:sldChg>
      <pc:sldChg chg="modSp">
        <pc:chgData name="Holger Oswald" userId="S::holger.oswald@sensirion.com::88bb7036-742f-4c0f-9642-8942c7f8ab59" providerId="AD" clId="Web-{6443336F-34AC-5081-1D50-F78C8905E404}" dt="2025-06-02T19:17:00.354" v="894" actId="20577"/>
        <pc:sldMkLst>
          <pc:docMk/>
          <pc:sldMk cId="532939883" sldId="551"/>
        </pc:sldMkLst>
      </pc:sldChg>
      <pc:sldChg chg="modSp">
        <pc:chgData name="Holger Oswald" userId="S::holger.oswald@sensirion.com::88bb7036-742f-4c0f-9642-8942c7f8ab59" providerId="AD" clId="Web-{6443336F-34AC-5081-1D50-F78C8905E404}" dt="2025-06-02T18:11:33.152" v="79" actId="20577"/>
        <pc:sldMkLst>
          <pc:docMk/>
          <pc:sldMk cId="599990803" sldId="554"/>
        </pc:sldMkLst>
      </pc:sldChg>
      <pc:sldChg chg="modSp">
        <pc:chgData name="Holger Oswald" userId="S::holger.oswald@sensirion.com::88bb7036-742f-4c0f-9642-8942c7f8ab59" providerId="AD" clId="Web-{6443336F-34AC-5081-1D50-F78C8905E404}" dt="2025-06-02T18:13:48.046" v="83" actId="20577"/>
        <pc:sldMkLst>
          <pc:docMk/>
          <pc:sldMk cId="3251696456" sldId="555"/>
        </pc:sldMkLst>
      </pc:sldChg>
      <pc:sldChg chg="modSp">
        <pc:chgData name="Holger Oswald" userId="S::holger.oswald@sensirion.com::88bb7036-742f-4c0f-9642-8942c7f8ab59" providerId="AD" clId="Web-{6443336F-34AC-5081-1D50-F78C8905E404}" dt="2025-06-02T18:08:01.303" v="37" actId="20577"/>
        <pc:sldMkLst>
          <pc:docMk/>
          <pc:sldMk cId="2575625968" sldId="557"/>
        </pc:sldMkLst>
      </pc:sldChg>
      <pc:sldChg chg="modSp">
        <pc:chgData name="Holger Oswald" userId="S::holger.oswald@sensirion.com::88bb7036-742f-4c0f-9642-8942c7f8ab59" providerId="AD" clId="Web-{6443336F-34AC-5081-1D50-F78C8905E404}" dt="2025-06-02T18:10:05.869" v="42" actId="20577"/>
        <pc:sldMkLst>
          <pc:docMk/>
          <pc:sldMk cId="3747614006" sldId="558"/>
        </pc:sldMkLst>
      </pc:sldChg>
      <pc:sldChg chg="modSp">
        <pc:chgData name="Holger Oswald" userId="S::holger.oswald@sensirion.com::88bb7036-742f-4c0f-9642-8942c7f8ab59" providerId="AD" clId="Web-{6443336F-34AC-5081-1D50-F78C8905E404}" dt="2025-06-02T18:10:22.744" v="54" actId="20577"/>
        <pc:sldMkLst>
          <pc:docMk/>
          <pc:sldMk cId="862353196" sldId="559"/>
        </pc:sldMkLst>
      </pc:sldChg>
      <pc:sldChg chg="addSp delSp modSp addAnim">
        <pc:chgData name="Holger Oswald" userId="S::holger.oswald@sensirion.com::88bb7036-742f-4c0f-9642-8942c7f8ab59" providerId="AD" clId="Web-{6443336F-34AC-5081-1D50-F78C8905E404}" dt="2025-06-02T18:58:30.983" v="355" actId="1076"/>
        <pc:sldMkLst>
          <pc:docMk/>
          <pc:sldMk cId="2472500051" sldId="2147473799"/>
        </pc:sldMkLst>
      </pc:sldChg>
      <pc:sldChg chg="addSp delSp modSp new">
        <pc:chgData name="Holger Oswald" userId="S::holger.oswald@sensirion.com::88bb7036-742f-4c0f-9642-8942c7f8ab59" providerId="AD" clId="Web-{6443336F-34AC-5081-1D50-F78C8905E404}" dt="2025-06-02T19:08:01.864" v="645" actId="20577"/>
        <pc:sldMkLst>
          <pc:docMk/>
          <pc:sldMk cId="3161528132" sldId="2147473800"/>
        </pc:sldMkLst>
      </pc:sldChg>
    </pc:docChg>
  </pc:docChgLst>
  <pc:docChgLst>
    <pc:chgData name="Frank D'Aliesio" userId="S::frank.daliesio@sensirion.com::c7dd24c7-7507-4c93-8524-a1557a5a9c42" providerId="AD" clId="Web-{746DA057-A4EF-C38A-FEF7-250BFB931700}"/>
    <pc:docChg chg="addSld modSld">
      <pc:chgData name="Frank D'Aliesio" userId="S::frank.daliesio@sensirion.com::c7dd24c7-7507-4c93-8524-a1557a5a9c42" providerId="AD" clId="Web-{746DA057-A4EF-C38A-FEF7-250BFB931700}" dt="2025-06-02T22:13:26.225" v="468" actId="20577"/>
      <pc:docMkLst>
        <pc:docMk/>
      </pc:docMkLst>
      <pc:sldChg chg="add">
        <pc:chgData name="Frank D'Aliesio" userId="S::frank.daliesio@sensirion.com::c7dd24c7-7507-4c93-8524-a1557a5a9c42" providerId="AD" clId="Web-{746DA057-A4EF-C38A-FEF7-250BFB931700}" dt="2025-06-02T21:52:03.343" v="2"/>
        <pc:sldMkLst>
          <pc:docMk/>
          <pc:sldMk cId="1403519085" sldId="276"/>
        </pc:sldMkLst>
      </pc:sldChg>
      <pc:sldChg chg="add">
        <pc:chgData name="Frank D'Aliesio" userId="S::frank.daliesio@sensirion.com::c7dd24c7-7507-4c93-8524-a1557a5a9c42" providerId="AD" clId="Web-{746DA057-A4EF-C38A-FEF7-250BFB931700}" dt="2025-06-02T21:50:06.935" v="0"/>
        <pc:sldMkLst>
          <pc:docMk/>
          <pc:sldMk cId="333076940" sldId="280"/>
        </pc:sldMkLst>
      </pc:sldChg>
      <pc:sldChg chg="add">
        <pc:chgData name="Frank D'Aliesio" userId="S::frank.daliesio@sensirion.com::c7dd24c7-7507-4c93-8524-a1557a5a9c42" providerId="AD" clId="Web-{746DA057-A4EF-C38A-FEF7-250BFB931700}" dt="2025-06-02T21:51:33.218" v="1"/>
        <pc:sldMkLst>
          <pc:docMk/>
          <pc:sldMk cId="2327038745" sldId="256497"/>
        </pc:sldMkLst>
      </pc:sldChg>
      <pc:sldChg chg="add">
        <pc:chgData name="Frank D'Aliesio" userId="S::frank.daliesio@sensirion.com::c7dd24c7-7507-4c93-8524-a1557a5a9c42" providerId="AD" clId="Web-{746DA057-A4EF-C38A-FEF7-250BFB931700}" dt="2025-06-02T21:52:32.984" v="3"/>
        <pc:sldMkLst>
          <pc:docMk/>
          <pc:sldMk cId="2686450275" sldId="2147473801"/>
        </pc:sldMkLst>
      </pc:sldChg>
    </pc:docChg>
  </pc:docChgLst>
  <pc:docChgLst>
    <pc:chgData name="Bailee Day" userId="S::bailee.day@sensirion.com::9c79951e-f831-43a6-bf9e-142e58c76e2a" providerId="AD" clId="Web-{8D612CF7-9E9B-E4E4-BD58-BA333AB8AC38}"/>
    <pc:docChg chg="addSld modSld">
      <pc:chgData name="Bailee Day" userId="S::bailee.day@sensirion.com::9c79951e-f831-43a6-bf9e-142e58c76e2a" providerId="AD" clId="Web-{8D612CF7-9E9B-E4E4-BD58-BA333AB8AC38}" dt="2025-09-09T15:18:37.536" v="563" actId="20577"/>
      <pc:docMkLst>
        <pc:docMk/>
      </pc:docMkLst>
      <pc:sldChg chg="modSp">
        <pc:chgData name="Bailee Day" userId="S::bailee.day@sensirion.com::9c79951e-f831-43a6-bf9e-142e58c76e2a" providerId="AD" clId="Web-{8D612CF7-9E9B-E4E4-BD58-BA333AB8AC38}" dt="2025-09-09T15:18:37.536" v="563" actId="20577"/>
        <pc:sldMkLst>
          <pc:docMk/>
          <pc:sldMk cId="862353196" sldId="559"/>
        </pc:sldMkLst>
        <pc:spChg chg="mod">
          <ac:chgData name="Bailee Day" userId="S::bailee.day@sensirion.com::9c79951e-f831-43a6-bf9e-142e58c76e2a" providerId="AD" clId="Web-{8D612CF7-9E9B-E4E4-BD58-BA333AB8AC38}" dt="2025-09-09T15:18:37.536" v="563" actId="20577"/>
          <ac:spMkLst>
            <pc:docMk/>
            <pc:sldMk cId="862353196" sldId="559"/>
            <ac:spMk id="4" creationId="{E36B2B36-A22C-1873-A23E-571931F61B4D}"/>
          </ac:spMkLst>
        </pc:spChg>
      </pc:sldChg>
      <pc:sldChg chg="addSp delSp modSp">
        <pc:chgData name="Bailee Day" userId="S::bailee.day@sensirion.com::9c79951e-f831-43a6-bf9e-142e58c76e2a" providerId="AD" clId="Web-{8D612CF7-9E9B-E4E4-BD58-BA333AB8AC38}" dt="2025-09-08T20:18:19.596" v="347" actId="20577"/>
        <pc:sldMkLst>
          <pc:docMk/>
          <pc:sldMk cId="2667869995" sldId="2147473808"/>
        </pc:sldMkLst>
        <pc:spChg chg="mod">
          <ac:chgData name="Bailee Day" userId="S::bailee.day@sensirion.com::9c79951e-f831-43a6-bf9e-142e58c76e2a" providerId="AD" clId="Web-{8D612CF7-9E9B-E4E4-BD58-BA333AB8AC38}" dt="2025-09-08T20:06:31.414" v="200" actId="20577"/>
          <ac:spMkLst>
            <pc:docMk/>
            <pc:sldMk cId="2667869995" sldId="2147473808"/>
            <ac:spMk id="4" creationId="{CB987C38-E7E1-3571-4337-4DDCC3AEFC89}"/>
          </ac:spMkLst>
        </pc:spChg>
        <pc:spChg chg="add mod">
          <ac:chgData name="Bailee Day" userId="S::bailee.day@sensirion.com::9c79951e-f831-43a6-bf9e-142e58c76e2a" providerId="AD" clId="Web-{8D612CF7-9E9B-E4E4-BD58-BA333AB8AC38}" dt="2025-09-08T20:03:00.583" v="127" actId="1076"/>
          <ac:spMkLst>
            <pc:docMk/>
            <pc:sldMk cId="2667869995" sldId="2147473808"/>
            <ac:spMk id="8" creationId="{523DFA26-008D-4CCC-8DF9-2E2A9F936AA5}"/>
          </ac:spMkLst>
        </pc:spChg>
        <pc:spChg chg="add mod">
          <ac:chgData name="Bailee Day" userId="S::bailee.day@sensirion.com::9c79951e-f831-43a6-bf9e-142e58c76e2a" providerId="AD" clId="Web-{8D612CF7-9E9B-E4E4-BD58-BA333AB8AC38}" dt="2025-09-08T20:03:00.599" v="128" actId="1076"/>
          <ac:spMkLst>
            <pc:docMk/>
            <pc:sldMk cId="2667869995" sldId="2147473808"/>
            <ac:spMk id="9" creationId="{4FC032EB-85D7-5922-E7A3-69162DD01C35}"/>
          </ac:spMkLst>
        </pc:spChg>
        <pc:spChg chg="add mod">
          <ac:chgData name="Bailee Day" userId="S::bailee.day@sensirion.com::9c79951e-f831-43a6-bf9e-142e58c76e2a" providerId="AD" clId="Web-{8D612CF7-9E9B-E4E4-BD58-BA333AB8AC38}" dt="2025-09-08T20:03:00.614" v="129" actId="1076"/>
          <ac:spMkLst>
            <pc:docMk/>
            <pc:sldMk cId="2667869995" sldId="2147473808"/>
            <ac:spMk id="10" creationId="{4D8750B1-4E46-3C42-7B44-261084C58F9C}"/>
          </ac:spMkLst>
        </pc:spChg>
        <pc:spChg chg="add mod">
          <ac:chgData name="Bailee Day" userId="S::bailee.day@sensirion.com::9c79951e-f831-43a6-bf9e-142e58c76e2a" providerId="AD" clId="Web-{8D612CF7-9E9B-E4E4-BD58-BA333AB8AC38}" dt="2025-09-08T20:03:00.693" v="133" actId="1076"/>
          <ac:spMkLst>
            <pc:docMk/>
            <pc:sldMk cId="2667869995" sldId="2147473808"/>
            <ac:spMk id="14" creationId="{449758E2-3D89-C3ED-3EFF-4F61C028FF45}"/>
          </ac:spMkLst>
        </pc:spChg>
        <pc:spChg chg="add mod">
          <ac:chgData name="Bailee Day" userId="S::bailee.day@sensirion.com::9c79951e-f831-43a6-bf9e-142e58c76e2a" providerId="AD" clId="Web-{8D612CF7-9E9B-E4E4-BD58-BA333AB8AC38}" dt="2025-09-08T20:03:00.693" v="134" actId="1076"/>
          <ac:spMkLst>
            <pc:docMk/>
            <pc:sldMk cId="2667869995" sldId="2147473808"/>
            <ac:spMk id="15" creationId="{22748110-190E-56C5-7477-7758B2EC0ECE}"/>
          </ac:spMkLst>
        </pc:spChg>
        <pc:spChg chg="add mod">
          <ac:chgData name="Bailee Day" userId="S::bailee.day@sensirion.com::9c79951e-f831-43a6-bf9e-142e58c76e2a" providerId="AD" clId="Web-{8D612CF7-9E9B-E4E4-BD58-BA333AB8AC38}" dt="2025-09-08T20:03:00.755" v="137" actId="1076"/>
          <ac:spMkLst>
            <pc:docMk/>
            <pc:sldMk cId="2667869995" sldId="2147473808"/>
            <ac:spMk id="18" creationId="{ED1D0C31-A360-AFC4-FE80-53D376393586}"/>
          </ac:spMkLst>
        </pc:spChg>
        <pc:spChg chg="add mod">
          <ac:chgData name="Bailee Day" userId="S::bailee.day@sensirion.com::9c79951e-f831-43a6-bf9e-142e58c76e2a" providerId="AD" clId="Web-{8D612CF7-9E9B-E4E4-BD58-BA333AB8AC38}" dt="2025-09-08T20:03:00.771" v="138" actId="1076"/>
          <ac:spMkLst>
            <pc:docMk/>
            <pc:sldMk cId="2667869995" sldId="2147473808"/>
            <ac:spMk id="19" creationId="{CE384A52-ADC0-DDE2-5495-B11C2B104E25}"/>
          </ac:spMkLst>
        </pc:spChg>
        <pc:spChg chg="add mod">
          <ac:chgData name="Bailee Day" userId="S::bailee.day@sensirion.com::9c79951e-f831-43a6-bf9e-142e58c76e2a" providerId="AD" clId="Web-{8D612CF7-9E9B-E4E4-BD58-BA333AB8AC38}" dt="2025-09-08T20:04:56.632" v="171" actId="1076"/>
          <ac:spMkLst>
            <pc:docMk/>
            <pc:sldMk cId="2667869995" sldId="2147473808"/>
            <ac:spMk id="23" creationId="{80AC0DA4-F35E-160E-113D-4D4D73723E0B}"/>
          </ac:spMkLst>
        </pc:spChg>
        <pc:spChg chg="add mod">
          <ac:chgData name="Bailee Day" userId="S::bailee.day@sensirion.com::9c79951e-f831-43a6-bf9e-142e58c76e2a" providerId="AD" clId="Web-{8D612CF7-9E9B-E4E4-BD58-BA333AB8AC38}" dt="2025-09-08T20:04:32.725" v="163" actId="1076"/>
          <ac:spMkLst>
            <pc:docMk/>
            <pc:sldMk cId="2667869995" sldId="2147473808"/>
            <ac:spMk id="24" creationId="{048807D4-627F-CE0B-B162-B24EC2F9722A}"/>
          </ac:spMkLst>
        </pc:spChg>
        <pc:spChg chg="add mod">
          <ac:chgData name="Bailee Day" userId="S::bailee.day@sensirion.com::9c79951e-f831-43a6-bf9e-142e58c76e2a" providerId="AD" clId="Web-{8D612CF7-9E9B-E4E4-BD58-BA333AB8AC38}" dt="2025-09-08T20:04:11.522" v="158" actId="1076"/>
          <ac:spMkLst>
            <pc:docMk/>
            <pc:sldMk cId="2667869995" sldId="2147473808"/>
            <ac:spMk id="25" creationId="{22F12DE3-CE44-C77F-F54A-0A8B32EB4BD4}"/>
          </ac:spMkLst>
        </pc:spChg>
        <pc:spChg chg="add mod">
          <ac:chgData name="Bailee Day" userId="S::bailee.day@sensirion.com::9c79951e-f831-43a6-bf9e-142e58c76e2a" providerId="AD" clId="Web-{8D612CF7-9E9B-E4E4-BD58-BA333AB8AC38}" dt="2025-09-08T20:04:52.710" v="170" actId="1076"/>
          <ac:spMkLst>
            <pc:docMk/>
            <pc:sldMk cId="2667869995" sldId="2147473808"/>
            <ac:spMk id="26" creationId="{3A6837DE-2BDA-AD61-7F23-A5091312168C}"/>
          </ac:spMkLst>
        </pc:spChg>
        <pc:spChg chg="add mod">
          <ac:chgData name="Bailee Day" userId="S::bailee.day@sensirion.com::9c79951e-f831-43a6-bf9e-142e58c76e2a" providerId="AD" clId="Web-{8D612CF7-9E9B-E4E4-BD58-BA333AB8AC38}" dt="2025-09-08T20:05:36.507" v="181" actId="14100"/>
          <ac:spMkLst>
            <pc:docMk/>
            <pc:sldMk cId="2667869995" sldId="2147473808"/>
            <ac:spMk id="30" creationId="{45BF20A9-DEBC-C025-B825-999305E51221}"/>
          </ac:spMkLst>
        </pc:spChg>
        <pc:spChg chg="add mod">
          <ac:chgData name="Bailee Day" userId="S::bailee.day@sensirion.com::9c79951e-f831-43a6-bf9e-142e58c76e2a" providerId="AD" clId="Web-{8D612CF7-9E9B-E4E4-BD58-BA333AB8AC38}" dt="2025-09-08T20:15:24.437" v="307" actId="1076"/>
          <ac:spMkLst>
            <pc:docMk/>
            <pc:sldMk cId="2667869995" sldId="2147473808"/>
            <ac:spMk id="32" creationId="{CDD4520B-A066-09BC-E714-DE9C333E4CC5}"/>
          </ac:spMkLst>
        </pc:spChg>
        <pc:spChg chg="add mod">
          <ac:chgData name="Bailee Day" userId="S::bailee.day@sensirion.com::9c79951e-f831-43a6-bf9e-142e58c76e2a" providerId="AD" clId="Web-{8D612CF7-9E9B-E4E4-BD58-BA333AB8AC38}" dt="2025-09-08T20:15:48.219" v="316"/>
          <ac:spMkLst>
            <pc:docMk/>
            <pc:sldMk cId="2667869995" sldId="2147473808"/>
            <ac:spMk id="33" creationId="{9638B2E1-E450-42F7-807B-AEB886B67C4A}"/>
          </ac:spMkLst>
        </pc:spChg>
        <pc:spChg chg="add mod">
          <ac:chgData name="Bailee Day" userId="S::bailee.day@sensirion.com::9c79951e-f831-43a6-bf9e-142e58c76e2a" providerId="AD" clId="Web-{8D612CF7-9E9B-E4E4-BD58-BA333AB8AC38}" dt="2025-09-08T20:16:49.126" v="319" actId="14100"/>
          <ac:spMkLst>
            <pc:docMk/>
            <pc:sldMk cId="2667869995" sldId="2147473808"/>
            <ac:spMk id="34" creationId="{8DC407D8-0ABE-763A-54C5-9E382CB74CE6}"/>
          </ac:spMkLst>
        </pc:spChg>
        <pc:spChg chg="add mod">
          <ac:chgData name="Bailee Day" userId="S::bailee.day@sensirion.com::9c79951e-f831-43a6-bf9e-142e58c76e2a" providerId="AD" clId="Web-{8D612CF7-9E9B-E4E4-BD58-BA333AB8AC38}" dt="2025-09-08T20:17:14.048" v="330" actId="20577"/>
          <ac:spMkLst>
            <pc:docMk/>
            <pc:sldMk cId="2667869995" sldId="2147473808"/>
            <ac:spMk id="35" creationId="{2906A998-4921-793C-41BC-E509E02E0EFE}"/>
          </ac:spMkLst>
        </pc:spChg>
        <pc:spChg chg="add mod">
          <ac:chgData name="Bailee Day" userId="S::bailee.day@sensirion.com::9c79951e-f831-43a6-bf9e-142e58c76e2a" providerId="AD" clId="Web-{8D612CF7-9E9B-E4E4-BD58-BA333AB8AC38}" dt="2025-09-08T20:17:29.189" v="333" actId="14100"/>
          <ac:spMkLst>
            <pc:docMk/>
            <pc:sldMk cId="2667869995" sldId="2147473808"/>
            <ac:spMk id="36" creationId="{B1FBE401-AE66-0B4E-58FB-91DF3C4ED729}"/>
          </ac:spMkLst>
        </pc:spChg>
        <pc:spChg chg="add mod">
          <ac:chgData name="Bailee Day" userId="S::bailee.day@sensirion.com::9c79951e-f831-43a6-bf9e-142e58c76e2a" providerId="AD" clId="Web-{8D612CF7-9E9B-E4E4-BD58-BA333AB8AC38}" dt="2025-09-08T20:18:19.596" v="347" actId="20577"/>
          <ac:spMkLst>
            <pc:docMk/>
            <pc:sldMk cId="2667869995" sldId="2147473808"/>
            <ac:spMk id="39" creationId="{4BD143CB-1A39-2321-0C9A-7260A97C21B1}"/>
          </ac:spMkLst>
        </pc:spChg>
        <pc:picChg chg="add mod">
          <ac:chgData name="Bailee Day" userId="S::bailee.day@sensirion.com::9c79951e-f831-43a6-bf9e-142e58c76e2a" providerId="AD" clId="Web-{8D612CF7-9E9B-E4E4-BD58-BA333AB8AC38}" dt="2025-09-08T20:03:00.630" v="130" actId="1076"/>
          <ac:picMkLst>
            <pc:docMk/>
            <pc:sldMk cId="2667869995" sldId="2147473808"/>
            <ac:picMk id="11" creationId="{D3CF373E-0707-069E-A807-88631B21E12B}"/>
          </ac:picMkLst>
        </pc:picChg>
        <pc:picChg chg="add mod">
          <ac:chgData name="Bailee Day" userId="S::bailee.day@sensirion.com::9c79951e-f831-43a6-bf9e-142e58c76e2a" providerId="AD" clId="Web-{8D612CF7-9E9B-E4E4-BD58-BA333AB8AC38}" dt="2025-09-08T20:03:00.646" v="131" actId="1076"/>
          <ac:picMkLst>
            <pc:docMk/>
            <pc:sldMk cId="2667869995" sldId="2147473808"/>
            <ac:picMk id="12" creationId="{7C7AD1E4-6F94-24B9-46D8-D696394C6D84}"/>
          </ac:picMkLst>
        </pc:picChg>
        <pc:picChg chg="add mod">
          <ac:chgData name="Bailee Day" userId="S::bailee.day@sensirion.com::9c79951e-f831-43a6-bf9e-142e58c76e2a" providerId="AD" clId="Web-{8D612CF7-9E9B-E4E4-BD58-BA333AB8AC38}" dt="2025-09-08T20:03:00.677" v="132" actId="1076"/>
          <ac:picMkLst>
            <pc:docMk/>
            <pc:sldMk cId="2667869995" sldId="2147473808"/>
            <ac:picMk id="13" creationId="{659FFBA1-3321-7D92-A1B5-AA2C01C23C26}"/>
          </ac:picMkLst>
        </pc:picChg>
        <pc:picChg chg="add mod">
          <ac:chgData name="Bailee Day" userId="S::bailee.day@sensirion.com::9c79951e-f831-43a6-bf9e-142e58c76e2a" providerId="AD" clId="Web-{8D612CF7-9E9B-E4E4-BD58-BA333AB8AC38}" dt="2025-09-08T20:03:00.724" v="135" actId="1076"/>
          <ac:picMkLst>
            <pc:docMk/>
            <pc:sldMk cId="2667869995" sldId="2147473808"/>
            <ac:picMk id="16" creationId="{2658F00B-73F8-B3B0-82C8-409216343D2B}"/>
          </ac:picMkLst>
        </pc:picChg>
        <pc:picChg chg="add mod">
          <ac:chgData name="Bailee Day" userId="S::bailee.day@sensirion.com::9c79951e-f831-43a6-bf9e-142e58c76e2a" providerId="AD" clId="Web-{8D612CF7-9E9B-E4E4-BD58-BA333AB8AC38}" dt="2025-09-08T20:03:00.739" v="136" actId="1076"/>
          <ac:picMkLst>
            <pc:docMk/>
            <pc:sldMk cId="2667869995" sldId="2147473808"/>
            <ac:picMk id="17" creationId="{E333251C-FD7A-0686-FB2B-DD92E69D45C6}"/>
          </ac:picMkLst>
        </pc:picChg>
        <pc:picChg chg="add mod">
          <ac:chgData name="Bailee Day" userId="S::bailee.day@sensirion.com::9c79951e-f831-43a6-bf9e-142e58c76e2a" providerId="AD" clId="Web-{8D612CF7-9E9B-E4E4-BD58-BA333AB8AC38}" dt="2025-09-08T20:03:00.786" v="139" actId="1076"/>
          <ac:picMkLst>
            <pc:docMk/>
            <pc:sldMk cId="2667869995" sldId="2147473808"/>
            <ac:picMk id="20" creationId="{AA2E15CC-2EFB-7B7E-44CF-0F37943EBC48}"/>
          </ac:picMkLst>
        </pc:picChg>
        <pc:picChg chg="add mod">
          <ac:chgData name="Bailee Day" userId="S::bailee.day@sensirion.com::9c79951e-f831-43a6-bf9e-142e58c76e2a" providerId="AD" clId="Web-{8D612CF7-9E9B-E4E4-BD58-BA333AB8AC38}" dt="2025-09-08T20:03:00.802" v="140" actId="1076"/>
          <ac:picMkLst>
            <pc:docMk/>
            <pc:sldMk cId="2667869995" sldId="2147473808"/>
            <ac:picMk id="21" creationId="{7F33F36E-961E-640E-564B-476D52DF08D9}"/>
          </ac:picMkLst>
        </pc:picChg>
        <pc:picChg chg="add mod">
          <ac:chgData name="Bailee Day" userId="S::bailee.day@sensirion.com::9c79951e-f831-43a6-bf9e-142e58c76e2a" providerId="AD" clId="Web-{8D612CF7-9E9B-E4E4-BD58-BA333AB8AC38}" dt="2025-09-08T20:03:12.365" v="144" actId="14100"/>
          <ac:picMkLst>
            <pc:docMk/>
            <pc:sldMk cId="2667869995" sldId="2147473808"/>
            <ac:picMk id="22" creationId="{669BFEEA-5972-8349-E3DB-83C0CC8C53F1}"/>
          </ac:picMkLst>
        </pc:picChg>
        <pc:picChg chg="add mod">
          <ac:chgData name="Bailee Day" userId="S::bailee.day@sensirion.com::9c79951e-f831-43a6-bf9e-142e58c76e2a" providerId="AD" clId="Web-{8D612CF7-9E9B-E4E4-BD58-BA333AB8AC38}" dt="2025-09-08T20:04:07.600" v="157" actId="1076"/>
          <ac:picMkLst>
            <pc:docMk/>
            <pc:sldMk cId="2667869995" sldId="2147473808"/>
            <ac:picMk id="27" creationId="{E09D4D41-ED8F-5960-E582-1FF3CAFD00CE}"/>
          </ac:picMkLst>
        </pc:picChg>
        <pc:picChg chg="add mod">
          <ac:chgData name="Bailee Day" userId="S::bailee.day@sensirion.com::9c79951e-f831-43a6-bf9e-142e58c76e2a" providerId="AD" clId="Web-{8D612CF7-9E9B-E4E4-BD58-BA333AB8AC38}" dt="2025-09-08T20:04:29.381" v="162" actId="1076"/>
          <ac:picMkLst>
            <pc:docMk/>
            <pc:sldMk cId="2667869995" sldId="2147473808"/>
            <ac:picMk id="28" creationId="{EA9F8A30-E58E-0EA7-A06E-FD3B45158B3D}"/>
          </ac:picMkLst>
        </pc:picChg>
        <pc:picChg chg="add mod">
          <ac:chgData name="Bailee Day" userId="S::bailee.day@sensirion.com::9c79951e-f831-43a6-bf9e-142e58c76e2a" providerId="AD" clId="Web-{8D612CF7-9E9B-E4E4-BD58-BA333AB8AC38}" dt="2025-09-08T20:04:48.507" v="169" actId="1076"/>
          <ac:picMkLst>
            <pc:docMk/>
            <pc:sldMk cId="2667869995" sldId="2147473808"/>
            <ac:picMk id="29" creationId="{D576C72C-79C3-1BCC-825D-675685FC0391}"/>
          </ac:picMkLst>
        </pc:picChg>
        <pc:picChg chg="add mod">
          <ac:chgData name="Bailee Day" userId="S::bailee.day@sensirion.com::9c79951e-f831-43a6-bf9e-142e58c76e2a" providerId="AD" clId="Web-{8D612CF7-9E9B-E4E4-BD58-BA333AB8AC38}" dt="2025-09-08T20:05:28.585" v="179" actId="14100"/>
          <ac:picMkLst>
            <pc:docMk/>
            <pc:sldMk cId="2667869995" sldId="2147473808"/>
            <ac:picMk id="31" creationId="{B2386C08-ED82-4C25-402A-6D3916A95EE1}"/>
          </ac:picMkLst>
        </pc:picChg>
      </pc:sldChg>
      <pc:sldChg chg="modSp">
        <pc:chgData name="Bailee Day" userId="S::bailee.day@sensirion.com::9c79951e-f831-43a6-bf9e-142e58c76e2a" providerId="AD" clId="Web-{8D612CF7-9E9B-E4E4-BD58-BA333AB8AC38}" dt="2025-09-09T15:18:22.816" v="562"/>
        <pc:sldMkLst>
          <pc:docMk/>
          <pc:sldMk cId="3612533062" sldId="2147473841"/>
        </pc:sldMkLst>
      </pc:sldChg>
      <pc:sldChg chg="addSp delSp modSp new">
        <pc:chgData name="Bailee Day" userId="S::bailee.day@sensirion.com::9c79951e-f831-43a6-bf9e-142e58c76e2a" providerId="AD" clId="Web-{8D612CF7-9E9B-E4E4-BD58-BA333AB8AC38}" dt="2025-09-08T20:24:34.247" v="463" actId="20577"/>
        <pc:sldMkLst>
          <pc:docMk/>
          <pc:sldMk cId="805875931" sldId="2147473845"/>
        </pc:sldMkLst>
        <pc:spChg chg="mod">
          <ac:chgData name="Bailee Day" userId="S::bailee.day@sensirion.com::9c79951e-f831-43a6-bf9e-142e58c76e2a" providerId="AD" clId="Web-{8D612CF7-9E9B-E4E4-BD58-BA333AB8AC38}" dt="2025-09-08T20:24:34.247" v="463" actId="20577"/>
          <ac:spMkLst>
            <pc:docMk/>
            <pc:sldMk cId="805875931" sldId="2147473845"/>
            <ac:spMk id="4" creationId="{B152674B-5505-B621-4508-5FF0FBB0A8D6}"/>
          </ac:spMkLst>
        </pc:spChg>
        <pc:spChg chg="add mod">
          <ac:chgData name="Bailee Day" userId="S::bailee.day@sensirion.com::9c79951e-f831-43a6-bf9e-142e58c76e2a" providerId="AD" clId="Web-{8D612CF7-9E9B-E4E4-BD58-BA333AB8AC38}" dt="2025-09-08T20:11:00.168" v="257" actId="1076"/>
          <ac:spMkLst>
            <pc:docMk/>
            <pc:sldMk cId="805875931" sldId="2147473845"/>
            <ac:spMk id="7" creationId="{D0515778-2125-BBF5-3034-75B8FFF15891}"/>
          </ac:spMkLst>
        </pc:spChg>
        <pc:spChg chg="add mod">
          <ac:chgData name="Bailee Day" userId="S::bailee.day@sensirion.com::9c79951e-f831-43a6-bf9e-142e58c76e2a" providerId="AD" clId="Web-{8D612CF7-9E9B-E4E4-BD58-BA333AB8AC38}" dt="2025-09-08T20:11:00.184" v="258" actId="1076"/>
          <ac:spMkLst>
            <pc:docMk/>
            <pc:sldMk cId="805875931" sldId="2147473845"/>
            <ac:spMk id="8" creationId="{349D4D4D-89CE-355B-6E3C-C35A9F900682}"/>
          </ac:spMkLst>
        </pc:spChg>
        <pc:spChg chg="add mod">
          <ac:chgData name="Bailee Day" userId="S::bailee.day@sensirion.com::9c79951e-f831-43a6-bf9e-142e58c76e2a" providerId="AD" clId="Web-{8D612CF7-9E9B-E4E4-BD58-BA333AB8AC38}" dt="2025-09-08T20:11:00.199" v="259" actId="1076"/>
          <ac:spMkLst>
            <pc:docMk/>
            <pc:sldMk cId="805875931" sldId="2147473845"/>
            <ac:spMk id="9" creationId="{CA5BAB20-9275-EC8F-CB58-525FD6116E5F}"/>
          </ac:spMkLst>
        </pc:spChg>
        <pc:spChg chg="add mod">
          <ac:chgData name="Bailee Day" userId="S::bailee.day@sensirion.com::9c79951e-f831-43a6-bf9e-142e58c76e2a" providerId="AD" clId="Web-{8D612CF7-9E9B-E4E4-BD58-BA333AB8AC38}" dt="2025-09-08T20:11:00.293" v="263" actId="1076"/>
          <ac:spMkLst>
            <pc:docMk/>
            <pc:sldMk cId="805875931" sldId="2147473845"/>
            <ac:spMk id="14" creationId="{50E3DBE9-7DF3-7023-677C-7FF47ABB988C}"/>
          </ac:spMkLst>
        </pc:spChg>
        <pc:spChg chg="add mod">
          <ac:chgData name="Bailee Day" userId="S::bailee.day@sensirion.com::9c79951e-f831-43a6-bf9e-142e58c76e2a" providerId="AD" clId="Web-{8D612CF7-9E9B-E4E4-BD58-BA333AB8AC38}" dt="2025-09-08T20:11:00.293" v="264" actId="1076"/>
          <ac:spMkLst>
            <pc:docMk/>
            <pc:sldMk cId="805875931" sldId="2147473845"/>
            <ac:spMk id="15" creationId="{3C1A761B-6AC5-F7C8-86D1-E1B8748DDB5B}"/>
          </ac:spMkLst>
        </pc:spChg>
        <pc:spChg chg="add mod">
          <ac:chgData name="Bailee Day" userId="S::bailee.day@sensirion.com::9c79951e-f831-43a6-bf9e-142e58c76e2a" providerId="AD" clId="Web-{8D612CF7-9E9B-E4E4-BD58-BA333AB8AC38}" dt="2025-09-08T20:11:00.309" v="265" actId="1076"/>
          <ac:spMkLst>
            <pc:docMk/>
            <pc:sldMk cId="805875931" sldId="2147473845"/>
            <ac:spMk id="16" creationId="{8E8D3BDA-3079-AF90-5DAC-74173D0AD0EF}"/>
          </ac:spMkLst>
        </pc:spChg>
        <pc:spChg chg="add mod">
          <ac:chgData name="Bailee Day" userId="S::bailee.day@sensirion.com::9c79951e-f831-43a6-bf9e-142e58c76e2a" providerId="AD" clId="Web-{8D612CF7-9E9B-E4E4-BD58-BA333AB8AC38}" dt="2025-09-08T20:11:33.825" v="278" actId="1076"/>
          <ac:spMkLst>
            <pc:docMk/>
            <pc:sldMk cId="805875931" sldId="2147473845"/>
            <ac:spMk id="20" creationId="{D4F24571-CC2E-AFAD-5E43-A541D4C73381}"/>
          </ac:spMkLst>
        </pc:spChg>
        <pc:spChg chg="add mod">
          <ac:chgData name="Bailee Day" userId="S::bailee.day@sensirion.com::9c79951e-f831-43a6-bf9e-142e58c76e2a" providerId="AD" clId="Web-{8D612CF7-9E9B-E4E4-BD58-BA333AB8AC38}" dt="2025-09-08T20:11:00.371" v="269" actId="1076"/>
          <ac:spMkLst>
            <pc:docMk/>
            <pc:sldMk cId="805875931" sldId="2147473845"/>
            <ac:spMk id="21" creationId="{E3682179-D52C-412F-4282-458ED7F7D08F}"/>
          </ac:spMkLst>
        </pc:spChg>
        <pc:spChg chg="add mod">
          <ac:chgData name="Bailee Day" userId="S::bailee.day@sensirion.com::9c79951e-f831-43a6-bf9e-142e58c76e2a" providerId="AD" clId="Web-{8D612CF7-9E9B-E4E4-BD58-BA333AB8AC38}" dt="2025-09-08T20:13:07.748" v="298" actId="14100"/>
          <ac:spMkLst>
            <pc:docMk/>
            <pc:sldMk cId="805875931" sldId="2147473845"/>
            <ac:spMk id="24" creationId="{BEB2E378-C94C-A512-3392-A8E36D9C4797}"/>
          </ac:spMkLst>
        </pc:spChg>
        <pc:spChg chg="add mod">
          <ac:chgData name="Bailee Day" userId="S::bailee.day@sensirion.com::9c79951e-f831-43a6-bf9e-142e58c76e2a" providerId="AD" clId="Web-{8D612CF7-9E9B-E4E4-BD58-BA333AB8AC38}" dt="2025-09-08T20:12:31.623" v="288" actId="14100"/>
          <ac:spMkLst>
            <pc:docMk/>
            <pc:sldMk cId="805875931" sldId="2147473845"/>
            <ac:spMk id="25" creationId="{1DC4B37C-9292-C95E-6ACE-7A811F4DC844}"/>
          </ac:spMkLst>
        </pc:spChg>
        <pc:spChg chg="add mod">
          <ac:chgData name="Bailee Day" userId="S::bailee.day@sensirion.com::9c79951e-f831-43a6-bf9e-142e58c76e2a" providerId="AD" clId="Web-{8D612CF7-9E9B-E4E4-BD58-BA333AB8AC38}" dt="2025-09-08T20:13:56.874" v="303" actId="1076"/>
          <ac:spMkLst>
            <pc:docMk/>
            <pc:sldMk cId="805875931" sldId="2147473845"/>
            <ac:spMk id="26" creationId="{E13F05A2-6B30-7DE0-63B7-47DF421FEDF7}"/>
          </ac:spMkLst>
        </pc:spChg>
        <pc:spChg chg="add mod">
          <ac:chgData name="Bailee Day" userId="S::bailee.day@sensirion.com::9c79951e-f831-43a6-bf9e-142e58c76e2a" providerId="AD" clId="Web-{8D612CF7-9E9B-E4E4-BD58-BA333AB8AC38}" dt="2025-09-08T20:18:32.940" v="351" actId="14100"/>
          <ac:spMkLst>
            <pc:docMk/>
            <pc:sldMk cId="805875931" sldId="2147473845"/>
            <ac:spMk id="31" creationId="{849E54D7-5C66-4310-7A24-3B316803FD4B}"/>
          </ac:spMkLst>
        </pc:spChg>
        <pc:spChg chg="add mod">
          <ac:chgData name="Bailee Day" userId="S::bailee.day@sensirion.com::9c79951e-f831-43a6-bf9e-142e58c76e2a" providerId="AD" clId="Web-{8D612CF7-9E9B-E4E4-BD58-BA333AB8AC38}" dt="2025-09-08T20:19:00.836" v="358" actId="20577"/>
          <ac:spMkLst>
            <pc:docMk/>
            <pc:sldMk cId="805875931" sldId="2147473845"/>
            <ac:spMk id="32" creationId="{00997514-BB49-F4D3-D319-4CE9A035392F}"/>
          </ac:spMkLst>
        </pc:spChg>
        <pc:picChg chg="add mod">
          <ac:chgData name="Bailee Day" userId="S::bailee.day@sensirion.com::9c79951e-f831-43a6-bf9e-142e58c76e2a" providerId="AD" clId="Web-{8D612CF7-9E9B-E4E4-BD58-BA333AB8AC38}" dt="2025-09-08T20:11:00.215" v="260" actId="1076"/>
          <ac:picMkLst>
            <pc:docMk/>
            <pc:sldMk cId="805875931" sldId="2147473845"/>
            <ac:picMk id="10" creationId="{FD8B48B2-70B1-4362-8E30-02D5B3136C3E}"/>
          </ac:picMkLst>
        </pc:picChg>
        <pc:picChg chg="add mod">
          <ac:chgData name="Bailee Day" userId="S::bailee.day@sensirion.com::9c79951e-f831-43a6-bf9e-142e58c76e2a" providerId="AD" clId="Web-{8D612CF7-9E9B-E4E4-BD58-BA333AB8AC38}" dt="2025-09-08T20:11:00.246" v="261" actId="1076"/>
          <ac:picMkLst>
            <pc:docMk/>
            <pc:sldMk cId="805875931" sldId="2147473845"/>
            <ac:picMk id="11" creationId="{F0B02A74-693C-5F68-2AF8-14A90878534F}"/>
          </ac:picMkLst>
        </pc:picChg>
        <pc:picChg chg="add mod">
          <ac:chgData name="Bailee Day" userId="S::bailee.day@sensirion.com::9c79951e-f831-43a6-bf9e-142e58c76e2a" providerId="AD" clId="Web-{8D612CF7-9E9B-E4E4-BD58-BA333AB8AC38}" dt="2025-09-08T20:11:00.262" v="262" actId="1076"/>
          <ac:picMkLst>
            <pc:docMk/>
            <pc:sldMk cId="805875931" sldId="2147473845"/>
            <ac:picMk id="12" creationId="{6A8EC713-C33F-E22A-600B-387A3EAF1799}"/>
          </ac:picMkLst>
        </pc:picChg>
        <pc:picChg chg="add mod">
          <ac:chgData name="Bailee Day" userId="S::bailee.day@sensirion.com::9c79951e-f831-43a6-bf9e-142e58c76e2a" providerId="AD" clId="Web-{8D612CF7-9E9B-E4E4-BD58-BA333AB8AC38}" dt="2025-09-08T20:11:00.324" v="266" actId="1076"/>
          <ac:picMkLst>
            <pc:docMk/>
            <pc:sldMk cId="805875931" sldId="2147473845"/>
            <ac:picMk id="17" creationId="{06834947-F9C3-D2FE-4C7D-35F9E58913E3}"/>
          </ac:picMkLst>
        </pc:picChg>
        <pc:picChg chg="add mod">
          <ac:chgData name="Bailee Day" userId="S::bailee.day@sensirion.com::9c79951e-f831-43a6-bf9e-142e58c76e2a" providerId="AD" clId="Web-{8D612CF7-9E9B-E4E4-BD58-BA333AB8AC38}" dt="2025-09-08T20:11:00.340" v="267" actId="1076"/>
          <ac:picMkLst>
            <pc:docMk/>
            <pc:sldMk cId="805875931" sldId="2147473845"/>
            <ac:picMk id="18" creationId="{6A8E6B29-E21B-A18C-4652-B7CE637F4852}"/>
          </ac:picMkLst>
        </pc:picChg>
        <pc:picChg chg="add mod">
          <ac:chgData name="Bailee Day" userId="S::bailee.day@sensirion.com::9c79951e-f831-43a6-bf9e-142e58c76e2a" providerId="AD" clId="Web-{8D612CF7-9E9B-E4E4-BD58-BA333AB8AC38}" dt="2025-09-08T20:11:00.356" v="268" actId="1076"/>
          <ac:picMkLst>
            <pc:docMk/>
            <pc:sldMk cId="805875931" sldId="2147473845"/>
            <ac:picMk id="19" creationId="{F0F3729B-C073-BCCB-367B-142A811C88F1}"/>
          </ac:picMkLst>
        </pc:picChg>
        <pc:picChg chg="add mod">
          <ac:chgData name="Bailee Day" userId="S::bailee.day@sensirion.com::9c79951e-f831-43a6-bf9e-142e58c76e2a" providerId="AD" clId="Web-{8D612CF7-9E9B-E4E4-BD58-BA333AB8AC38}" dt="2025-09-08T20:11:00.402" v="270" actId="1076"/>
          <ac:picMkLst>
            <pc:docMk/>
            <pc:sldMk cId="805875931" sldId="2147473845"/>
            <ac:picMk id="22" creationId="{403257FF-1E1F-A529-0243-1ED9E29CBEBF}"/>
          </ac:picMkLst>
        </pc:picChg>
        <pc:picChg chg="add mod">
          <ac:chgData name="Bailee Day" userId="S::bailee.day@sensirion.com::9c79951e-f831-43a6-bf9e-142e58c76e2a" providerId="AD" clId="Web-{8D612CF7-9E9B-E4E4-BD58-BA333AB8AC38}" dt="2025-09-08T20:11:25.356" v="276" actId="1076"/>
          <ac:picMkLst>
            <pc:docMk/>
            <pc:sldMk cId="805875931" sldId="2147473845"/>
            <ac:picMk id="23" creationId="{C5155069-1DC2-3F99-3496-B380A2D35EC0}"/>
          </ac:picMkLst>
        </pc:picChg>
        <pc:picChg chg="add mod">
          <ac:chgData name="Bailee Day" userId="S::bailee.day@sensirion.com::9c79951e-f831-43a6-bf9e-142e58c76e2a" providerId="AD" clId="Web-{8D612CF7-9E9B-E4E4-BD58-BA333AB8AC38}" dt="2025-09-08T20:12:22.185" v="286" actId="14100"/>
          <ac:picMkLst>
            <pc:docMk/>
            <pc:sldMk cId="805875931" sldId="2147473845"/>
            <ac:picMk id="27" creationId="{4A093090-87BD-A155-1E3D-91E40B3C4AD0}"/>
          </ac:picMkLst>
        </pc:picChg>
        <pc:picChg chg="add mod">
          <ac:chgData name="Bailee Day" userId="S::bailee.day@sensirion.com::9c79951e-f831-43a6-bf9e-142e58c76e2a" providerId="AD" clId="Web-{8D612CF7-9E9B-E4E4-BD58-BA333AB8AC38}" dt="2025-09-08T20:13:01.842" v="296" actId="1076"/>
          <ac:picMkLst>
            <pc:docMk/>
            <pc:sldMk cId="805875931" sldId="2147473845"/>
            <ac:picMk id="28" creationId="{361E1A20-7CA2-55AB-A796-ECDFB26D16E1}"/>
          </ac:picMkLst>
        </pc:picChg>
        <pc:picChg chg="add mod">
          <ac:chgData name="Bailee Day" userId="S::bailee.day@sensirion.com::9c79951e-f831-43a6-bf9e-142e58c76e2a" providerId="AD" clId="Web-{8D612CF7-9E9B-E4E4-BD58-BA333AB8AC38}" dt="2025-09-08T20:13:23.717" v="302" actId="14100"/>
          <ac:picMkLst>
            <pc:docMk/>
            <pc:sldMk cId="805875931" sldId="2147473845"/>
            <ac:picMk id="29" creationId="{961C967F-B3B2-E839-6EB8-DC1C8518DC3E}"/>
          </ac:picMkLst>
        </pc:picChg>
      </pc:sldChg>
      <pc:sldChg chg="addSp delSp modSp new">
        <pc:chgData name="Bailee Day" userId="S::bailee.day@sensirion.com::9c79951e-f831-43a6-bf9e-142e58c76e2a" providerId="AD" clId="Web-{8D612CF7-9E9B-E4E4-BD58-BA333AB8AC38}" dt="2025-09-08T20:24:24.247" v="439" actId="20577"/>
        <pc:sldMkLst>
          <pc:docMk/>
          <pc:sldMk cId="4140712670" sldId="2147473846"/>
        </pc:sldMkLst>
        <pc:spChg chg="mod">
          <ac:chgData name="Bailee Day" userId="S::bailee.day@sensirion.com::9c79951e-f831-43a6-bf9e-142e58c76e2a" providerId="AD" clId="Web-{8D612CF7-9E9B-E4E4-BD58-BA333AB8AC38}" dt="2025-09-08T20:19:30.602" v="361" actId="20577"/>
          <ac:spMkLst>
            <pc:docMk/>
            <pc:sldMk cId="4140712670" sldId="2147473846"/>
            <ac:spMk id="4" creationId="{4EF458DF-AB69-E5FE-2BBF-018285A814B5}"/>
          </ac:spMkLst>
        </pc:spChg>
        <pc:spChg chg="add mod">
          <ac:chgData name="Bailee Day" userId="S::bailee.day@sensirion.com::9c79951e-f831-43a6-bf9e-142e58c76e2a" providerId="AD" clId="Web-{8D612CF7-9E9B-E4E4-BD58-BA333AB8AC38}" dt="2025-09-08T20:22:28.573" v="406" actId="1076"/>
          <ac:spMkLst>
            <pc:docMk/>
            <pc:sldMk cId="4140712670" sldId="2147473846"/>
            <ac:spMk id="13" creationId="{3C918F47-E78B-F8F7-58F9-767ED76B273E}"/>
          </ac:spMkLst>
        </pc:spChg>
        <pc:spChg chg="add mod">
          <ac:chgData name="Bailee Day" userId="S::bailee.day@sensirion.com::9c79951e-f831-43a6-bf9e-142e58c76e2a" providerId="AD" clId="Web-{8D612CF7-9E9B-E4E4-BD58-BA333AB8AC38}" dt="2025-09-08T20:22:28.589" v="407" actId="1076"/>
          <ac:spMkLst>
            <pc:docMk/>
            <pc:sldMk cId="4140712670" sldId="2147473846"/>
            <ac:spMk id="14" creationId="{8C1225AD-AE06-EEB2-847D-95274E7908A9}"/>
          </ac:spMkLst>
        </pc:spChg>
        <pc:spChg chg="add mod">
          <ac:chgData name="Bailee Day" userId="S::bailee.day@sensirion.com::9c79951e-f831-43a6-bf9e-142e58c76e2a" providerId="AD" clId="Web-{8D612CF7-9E9B-E4E4-BD58-BA333AB8AC38}" dt="2025-09-08T20:22:28.604" v="408" actId="1076"/>
          <ac:spMkLst>
            <pc:docMk/>
            <pc:sldMk cId="4140712670" sldId="2147473846"/>
            <ac:spMk id="15" creationId="{7DCE9110-4442-5C91-87E5-7021EA5CFA75}"/>
          </ac:spMkLst>
        </pc:spChg>
        <pc:spChg chg="add mod">
          <ac:chgData name="Bailee Day" userId="S::bailee.day@sensirion.com::9c79951e-f831-43a6-bf9e-142e58c76e2a" providerId="AD" clId="Web-{8D612CF7-9E9B-E4E4-BD58-BA333AB8AC38}" dt="2025-09-08T20:22:28.667" v="412" actId="1076"/>
          <ac:spMkLst>
            <pc:docMk/>
            <pc:sldMk cId="4140712670" sldId="2147473846"/>
            <ac:spMk id="19" creationId="{C712854D-AC73-DE48-7611-4E4A3D37C090}"/>
          </ac:spMkLst>
        </pc:spChg>
        <pc:spChg chg="add mod">
          <ac:chgData name="Bailee Day" userId="S::bailee.day@sensirion.com::9c79951e-f831-43a6-bf9e-142e58c76e2a" providerId="AD" clId="Web-{8D612CF7-9E9B-E4E4-BD58-BA333AB8AC38}" dt="2025-09-08T20:22:28.667" v="413" actId="1076"/>
          <ac:spMkLst>
            <pc:docMk/>
            <pc:sldMk cId="4140712670" sldId="2147473846"/>
            <ac:spMk id="20" creationId="{BA306ABB-3B79-9530-A1A0-2AC8664539B9}"/>
          </ac:spMkLst>
        </pc:spChg>
        <pc:spChg chg="add mod">
          <ac:chgData name="Bailee Day" userId="S::bailee.day@sensirion.com::9c79951e-f831-43a6-bf9e-142e58c76e2a" providerId="AD" clId="Web-{8D612CF7-9E9B-E4E4-BD58-BA333AB8AC38}" dt="2025-09-08T20:22:28.683" v="414" actId="1076"/>
          <ac:spMkLst>
            <pc:docMk/>
            <pc:sldMk cId="4140712670" sldId="2147473846"/>
            <ac:spMk id="21" creationId="{424A1AE2-A525-CDA9-C87B-34A82B2152DC}"/>
          </ac:spMkLst>
        </pc:spChg>
        <pc:spChg chg="add mod">
          <ac:chgData name="Bailee Day" userId="S::bailee.day@sensirion.com::9c79951e-f831-43a6-bf9e-142e58c76e2a" providerId="AD" clId="Web-{8D612CF7-9E9B-E4E4-BD58-BA333AB8AC38}" dt="2025-09-08T20:23:56.731" v="425" actId="1076"/>
          <ac:spMkLst>
            <pc:docMk/>
            <pc:sldMk cId="4140712670" sldId="2147473846"/>
            <ac:spMk id="25" creationId="{75244CAA-F8EE-C1EB-6003-D29ED1FA9516}"/>
          </ac:spMkLst>
        </pc:spChg>
        <pc:spChg chg="add">
          <ac:chgData name="Bailee Day" userId="S::bailee.day@sensirion.com::9c79951e-f831-43a6-bf9e-142e58c76e2a" providerId="AD" clId="Web-{8D612CF7-9E9B-E4E4-BD58-BA333AB8AC38}" dt="2025-09-08T20:24:04.825" v="426"/>
          <ac:spMkLst>
            <pc:docMk/>
            <pc:sldMk cId="4140712670" sldId="2147473846"/>
            <ac:spMk id="28" creationId="{5E036BEC-27DC-EC49-0B4D-0E06ED2674F3}"/>
          </ac:spMkLst>
        </pc:spChg>
        <pc:spChg chg="add mod">
          <ac:chgData name="Bailee Day" userId="S::bailee.day@sensirion.com::9c79951e-f831-43a6-bf9e-142e58c76e2a" providerId="AD" clId="Web-{8D612CF7-9E9B-E4E4-BD58-BA333AB8AC38}" dt="2025-09-08T20:24:24.247" v="439" actId="20577"/>
          <ac:spMkLst>
            <pc:docMk/>
            <pc:sldMk cId="4140712670" sldId="2147473846"/>
            <ac:spMk id="29" creationId="{A66E72C5-B67E-AD22-4C1C-EFAA94BF390A}"/>
          </ac:spMkLst>
        </pc:spChg>
        <pc:picChg chg="add mod">
          <ac:chgData name="Bailee Day" userId="S::bailee.day@sensirion.com::9c79951e-f831-43a6-bf9e-142e58c76e2a" providerId="AD" clId="Web-{8D612CF7-9E9B-E4E4-BD58-BA333AB8AC38}" dt="2025-09-08T20:22:28.620" v="409" actId="1076"/>
          <ac:picMkLst>
            <pc:docMk/>
            <pc:sldMk cId="4140712670" sldId="2147473846"/>
            <ac:picMk id="16" creationId="{A5BC1FFA-D60D-8924-0128-0B59DA38E88C}"/>
          </ac:picMkLst>
        </pc:picChg>
        <pc:picChg chg="add mod">
          <ac:chgData name="Bailee Day" userId="S::bailee.day@sensirion.com::9c79951e-f831-43a6-bf9e-142e58c76e2a" providerId="AD" clId="Web-{8D612CF7-9E9B-E4E4-BD58-BA333AB8AC38}" dt="2025-09-08T20:22:28.636" v="410" actId="1076"/>
          <ac:picMkLst>
            <pc:docMk/>
            <pc:sldMk cId="4140712670" sldId="2147473846"/>
            <ac:picMk id="17" creationId="{75AB67B5-EC77-B19F-BEBE-01307C816107}"/>
          </ac:picMkLst>
        </pc:picChg>
        <pc:picChg chg="add mod">
          <ac:chgData name="Bailee Day" userId="S::bailee.day@sensirion.com::9c79951e-f831-43a6-bf9e-142e58c76e2a" providerId="AD" clId="Web-{8D612CF7-9E9B-E4E4-BD58-BA333AB8AC38}" dt="2025-09-08T20:22:28.651" v="411" actId="1076"/>
          <ac:picMkLst>
            <pc:docMk/>
            <pc:sldMk cId="4140712670" sldId="2147473846"/>
            <ac:picMk id="18" creationId="{1F153F0C-BE22-14C1-01D0-EB9AB50ECF1E}"/>
          </ac:picMkLst>
        </pc:picChg>
        <pc:picChg chg="add mod">
          <ac:chgData name="Bailee Day" userId="S::bailee.day@sensirion.com::9c79951e-f831-43a6-bf9e-142e58c76e2a" providerId="AD" clId="Web-{8D612CF7-9E9B-E4E4-BD58-BA333AB8AC38}" dt="2025-09-08T20:22:28.698" v="415" actId="1076"/>
          <ac:picMkLst>
            <pc:docMk/>
            <pc:sldMk cId="4140712670" sldId="2147473846"/>
            <ac:picMk id="22" creationId="{18A3348E-10F3-92D4-527E-BBC53FDBB867}"/>
          </ac:picMkLst>
        </pc:picChg>
        <pc:picChg chg="add mod">
          <ac:chgData name="Bailee Day" userId="S::bailee.day@sensirion.com::9c79951e-f831-43a6-bf9e-142e58c76e2a" providerId="AD" clId="Web-{8D612CF7-9E9B-E4E4-BD58-BA333AB8AC38}" dt="2025-09-08T20:22:28.714" v="416" actId="1076"/>
          <ac:picMkLst>
            <pc:docMk/>
            <pc:sldMk cId="4140712670" sldId="2147473846"/>
            <ac:picMk id="23" creationId="{0C829A95-3F79-F7E3-C4AE-5899BA741F53}"/>
          </ac:picMkLst>
        </pc:picChg>
        <pc:picChg chg="add mod">
          <ac:chgData name="Bailee Day" userId="S::bailee.day@sensirion.com::9c79951e-f831-43a6-bf9e-142e58c76e2a" providerId="AD" clId="Web-{8D612CF7-9E9B-E4E4-BD58-BA333AB8AC38}" dt="2025-09-08T20:22:28.729" v="417" actId="1076"/>
          <ac:picMkLst>
            <pc:docMk/>
            <pc:sldMk cId="4140712670" sldId="2147473846"/>
            <ac:picMk id="24" creationId="{46D06C94-6582-5BA4-98AA-3821B0A77EAE}"/>
          </ac:picMkLst>
        </pc:picChg>
        <pc:picChg chg="add mod">
          <ac:chgData name="Bailee Day" userId="S::bailee.day@sensirion.com::9c79951e-f831-43a6-bf9e-142e58c76e2a" providerId="AD" clId="Web-{8D612CF7-9E9B-E4E4-BD58-BA333AB8AC38}" dt="2025-09-08T20:22:36.339" v="420" actId="14100"/>
          <ac:picMkLst>
            <pc:docMk/>
            <pc:sldMk cId="4140712670" sldId="2147473846"/>
            <ac:picMk id="26" creationId="{217F051C-4F9E-76D5-730B-005B506CB15D}"/>
          </ac:picMkLst>
        </pc:picChg>
      </pc:sldChg>
      <pc:sldChg chg="addSp delSp modSp new">
        <pc:chgData name="Bailee Day" userId="S::bailee.day@sensirion.com::9c79951e-f831-43a6-bf9e-142e58c76e2a" providerId="AD" clId="Web-{8D612CF7-9E9B-E4E4-BD58-BA333AB8AC38}" dt="2025-09-08T20:43:49.327" v="558" actId="20577"/>
        <pc:sldMkLst>
          <pc:docMk/>
          <pc:sldMk cId="3326066259" sldId="2147473847"/>
        </pc:sldMkLst>
        <pc:spChg chg="mod">
          <ac:chgData name="Bailee Day" userId="S::bailee.day@sensirion.com::9c79951e-f831-43a6-bf9e-142e58c76e2a" providerId="AD" clId="Web-{8D612CF7-9E9B-E4E4-BD58-BA333AB8AC38}" dt="2025-09-08T20:43:49.327" v="558" actId="20577"/>
          <ac:spMkLst>
            <pc:docMk/>
            <pc:sldMk cId="3326066259" sldId="2147473847"/>
            <ac:spMk id="2" creationId="{960EB039-6E4E-70FD-B200-97F9D6DD8469}"/>
          </ac:spMkLst>
        </pc:spChg>
        <pc:spChg chg="mod">
          <ac:chgData name="Bailee Day" userId="S::bailee.day@sensirion.com::9c79951e-f831-43a6-bf9e-142e58c76e2a" providerId="AD" clId="Web-{8D612CF7-9E9B-E4E4-BD58-BA333AB8AC38}" dt="2025-09-08T20:25:39.842" v="471" actId="20577"/>
          <ac:spMkLst>
            <pc:docMk/>
            <pc:sldMk cId="3326066259" sldId="2147473847"/>
            <ac:spMk id="4" creationId="{E4D7BA5B-9FEF-881E-F258-0FDC48CC2F2A}"/>
          </ac:spMkLst>
        </pc:spChg>
        <pc:spChg chg="add mod">
          <ac:chgData name="Bailee Day" userId="S::bailee.day@sensirion.com::9c79951e-f831-43a6-bf9e-142e58c76e2a" providerId="AD" clId="Web-{8D612CF7-9E9B-E4E4-BD58-BA333AB8AC38}" dt="2025-09-08T20:32:41.004" v="551" actId="1076"/>
          <ac:spMkLst>
            <pc:docMk/>
            <pc:sldMk cId="3326066259" sldId="2147473847"/>
            <ac:spMk id="8" creationId="{A85F6EF2-FA48-E1F1-D95A-1660D22739E0}"/>
          </ac:spMkLst>
        </pc:spChg>
        <pc:picChg chg="add mod">
          <ac:chgData name="Bailee Day" userId="S::bailee.day@sensirion.com::9c79951e-f831-43a6-bf9e-142e58c76e2a" providerId="AD" clId="Web-{8D612CF7-9E9B-E4E4-BD58-BA333AB8AC38}" dt="2025-09-08T20:28:13.625" v="476" actId="1076"/>
          <ac:picMkLst>
            <pc:docMk/>
            <pc:sldMk cId="3326066259" sldId="2147473847"/>
            <ac:picMk id="7" creationId="{B523E20C-D894-807F-5410-F64A93770C9C}"/>
          </ac:picMkLst>
        </pc:picChg>
      </pc:sldChg>
    </pc:docChg>
  </pc:docChgLst>
  <pc:docChgLst>
    <pc:chgData name="Holger Oswald" userId="S::holger.oswald@sensirion.com::88bb7036-742f-4c0f-9642-8942c7f8ab59" providerId="AD" clId="Web-{C97BB460-BE5F-5ED2-8E62-461CEF4FE183}"/>
    <pc:docChg chg="modSld">
      <pc:chgData name="Holger Oswald" userId="S::holger.oswald@sensirion.com::88bb7036-742f-4c0f-9642-8942c7f8ab59" providerId="AD" clId="Web-{C97BB460-BE5F-5ED2-8E62-461CEF4FE183}" dt="2025-09-09T19:37:16.489" v="15" actId="14100"/>
      <pc:docMkLst>
        <pc:docMk/>
      </pc:docMkLst>
      <pc:sldChg chg="modSp">
        <pc:chgData name="Holger Oswald" userId="S::holger.oswald@sensirion.com::88bb7036-742f-4c0f-9642-8942c7f8ab59" providerId="AD" clId="Web-{C97BB460-BE5F-5ED2-8E62-461CEF4FE183}" dt="2025-09-09T19:35:58.628" v="6" actId="14100"/>
        <pc:sldMkLst>
          <pc:docMk/>
          <pc:sldMk cId="3262814712" sldId="556"/>
        </pc:sldMkLst>
        <pc:picChg chg="mod">
          <ac:chgData name="Holger Oswald" userId="S::holger.oswald@sensirion.com::88bb7036-742f-4c0f-9642-8942c7f8ab59" providerId="AD" clId="Web-{C97BB460-BE5F-5ED2-8E62-461CEF4FE183}" dt="2025-09-09T19:35:58.628" v="6" actId="14100"/>
          <ac:picMkLst>
            <pc:docMk/>
            <pc:sldMk cId="3262814712" sldId="556"/>
            <ac:picMk id="2" creationId="{455B56DC-478A-8216-84EF-990522FCFC41}"/>
          </ac:picMkLst>
        </pc:picChg>
      </pc:sldChg>
      <pc:sldChg chg="modSp">
        <pc:chgData name="Holger Oswald" userId="S::holger.oswald@sensirion.com::88bb7036-742f-4c0f-9642-8942c7f8ab59" providerId="AD" clId="Web-{C97BB460-BE5F-5ED2-8E62-461CEF4FE183}" dt="2025-09-09T19:37:16.489" v="15" actId="14100"/>
        <pc:sldMkLst>
          <pc:docMk/>
          <pc:sldMk cId="3588711046" sldId="2147473804"/>
        </pc:sldMkLst>
        <pc:picChg chg="mod">
          <ac:chgData name="Holger Oswald" userId="S::holger.oswald@sensirion.com::88bb7036-742f-4c0f-9642-8942c7f8ab59" providerId="AD" clId="Web-{C97BB460-BE5F-5ED2-8E62-461CEF4FE183}" dt="2025-09-09T19:37:16.489" v="15" actId="14100"/>
          <ac:picMkLst>
            <pc:docMk/>
            <pc:sldMk cId="3588711046" sldId="2147473804"/>
            <ac:picMk id="5" creationId="{B92D1DC4-9707-393A-BC91-733FB15DD8F9}"/>
          </ac:picMkLst>
        </pc:picChg>
      </pc:sldChg>
      <pc:sldChg chg="modSp">
        <pc:chgData name="Holger Oswald" userId="S::holger.oswald@sensirion.com::88bb7036-742f-4c0f-9642-8942c7f8ab59" providerId="AD" clId="Web-{C97BB460-BE5F-5ED2-8E62-461CEF4FE183}" dt="2025-09-09T19:34:21.547" v="4" actId="1076"/>
        <pc:sldMkLst>
          <pc:docMk/>
          <pc:sldMk cId="2188496406" sldId="2147473826"/>
        </pc:sldMkLst>
        <pc:spChg chg="mod">
          <ac:chgData name="Holger Oswald" userId="S::holger.oswald@sensirion.com::88bb7036-742f-4c0f-9642-8942c7f8ab59" providerId="AD" clId="Web-{C97BB460-BE5F-5ED2-8E62-461CEF4FE183}" dt="2025-09-09T19:34:09.657" v="2" actId="1076"/>
          <ac:spMkLst>
            <pc:docMk/>
            <pc:sldMk cId="2188496406" sldId="2147473826"/>
            <ac:spMk id="4" creationId="{A044FB6E-2B2A-3CEB-C855-7363D44A9038}"/>
          </ac:spMkLst>
        </pc:spChg>
        <pc:spChg chg="mod">
          <ac:chgData name="Holger Oswald" userId="S::holger.oswald@sensirion.com::88bb7036-742f-4c0f-9642-8942c7f8ab59" providerId="AD" clId="Web-{C97BB460-BE5F-5ED2-8E62-461CEF4FE183}" dt="2025-09-09T19:34:15.313" v="3" actId="1076"/>
          <ac:spMkLst>
            <pc:docMk/>
            <pc:sldMk cId="2188496406" sldId="2147473826"/>
            <ac:spMk id="5" creationId="{C88104B2-3E08-2BDB-56F9-E6C0A0F40BD1}"/>
          </ac:spMkLst>
        </pc:spChg>
        <pc:spChg chg="mod">
          <ac:chgData name="Holger Oswald" userId="S::holger.oswald@sensirion.com::88bb7036-742f-4c0f-9642-8942c7f8ab59" providerId="AD" clId="Web-{C97BB460-BE5F-5ED2-8E62-461CEF4FE183}" dt="2025-09-09T19:34:21.547" v="4" actId="1076"/>
          <ac:spMkLst>
            <pc:docMk/>
            <pc:sldMk cId="2188496406" sldId="2147473826"/>
            <ac:spMk id="6" creationId="{16FFF2B8-9BB1-09B3-6B35-E290A30C95D1}"/>
          </ac:spMkLst>
        </pc:spChg>
        <pc:spChg chg="mod">
          <ac:chgData name="Holger Oswald" userId="S::holger.oswald@sensirion.com::88bb7036-742f-4c0f-9642-8942c7f8ab59" providerId="AD" clId="Web-{C97BB460-BE5F-5ED2-8E62-461CEF4FE183}" dt="2025-09-09T19:33:59.281" v="1" actId="1076"/>
          <ac:spMkLst>
            <pc:docMk/>
            <pc:sldMk cId="2188496406" sldId="2147473826"/>
            <ac:spMk id="57" creationId="{2A0FBA6B-407E-87D9-2F40-DB53B2E320E1}"/>
          </ac:spMkLst>
        </pc:spChg>
      </pc:sldChg>
      <pc:sldChg chg="modSp">
        <pc:chgData name="Holger Oswald" userId="S::holger.oswald@sensirion.com::88bb7036-742f-4c0f-9642-8942c7f8ab59" providerId="AD" clId="Web-{C97BB460-BE5F-5ED2-8E62-461CEF4FE183}" dt="2025-09-09T19:36:55.895" v="14" actId="14100"/>
        <pc:sldMkLst>
          <pc:docMk/>
          <pc:sldMk cId="3326066259" sldId="2147473847"/>
        </pc:sldMkLst>
        <pc:spChg chg="mod">
          <ac:chgData name="Holger Oswald" userId="S::holger.oswald@sensirion.com::88bb7036-742f-4c0f-9642-8942c7f8ab59" providerId="AD" clId="Web-{C97BB460-BE5F-5ED2-8E62-461CEF4FE183}" dt="2025-09-09T19:36:55.895" v="14" actId="14100"/>
          <ac:spMkLst>
            <pc:docMk/>
            <pc:sldMk cId="3326066259" sldId="2147473847"/>
            <ac:spMk id="8" creationId="{A85F6EF2-FA48-E1F1-D95A-1660D22739E0}"/>
          </ac:spMkLst>
        </pc:spChg>
        <pc:picChg chg="mod">
          <ac:chgData name="Holger Oswald" userId="S::holger.oswald@sensirion.com::88bb7036-742f-4c0f-9642-8942c7f8ab59" providerId="AD" clId="Web-{C97BB460-BE5F-5ED2-8E62-461CEF4FE183}" dt="2025-09-09T19:36:39.691" v="9" actId="14100"/>
          <ac:picMkLst>
            <pc:docMk/>
            <pc:sldMk cId="3326066259" sldId="2147473847"/>
            <ac:picMk id="7" creationId="{B523E20C-D894-807F-5410-F64A93770C9C}"/>
          </ac:picMkLst>
        </pc:picChg>
      </pc:sldChg>
    </pc:docChg>
  </pc:docChgLst>
  <pc:docChgLst>
    <pc:chgData name="Holger Oswald" userId="S::holger.oswald@sensirion.com::88bb7036-742f-4c0f-9642-8942c7f8ab59" providerId="AD" clId="Web-{12708F65-D774-26CD-1E90-00ECFB5C3F70}"/>
    <pc:docChg chg="delSld modSld">
      <pc:chgData name="Holger Oswald" userId="S::holger.oswald@sensirion.com::88bb7036-742f-4c0f-9642-8942c7f8ab59" providerId="AD" clId="Web-{12708F65-D774-26CD-1E90-00ECFB5C3F70}" dt="2025-09-15T16:29:40.189" v="275" actId="20577"/>
      <pc:docMkLst>
        <pc:docMk/>
      </pc:docMkLst>
      <pc:sldChg chg="modSp">
        <pc:chgData name="Holger Oswald" userId="S::holger.oswald@sensirion.com::88bb7036-742f-4c0f-9642-8942c7f8ab59" providerId="AD" clId="Web-{12708F65-D774-26CD-1E90-00ECFB5C3F70}" dt="2025-09-15T15:39:23.869" v="48" actId="20577"/>
        <pc:sldMkLst>
          <pc:docMk/>
          <pc:sldMk cId="4001238172" sldId="519"/>
        </pc:sldMkLst>
        <pc:spChg chg="mod">
          <ac:chgData name="Holger Oswald" userId="S::holger.oswald@sensirion.com::88bb7036-742f-4c0f-9642-8942c7f8ab59" providerId="AD" clId="Web-{12708F65-D774-26CD-1E90-00ECFB5C3F70}" dt="2025-09-15T15:39:23.869" v="48" actId="20577"/>
          <ac:spMkLst>
            <pc:docMk/>
            <pc:sldMk cId="4001238172" sldId="519"/>
            <ac:spMk id="3" creationId="{A0E0959C-FC32-4EA2-BD3B-C7F9BFF5E15C}"/>
          </ac:spMkLst>
        </pc:spChg>
      </pc:sldChg>
      <pc:sldChg chg="del">
        <pc:chgData name="Holger Oswald" userId="S::holger.oswald@sensirion.com::88bb7036-742f-4c0f-9642-8942c7f8ab59" providerId="AD" clId="Web-{12708F65-D774-26CD-1E90-00ECFB5C3F70}" dt="2025-09-15T15:29:50.227" v="0"/>
        <pc:sldMkLst>
          <pc:docMk/>
          <pc:sldMk cId="532939883" sldId="551"/>
        </pc:sldMkLst>
      </pc:sldChg>
      <pc:sldChg chg="modSp">
        <pc:chgData name="Holger Oswald" userId="S::holger.oswald@sensirion.com::88bb7036-742f-4c0f-9642-8942c7f8ab59" providerId="AD" clId="Web-{12708F65-D774-26CD-1E90-00ECFB5C3F70}" dt="2025-09-15T16:25:21.092" v="246" actId="20577"/>
        <pc:sldMkLst>
          <pc:docMk/>
          <pc:sldMk cId="599990803" sldId="554"/>
        </pc:sldMkLst>
        <pc:spChg chg="mod">
          <ac:chgData name="Holger Oswald" userId="S::holger.oswald@sensirion.com::88bb7036-742f-4c0f-9642-8942c7f8ab59" providerId="AD" clId="Web-{12708F65-D774-26CD-1E90-00ECFB5C3F70}" dt="2025-09-15T16:25:21.092" v="246" actId="20577"/>
          <ac:spMkLst>
            <pc:docMk/>
            <pc:sldMk cId="599990803" sldId="554"/>
            <ac:spMk id="3" creationId="{65F51398-780D-D0F9-EFE9-24EC2C666A04}"/>
          </ac:spMkLst>
        </pc:spChg>
        <pc:picChg chg="mod">
          <ac:chgData name="Holger Oswald" userId="S::holger.oswald@sensirion.com::88bb7036-742f-4c0f-9642-8942c7f8ab59" providerId="AD" clId="Web-{12708F65-D774-26CD-1E90-00ECFB5C3F70}" dt="2025-09-15T15:32:45.776" v="17" actId="1076"/>
          <ac:picMkLst>
            <pc:docMk/>
            <pc:sldMk cId="599990803" sldId="554"/>
            <ac:picMk id="10" creationId="{BE872F92-B68E-02C9-24A6-9F8A2BF391FA}"/>
          </ac:picMkLst>
        </pc:picChg>
      </pc:sldChg>
      <pc:sldChg chg="modSp">
        <pc:chgData name="Holger Oswald" userId="S::holger.oswald@sensirion.com::88bb7036-742f-4c0f-9642-8942c7f8ab59" providerId="AD" clId="Web-{12708F65-D774-26CD-1E90-00ECFB5C3F70}" dt="2025-09-15T15:30:30.274" v="9" actId="1076"/>
        <pc:sldMkLst>
          <pc:docMk/>
          <pc:sldMk cId="3131422531" sldId="2147473798"/>
        </pc:sldMkLst>
        <pc:spChg chg="mod">
          <ac:chgData name="Holger Oswald" userId="S::holger.oswald@sensirion.com::88bb7036-742f-4c0f-9642-8942c7f8ab59" providerId="AD" clId="Web-{12708F65-D774-26CD-1E90-00ECFB5C3F70}" dt="2025-09-15T15:30:22.914" v="6" actId="20577"/>
          <ac:spMkLst>
            <pc:docMk/>
            <pc:sldMk cId="3131422531" sldId="2147473798"/>
            <ac:spMk id="3" creationId="{BEEE16FD-B7EF-88E2-7FE5-2A2BE6420243}"/>
          </ac:spMkLst>
        </pc:spChg>
        <pc:picChg chg="mod">
          <ac:chgData name="Holger Oswald" userId="S::holger.oswald@sensirion.com::88bb7036-742f-4c0f-9642-8942c7f8ab59" providerId="AD" clId="Web-{12708F65-D774-26CD-1E90-00ECFB5C3F70}" dt="2025-09-15T15:30:30.274" v="9" actId="1076"/>
          <ac:picMkLst>
            <pc:docMk/>
            <pc:sldMk cId="3131422531" sldId="2147473798"/>
            <ac:picMk id="1026" creationId="{43CF605E-BA7B-B59A-91CE-0729BB2AAB81}"/>
          </ac:picMkLst>
        </pc:picChg>
      </pc:sldChg>
      <pc:sldChg chg="addSp delSp modSp">
        <pc:chgData name="Holger Oswald" userId="S::holger.oswald@sensirion.com::88bb7036-742f-4c0f-9642-8942c7f8ab59" providerId="AD" clId="Web-{12708F65-D774-26CD-1E90-00ECFB5C3F70}" dt="2025-09-15T16:29:40.189" v="275" actId="20577"/>
        <pc:sldMkLst>
          <pc:docMk/>
          <pc:sldMk cId="3588711046" sldId="2147473804"/>
        </pc:sldMkLst>
        <pc:spChg chg="mod">
          <ac:chgData name="Holger Oswald" userId="S::holger.oswald@sensirion.com::88bb7036-742f-4c0f-9642-8942c7f8ab59" providerId="AD" clId="Web-{12708F65-D774-26CD-1E90-00ECFB5C3F70}" dt="2025-09-15T15:31:22.399" v="14" actId="1076"/>
          <ac:spMkLst>
            <pc:docMk/>
            <pc:sldMk cId="3588711046" sldId="2147473804"/>
            <ac:spMk id="3" creationId="{EBA7CBE3-1A85-D608-CD3A-84DD3DB005C6}"/>
          </ac:spMkLst>
        </pc:spChg>
        <pc:spChg chg="mod">
          <ac:chgData name="Holger Oswald" userId="S::holger.oswald@sensirion.com::88bb7036-742f-4c0f-9642-8942c7f8ab59" providerId="AD" clId="Web-{12708F65-D774-26CD-1E90-00ECFB5C3F70}" dt="2025-09-15T16:29:40.189" v="275" actId="20577"/>
          <ac:spMkLst>
            <pc:docMk/>
            <pc:sldMk cId="3588711046" sldId="2147473804"/>
            <ac:spMk id="6" creationId="{09E0909A-BF2D-A492-6823-4041CA4F5BF9}"/>
          </ac:spMkLst>
        </pc:spChg>
        <pc:picChg chg="add mod">
          <ac:chgData name="Holger Oswald" userId="S::holger.oswald@sensirion.com::88bb7036-742f-4c0f-9642-8942c7f8ab59" providerId="AD" clId="Web-{12708F65-D774-26CD-1E90-00ECFB5C3F70}" dt="2025-09-15T16:28:47.141" v="258" actId="1076"/>
          <ac:picMkLst>
            <pc:docMk/>
            <pc:sldMk cId="3588711046" sldId="2147473804"/>
            <ac:picMk id="2" creationId="{9538A59E-0C78-9AB3-E704-C80A644E1491}"/>
          </ac:picMkLst>
        </pc:picChg>
        <pc:picChg chg="del mod">
          <ac:chgData name="Holger Oswald" userId="S::holger.oswald@sensirion.com::88bb7036-742f-4c0f-9642-8942c7f8ab59" providerId="AD" clId="Web-{12708F65-D774-26CD-1E90-00ECFB5C3F70}" dt="2025-09-15T16:26:30.795" v="254"/>
          <ac:picMkLst>
            <pc:docMk/>
            <pc:sldMk cId="3588711046" sldId="2147473804"/>
            <ac:picMk id="5" creationId="{B92D1DC4-9707-393A-BC91-733FB15DD8F9}"/>
          </ac:picMkLst>
        </pc:picChg>
      </pc:sldChg>
      <pc:sldChg chg="modSp">
        <pc:chgData name="Holger Oswald" userId="S::holger.oswald@sensirion.com::88bb7036-742f-4c0f-9642-8942c7f8ab59" providerId="AD" clId="Web-{12708F65-D774-26CD-1E90-00ECFB5C3F70}" dt="2025-09-15T15:42:09.419" v="52" actId="20577"/>
        <pc:sldMkLst>
          <pc:docMk/>
          <pc:sldMk cId="1003307185" sldId="2147473816"/>
        </pc:sldMkLst>
        <pc:spChg chg="mod">
          <ac:chgData name="Holger Oswald" userId="S::holger.oswald@sensirion.com::88bb7036-742f-4c0f-9642-8942c7f8ab59" providerId="AD" clId="Web-{12708F65-D774-26CD-1E90-00ECFB5C3F70}" dt="2025-09-15T15:42:09.419" v="52" actId="20577"/>
          <ac:spMkLst>
            <pc:docMk/>
            <pc:sldMk cId="1003307185" sldId="2147473816"/>
            <ac:spMk id="5" creationId="{71FD72A8-4DE1-2E3B-0E13-4F86FD48319C}"/>
          </ac:spMkLst>
        </pc:spChg>
      </pc:sldChg>
      <pc:sldChg chg="addSp delSp modSp">
        <pc:chgData name="Holger Oswald" userId="S::holger.oswald@sensirion.com::88bb7036-742f-4c0f-9642-8942c7f8ab59" providerId="AD" clId="Web-{12708F65-D774-26CD-1E90-00ECFB5C3F70}" dt="2025-09-15T16:17:19.569" v="235" actId="1076"/>
        <pc:sldMkLst>
          <pc:docMk/>
          <pc:sldMk cId="220529656" sldId="2147473822"/>
        </pc:sldMkLst>
        <pc:spChg chg="add mod">
          <ac:chgData name="Holger Oswald" userId="S::holger.oswald@sensirion.com::88bb7036-742f-4c0f-9642-8942c7f8ab59" providerId="AD" clId="Web-{12708F65-D774-26CD-1E90-00ECFB5C3F70}" dt="2025-09-15T16:08:56.560" v="113" actId="14100"/>
          <ac:spMkLst>
            <pc:docMk/>
            <pc:sldMk cId="220529656" sldId="2147473822"/>
            <ac:spMk id="70" creationId="{670F5203-1AD4-92C7-15B9-A67930009B09}"/>
          </ac:spMkLst>
        </pc:spChg>
        <pc:spChg chg="add mod">
          <ac:chgData name="Holger Oswald" userId="S::holger.oswald@sensirion.com::88bb7036-742f-4c0f-9642-8942c7f8ab59" providerId="AD" clId="Web-{12708F65-D774-26CD-1E90-00ECFB5C3F70}" dt="2025-09-15T16:11:06.109" v="172" actId="20577"/>
          <ac:spMkLst>
            <pc:docMk/>
            <pc:sldMk cId="220529656" sldId="2147473822"/>
            <ac:spMk id="74" creationId="{17E009BC-3DE0-572C-E9A3-81DD74031624}"/>
          </ac:spMkLst>
        </pc:spChg>
        <pc:spChg chg="mod">
          <ac:chgData name="Holger Oswald" userId="S::holger.oswald@sensirion.com::88bb7036-742f-4c0f-9642-8942c7f8ab59" providerId="AD" clId="Web-{12708F65-D774-26CD-1E90-00ECFB5C3F70}" dt="2025-09-15T15:49:51.030" v="57" actId="1076"/>
          <ac:spMkLst>
            <pc:docMk/>
            <pc:sldMk cId="220529656" sldId="2147473822"/>
            <ac:spMk id="78" creationId="{C9702858-120E-641F-0972-262220BC3362}"/>
          </ac:spMkLst>
        </pc:spChg>
        <pc:spChg chg="mod">
          <ac:chgData name="Holger Oswald" userId="S::holger.oswald@sensirion.com::88bb7036-742f-4c0f-9642-8942c7f8ab59" providerId="AD" clId="Web-{12708F65-D774-26CD-1E90-00ECFB5C3F70}" dt="2025-09-15T15:49:51.123" v="58" actId="1076"/>
          <ac:spMkLst>
            <pc:docMk/>
            <pc:sldMk cId="220529656" sldId="2147473822"/>
            <ac:spMk id="81" creationId="{B1E46649-9632-CCDC-972C-FBBB93FA4124}"/>
          </ac:spMkLst>
        </pc:spChg>
        <pc:spChg chg="mod">
          <ac:chgData name="Holger Oswald" userId="S::holger.oswald@sensirion.com::88bb7036-742f-4c0f-9642-8942c7f8ab59" providerId="AD" clId="Web-{12708F65-D774-26CD-1E90-00ECFB5C3F70}" dt="2025-09-15T15:49:51.233" v="59" actId="1076"/>
          <ac:spMkLst>
            <pc:docMk/>
            <pc:sldMk cId="220529656" sldId="2147473822"/>
            <ac:spMk id="83" creationId="{C6562CB5-95B7-ABD6-58BC-D5175858525F}"/>
          </ac:spMkLst>
        </pc:spChg>
        <pc:spChg chg="mod">
          <ac:chgData name="Holger Oswald" userId="S::holger.oswald@sensirion.com::88bb7036-742f-4c0f-9642-8942c7f8ab59" providerId="AD" clId="Web-{12708F65-D774-26CD-1E90-00ECFB5C3F70}" dt="2025-09-15T16:08:52.263" v="112" actId="14100"/>
          <ac:spMkLst>
            <pc:docMk/>
            <pc:sldMk cId="220529656" sldId="2147473822"/>
            <ac:spMk id="85" creationId="{DB66E662-A5BE-92C6-439F-CB60C1F0125C}"/>
          </ac:spMkLst>
        </pc:spChg>
        <pc:spChg chg="mod">
          <ac:chgData name="Holger Oswald" userId="S::holger.oswald@sensirion.com::88bb7036-742f-4c0f-9642-8942c7f8ab59" providerId="AD" clId="Web-{12708F65-D774-26CD-1E90-00ECFB5C3F70}" dt="2025-09-15T16:09:16.263" v="114" actId="1076"/>
          <ac:spMkLst>
            <pc:docMk/>
            <pc:sldMk cId="220529656" sldId="2147473822"/>
            <ac:spMk id="86" creationId="{8193F145-AEEF-5E50-90E2-CB4660E7DC39}"/>
          </ac:spMkLst>
        </pc:spChg>
        <pc:spChg chg="mod">
          <ac:chgData name="Holger Oswald" userId="S::holger.oswald@sensirion.com::88bb7036-742f-4c0f-9642-8942c7f8ab59" providerId="AD" clId="Web-{12708F65-D774-26CD-1E90-00ECFB5C3F70}" dt="2025-09-15T16:17:12.944" v="232" actId="1076"/>
          <ac:spMkLst>
            <pc:docMk/>
            <pc:sldMk cId="220529656" sldId="2147473822"/>
            <ac:spMk id="87" creationId="{CCAE7FFD-5B20-81B2-A382-606913AA9EA8}"/>
          </ac:spMkLst>
        </pc:spChg>
        <pc:spChg chg="mod">
          <ac:chgData name="Holger Oswald" userId="S::holger.oswald@sensirion.com::88bb7036-742f-4c0f-9642-8942c7f8ab59" providerId="AD" clId="Web-{12708F65-D774-26CD-1E90-00ECFB5C3F70}" dt="2025-09-15T16:17:19.475" v="234" actId="1076"/>
          <ac:spMkLst>
            <pc:docMk/>
            <pc:sldMk cId="220529656" sldId="2147473822"/>
            <ac:spMk id="88" creationId="{E7FB03E1-5461-32A8-F68B-5FE660A3847A}"/>
          </ac:spMkLst>
        </pc:spChg>
        <pc:spChg chg="mod">
          <ac:chgData name="Holger Oswald" userId="S::holger.oswald@sensirion.com::88bb7036-742f-4c0f-9642-8942c7f8ab59" providerId="AD" clId="Web-{12708F65-D774-26CD-1E90-00ECFB5C3F70}" dt="2025-09-15T16:09:16.544" v="117" actId="1076"/>
          <ac:spMkLst>
            <pc:docMk/>
            <pc:sldMk cId="220529656" sldId="2147473822"/>
            <ac:spMk id="89" creationId="{3469A48C-EB66-2804-74B5-3AF1A33C9F97}"/>
          </ac:spMkLst>
        </pc:spChg>
        <pc:spChg chg="mod">
          <ac:chgData name="Holger Oswald" userId="S::holger.oswald@sensirion.com::88bb7036-742f-4c0f-9642-8942c7f8ab59" providerId="AD" clId="Web-{12708F65-D774-26CD-1E90-00ECFB5C3F70}" dt="2025-09-15T16:12:18.424" v="219" actId="1076"/>
          <ac:spMkLst>
            <pc:docMk/>
            <pc:sldMk cId="220529656" sldId="2147473822"/>
            <ac:spMk id="90" creationId="{4B80D766-2693-5A82-5C69-5595C484AD67}"/>
          </ac:spMkLst>
        </pc:spChg>
        <pc:spChg chg="mod">
          <ac:chgData name="Holger Oswald" userId="S::holger.oswald@sensirion.com::88bb7036-742f-4c0f-9642-8942c7f8ab59" providerId="AD" clId="Web-{12708F65-D774-26CD-1E90-00ECFB5C3F70}" dt="2025-09-15T16:17:13.038" v="233" actId="1076"/>
          <ac:spMkLst>
            <pc:docMk/>
            <pc:sldMk cId="220529656" sldId="2147473822"/>
            <ac:spMk id="91" creationId="{E180477B-9CC5-5946-A87C-90B280F417D6}"/>
          </ac:spMkLst>
        </pc:spChg>
        <pc:spChg chg="mod">
          <ac:chgData name="Holger Oswald" userId="S::holger.oswald@sensirion.com::88bb7036-742f-4c0f-9642-8942c7f8ab59" providerId="AD" clId="Web-{12708F65-D774-26CD-1E90-00ECFB5C3F70}" dt="2025-09-15T16:17:19.569" v="235" actId="1076"/>
          <ac:spMkLst>
            <pc:docMk/>
            <pc:sldMk cId="220529656" sldId="2147473822"/>
            <ac:spMk id="92" creationId="{81261C63-6F2C-095F-4814-1D4081ED8505}"/>
          </ac:spMkLst>
        </pc:spChg>
        <pc:spChg chg="mod">
          <ac:chgData name="Holger Oswald" userId="S::holger.oswald@sensirion.com::88bb7036-742f-4c0f-9642-8942c7f8ab59" providerId="AD" clId="Web-{12708F65-D774-26CD-1E90-00ECFB5C3F70}" dt="2025-09-15T16:11:27.469" v="200" actId="1076"/>
          <ac:spMkLst>
            <pc:docMk/>
            <pc:sldMk cId="220529656" sldId="2147473822"/>
            <ac:spMk id="94" creationId="{353EDE17-8DBC-6F6D-5FD7-CE40B2721021}"/>
          </ac:spMkLst>
        </pc:spChg>
        <pc:spChg chg="mod">
          <ac:chgData name="Holger Oswald" userId="S::holger.oswald@sensirion.com::88bb7036-742f-4c0f-9642-8942c7f8ab59" providerId="AD" clId="Web-{12708F65-D774-26CD-1E90-00ECFB5C3F70}" dt="2025-09-15T16:11:24.563" v="194" actId="1076"/>
          <ac:spMkLst>
            <pc:docMk/>
            <pc:sldMk cId="220529656" sldId="2147473822"/>
            <ac:spMk id="95" creationId="{A9BA6618-6F24-A293-4189-9195D47B9F18}"/>
          </ac:spMkLst>
        </pc:spChg>
        <pc:spChg chg="mod">
          <ac:chgData name="Holger Oswald" userId="S::holger.oswald@sensirion.com::88bb7036-742f-4c0f-9642-8942c7f8ab59" providerId="AD" clId="Web-{12708F65-D774-26CD-1E90-00ECFB5C3F70}" dt="2025-09-15T16:11:31.766" v="206" actId="1076"/>
          <ac:spMkLst>
            <pc:docMk/>
            <pc:sldMk cId="220529656" sldId="2147473822"/>
            <ac:spMk id="96" creationId="{B169BF41-7DCD-3533-E107-6A6C49B521BA}"/>
          </ac:spMkLst>
        </pc:spChg>
        <pc:spChg chg="mod">
          <ac:chgData name="Holger Oswald" userId="S::holger.oswald@sensirion.com::88bb7036-742f-4c0f-9642-8942c7f8ab59" providerId="AD" clId="Web-{12708F65-D774-26CD-1E90-00ECFB5C3F70}" dt="2025-09-15T16:11:34.579" v="210" actId="1076"/>
          <ac:spMkLst>
            <pc:docMk/>
            <pc:sldMk cId="220529656" sldId="2147473822"/>
            <ac:spMk id="97" creationId="{171E2C48-E818-2919-A0BE-E422CBD4EFFC}"/>
          </ac:spMkLst>
        </pc:spChg>
        <pc:spChg chg="mod">
          <ac:chgData name="Holger Oswald" userId="S::holger.oswald@sensirion.com::88bb7036-742f-4c0f-9642-8942c7f8ab59" providerId="AD" clId="Web-{12708F65-D774-26CD-1E90-00ECFB5C3F70}" dt="2025-09-15T16:12:14.111" v="216" actId="1076"/>
          <ac:spMkLst>
            <pc:docMk/>
            <pc:sldMk cId="220529656" sldId="2147473822"/>
            <ac:spMk id="101" creationId="{A8C157F8-3F62-18DC-091F-5D2E51CB4552}"/>
          </ac:spMkLst>
        </pc:spChg>
        <pc:spChg chg="mod">
          <ac:chgData name="Holger Oswald" userId="S::holger.oswald@sensirion.com::88bb7036-742f-4c0f-9642-8942c7f8ab59" providerId="AD" clId="Web-{12708F65-D774-26CD-1E90-00ECFB5C3F70}" dt="2025-09-15T16:12:14.221" v="217" actId="1076"/>
          <ac:spMkLst>
            <pc:docMk/>
            <pc:sldMk cId="220529656" sldId="2147473822"/>
            <ac:spMk id="102" creationId="{CE134D76-B779-8394-E236-D4EE44F7AD67}"/>
          </ac:spMkLst>
        </pc:spChg>
        <pc:spChg chg="mod">
          <ac:chgData name="Holger Oswald" userId="S::holger.oswald@sensirion.com::88bb7036-742f-4c0f-9642-8942c7f8ab59" providerId="AD" clId="Web-{12708F65-D774-26CD-1E90-00ECFB5C3F70}" dt="2025-09-15T16:12:14.346" v="218" actId="1076"/>
          <ac:spMkLst>
            <pc:docMk/>
            <pc:sldMk cId="220529656" sldId="2147473822"/>
            <ac:spMk id="103" creationId="{E925A218-0E9A-B3AF-BB36-574119458918}"/>
          </ac:spMkLst>
        </pc:spChg>
        <pc:spChg chg="mod">
          <ac:chgData name="Holger Oswald" userId="S::holger.oswald@sensirion.com::88bb7036-742f-4c0f-9642-8942c7f8ab59" providerId="AD" clId="Web-{12708F65-D774-26CD-1E90-00ECFB5C3F70}" dt="2025-09-15T16:11:43.907" v="212" actId="20577"/>
          <ac:spMkLst>
            <pc:docMk/>
            <pc:sldMk cId="220529656" sldId="2147473822"/>
            <ac:spMk id="104" creationId="{FE7EE22B-B6B8-5BEE-A436-C39561EBF500}"/>
          </ac:spMkLst>
        </pc:spChg>
        <pc:spChg chg="mod">
          <ac:chgData name="Holger Oswald" userId="S::holger.oswald@sensirion.com::88bb7036-742f-4c0f-9642-8942c7f8ab59" providerId="AD" clId="Web-{12708F65-D774-26CD-1E90-00ECFB5C3F70}" dt="2025-09-15T16:10:55.625" v="162" actId="1076"/>
          <ac:spMkLst>
            <pc:docMk/>
            <pc:sldMk cId="220529656" sldId="2147473822"/>
            <ac:spMk id="107" creationId="{2CF3FF8A-C456-9C67-1574-960D263F56CF}"/>
          </ac:spMkLst>
        </pc:spChg>
        <pc:spChg chg="mod">
          <ac:chgData name="Holger Oswald" userId="S::holger.oswald@sensirion.com::88bb7036-742f-4c0f-9642-8942c7f8ab59" providerId="AD" clId="Web-{12708F65-D774-26CD-1E90-00ECFB5C3F70}" dt="2025-09-15T16:11:20.563" v="191" actId="1076"/>
          <ac:spMkLst>
            <pc:docMk/>
            <pc:sldMk cId="220529656" sldId="2147473822"/>
            <ac:spMk id="112" creationId="{CDA5DE71-EEAB-C545-63A6-051FA8292E30}"/>
          </ac:spMkLst>
        </pc:spChg>
        <pc:picChg chg="mod">
          <ac:chgData name="Holger Oswald" userId="S::holger.oswald@sensirion.com::88bb7036-742f-4c0f-9642-8942c7f8ab59" providerId="AD" clId="Web-{12708F65-D774-26CD-1E90-00ECFB5C3F70}" dt="2025-09-15T16:13:41.191" v="228" actId="1076"/>
          <ac:picMkLst>
            <pc:docMk/>
            <pc:sldMk cId="220529656" sldId="2147473822"/>
            <ac:picMk id="68" creationId="{6787A327-E548-F7C4-1B3D-AAC255F1623F}"/>
          </ac:picMkLst>
        </pc:picChg>
        <pc:picChg chg="mod">
          <ac:chgData name="Holger Oswald" userId="S::holger.oswald@sensirion.com::88bb7036-742f-4c0f-9642-8942c7f8ab59" providerId="AD" clId="Web-{12708F65-D774-26CD-1E90-00ECFB5C3F70}" dt="2025-09-15T16:13:37.113" v="226" actId="1076"/>
          <ac:picMkLst>
            <pc:docMk/>
            <pc:sldMk cId="220529656" sldId="2147473822"/>
            <ac:picMk id="69" creationId="{080D2273-AD1C-C0B9-0E89-11A8CCA3A62C}"/>
          </ac:picMkLst>
        </pc:picChg>
        <pc:picChg chg="add del mod">
          <ac:chgData name="Holger Oswald" userId="S::holger.oswald@sensirion.com::88bb7036-742f-4c0f-9642-8942c7f8ab59" providerId="AD" clId="Web-{12708F65-D774-26CD-1E90-00ECFB5C3F70}" dt="2025-09-15T15:52:02.545" v="81"/>
          <ac:picMkLst>
            <pc:docMk/>
            <pc:sldMk cId="220529656" sldId="2147473822"/>
            <ac:picMk id="71" creationId="{C41B685D-47F4-4087-1E39-237DAC82F195}"/>
          </ac:picMkLst>
        </pc:picChg>
        <pc:picChg chg="add mod">
          <ac:chgData name="Holger Oswald" userId="S::holger.oswald@sensirion.com::88bb7036-742f-4c0f-9642-8942c7f8ab59" providerId="AD" clId="Web-{12708F65-D774-26CD-1E90-00ECFB5C3F70}" dt="2025-09-15T16:13:30.097" v="225" actId="14100"/>
          <ac:picMkLst>
            <pc:docMk/>
            <pc:sldMk cId="220529656" sldId="2147473822"/>
            <ac:picMk id="72" creationId="{1A3DE656-E1E1-760C-C5BB-637BD7AFA777}"/>
          </ac:picMkLst>
        </pc:picChg>
        <pc:picChg chg="add mod">
          <ac:chgData name="Holger Oswald" userId="S::holger.oswald@sensirion.com::88bb7036-742f-4c0f-9642-8942c7f8ab59" providerId="AD" clId="Web-{12708F65-D774-26CD-1E90-00ECFB5C3F70}" dt="2025-09-15T16:13:44.566" v="229" actId="1076"/>
          <ac:picMkLst>
            <pc:docMk/>
            <pc:sldMk cId="220529656" sldId="2147473822"/>
            <ac:picMk id="73" creationId="{D666F517-D417-E710-1E4E-ED405EF0A220}"/>
          </ac:picMkLst>
        </pc:picChg>
        <pc:picChg chg="mod">
          <ac:chgData name="Holger Oswald" userId="S::holger.oswald@sensirion.com::88bb7036-742f-4c0f-9642-8942c7f8ab59" providerId="AD" clId="Web-{12708F65-D774-26CD-1E90-00ECFB5C3F70}" dt="2025-09-15T15:49:50.842" v="55" actId="1076"/>
          <ac:picMkLst>
            <pc:docMk/>
            <pc:sldMk cId="220529656" sldId="2147473822"/>
            <ac:picMk id="76" creationId="{5E78053B-D60A-C97F-1DAD-B3251E006320}"/>
          </ac:picMkLst>
        </pc:picChg>
        <pc:picChg chg="mod">
          <ac:chgData name="Holger Oswald" userId="S::holger.oswald@sensirion.com::88bb7036-742f-4c0f-9642-8942c7f8ab59" providerId="AD" clId="Web-{12708F65-D774-26CD-1E90-00ECFB5C3F70}" dt="2025-09-15T15:49:50.936" v="56" actId="1076"/>
          <ac:picMkLst>
            <pc:docMk/>
            <pc:sldMk cId="220529656" sldId="2147473822"/>
            <ac:picMk id="77" creationId="{A531E4E9-CDAC-B1DA-494D-777A4745EDD1}"/>
          </ac:picMkLst>
        </pc:picChg>
        <pc:picChg chg="mod">
          <ac:chgData name="Holger Oswald" userId="S::holger.oswald@sensirion.com::88bb7036-742f-4c0f-9642-8942c7f8ab59" providerId="AD" clId="Web-{12708F65-D774-26CD-1E90-00ECFB5C3F70}" dt="2025-09-15T15:49:51.327" v="60" actId="1076"/>
          <ac:picMkLst>
            <pc:docMk/>
            <pc:sldMk cId="220529656" sldId="2147473822"/>
            <ac:picMk id="84" creationId="{CF84E561-2135-EABE-D39E-6C66FA00F7A3}"/>
          </ac:picMkLst>
        </pc:picChg>
        <pc:picChg chg="mod">
          <ac:chgData name="Holger Oswald" userId="S::holger.oswald@sensirion.com::88bb7036-742f-4c0f-9642-8942c7f8ab59" providerId="AD" clId="Web-{12708F65-D774-26CD-1E90-00ECFB5C3F70}" dt="2025-09-15T16:11:24.360" v="192" actId="1076"/>
          <ac:picMkLst>
            <pc:docMk/>
            <pc:sldMk cId="220529656" sldId="2147473822"/>
            <ac:picMk id="93" creationId="{0D23645C-CD4F-EF40-23E3-5F25C1E1DE94}"/>
          </ac:picMkLst>
        </pc:picChg>
        <pc:picChg chg="mod">
          <ac:chgData name="Holger Oswald" userId="S::holger.oswald@sensirion.com::88bb7036-742f-4c0f-9642-8942c7f8ab59" providerId="AD" clId="Web-{12708F65-D774-26CD-1E90-00ECFB5C3F70}" dt="2025-09-15T16:11:31.954" v="208" actId="1076"/>
          <ac:picMkLst>
            <pc:docMk/>
            <pc:sldMk cId="220529656" sldId="2147473822"/>
            <ac:picMk id="99" creationId="{5A371746-1B93-D2F1-D1E2-21C2DE1D7503}"/>
          </ac:picMkLst>
        </pc:picChg>
        <pc:picChg chg="mod">
          <ac:chgData name="Holger Oswald" userId="S::holger.oswald@sensirion.com::88bb7036-742f-4c0f-9642-8942c7f8ab59" providerId="AD" clId="Web-{12708F65-D774-26CD-1E90-00ECFB5C3F70}" dt="2025-09-15T16:11:34.704" v="211" actId="1076"/>
          <ac:picMkLst>
            <pc:docMk/>
            <pc:sldMk cId="220529656" sldId="2147473822"/>
            <ac:picMk id="100" creationId="{BAEF73F3-5ACF-43BD-9878-6B55FB796AD7}"/>
          </ac:picMkLst>
        </pc:picChg>
        <pc:picChg chg="mod">
          <ac:chgData name="Holger Oswald" userId="S::holger.oswald@sensirion.com::88bb7036-742f-4c0f-9642-8942c7f8ab59" providerId="AD" clId="Web-{12708F65-D774-26CD-1E90-00ECFB5C3F70}" dt="2025-09-15T16:11:27.938" v="205" actId="1076"/>
          <ac:picMkLst>
            <pc:docMk/>
            <pc:sldMk cId="220529656" sldId="2147473822"/>
            <ac:picMk id="106" creationId="{0832BA91-2BE9-49EE-EF46-97C88D882FEA}"/>
          </ac:picMkLst>
        </pc:picChg>
        <pc:picChg chg="mod">
          <ac:chgData name="Holger Oswald" userId="S::holger.oswald@sensirion.com::88bb7036-742f-4c0f-9642-8942c7f8ab59" providerId="AD" clId="Web-{12708F65-D774-26CD-1E90-00ECFB5C3F70}" dt="2025-09-15T16:11:20.469" v="190" actId="1076"/>
          <ac:picMkLst>
            <pc:docMk/>
            <pc:sldMk cId="220529656" sldId="2147473822"/>
            <ac:picMk id="3074" creationId="{9FFF0253-65F5-728A-E2D3-4D548CC9D35E}"/>
          </ac:picMkLst>
        </pc:picChg>
      </pc:sldChg>
      <pc:sldChg chg="modSp">
        <pc:chgData name="Holger Oswald" userId="S::holger.oswald@sensirion.com::88bb7036-742f-4c0f-9642-8942c7f8ab59" providerId="AD" clId="Web-{12708F65-D774-26CD-1E90-00ECFB5C3F70}" dt="2025-09-15T16:23:51.325" v="239" actId="20577"/>
        <pc:sldMkLst>
          <pc:docMk/>
          <pc:sldMk cId="2188496406" sldId="2147473826"/>
        </pc:sldMkLst>
        <pc:spChg chg="mod">
          <ac:chgData name="Holger Oswald" userId="S::holger.oswald@sensirion.com::88bb7036-742f-4c0f-9642-8942c7f8ab59" providerId="AD" clId="Web-{12708F65-D774-26CD-1E90-00ECFB5C3F70}" dt="2025-09-15T16:23:51.325" v="239" actId="20577"/>
          <ac:spMkLst>
            <pc:docMk/>
            <pc:sldMk cId="2188496406" sldId="2147473826"/>
            <ac:spMk id="27" creationId="{4F840F60-F270-D098-30EA-C9C5F134F989}"/>
          </ac:spMkLst>
        </pc:spChg>
      </pc:sldChg>
    </pc:docChg>
  </pc:docChgLst>
  <pc:docChgLst>
    <pc:chgData name="Katie Pflanz" userId="S::katie.pflanz@sensirion.com::845eba84-3e5d-4f97-8ebe-e6c0a73342f9" providerId="AD" clId="Web-{27594D85-C715-AF43-2017-5C0219351346}"/>
    <pc:docChg chg="modSld">
      <pc:chgData name="Katie Pflanz" userId="S::katie.pflanz@sensirion.com::845eba84-3e5d-4f97-8ebe-e6c0a73342f9" providerId="AD" clId="Web-{27594D85-C715-AF43-2017-5C0219351346}" dt="2025-09-04T15:08:19.702" v="29" actId="20577"/>
      <pc:docMkLst>
        <pc:docMk/>
      </pc:docMkLst>
      <pc:sldChg chg="modSp">
        <pc:chgData name="Katie Pflanz" userId="S::katie.pflanz@sensirion.com::845eba84-3e5d-4f97-8ebe-e6c0a73342f9" providerId="AD" clId="Web-{27594D85-C715-AF43-2017-5C0219351346}" dt="2025-09-04T15:08:19.702" v="29" actId="20577"/>
        <pc:sldMkLst>
          <pc:docMk/>
          <pc:sldMk cId="734946971" sldId="2147473805"/>
        </pc:sldMkLst>
        <pc:spChg chg="mod">
          <ac:chgData name="Katie Pflanz" userId="S::katie.pflanz@sensirion.com::845eba84-3e5d-4f97-8ebe-e6c0a73342f9" providerId="AD" clId="Web-{27594D85-C715-AF43-2017-5C0219351346}" dt="2025-09-04T15:08:19.702" v="29" actId="20577"/>
          <ac:spMkLst>
            <pc:docMk/>
            <pc:sldMk cId="734946971" sldId="2147473805"/>
            <ac:spMk id="4" creationId="{81FD6FAB-9091-CF0C-A14E-254C15550098}"/>
          </ac:spMkLst>
        </pc:spChg>
      </pc:sldChg>
    </pc:docChg>
  </pc:docChgLst>
  <pc:docChgLst>
    <pc:chgData name="David Kenneth" userId="d0824040-db21-42f7-b42e-bcd6844b4c04" providerId="ADAL" clId="{F69DFEBA-22C7-4224-8390-2BFFAFA3A993}"/>
    <pc:docChg chg="undo custSel modSld sldOrd">
      <pc:chgData name="David Kenneth" userId="d0824040-db21-42f7-b42e-bcd6844b4c04" providerId="ADAL" clId="{F69DFEBA-22C7-4224-8390-2BFFAFA3A993}" dt="2025-09-11T22:49:19.583" v="730" actId="20577"/>
      <pc:docMkLst>
        <pc:docMk/>
      </pc:docMkLst>
      <pc:sldChg chg="modSp mod">
        <pc:chgData name="David Kenneth" userId="d0824040-db21-42f7-b42e-bcd6844b4c04" providerId="ADAL" clId="{F69DFEBA-22C7-4224-8390-2BFFAFA3A993}" dt="2025-09-11T22:42:14.646" v="702" actId="20577"/>
        <pc:sldMkLst>
          <pc:docMk/>
          <pc:sldMk cId="3221050036" sldId="256"/>
        </pc:sldMkLst>
        <pc:spChg chg="mod">
          <ac:chgData name="David Kenneth" userId="d0824040-db21-42f7-b42e-bcd6844b4c04" providerId="ADAL" clId="{F69DFEBA-22C7-4224-8390-2BFFAFA3A993}" dt="2025-09-11T22:42:14.646" v="702" actId="20577"/>
          <ac:spMkLst>
            <pc:docMk/>
            <pc:sldMk cId="3221050036" sldId="256"/>
            <ac:spMk id="17" creationId="{B32F0BE8-6D12-51B2-B0DE-E4089A1F29E5}"/>
          </ac:spMkLst>
        </pc:spChg>
      </pc:sldChg>
      <pc:sldChg chg="modSp mod ord">
        <pc:chgData name="David Kenneth" userId="d0824040-db21-42f7-b42e-bcd6844b4c04" providerId="ADAL" clId="{F69DFEBA-22C7-4224-8390-2BFFAFA3A993}" dt="2025-09-11T22:28:09.159" v="515" actId="20577"/>
        <pc:sldMkLst>
          <pc:docMk/>
          <pc:sldMk cId="3262814712" sldId="556"/>
        </pc:sldMkLst>
        <pc:spChg chg="mod">
          <ac:chgData name="David Kenneth" userId="d0824040-db21-42f7-b42e-bcd6844b4c04" providerId="ADAL" clId="{F69DFEBA-22C7-4224-8390-2BFFAFA3A993}" dt="2025-09-11T22:28:09.159" v="515" actId="20577"/>
          <ac:spMkLst>
            <pc:docMk/>
            <pc:sldMk cId="3262814712" sldId="556"/>
            <ac:spMk id="3" creationId="{9B076291-C646-6F39-DC78-623F507153DA}"/>
          </ac:spMkLst>
        </pc:spChg>
      </pc:sldChg>
      <pc:sldChg chg="modSp mod ord">
        <pc:chgData name="David Kenneth" userId="d0824040-db21-42f7-b42e-bcd6844b4c04" providerId="ADAL" clId="{F69DFEBA-22C7-4224-8390-2BFFAFA3A993}" dt="2025-09-11T22:42:35.630" v="711" actId="20577"/>
        <pc:sldMkLst>
          <pc:docMk/>
          <pc:sldMk cId="3848458262" sldId="2147473817"/>
        </pc:sldMkLst>
        <pc:spChg chg="mod">
          <ac:chgData name="David Kenneth" userId="d0824040-db21-42f7-b42e-bcd6844b4c04" providerId="ADAL" clId="{F69DFEBA-22C7-4224-8390-2BFFAFA3A993}" dt="2025-09-11T22:42:35.630" v="711" actId="20577"/>
          <ac:spMkLst>
            <pc:docMk/>
            <pc:sldMk cId="3848458262" sldId="2147473817"/>
            <ac:spMk id="5" creationId="{042498EB-3D90-4AC5-638D-89FE879D6C09}"/>
          </ac:spMkLst>
        </pc:spChg>
        <pc:spChg chg="mod">
          <ac:chgData name="David Kenneth" userId="d0824040-db21-42f7-b42e-bcd6844b4c04" providerId="ADAL" clId="{F69DFEBA-22C7-4224-8390-2BFFAFA3A993}" dt="2025-09-11T22:22:10.621" v="340" actId="20577"/>
          <ac:spMkLst>
            <pc:docMk/>
            <pc:sldMk cId="3848458262" sldId="2147473817"/>
            <ac:spMk id="6" creationId="{B276241F-CCE5-8D3E-D6AF-BC98B08E0D10}"/>
          </ac:spMkLst>
        </pc:spChg>
      </pc:sldChg>
      <pc:sldChg chg="addSp delSp modSp mod">
        <pc:chgData name="David Kenneth" userId="d0824040-db21-42f7-b42e-bcd6844b4c04" providerId="ADAL" clId="{F69DFEBA-22C7-4224-8390-2BFFAFA3A993}" dt="2025-09-11T22:38:56.522" v="612" actId="1076"/>
        <pc:sldMkLst>
          <pc:docMk/>
          <pc:sldMk cId="1509104501" sldId="2147473819"/>
        </pc:sldMkLst>
        <pc:spChg chg="mod">
          <ac:chgData name="David Kenneth" userId="d0824040-db21-42f7-b42e-bcd6844b4c04" providerId="ADAL" clId="{F69DFEBA-22C7-4224-8390-2BFFAFA3A993}" dt="2025-09-11T22:33:21.176" v="554" actId="20577"/>
          <ac:spMkLst>
            <pc:docMk/>
            <pc:sldMk cId="1509104501" sldId="2147473819"/>
            <ac:spMk id="2" creationId="{ABB724CC-5ED8-BD97-9499-6571BC93AF97}"/>
          </ac:spMkLst>
        </pc:spChg>
        <pc:spChg chg="mod">
          <ac:chgData name="David Kenneth" userId="d0824040-db21-42f7-b42e-bcd6844b4c04" providerId="ADAL" clId="{F69DFEBA-22C7-4224-8390-2BFFAFA3A993}" dt="2025-09-11T22:37:55.923" v="605" actId="1076"/>
          <ac:spMkLst>
            <pc:docMk/>
            <pc:sldMk cId="1509104501" sldId="2147473819"/>
            <ac:spMk id="5" creationId="{45086598-7000-C6F8-28D2-5395BAD720C7}"/>
          </ac:spMkLst>
        </pc:spChg>
        <pc:spChg chg="mod">
          <ac:chgData name="David Kenneth" userId="d0824040-db21-42f7-b42e-bcd6844b4c04" providerId="ADAL" clId="{F69DFEBA-22C7-4224-8390-2BFFAFA3A993}" dt="2025-09-11T22:38:14.470" v="607" actId="1076"/>
          <ac:spMkLst>
            <pc:docMk/>
            <pc:sldMk cId="1509104501" sldId="2147473819"/>
            <ac:spMk id="8" creationId="{60CA6381-3B36-43C3-B64B-BC0777DEE285}"/>
          </ac:spMkLst>
        </pc:spChg>
        <pc:spChg chg="add mod">
          <ac:chgData name="David Kenneth" userId="d0824040-db21-42f7-b42e-bcd6844b4c04" providerId="ADAL" clId="{F69DFEBA-22C7-4224-8390-2BFFAFA3A993}" dt="2025-09-11T22:38:44.470" v="610" actId="14100"/>
          <ac:spMkLst>
            <pc:docMk/>
            <pc:sldMk cId="1509104501" sldId="2147473819"/>
            <ac:spMk id="9" creationId="{B6B8D849-A9B6-7B0E-3146-D28E7D3CA08F}"/>
          </ac:spMkLst>
        </pc:spChg>
        <pc:spChg chg="mod">
          <ac:chgData name="David Kenneth" userId="d0824040-db21-42f7-b42e-bcd6844b4c04" providerId="ADAL" clId="{F69DFEBA-22C7-4224-8390-2BFFAFA3A993}" dt="2025-09-11T22:37:55.923" v="605" actId="1076"/>
          <ac:spMkLst>
            <pc:docMk/>
            <pc:sldMk cId="1509104501" sldId="2147473819"/>
            <ac:spMk id="17" creationId="{E14E2DDD-1A4D-6B27-8CF6-080B53445175}"/>
          </ac:spMkLst>
        </pc:spChg>
        <pc:spChg chg="mod">
          <ac:chgData name="David Kenneth" userId="d0824040-db21-42f7-b42e-bcd6844b4c04" providerId="ADAL" clId="{F69DFEBA-22C7-4224-8390-2BFFAFA3A993}" dt="2025-09-11T22:38:14.470" v="607" actId="1076"/>
          <ac:spMkLst>
            <pc:docMk/>
            <pc:sldMk cId="1509104501" sldId="2147473819"/>
            <ac:spMk id="18" creationId="{5B00B08A-DD31-FAEC-4AAF-366048401CE4}"/>
          </ac:spMkLst>
        </pc:spChg>
        <pc:spChg chg="mod ord">
          <ac:chgData name="David Kenneth" userId="d0824040-db21-42f7-b42e-bcd6844b4c04" providerId="ADAL" clId="{F69DFEBA-22C7-4224-8390-2BFFAFA3A993}" dt="2025-09-11T22:38:01.441" v="606" actId="14100"/>
          <ac:spMkLst>
            <pc:docMk/>
            <pc:sldMk cId="1509104501" sldId="2147473819"/>
            <ac:spMk id="23" creationId="{3B1A1454-5369-6C1C-5495-DE7885484311}"/>
          </ac:spMkLst>
        </pc:spChg>
        <pc:spChg chg="mod">
          <ac:chgData name="David Kenneth" userId="d0824040-db21-42f7-b42e-bcd6844b4c04" providerId="ADAL" clId="{F69DFEBA-22C7-4224-8390-2BFFAFA3A993}" dt="2025-09-11T22:38:20.260" v="608" actId="14100"/>
          <ac:spMkLst>
            <pc:docMk/>
            <pc:sldMk cId="1509104501" sldId="2147473819"/>
            <ac:spMk id="24" creationId="{30B6762E-C9F9-832B-6242-56EFDC872C8C}"/>
          </ac:spMkLst>
        </pc:spChg>
        <pc:spChg chg="mod">
          <ac:chgData name="David Kenneth" userId="d0824040-db21-42f7-b42e-bcd6844b4c04" providerId="ADAL" clId="{F69DFEBA-22C7-4224-8390-2BFFAFA3A993}" dt="2025-09-11T22:38:14.470" v="607" actId="1076"/>
          <ac:spMkLst>
            <pc:docMk/>
            <pc:sldMk cId="1509104501" sldId="2147473819"/>
            <ac:spMk id="28" creationId="{FB727998-50FE-2F61-F4C7-A1AEA7F660BD}"/>
          </ac:spMkLst>
        </pc:spChg>
        <pc:picChg chg="mod">
          <ac:chgData name="David Kenneth" userId="d0824040-db21-42f7-b42e-bcd6844b4c04" providerId="ADAL" clId="{F69DFEBA-22C7-4224-8390-2BFFAFA3A993}" dt="2025-09-11T22:37:55.923" v="605" actId="1076"/>
          <ac:picMkLst>
            <pc:docMk/>
            <pc:sldMk cId="1509104501" sldId="2147473819"/>
            <ac:picMk id="11" creationId="{6C2B3C5B-D0AA-672B-27BC-7AFCBA920F61}"/>
          </ac:picMkLst>
        </pc:picChg>
        <pc:picChg chg="mod">
          <ac:chgData name="David Kenneth" userId="d0824040-db21-42f7-b42e-bcd6844b4c04" providerId="ADAL" clId="{F69DFEBA-22C7-4224-8390-2BFFAFA3A993}" dt="2025-09-11T22:37:55.923" v="605" actId="1076"/>
          <ac:picMkLst>
            <pc:docMk/>
            <pc:sldMk cId="1509104501" sldId="2147473819"/>
            <ac:picMk id="12" creationId="{377EE3E8-5721-3BC6-08BF-890265AD5A2D}"/>
          </ac:picMkLst>
        </pc:picChg>
        <pc:picChg chg="mod">
          <ac:chgData name="David Kenneth" userId="d0824040-db21-42f7-b42e-bcd6844b4c04" providerId="ADAL" clId="{F69DFEBA-22C7-4224-8390-2BFFAFA3A993}" dt="2025-09-11T22:37:55.923" v="605" actId="1076"/>
          <ac:picMkLst>
            <pc:docMk/>
            <pc:sldMk cId="1509104501" sldId="2147473819"/>
            <ac:picMk id="13" creationId="{40A15F58-EFCF-7DF3-8048-BDD4085169D0}"/>
          </ac:picMkLst>
        </pc:picChg>
        <pc:picChg chg="add mod">
          <ac:chgData name="David Kenneth" userId="d0824040-db21-42f7-b42e-bcd6844b4c04" providerId="ADAL" clId="{F69DFEBA-22C7-4224-8390-2BFFAFA3A993}" dt="2025-09-11T22:38:56.522" v="612" actId="1076"/>
          <ac:picMkLst>
            <pc:docMk/>
            <pc:sldMk cId="1509104501" sldId="2147473819"/>
            <ac:picMk id="14" creationId="{E44F3147-24EF-679D-A03E-4815794A09F3}"/>
          </ac:picMkLst>
        </pc:picChg>
        <pc:picChg chg="mod">
          <ac:chgData name="David Kenneth" userId="d0824040-db21-42f7-b42e-bcd6844b4c04" providerId="ADAL" clId="{F69DFEBA-22C7-4224-8390-2BFFAFA3A993}" dt="2025-09-11T22:37:55.923" v="605" actId="1076"/>
          <ac:picMkLst>
            <pc:docMk/>
            <pc:sldMk cId="1509104501" sldId="2147473819"/>
            <ac:picMk id="25" creationId="{3F4F52F8-C5E9-E776-D7B5-4EDC3E258319}"/>
          </ac:picMkLst>
        </pc:picChg>
        <pc:picChg chg="mod">
          <ac:chgData name="David Kenneth" userId="d0824040-db21-42f7-b42e-bcd6844b4c04" providerId="ADAL" clId="{F69DFEBA-22C7-4224-8390-2BFFAFA3A993}" dt="2025-09-11T22:38:14.470" v="607" actId="1076"/>
          <ac:picMkLst>
            <pc:docMk/>
            <pc:sldMk cId="1509104501" sldId="2147473819"/>
            <ac:picMk id="27" creationId="{3C3A8081-3F49-F6BE-91BA-5611CF939068}"/>
          </ac:picMkLst>
        </pc:picChg>
        <pc:picChg chg="mod">
          <ac:chgData name="David Kenneth" userId="d0824040-db21-42f7-b42e-bcd6844b4c04" providerId="ADAL" clId="{F69DFEBA-22C7-4224-8390-2BFFAFA3A993}" dt="2025-09-11T22:38:14.470" v="607" actId="1076"/>
          <ac:picMkLst>
            <pc:docMk/>
            <pc:sldMk cId="1509104501" sldId="2147473819"/>
            <ac:picMk id="1025" creationId="{A9362BA5-C334-FB40-5942-5C953901C0D5}"/>
          </ac:picMkLst>
        </pc:picChg>
      </pc:sldChg>
      <pc:sldChg chg="modSp mod">
        <pc:chgData name="David Kenneth" userId="d0824040-db21-42f7-b42e-bcd6844b4c04" providerId="ADAL" clId="{F69DFEBA-22C7-4224-8390-2BFFAFA3A993}" dt="2025-09-11T22:40:16.434" v="644" actId="113"/>
        <pc:sldMkLst>
          <pc:docMk/>
          <pc:sldMk cId="3259968327" sldId="2147473824"/>
        </pc:sldMkLst>
        <pc:spChg chg="mod">
          <ac:chgData name="David Kenneth" userId="d0824040-db21-42f7-b42e-bcd6844b4c04" providerId="ADAL" clId="{F69DFEBA-22C7-4224-8390-2BFFAFA3A993}" dt="2025-09-11T22:40:16.434" v="644" actId="113"/>
          <ac:spMkLst>
            <pc:docMk/>
            <pc:sldMk cId="3259968327" sldId="2147473824"/>
            <ac:spMk id="3" creationId="{C6FD1A69-98E3-2ABF-E09F-DDBF314136A0}"/>
          </ac:spMkLst>
        </pc:spChg>
      </pc:sldChg>
      <pc:sldChg chg="modSp mod">
        <pc:chgData name="David Kenneth" userId="d0824040-db21-42f7-b42e-bcd6844b4c04" providerId="ADAL" clId="{F69DFEBA-22C7-4224-8390-2BFFAFA3A993}" dt="2025-09-11T22:49:19.583" v="730" actId="20577"/>
        <pc:sldMkLst>
          <pc:docMk/>
          <pc:sldMk cId="3933480761" sldId="2147473830"/>
        </pc:sldMkLst>
        <pc:spChg chg="mod">
          <ac:chgData name="David Kenneth" userId="d0824040-db21-42f7-b42e-bcd6844b4c04" providerId="ADAL" clId="{F69DFEBA-22C7-4224-8390-2BFFAFA3A993}" dt="2025-09-11T22:49:19.583" v="730" actId="20577"/>
          <ac:spMkLst>
            <pc:docMk/>
            <pc:sldMk cId="3933480761" sldId="2147473830"/>
            <ac:spMk id="3" creationId="{73192923-108C-C1F5-12B3-F56F234E9C6A}"/>
          </ac:spMkLst>
        </pc:spChg>
      </pc:sldChg>
    </pc:docChg>
  </pc:docChgLst>
  <pc:docChgLst>
    <pc:chgData name="Holger Oswald" userId="S::holger.oswald@sensirion.com::88bb7036-742f-4c0f-9642-8942c7f8ab59" providerId="AD" clId="Web-{F864711A-BB42-DFF0-A958-6576088D3F71}"/>
    <pc:docChg chg="addSld delSld modSld">
      <pc:chgData name="Holger Oswald" userId="S::holger.oswald@sensirion.com::88bb7036-742f-4c0f-9642-8942c7f8ab59" providerId="AD" clId="Web-{F864711A-BB42-DFF0-A958-6576088D3F71}" dt="2025-09-08T19:12:57.011" v="239" actId="20577"/>
      <pc:docMkLst>
        <pc:docMk/>
      </pc:docMkLst>
      <pc:sldChg chg="del">
        <pc:chgData name="Holger Oswald" userId="S::holger.oswald@sensirion.com::88bb7036-742f-4c0f-9642-8942c7f8ab59" providerId="AD" clId="Web-{F864711A-BB42-DFF0-A958-6576088D3F71}" dt="2025-09-08T18:05:55.402" v="36"/>
        <pc:sldMkLst>
          <pc:docMk/>
          <pc:sldMk cId="3198713874" sldId="530"/>
        </pc:sldMkLst>
      </pc:sldChg>
      <pc:sldChg chg="add del">
        <pc:chgData name="Holger Oswald" userId="S::holger.oswald@sensirion.com::88bb7036-742f-4c0f-9642-8942c7f8ab59" providerId="AD" clId="Web-{F864711A-BB42-DFF0-A958-6576088D3F71}" dt="2025-09-08T18:45:34.361" v="187"/>
        <pc:sldMkLst>
          <pc:docMk/>
          <pc:sldMk cId="4135822502" sldId="532"/>
        </pc:sldMkLst>
      </pc:sldChg>
      <pc:sldChg chg="modSp">
        <pc:chgData name="Holger Oswald" userId="S::holger.oswald@sensirion.com::88bb7036-742f-4c0f-9642-8942c7f8ab59" providerId="AD" clId="Web-{F864711A-BB42-DFF0-A958-6576088D3F71}" dt="2025-09-08T18:16:04.911" v="72" actId="20577"/>
        <pc:sldMkLst>
          <pc:docMk/>
          <pc:sldMk cId="532939883" sldId="551"/>
        </pc:sldMkLst>
      </pc:sldChg>
      <pc:sldChg chg="addSp delSp modSp">
        <pc:chgData name="Holger Oswald" userId="S::holger.oswald@sensirion.com::88bb7036-742f-4c0f-9642-8942c7f8ab59" providerId="AD" clId="Web-{F864711A-BB42-DFF0-A958-6576088D3F71}" dt="2025-09-08T19:12:57.011" v="239" actId="20577"/>
        <pc:sldMkLst>
          <pc:docMk/>
          <pc:sldMk cId="599990803" sldId="554"/>
        </pc:sldMkLst>
        <pc:spChg chg="mod">
          <ac:chgData name="Holger Oswald" userId="S::holger.oswald@sensirion.com::88bb7036-742f-4c0f-9642-8942c7f8ab59" providerId="AD" clId="Web-{F864711A-BB42-DFF0-A958-6576088D3F71}" dt="2025-09-08T19:12:57.011" v="239" actId="20577"/>
          <ac:spMkLst>
            <pc:docMk/>
            <pc:sldMk cId="599990803" sldId="554"/>
            <ac:spMk id="3" creationId="{65F51398-780D-D0F9-EFE9-24EC2C666A04}"/>
          </ac:spMkLst>
        </pc:spChg>
        <pc:picChg chg="add mod">
          <ac:chgData name="Holger Oswald" userId="S::holger.oswald@sensirion.com::88bb7036-742f-4c0f-9642-8942c7f8ab59" providerId="AD" clId="Web-{F864711A-BB42-DFF0-A958-6576088D3F71}" dt="2025-09-08T19:12:47.230" v="237" actId="1076"/>
          <ac:picMkLst>
            <pc:docMk/>
            <pc:sldMk cId="599990803" sldId="554"/>
            <ac:picMk id="10" creationId="{BE872F92-B68E-02C9-24A6-9F8A2BF391FA}"/>
          </ac:picMkLst>
        </pc:picChg>
        <pc:picChg chg="add mod">
          <ac:chgData name="Holger Oswald" userId="S::holger.oswald@sensirion.com::88bb7036-742f-4c0f-9642-8942c7f8ab59" providerId="AD" clId="Web-{F864711A-BB42-DFF0-A958-6576088D3F71}" dt="2025-09-08T19:12:44.667" v="236" actId="1076"/>
          <ac:picMkLst>
            <pc:docMk/>
            <pc:sldMk cId="599990803" sldId="554"/>
            <ac:picMk id="13" creationId="{6DC47897-2811-9CD8-9588-7C080A8A88F5}"/>
          </ac:picMkLst>
        </pc:picChg>
      </pc:sldChg>
      <pc:sldChg chg="delSp del delAnim">
        <pc:chgData name="Holger Oswald" userId="S::holger.oswald@sensirion.com::88bb7036-742f-4c0f-9642-8942c7f8ab59" providerId="AD" clId="Web-{F864711A-BB42-DFF0-A958-6576088D3F71}" dt="2025-09-08T18:45:34.361" v="186"/>
        <pc:sldMkLst>
          <pc:docMk/>
          <pc:sldMk cId="2472500051" sldId="2147473799"/>
        </pc:sldMkLst>
      </pc:sldChg>
      <pc:sldChg chg="del">
        <pc:chgData name="Holger Oswald" userId="S::holger.oswald@sensirion.com::88bb7036-742f-4c0f-9642-8942c7f8ab59" providerId="AD" clId="Web-{F864711A-BB42-DFF0-A958-6576088D3F71}" dt="2025-09-08T18:45:34.346" v="185"/>
        <pc:sldMkLst>
          <pc:docMk/>
          <pc:sldMk cId="3161528132" sldId="2147473800"/>
        </pc:sldMkLst>
      </pc:sldChg>
      <pc:sldChg chg="modSp">
        <pc:chgData name="Holger Oswald" userId="S::holger.oswald@sensirion.com::88bb7036-742f-4c0f-9642-8942c7f8ab59" providerId="AD" clId="Web-{F864711A-BB42-DFF0-A958-6576088D3F71}" dt="2025-09-08T19:04:00.878" v="200" actId="20577"/>
        <pc:sldMkLst>
          <pc:docMk/>
          <pc:sldMk cId="3588711046" sldId="2147473804"/>
        </pc:sldMkLst>
        <pc:spChg chg="mod">
          <ac:chgData name="Holger Oswald" userId="S::holger.oswald@sensirion.com::88bb7036-742f-4c0f-9642-8942c7f8ab59" providerId="AD" clId="Web-{F864711A-BB42-DFF0-A958-6576088D3F71}" dt="2025-09-08T19:04:00.878" v="200" actId="20577"/>
          <ac:spMkLst>
            <pc:docMk/>
            <pc:sldMk cId="3588711046" sldId="2147473804"/>
            <ac:spMk id="6" creationId="{09E0909A-BF2D-A492-6823-4041CA4F5BF9}"/>
          </ac:spMkLst>
        </pc:spChg>
      </pc:sldChg>
      <pc:sldChg chg="addSp delSp modSp">
        <pc:chgData name="Holger Oswald" userId="S::holger.oswald@sensirion.com::88bb7036-742f-4c0f-9642-8942c7f8ab59" providerId="AD" clId="Web-{F864711A-BB42-DFF0-A958-6576088D3F71}" dt="2025-09-08T18:35:04.446" v="180"/>
        <pc:sldMkLst>
          <pc:docMk/>
          <pc:sldMk cId="1509104501" sldId="2147473819"/>
        </pc:sldMkLst>
        <pc:spChg chg="mod">
          <ac:chgData name="Holger Oswald" userId="S::holger.oswald@sensirion.com::88bb7036-742f-4c0f-9642-8942c7f8ab59" providerId="AD" clId="Web-{F864711A-BB42-DFF0-A958-6576088D3F71}" dt="2025-09-08T18:18:15.241" v="102" actId="20577"/>
          <ac:spMkLst>
            <pc:docMk/>
            <pc:sldMk cId="1509104501" sldId="2147473819"/>
            <ac:spMk id="2" creationId="{ABB724CC-5ED8-BD97-9499-6571BC93AF97}"/>
          </ac:spMkLst>
        </pc:spChg>
        <pc:picChg chg="add mod">
          <ac:chgData name="Holger Oswald" userId="S::holger.oswald@sensirion.com::88bb7036-742f-4c0f-9642-8942c7f8ab59" providerId="AD" clId="Web-{F864711A-BB42-DFF0-A958-6576088D3F71}" dt="2025-09-08T18:35:01.586" v="179"/>
          <ac:picMkLst>
            <pc:docMk/>
            <pc:sldMk cId="1509104501" sldId="2147473819"/>
            <ac:picMk id="20" creationId="{FD1D656E-9516-71A2-1D46-281F332EDC94}"/>
          </ac:picMkLst>
        </pc:picChg>
        <pc:picChg chg="add mod">
          <ac:chgData name="Holger Oswald" userId="S::holger.oswald@sensirion.com::88bb7036-742f-4c0f-9642-8942c7f8ab59" providerId="AD" clId="Web-{F864711A-BB42-DFF0-A958-6576088D3F71}" dt="2025-09-08T18:35:04.446" v="180"/>
          <ac:picMkLst>
            <pc:docMk/>
            <pc:sldMk cId="1509104501" sldId="2147473819"/>
            <ac:picMk id="29" creationId="{0A619AB4-72E5-D624-605D-9106D2893A88}"/>
          </ac:picMkLst>
        </pc:picChg>
      </pc:sldChg>
      <pc:sldChg chg="addSp delSp modSp">
        <pc:chgData name="Holger Oswald" userId="S::holger.oswald@sensirion.com::88bb7036-742f-4c0f-9642-8942c7f8ab59" providerId="AD" clId="Web-{F864711A-BB42-DFF0-A958-6576088D3F71}" dt="2025-09-08T18:35:14.696" v="184"/>
        <pc:sldMkLst>
          <pc:docMk/>
          <pc:sldMk cId="220529656" sldId="2147473822"/>
        </pc:sldMkLst>
        <pc:spChg chg="mod">
          <ac:chgData name="Holger Oswald" userId="S::holger.oswald@sensirion.com::88bb7036-742f-4c0f-9642-8942c7f8ab59" providerId="AD" clId="Web-{F864711A-BB42-DFF0-A958-6576088D3F71}" dt="2025-09-08T16:32:52.146" v="3" actId="20577"/>
          <ac:spMkLst>
            <pc:docMk/>
            <pc:sldMk cId="220529656" sldId="2147473822"/>
            <ac:spMk id="102" creationId="{CE134D76-B779-8394-E236-D4EE44F7AD67}"/>
          </ac:spMkLst>
        </pc:spChg>
        <pc:spChg chg="mod">
          <ac:chgData name="Holger Oswald" userId="S::holger.oswald@sensirion.com::88bb7036-742f-4c0f-9642-8942c7f8ab59" providerId="AD" clId="Web-{F864711A-BB42-DFF0-A958-6576088D3F71}" dt="2025-09-08T18:10:53.875" v="58" actId="20577"/>
          <ac:spMkLst>
            <pc:docMk/>
            <pc:sldMk cId="220529656" sldId="2147473822"/>
            <ac:spMk id="108" creationId="{C08B9208-F2DB-323E-6C28-9C5B7982721F}"/>
          </ac:spMkLst>
        </pc:spChg>
        <pc:picChg chg="add mod">
          <ac:chgData name="Holger Oswald" userId="S::holger.oswald@sensirion.com::88bb7036-742f-4c0f-9642-8942c7f8ab59" providerId="AD" clId="Web-{F864711A-BB42-DFF0-A958-6576088D3F71}" dt="2025-09-08T18:35:09.055" v="182"/>
          <ac:picMkLst>
            <pc:docMk/>
            <pc:sldMk cId="220529656" sldId="2147473822"/>
            <ac:picMk id="68" creationId="{6787A327-E548-F7C4-1B3D-AAC255F1623F}"/>
          </ac:picMkLst>
        </pc:picChg>
        <pc:picChg chg="add mod">
          <ac:chgData name="Holger Oswald" userId="S::holger.oswald@sensirion.com::88bb7036-742f-4c0f-9642-8942c7f8ab59" providerId="AD" clId="Web-{F864711A-BB42-DFF0-A958-6576088D3F71}" dt="2025-09-08T18:35:14.696" v="184"/>
          <ac:picMkLst>
            <pc:docMk/>
            <pc:sldMk cId="220529656" sldId="2147473822"/>
            <ac:picMk id="69" creationId="{080D2273-AD1C-C0B9-0E89-11A8CCA3A62C}"/>
          </ac:picMkLst>
        </pc:picChg>
      </pc:sldChg>
      <pc:sldChg chg="addSp modSp">
        <pc:chgData name="Holger Oswald" userId="S::holger.oswald@sensirion.com::88bb7036-742f-4c0f-9642-8942c7f8ab59" providerId="AD" clId="Web-{F864711A-BB42-DFF0-A958-6576088D3F71}" dt="2025-09-08T18:25:56.123" v="134"/>
        <pc:sldMkLst>
          <pc:docMk/>
          <pc:sldMk cId="3259968327" sldId="2147473824"/>
        </pc:sldMkLst>
        <pc:spChg chg="mod">
          <ac:chgData name="Holger Oswald" userId="S::holger.oswald@sensirion.com::88bb7036-742f-4c0f-9642-8942c7f8ab59" providerId="AD" clId="Web-{F864711A-BB42-DFF0-A958-6576088D3F71}" dt="2025-09-08T18:21:41.400" v="119" actId="14100"/>
          <ac:spMkLst>
            <pc:docMk/>
            <pc:sldMk cId="3259968327" sldId="2147473824"/>
            <ac:spMk id="3" creationId="{C6FD1A69-98E3-2ABF-E09F-DDBF314136A0}"/>
          </ac:spMkLst>
        </pc:spChg>
        <pc:spChg chg="mod">
          <ac:chgData name="Holger Oswald" userId="S::holger.oswald@sensirion.com::88bb7036-742f-4c0f-9642-8942c7f8ab59" providerId="AD" clId="Web-{F864711A-BB42-DFF0-A958-6576088D3F71}" dt="2025-09-08T18:25:42.716" v="133" actId="20577"/>
          <ac:spMkLst>
            <pc:docMk/>
            <pc:sldMk cId="3259968327" sldId="2147473824"/>
            <ac:spMk id="4103" creationId="{6BCA83D7-F626-7F36-2423-0ACEF7EC7DAE}"/>
          </ac:spMkLst>
        </pc:spChg>
        <pc:picChg chg="add mod">
          <ac:chgData name="Holger Oswald" userId="S::holger.oswald@sensirion.com::88bb7036-742f-4c0f-9642-8942c7f8ab59" providerId="AD" clId="Web-{F864711A-BB42-DFF0-A958-6576088D3F71}" dt="2025-09-08T18:25:56.123" v="134"/>
          <ac:picMkLst>
            <pc:docMk/>
            <pc:sldMk cId="3259968327" sldId="2147473824"/>
            <ac:picMk id="2" creationId="{F235ACC1-8031-3BAE-4814-2350C2FFDC7E}"/>
          </ac:picMkLst>
        </pc:picChg>
      </pc:sldChg>
      <pc:sldChg chg="modSp">
        <pc:chgData name="Holger Oswald" userId="S::holger.oswald@sensirion.com::88bb7036-742f-4c0f-9642-8942c7f8ab59" providerId="AD" clId="Web-{F864711A-BB42-DFF0-A958-6576088D3F71}" dt="2025-09-08T18:02:03.711" v="19" actId="20577"/>
        <pc:sldMkLst>
          <pc:docMk/>
          <pc:sldMk cId="3612533062" sldId="2147473841"/>
        </pc:sldMkLst>
      </pc:sldChg>
      <pc:sldChg chg="modSp add replId">
        <pc:chgData name="Holger Oswald" userId="S::holger.oswald@sensirion.com::88bb7036-742f-4c0f-9642-8942c7f8ab59" providerId="AD" clId="Web-{F864711A-BB42-DFF0-A958-6576088D3F71}" dt="2025-09-08T18:19:52.633" v="110" actId="20577"/>
        <pc:sldMkLst>
          <pc:docMk/>
          <pc:sldMk cId="2699502256" sldId="2147473842"/>
        </pc:sldMkLst>
      </pc:sldChg>
    </pc:docChg>
  </pc:docChgLst>
  <pc:docChgLst>
    <pc:chgData name="Theresa Tesch" userId="02b376b8-6da7-485c-aa4f-6574a5771292" providerId="ADAL" clId="{67F38A01-3A28-4366-B697-23A99FB538A0}"/>
    <pc:docChg chg="undo custSel modSld">
      <pc:chgData name="Theresa Tesch" userId="02b376b8-6da7-485c-aa4f-6574a5771292" providerId="ADAL" clId="{67F38A01-3A28-4366-B697-23A99FB538A0}" dt="2025-09-08T14:32:32.851" v="307"/>
      <pc:docMkLst>
        <pc:docMk/>
      </pc:docMkLst>
      <pc:sldChg chg="modSp mod">
        <pc:chgData name="Theresa Tesch" userId="02b376b8-6da7-485c-aa4f-6574a5771292" providerId="ADAL" clId="{67F38A01-3A28-4366-B697-23A99FB538A0}" dt="2025-09-04T15:50:29.449" v="287" actId="6549"/>
        <pc:sldMkLst>
          <pc:docMk/>
          <pc:sldMk cId="3198713874" sldId="530"/>
        </pc:sldMkLst>
      </pc:sldChg>
      <pc:sldChg chg="modSp mod">
        <pc:chgData name="Theresa Tesch" userId="02b376b8-6da7-485c-aa4f-6574a5771292" providerId="ADAL" clId="{67F38A01-3A28-4366-B697-23A99FB538A0}" dt="2025-09-08T14:32:32.851" v="307"/>
        <pc:sldMkLst>
          <pc:docMk/>
          <pc:sldMk cId="599990803" sldId="554"/>
        </pc:sldMkLst>
        <pc:spChg chg="mod">
          <ac:chgData name="Theresa Tesch" userId="02b376b8-6da7-485c-aa4f-6574a5771292" providerId="ADAL" clId="{67F38A01-3A28-4366-B697-23A99FB538A0}" dt="2025-09-08T14:32:32.851" v="307"/>
          <ac:spMkLst>
            <pc:docMk/>
            <pc:sldMk cId="599990803" sldId="554"/>
            <ac:spMk id="3" creationId="{65F51398-780D-D0F9-EFE9-24EC2C666A04}"/>
          </ac:spMkLst>
        </pc:spChg>
        <pc:spChg chg="mod">
          <ac:chgData name="Theresa Tesch" userId="02b376b8-6da7-485c-aa4f-6574a5771292" providerId="ADAL" clId="{67F38A01-3A28-4366-B697-23A99FB538A0}" dt="2025-09-03T13:14:17.727" v="101" actId="20577"/>
          <ac:spMkLst>
            <pc:docMk/>
            <pc:sldMk cId="599990803" sldId="554"/>
            <ac:spMk id="4" creationId="{6A86557D-38AD-0F38-BE66-B720CB28D7D8}"/>
          </ac:spMkLst>
        </pc:spChg>
      </pc:sldChg>
      <pc:sldChg chg="delSp modSp mod">
        <pc:chgData name="Theresa Tesch" userId="02b376b8-6da7-485c-aa4f-6574a5771292" providerId="ADAL" clId="{67F38A01-3A28-4366-B697-23A99FB538A0}" dt="2025-09-04T15:52:58.363" v="306" actId="20577"/>
        <pc:sldMkLst>
          <pc:docMk/>
          <pc:sldMk cId="3262814712" sldId="556"/>
        </pc:sldMkLst>
        <pc:spChg chg="mod">
          <ac:chgData name="Theresa Tesch" userId="02b376b8-6da7-485c-aa4f-6574a5771292" providerId="ADAL" clId="{67F38A01-3A28-4366-B697-23A99FB538A0}" dt="2025-09-04T15:52:58.363" v="306" actId="20577"/>
          <ac:spMkLst>
            <pc:docMk/>
            <pc:sldMk cId="3262814712" sldId="556"/>
            <ac:spMk id="3" creationId="{9B076291-C646-6F39-DC78-623F507153DA}"/>
          </ac:spMkLst>
        </pc:spChg>
        <pc:spChg chg="mod">
          <ac:chgData name="Theresa Tesch" userId="02b376b8-6da7-485c-aa4f-6574a5771292" providerId="ADAL" clId="{67F38A01-3A28-4366-B697-23A99FB538A0}" dt="2025-09-04T15:51:47.193" v="293" actId="1076"/>
          <ac:spMkLst>
            <pc:docMk/>
            <pc:sldMk cId="3262814712" sldId="556"/>
            <ac:spMk id="4" creationId="{43A5BEEB-14A9-B72B-328C-2F4CBABB8A23}"/>
          </ac:spMkLst>
        </pc:spChg>
      </pc:sldChg>
    </pc:docChg>
  </pc:docChgLst>
  <pc:docChgLst>
    <pc:chgData name="Holger Oswald" userId="S::holger.oswald@sensirion.com::88bb7036-742f-4c0f-9642-8942c7f8ab59" providerId="AD" clId="Web-{A276DB69-CF1C-7181-8CDA-E935639697CE}"/>
    <pc:docChg chg="addSld delSld modSld sldOrd">
      <pc:chgData name="Holger Oswald" userId="S::holger.oswald@sensirion.com::88bb7036-742f-4c0f-9642-8942c7f8ab59" providerId="AD" clId="Web-{A276DB69-CF1C-7181-8CDA-E935639697CE}" dt="2025-09-02T18:38:26.579" v="331" actId="20577"/>
      <pc:docMkLst>
        <pc:docMk/>
      </pc:docMkLst>
      <pc:sldChg chg="del">
        <pc:chgData name="Holger Oswald" userId="S::holger.oswald@sensirion.com::88bb7036-742f-4c0f-9642-8942c7f8ab59" providerId="AD" clId="Web-{A276DB69-CF1C-7181-8CDA-E935639697CE}" dt="2025-09-02T18:09:44.333" v="33"/>
        <pc:sldMkLst>
          <pc:docMk/>
          <pc:sldMk cId="1403519085" sldId="276"/>
        </pc:sldMkLst>
      </pc:sldChg>
      <pc:sldChg chg="del">
        <pc:chgData name="Holger Oswald" userId="S::holger.oswald@sensirion.com::88bb7036-742f-4c0f-9642-8942c7f8ab59" providerId="AD" clId="Web-{A276DB69-CF1C-7181-8CDA-E935639697CE}" dt="2025-09-02T18:06:35.610" v="2"/>
        <pc:sldMkLst>
          <pc:docMk/>
          <pc:sldMk cId="333076940" sldId="280"/>
        </pc:sldMkLst>
      </pc:sldChg>
      <pc:sldChg chg="modSp">
        <pc:chgData name="Holger Oswald" userId="S::holger.oswald@sensirion.com::88bb7036-742f-4c0f-9642-8942c7f8ab59" providerId="AD" clId="Web-{A276DB69-CF1C-7181-8CDA-E935639697CE}" dt="2025-09-02T18:08:43.113" v="32" actId="20577"/>
        <pc:sldMkLst>
          <pc:docMk/>
          <pc:sldMk cId="3814279874" sldId="517"/>
        </pc:sldMkLst>
        <pc:spChg chg="mod">
          <ac:chgData name="Holger Oswald" userId="S::holger.oswald@sensirion.com::88bb7036-742f-4c0f-9642-8942c7f8ab59" providerId="AD" clId="Web-{A276DB69-CF1C-7181-8CDA-E935639697CE}" dt="2025-09-02T18:06:56.298" v="3" actId="20577"/>
          <ac:spMkLst>
            <pc:docMk/>
            <pc:sldMk cId="3814279874" sldId="517"/>
            <ac:spMk id="3" creationId="{FDB1EBAB-135B-6858-EDAF-B58EBD7C4E8C}"/>
          </ac:spMkLst>
        </pc:spChg>
        <pc:spChg chg="mod">
          <ac:chgData name="Holger Oswald" userId="S::holger.oswald@sensirion.com::88bb7036-742f-4c0f-9642-8942c7f8ab59" providerId="AD" clId="Web-{A276DB69-CF1C-7181-8CDA-E935639697CE}" dt="2025-09-02T18:08:43.113" v="32" actId="20577"/>
          <ac:spMkLst>
            <pc:docMk/>
            <pc:sldMk cId="3814279874" sldId="517"/>
            <ac:spMk id="4" creationId="{2F43616C-3F86-C3F2-85A5-E419CC4435B9}"/>
          </ac:spMkLst>
        </pc:spChg>
      </pc:sldChg>
      <pc:sldChg chg="modSp">
        <pc:chgData name="Holger Oswald" userId="S::holger.oswald@sensirion.com::88bb7036-742f-4c0f-9642-8942c7f8ab59" providerId="AD" clId="Web-{A276DB69-CF1C-7181-8CDA-E935639697CE}" dt="2025-09-02T18:15:36.717" v="137" actId="20577"/>
        <pc:sldMkLst>
          <pc:docMk/>
          <pc:sldMk cId="3198713874" sldId="530"/>
        </pc:sldMkLst>
      </pc:sldChg>
      <pc:sldChg chg="modSp">
        <pc:chgData name="Holger Oswald" userId="S::holger.oswald@sensirion.com::88bb7036-742f-4c0f-9642-8942c7f8ab59" providerId="AD" clId="Web-{A276DB69-CF1C-7181-8CDA-E935639697CE}" dt="2025-09-02T18:31:08.787" v="264" actId="20577"/>
        <pc:sldMkLst>
          <pc:docMk/>
          <pc:sldMk cId="532939883" sldId="551"/>
        </pc:sldMkLst>
      </pc:sldChg>
      <pc:sldChg chg="del">
        <pc:chgData name="Holger Oswald" userId="S::holger.oswald@sensirion.com::88bb7036-742f-4c0f-9642-8942c7f8ab59" providerId="AD" clId="Web-{A276DB69-CF1C-7181-8CDA-E935639697CE}" dt="2025-09-02T18:06:26.766" v="1"/>
        <pc:sldMkLst>
          <pc:docMk/>
          <pc:sldMk cId="3081912337" sldId="553"/>
        </pc:sldMkLst>
      </pc:sldChg>
      <pc:sldChg chg="modSp">
        <pc:chgData name="Holger Oswald" userId="S::holger.oswald@sensirion.com::88bb7036-742f-4c0f-9642-8942c7f8ab59" providerId="AD" clId="Web-{A276DB69-CF1C-7181-8CDA-E935639697CE}" dt="2025-09-02T18:19:57.520" v="224" actId="20577"/>
        <pc:sldMkLst>
          <pc:docMk/>
          <pc:sldMk cId="599990803" sldId="554"/>
        </pc:sldMkLst>
        <pc:spChg chg="mod">
          <ac:chgData name="Holger Oswald" userId="S::holger.oswald@sensirion.com::88bb7036-742f-4c0f-9642-8942c7f8ab59" providerId="AD" clId="Web-{A276DB69-CF1C-7181-8CDA-E935639697CE}" dt="2025-09-02T18:19:57.520" v="224" actId="20577"/>
          <ac:spMkLst>
            <pc:docMk/>
            <pc:sldMk cId="599990803" sldId="554"/>
            <ac:spMk id="3" creationId="{65F51398-780D-D0F9-EFE9-24EC2C666A04}"/>
          </ac:spMkLst>
        </pc:spChg>
      </pc:sldChg>
      <pc:sldChg chg="del">
        <pc:chgData name="Holger Oswald" userId="S::holger.oswald@sensirion.com::88bb7036-742f-4c0f-9642-8942c7f8ab59" providerId="AD" clId="Web-{A276DB69-CF1C-7181-8CDA-E935639697CE}" dt="2025-09-02T18:19:29.535" v="222"/>
        <pc:sldMkLst>
          <pc:docMk/>
          <pc:sldMk cId="3251696456" sldId="555"/>
        </pc:sldMkLst>
      </pc:sldChg>
      <pc:sldChg chg="modSp">
        <pc:chgData name="Holger Oswald" userId="S::holger.oswald@sensirion.com::88bb7036-742f-4c0f-9642-8942c7f8ab59" providerId="AD" clId="Web-{A276DB69-CF1C-7181-8CDA-E935639697CE}" dt="2025-09-02T18:21:41.960" v="262" actId="20577"/>
        <pc:sldMkLst>
          <pc:docMk/>
          <pc:sldMk cId="3262814712" sldId="556"/>
        </pc:sldMkLst>
        <pc:spChg chg="mod">
          <ac:chgData name="Holger Oswald" userId="S::holger.oswald@sensirion.com::88bb7036-742f-4c0f-9642-8942c7f8ab59" providerId="AD" clId="Web-{A276DB69-CF1C-7181-8CDA-E935639697CE}" dt="2025-09-02T18:21:41.960" v="262" actId="20577"/>
          <ac:spMkLst>
            <pc:docMk/>
            <pc:sldMk cId="3262814712" sldId="556"/>
            <ac:spMk id="3" creationId="{9B076291-C646-6F39-DC78-623F507153DA}"/>
          </ac:spMkLst>
        </pc:spChg>
      </pc:sldChg>
      <pc:sldChg chg="del">
        <pc:chgData name="Holger Oswald" userId="S::holger.oswald@sensirion.com::88bb7036-742f-4c0f-9642-8942c7f8ab59" providerId="AD" clId="Web-{A276DB69-CF1C-7181-8CDA-E935639697CE}" dt="2025-09-02T18:06:23.360" v="0"/>
        <pc:sldMkLst>
          <pc:docMk/>
          <pc:sldMk cId="2575625968" sldId="557"/>
        </pc:sldMkLst>
      </pc:sldChg>
      <pc:sldChg chg="modSp">
        <pc:chgData name="Holger Oswald" userId="S::holger.oswald@sensirion.com::88bb7036-742f-4c0f-9642-8942c7f8ab59" providerId="AD" clId="Web-{A276DB69-CF1C-7181-8CDA-E935639697CE}" dt="2025-09-02T18:12:04.134" v="63" actId="20577"/>
        <pc:sldMkLst>
          <pc:docMk/>
          <pc:sldMk cId="3747614006" sldId="558"/>
        </pc:sldMkLst>
      </pc:sldChg>
      <pc:sldChg chg="modSp">
        <pc:chgData name="Holger Oswald" userId="S::holger.oswald@sensirion.com::88bb7036-742f-4c0f-9642-8942c7f8ab59" providerId="AD" clId="Web-{A276DB69-CF1C-7181-8CDA-E935639697CE}" dt="2025-09-02T18:13:23.229" v="96" actId="20577"/>
        <pc:sldMkLst>
          <pc:docMk/>
          <pc:sldMk cId="862353196" sldId="559"/>
        </pc:sldMkLst>
        <pc:spChg chg="mod">
          <ac:chgData name="Holger Oswald" userId="S::holger.oswald@sensirion.com::88bb7036-742f-4c0f-9642-8942c7f8ab59" providerId="AD" clId="Web-{A276DB69-CF1C-7181-8CDA-E935639697CE}" dt="2025-09-02T18:13:23.229" v="96" actId="20577"/>
          <ac:spMkLst>
            <pc:docMk/>
            <pc:sldMk cId="862353196" sldId="559"/>
            <ac:spMk id="3" creationId="{F31BB8A2-2BA0-6F48-17EE-D7B9187C95A0}"/>
          </ac:spMkLst>
        </pc:spChg>
      </pc:sldChg>
      <pc:sldChg chg="addSp delSp modSp add ord replId">
        <pc:chgData name="Holger Oswald" userId="S::holger.oswald@sensirion.com::88bb7036-742f-4c0f-9642-8942c7f8ab59" providerId="AD" clId="Web-{A276DB69-CF1C-7181-8CDA-E935639697CE}" dt="2025-09-02T18:37:57.984" v="309" actId="20577"/>
        <pc:sldMkLst>
          <pc:docMk/>
          <pc:sldMk cId="492973860" sldId="2147473801"/>
        </pc:sldMkLst>
      </pc:sldChg>
      <pc:sldChg chg="del">
        <pc:chgData name="Holger Oswald" userId="S::holger.oswald@sensirion.com::88bb7036-742f-4c0f-9642-8942c7f8ab59" providerId="AD" clId="Web-{A276DB69-CF1C-7181-8CDA-E935639697CE}" dt="2025-09-02T18:10:05.365" v="34"/>
        <pc:sldMkLst>
          <pc:docMk/>
          <pc:sldMk cId="2686450275" sldId="2147473801"/>
        </pc:sldMkLst>
      </pc:sldChg>
      <pc:sldChg chg="addSp delSp modSp new">
        <pc:chgData name="Holger Oswald" userId="S::holger.oswald@sensirion.com::88bb7036-742f-4c0f-9642-8942c7f8ab59" providerId="AD" clId="Web-{A276DB69-CF1C-7181-8CDA-E935639697CE}" dt="2025-09-02T18:38:12.579" v="315" actId="20577"/>
        <pc:sldMkLst>
          <pc:docMk/>
          <pc:sldMk cId="3233280345" sldId="2147473802"/>
        </pc:sldMkLst>
      </pc:sldChg>
      <pc:sldChg chg="add">
        <pc:chgData name="Holger Oswald" userId="S::holger.oswald@sensirion.com::88bb7036-742f-4c0f-9642-8942c7f8ab59" providerId="AD" clId="Web-{A276DB69-CF1C-7181-8CDA-E935639697CE}" dt="2025-09-02T18:32:36.976" v="265"/>
        <pc:sldMkLst>
          <pc:docMk/>
          <pc:sldMk cId="3482846263" sldId="2147473803"/>
        </pc:sldMkLst>
      </pc:sldChg>
      <pc:sldChg chg="add">
        <pc:chgData name="Holger Oswald" userId="S::holger.oswald@sensirion.com::88bb7036-742f-4c0f-9642-8942c7f8ab59" providerId="AD" clId="Web-{A276DB69-CF1C-7181-8CDA-E935639697CE}" dt="2025-09-02T18:32:37.117" v="266"/>
        <pc:sldMkLst>
          <pc:docMk/>
          <pc:sldMk cId="3588711046" sldId="2147473804"/>
        </pc:sldMkLst>
      </pc:sldChg>
      <pc:sldChg chg="modSp new">
        <pc:chgData name="Holger Oswald" userId="S::holger.oswald@sensirion.com::88bb7036-742f-4c0f-9642-8942c7f8ab59" providerId="AD" clId="Web-{A276DB69-CF1C-7181-8CDA-E935639697CE}" dt="2025-09-02T18:37:52.047" v="304" actId="20577"/>
        <pc:sldMkLst>
          <pc:docMk/>
          <pc:sldMk cId="734946971" sldId="2147473805"/>
        </pc:sldMkLst>
        <pc:spChg chg="mod">
          <ac:chgData name="Holger Oswald" userId="S::holger.oswald@sensirion.com::88bb7036-742f-4c0f-9642-8942c7f8ab59" providerId="AD" clId="Web-{A276DB69-CF1C-7181-8CDA-E935639697CE}" dt="2025-09-02T18:37:52.047" v="304" actId="20577"/>
          <ac:spMkLst>
            <pc:docMk/>
            <pc:sldMk cId="734946971" sldId="2147473805"/>
            <ac:spMk id="3" creationId="{ECB68D42-AA55-68E5-8C2F-301E1DE1AC07}"/>
          </ac:spMkLst>
        </pc:spChg>
      </pc:sldChg>
      <pc:sldChg chg="modSp new">
        <pc:chgData name="Holger Oswald" userId="S::holger.oswald@sensirion.com::88bb7036-742f-4c0f-9642-8942c7f8ab59" providerId="AD" clId="Web-{A276DB69-CF1C-7181-8CDA-E935639697CE}" dt="2025-09-02T18:38:26.579" v="331" actId="20577"/>
        <pc:sldMkLst>
          <pc:docMk/>
          <pc:sldMk cId="2020597029" sldId="2147473806"/>
        </pc:sldMkLst>
      </pc:sldChg>
    </pc:docChg>
  </pc:docChgLst>
  <pc:docChgLst>
    <pc:chgData name="Richard Zanardo" userId="S::rick.zanardo@sensirion.com::5321cd68-d87e-4758-8465-f6b56eb811fe" providerId="AD" clId="Web-{96803F5B-96FC-47B5-8028-FB5BEFD81B98}"/>
    <pc:docChg chg="modSld">
      <pc:chgData name="Richard Zanardo" userId="S::rick.zanardo@sensirion.com::5321cd68-d87e-4758-8465-f6b56eb811fe" providerId="AD" clId="Web-{96803F5B-96FC-47B5-8028-FB5BEFD81B98}" dt="2025-09-15T14:14:50.516" v="5" actId="1076"/>
      <pc:docMkLst>
        <pc:docMk/>
      </pc:docMkLst>
      <pc:sldChg chg="addSp modSp">
        <pc:chgData name="Richard Zanardo" userId="S::rick.zanardo@sensirion.com::5321cd68-d87e-4758-8465-f6b56eb811fe" providerId="AD" clId="Web-{96803F5B-96FC-47B5-8028-FB5BEFD81B98}" dt="2025-09-15T14:14:50.516" v="5" actId="1076"/>
        <pc:sldMkLst>
          <pc:docMk/>
          <pc:sldMk cId="3262814712" sldId="556"/>
        </pc:sldMkLst>
        <pc:picChg chg="mod">
          <ac:chgData name="Richard Zanardo" userId="S::rick.zanardo@sensirion.com::5321cd68-d87e-4758-8465-f6b56eb811fe" providerId="AD" clId="Web-{96803F5B-96FC-47B5-8028-FB5BEFD81B98}" dt="2025-09-15T14:14:50.516" v="5" actId="1076"/>
          <ac:picMkLst>
            <pc:docMk/>
            <pc:sldMk cId="3262814712" sldId="556"/>
            <ac:picMk id="2" creationId="{455B56DC-478A-8216-84EF-990522FCFC41}"/>
          </ac:picMkLst>
        </pc:picChg>
        <pc:picChg chg="add mod">
          <ac:chgData name="Richard Zanardo" userId="S::rick.zanardo@sensirion.com::5321cd68-d87e-4758-8465-f6b56eb811fe" providerId="AD" clId="Web-{96803F5B-96FC-47B5-8028-FB5BEFD81B98}" dt="2025-09-15T14:14:47.188" v="4" actId="1076"/>
          <ac:picMkLst>
            <pc:docMk/>
            <pc:sldMk cId="3262814712" sldId="556"/>
            <ac:picMk id="8" creationId="{32C52011-E6A9-0A5B-D438-812DEEBC40FF}"/>
          </ac:picMkLst>
        </pc:picChg>
      </pc:sldChg>
    </pc:docChg>
  </pc:docChgLst>
  <pc:docChgLst>
    <pc:chgData name="Holger Oswald" userId="S::holger.oswald@sensirion.com::88bb7036-742f-4c0f-9642-8942c7f8ab59" providerId="AD" clId="Web-{6A94E291-B8AC-B607-08B6-124E6FCD6E52}"/>
    <pc:docChg chg="addSld delSld modSld sldOrd">
      <pc:chgData name="Holger Oswald" userId="S::holger.oswald@sensirion.com::88bb7036-742f-4c0f-9642-8942c7f8ab59" providerId="AD" clId="Web-{6A94E291-B8AC-B607-08B6-124E6FCD6E52}" dt="2025-05-27T19:02:37.224" v="667" actId="20577"/>
      <pc:docMkLst>
        <pc:docMk/>
      </pc:docMkLst>
      <pc:sldChg chg="modSp">
        <pc:chgData name="Holger Oswald" userId="S::holger.oswald@sensirion.com::88bb7036-742f-4c0f-9642-8942c7f8ab59" providerId="AD" clId="Web-{6A94E291-B8AC-B607-08B6-124E6FCD6E52}" dt="2025-05-27T19:01:01.691" v="652" actId="20577"/>
        <pc:sldMkLst>
          <pc:docMk/>
          <pc:sldMk cId="4001238172" sldId="519"/>
        </pc:sldMkLst>
      </pc:sldChg>
      <pc:sldChg chg="modSp">
        <pc:chgData name="Holger Oswald" userId="S::holger.oswald@sensirion.com::88bb7036-742f-4c0f-9642-8942c7f8ab59" providerId="AD" clId="Web-{6A94E291-B8AC-B607-08B6-124E6FCD6E52}" dt="2025-05-27T18:58:43.047" v="632" actId="20577"/>
        <pc:sldMkLst>
          <pc:docMk/>
          <pc:sldMk cId="1979916858" sldId="520"/>
        </pc:sldMkLst>
      </pc:sldChg>
      <pc:sldChg chg="modSp">
        <pc:chgData name="Holger Oswald" userId="S::holger.oswald@sensirion.com::88bb7036-742f-4c0f-9642-8942c7f8ab59" providerId="AD" clId="Web-{6A94E291-B8AC-B607-08B6-124E6FCD6E52}" dt="2025-05-27T18:57:50.984" v="613" actId="20577"/>
        <pc:sldMkLst>
          <pc:docMk/>
          <pc:sldMk cId="3198713874" sldId="530"/>
        </pc:sldMkLst>
      </pc:sldChg>
      <pc:sldChg chg="modSp">
        <pc:chgData name="Holger Oswald" userId="S::holger.oswald@sensirion.com::88bb7036-742f-4c0f-9642-8942c7f8ab59" providerId="AD" clId="Web-{6A94E291-B8AC-B607-08B6-124E6FCD6E52}" dt="2025-05-27T18:57:33.874" v="608" actId="20577"/>
        <pc:sldMkLst>
          <pc:docMk/>
          <pc:sldMk cId="4135822502" sldId="532"/>
        </pc:sldMkLst>
      </pc:sldChg>
      <pc:sldChg chg="modSp del">
        <pc:chgData name="Holger Oswald" userId="S::holger.oswald@sensirion.com::88bb7036-742f-4c0f-9642-8942c7f8ab59" providerId="AD" clId="Web-{6A94E291-B8AC-B607-08B6-124E6FCD6E52}" dt="2025-05-27T18:59:31.642" v="644"/>
        <pc:sldMkLst>
          <pc:docMk/>
          <pc:sldMk cId="1685245205" sldId="545"/>
        </pc:sldMkLst>
      </pc:sldChg>
      <pc:sldChg chg="modSp del">
        <pc:chgData name="Holger Oswald" userId="S::holger.oswald@sensirion.com::88bb7036-742f-4c0f-9642-8942c7f8ab59" providerId="AD" clId="Web-{6A94E291-B8AC-B607-08B6-124E6FCD6E52}" dt="2025-05-27T19:01:51.770" v="654"/>
        <pc:sldMkLst>
          <pc:docMk/>
          <pc:sldMk cId="2043406760" sldId="546"/>
        </pc:sldMkLst>
      </pc:sldChg>
      <pc:sldChg chg="del">
        <pc:chgData name="Holger Oswald" userId="S::holger.oswald@sensirion.com::88bb7036-742f-4c0f-9642-8942c7f8ab59" providerId="AD" clId="Web-{6A94E291-B8AC-B607-08B6-124E6FCD6E52}" dt="2025-05-27T18:59:38.517" v="645"/>
        <pc:sldMkLst>
          <pc:docMk/>
          <pc:sldMk cId="2240364981" sldId="547"/>
        </pc:sldMkLst>
      </pc:sldChg>
      <pc:sldChg chg="del">
        <pc:chgData name="Holger Oswald" userId="S::holger.oswald@sensirion.com::88bb7036-742f-4c0f-9642-8942c7f8ab59" providerId="AD" clId="Web-{6A94E291-B8AC-B607-08B6-124E6FCD6E52}" dt="2025-05-27T18:59:43.392" v="646"/>
        <pc:sldMkLst>
          <pc:docMk/>
          <pc:sldMk cId="2468318245" sldId="548"/>
        </pc:sldMkLst>
      </pc:sldChg>
      <pc:sldChg chg="ord">
        <pc:chgData name="Holger Oswald" userId="S::holger.oswald@sensirion.com::88bb7036-742f-4c0f-9642-8942c7f8ab59" providerId="AD" clId="Web-{6A94E291-B8AC-B607-08B6-124E6FCD6E52}" dt="2025-05-27T18:58:58.688" v="637"/>
        <pc:sldMkLst>
          <pc:docMk/>
          <pc:sldMk cId="3081912337" sldId="553"/>
        </pc:sldMkLst>
      </pc:sldChg>
      <pc:sldChg chg="modSp add replId">
        <pc:chgData name="Holger Oswald" userId="S::holger.oswald@sensirion.com::88bb7036-742f-4c0f-9642-8942c7f8ab59" providerId="AD" clId="Web-{6A94E291-B8AC-B607-08B6-124E6FCD6E52}" dt="2025-05-27T18:57:54.265" v="614" actId="20577"/>
        <pc:sldMkLst>
          <pc:docMk/>
          <pc:sldMk cId="599990803" sldId="554"/>
        </pc:sldMkLst>
      </pc:sldChg>
      <pc:sldChg chg="modSp add replId">
        <pc:chgData name="Holger Oswald" userId="S::holger.oswald@sensirion.com::88bb7036-742f-4c0f-9642-8942c7f8ab59" providerId="AD" clId="Web-{6A94E291-B8AC-B607-08B6-124E6FCD6E52}" dt="2025-05-27T18:58:08.047" v="619" actId="20577"/>
        <pc:sldMkLst>
          <pc:docMk/>
          <pc:sldMk cId="3251696456" sldId="555"/>
        </pc:sldMkLst>
      </pc:sldChg>
      <pc:sldChg chg="modSp add replId">
        <pc:chgData name="Holger Oswald" userId="S::holger.oswald@sensirion.com::88bb7036-742f-4c0f-9642-8942c7f8ab59" providerId="AD" clId="Web-{6A94E291-B8AC-B607-08B6-124E6FCD6E52}" dt="2025-05-27T18:58:17.328" v="624" actId="20577"/>
        <pc:sldMkLst>
          <pc:docMk/>
          <pc:sldMk cId="3262814712" sldId="556"/>
        </pc:sldMkLst>
      </pc:sldChg>
      <pc:sldChg chg="modSp add replId">
        <pc:chgData name="Holger Oswald" userId="S::holger.oswald@sensirion.com::88bb7036-742f-4c0f-9642-8942c7f8ab59" providerId="AD" clId="Web-{6A94E291-B8AC-B607-08B6-124E6FCD6E52}" dt="2025-05-27T18:58:55.423" v="636" actId="20577"/>
        <pc:sldMkLst>
          <pc:docMk/>
          <pc:sldMk cId="2575625968" sldId="557"/>
        </pc:sldMkLst>
      </pc:sldChg>
      <pc:sldChg chg="modSp add replId">
        <pc:chgData name="Holger Oswald" userId="S::holger.oswald@sensirion.com::88bb7036-742f-4c0f-9642-8942c7f8ab59" providerId="AD" clId="Web-{6A94E291-B8AC-B607-08B6-124E6FCD6E52}" dt="2025-05-27T18:59:08.204" v="641" actId="20577"/>
        <pc:sldMkLst>
          <pc:docMk/>
          <pc:sldMk cId="3747614006" sldId="558"/>
        </pc:sldMkLst>
      </pc:sldChg>
      <pc:sldChg chg="modSp add replId">
        <pc:chgData name="Holger Oswald" userId="S::holger.oswald@sensirion.com::88bb7036-742f-4c0f-9642-8942c7f8ab59" providerId="AD" clId="Web-{6A94E291-B8AC-B607-08B6-124E6FCD6E52}" dt="2025-05-27T18:59:12.814" v="643" actId="20577"/>
        <pc:sldMkLst>
          <pc:docMk/>
          <pc:sldMk cId="862353196" sldId="559"/>
        </pc:sldMkLst>
      </pc:sldChg>
      <pc:sldChg chg="modSp add">
        <pc:chgData name="Holger Oswald" userId="S::holger.oswald@sensirion.com::88bb7036-742f-4c0f-9642-8942c7f8ab59" providerId="AD" clId="Web-{6A94E291-B8AC-B607-08B6-124E6FCD6E52}" dt="2025-05-27T19:02:37.224" v="667" actId="20577"/>
        <pc:sldMkLst>
          <pc:docMk/>
          <pc:sldMk cId="3131422531" sldId="2147473798"/>
        </pc:sldMkLst>
      </pc:sldChg>
    </pc:docChg>
  </pc:docChgLst>
  <pc:docChgLst>
    <pc:chgData name="Gary Mcnelly" userId="S::gary.mcnelly@sensirion.com::d1641cab-75f6-41fd-9815-3a526b9e46a5" providerId="AD" clId="Web-{2811F2BA-0F6E-69E4-7B3E-51061062FD67}"/>
    <pc:docChg chg="addSld delSld modSld">
      <pc:chgData name="Gary Mcnelly" userId="S::gary.mcnelly@sensirion.com::d1641cab-75f6-41fd-9815-3a526b9e46a5" providerId="AD" clId="Web-{2811F2BA-0F6E-69E4-7B3E-51061062FD67}" dt="2025-09-08T14:36:49.215" v="124" actId="20577"/>
      <pc:docMkLst>
        <pc:docMk/>
      </pc:docMkLst>
      <pc:sldChg chg="new del">
        <pc:chgData name="Gary Mcnelly" userId="S::gary.mcnelly@sensirion.com::d1641cab-75f6-41fd-9815-3a526b9e46a5" providerId="AD" clId="Web-{2811F2BA-0F6E-69E4-7B3E-51061062FD67}" dt="2025-09-08T14:19:21.766" v="26"/>
        <pc:sldMkLst>
          <pc:docMk/>
          <pc:sldMk cId="2213149169" sldId="2147473809"/>
        </pc:sldMkLst>
      </pc:sldChg>
      <pc:sldChg chg="new">
        <pc:chgData name="Gary Mcnelly" userId="S::gary.mcnelly@sensirion.com::d1641cab-75f6-41fd-9815-3a526b9e46a5" providerId="AD" clId="Web-{2811F2BA-0F6E-69E4-7B3E-51061062FD67}" dt="2025-09-08T14:17:17.902" v="1"/>
        <pc:sldMkLst>
          <pc:docMk/>
          <pc:sldMk cId="3555885236" sldId="2147473810"/>
        </pc:sldMkLst>
      </pc:sldChg>
      <pc:sldChg chg="new del">
        <pc:chgData name="Gary Mcnelly" userId="S::gary.mcnelly@sensirion.com::d1641cab-75f6-41fd-9815-3a526b9e46a5" providerId="AD" clId="Web-{2811F2BA-0F6E-69E4-7B3E-51061062FD67}" dt="2025-09-08T14:20:10.786" v="49"/>
        <pc:sldMkLst>
          <pc:docMk/>
          <pc:sldMk cId="3406870202" sldId="2147473811"/>
        </pc:sldMkLst>
      </pc:sldChg>
      <pc:sldChg chg="addSp delSp modSp new">
        <pc:chgData name="Gary Mcnelly" userId="S::gary.mcnelly@sensirion.com::d1641cab-75f6-41fd-9815-3a526b9e46a5" providerId="AD" clId="Web-{2811F2BA-0F6E-69E4-7B3E-51061062FD67}" dt="2025-09-08T14:36:29.979" v="115" actId="20577"/>
        <pc:sldMkLst>
          <pc:docMk/>
          <pc:sldMk cId="3921081350" sldId="2147473812"/>
        </pc:sldMkLst>
        <pc:spChg chg="mod">
          <ac:chgData name="Gary Mcnelly" userId="S::gary.mcnelly@sensirion.com::d1641cab-75f6-41fd-9815-3a526b9e46a5" providerId="AD" clId="Web-{2811F2BA-0F6E-69E4-7B3E-51061062FD67}" dt="2025-09-08T14:36:29.979" v="115" actId="20577"/>
          <ac:spMkLst>
            <pc:docMk/>
            <pc:sldMk cId="3921081350" sldId="2147473812"/>
            <ac:spMk id="4" creationId="{5F872F22-2E39-1925-B50A-666ACCD7CAED}"/>
          </ac:spMkLst>
        </pc:spChg>
        <pc:picChg chg="add mod ord">
          <ac:chgData name="Gary Mcnelly" userId="S::gary.mcnelly@sensirion.com::d1641cab-75f6-41fd-9815-3a526b9e46a5" providerId="AD" clId="Web-{2811F2BA-0F6E-69E4-7B3E-51061062FD67}" dt="2025-09-08T14:34:44.038" v="92" actId="14100"/>
          <ac:picMkLst>
            <pc:docMk/>
            <pc:sldMk cId="3921081350" sldId="2147473812"/>
            <ac:picMk id="7" creationId="{29CFBCA6-F332-88E8-2805-C31749ED02A1}"/>
          </ac:picMkLst>
        </pc:picChg>
        <pc:picChg chg="add mod">
          <ac:chgData name="Gary Mcnelly" userId="S::gary.mcnelly@sensirion.com::d1641cab-75f6-41fd-9815-3a526b9e46a5" providerId="AD" clId="Web-{2811F2BA-0F6E-69E4-7B3E-51061062FD67}" dt="2025-09-08T14:34:48.319" v="93" actId="14100"/>
          <ac:picMkLst>
            <pc:docMk/>
            <pc:sldMk cId="3921081350" sldId="2147473812"/>
            <ac:picMk id="8" creationId="{EAD05DB3-AC09-9C9B-EC6D-7549FF6A5F6B}"/>
          </ac:picMkLst>
        </pc:picChg>
      </pc:sldChg>
      <pc:sldChg chg="addSp delSp modSp add replId">
        <pc:chgData name="Gary Mcnelly" userId="S::gary.mcnelly@sensirion.com::d1641cab-75f6-41fd-9815-3a526b9e46a5" providerId="AD" clId="Web-{2811F2BA-0F6E-69E4-7B3E-51061062FD67}" dt="2025-09-08T14:36:49.215" v="124" actId="20577"/>
        <pc:sldMkLst>
          <pc:docMk/>
          <pc:sldMk cId="977994764" sldId="2147473813"/>
        </pc:sldMkLst>
        <pc:spChg chg="mod">
          <ac:chgData name="Gary Mcnelly" userId="S::gary.mcnelly@sensirion.com::d1641cab-75f6-41fd-9815-3a526b9e46a5" providerId="AD" clId="Web-{2811F2BA-0F6E-69E4-7B3E-51061062FD67}" dt="2025-09-08T14:36:49.215" v="124" actId="20577"/>
          <ac:spMkLst>
            <pc:docMk/>
            <pc:sldMk cId="977994764" sldId="2147473813"/>
            <ac:spMk id="4" creationId="{DDB15DBF-F13C-2D1B-58C9-CC2F89787907}"/>
          </ac:spMkLst>
        </pc:spChg>
        <pc:picChg chg="add mod ord">
          <ac:chgData name="Gary Mcnelly" userId="S::gary.mcnelly@sensirion.com::d1641cab-75f6-41fd-9815-3a526b9e46a5" providerId="AD" clId="Web-{2811F2BA-0F6E-69E4-7B3E-51061062FD67}" dt="2025-09-08T14:34:23.241" v="89" actId="14100"/>
          <ac:picMkLst>
            <pc:docMk/>
            <pc:sldMk cId="977994764" sldId="2147473813"/>
            <ac:picMk id="2" creationId="{9D724C25-D088-3D3C-3081-FBD306994A61}"/>
          </ac:picMkLst>
        </pc:picChg>
        <pc:picChg chg="add mod">
          <ac:chgData name="Gary Mcnelly" userId="S::gary.mcnelly@sensirion.com::d1641cab-75f6-41fd-9815-3a526b9e46a5" providerId="AD" clId="Web-{2811F2BA-0F6E-69E4-7B3E-51061062FD67}" dt="2025-09-08T14:34:26.413" v="90" actId="14100"/>
          <ac:picMkLst>
            <pc:docMk/>
            <pc:sldMk cId="977994764" sldId="2147473813"/>
            <ac:picMk id="7" creationId="{B87845F0-B5DE-DFF5-28CA-A0D51530E96A}"/>
          </ac:picMkLst>
        </pc:picChg>
      </pc:sldChg>
      <pc:sldChg chg="modSp add del replId">
        <pc:chgData name="Gary Mcnelly" userId="S::gary.mcnelly@sensirion.com::d1641cab-75f6-41fd-9815-3a526b9e46a5" providerId="AD" clId="Web-{2811F2BA-0F6E-69E4-7B3E-51061062FD67}" dt="2025-09-08T14:26:17.618" v="84"/>
        <pc:sldMkLst>
          <pc:docMk/>
          <pc:sldMk cId="2665196939" sldId="2147473814"/>
        </pc:sldMkLst>
      </pc:sldChg>
      <pc:sldChg chg="modSp add del replId">
        <pc:chgData name="Gary Mcnelly" userId="S::gary.mcnelly@sensirion.com::d1641cab-75f6-41fd-9815-3a526b9e46a5" providerId="AD" clId="Web-{2811F2BA-0F6E-69E4-7B3E-51061062FD67}" dt="2025-09-08T14:26:19.993" v="85"/>
        <pc:sldMkLst>
          <pc:docMk/>
          <pc:sldMk cId="1360871937" sldId="2147473815"/>
        </pc:sldMkLst>
      </pc:sldChg>
    </pc:docChg>
  </pc:docChgLst>
  <pc:docChgLst>
    <pc:chgData name="Richard Zanardo" userId="S::rick.zanardo@sensirion.com::5321cd68-d87e-4758-8465-f6b56eb811fe" providerId="AD" clId="Web-{19CD14CB-9D6E-D6C8-84EC-E25B7260F8C2}"/>
    <pc:docChg chg="addSld delSld modSld sldOrd">
      <pc:chgData name="Richard Zanardo" userId="S::rick.zanardo@sensirion.com::5321cd68-d87e-4758-8465-f6b56eb811fe" providerId="AD" clId="Web-{19CD14CB-9D6E-D6C8-84EC-E25B7260F8C2}" dt="2025-09-08T18:40:09.695" v="247"/>
      <pc:docMkLst>
        <pc:docMk/>
      </pc:docMkLst>
      <pc:sldChg chg="del">
        <pc:chgData name="Richard Zanardo" userId="S::rick.zanardo@sensirion.com::5321cd68-d87e-4758-8465-f6b56eb811fe" providerId="AD" clId="Web-{19CD14CB-9D6E-D6C8-84EC-E25B7260F8C2}" dt="2025-09-08T16:31:25.691" v="11"/>
        <pc:sldMkLst>
          <pc:docMk/>
          <pc:sldMk cId="1979916858" sldId="520"/>
        </pc:sldMkLst>
      </pc:sldChg>
      <pc:sldChg chg="del">
        <pc:chgData name="Richard Zanardo" userId="S::rick.zanardo@sensirion.com::5321cd68-d87e-4758-8465-f6b56eb811fe" providerId="AD" clId="Web-{19CD14CB-9D6E-D6C8-84EC-E25B7260F8C2}" dt="2025-09-08T17:32:32.755" v="17"/>
        <pc:sldMkLst>
          <pc:docMk/>
          <pc:sldMk cId="3747614006" sldId="558"/>
        </pc:sldMkLst>
      </pc:sldChg>
      <pc:sldChg chg="del">
        <pc:chgData name="Richard Zanardo" userId="S::rick.zanardo@sensirion.com::5321cd68-d87e-4758-8465-f6b56eb811fe" providerId="AD" clId="Web-{19CD14CB-9D6E-D6C8-84EC-E25B7260F8C2}" dt="2025-09-08T18:35:36.253" v="205"/>
        <pc:sldMkLst>
          <pc:docMk/>
          <pc:sldMk cId="2327038745" sldId="256497"/>
        </pc:sldMkLst>
      </pc:sldChg>
      <pc:sldChg chg="del">
        <pc:chgData name="Richard Zanardo" userId="S::rick.zanardo@sensirion.com::5321cd68-d87e-4758-8465-f6b56eb811fe" providerId="AD" clId="Web-{19CD14CB-9D6E-D6C8-84EC-E25B7260F8C2}" dt="2025-09-08T16:30:53.831" v="10"/>
        <pc:sldMkLst>
          <pc:docMk/>
          <pc:sldMk cId="92819481" sldId="2134804257"/>
        </pc:sldMkLst>
      </pc:sldChg>
      <pc:sldChg chg="del">
        <pc:chgData name="Richard Zanardo" userId="S::rick.zanardo@sensirion.com::5321cd68-d87e-4758-8465-f6b56eb811fe" providerId="AD" clId="Web-{19CD14CB-9D6E-D6C8-84EC-E25B7260F8C2}" dt="2025-09-08T17:33:05.131" v="18"/>
        <pc:sldMkLst>
          <pc:docMk/>
          <pc:sldMk cId="3555885236" sldId="2147473810"/>
        </pc:sldMkLst>
      </pc:sldChg>
      <pc:sldChg chg="del">
        <pc:chgData name="Richard Zanardo" userId="S::rick.zanardo@sensirion.com::5321cd68-d87e-4758-8465-f6b56eb811fe" providerId="AD" clId="Web-{19CD14CB-9D6E-D6C8-84EC-E25B7260F8C2}" dt="2025-09-08T16:30:47.643" v="9"/>
        <pc:sldMkLst>
          <pc:docMk/>
          <pc:sldMk cId="2380377501" sldId="2147473820"/>
        </pc:sldMkLst>
      </pc:sldChg>
      <pc:sldChg chg="ord">
        <pc:chgData name="Richard Zanardo" userId="S::rick.zanardo@sensirion.com::5321cd68-d87e-4758-8465-f6b56eb811fe" providerId="AD" clId="Web-{19CD14CB-9D6E-D6C8-84EC-E25B7260F8C2}" dt="2025-09-08T17:49:13.774" v="31"/>
        <pc:sldMkLst>
          <pc:docMk/>
          <pc:sldMk cId="1297448184" sldId="2147473825"/>
        </pc:sldMkLst>
      </pc:sldChg>
      <pc:sldChg chg="addSp delSp modSp ord">
        <pc:chgData name="Richard Zanardo" userId="S::rick.zanardo@sensirion.com::5321cd68-d87e-4758-8465-f6b56eb811fe" providerId="AD" clId="Web-{19CD14CB-9D6E-D6C8-84EC-E25B7260F8C2}" dt="2025-09-08T18:40:09.695" v="247"/>
        <pc:sldMkLst>
          <pc:docMk/>
          <pc:sldMk cId="2188496406" sldId="2147473826"/>
        </pc:sldMkLst>
        <pc:spChg chg="mod">
          <ac:chgData name="Richard Zanardo" userId="S::rick.zanardo@sensirion.com::5321cd68-d87e-4758-8465-f6b56eb811fe" providerId="AD" clId="Web-{19CD14CB-9D6E-D6C8-84EC-E25B7260F8C2}" dt="2025-09-08T18:36:12.316" v="212" actId="14100"/>
          <ac:spMkLst>
            <pc:docMk/>
            <pc:sldMk cId="2188496406" sldId="2147473826"/>
            <ac:spMk id="2" creationId="{EBCEAAB8-4F77-613B-D624-A089FE75CD79}"/>
          </ac:spMkLst>
        </pc:spChg>
        <pc:spChg chg="mod">
          <ac:chgData name="Richard Zanardo" userId="S::rick.zanardo@sensirion.com::5321cd68-d87e-4758-8465-f6b56eb811fe" providerId="AD" clId="Web-{19CD14CB-9D6E-D6C8-84EC-E25B7260F8C2}" dt="2025-09-08T18:36:12.331" v="213" actId="14100"/>
          <ac:spMkLst>
            <pc:docMk/>
            <pc:sldMk cId="2188496406" sldId="2147473826"/>
            <ac:spMk id="3" creationId="{63591DA8-45A8-7307-8E51-839FB7237DBF}"/>
          </ac:spMkLst>
        </pc:spChg>
        <pc:spChg chg="add mod">
          <ac:chgData name="Richard Zanardo" userId="S::rick.zanardo@sensirion.com::5321cd68-d87e-4758-8465-f6b56eb811fe" providerId="AD" clId="Web-{19CD14CB-9D6E-D6C8-84EC-E25B7260F8C2}" dt="2025-09-08T17:55:42.531" v="181" actId="1076"/>
          <ac:spMkLst>
            <pc:docMk/>
            <pc:sldMk cId="2188496406" sldId="2147473826"/>
            <ac:spMk id="4" creationId="{A044FB6E-2B2A-3CEB-C855-7363D44A9038}"/>
          </ac:spMkLst>
        </pc:spChg>
        <pc:spChg chg="add mod">
          <ac:chgData name="Richard Zanardo" userId="S::rick.zanardo@sensirion.com::5321cd68-d87e-4758-8465-f6b56eb811fe" providerId="AD" clId="Web-{19CD14CB-9D6E-D6C8-84EC-E25B7260F8C2}" dt="2025-09-08T17:55:49.922" v="182" actId="1076"/>
          <ac:spMkLst>
            <pc:docMk/>
            <pc:sldMk cId="2188496406" sldId="2147473826"/>
            <ac:spMk id="5" creationId="{C88104B2-3E08-2BDB-56F9-E6C0A0F40BD1}"/>
          </ac:spMkLst>
        </pc:spChg>
        <pc:spChg chg="add mod">
          <ac:chgData name="Richard Zanardo" userId="S::rick.zanardo@sensirion.com::5321cd68-d87e-4758-8465-f6b56eb811fe" providerId="AD" clId="Web-{19CD14CB-9D6E-D6C8-84EC-E25B7260F8C2}" dt="2025-09-08T17:55:58.282" v="183" actId="1076"/>
          <ac:spMkLst>
            <pc:docMk/>
            <pc:sldMk cId="2188496406" sldId="2147473826"/>
            <ac:spMk id="6" creationId="{16FFF2B8-9BB1-09B3-6B35-E290A30C95D1}"/>
          </ac:spMkLst>
        </pc:spChg>
        <pc:spChg chg="add mod">
          <ac:chgData name="Richard Zanardo" userId="S::rick.zanardo@sensirion.com::5321cd68-d87e-4758-8465-f6b56eb811fe" providerId="AD" clId="Web-{19CD14CB-9D6E-D6C8-84EC-E25B7260F8C2}" dt="2025-09-08T18:40:09.695" v="247"/>
          <ac:spMkLst>
            <pc:docMk/>
            <pc:sldMk cId="2188496406" sldId="2147473826"/>
            <ac:spMk id="8" creationId="{2925193C-B29F-9FFA-AD10-BE09DD54FB18}"/>
          </ac:spMkLst>
        </pc:spChg>
        <pc:spChg chg="mod">
          <ac:chgData name="Richard Zanardo" userId="S::rick.zanardo@sensirion.com::5321cd68-d87e-4758-8465-f6b56eb811fe" providerId="AD" clId="Web-{19CD14CB-9D6E-D6C8-84EC-E25B7260F8C2}" dt="2025-09-08T17:56:59.345" v="204" actId="20577"/>
          <ac:spMkLst>
            <pc:docMk/>
            <pc:sldMk cId="2188496406" sldId="2147473826"/>
            <ac:spMk id="25" creationId="{2925193C-B29F-9FFA-AD10-BE09DD54FB18}"/>
          </ac:spMkLst>
        </pc:spChg>
        <pc:spChg chg="mod">
          <ac:chgData name="Richard Zanardo" userId="S::rick.zanardo@sensirion.com::5321cd68-d87e-4758-8465-f6b56eb811fe" providerId="AD" clId="Web-{19CD14CB-9D6E-D6C8-84EC-E25B7260F8C2}" dt="2025-09-08T18:36:12.238" v="207" actId="14100"/>
          <ac:spMkLst>
            <pc:docMk/>
            <pc:sldMk cId="2188496406" sldId="2147473826"/>
            <ac:spMk id="27" creationId="{4F840F60-F270-D098-30EA-C9C5F134F989}"/>
          </ac:spMkLst>
        </pc:spChg>
        <pc:spChg chg="mod">
          <ac:chgData name="Richard Zanardo" userId="S::rick.zanardo@sensirion.com::5321cd68-d87e-4758-8465-f6b56eb811fe" providerId="AD" clId="Web-{19CD14CB-9D6E-D6C8-84EC-E25B7260F8C2}" dt="2025-09-08T18:36:12.300" v="211" actId="14100"/>
          <ac:spMkLst>
            <pc:docMk/>
            <pc:sldMk cId="2188496406" sldId="2147473826"/>
            <ac:spMk id="51" creationId="{78FFB879-1E43-A1B2-1BE7-799FEB35C696}"/>
          </ac:spMkLst>
        </pc:spChg>
        <pc:spChg chg="mod">
          <ac:chgData name="Richard Zanardo" userId="S::rick.zanardo@sensirion.com::5321cd68-d87e-4758-8465-f6b56eb811fe" providerId="AD" clId="Web-{19CD14CB-9D6E-D6C8-84EC-E25B7260F8C2}" dt="2025-09-08T18:36:12.285" v="210" actId="14100"/>
          <ac:spMkLst>
            <pc:docMk/>
            <pc:sldMk cId="2188496406" sldId="2147473826"/>
            <ac:spMk id="53" creationId="{636BDBA7-5654-5DDB-1F2E-B0EEB34B61CE}"/>
          </ac:spMkLst>
        </pc:spChg>
        <pc:spChg chg="mod">
          <ac:chgData name="Richard Zanardo" userId="S::rick.zanardo@sensirion.com::5321cd68-d87e-4758-8465-f6b56eb811fe" providerId="AD" clId="Web-{19CD14CB-9D6E-D6C8-84EC-E25B7260F8C2}" dt="2025-09-08T18:36:12.269" v="209" actId="14100"/>
          <ac:spMkLst>
            <pc:docMk/>
            <pc:sldMk cId="2188496406" sldId="2147473826"/>
            <ac:spMk id="55" creationId="{3BB0EF38-4B03-EDC3-DEE0-D74229DF5FA5}"/>
          </ac:spMkLst>
        </pc:spChg>
        <pc:spChg chg="mod">
          <ac:chgData name="Richard Zanardo" userId="S::rick.zanardo@sensirion.com::5321cd68-d87e-4758-8465-f6b56eb811fe" providerId="AD" clId="Web-{19CD14CB-9D6E-D6C8-84EC-E25B7260F8C2}" dt="2025-09-08T18:36:12.253" v="208" actId="14100"/>
          <ac:spMkLst>
            <pc:docMk/>
            <pc:sldMk cId="2188496406" sldId="2147473826"/>
            <ac:spMk id="57" creationId="{2A0FBA6B-407E-87D9-2F40-DB53B2E320E1}"/>
          </ac:spMkLst>
        </pc:spChg>
      </pc:sldChg>
      <pc:sldChg chg="modSp ord">
        <pc:chgData name="Richard Zanardo" userId="S::rick.zanardo@sensirion.com::5321cd68-d87e-4758-8465-f6b56eb811fe" providerId="AD" clId="Web-{19CD14CB-9D6E-D6C8-84EC-E25B7260F8C2}" dt="2025-09-08T17:49:13.758" v="29"/>
        <pc:sldMkLst>
          <pc:docMk/>
          <pc:sldMk cId="4254121259" sldId="2147473827"/>
        </pc:sldMkLst>
        <pc:picChg chg="mod">
          <ac:chgData name="Richard Zanardo" userId="S::rick.zanardo@sensirion.com::5321cd68-d87e-4758-8465-f6b56eb811fe" providerId="AD" clId="Web-{19CD14CB-9D6E-D6C8-84EC-E25B7260F8C2}" dt="2025-09-08T15:59:30.600" v="0" actId="1076"/>
          <ac:picMkLst>
            <pc:docMk/>
            <pc:sldMk cId="4254121259" sldId="2147473827"/>
            <ac:picMk id="8" creationId="{609C4A7D-3979-4DCC-3578-A336F43DF0E1}"/>
          </ac:picMkLst>
        </pc:picChg>
      </pc:sldChg>
      <pc:sldChg chg="add">
        <pc:chgData name="Richard Zanardo" userId="S::rick.zanardo@sensirion.com::5321cd68-d87e-4758-8465-f6b56eb811fe" providerId="AD" clId="Web-{19CD14CB-9D6E-D6C8-84EC-E25B7260F8C2}" dt="2025-09-08T16:00:03.069" v="1"/>
        <pc:sldMkLst>
          <pc:docMk/>
          <pc:sldMk cId="3878028456" sldId="2147473828"/>
        </pc:sldMkLst>
      </pc:sldChg>
      <pc:sldChg chg="add">
        <pc:chgData name="Richard Zanardo" userId="S::rick.zanardo@sensirion.com::5321cd68-d87e-4758-8465-f6b56eb811fe" providerId="AD" clId="Web-{19CD14CB-9D6E-D6C8-84EC-E25B7260F8C2}" dt="2025-09-08T16:02:50.478" v="8"/>
        <pc:sldMkLst>
          <pc:docMk/>
          <pc:sldMk cId="824568015" sldId="2147473829"/>
        </pc:sldMkLst>
      </pc:sldChg>
      <pc:sldChg chg="add del">
        <pc:chgData name="Richard Zanardo" userId="S::rick.zanardo@sensirion.com::5321cd68-d87e-4758-8465-f6b56eb811fe" providerId="AD" clId="Web-{19CD14CB-9D6E-D6C8-84EC-E25B7260F8C2}" dt="2025-09-08T16:02:37.790" v="7"/>
        <pc:sldMkLst>
          <pc:docMk/>
          <pc:sldMk cId="1548220052" sldId="2147473829"/>
        </pc:sldMkLst>
      </pc:sldChg>
      <pc:sldChg chg="add">
        <pc:chgData name="Richard Zanardo" userId="S::rick.zanardo@sensirion.com::5321cd68-d87e-4758-8465-f6b56eb811fe" providerId="AD" clId="Web-{19CD14CB-9D6E-D6C8-84EC-E25B7260F8C2}" dt="2025-09-08T16:38:54.576" v="12"/>
        <pc:sldMkLst>
          <pc:docMk/>
          <pc:sldMk cId="3933480761" sldId="2147473830"/>
        </pc:sldMkLst>
      </pc:sldChg>
      <pc:sldChg chg="add">
        <pc:chgData name="Richard Zanardo" userId="S::rick.zanardo@sensirion.com::5321cd68-d87e-4758-8465-f6b56eb811fe" providerId="AD" clId="Web-{19CD14CB-9D6E-D6C8-84EC-E25B7260F8C2}" dt="2025-09-08T16:38:55.170" v="13"/>
        <pc:sldMkLst>
          <pc:docMk/>
          <pc:sldMk cId="4202587516" sldId="2147473831"/>
        </pc:sldMkLst>
      </pc:sldChg>
      <pc:sldChg chg="add">
        <pc:chgData name="Richard Zanardo" userId="S::rick.zanardo@sensirion.com::5321cd68-d87e-4758-8465-f6b56eb811fe" providerId="AD" clId="Web-{19CD14CB-9D6E-D6C8-84EC-E25B7260F8C2}" dt="2025-09-08T16:38:55.373" v="14"/>
        <pc:sldMkLst>
          <pc:docMk/>
          <pc:sldMk cId="3707386416" sldId="2147473832"/>
        </pc:sldMkLst>
      </pc:sldChg>
      <pc:sldChg chg="add">
        <pc:chgData name="Richard Zanardo" userId="S::rick.zanardo@sensirion.com::5321cd68-d87e-4758-8465-f6b56eb811fe" providerId="AD" clId="Web-{19CD14CB-9D6E-D6C8-84EC-E25B7260F8C2}" dt="2025-09-08T16:39:23.827" v="15"/>
        <pc:sldMkLst>
          <pc:docMk/>
          <pc:sldMk cId="394544752" sldId="2147473833"/>
        </pc:sldMkLst>
      </pc:sldChg>
      <pc:sldChg chg="add">
        <pc:chgData name="Richard Zanardo" userId="S::rick.zanardo@sensirion.com::5321cd68-d87e-4758-8465-f6b56eb811fe" providerId="AD" clId="Web-{19CD14CB-9D6E-D6C8-84EC-E25B7260F8C2}" dt="2025-09-08T16:39:24.030" v="16"/>
        <pc:sldMkLst>
          <pc:docMk/>
          <pc:sldMk cId="4087589519" sldId="2147473834"/>
        </pc:sldMkLst>
      </pc:sldChg>
      <pc:sldChg chg="add ord">
        <pc:chgData name="Richard Zanardo" userId="S::rick.zanardo@sensirion.com::5321cd68-d87e-4758-8465-f6b56eb811fe" providerId="AD" clId="Web-{19CD14CB-9D6E-D6C8-84EC-E25B7260F8C2}" dt="2025-09-08T17:40:08.857" v="20"/>
        <pc:sldMkLst>
          <pc:docMk/>
          <pc:sldMk cId="3633861771" sldId="2147473835"/>
        </pc:sldMkLst>
      </pc:sldChg>
      <pc:sldChg chg="add">
        <pc:chgData name="Richard Zanardo" userId="S::rick.zanardo@sensirion.com::5321cd68-d87e-4758-8465-f6b56eb811fe" providerId="AD" clId="Web-{19CD14CB-9D6E-D6C8-84EC-E25B7260F8C2}" dt="2025-09-08T17:41:29.375" v="21"/>
        <pc:sldMkLst>
          <pc:docMk/>
          <pc:sldMk cId="2458678492" sldId="2147473836"/>
        </pc:sldMkLst>
      </pc:sldChg>
      <pc:sldChg chg="add">
        <pc:chgData name="Richard Zanardo" userId="S::rick.zanardo@sensirion.com::5321cd68-d87e-4758-8465-f6b56eb811fe" providerId="AD" clId="Web-{19CD14CB-9D6E-D6C8-84EC-E25B7260F8C2}" dt="2025-09-08T17:42:29.423" v="22"/>
        <pc:sldMkLst>
          <pc:docMk/>
          <pc:sldMk cId="1286054565" sldId="2147473837"/>
        </pc:sldMkLst>
      </pc:sldChg>
      <pc:sldChg chg="modSp add del replId">
        <pc:chgData name="Richard Zanardo" userId="S::rick.zanardo@sensirion.com::5321cd68-d87e-4758-8465-f6b56eb811fe" providerId="AD" clId="Web-{19CD14CB-9D6E-D6C8-84EC-E25B7260F8C2}" dt="2025-09-08T18:35:39.768" v="206"/>
        <pc:sldMkLst>
          <pc:docMk/>
          <pc:sldMk cId="2513393359" sldId="2147473838"/>
        </pc:sldMkLst>
      </pc:sldChg>
      <pc:sldChg chg="modSp add">
        <pc:chgData name="Richard Zanardo" userId="S::rick.zanardo@sensirion.com::5321cd68-d87e-4758-8465-f6b56eb811fe" providerId="AD" clId="Web-{19CD14CB-9D6E-D6C8-84EC-E25B7260F8C2}" dt="2025-09-08T18:38:36.006" v="217" actId="1076"/>
        <pc:sldMkLst>
          <pc:docMk/>
          <pc:sldMk cId="3887271815" sldId="2147473843"/>
        </pc:sldMkLst>
        <pc:spChg chg="mod">
          <ac:chgData name="Richard Zanardo" userId="S::rick.zanardo@sensirion.com::5321cd68-d87e-4758-8465-f6b56eb811fe" providerId="AD" clId="Web-{19CD14CB-9D6E-D6C8-84EC-E25B7260F8C2}" dt="2025-09-08T18:38:36.006" v="217" actId="1076"/>
          <ac:spMkLst>
            <pc:docMk/>
            <pc:sldMk cId="3887271815" sldId="2147473843"/>
            <ac:spMk id="11" creationId="{62EC18A0-4F1D-E4FB-651C-20FAFAD37553}"/>
          </ac:spMkLst>
        </pc:spChg>
      </pc:sldChg>
    </pc:docChg>
  </pc:docChgLst>
  <pc:docChgLst>
    <pc:chgData name="Holger Oswald" userId="S::holger.oswald@sensirion.com::88bb7036-742f-4c0f-9642-8942c7f8ab59" providerId="AD" clId="Web-{144C14EF-75E4-A98F-24F9-DECAD76795EF}"/>
    <pc:docChg chg="addSld modSld">
      <pc:chgData name="Holger Oswald" userId="S::holger.oswald@sensirion.com::88bb7036-742f-4c0f-9642-8942c7f8ab59" providerId="AD" clId="Web-{144C14EF-75E4-A98F-24F9-DECAD76795EF}" dt="2025-06-02T16:02:09.168" v="33" actId="20577"/>
      <pc:docMkLst>
        <pc:docMk/>
      </pc:docMkLst>
      <pc:sldChg chg="addSp delSp modSp">
        <pc:chgData name="Holger Oswald" userId="S::holger.oswald@sensirion.com::88bb7036-742f-4c0f-9642-8942c7f8ab59" providerId="AD" clId="Web-{144C14EF-75E4-A98F-24F9-DECAD76795EF}" dt="2025-06-02T16:00:40.604" v="30" actId="1076"/>
        <pc:sldMkLst>
          <pc:docMk/>
          <pc:sldMk cId="4135822502" sldId="532"/>
        </pc:sldMkLst>
      </pc:sldChg>
      <pc:sldChg chg="modSp new">
        <pc:chgData name="Holger Oswald" userId="S::holger.oswald@sensirion.com::88bb7036-742f-4c0f-9642-8942c7f8ab59" providerId="AD" clId="Web-{144C14EF-75E4-A98F-24F9-DECAD76795EF}" dt="2025-06-02T16:02:09.168" v="33" actId="20577"/>
        <pc:sldMkLst>
          <pc:docMk/>
          <pc:sldMk cId="2472500051" sldId="2147473799"/>
        </pc:sldMkLst>
      </pc:sldChg>
    </pc:docChg>
  </pc:docChgLst>
  <pc:docChgLst>
    <pc:chgData name="Richard Zanardo" userId="S::rick.zanardo@sensirion.com::5321cd68-d87e-4758-8465-f6b56eb811fe" providerId="AD" clId="Web-{310B4945-85B0-4052-A33C-7DFB82C9E5B6}"/>
    <pc:docChg chg="addSld delSld modSld">
      <pc:chgData name="Richard Zanardo" userId="S::rick.zanardo@sensirion.com::5321cd68-d87e-4758-8465-f6b56eb811fe" providerId="AD" clId="Web-{310B4945-85B0-4052-A33C-7DFB82C9E5B6}" dt="2025-09-13T00:10:02.179" v="95"/>
      <pc:docMkLst>
        <pc:docMk/>
      </pc:docMkLst>
      <pc:sldChg chg="mod modShow">
        <pc:chgData name="Richard Zanardo" userId="S::rick.zanardo@sensirion.com::5321cd68-d87e-4758-8465-f6b56eb811fe" providerId="AD" clId="Web-{310B4945-85B0-4052-A33C-7DFB82C9E5B6}" dt="2025-09-13T00:05:05.642" v="0"/>
        <pc:sldMkLst>
          <pc:docMk/>
          <pc:sldMk cId="862353196" sldId="559"/>
        </pc:sldMkLst>
      </pc:sldChg>
      <pc:sldChg chg="del">
        <pc:chgData name="Richard Zanardo" userId="S::rick.zanardo@sensirion.com::5321cd68-d87e-4758-8465-f6b56eb811fe" providerId="AD" clId="Web-{310B4945-85B0-4052-A33C-7DFB82C9E5B6}" dt="2025-09-13T00:10:02.179" v="95"/>
        <pc:sldMkLst>
          <pc:docMk/>
          <pc:sldMk cId="3612533062" sldId="2147473841"/>
        </pc:sldMkLst>
      </pc:sldChg>
      <pc:sldChg chg="addSp delSp modSp add">
        <pc:chgData name="Richard Zanardo" userId="S::rick.zanardo@sensirion.com::5321cd68-d87e-4758-8465-f6b56eb811fe" providerId="AD" clId="Web-{310B4945-85B0-4052-A33C-7DFB82C9E5B6}" dt="2025-09-13T00:09:48.898" v="94" actId="14100"/>
        <pc:sldMkLst>
          <pc:docMk/>
          <pc:sldMk cId="3324282301" sldId="2147473848"/>
        </pc:sldMkLst>
        <pc:spChg chg="mod">
          <ac:chgData name="Richard Zanardo" userId="S::rick.zanardo@sensirion.com::5321cd68-d87e-4758-8465-f6b56eb811fe" providerId="AD" clId="Web-{310B4945-85B0-4052-A33C-7DFB82C9E5B6}" dt="2025-09-13T00:07:12.114" v="23" actId="14100"/>
          <ac:spMkLst>
            <pc:docMk/>
            <pc:sldMk cId="3324282301" sldId="2147473848"/>
            <ac:spMk id="2" creationId="{FC44C465-46B0-956B-E8D6-AFD274C845F1}"/>
          </ac:spMkLst>
        </pc:spChg>
        <pc:spChg chg="mod">
          <ac:chgData name="Richard Zanardo" userId="S::rick.zanardo@sensirion.com::5321cd68-d87e-4758-8465-f6b56eb811fe" providerId="AD" clId="Web-{310B4945-85B0-4052-A33C-7DFB82C9E5B6}" dt="2025-09-13T00:05:48.299" v="15" actId="20577"/>
          <ac:spMkLst>
            <pc:docMk/>
            <pc:sldMk cId="3324282301" sldId="2147473848"/>
            <ac:spMk id="3" creationId="{BE32602E-C20A-E7D9-CE22-07BA1DEFB59C}"/>
          </ac:spMkLst>
        </pc:spChg>
        <pc:spChg chg="mod">
          <ac:chgData name="Richard Zanardo" userId="S::rick.zanardo@sensirion.com::5321cd68-d87e-4758-8465-f6b56eb811fe" providerId="AD" clId="Web-{310B4945-85B0-4052-A33C-7DFB82C9E5B6}" dt="2025-09-13T00:09:48.898" v="94" actId="14100"/>
          <ac:spMkLst>
            <pc:docMk/>
            <pc:sldMk cId="3324282301" sldId="2147473848"/>
            <ac:spMk id="6" creationId="{A2397265-6326-ABE1-2120-5FCE0E6D249C}"/>
          </ac:spMkLst>
        </pc:spChg>
      </pc:sldChg>
    </pc:docChg>
  </pc:docChgLst>
  <pc:docChgLst>
    <pc:chgData name="Holger Oswald" userId="S::holger.oswald@sensirion.com::88bb7036-742f-4c0f-9642-8942c7f8ab59" providerId="AD" clId="Web-{C817D083-24DA-5253-A40F-87E1A96E88F2}"/>
    <pc:docChg chg="modSld">
      <pc:chgData name="Holger Oswald" userId="S::holger.oswald@sensirion.com::88bb7036-742f-4c0f-9642-8942c7f8ab59" providerId="AD" clId="Web-{C817D083-24DA-5253-A40F-87E1A96E88F2}" dt="2025-02-24T19:43:32.605" v="0" actId="20577"/>
      <pc:docMkLst>
        <pc:docMk/>
      </pc:docMkLst>
      <pc:sldChg chg="modSp">
        <pc:chgData name="Holger Oswald" userId="S::holger.oswald@sensirion.com::88bb7036-742f-4c0f-9642-8942c7f8ab59" providerId="AD" clId="Web-{C817D083-24DA-5253-A40F-87E1A96E88F2}" dt="2025-02-24T19:43:32.605" v="0" actId="20577"/>
        <pc:sldMkLst>
          <pc:docMk/>
          <pc:sldMk cId="3814279874" sldId="517"/>
        </pc:sldMkLst>
      </pc:sldChg>
    </pc:docChg>
  </pc:docChgLst>
  <pc:docChgLst>
    <pc:chgData name="Theresa Tesch" userId="S::theresa.tesch@sensirion.com::02b376b8-6da7-485c-aa4f-6574a5771292" providerId="AD" clId="Web-{82A44E02-7932-5088-FEAF-EE62909BD444}"/>
    <pc:docChg chg="modSld">
      <pc:chgData name="Theresa Tesch" userId="S::theresa.tesch@sensirion.com::02b376b8-6da7-485c-aa4f-6574a5771292" providerId="AD" clId="Web-{82A44E02-7932-5088-FEAF-EE62909BD444}" dt="2025-09-04T15:10:14.353" v="18" actId="20577"/>
      <pc:docMkLst>
        <pc:docMk/>
      </pc:docMkLst>
      <pc:sldChg chg="modSp">
        <pc:chgData name="Theresa Tesch" userId="S::theresa.tesch@sensirion.com::02b376b8-6da7-485c-aa4f-6574a5771292" providerId="AD" clId="Web-{82A44E02-7932-5088-FEAF-EE62909BD444}" dt="2025-09-04T15:10:14.353" v="18" actId="20577"/>
        <pc:sldMkLst>
          <pc:docMk/>
          <pc:sldMk cId="3262814712" sldId="556"/>
        </pc:sldMkLst>
        <pc:spChg chg="mod">
          <ac:chgData name="Theresa Tesch" userId="S::theresa.tesch@sensirion.com::02b376b8-6da7-485c-aa4f-6574a5771292" providerId="AD" clId="Web-{82A44E02-7932-5088-FEAF-EE62909BD444}" dt="2025-09-04T15:10:14.353" v="18" actId="20577"/>
          <ac:spMkLst>
            <pc:docMk/>
            <pc:sldMk cId="3262814712" sldId="556"/>
            <ac:spMk id="3" creationId="{9B076291-C646-6F39-DC78-623F507153DA}"/>
          </ac:spMkLst>
        </pc:spChg>
      </pc:sldChg>
    </pc:docChg>
  </pc:docChgLst>
  <pc:docChgLst>
    <pc:chgData name="Richard Zanardo" userId="S::rick.zanardo@sensirion.com::5321cd68-d87e-4758-8465-f6b56eb811fe" providerId="AD" clId="Web-{99420C2B-C4CE-4BE3-812B-18599A4DF3A6}"/>
    <pc:docChg chg="addSld modSld sldOrd">
      <pc:chgData name="Richard Zanardo" userId="S::rick.zanardo@sensirion.com::5321cd68-d87e-4758-8465-f6b56eb811fe" providerId="AD" clId="Web-{99420C2B-C4CE-4BE3-812B-18599A4DF3A6}" dt="2025-09-15T14:49:02.910" v="66" actId="20577"/>
      <pc:docMkLst>
        <pc:docMk/>
      </pc:docMkLst>
      <pc:sldChg chg="modSp ord">
        <pc:chgData name="Richard Zanardo" userId="S::rick.zanardo@sensirion.com::5321cd68-d87e-4758-8465-f6b56eb811fe" providerId="AD" clId="Web-{99420C2B-C4CE-4BE3-812B-18599A4DF3A6}" dt="2025-09-15T14:41:26.085" v="60" actId="20577"/>
        <pc:sldMkLst>
          <pc:docMk/>
          <pc:sldMk cId="3921081350" sldId="2147473812"/>
        </pc:sldMkLst>
        <pc:spChg chg="mod">
          <ac:chgData name="Richard Zanardo" userId="S::rick.zanardo@sensirion.com::5321cd68-d87e-4758-8465-f6b56eb811fe" providerId="AD" clId="Web-{99420C2B-C4CE-4BE3-812B-18599A4DF3A6}" dt="2025-09-15T14:41:26.085" v="60" actId="20577"/>
          <ac:spMkLst>
            <pc:docMk/>
            <pc:sldMk cId="3921081350" sldId="2147473812"/>
            <ac:spMk id="4" creationId="{5F872F22-2E39-1925-B50A-666ACCD7CAED}"/>
          </ac:spMkLst>
        </pc:spChg>
      </pc:sldChg>
      <pc:sldChg chg="modSp ord">
        <pc:chgData name="Richard Zanardo" userId="S::rick.zanardo@sensirion.com::5321cd68-d87e-4758-8465-f6b56eb811fe" providerId="AD" clId="Web-{99420C2B-C4CE-4BE3-812B-18599A4DF3A6}" dt="2025-09-15T14:41:30.773" v="61" actId="20577"/>
        <pc:sldMkLst>
          <pc:docMk/>
          <pc:sldMk cId="977994764" sldId="2147473813"/>
        </pc:sldMkLst>
        <pc:spChg chg="mod">
          <ac:chgData name="Richard Zanardo" userId="S::rick.zanardo@sensirion.com::5321cd68-d87e-4758-8465-f6b56eb811fe" providerId="AD" clId="Web-{99420C2B-C4CE-4BE3-812B-18599A4DF3A6}" dt="2025-09-15T14:41:30.773" v="61" actId="20577"/>
          <ac:spMkLst>
            <pc:docMk/>
            <pc:sldMk cId="977994764" sldId="2147473813"/>
            <ac:spMk id="4" creationId="{DDB15DBF-F13C-2D1B-58C9-CC2F89787907}"/>
          </ac:spMkLst>
        </pc:spChg>
      </pc:sldChg>
      <pc:sldChg chg="modNotes">
        <pc:chgData name="Richard Zanardo" userId="S::rick.zanardo@sensirion.com::5321cd68-d87e-4758-8465-f6b56eb811fe" providerId="AD" clId="Web-{99420C2B-C4CE-4BE3-812B-18599A4DF3A6}" dt="2025-09-15T14:18:49.257" v="1"/>
        <pc:sldMkLst>
          <pc:docMk/>
          <pc:sldMk cId="4202587516" sldId="2147473831"/>
        </pc:sldMkLst>
      </pc:sldChg>
      <pc:sldChg chg="modSp">
        <pc:chgData name="Richard Zanardo" userId="S::rick.zanardo@sensirion.com::5321cd68-d87e-4758-8465-f6b56eb811fe" providerId="AD" clId="Web-{99420C2B-C4CE-4BE3-812B-18599A4DF3A6}" dt="2025-09-15T14:49:02.910" v="66" actId="20577"/>
        <pc:sldMkLst>
          <pc:docMk/>
          <pc:sldMk cId="3324282301" sldId="2147473848"/>
        </pc:sldMkLst>
        <pc:spChg chg="mod">
          <ac:chgData name="Richard Zanardo" userId="S::rick.zanardo@sensirion.com::5321cd68-d87e-4758-8465-f6b56eb811fe" providerId="AD" clId="Web-{99420C2B-C4CE-4BE3-812B-18599A4DF3A6}" dt="2025-09-15T14:49:02.910" v="66" actId="20577"/>
          <ac:spMkLst>
            <pc:docMk/>
            <pc:sldMk cId="3324282301" sldId="2147473848"/>
            <ac:spMk id="2" creationId="{FC44C465-46B0-956B-E8D6-AFD274C845F1}"/>
          </ac:spMkLst>
        </pc:spChg>
        <pc:spChg chg="mod">
          <ac:chgData name="Richard Zanardo" userId="S::rick.zanardo@sensirion.com::5321cd68-d87e-4758-8465-f6b56eb811fe" providerId="AD" clId="Web-{99420C2B-C4CE-4BE3-812B-18599A4DF3A6}" dt="2025-09-15T14:48:59.753" v="64" actId="20577"/>
          <ac:spMkLst>
            <pc:docMk/>
            <pc:sldMk cId="3324282301" sldId="2147473848"/>
            <ac:spMk id="6" creationId="{A2397265-6326-ABE1-2120-5FCE0E6D249C}"/>
          </ac:spMkLst>
        </pc:spChg>
      </pc:sldChg>
      <pc:sldChg chg="modSp add">
        <pc:chgData name="Richard Zanardo" userId="S::rick.zanardo@sensirion.com::5321cd68-d87e-4758-8465-f6b56eb811fe" providerId="AD" clId="Web-{99420C2B-C4CE-4BE3-812B-18599A4DF3A6}" dt="2025-09-15T14:40:35.241" v="57" actId="1076"/>
        <pc:sldMkLst>
          <pc:docMk/>
          <pc:sldMk cId="409022103" sldId="2147473849"/>
        </pc:sldMkLst>
        <pc:spChg chg="mod">
          <ac:chgData name="Richard Zanardo" userId="S::rick.zanardo@sensirion.com::5321cd68-d87e-4758-8465-f6b56eb811fe" providerId="AD" clId="Web-{99420C2B-C4CE-4BE3-812B-18599A4DF3A6}" dt="2025-09-15T14:39:20.975" v="39" actId="1076"/>
          <ac:spMkLst>
            <pc:docMk/>
            <pc:sldMk cId="409022103" sldId="2147473849"/>
            <ac:spMk id="9" creationId="{27905E7E-5809-6D47-0EE1-EE08D2B8DF72}"/>
          </ac:spMkLst>
        </pc:spChg>
        <pc:spChg chg="mod">
          <ac:chgData name="Richard Zanardo" userId="S::rick.zanardo@sensirion.com::5321cd68-d87e-4758-8465-f6b56eb811fe" providerId="AD" clId="Web-{99420C2B-C4CE-4BE3-812B-18599A4DF3A6}" dt="2025-09-15T14:35:44.333" v="32" actId="20577"/>
          <ac:spMkLst>
            <pc:docMk/>
            <pc:sldMk cId="409022103" sldId="2147473849"/>
            <ac:spMk id="23" creationId="{3EFFA9EA-2C06-ED1C-EC7D-D4BAB866B787}"/>
          </ac:spMkLst>
        </pc:spChg>
        <pc:spChg chg="mod">
          <ac:chgData name="Richard Zanardo" userId="S::rick.zanardo@sensirion.com::5321cd68-d87e-4758-8465-f6b56eb811fe" providerId="AD" clId="Web-{99420C2B-C4CE-4BE3-812B-18599A4DF3A6}" dt="2025-09-15T14:35:31.723" v="29" actId="20577"/>
          <ac:spMkLst>
            <pc:docMk/>
            <pc:sldMk cId="409022103" sldId="2147473849"/>
            <ac:spMk id="24" creationId="{047ACBAB-4FF5-F0A4-9B1D-40A7DD910416}"/>
          </ac:spMkLst>
        </pc:spChg>
        <pc:spChg chg="mod">
          <ac:chgData name="Richard Zanardo" userId="S::rick.zanardo@sensirion.com::5321cd68-d87e-4758-8465-f6b56eb811fe" providerId="AD" clId="Web-{99420C2B-C4CE-4BE3-812B-18599A4DF3A6}" dt="2025-09-15T14:40:35.241" v="57" actId="1076"/>
          <ac:spMkLst>
            <pc:docMk/>
            <pc:sldMk cId="409022103" sldId="2147473849"/>
            <ac:spMk id="25" creationId="{DBA2D0BB-BD1D-D4FC-7B27-92F893FA5DC1}"/>
          </ac:spMkLst>
        </pc:spChg>
        <pc:picChg chg="mod">
          <ac:chgData name="Richard Zanardo" userId="S::rick.zanardo@sensirion.com::5321cd68-d87e-4758-8465-f6b56eb811fe" providerId="AD" clId="Web-{99420C2B-C4CE-4BE3-812B-18599A4DF3A6}" dt="2025-09-15T14:39:20.959" v="38" actId="1076"/>
          <ac:picMkLst>
            <pc:docMk/>
            <pc:sldMk cId="409022103" sldId="2147473849"/>
            <ac:picMk id="8" creationId="{429C7870-204D-9951-004C-C33DFD575B14}"/>
          </ac:picMkLst>
        </pc:picChg>
        <pc:picChg chg="mod">
          <ac:chgData name="Richard Zanardo" userId="S::rick.zanardo@sensirion.com::5321cd68-d87e-4758-8465-f6b56eb811fe" providerId="AD" clId="Web-{99420C2B-C4CE-4BE3-812B-18599A4DF3A6}" dt="2025-09-15T14:40:35.210" v="55" actId="1076"/>
          <ac:picMkLst>
            <pc:docMk/>
            <pc:sldMk cId="409022103" sldId="2147473849"/>
            <ac:picMk id="13" creationId="{4C97EE0D-FC86-A971-C22F-DCDACA00EACE}"/>
          </ac:picMkLst>
        </pc:picChg>
        <pc:picChg chg="mod">
          <ac:chgData name="Richard Zanardo" userId="S::rick.zanardo@sensirion.com::5321cd68-d87e-4758-8465-f6b56eb811fe" providerId="AD" clId="Web-{99420C2B-C4CE-4BE3-812B-18599A4DF3A6}" dt="2025-09-15T14:40:35.210" v="56" actId="1076"/>
          <ac:picMkLst>
            <pc:docMk/>
            <pc:sldMk cId="409022103" sldId="2147473849"/>
            <ac:picMk id="14" creationId="{714A88E4-E20D-5264-6001-1FF19943E9BF}"/>
          </ac:picMkLst>
        </pc:picChg>
        <pc:picChg chg="mod">
          <ac:chgData name="Richard Zanardo" userId="S::rick.zanardo@sensirion.com::5321cd68-d87e-4758-8465-f6b56eb811fe" providerId="AD" clId="Web-{99420C2B-C4CE-4BE3-812B-18599A4DF3A6}" dt="2025-09-15T14:39:20.990" v="41" actId="1076"/>
          <ac:picMkLst>
            <pc:docMk/>
            <pc:sldMk cId="409022103" sldId="2147473849"/>
            <ac:picMk id="16" creationId="{951D1C94-6CC4-D93C-AD40-054B1E8EE6B6}"/>
          </ac:picMkLst>
        </pc:picChg>
        <pc:picChg chg="mod">
          <ac:chgData name="Richard Zanardo" userId="S::rick.zanardo@sensirion.com::5321cd68-d87e-4758-8465-f6b56eb811fe" providerId="AD" clId="Web-{99420C2B-C4CE-4BE3-812B-18599A4DF3A6}" dt="2025-09-15T14:39:29.772" v="42" actId="1076"/>
          <ac:picMkLst>
            <pc:docMk/>
            <pc:sldMk cId="409022103" sldId="2147473849"/>
            <ac:picMk id="26" creationId="{009B4AAB-3B99-84EE-F286-E26527C9775A}"/>
          </ac:picMkLst>
        </pc:picChg>
        <pc:picChg chg="mod">
          <ac:chgData name="Richard Zanardo" userId="S::rick.zanardo@sensirion.com::5321cd68-d87e-4758-8465-f6b56eb811fe" providerId="AD" clId="Web-{99420C2B-C4CE-4BE3-812B-18599A4DF3A6}" dt="2025-09-15T14:39:29.787" v="43" actId="1076"/>
          <ac:picMkLst>
            <pc:docMk/>
            <pc:sldMk cId="409022103" sldId="2147473849"/>
            <ac:picMk id="27" creationId="{8319C983-6C86-9789-8162-B9D186D9A240}"/>
          </ac:picMkLst>
        </pc:picChg>
        <pc:picChg chg="mod">
          <ac:chgData name="Richard Zanardo" userId="S::rick.zanardo@sensirion.com::5321cd68-d87e-4758-8465-f6b56eb811fe" providerId="AD" clId="Web-{99420C2B-C4CE-4BE3-812B-18599A4DF3A6}" dt="2025-09-15T14:39:29.803" v="44" actId="1076"/>
          <ac:picMkLst>
            <pc:docMk/>
            <pc:sldMk cId="409022103" sldId="2147473849"/>
            <ac:picMk id="28" creationId="{6721EC99-08C4-4FDC-9B9F-25D9A32F953B}"/>
          </ac:picMkLst>
        </pc:picChg>
        <pc:cxnChg chg="mod">
          <ac:chgData name="Richard Zanardo" userId="S::rick.zanardo@sensirion.com::5321cd68-d87e-4758-8465-f6b56eb811fe" providerId="AD" clId="Web-{99420C2B-C4CE-4BE3-812B-18599A4DF3A6}" dt="2025-09-15T14:39:20.975" v="40" actId="1076"/>
          <ac:cxnSpMkLst>
            <pc:docMk/>
            <pc:sldMk cId="409022103" sldId="2147473849"/>
            <ac:cxnSpMk id="12" creationId="{AF1FC291-48CE-D050-A10B-ABC7487A537B}"/>
          </ac:cxnSpMkLst>
        </pc:cxnChg>
      </pc:sldChg>
    </pc:docChg>
  </pc:docChgLst>
  <pc:docChgLst>
    <pc:chgData name="Holger Oswald" userId="S::holger.oswald@sensirion.com::88bb7036-742f-4c0f-9642-8942c7f8ab59" providerId="AD" clId="Web-{30DE0074-AFDC-6140-FA50-E0C06D5D2CD1}"/>
    <pc:docChg chg="addSld modSld">
      <pc:chgData name="Holger Oswald" userId="S::holger.oswald@sensirion.com::88bb7036-742f-4c0f-9642-8942c7f8ab59" providerId="AD" clId="Web-{30DE0074-AFDC-6140-FA50-E0C06D5D2CD1}" dt="2025-04-02T22:02:41.526" v="7" actId="20577"/>
      <pc:docMkLst>
        <pc:docMk/>
      </pc:docMkLst>
      <pc:sldChg chg="addSp delSp modSp new">
        <pc:chgData name="Holger Oswald" userId="S::holger.oswald@sensirion.com::88bb7036-742f-4c0f-9642-8942c7f8ab59" providerId="AD" clId="Web-{30DE0074-AFDC-6140-FA50-E0C06D5D2CD1}" dt="2025-04-02T22:02:41.526" v="7" actId="20577"/>
        <pc:sldMkLst>
          <pc:docMk/>
          <pc:sldMk cId="3081912337" sldId="553"/>
        </pc:sldMkLst>
      </pc:sldChg>
    </pc:docChg>
  </pc:docChgLst>
  <pc:docChgLst>
    <pc:chgData name="Gary Mcnelly" userId="S::gary.mcnelly@sensirion.com::d1641cab-75f6-41fd-9815-3a526b9e46a5" providerId="AD" clId="Web-{CBC20169-60B7-7D6A-6192-F1399D183AC7}"/>
    <pc:docChg chg="modSld">
      <pc:chgData name="Gary Mcnelly" userId="S::gary.mcnelly@sensirion.com::d1641cab-75f6-41fd-9815-3a526b9e46a5" providerId="AD" clId="Web-{CBC20169-60B7-7D6A-6192-F1399D183AC7}" dt="2025-09-09T02:40:57.463" v="690" actId="20577"/>
      <pc:docMkLst>
        <pc:docMk/>
      </pc:docMkLst>
      <pc:sldChg chg="addSp delSp modSp">
        <pc:chgData name="Gary Mcnelly" userId="S::gary.mcnelly@sensirion.com::d1641cab-75f6-41fd-9815-3a526b9e46a5" providerId="AD" clId="Web-{CBC20169-60B7-7D6A-6192-F1399D183AC7}" dt="2025-09-09T02:40:57.463" v="690" actId="20577"/>
        <pc:sldMkLst>
          <pc:docMk/>
          <pc:sldMk cId="2745731834" sldId="2147473839"/>
        </pc:sldMkLst>
        <pc:spChg chg="mod">
          <ac:chgData name="Gary Mcnelly" userId="S::gary.mcnelly@sensirion.com::d1641cab-75f6-41fd-9815-3a526b9e46a5" providerId="AD" clId="Web-{CBC20169-60B7-7D6A-6192-F1399D183AC7}" dt="2025-09-09T02:12:32.672" v="9" actId="20577"/>
          <ac:spMkLst>
            <pc:docMk/>
            <pc:sldMk cId="2745731834" sldId="2147473839"/>
            <ac:spMk id="4" creationId="{77A43E9D-4E46-D56D-0B66-603E5DA09111}"/>
          </ac:spMkLst>
        </pc:spChg>
        <pc:spChg chg="add mod">
          <ac:chgData name="Gary Mcnelly" userId="S::gary.mcnelly@sensirion.com::d1641cab-75f6-41fd-9815-3a526b9e46a5" providerId="AD" clId="Web-{CBC20169-60B7-7D6A-6192-F1399D183AC7}" dt="2025-09-09T02:40:57.463" v="690" actId="20577"/>
          <ac:spMkLst>
            <pc:docMk/>
            <pc:sldMk cId="2745731834" sldId="2147473839"/>
            <ac:spMk id="8" creationId="{D3087DD1-D259-550E-4958-CAF88482EC0E}"/>
          </ac:spMkLst>
        </pc:spChg>
        <pc:picChg chg="add mod ord">
          <ac:chgData name="Gary Mcnelly" userId="S::gary.mcnelly@sensirion.com::d1641cab-75f6-41fd-9815-3a526b9e46a5" providerId="AD" clId="Web-{CBC20169-60B7-7D6A-6192-F1399D183AC7}" dt="2025-09-09T02:11:24.873" v="3" actId="1076"/>
          <ac:picMkLst>
            <pc:docMk/>
            <pc:sldMk cId="2745731834" sldId="2147473839"/>
            <ac:picMk id="2" creationId="{C7B9F51F-AE06-3A48-3567-FA5D7A9CDEE6}"/>
          </ac:picMkLst>
        </pc:picChg>
        <pc:picChg chg="add mod">
          <ac:chgData name="Gary Mcnelly" userId="S::gary.mcnelly@sensirion.com::d1641cab-75f6-41fd-9815-3a526b9e46a5" providerId="AD" clId="Web-{CBC20169-60B7-7D6A-6192-F1399D183AC7}" dt="2025-09-09T02:12:16.593" v="6" actId="1076"/>
          <ac:picMkLst>
            <pc:docMk/>
            <pc:sldMk cId="2745731834" sldId="2147473839"/>
            <ac:picMk id="7" creationId="{1752B3A4-3956-2EC3-A1FA-BFE4CDBF9D7D}"/>
          </ac:picMkLst>
        </pc:picChg>
      </pc:sldChg>
      <pc:sldChg chg="addSp modSp">
        <pc:chgData name="Gary Mcnelly" userId="S::gary.mcnelly@sensirion.com::d1641cab-75f6-41fd-9815-3a526b9e46a5" providerId="AD" clId="Web-{CBC20169-60B7-7D6A-6192-F1399D183AC7}" dt="2025-09-09T02:40:29.728" v="635" actId="20577"/>
        <pc:sldMkLst>
          <pc:docMk/>
          <pc:sldMk cId="929474867" sldId="2147473840"/>
        </pc:sldMkLst>
        <pc:spChg chg="mod">
          <ac:chgData name="Gary Mcnelly" userId="S::gary.mcnelly@sensirion.com::d1641cab-75f6-41fd-9815-3a526b9e46a5" providerId="AD" clId="Web-{CBC20169-60B7-7D6A-6192-F1399D183AC7}" dt="2025-09-09T02:40:29.728" v="635" actId="20577"/>
          <ac:spMkLst>
            <pc:docMk/>
            <pc:sldMk cId="929474867" sldId="2147473840"/>
            <ac:spMk id="3" creationId="{0F5B25D2-88DC-BFFF-F8DC-3B4BB47512B5}"/>
          </ac:spMkLst>
        </pc:spChg>
        <pc:picChg chg="add mod">
          <ac:chgData name="Gary Mcnelly" userId="S::gary.mcnelly@sensirion.com::d1641cab-75f6-41fd-9815-3a526b9e46a5" providerId="AD" clId="Web-{CBC20169-60B7-7D6A-6192-F1399D183AC7}" dt="2025-09-09T02:29:13.556" v="498" actId="1076"/>
          <ac:picMkLst>
            <pc:docMk/>
            <pc:sldMk cId="929474867" sldId="2147473840"/>
            <ac:picMk id="2" creationId="{A019F744-C33E-BF5F-9FA1-F28299447FD0}"/>
          </ac:picMkLst>
        </pc:picChg>
        <pc:picChg chg="add mod">
          <ac:chgData name="Gary Mcnelly" userId="S::gary.mcnelly@sensirion.com::d1641cab-75f6-41fd-9815-3a526b9e46a5" providerId="AD" clId="Web-{CBC20169-60B7-7D6A-6192-F1399D183AC7}" dt="2025-09-09T02:30:05.448" v="500" actId="1076"/>
          <ac:picMkLst>
            <pc:docMk/>
            <pc:sldMk cId="929474867" sldId="2147473840"/>
            <ac:picMk id="7" creationId="{FF042F50-BCFC-C7FC-4C7E-361D86955FEA}"/>
          </ac:picMkLst>
        </pc:picChg>
      </pc:sldChg>
    </pc:docChg>
  </pc:docChgLst>
  <pc:docChgLst>
    <pc:chgData name="Katie Pflanz" userId="S::katie.pflanz@sensirion.com::845eba84-3e5d-4f97-8ebe-e6c0a73342f9" providerId="AD" clId="Web-{D89697FF-6472-B2BA-8C94-43C7244408FE}"/>
    <pc:docChg chg="modSld">
      <pc:chgData name="Katie Pflanz" userId="S::katie.pflanz@sensirion.com::845eba84-3e5d-4f97-8ebe-e6c0a73342f9" providerId="AD" clId="Web-{D89697FF-6472-B2BA-8C94-43C7244408FE}" dt="2025-09-04T19:58:22.978" v="44" actId="20577"/>
      <pc:docMkLst>
        <pc:docMk/>
      </pc:docMkLst>
      <pc:sldChg chg="modSp">
        <pc:chgData name="Katie Pflanz" userId="S::katie.pflanz@sensirion.com::845eba84-3e5d-4f97-8ebe-e6c0a73342f9" providerId="AD" clId="Web-{D89697FF-6472-B2BA-8C94-43C7244408FE}" dt="2025-09-04T19:58:22.978" v="44" actId="20577"/>
        <pc:sldMkLst>
          <pc:docMk/>
          <pc:sldMk cId="734946971" sldId="2147473805"/>
        </pc:sldMkLst>
        <pc:spChg chg="mod">
          <ac:chgData name="Katie Pflanz" userId="S::katie.pflanz@sensirion.com::845eba84-3e5d-4f97-8ebe-e6c0a73342f9" providerId="AD" clId="Web-{D89697FF-6472-B2BA-8C94-43C7244408FE}" dt="2025-09-04T19:58:22.978" v="44" actId="20577"/>
          <ac:spMkLst>
            <pc:docMk/>
            <pc:sldMk cId="734946971" sldId="2147473805"/>
            <ac:spMk id="3" creationId="{ECB68D42-AA55-68E5-8C2F-301E1DE1AC07}"/>
          </ac:spMkLst>
        </pc:spChg>
      </pc:sldChg>
    </pc:docChg>
  </pc:docChgLst>
  <pc:docChgLst>
    <pc:chgData name="Richard Zanardo" userId="S::rick.zanardo@sensirion.com::5321cd68-d87e-4758-8465-f6b56eb811fe" providerId="AD" clId="Web-{70BC4DA2-005A-A45D-B82D-A578025832BC}"/>
    <pc:docChg chg="addSld delSld modSld sldOrd">
      <pc:chgData name="Richard Zanardo" userId="S::rick.zanardo@sensirion.com::5321cd68-d87e-4758-8465-f6b56eb811fe" providerId="AD" clId="Web-{70BC4DA2-005A-A45D-B82D-A578025832BC}" dt="2025-09-08T15:57:51.008" v="97" actId="14100"/>
      <pc:docMkLst>
        <pc:docMk/>
      </pc:docMkLst>
      <pc:sldChg chg="modSp add">
        <pc:chgData name="Richard Zanardo" userId="S::rick.zanardo@sensirion.com::5321cd68-d87e-4758-8465-f6b56eb811fe" providerId="AD" clId="Web-{70BC4DA2-005A-A45D-B82D-A578025832BC}" dt="2025-09-08T15:19:38.271" v="35" actId="20577"/>
        <pc:sldMkLst>
          <pc:docMk/>
          <pc:sldMk cId="3221050036" sldId="256"/>
        </pc:sldMkLst>
        <pc:spChg chg="mod">
          <ac:chgData name="Richard Zanardo" userId="S::rick.zanardo@sensirion.com::5321cd68-d87e-4758-8465-f6b56eb811fe" providerId="AD" clId="Web-{70BC4DA2-005A-A45D-B82D-A578025832BC}" dt="2025-09-08T15:19:38.271" v="35" actId="20577"/>
          <ac:spMkLst>
            <pc:docMk/>
            <pc:sldMk cId="3221050036" sldId="256"/>
            <ac:spMk id="3" creationId="{5BD29A49-70AB-93F5-0625-BCB95E8A6253}"/>
          </ac:spMkLst>
        </pc:spChg>
      </pc:sldChg>
      <pc:sldChg chg="modSp">
        <pc:chgData name="Richard Zanardo" userId="S::rick.zanardo@sensirion.com::5321cd68-d87e-4758-8465-f6b56eb811fe" providerId="AD" clId="Web-{70BC4DA2-005A-A45D-B82D-A578025832BC}" dt="2025-09-08T15:19:29.396" v="34" actId="20577"/>
        <pc:sldMkLst>
          <pc:docMk/>
          <pc:sldMk cId="4001238172" sldId="519"/>
        </pc:sldMkLst>
        <pc:spChg chg="mod">
          <ac:chgData name="Richard Zanardo" userId="S::rick.zanardo@sensirion.com::5321cd68-d87e-4758-8465-f6b56eb811fe" providerId="AD" clId="Web-{70BC4DA2-005A-A45D-B82D-A578025832BC}" dt="2025-09-08T15:19:29.396" v="34" actId="20577"/>
          <ac:spMkLst>
            <pc:docMk/>
            <pc:sldMk cId="4001238172" sldId="519"/>
            <ac:spMk id="3" creationId="{A0E0959C-FC32-4EA2-BD3B-C7F9BFF5E15C}"/>
          </ac:spMkLst>
        </pc:spChg>
      </pc:sldChg>
      <pc:sldChg chg="ord">
        <pc:chgData name="Richard Zanardo" userId="S::rick.zanardo@sensirion.com::5321cd68-d87e-4758-8465-f6b56eb811fe" providerId="AD" clId="Web-{70BC4DA2-005A-A45D-B82D-A578025832BC}" dt="2025-09-08T15:51:49.953" v="50"/>
        <pc:sldMkLst>
          <pc:docMk/>
          <pc:sldMk cId="2327038745" sldId="256497"/>
        </pc:sldMkLst>
      </pc:sldChg>
      <pc:sldChg chg="add">
        <pc:chgData name="Richard Zanardo" userId="S::rick.zanardo@sensirion.com::5321cd68-d87e-4758-8465-f6b56eb811fe" providerId="AD" clId="Web-{70BC4DA2-005A-A45D-B82D-A578025832BC}" dt="2025-09-08T15:18:28.552" v="5"/>
        <pc:sldMkLst>
          <pc:docMk/>
          <pc:sldMk cId="92819481" sldId="2134804257"/>
        </pc:sldMkLst>
      </pc:sldChg>
      <pc:sldChg chg="del">
        <pc:chgData name="Richard Zanardo" userId="S::rick.zanardo@sensirion.com::5321cd68-d87e-4758-8465-f6b56eb811fe" providerId="AD" clId="Web-{70BC4DA2-005A-A45D-B82D-A578025832BC}" dt="2025-09-08T15:20:20.866" v="37"/>
        <pc:sldMkLst>
          <pc:docMk/>
          <pc:sldMk cId="492973860" sldId="2147473801"/>
        </pc:sldMkLst>
      </pc:sldChg>
      <pc:sldChg chg="del">
        <pc:chgData name="Richard Zanardo" userId="S::rick.zanardo@sensirion.com::5321cd68-d87e-4758-8465-f6b56eb811fe" providerId="AD" clId="Web-{70BC4DA2-005A-A45D-B82D-A578025832BC}" dt="2025-09-08T15:20:26.381" v="38"/>
        <pc:sldMkLst>
          <pc:docMk/>
          <pc:sldMk cId="3233280345" sldId="2147473802"/>
        </pc:sldMkLst>
      </pc:sldChg>
      <pc:sldChg chg="del">
        <pc:chgData name="Richard Zanardo" userId="S::rick.zanardo@sensirion.com::5321cd68-d87e-4758-8465-f6b56eb811fe" providerId="AD" clId="Web-{70BC4DA2-005A-A45D-B82D-A578025832BC}" dt="2025-09-08T15:20:27.585" v="39"/>
        <pc:sldMkLst>
          <pc:docMk/>
          <pc:sldMk cId="2020597029" sldId="2147473806"/>
        </pc:sldMkLst>
      </pc:sldChg>
      <pc:sldChg chg="add">
        <pc:chgData name="Richard Zanardo" userId="S::rick.zanardo@sensirion.com::5321cd68-d87e-4758-8465-f6b56eb811fe" providerId="AD" clId="Web-{70BC4DA2-005A-A45D-B82D-A578025832BC}" dt="2025-09-08T15:18:26.927" v="2"/>
        <pc:sldMkLst>
          <pc:docMk/>
          <pc:sldMk cId="1003307185" sldId="2147473816"/>
        </pc:sldMkLst>
      </pc:sldChg>
      <pc:sldChg chg="modSp add">
        <pc:chgData name="Richard Zanardo" userId="S::rick.zanardo@sensirion.com::5321cd68-d87e-4758-8465-f6b56eb811fe" providerId="AD" clId="Web-{70BC4DA2-005A-A45D-B82D-A578025832BC}" dt="2025-09-08T15:19:47.068" v="36" actId="20577"/>
        <pc:sldMkLst>
          <pc:docMk/>
          <pc:sldMk cId="3848458262" sldId="2147473817"/>
        </pc:sldMkLst>
        <pc:spChg chg="mod">
          <ac:chgData name="Richard Zanardo" userId="S::rick.zanardo@sensirion.com::5321cd68-d87e-4758-8465-f6b56eb811fe" providerId="AD" clId="Web-{70BC4DA2-005A-A45D-B82D-A578025832BC}" dt="2025-09-08T15:19:47.068" v="36" actId="20577"/>
          <ac:spMkLst>
            <pc:docMk/>
            <pc:sldMk cId="3848458262" sldId="2147473817"/>
            <ac:spMk id="5" creationId="{042498EB-3D90-4AC5-638D-89FE879D6C09}"/>
          </ac:spMkLst>
        </pc:spChg>
      </pc:sldChg>
      <pc:sldChg chg="add">
        <pc:chgData name="Richard Zanardo" userId="S::rick.zanardo@sensirion.com::5321cd68-d87e-4758-8465-f6b56eb811fe" providerId="AD" clId="Web-{70BC4DA2-005A-A45D-B82D-A578025832BC}" dt="2025-09-08T15:18:27.098" v="3"/>
        <pc:sldMkLst>
          <pc:docMk/>
          <pc:sldMk cId="1509104501" sldId="2147473819"/>
        </pc:sldMkLst>
      </pc:sldChg>
      <pc:sldChg chg="add">
        <pc:chgData name="Richard Zanardo" userId="S::rick.zanardo@sensirion.com::5321cd68-d87e-4758-8465-f6b56eb811fe" providerId="AD" clId="Web-{70BC4DA2-005A-A45D-B82D-A578025832BC}" dt="2025-09-08T15:18:27.286" v="4"/>
        <pc:sldMkLst>
          <pc:docMk/>
          <pc:sldMk cId="2380377501" sldId="2147473820"/>
        </pc:sldMkLst>
      </pc:sldChg>
      <pc:sldChg chg="add">
        <pc:chgData name="Richard Zanardo" userId="S::rick.zanardo@sensirion.com::5321cd68-d87e-4758-8465-f6b56eb811fe" providerId="AD" clId="Web-{70BC4DA2-005A-A45D-B82D-A578025832BC}" dt="2025-09-08T15:18:29.973" v="6"/>
        <pc:sldMkLst>
          <pc:docMk/>
          <pc:sldMk cId="220529656" sldId="2147473822"/>
        </pc:sldMkLst>
      </pc:sldChg>
      <pc:sldChg chg="add del">
        <pc:chgData name="Richard Zanardo" userId="S::rick.zanardo@sensirion.com::5321cd68-d87e-4758-8465-f6b56eb811fe" providerId="AD" clId="Web-{70BC4DA2-005A-A45D-B82D-A578025832BC}" dt="2025-09-08T15:24:13.416" v="43"/>
        <pc:sldMkLst>
          <pc:docMk/>
          <pc:sldMk cId="3259968327" sldId="2147473824"/>
        </pc:sldMkLst>
      </pc:sldChg>
      <pc:sldChg chg="add del">
        <pc:chgData name="Richard Zanardo" userId="S::rick.zanardo@sensirion.com::5321cd68-d87e-4758-8465-f6b56eb811fe" providerId="AD" clId="Web-{70BC4DA2-005A-A45D-B82D-A578025832BC}" dt="2025-09-08T15:21:24.992" v="41"/>
        <pc:sldMkLst>
          <pc:docMk/>
          <pc:sldMk cId="785196729" sldId="2147473825"/>
        </pc:sldMkLst>
      </pc:sldChg>
      <pc:sldChg chg="modSp add">
        <pc:chgData name="Richard Zanardo" userId="S::rick.zanardo@sensirion.com::5321cd68-d87e-4758-8465-f6b56eb811fe" providerId="AD" clId="Web-{70BC4DA2-005A-A45D-B82D-A578025832BC}" dt="2025-09-08T15:51:41.968" v="49" actId="14100"/>
        <pc:sldMkLst>
          <pc:docMk/>
          <pc:sldMk cId="1297448184" sldId="2147473825"/>
        </pc:sldMkLst>
        <pc:spChg chg="mod">
          <ac:chgData name="Richard Zanardo" userId="S::rick.zanardo@sensirion.com::5321cd68-d87e-4758-8465-f6b56eb811fe" providerId="AD" clId="Web-{70BC4DA2-005A-A45D-B82D-A578025832BC}" dt="2025-09-08T15:51:25.390" v="46" actId="20577"/>
          <ac:spMkLst>
            <pc:docMk/>
            <pc:sldMk cId="1297448184" sldId="2147473825"/>
            <ac:spMk id="4" creationId="{4ED668AA-280F-68FF-EE80-8EDD91381424}"/>
          </ac:spMkLst>
        </pc:spChg>
        <pc:spChg chg="mod">
          <ac:chgData name="Richard Zanardo" userId="S::rick.zanardo@sensirion.com::5321cd68-d87e-4758-8465-f6b56eb811fe" providerId="AD" clId="Web-{70BC4DA2-005A-A45D-B82D-A578025832BC}" dt="2025-09-08T15:51:41.968" v="49" actId="14100"/>
          <ac:spMkLst>
            <pc:docMk/>
            <pc:sldMk cId="1297448184" sldId="2147473825"/>
            <ac:spMk id="7" creationId="{F86356DE-8D65-3DCF-8252-26E4B70E97DE}"/>
          </ac:spMkLst>
        </pc:spChg>
      </pc:sldChg>
      <pc:sldChg chg="add">
        <pc:chgData name="Richard Zanardo" userId="S::rick.zanardo@sensirion.com::5321cd68-d87e-4758-8465-f6b56eb811fe" providerId="AD" clId="Web-{70BC4DA2-005A-A45D-B82D-A578025832BC}" dt="2025-09-08T15:53:10.314" v="53"/>
        <pc:sldMkLst>
          <pc:docMk/>
          <pc:sldMk cId="2188496406" sldId="2147473826"/>
        </pc:sldMkLst>
      </pc:sldChg>
      <pc:sldChg chg="add del">
        <pc:chgData name="Richard Zanardo" userId="S::rick.zanardo@sensirion.com::5321cd68-d87e-4758-8465-f6b56eb811fe" providerId="AD" clId="Web-{70BC4DA2-005A-A45D-B82D-A578025832BC}" dt="2025-09-08T15:53:00.673" v="52"/>
        <pc:sldMkLst>
          <pc:docMk/>
          <pc:sldMk cId="2198105250" sldId="2147473826"/>
        </pc:sldMkLst>
      </pc:sldChg>
      <pc:sldChg chg="addSp delSp modSp new mod modClrScheme chgLayout">
        <pc:chgData name="Richard Zanardo" userId="S::rick.zanardo@sensirion.com::5321cd68-d87e-4758-8465-f6b56eb811fe" providerId="AD" clId="Web-{70BC4DA2-005A-A45D-B82D-A578025832BC}" dt="2025-09-08T15:57:51.008" v="97" actId="14100"/>
        <pc:sldMkLst>
          <pc:docMk/>
          <pc:sldMk cId="4254121259" sldId="2147473827"/>
        </pc:sldMkLst>
        <pc:spChg chg="mod ord">
          <ac:chgData name="Richard Zanardo" userId="S::rick.zanardo@sensirion.com::5321cd68-d87e-4758-8465-f6b56eb811fe" providerId="AD" clId="Web-{70BC4DA2-005A-A45D-B82D-A578025832BC}" dt="2025-09-08T15:55:10.114" v="55"/>
          <ac:spMkLst>
            <pc:docMk/>
            <pc:sldMk cId="4254121259" sldId="2147473827"/>
            <ac:spMk id="3" creationId="{9FBD3C2C-0224-5683-904D-2F037D70EE89}"/>
          </ac:spMkLst>
        </pc:spChg>
        <pc:spChg chg="mod ord">
          <ac:chgData name="Richard Zanardo" userId="S::rick.zanardo@sensirion.com::5321cd68-d87e-4758-8465-f6b56eb811fe" providerId="AD" clId="Web-{70BC4DA2-005A-A45D-B82D-A578025832BC}" dt="2025-09-08T15:55:10.114" v="55"/>
          <ac:spMkLst>
            <pc:docMk/>
            <pc:sldMk cId="4254121259" sldId="2147473827"/>
            <ac:spMk id="4" creationId="{D908A1CB-851D-E2E8-998B-7A722D548663}"/>
          </ac:spMkLst>
        </pc:spChg>
        <pc:spChg chg="mod ord">
          <ac:chgData name="Richard Zanardo" userId="S::rick.zanardo@sensirion.com::5321cd68-d87e-4758-8465-f6b56eb811fe" providerId="AD" clId="Web-{70BC4DA2-005A-A45D-B82D-A578025832BC}" dt="2025-09-08T15:55:28.036" v="89" actId="20577"/>
          <ac:spMkLst>
            <pc:docMk/>
            <pc:sldMk cId="4254121259" sldId="2147473827"/>
            <ac:spMk id="7" creationId="{9C209B7D-BD50-C398-7E6C-2CA419713233}"/>
          </ac:spMkLst>
        </pc:spChg>
        <pc:picChg chg="add mod">
          <ac:chgData name="Richard Zanardo" userId="S::rick.zanardo@sensirion.com::5321cd68-d87e-4758-8465-f6b56eb811fe" providerId="AD" clId="Web-{70BC4DA2-005A-A45D-B82D-A578025832BC}" dt="2025-09-08T15:57:51.008" v="97" actId="14100"/>
          <ac:picMkLst>
            <pc:docMk/>
            <pc:sldMk cId="4254121259" sldId="2147473827"/>
            <ac:picMk id="8" creationId="{609C4A7D-3979-4DCC-3578-A336F43DF0E1}"/>
          </ac:picMkLst>
        </pc:picChg>
      </pc:sldChg>
      <pc:sldMasterChg chg="addSldLayout">
        <pc:chgData name="Richard Zanardo" userId="S::rick.zanardo@sensirion.com::5321cd68-d87e-4758-8465-f6b56eb811fe" providerId="AD" clId="Web-{70BC4DA2-005A-A45D-B82D-A578025832BC}" dt="2025-09-08T15:18:28.552" v="5"/>
        <pc:sldMasterMkLst>
          <pc:docMk/>
          <pc:sldMasterMk cId="579290572" sldId="2147483648"/>
        </pc:sldMasterMkLst>
        <pc:sldLayoutChg chg="add">
          <pc:chgData name="Richard Zanardo" userId="S::rick.zanardo@sensirion.com::5321cd68-d87e-4758-8465-f6b56eb811fe" providerId="AD" clId="Web-{70BC4DA2-005A-A45D-B82D-A578025832BC}" dt="2025-09-08T15:18:27.098" v="3"/>
          <pc:sldLayoutMkLst>
            <pc:docMk/>
            <pc:sldMasterMk cId="579290572" sldId="2147483648"/>
            <pc:sldLayoutMk cId="533065317" sldId="2147483675"/>
          </pc:sldLayoutMkLst>
        </pc:sldLayoutChg>
        <pc:sldLayoutChg chg="add">
          <pc:chgData name="Richard Zanardo" userId="S::rick.zanardo@sensirion.com::5321cd68-d87e-4758-8465-f6b56eb811fe" providerId="AD" clId="Web-{70BC4DA2-005A-A45D-B82D-A578025832BC}" dt="2025-09-08T15:18:28.552" v="5"/>
          <pc:sldLayoutMkLst>
            <pc:docMk/>
            <pc:sldMasterMk cId="579290572" sldId="2147483648"/>
            <pc:sldLayoutMk cId="935057532" sldId="2147483676"/>
          </pc:sldLayoutMkLst>
        </pc:sldLayoutChg>
      </pc:sldMasterChg>
    </pc:docChg>
  </pc:docChgLst>
  <pc:docChgLst>
    <pc:chgData name="Theresa Tesch" userId="S::theresa.tesch@sensirion.com::02b376b8-6da7-485c-aa4f-6574a5771292" providerId="AD" clId="Web-{C3A16CFF-E106-C76C-920C-2782B01C15C4}"/>
    <pc:docChg chg="modSld">
      <pc:chgData name="Theresa Tesch" userId="S::theresa.tesch@sensirion.com::02b376b8-6da7-485c-aa4f-6574a5771292" providerId="AD" clId="Web-{C3A16CFF-E106-C76C-920C-2782B01C15C4}" dt="2025-09-03T13:09:26.421" v="6" actId="20577"/>
      <pc:docMkLst>
        <pc:docMk/>
      </pc:docMkLst>
      <pc:sldChg chg="modSp">
        <pc:chgData name="Theresa Tesch" userId="S::theresa.tesch@sensirion.com::02b376b8-6da7-485c-aa4f-6574a5771292" providerId="AD" clId="Web-{C3A16CFF-E106-C76C-920C-2782B01C15C4}" dt="2025-09-03T13:09:26.421" v="6" actId="20577"/>
        <pc:sldMkLst>
          <pc:docMk/>
          <pc:sldMk cId="3262814712" sldId="556"/>
        </pc:sldMkLst>
        <pc:spChg chg="mod">
          <ac:chgData name="Theresa Tesch" userId="S::theresa.tesch@sensirion.com::02b376b8-6da7-485c-aa4f-6574a5771292" providerId="AD" clId="Web-{C3A16CFF-E106-C76C-920C-2782B01C15C4}" dt="2025-09-03T13:09:26.421" v="6" actId="20577"/>
          <ac:spMkLst>
            <pc:docMk/>
            <pc:sldMk cId="3262814712" sldId="556"/>
            <ac:spMk id="3" creationId="{9B076291-C646-6F39-DC78-623F507153DA}"/>
          </ac:spMkLst>
        </pc:spChg>
      </pc:sldChg>
    </pc:docChg>
  </pc:docChgLst>
  <pc:docChgLst>
    <pc:chgData name="Bailee Day" userId="S::bailee.day@sensirion.com::9c79951e-f831-43a6-bf9e-142e58c76e2a" providerId="AD" clId="Web-{4F85D694-A2AC-7704-6641-DDE0A3B43080}"/>
    <pc:docChg chg="addSld modSld">
      <pc:chgData name="Bailee Day" userId="S::bailee.day@sensirion.com::9c79951e-f831-43a6-bf9e-142e58c76e2a" providerId="AD" clId="Web-{4F85D694-A2AC-7704-6641-DDE0A3B43080}" dt="2025-09-03T20:44:36.964" v="8"/>
      <pc:docMkLst>
        <pc:docMk/>
      </pc:docMkLst>
      <pc:sldChg chg="modSp add replId">
        <pc:chgData name="Bailee Day" userId="S::bailee.day@sensirion.com::9c79951e-f831-43a6-bf9e-142e58c76e2a" providerId="AD" clId="Web-{4F85D694-A2AC-7704-6641-DDE0A3B43080}" dt="2025-09-03T20:44:36.308" v="7" actId="20577"/>
        <pc:sldMkLst>
          <pc:docMk/>
          <pc:sldMk cId="2102179786" sldId="2147473807"/>
        </pc:sldMkLst>
        <pc:spChg chg="mod">
          <ac:chgData name="Bailee Day" userId="S::bailee.day@sensirion.com::9c79951e-f831-43a6-bf9e-142e58c76e2a" providerId="AD" clId="Web-{4F85D694-A2AC-7704-6641-DDE0A3B43080}" dt="2025-09-03T20:44:36.308" v="7" actId="20577"/>
          <ac:spMkLst>
            <pc:docMk/>
            <pc:sldMk cId="2102179786" sldId="2147473807"/>
            <ac:spMk id="3" creationId="{0FC661EB-7EE5-A9F7-8B58-D1DD615B5985}"/>
          </ac:spMkLst>
        </pc:spChg>
      </pc:sldChg>
      <pc:sldChg chg="new">
        <pc:chgData name="Bailee Day" userId="S::bailee.day@sensirion.com::9c79951e-f831-43a6-bf9e-142e58c76e2a" providerId="AD" clId="Web-{4F85D694-A2AC-7704-6641-DDE0A3B43080}" dt="2025-09-03T20:44:36.964" v="8"/>
        <pc:sldMkLst>
          <pc:docMk/>
          <pc:sldMk cId="2667869995" sldId="2147473808"/>
        </pc:sldMkLst>
      </pc:sldChg>
    </pc:docChg>
  </pc:docChgLst>
  <pc:docChgLst>
    <pc:chgData name="Frank D'Aliesio" userId="S::frank.daliesio@sensirion.com::c7dd24c7-7507-4c93-8524-a1557a5a9c42" providerId="AD" clId="Web-{0D7C85B3-89EA-951E-F746-8A1F9F279FE6}"/>
    <pc:docChg chg="modSld">
      <pc:chgData name="Frank D'Aliesio" userId="S::frank.daliesio@sensirion.com::c7dd24c7-7507-4c93-8524-a1557a5a9c42" providerId="AD" clId="Web-{0D7C85B3-89EA-951E-F746-8A1F9F279FE6}" dt="2025-09-02T19:31:03.191" v="165" actId="20577"/>
      <pc:docMkLst>
        <pc:docMk/>
      </pc:docMkLst>
    </pc:docChg>
  </pc:docChgLst>
  <pc:docChgLst>
    <pc:chgData name="Richard Zanardo" userId="S::rick.zanardo@sensirion.com::5321cd68-d87e-4758-8465-f6b56eb811fe" providerId="AD" clId="Web-{A58B5E8F-2D8B-084D-0BEF-D0D3BEA2B102}"/>
    <pc:docChg chg="addSld delSld modSld">
      <pc:chgData name="Richard Zanardo" userId="S::rick.zanardo@sensirion.com::5321cd68-d87e-4758-8465-f6b56eb811fe" providerId="AD" clId="Web-{A58B5E8F-2D8B-084D-0BEF-D0D3BEA2B102}" dt="2025-09-08T18:54:03.113" v="18" actId="20577"/>
      <pc:docMkLst>
        <pc:docMk/>
      </pc:docMkLst>
      <pc:sldChg chg="modSp">
        <pc:chgData name="Richard Zanardo" userId="S::rick.zanardo@sensirion.com::5321cd68-d87e-4758-8465-f6b56eb811fe" providerId="AD" clId="Web-{A58B5E8F-2D8B-084D-0BEF-D0D3BEA2B102}" dt="2025-09-08T18:54:03.113" v="18" actId="20577"/>
        <pc:sldMkLst>
          <pc:docMk/>
          <pc:sldMk cId="4001238172" sldId="519"/>
        </pc:sldMkLst>
        <pc:spChg chg="mod">
          <ac:chgData name="Richard Zanardo" userId="S::rick.zanardo@sensirion.com::5321cd68-d87e-4758-8465-f6b56eb811fe" providerId="AD" clId="Web-{A58B5E8F-2D8B-084D-0BEF-D0D3BEA2B102}" dt="2025-09-08T18:54:03.113" v="18" actId="20577"/>
          <ac:spMkLst>
            <pc:docMk/>
            <pc:sldMk cId="4001238172" sldId="519"/>
            <ac:spMk id="3" creationId="{A0E0959C-FC32-4EA2-BD3B-C7F9BFF5E15C}"/>
          </ac:spMkLst>
        </pc:spChg>
      </pc:sldChg>
      <pc:sldChg chg="modSp">
        <pc:chgData name="Richard Zanardo" userId="S::rick.zanardo@sensirion.com::5321cd68-d87e-4758-8465-f6b56eb811fe" providerId="AD" clId="Web-{A58B5E8F-2D8B-084D-0BEF-D0D3BEA2B102}" dt="2025-09-08T18:41:40.110" v="1" actId="20577"/>
        <pc:sldMkLst>
          <pc:docMk/>
          <pc:sldMk cId="3878028456" sldId="2147473828"/>
        </pc:sldMkLst>
        <pc:spChg chg="mod">
          <ac:chgData name="Richard Zanardo" userId="S::rick.zanardo@sensirion.com::5321cd68-d87e-4758-8465-f6b56eb811fe" providerId="AD" clId="Web-{A58B5E8F-2D8B-084D-0BEF-D0D3BEA2B102}" dt="2025-09-08T18:41:40.110" v="1" actId="20577"/>
          <ac:spMkLst>
            <pc:docMk/>
            <pc:sldMk cId="3878028456" sldId="2147473828"/>
            <ac:spMk id="8" creationId="{ECEFA59E-9BF6-23AD-C838-BE7BA56BF927}"/>
          </ac:spMkLst>
        </pc:spChg>
      </pc:sldChg>
      <pc:sldChg chg="del">
        <pc:chgData name="Richard Zanardo" userId="S::rick.zanardo@sensirion.com::5321cd68-d87e-4758-8465-f6b56eb811fe" providerId="AD" clId="Web-{A58B5E8F-2D8B-084D-0BEF-D0D3BEA2B102}" dt="2025-09-08T18:47:45.790" v="4"/>
        <pc:sldMkLst>
          <pc:docMk/>
          <pc:sldMk cId="2699502256" sldId="2147473842"/>
        </pc:sldMkLst>
      </pc:sldChg>
      <pc:sldChg chg="mod modShow">
        <pc:chgData name="Richard Zanardo" userId="S::rick.zanardo@sensirion.com::5321cd68-d87e-4758-8465-f6b56eb811fe" providerId="AD" clId="Web-{A58B5E8F-2D8B-084D-0BEF-D0D3BEA2B102}" dt="2025-09-08T18:45:52.600" v="2"/>
        <pc:sldMkLst>
          <pc:docMk/>
          <pc:sldMk cId="3887271815" sldId="2147473843"/>
        </pc:sldMkLst>
      </pc:sldChg>
      <pc:sldChg chg="add">
        <pc:chgData name="Richard Zanardo" userId="S::rick.zanardo@sensirion.com::5321cd68-d87e-4758-8465-f6b56eb811fe" providerId="AD" clId="Web-{A58B5E8F-2D8B-084D-0BEF-D0D3BEA2B102}" dt="2025-09-08T18:47:40.930" v="3"/>
        <pc:sldMkLst>
          <pc:docMk/>
          <pc:sldMk cId="474334426" sldId="2147473844"/>
        </pc:sldMkLst>
      </pc:sldChg>
    </pc:docChg>
  </pc:docChgLst>
  <pc:docChgLst>
    <pc:chgData name="Holger Oswald" userId="S::holger.oswald@sensirion.com::88bb7036-742f-4c0f-9642-8942c7f8ab59" providerId="AD" clId="Web-{2BE25698-4F59-C042-69EA-F0A3DAD53C83}"/>
    <pc:docChg chg="delSld modSld sldOrd">
      <pc:chgData name="Holger Oswald" userId="S::holger.oswald@sensirion.com::88bb7036-742f-4c0f-9642-8942c7f8ab59" providerId="AD" clId="Web-{2BE25698-4F59-C042-69EA-F0A3DAD53C83}" dt="2025-09-02T20:54:57.611" v="156" actId="20577"/>
      <pc:docMkLst>
        <pc:docMk/>
      </pc:docMkLst>
      <pc:sldChg chg="modSp">
        <pc:chgData name="Holger Oswald" userId="S::holger.oswald@sensirion.com::88bb7036-742f-4c0f-9642-8942c7f8ab59" providerId="AD" clId="Web-{2BE25698-4F59-C042-69EA-F0A3DAD53C83}" dt="2025-09-02T20:42:41.723" v="2" actId="14100"/>
        <pc:sldMkLst>
          <pc:docMk/>
          <pc:sldMk cId="2472500051" sldId="2147473799"/>
        </pc:sldMkLst>
      </pc:sldChg>
      <pc:sldChg chg="delSp del">
        <pc:chgData name="Holger Oswald" userId="S::holger.oswald@sensirion.com::88bb7036-742f-4c0f-9642-8942c7f8ab59" providerId="AD" clId="Web-{2BE25698-4F59-C042-69EA-F0A3DAD53C83}" dt="2025-09-02T20:51:52.077" v="124"/>
        <pc:sldMkLst>
          <pc:docMk/>
          <pc:sldMk cId="3482846263" sldId="2147473803"/>
        </pc:sldMkLst>
      </pc:sldChg>
      <pc:sldChg chg="addSp delSp modSp ord">
        <pc:chgData name="Holger Oswald" userId="S::holger.oswald@sensirion.com::88bb7036-742f-4c0f-9642-8942c7f8ab59" providerId="AD" clId="Web-{2BE25698-4F59-C042-69EA-F0A3DAD53C83}" dt="2025-09-02T20:54:57.611" v="156" actId="20577"/>
        <pc:sldMkLst>
          <pc:docMk/>
          <pc:sldMk cId="3588711046" sldId="2147473804"/>
        </pc:sldMkLst>
        <pc:spChg chg="mod">
          <ac:chgData name="Holger Oswald" userId="S::holger.oswald@sensirion.com::88bb7036-742f-4c0f-9642-8942c7f8ab59" providerId="AD" clId="Web-{2BE25698-4F59-C042-69EA-F0A3DAD53C83}" dt="2025-09-02T20:48:08.917" v="94" actId="20577"/>
          <ac:spMkLst>
            <pc:docMk/>
            <pc:sldMk cId="3588711046" sldId="2147473804"/>
            <ac:spMk id="3" creationId="{EBA7CBE3-1A85-D608-CD3A-84DD3DB005C6}"/>
          </ac:spMkLst>
        </pc:spChg>
        <pc:spChg chg="mod">
          <ac:chgData name="Holger Oswald" userId="S::holger.oswald@sensirion.com::88bb7036-742f-4c0f-9642-8942c7f8ab59" providerId="AD" clId="Web-{2BE25698-4F59-C042-69EA-F0A3DAD53C83}" dt="2025-09-02T20:54:57.611" v="156" actId="20577"/>
          <ac:spMkLst>
            <pc:docMk/>
            <pc:sldMk cId="3588711046" sldId="2147473804"/>
            <ac:spMk id="6" creationId="{09E0909A-BF2D-A492-6823-4041CA4F5BF9}"/>
          </ac:spMkLst>
        </pc:spChg>
        <pc:picChg chg="add mod">
          <ac:chgData name="Holger Oswald" userId="S::holger.oswald@sensirion.com::88bb7036-742f-4c0f-9642-8942c7f8ab59" providerId="AD" clId="Web-{2BE25698-4F59-C042-69EA-F0A3DAD53C83}" dt="2025-09-02T20:54:27.095" v="154"/>
          <ac:picMkLst>
            <pc:docMk/>
            <pc:sldMk cId="3588711046" sldId="2147473804"/>
            <ac:picMk id="5" creationId="{B92D1DC4-9707-393A-BC91-733FB15DD8F9}"/>
          </ac:picMkLst>
        </pc:picChg>
      </pc:sldChg>
    </pc:docChg>
  </pc:docChgLst>
  <pc:docChgLst>
    <pc:chgData name="Holger Oswald" userId="S::holger.oswald@sensirion.com::88bb7036-742f-4c0f-9642-8942c7f8ab59" providerId="AD" clId="Web-{0E6E85E6-B0E5-72B0-5673-D5D143F0AE9A}"/>
    <pc:docChg chg="modSld">
      <pc:chgData name="Holger Oswald" userId="S::holger.oswald@sensirion.com::88bb7036-742f-4c0f-9642-8942c7f8ab59" providerId="AD" clId="Web-{0E6E85E6-B0E5-72B0-5673-D5D143F0AE9A}" dt="2025-02-24T18:59:58.717" v="4" actId="20577"/>
      <pc:docMkLst>
        <pc:docMk/>
      </pc:docMkLst>
      <pc:sldChg chg="modSp">
        <pc:chgData name="Holger Oswald" userId="S::holger.oswald@sensirion.com::88bb7036-742f-4c0f-9642-8942c7f8ab59" providerId="AD" clId="Web-{0E6E85E6-B0E5-72B0-5673-D5D143F0AE9A}" dt="2025-02-24T18:59:58.717" v="4" actId="20577"/>
        <pc:sldMkLst>
          <pc:docMk/>
          <pc:sldMk cId="3814279874" sldId="517"/>
        </pc:sldMkLst>
      </pc:sldChg>
    </pc:docChg>
  </pc:docChgLst>
  <pc:docChgLst>
    <pc:chgData name="Frank D'Aliesio" userId="S::frank.daliesio@sensirion.com::c7dd24c7-7507-4c93-8524-a1557a5a9c42" providerId="AD" clId="Web-{C717C0A9-28C0-0E77-396E-47457F6D4A03}"/>
    <pc:docChg chg="modSld">
      <pc:chgData name="Frank D'Aliesio" userId="S::frank.daliesio@sensirion.com::c7dd24c7-7507-4c93-8524-a1557a5a9c42" providerId="AD" clId="Web-{C717C0A9-28C0-0E77-396E-47457F6D4A03}" dt="2025-06-03T19:10:07.312" v="3" actId="20577"/>
      <pc:docMkLst>
        <pc:docMk/>
      </pc:docMkLst>
    </pc:docChg>
  </pc:docChgLst>
  <pc:docChgLst>
    <pc:chgData name="Frank D'Aliesio" userId="S::frank.daliesio@sensirion.com::c7dd24c7-7507-4c93-8524-a1557a5a9c42" providerId="AD" clId="Web-{7C454F18-776B-D261-1CB6-F6DA7FE6D314}"/>
    <pc:docChg chg="modSld">
      <pc:chgData name="Frank D'Aliesio" userId="S::frank.daliesio@sensirion.com::c7dd24c7-7507-4c93-8524-a1557a5a9c42" providerId="AD" clId="Web-{7C454F18-776B-D261-1CB6-F6DA7FE6D314}" dt="2025-09-03T13:05:32.567" v="49" actId="20577"/>
      <pc:docMkLst>
        <pc:docMk/>
      </pc:docMkLst>
    </pc:docChg>
  </pc:docChgLst>
</pc:chgInfo>
</file>

<file path=ppt/comments/modernComment_7FFFD99B_59F31B75.xml><?xml version="1.0" encoding="utf-8"?>
<p188:cmLst xmlns:a="http://schemas.openxmlformats.org/drawingml/2006/main" xmlns:r="http://schemas.openxmlformats.org/officeDocument/2006/relationships" xmlns:p188="http://schemas.microsoft.com/office/powerpoint/2018/8/main">
  <p188:cm id="{FDC3C9FF-064E-4CB6-81DB-45677656A932}" authorId="{F88FCADA-5A6C-F5F1-0A4F-A53024C33477}" created="2025-04-23T22:08:18.128">
    <pc:sldMkLst xmlns:pc="http://schemas.microsoft.com/office/powerpoint/2013/main/command">
      <pc:docMk/>
      <pc:sldMk cId="1509104501" sldId="2147473819"/>
    </pc:sldMkLst>
    <p188:txBody>
      <a:bodyPr/>
      <a:lstStyle/>
      <a:p>
        <a:r>
          <a:rPr lang="en-US"/>
          <a:t>For Distribution, may need to take out ‘Specialty’ TTI relationship. Up for discussion. 
Also, depending on when Avnet signs, may need to take out Avnet logo before EDS prep meeting. </a:t>
        </a:r>
      </a:p>
    </p188:txBody>
  </p188:cm>
</p188:cmLst>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AD1F2D97-14DC-3D68-F695-73A2E8626B54}"/>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95432E61-330F-A25F-0EB6-75FB4F260AB6}"/>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3FEEF22F-4601-480B-AFDB-0EDCF7C2442C}" type="datetimeFigureOut">
              <a:rPr lang="en-US" smtClean="0"/>
              <a:t>9/15/2025</a:t>
            </a:fld>
            <a:endParaRPr lang="en-US"/>
          </a:p>
        </p:txBody>
      </p:sp>
      <p:sp>
        <p:nvSpPr>
          <p:cNvPr id="4" name="Footer Placeholder 3">
            <a:extLst>
              <a:ext uri="{FF2B5EF4-FFF2-40B4-BE49-F238E27FC236}">
                <a16:creationId xmlns:a16="http://schemas.microsoft.com/office/drawing/2014/main" id="{89441705-911E-87F8-95DF-E1272933AAF1}"/>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F6DA9F20-F66F-1B8A-DB3A-299D3718957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F65387CF-09AA-4FE6-9F5A-B60CE63E1F12}" type="slidenum">
              <a:rPr lang="en-US" smtClean="0"/>
              <a:t>‹#›</a:t>
            </a:fld>
            <a:endParaRPr lang="en-US"/>
          </a:p>
        </p:txBody>
      </p:sp>
    </p:spTree>
    <p:extLst>
      <p:ext uri="{BB962C8B-B14F-4D97-AF65-F5344CB8AC3E}">
        <p14:creationId xmlns:p14="http://schemas.microsoft.com/office/powerpoint/2010/main" val="604662926"/>
      </p:ext>
    </p:extLst>
  </p:cSld>
  <p:clrMap bg1="lt1" tx1="dk1" bg2="lt2" tx2="dk2" accent1="accent1" accent2="accent2" accent3="accent3" accent4="accent4" accent5="accent5" accent6="accent6" hlink="hlink" folHlink="folHlink"/>
  <p:extLst>
    <p:ext uri="{56416CCD-93CA-4268-BC5B-53C4BB910035}">
      <p15:sldGuideLst xmlns:p15="http://schemas.microsoft.com/office/powerpoint/2012/main">
        <p15:guide id="1" orient="horz" pos="2880" userDrawn="1">
          <p15:clr>
            <a:srgbClr val="F26B43"/>
          </p15:clr>
        </p15:guide>
        <p15:guide id="2" pos="2160" userDrawn="1">
          <p15:clr>
            <a:srgbClr val="F26B43"/>
          </p15:clr>
        </p15:guide>
      </p15:sldGuideLst>
    </p:ext>
  </p:extLst>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F0792A3-2C7B-47A0-80C9-DAA1E1046924}" type="datetimeFigureOut">
              <a:rPr lang="de-DE" smtClean="0"/>
              <a:t>15.09.2025</a:t>
            </a:fld>
            <a:endParaRPr lang="de-DE"/>
          </a:p>
        </p:txBody>
      </p:sp>
      <p:sp>
        <p:nvSpPr>
          <p:cNvPr id="4" name="Folienbildplatzhalter 3"/>
          <p:cNvSpPr>
            <a:spLocks noGrp="1" noRot="1" noChangeAspect="1"/>
          </p:cNvSpPr>
          <p:nvPr>
            <p:ph type="sldImg" idx="2"/>
          </p:nvPr>
        </p:nvSpPr>
        <p:spPr>
          <a:xfrm>
            <a:off x="1359568" y="932447"/>
            <a:ext cx="4138864" cy="2328112"/>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85800" y="3561347"/>
            <a:ext cx="5486400" cy="4439653"/>
          </a:xfrm>
          <a:prstGeom prst="rect">
            <a:avLst/>
          </a:prstGeom>
        </p:spPr>
        <p:txBody>
          <a:bodyPr vert="horz" lIns="0" tIns="0" rIns="0" bIns="0" rtlCol="0"/>
          <a:lstStyle/>
          <a:p>
            <a:pPr lvl="0"/>
            <a:r>
              <a:rPr lang="en-US" noProof="0"/>
              <a:t>First level</a:t>
            </a:r>
          </a:p>
          <a:p>
            <a:pPr lvl="1"/>
            <a:r>
              <a:rPr lang="en-US" noProof="0"/>
              <a:t>Second level</a:t>
            </a:r>
          </a:p>
          <a:p>
            <a:pPr lvl="2"/>
            <a:r>
              <a:rPr lang="en-US" noProof="0"/>
              <a:t>Third level</a:t>
            </a:r>
          </a:p>
          <a:p>
            <a:pPr lvl="3"/>
            <a:r>
              <a:rPr lang="en-US" noProof="0"/>
              <a:t>Fourth level</a:t>
            </a:r>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8A377EE-D37B-49B0-B274-FAC640F68D07}" type="slidenum">
              <a:rPr lang="de-DE" smtClean="0"/>
              <a:t>‹#›</a:t>
            </a:fld>
            <a:endParaRPr lang="de-DE"/>
          </a:p>
        </p:txBody>
      </p:sp>
    </p:spTree>
    <p:extLst>
      <p:ext uri="{BB962C8B-B14F-4D97-AF65-F5344CB8AC3E}">
        <p14:creationId xmlns:p14="http://schemas.microsoft.com/office/powerpoint/2010/main" val="787129825"/>
      </p:ext>
    </p:extLst>
  </p:cSld>
  <p:clrMap bg1="lt1" tx1="dk1" bg2="lt2" tx2="dk2" accent1="accent1" accent2="accent2" accent3="accent3" accent4="accent4" accent5="accent5" accent6="accent6" hlink="hlink" folHlink="folHlink"/>
  <p:notesStyle>
    <a:lvl1pPr marL="180000" indent="-180000" algn="l" defTabSz="914400" rtl="0" eaLnBrk="1" latinLnBrk="0" hangingPunct="1">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1pPr>
    <a:lvl2pPr marL="360000" indent="-180000" algn="l" defTabSz="914400" rtl="0" eaLnBrk="1" latinLnBrk="0" hangingPunct="1">
      <a:spcAft>
        <a:spcPts val="600"/>
      </a:spcAft>
      <a:buClr>
        <a:schemeClr val="accent2"/>
      </a:buClr>
      <a:buFont typeface="Arial" panose="020B0604020202020204" pitchFamily="34" charset="0"/>
      <a:buChar char="•"/>
      <a:defRPr sz="1400" kern="1200">
        <a:solidFill>
          <a:schemeClr val="tx1"/>
        </a:solidFill>
        <a:latin typeface="+mn-lt"/>
        <a:ea typeface="+mn-ea"/>
        <a:cs typeface="+mn-cs"/>
      </a:defRPr>
    </a:lvl2pPr>
    <a:lvl3pPr marL="540000" indent="-180000" algn="l" defTabSz="914400" rtl="0" eaLnBrk="1" latinLnBrk="0" hangingPunct="1">
      <a:spcAft>
        <a:spcPts val="600"/>
      </a:spcAft>
      <a:buClr>
        <a:srgbClr val="BDBDBD"/>
      </a:buClr>
      <a:buFont typeface="Arial" panose="020B0604020202020204" pitchFamily="34" charset="0"/>
      <a:buChar char="•"/>
      <a:defRPr sz="1400" kern="1200">
        <a:solidFill>
          <a:schemeClr val="tx1"/>
        </a:solidFill>
        <a:latin typeface="+mn-lt"/>
        <a:ea typeface="+mn-ea"/>
        <a:cs typeface="+mn-cs"/>
      </a:defRPr>
    </a:lvl3pPr>
    <a:lvl4pPr marL="720000" indent="-180000" algn="l" defTabSz="914400" rtl="0" eaLnBrk="1" latinLnBrk="0" hangingPunct="1">
      <a:spcAft>
        <a:spcPts val="600"/>
      </a:spcAft>
      <a:buClr>
        <a:srgbClr val="BDBDBD"/>
      </a:buClr>
      <a:buFont typeface="Arial" panose="020B0604020202020204" pitchFamily="34" charset="0"/>
      <a:buChar char="•"/>
      <a:defRPr sz="14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extLst>
    <p:ext uri="{620B2872-D7B9-4A21-9093-7833F8D536E1}">
      <p15:sldGuideLst xmlns:p15="http://schemas.microsoft.com/office/powerpoint/2012/main"/>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3" Type="http://schemas.openxmlformats.org/officeDocument/2006/relationships/hyperlink" Target="https://www.google.com/search?sca_esv=6b419d715691fe69&amp;sxsrf=AE3TifNbX0GRPjak_9QFQBHPkbLVF5J2RA%3A1757945825888&amp;q=noble+gases&amp;sa=X&amp;ved=2ahUKEwiH6vHD-tqPAxWuxAIHHQw8C6gQxccNegQIIhAB&amp;mstk=AUtExfDnE6TL3KLj41rYuNyUMJeCWNhOwdRLwwa1V2JIrLkdG1I2h6i9QzP0-Zlrvi8hzJftMXIZojNJbWeI3OMOQMEjUm4sGYum_glhi3-x9HsjiVDv8M30MxXPl1uTIQlISyzxz3JRM0V7IbOVTevWv9f5-yUWP9819mFtX8OOPEcUyVCA0zb7qjdAlMrm6cXJrNsurJwezI0o5_1a6sDnEM1zROkc0HWHfGLVWHb_4tDeYimviNkLj_PFmN1qy-nEi2kIjDEuu3DZcONVkaCm5iqk&amp;csui=3" TargetMode="External"/><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58900" y="931863"/>
            <a:ext cx="4140200" cy="2328862"/>
          </a:xfrm>
        </p:spPr>
      </p:sp>
      <p:sp>
        <p:nvSpPr>
          <p:cNvPr id="3" name="Notes Placeholder 2"/>
          <p:cNvSpPr>
            <a:spLocks noGrp="1"/>
          </p:cNvSpPr>
          <p:nvPr>
            <p:ph type="body" idx="1"/>
          </p:nvPr>
        </p:nvSpPr>
        <p:spPr/>
        <p:txBody>
          <a:bodyPr/>
          <a:lstStyle/>
          <a:p>
            <a:r>
              <a:rPr lang="en-US" b="1"/>
              <a:t>Added 2</a:t>
            </a:r>
            <a:r>
              <a:rPr lang="en-US" b="1" baseline="30000"/>
              <a:t>nd</a:t>
            </a:r>
            <a:r>
              <a:rPr lang="en-US" b="1"/>
              <a:t> Distribution Manager Role</a:t>
            </a:r>
          </a:p>
          <a:p>
            <a:pPr lvl="1"/>
            <a:r>
              <a:rPr lang="en-US"/>
              <a:t>Promoted Theresa Tesch to this position</a:t>
            </a:r>
          </a:p>
          <a:p>
            <a:pPr lvl="1"/>
            <a:r>
              <a:rPr lang="en-US"/>
              <a:t>Opened backfill req for Inside Sales to replace TTES</a:t>
            </a:r>
          </a:p>
          <a:p>
            <a:pPr lvl="1"/>
            <a:r>
              <a:rPr lang="en-US"/>
              <a:t>This enables Global focus + Field Engagement</a:t>
            </a:r>
          </a:p>
          <a:p>
            <a:endParaRPr lang="en-US" b="1"/>
          </a:p>
          <a:p>
            <a:r>
              <a:rPr lang="en-US" b="1"/>
              <a:t>Created Technical Sales Manager Role</a:t>
            </a:r>
          </a:p>
          <a:p>
            <a:pPr lvl="1"/>
            <a:r>
              <a:rPr lang="en-US"/>
              <a:t>Moved Frank D’Aliesio to this position</a:t>
            </a:r>
          </a:p>
          <a:p>
            <a:pPr lvl="1"/>
            <a:r>
              <a:rPr lang="en-US"/>
              <a:t>Drive and Support Empowerment to Reps</a:t>
            </a:r>
          </a:p>
          <a:p>
            <a:pPr lvl="1"/>
            <a:r>
              <a:rPr lang="en-US"/>
              <a:t>Focus on Field Engagement &amp; Scaling Know-how</a:t>
            </a:r>
          </a:p>
          <a:p>
            <a:pPr marL="0" indent="0">
              <a:buNone/>
            </a:pPr>
            <a:endParaRPr lang="en-US" b="1"/>
          </a:p>
          <a:p>
            <a:r>
              <a:rPr lang="en-US" b="1"/>
              <a:t>Split North America into Two (2) Regions</a:t>
            </a:r>
          </a:p>
          <a:p>
            <a:pPr lvl="1"/>
            <a:r>
              <a:rPr lang="en-US"/>
              <a:t>RSMs will become more Strategically focused</a:t>
            </a:r>
          </a:p>
          <a:p>
            <a:pPr lvl="1"/>
            <a:r>
              <a:rPr lang="en-US"/>
              <a:t>Rick Zanardo handles East</a:t>
            </a:r>
          </a:p>
          <a:p>
            <a:pPr lvl="1"/>
            <a:r>
              <a:rPr lang="en-US"/>
              <a:t>Gary McNelly handles West &amp; Central</a:t>
            </a:r>
          </a:p>
          <a:p>
            <a:endParaRPr lang="en-US"/>
          </a:p>
        </p:txBody>
      </p:sp>
      <p:sp>
        <p:nvSpPr>
          <p:cNvPr id="4" name="Slide Number Placeholder 3"/>
          <p:cNvSpPr>
            <a:spLocks noGrp="1"/>
          </p:cNvSpPr>
          <p:nvPr>
            <p:ph type="sldNum" sz="quarter" idx="5"/>
          </p:nvPr>
        </p:nvSpPr>
        <p:spPr/>
        <p:txBody>
          <a:bodyPr/>
          <a:lstStyle/>
          <a:p>
            <a:fld id="{98A377EE-D37B-49B0-B274-FAC640F68D07}" type="slidenum">
              <a:rPr lang="de-DE" smtClean="0"/>
              <a:t>4</a:t>
            </a:fld>
            <a:endParaRPr lang="de-DE"/>
          </a:p>
        </p:txBody>
      </p:sp>
    </p:spTree>
    <p:extLst>
      <p:ext uri="{BB962C8B-B14F-4D97-AF65-F5344CB8AC3E}">
        <p14:creationId xmlns:p14="http://schemas.microsoft.com/office/powerpoint/2010/main" val="86720179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58900" y="931863"/>
            <a:ext cx="4140200" cy="2328862"/>
          </a:xfrm>
        </p:spPr>
      </p:sp>
      <p:sp>
        <p:nvSpPr>
          <p:cNvPr id="3" name="Notes Placeholder 2"/>
          <p:cNvSpPr>
            <a:spLocks noGrp="1"/>
          </p:cNvSpPr>
          <p:nvPr>
            <p:ph type="body" idx="1"/>
          </p:nvPr>
        </p:nvSpPr>
        <p:spPr/>
        <p:txBody>
          <a:bodyPr/>
          <a:lstStyle/>
          <a:p>
            <a:r>
              <a:rPr lang="de-CH" err="1"/>
              <a:t>Or</a:t>
            </a:r>
            <a:r>
              <a:rPr lang="de-CH"/>
              <a:t> «</a:t>
            </a:r>
            <a:r>
              <a:rPr lang="de-CH" err="1"/>
              <a:t>making</a:t>
            </a:r>
            <a:r>
              <a:rPr lang="de-CH"/>
              <a:t> </a:t>
            </a:r>
            <a:r>
              <a:rPr lang="de-CH" err="1"/>
              <a:t>good</a:t>
            </a:r>
            <a:r>
              <a:rPr lang="de-CH"/>
              <a:t> </a:t>
            </a:r>
            <a:r>
              <a:rPr lang="de-CH" err="1"/>
              <a:t>even</a:t>
            </a:r>
            <a:r>
              <a:rPr lang="de-CH"/>
              <a:t> </a:t>
            </a:r>
            <a:r>
              <a:rPr lang="de-CH" err="1"/>
              <a:t>better</a:t>
            </a:r>
            <a:r>
              <a:rPr lang="de-CH"/>
              <a:t>» </a:t>
            </a:r>
            <a:r>
              <a:rPr lang="de-CH" err="1"/>
              <a:t>or</a:t>
            </a:r>
            <a:r>
              <a:rPr lang="de-CH"/>
              <a:t> «</a:t>
            </a:r>
            <a:r>
              <a:rPr lang="de-CH" err="1"/>
              <a:t>minituarization</a:t>
            </a:r>
            <a:r>
              <a:rPr lang="de-CH"/>
              <a:t> </a:t>
            </a:r>
            <a:r>
              <a:rPr lang="de-CH" err="1"/>
              <a:t>through</a:t>
            </a:r>
            <a:r>
              <a:rPr lang="de-CH"/>
              <a:t> </a:t>
            </a:r>
            <a:r>
              <a:rPr lang="de-CH" err="1"/>
              <a:t>innovation</a:t>
            </a:r>
            <a:r>
              <a:rPr lang="de-CH"/>
              <a:t>» </a:t>
            </a:r>
            <a:r>
              <a:rPr lang="de-CH" err="1"/>
              <a:t>or</a:t>
            </a:r>
            <a:r>
              <a:rPr lang="de-CH"/>
              <a:t> «</a:t>
            </a:r>
            <a:r>
              <a:rPr lang="de-CH" err="1"/>
              <a:t>rethinking</a:t>
            </a:r>
            <a:r>
              <a:rPr lang="de-CH"/>
              <a:t> form </a:t>
            </a:r>
            <a:r>
              <a:rPr lang="de-CH" err="1"/>
              <a:t>factor</a:t>
            </a:r>
            <a:r>
              <a:rPr lang="de-CH"/>
              <a:t> in </a:t>
            </a:r>
            <a:r>
              <a:rPr lang="de-CH" err="1"/>
              <a:t>electrochemical</a:t>
            </a:r>
            <a:r>
              <a:rPr lang="de-CH"/>
              <a:t> </a:t>
            </a:r>
            <a:r>
              <a:rPr lang="de-CH" err="1"/>
              <a:t>sensing</a:t>
            </a:r>
            <a:r>
              <a:rPr lang="de-CH"/>
              <a:t>»</a:t>
            </a:r>
          </a:p>
        </p:txBody>
      </p:sp>
      <p:sp>
        <p:nvSpPr>
          <p:cNvPr id="4" name="Slide Number Placeholder 3"/>
          <p:cNvSpPr>
            <a:spLocks noGrp="1"/>
          </p:cNvSpPr>
          <p:nvPr>
            <p:ph type="sldNum" sz="quarter" idx="5"/>
          </p:nvPr>
        </p:nvSpPr>
        <p:spPr/>
        <p:txBody>
          <a:bodyPr/>
          <a:lstStyle/>
          <a:p>
            <a:fld id="{98A377EE-D37B-49B0-B274-FAC640F68D07}" type="slidenum">
              <a:rPr lang="de-DE" smtClean="0"/>
              <a:t>11</a:t>
            </a:fld>
            <a:endParaRPr lang="de-DE"/>
          </a:p>
        </p:txBody>
      </p:sp>
    </p:spTree>
    <p:extLst>
      <p:ext uri="{BB962C8B-B14F-4D97-AF65-F5344CB8AC3E}">
        <p14:creationId xmlns:p14="http://schemas.microsoft.com/office/powerpoint/2010/main" val="43447499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58900" y="931863"/>
            <a:ext cx="4140200" cy="2328862"/>
          </a:xfrm>
        </p:spPr>
      </p:sp>
      <p:sp>
        <p:nvSpPr>
          <p:cNvPr id="3" name="Notes Placeholder 2"/>
          <p:cNvSpPr>
            <a:spLocks noGrp="1"/>
          </p:cNvSpPr>
          <p:nvPr>
            <p:ph type="body" idx="1"/>
          </p:nvPr>
        </p:nvSpPr>
        <p:spPr/>
        <p:txBody>
          <a:bodyPr/>
          <a:lstStyle/>
          <a:p>
            <a:pPr marL="179705" indent="-179705"/>
            <a:endParaRPr lang="en-US">
              <a:cs typeface="Segoe UI"/>
            </a:endParaRPr>
          </a:p>
        </p:txBody>
      </p:sp>
      <p:sp>
        <p:nvSpPr>
          <p:cNvPr id="4" name="Slide Number Placeholder 3"/>
          <p:cNvSpPr>
            <a:spLocks noGrp="1"/>
          </p:cNvSpPr>
          <p:nvPr>
            <p:ph type="sldNum" sz="quarter" idx="5"/>
          </p:nvPr>
        </p:nvSpPr>
        <p:spPr/>
        <p:txBody>
          <a:bodyPr/>
          <a:lstStyle/>
          <a:p>
            <a:fld id="{98A377EE-D37B-49B0-B274-FAC640F68D07}" type="slidenum">
              <a:rPr lang="de-DE" smtClean="0"/>
              <a:t>13</a:t>
            </a:fld>
            <a:endParaRPr lang="de-DE"/>
          </a:p>
        </p:txBody>
      </p:sp>
    </p:spTree>
    <p:extLst>
      <p:ext uri="{BB962C8B-B14F-4D97-AF65-F5344CB8AC3E}">
        <p14:creationId xmlns:p14="http://schemas.microsoft.com/office/powerpoint/2010/main" val="193089662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6BC89B3-B21F-F9F5-8DA4-943F128B0220}"/>
            </a:ext>
          </a:extLst>
        </p:cNvPr>
        <p:cNvGrpSpPr/>
        <p:nvPr/>
      </p:nvGrpSpPr>
      <p:grpSpPr>
        <a:xfrm>
          <a:off x="0" y="0"/>
          <a:ext cx="0" cy="0"/>
          <a:chOff x="0" y="0"/>
          <a:chExt cx="0" cy="0"/>
        </a:xfrm>
      </p:grpSpPr>
      <p:sp>
        <p:nvSpPr>
          <p:cNvPr id="2" name="Notes Placeholder 1">
            <a:extLst>
              <a:ext uri="{FF2B5EF4-FFF2-40B4-BE49-F238E27FC236}">
                <a16:creationId xmlns:a16="http://schemas.microsoft.com/office/drawing/2014/main" id="{831B0EB7-03B6-2396-E20C-DBA2A4E55695}"/>
              </a:ext>
            </a:extLst>
          </p:cNvPr>
          <p:cNvSpPr>
            <a:spLocks noGrp="1"/>
          </p:cNvSpPr>
          <p:nvPr>
            <p:ph type="body" idx="1"/>
          </p:nvPr>
        </p:nvSpPr>
        <p:spPr/>
        <p:txBody>
          <a:bodyPr/>
          <a:lstStyle/>
          <a:p>
            <a:pPr marL="0" indent="0">
              <a:buNone/>
            </a:pPr>
            <a:endParaRPr lang="de-CH"/>
          </a:p>
        </p:txBody>
      </p:sp>
    </p:spTree>
    <p:extLst>
      <p:ext uri="{BB962C8B-B14F-4D97-AF65-F5344CB8AC3E}">
        <p14:creationId xmlns:p14="http://schemas.microsoft.com/office/powerpoint/2010/main" val="49844305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3159452-1981-A93F-2716-66572FAA014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F4D65C8-BE38-1CE3-5105-52939C4CB0F2}"/>
              </a:ext>
            </a:extLst>
          </p:cNvPr>
          <p:cNvSpPr>
            <a:spLocks noGrp="1" noRot="1" noChangeAspect="1"/>
          </p:cNvSpPr>
          <p:nvPr>
            <p:ph type="sldImg"/>
          </p:nvPr>
        </p:nvSpPr>
        <p:spPr>
          <a:xfrm>
            <a:off x="1358900" y="931863"/>
            <a:ext cx="4140200" cy="2328862"/>
          </a:xfrm>
        </p:spPr>
      </p:sp>
      <p:sp>
        <p:nvSpPr>
          <p:cNvPr id="3" name="Notes Placeholder 2">
            <a:extLst>
              <a:ext uri="{FF2B5EF4-FFF2-40B4-BE49-F238E27FC236}">
                <a16:creationId xmlns:a16="http://schemas.microsoft.com/office/drawing/2014/main" id="{5C80EEC7-1057-56F2-5C90-913C7DB36322}"/>
              </a:ext>
            </a:extLst>
          </p:cNvPr>
          <p:cNvSpPr>
            <a:spLocks noGrp="1"/>
          </p:cNvSpPr>
          <p:nvPr>
            <p:ph type="body" idx="1"/>
          </p:nvPr>
        </p:nvSpPr>
        <p:spPr/>
        <p:txBody>
          <a:bodyPr/>
          <a:lstStyle/>
          <a:p>
            <a:pPr marL="0" indent="0">
              <a:buNone/>
            </a:pPr>
            <a:endParaRPr lang="en-US"/>
          </a:p>
        </p:txBody>
      </p:sp>
      <p:sp>
        <p:nvSpPr>
          <p:cNvPr id="4" name="Slide Number Placeholder 3">
            <a:extLst>
              <a:ext uri="{FF2B5EF4-FFF2-40B4-BE49-F238E27FC236}">
                <a16:creationId xmlns:a16="http://schemas.microsoft.com/office/drawing/2014/main" id="{EB69966D-DD30-0593-5256-8CE60514FC7F}"/>
              </a:ext>
            </a:extLst>
          </p:cNvPr>
          <p:cNvSpPr>
            <a:spLocks noGrp="1"/>
          </p:cNvSpPr>
          <p:nvPr>
            <p:ph type="sldNum" sz="quarter" idx="5"/>
          </p:nvPr>
        </p:nvSpPr>
        <p:spPr/>
        <p:txBody>
          <a:bodyPr/>
          <a:lstStyle/>
          <a:p>
            <a:fld id="{98A377EE-D37B-49B0-B274-FAC640F68D07}" type="slidenum">
              <a:rPr lang="de-DE" smtClean="0"/>
              <a:t>15</a:t>
            </a:fld>
            <a:endParaRPr lang="de-DE"/>
          </a:p>
        </p:txBody>
      </p:sp>
    </p:spTree>
    <p:extLst>
      <p:ext uri="{BB962C8B-B14F-4D97-AF65-F5344CB8AC3E}">
        <p14:creationId xmlns:p14="http://schemas.microsoft.com/office/powerpoint/2010/main" val="361560134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58900" y="931863"/>
            <a:ext cx="4140200" cy="2328862"/>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98A377EE-D37B-49B0-B274-FAC640F68D07}" type="slidenum">
              <a:rPr lang="de-DE" smtClean="0"/>
              <a:t>16</a:t>
            </a:fld>
            <a:endParaRPr lang="de-DE"/>
          </a:p>
        </p:txBody>
      </p:sp>
    </p:spTree>
    <p:extLst>
      <p:ext uri="{BB962C8B-B14F-4D97-AF65-F5344CB8AC3E}">
        <p14:creationId xmlns:p14="http://schemas.microsoft.com/office/powerpoint/2010/main" val="317282143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58900" y="931863"/>
            <a:ext cx="4140200" cy="2328862"/>
          </a:xfrm>
        </p:spPr>
      </p:sp>
      <p:sp>
        <p:nvSpPr>
          <p:cNvPr id="3" name="Notes Placeholder 2"/>
          <p:cNvSpPr>
            <a:spLocks noGrp="1"/>
          </p:cNvSpPr>
          <p:nvPr>
            <p:ph type="body" idx="1"/>
          </p:nvPr>
        </p:nvSpPr>
        <p:spPr/>
        <p:txBody>
          <a:bodyPr/>
          <a:lstStyle/>
          <a:p>
            <a:r>
              <a:rPr lang="en-US"/>
              <a:t>So What does the SEN6x line offer you? Your application is unique and maybe you don’t need all the parameters.</a:t>
            </a:r>
          </a:p>
          <a:p>
            <a:endParaRPr lang="en-US"/>
          </a:p>
          <a:p>
            <a:r>
              <a:rPr lang="en-US"/>
              <a:t>That’s the beauty of SEN6x, it is built as a modular platform. You choose which parameter matter to you in your application. We offer a total of four different models, tailored to different applications. </a:t>
            </a:r>
          </a:p>
          <a:p>
            <a:endParaRPr lang="en-US"/>
          </a:p>
          <a:p>
            <a:r>
              <a:rPr lang="en-US"/>
              <a:t>SEN60 is our lowest cost particulate matter sensor that we ever offered. </a:t>
            </a:r>
          </a:p>
          <a:p>
            <a:r>
              <a:rPr lang="en-US"/>
              <a:t>SEN63C is the most affordable way to get CO2 sensing in a module</a:t>
            </a:r>
          </a:p>
          <a:p>
            <a:r>
              <a:rPr lang="en-US"/>
              <a:t>SEN65 adds relative humidity, temperature, VOC and NOx measurements in addition to PM, this makes it for example perfect for air purifiers </a:t>
            </a:r>
          </a:p>
          <a:p>
            <a:r>
              <a:rPr lang="en-US"/>
              <a:t>SEN66 adds CO2 to that mix, which is ideal for Indoor air quality monitors or as actionable signal in energy recovery ventilation or HVAC systems, that can use it to optimize their energy consumption while making sure that the CO2 levels stay at an optimal level</a:t>
            </a:r>
          </a:p>
          <a:p>
            <a:r>
              <a:rPr lang="en-US"/>
              <a:t>SEN68 offers PM, RH&amp;T, VOC, NOx and Formaldehyde, this fits premium air purifiers with special filter that can decompose the Formaldehyde or indoor air quality monitors for the Asian market</a:t>
            </a:r>
          </a:p>
          <a:p>
            <a:endParaRPr lang="en-US"/>
          </a:p>
          <a:p>
            <a:r>
              <a:rPr lang="en-US"/>
              <a:t>And the best thing is, that all models share one physical formfactor. This means you can design it in once but offer a whole range of different tiers of products. Your requirements have changed? You want to upgrade your product with an additional sensors? No problem, just order another variant without changing your design</a:t>
            </a:r>
          </a:p>
        </p:txBody>
      </p:sp>
      <p:sp>
        <p:nvSpPr>
          <p:cNvPr id="4" name="Slide Number Placeholder 3"/>
          <p:cNvSpPr>
            <a:spLocks noGrp="1"/>
          </p:cNvSpPr>
          <p:nvPr>
            <p:ph type="sldNum" sz="quarter" idx="5"/>
          </p:nvPr>
        </p:nvSpPr>
        <p:spPr/>
        <p:txBody>
          <a:bodyPr/>
          <a:lstStyle/>
          <a:p>
            <a:pPr>
              <a:defRPr/>
            </a:pPr>
            <a:fld id="{9BC1A513-A0BF-4E31-BFE4-A8A08AB75B3B}" type="slidenum">
              <a:rPr lang="de-CH" smtClean="0"/>
              <a:pPr>
                <a:defRPr/>
              </a:pPr>
              <a:t>17</a:t>
            </a:fld>
            <a:endParaRPr lang="de-CH"/>
          </a:p>
        </p:txBody>
      </p:sp>
    </p:spTree>
    <p:extLst>
      <p:ext uri="{BB962C8B-B14F-4D97-AF65-F5344CB8AC3E}">
        <p14:creationId xmlns:p14="http://schemas.microsoft.com/office/powerpoint/2010/main" val="25497328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58900" y="931863"/>
            <a:ext cx="4140200" cy="2328862"/>
          </a:xfrm>
        </p:spPr>
      </p:sp>
      <p:sp>
        <p:nvSpPr>
          <p:cNvPr id="3" name="Notes Placeholder 2"/>
          <p:cNvSpPr>
            <a:spLocks noGrp="1"/>
          </p:cNvSpPr>
          <p:nvPr>
            <p:ph type="body" idx="1"/>
          </p:nvPr>
        </p:nvSpPr>
        <p:spPr/>
        <p:txBody>
          <a:bodyPr/>
          <a:lstStyle/>
          <a:p>
            <a:r>
              <a:rPr lang="en-US"/>
              <a:t>So What does the SEN6x line offer you? Your application is unique and maybe you don’t need all the parameters.</a:t>
            </a:r>
          </a:p>
          <a:p>
            <a:endParaRPr lang="en-US"/>
          </a:p>
          <a:p>
            <a:r>
              <a:rPr lang="en-US"/>
              <a:t>That’s the beauty of SEN6x, it is built as a modular platform. You choose which parameter matter to you in your application. We offer a total of four different models, tailored to different applications. </a:t>
            </a:r>
          </a:p>
          <a:p>
            <a:endParaRPr lang="en-US"/>
          </a:p>
          <a:p>
            <a:r>
              <a:rPr lang="en-US"/>
              <a:t>SEN60 is our lowest cost particulate matter sensor that we ever offered. </a:t>
            </a:r>
          </a:p>
          <a:p>
            <a:r>
              <a:rPr lang="en-US"/>
              <a:t>SEN65 adds relative humidity, temperature, VOC and NOx measurements in addition to PM, this makes it for example perfect for air purifiers </a:t>
            </a:r>
          </a:p>
          <a:p>
            <a:r>
              <a:rPr lang="en-US"/>
              <a:t>SEN66 adds CO2 to that mix, which is ideal for Indoor air quality monitors or as actionable signal in energy recovery ventilation or HVAC systems, that can use it to optimize their energy consumption while making sure that the CO2 levels stay at an optimal level</a:t>
            </a:r>
          </a:p>
          <a:p>
            <a:r>
              <a:rPr lang="en-US"/>
              <a:t>SEN68 offers PM, RH&amp;T, VOC, NOx and Formaldehyde, this fits premium air purifiers with special filter that can decompose the Formaldehyde or indoor air quality monitors for the Asian market</a:t>
            </a:r>
          </a:p>
          <a:p>
            <a:endParaRPr lang="en-US"/>
          </a:p>
          <a:p>
            <a:r>
              <a:rPr lang="en-US"/>
              <a:t>And the best thing is, that all models share one physical formfactor. This means you can design it in once but offer a whole range of different tiers of products. Your requirements have changed? You want to upgrade your product with an additional sensors? No problem, just order another variant without changing your design</a:t>
            </a:r>
          </a:p>
          <a:p>
            <a:endParaRPr lang="en-US"/>
          </a:p>
        </p:txBody>
      </p:sp>
      <p:sp>
        <p:nvSpPr>
          <p:cNvPr id="4" name="Slide Number Placeholder 3"/>
          <p:cNvSpPr>
            <a:spLocks noGrp="1"/>
          </p:cNvSpPr>
          <p:nvPr>
            <p:ph type="sldNum" sz="quarter" idx="5"/>
          </p:nvPr>
        </p:nvSpPr>
        <p:spPr/>
        <p:txBody>
          <a:bodyPr/>
          <a:lstStyle/>
          <a:p>
            <a:fld id="{B2E3F1FE-5D76-4724-A6D0-9D39EFB43AB3}" type="slidenum">
              <a:rPr lang="en-US" smtClean="0"/>
              <a:t>18</a:t>
            </a:fld>
            <a:endParaRPr lang="en-US"/>
          </a:p>
        </p:txBody>
      </p:sp>
    </p:spTree>
    <p:extLst>
      <p:ext uri="{BB962C8B-B14F-4D97-AF65-F5344CB8AC3E}">
        <p14:creationId xmlns:p14="http://schemas.microsoft.com/office/powerpoint/2010/main" val="191252448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9705" indent="-179705">
              <a:buNone/>
            </a:pPr>
            <a:r>
              <a:rPr lang="en-US">
                <a:solidFill>
                  <a:srgbClr val="001D35"/>
                </a:solidFill>
              </a:rPr>
              <a:t>Inert gases are gases with very low chemical reactivity, meaning they don't easily form compounds with other substances. Historically, these are the </a:t>
            </a:r>
            <a:r>
              <a:rPr lang="en-US" u="sng">
                <a:hlinkClick r:id="rId3"/>
              </a:rPr>
              <a:t>noble gases</a:t>
            </a:r>
            <a:r>
              <a:rPr lang="en-US">
                <a:solidFill>
                  <a:srgbClr val="001D35"/>
                </a:solidFill>
              </a:rPr>
              <a:t> (Helium, Neon, Argon, Krypton, Xenon, Radon) from Group 18 of the periodic table, characterized by their complete outer electron shells. Common inert gases also include nitrogen and carbon dioxide. They are colorless, odorless, and tasteless and are used in applications requiring a non-reactive environment, such as welding, lighting, food preservation, and industrial processes. </a:t>
            </a:r>
            <a:endParaRPr lang="en-US">
              <a:cs typeface="Segoe UI"/>
            </a:endParaRPr>
          </a:p>
        </p:txBody>
      </p:sp>
      <p:sp>
        <p:nvSpPr>
          <p:cNvPr id="4" name="Slide Number Placeholder 3"/>
          <p:cNvSpPr>
            <a:spLocks noGrp="1"/>
          </p:cNvSpPr>
          <p:nvPr>
            <p:ph type="sldNum" sz="quarter" idx="5"/>
          </p:nvPr>
        </p:nvSpPr>
        <p:spPr/>
        <p:txBody>
          <a:bodyPr/>
          <a:lstStyle/>
          <a:p>
            <a:fld id="{98A377EE-D37B-49B0-B274-FAC640F68D07}" type="slidenum">
              <a:rPr lang="de-DE" smtClean="0"/>
              <a:t>21</a:t>
            </a:fld>
            <a:endParaRPr lang="de-DE"/>
          </a:p>
        </p:txBody>
      </p:sp>
    </p:spTree>
    <p:extLst>
      <p:ext uri="{BB962C8B-B14F-4D97-AF65-F5344CB8AC3E}">
        <p14:creationId xmlns:p14="http://schemas.microsoft.com/office/powerpoint/2010/main" val="77717005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6" Type="http://schemas.openxmlformats.org/officeDocument/2006/relationships/image" Target="../media/image4.svg"/><Relationship Id="rId5" Type="http://schemas.openxmlformats.org/officeDocument/2006/relationships/image" Target="../media/image3.png"/><Relationship Id="rId4" Type="http://schemas.openxmlformats.org/officeDocument/2006/relationships/image" Target="../media/image2.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2.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2.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2.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2.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2.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2.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8.xml"/><Relationship Id="rId6" Type="http://schemas.openxmlformats.org/officeDocument/2006/relationships/image" Target="../media/image4.svg"/><Relationship Id="rId5" Type="http://schemas.openxmlformats.org/officeDocument/2006/relationships/image" Target="../media/image3.png"/><Relationship Id="rId4" Type="http://schemas.openxmlformats.org/officeDocument/2006/relationships/image" Target="../media/image2.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2.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2.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2.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2.emf"/></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2.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2.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2.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2.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2.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2.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2.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3701C1F6-A140-C203-8BFC-35C0188A77B8}"/>
              </a:ext>
            </a:extLst>
          </p:cNvPr>
          <p:cNvSpPr>
            <a:spLocks noGrp="1"/>
          </p:cNvSpPr>
          <p:nvPr>
            <p:ph type="pic" sz="quarter" idx="11" hasCustomPrompt="1"/>
          </p:nvPr>
        </p:nvSpPr>
        <p:spPr bwMode="gray">
          <a:xfrm>
            <a:off x="0" y="0"/>
            <a:ext cx="12192000" cy="6858000"/>
          </a:xfrm>
          <a:pattFill prst="wdUpDiag">
            <a:fgClr>
              <a:schemeClr val="bg1"/>
            </a:fgClr>
            <a:bgClr>
              <a:schemeClr val="bg2"/>
            </a:bgClr>
          </a:pattFill>
        </p:spPr>
        <p:txBody>
          <a:bodyPr anchor="ctr"/>
          <a:lstStyle>
            <a:lvl1pPr marL="0" indent="0" algn="ctr">
              <a:lnSpc>
                <a:spcPct val="100000"/>
              </a:lnSpc>
              <a:buNone/>
              <a:defRPr sz="1000" b="1" i="1">
                <a:solidFill>
                  <a:srgbClr val="BDBDBD"/>
                </a:solidFill>
              </a:defRPr>
            </a:lvl1pPr>
          </a:lstStyle>
          <a:p>
            <a:r>
              <a:rPr lang="en-US" noProof="0"/>
              <a:t> Image placeholder</a:t>
            </a:r>
          </a:p>
        </p:txBody>
      </p:sp>
      <p:graphicFrame>
        <p:nvGraphicFramePr>
          <p:cNvPr id="5" name="Objekt 4" hidden="1">
            <a:extLst>
              <a:ext uri="{FF2B5EF4-FFF2-40B4-BE49-F238E27FC236}">
                <a16:creationId xmlns:a16="http://schemas.microsoft.com/office/drawing/2014/main" id="{767385B7-6838-292C-9A71-B34C47821397}"/>
              </a:ext>
            </a:extLst>
          </p:cNvPr>
          <p:cNvGraphicFramePr>
            <a:graphicFrameLocks noChangeAspect="1"/>
          </p:cNvGraphicFramePr>
          <p:nvPr userDrawn="1">
            <p:custDataLst>
              <p:tags r:id="rId1"/>
            </p:custDataLst>
            <p:extLst>
              <p:ext uri="{D42A27DB-BD31-4B8C-83A1-F6EECF244321}">
                <p14:modId xmlns:p14="http://schemas.microsoft.com/office/powerpoint/2010/main" val="29775277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80" imgH="481" progId="TCLayout.ActiveDocument.1">
                  <p:embed/>
                </p:oleObj>
              </mc:Choice>
              <mc:Fallback>
                <p:oleObj name="think-cell Folie" r:id="rId3" imgW="480" imgH="481" progId="TCLayout.ActiveDocument.1">
                  <p:embed/>
                  <p:pic>
                    <p:nvPicPr>
                      <p:cNvPr id="5" name="Objekt 4" hidden="1">
                        <a:extLst>
                          <a:ext uri="{FF2B5EF4-FFF2-40B4-BE49-F238E27FC236}">
                            <a16:creationId xmlns:a16="http://schemas.microsoft.com/office/drawing/2014/main" id="{767385B7-6838-292C-9A71-B34C4782139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9E4B5D56-4EE6-6923-EBA2-5824FC9584B2}"/>
              </a:ext>
            </a:extLst>
          </p:cNvPr>
          <p:cNvSpPr>
            <a:spLocks noGrp="1"/>
          </p:cNvSpPr>
          <p:nvPr>
            <p:ph type="ctrTitle" hasCustomPrompt="1"/>
          </p:nvPr>
        </p:nvSpPr>
        <p:spPr bwMode="gray">
          <a:xfrm>
            <a:off x="1189036" y="964959"/>
            <a:ext cx="9144000" cy="738664"/>
          </a:xfrm>
          <a:prstGeom prst="rect">
            <a:avLst/>
          </a:prstGeom>
        </p:spPr>
        <p:txBody>
          <a:bodyPr vert="horz" anchor="b"/>
          <a:lstStyle>
            <a:lvl1pPr algn="l">
              <a:lnSpc>
                <a:spcPct val="100000"/>
              </a:lnSpc>
              <a:defRPr sz="4800" cap="all" baseline="0"/>
            </a:lvl1pPr>
          </a:lstStyle>
          <a:p>
            <a:r>
              <a:rPr lang="en-US" noProof="0"/>
              <a:t>overhead</a:t>
            </a:r>
          </a:p>
        </p:txBody>
      </p:sp>
      <p:sp>
        <p:nvSpPr>
          <p:cNvPr id="6" name="Text Placeholder 5">
            <a:extLst>
              <a:ext uri="{FF2B5EF4-FFF2-40B4-BE49-F238E27FC236}">
                <a16:creationId xmlns:a16="http://schemas.microsoft.com/office/drawing/2014/main" id="{1A4D2577-167E-69EB-1162-5BBAC4F82FD4}"/>
              </a:ext>
            </a:extLst>
          </p:cNvPr>
          <p:cNvSpPr>
            <a:spLocks noGrp="1"/>
          </p:cNvSpPr>
          <p:nvPr>
            <p:ph type="body" sz="quarter" idx="10" hasCustomPrompt="1"/>
          </p:nvPr>
        </p:nvSpPr>
        <p:spPr bwMode="gray">
          <a:xfrm>
            <a:off x="1189036" y="3063969"/>
            <a:ext cx="9144000" cy="214312"/>
          </a:xfrm>
        </p:spPr>
        <p:txBody>
          <a:bodyPr wrap="square">
            <a:spAutoFit/>
          </a:bodyPr>
          <a:lstStyle>
            <a:lvl1pPr marL="0" indent="0">
              <a:lnSpc>
                <a:spcPct val="100000"/>
              </a:lnSpc>
              <a:buNone/>
              <a:defRPr/>
            </a:lvl1pPr>
          </a:lstStyle>
          <a:p>
            <a:pPr lvl="0"/>
            <a:r>
              <a:rPr lang="en-US" noProof="0"/>
              <a:t>Author | Date</a:t>
            </a:r>
          </a:p>
        </p:txBody>
      </p:sp>
      <p:sp>
        <p:nvSpPr>
          <p:cNvPr id="7" name="Text Placeholder 6">
            <a:extLst>
              <a:ext uri="{FF2B5EF4-FFF2-40B4-BE49-F238E27FC236}">
                <a16:creationId xmlns:a16="http://schemas.microsoft.com/office/drawing/2014/main" id="{87869E6D-0360-2933-8C4A-69CBE7710BF1}"/>
              </a:ext>
            </a:extLst>
          </p:cNvPr>
          <p:cNvSpPr>
            <a:spLocks noGrp="1"/>
          </p:cNvSpPr>
          <p:nvPr>
            <p:ph type="body" sz="quarter" idx="12" hasCustomPrompt="1"/>
          </p:nvPr>
        </p:nvSpPr>
        <p:spPr bwMode="gray">
          <a:xfrm>
            <a:off x="0" y="6057900"/>
            <a:ext cx="12192000" cy="800100"/>
          </a:xfrm>
          <a:gradFill>
            <a:gsLst>
              <a:gs pos="19000">
                <a:schemeClr val="bg1">
                  <a:alpha val="80000"/>
                </a:schemeClr>
              </a:gs>
              <a:gs pos="100000">
                <a:schemeClr val="bg1"/>
              </a:gs>
            </a:gsLst>
            <a:lin ang="0" scaled="1"/>
          </a:gradFill>
        </p:spPr>
        <p:txBody>
          <a:bodyPr/>
          <a:lstStyle>
            <a:lvl1pPr marL="0" indent="0">
              <a:buNone/>
              <a:defRPr/>
            </a:lvl1pPr>
          </a:lstStyle>
          <a:p>
            <a:pPr lvl="0"/>
            <a:r>
              <a:rPr lang="en-US"/>
              <a:t> </a:t>
            </a:r>
          </a:p>
        </p:txBody>
      </p:sp>
      <p:sp>
        <p:nvSpPr>
          <p:cNvPr id="20" name="Text Placeholder 19">
            <a:extLst>
              <a:ext uri="{FF2B5EF4-FFF2-40B4-BE49-F238E27FC236}">
                <a16:creationId xmlns:a16="http://schemas.microsoft.com/office/drawing/2014/main" id="{885E7427-45FF-59FD-D7C2-D246E3C50A76}"/>
              </a:ext>
            </a:extLst>
          </p:cNvPr>
          <p:cNvSpPr>
            <a:spLocks noGrp="1"/>
          </p:cNvSpPr>
          <p:nvPr>
            <p:ph type="body" sz="quarter" idx="13" hasCustomPrompt="1"/>
          </p:nvPr>
        </p:nvSpPr>
        <p:spPr bwMode="gray">
          <a:xfrm>
            <a:off x="9912063" y="6301582"/>
            <a:ext cx="1764000" cy="176400"/>
          </a:xfrm>
          <a:blipFill>
            <a:blip r:embed="rId5">
              <a:extLst>
                <a:ext uri="{96DAC541-7B7A-43D3-8B79-37D633B846F1}">
                  <asvg:svgBlip xmlns:asvg="http://schemas.microsoft.com/office/drawing/2016/SVG/main" r:embed="rId6"/>
                </a:ext>
              </a:extLst>
            </a:blip>
            <a:stretch>
              <a:fillRect/>
            </a:stretch>
          </a:blipFill>
        </p:spPr>
        <p:txBody>
          <a:bodyPr/>
          <a:lstStyle>
            <a:lvl1pPr marL="0" indent="0">
              <a:buNone/>
              <a:defRPr/>
            </a:lvl1pPr>
          </a:lstStyle>
          <a:p>
            <a:pPr lvl="0"/>
            <a:r>
              <a:rPr lang="en-US"/>
              <a:t> </a:t>
            </a:r>
          </a:p>
        </p:txBody>
      </p:sp>
      <p:sp>
        <p:nvSpPr>
          <p:cNvPr id="9" name="Textplatzhalter 8">
            <a:extLst>
              <a:ext uri="{FF2B5EF4-FFF2-40B4-BE49-F238E27FC236}">
                <a16:creationId xmlns:a16="http://schemas.microsoft.com/office/drawing/2014/main" id="{64775200-1551-8488-CA6F-C4CF768DB1DB}"/>
              </a:ext>
            </a:extLst>
          </p:cNvPr>
          <p:cNvSpPr>
            <a:spLocks noGrp="1"/>
          </p:cNvSpPr>
          <p:nvPr>
            <p:ph type="body" sz="quarter" idx="14" hasCustomPrompt="1"/>
          </p:nvPr>
        </p:nvSpPr>
        <p:spPr>
          <a:xfrm>
            <a:off x="1189036" y="1703623"/>
            <a:ext cx="9144000" cy="1231106"/>
          </a:xfrm>
        </p:spPr>
        <p:txBody>
          <a:bodyPr>
            <a:spAutoFit/>
          </a:bodyPr>
          <a:lstStyle>
            <a:lvl1pPr marL="0" indent="0">
              <a:spcAft>
                <a:spcPts val="0"/>
              </a:spcAft>
              <a:buNone/>
              <a:defRPr sz="4000"/>
            </a:lvl1pPr>
          </a:lstStyle>
          <a:p>
            <a:pPr lvl="0"/>
            <a:r>
              <a:rPr lang="en-US"/>
              <a:t>Descriptive and more informative presentation header (position variable)</a:t>
            </a:r>
          </a:p>
        </p:txBody>
      </p:sp>
    </p:spTree>
    <p:extLst>
      <p:ext uri="{BB962C8B-B14F-4D97-AF65-F5344CB8AC3E}">
        <p14:creationId xmlns:p14="http://schemas.microsoft.com/office/powerpoint/2010/main" val="205424579"/>
      </p:ext>
    </p:extLst>
  </p:cSld>
  <p:clrMapOvr>
    <a:masterClrMapping/>
  </p:clrMapOvr>
  <p:extLst>
    <p:ext uri="{DCECCB84-F9BA-43D5-87BE-67443E8EF086}">
      <p15:sldGuideLst xmlns:p15="http://schemas.microsoft.com/office/powerpoint/2012/main">
        <p15:guide id="1" orient="horz" pos="3816" userDrawn="1">
          <p15:clr>
            <a:srgbClr val="F26B43"/>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ntent and image left">
    <p:spTree>
      <p:nvGrpSpPr>
        <p:cNvPr id="1" name=""/>
        <p:cNvGrpSpPr/>
        <p:nvPr/>
      </p:nvGrpSpPr>
      <p:grpSpPr>
        <a:xfrm>
          <a:off x="0" y="0"/>
          <a:ext cx="0" cy="0"/>
          <a:chOff x="0" y="0"/>
          <a:chExt cx="0" cy="0"/>
        </a:xfrm>
      </p:grpSpPr>
      <p:sp>
        <p:nvSpPr>
          <p:cNvPr id="3" name="Picture Placeholder 7">
            <a:extLst>
              <a:ext uri="{FF2B5EF4-FFF2-40B4-BE49-F238E27FC236}">
                <a16:creationId xmlns:a16="http://schemas.microsoft.com/office/drawing/2014/main" id="{AE0FE1CD-B1AE-2871-3162-980A2C8857B3}"/>
              </a:ext>
            </a:extLst>
          </p:cNvPr>
          <p:cNvSpPr>
            <a:spLocks noGrp="1"/>
          </p:cNvSpPr>
          <p:nvPr>
            <p:ph type="pic" sz="quarter" idx="11" hasCustomPrompt="1"/>
          </p:nvPr>
        </p:nvSpPr>
        <p:spPr bwMode="gray">
          <a:xfrm>
            <a:off x="0" y="0"/>
            <a:ext cx="6096000" cy="6858000"/>
          </a:xfrm>
          <a:pattFill prst="wdUpDiag">
            <a:fgClr>
              <a:schemeClr val="bg1"/>
            </a:fgClr>
            <a:bgClr>
              <a:schemeClr val="bg2"/>
            </a:bgClr>
          </a:pattFill>
        </p:spPr>
        <p:txBody>
          <a:bodyPr anchor="ctr"/>
          <a:lstStyle>
            <a:lvl1pPr marL="0" indent="0" algn="ctr">
              <a:lnSpc>
                <a:spcPct val="100000"/>
              </a:lnSpc>
              <a:buNone/>
              <a:defRPr sz="1000" b="1" i="1">
                <a:solidFill>
                  <a:srgbClr val="BDBDBD"/>
                </a:solidFill>
              </a:defRPr>
            </a:lvl1pPr>
          </a:lstStyle>
          <a:p>
            <a:r>
              <a:rPr lang="en-US" noProof="0"/>
              <a:t> Image placeholder</a:t>
            </a:r>
          </a:p>
        </p:txBody>
      </p:sp>
      <p:graphicFrame>
        <p:nvGraphicFramePr>
          <p:cNvPr id="18" name="Objekt 17" hidden="1">
            <a:extLst>
              <a:ext uri="{FF2B5EF4-FFF2-40B4-BE49-F238E27FC236}">
                <a16:creationId xmlns:a16="http://schemas.microsoft.com/office/drawing/2014/main" id="{F05B8204-9FDB-9C14-7435-D448FCDFE6C8}"/>
              </a:ext>
            </a:extLst>
          </p:cNvPr>
          <p:cNvGraphicFramePr>
            <a:graphicFrameLocks noChangeAspect="1"/>
          </p:cNvGraphicFramePr>
          <p:nvPr userDrawn="1">
            <p:custDataLst>
              <p:tags r:id="rId1"/>
            </p:custDataLst>
            <p:extLst>
              <p:ext uri="{D42A27DB-BD31-4B8C-83A1-F6EECF244321}">
                <p14:modId xmlns:p14="http://schemas.microsoft.com/office/powerpoint/2010/main" val="36668772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80" imgH="481" progId="TCLayout.ActiveDocument.1">
                  <p:embed/>
                </p:oleObj>
              </mc:Choice>
              <mc:Fallback>
                <p:oleObj name="think-cell Folie" r:id="rId3" imgW="480" imgH="481" progId="TCLayout.ActiveDocument.1">
                  <p:embed/>
                  <p:pic>
                    <p:nvPicPr>
                      <p:cNvPr id="18" name="Objekt 17" hidden="1">
                        <a:extLst>
                          <a:ext uri="{FF2B5EF4-FFF2-40B4-BE49-F238E27FC236}">
                            <a16:creationId xmlns:a16="http://schemas.microsoft.com/office/drawing/2014/main" id="{F05B8204-9FDB-9C14-7435-D448FCDFE6C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Textplatzhalter 15">
            <a:extLst>
              <a:ext uri="{FF2B5EF4-FFF2-40B4-BE49-F238E27FC236}">
                <a16:creationId xmlns:a16="http://schemas.microsoft.com/office/drawing/2014/main" id="{9949918B-D12D-7BAD-20AE-4F6D7F538C37}"/>
              </a:ext>
            </a:extLst>
          </p:cNvPr>
          <p:cNvSpPr>
            <a:spLocks noGrp="1"/>
          </p:cNvSpPr>
          <p:nvPr>
            <p:ph type="body" sz="quarter" idx="13" hasCustomPrompt="1"/>
          </p:nvPr>
        </p:nvSpPr>
        <p:spPr bwMode="gray">
          <a:xfrm>
            <a:off x="6456363" y="921522"/>
            <a:ext cx="5219700" cy="276999"/>
          </a:xfrm>
        </p:spPr>
        <p:txBody>
          <a:bodyPr wrap="square">
            <a:spAutoFit/>
          </a:bodyPr>
          <a:lstStyle>
            <a:lvl1pPr marL="0" indent="0">
              <a:buNone/>
              <a:defRPr sz="1800"/>
            </a:lvl1pPr>
          </a:lstStyle>
          <a:p>
            <a:pPr lvl="0"/>
            <a:r>
              <a:rPr lang="en-US"/>
              <a:t>Subtitle</a:t>
            </a:r>
          </a:p>
        </p:txBody>
      </p:sp>
      <p:sp>
        <p:nvSpPr>
          <p:cNvPr id="5" name="Inhaltsplatzhalter 4">
            <a:extLst>
              <a:ext uri="{FF2B5EF4-FFF2-40B4-BE49-F238E27FC236}">
                <a16:creationId xmlns:a16="http://schemas.microsoft.com/office/drawing/2014/main" id="{6F21486E-9A25-93A1-CBA6-27F7E8AF8E64}"/>
              </a:ext>
            </a:extLst>
          </p:cNvPr>
          <p:cNvSpPr>
            <a:spLocks noGrp="1"/>
          </p:cNvSpPr>
          <p:nvPr>
            <p:ph sz="quarter" idx="15" hasCustomPrompt="1"/>
          </p:nvPr>
        </p:nvSpPr>
        <p:spPr bwMode="gray">
          <a:xfrm>
            <a:off x="6456363" y="1449388"/>
            <a:ext cx="5219700" cy="4608512"/>
          </a:xfrm>
        </p:spPr>
        <p:txBody>
          <a:bodyPr/>
          <a:lstStyle/>
          <a:p>
            <a:pPr lvl="0"/>
            <a:r>
              <a:rPr lang="en-US" noProof="0"/>
              <a:t>First level</a:t>
            </a:r>
          </a:p>
          <a:p>
            <a:pPr lvl="1"/>
            <a:r>
              <a:rPr lang="en-US" noProof="0"/>
              <a:t>Second level</a:t>
            </a:r>
          </a:p>
          <a:p>
            <a:pPr lvl="2"/>
            <a:r>
              <a:rPr lang="en-US" noProof="0"/>
              <a:t>Third level</a:t>
            </a:r>
          </a:p>
          <a:p>
            <a:pPr lvl="3"/>
            <a:r>
              <a:rPr lang="en-US" noProof="0"/>
              <a:t>Fourth level</a:t>
            </a:r>
          </a:p>
          <a:p>
            <a:pPr lvl="4"/>
            <a:r>
              <a:rPr lang="en-US" noProof="0"/>
              <a:t>Fifth level</a:t>
            </a:r>
          </a:p>
          <a:p>
            <a:pPr lvl="5"/>
            <a:r>
              <a:rPr lang="en-US" noProof="0"/>
              <a:t>Sixth level</a:t>
            </a:r>
          </a:p>
          <a:p>
            <a:pPr lvl="6"/>
            <a:r>
              <a:rPr lang="en-US" noProof="0"/>
              <a:t>Seventh level</a:t>
            </a:r>
          </a:p>
          <a:p>
            <a:pPr lvl="7"/>
            <a:r>
              <a:rPr lang="en-US" noProof="0"/>
              <a:t>Eighth level</a:t>
            </a:r>
          </a:p>
          <a:p>
            <a:pPr lvl="8"/>
            <a:r>
              <a:rPr lang="en-US" noProof="0"/>
              <a:t>Nineth level</a:t>
            </a:r>
          </a:p>
        </p:txBody>
      </p:sp>
      <p:sp>
        <p:nvSpPr>
          <p:cNvPr id="2" name="Title 1">
            <a:extLst>
              <a:ext uri="{FF2B5EF4-FFF2-40B4-BE49-F238E27FC236}">
                <a16:creationId xmlns:a16="http://schemas.microsoft.com/office/drawing/2014/main" id="{71A2DFB5-48F4-943E-B44B-45DD1B5A924C}"/>
              </a:ext>
            </a:extLst>
          </p:cNvPr>
          <p:cNvSpPr>
            <a:spLocks noGrp="1"/>
          </p:cNvSpPr>
          <p:nvPr>
            <p:ph type="title" hasCustomPrompt="1"/>
          </p:nvPr>
        </p:nvSpPr>
        <p:spPr bwMode="gray">
          <a:xfrm>
            <a:off x="6456362" y="476250"/>
            <a:ext cx="5219700" cy="430887"/>
          </a:xfrm>
        </p:spPr>
        <p:txBody>
          <a:bodyPr vert="horz"/>
          <a:lstStyle/>
          <a:p>
            <a:r>
              <a:rPr lang="en-US"/>
              <a:t>Click to edit title</a:t>
            </a:r>
          </a:p>
        </p:txBody>
      </p:sp>
      <p:sp>
        <p:nvSpPr>
          <p:cNvPr id="7" name="Footer Placeholder 6">
            <a:extLst>
              <a:ext uri="{FF2B5EF4-FFF2-40B4-BE49-F238E27FC236}">
                <a16:creationId xmlns:a16="http://schemas.microsoft.com/office/drawing/2014/main" id="{8349C354-53FD-5E75-76EC-6C80A35BC397}"/>
              </a:ext>
            </a:extLst>
          </p:cNvPr>
          <p:cNvSpPr>
            <a:spLocks noGrp="1"/>
          </p:cNvSpPr>
          <p:nvPr>
            <p:ph type="ftr" sz="quarter" idx="16"/>
          </p:nvPr>
        </p:nvSpPr>
        <p:spPr bwMode="gray"/>
        <p:txBody>
          <a:bodyPr/>
          <a:lstStyle/>
          <a:p>
            <a:r>
              <a:rPr lang="de-DE"/>
              <a:t>© Copyright Sensirion, Switzerland</a:t>
            </a:r>
          </a:p>
        </p:txBody>
      </p:sp>
      <p:sp>
        <p:nvSpPr>
          <p:cNvPr id="8" name="Slide Number Placeholder 7">
            <a:extLst>
              <a:ext uri="{FF2B5EF4-FFF2-40B4-BE49-F238E27FC236}">
                <a16:creationId xmlns:a16="http://schemas.microsoft.com/office/drawing/2014/main" id="{94705C1F-6CF3-8FF8-4D42-9153C70BF287}"/>
              </a:ext>
            </a:extLst>
          </p:cNvPr>
          <p:cNvSpPr>
            <a:spLocks noGrp="1"/>
          </p:cNvSpPr>
          <p:nvPr>
            <p:ph type="sldNum" sz="quarter" idx="17"/>
          </p:nvPr>
        </p:nvSpPr>
        <p:spPr bwMode="gray"/>
        <p:txBody>
          <a:bodyPr/>
          <a:lstStyle/>
          <a:p>
            <a:fld id="{B1E691A1-F3A6-4574-B226-B412272B38A6}" type="slidenum">
              <a:rPr lang="de-DE" smtClean="0"/>
              <a:pPr/>
              <a:t>‹#›</a:t>
            </a:fld>
            <a:endParaRPr lang="de-DE"/>
          </a:p>
        </p:txBody>
      </p:sp>
    </p:spTree>
    <p:extLst>
      <p:ext uri="{BB962C8B-B14F-4D97-AF65-F5344CB8AC3E}">
        <p14:creationId xmlns:p14="http://schemas.microsoft.com/office/powerpoint/2010/main" val="2920932642"/>
      </p:ext>
    </p:extLst>
  </p:cSld>
  <p:clrMapOvr>
    <a:masterClrMapping/>
  </p:clrMapOvr>
  <p:extLst>
    <p:ext uri="{DCECCB84-F9BA-43D5-87BE-67443E8EF086}">
      <p15:sldGuideLst xmlns:p15="http://schemas.microsoft.com/office/powerpoint/2012/main">
        <p15:guide id="1" orient="horz" pos="913">
          <p15:clr>
            <a:srgbClr val="F26B43"/>
          </p15:clr>
        </p15:guide>
        <p15:guide id="2" orient="horz" pos="754">
          <p15:clr>
            <a:srgbClr val="F26B43"/>
          </p15:clr>
        </p15:guide>
        <p15:guide id="3" orient="horz" pos="300">
          <p15:clr>
            <a:srgbClr val="F26B43"/>
          </p15:clr>
        </p15:guide>
        <p15:guide id="4" orient="horz" pos="3974">
          <p15:clr>
            <a:srgbClr val="F26B43"/>
          </p15:clr>
        </p15:guide>
        <p15:guide id="5" orient="horz" pos="3816">
          <p15:clr>
            <a:srgbClr val="F26B43"/>
          </p15:clr>
        </p15:guide>
        <p15:guide id="6" pos="3840" userDrawn="1">
          <p15:clr>
            <a:srgbClr val="F26B43"/>
          </p15:clr>
        </p15:guide>
        <p15:guide id="7" pos="4067" userDrawn="1">
          <p15:clr>
            <a:srgbClr val="F26B43"/>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ontent and image right">
    <p:spTree>
      <p:nvGrpSpPr>
        <p:cNvPr id="1" name=""/>
        <p:cNvGrpSpPr/>
        <p:nvPr/>
      </p:nvGrpSpPr>
      <p:grpSpPr>
        <a:xfrm>
          <a:off x="0" y="0"/>
          <a:ext cx="0" cy="0"/>
          <a:chOff x="0" y="0"/>
          <a:chExt cx="0" cy="0"/>
        </a:xfrm>
      </p:grpSpPr>
      <p:sp>
        <p:nvSpPr>
          <p:cNvPr id="3" name="Picture Placeholder 7">
            <a:extLst>
              <a:ext uri="{FF2B5EF4-FFF2-40B4-BE49-F238E27FC236}">
                <a16:creationId xmlns:a16="http://schemas.microsoft.com/office/drawing/2014/main" id="{AE0FE1CD-B1AE-2871-3162-980A2C8857B3}"/>
              </a:ext>
            </a:extLst>
          </p:cNvPr>
          <p:cNvSpPr>
            <a:spLocks noGrp="1"/>
          </p:cNvSpPr>
          <p:nvPr>
            <p:ph type="pic" sz="quarter" idx="11" hasCustomPrompt="1"/>
          </p:nvPr>
        </p:nvSpPr>
        <p:spPr bwMode="gray">
          <a:xfrm>
            <a:off x="6096000" y="0"/>
            <a:ext cx="6096000" cy="6057900"/>
          </a:xfrm>
          <a:pattFill prst="wdUpDiag">
            <a:fgClr>
              <a:schemeClr val="bg1"/>
            </a:fgClr>
            <a:bgClr>
              <a:schemeClr val="bg2"/>
            </a:bgClr>
          </a:pattFill>
        </p:spPr>
        <p:txBody>
          <a:bodyPr anchor="ctr"/>
          <a:lstStyle>
            <a:lvl1pPr marL="0" indent="0" algn="ctr">
              <a:lnSpc>
                <a:spcPct val="100000"/>
              </a:lnSpc>
              <a:buNone/>
              <a:defRPr sz="1000" b="1" i="1">
                <a:solidFill>
                  <a:srgbClr val="BDBDBD"/>
                </a:solidFill>
              </a:defRPr>
            </a:lvl1pPr>
          </a:lstStyle>
          <a:p>
            <a:r>
              <a:rPr lang="en-US" noProof="0"/>
              <a:t> Image placeholder</a:t>
            </a:r>
          </a:p>
        </p:txBody>
      </p:sp>
      <p:graphicFrame>
        <p:nvGraphicFramePr>
          <p:cNvPr id="18" name="Objekt 17" hidden="1">
            <a:extLst>
              <a:ext uri="{FF2B5EF4-FFF2-40B4-BE49-F238E27FC236}">
                <a16:creationId xmlns:a16="http://schemas.microsoft.com/office/drawing/2014/main" id="{F05B8204-9FDB-9C14-7435-D448FCDFE6C8}"/>
              </a:ext>
            </a:extLst>
          </p:cNvPr>
          <p:cNvGraphicFramePr>
            <a:graphicFrameLocks noChangeAspect="1"/>
          </p:cNvGraphicFramePr>
          <p:nvPr userDrawn="1">
            <p:custDataLst>
              <p:tags r:id="rId1"/>
            </p:custDataLst>
            <p:extLst>
              <p:ext uri="{D42A27DB-BD31-4B8C-83A1-F6EECF244321}">
                <p14:modId xmlns:p14="http://schemas.microsoft.com/office/powerpoint/2010/main" val="31065985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80" imgH="481" progId="TCLayout.ActiveDocument.1">
                  <p:embed/>
                </p:oleObj>
              </mc:Choice>
              <mc:Fallback>
                <p:oleObj name="think-cell Folie" r:id="rId3" imgW="480" imgH="481" progId="TCLayout.ActiveDocument.1">
                  <p:embed/>
                  <p:pic>
                    <p:nvPicPr>
                      <p:cNvPr id="18" name="Objekt 17" hidden="1">
                        <a:extLst>
                          <a:ext uri="{FF2B5EF4-FFF2-40B4-BE49-F238E27FC236}">
                            <a16:creationId xmlns:a16="http://schemas.microsoft.com/office/drawing/2014/main" id="{F05B8204-9FDB-9C14-7435-D448FCDFE6C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Footer Placeholder 6">
            <a:extLst>
              <a:ext uri="{FF2B5EF4-FFF2-40B4-BE49-F238E27FC236}">
                <a16:creationId xmlns:a16="http://schemas.microsoft.com/office/drawing/2014/main" id="{8349C354-53FD-5E75-76EC-6C80A35BC397}"/>
              </a:ext>
            </a:extLst>
          </p:cNvPr>
          <p:cNvSpPr>
            <a:spLocks noGrp="1"/>
          </p:cNvSpPr>
          <p:nvPr>
            <p:ph type="ftr" sz="quarter" idx="16"/>
          </p:nvPr>
        </p:nvSpPr>
        <p:spPr bwMode="gray"/>
        <p:txBody>
          <a:bodyPr/>
          <a:lstStyle/>
          <a:p>
            <a:r>
              <a:rPr lang="de-DE"/>
              <a:t>© Copyright Sensirion, Switzerland</a:t>
            </a:r>
          </a:p>
        </p:txBody>
      </p:sp>
      <p:sp>
        <p:nvSpPr>
          <p:cNvPr id="8" name="Slide Number Placeholder 7">
            <a:extLst>
              <a:ext uri="{FF2B5EF4-FFF2-40B4-BE49-F238E27FC236}">
                <a16:creationId xmlns:a16="http://schemas.microsoft.com/office/drawing/2014/main" id="{94705C1F-6CF3-8FF8-4D42-9153C70BF287}"/>
              </a:ext>
            </a:extLst>
          </p:cNvPr>
          <p:cNvSpPr>
            <a:spLocks noGrp="1"/>
          </p:cNvSpPr>
          <p:nvPr>
            <p:ph type="sldNum" sz="quarter" idx="17"/>
          </p:nvPr>
        </p:nvSpPr>
        <p:spPr bwMode="gray"/>
        <p:txBody>
          <a:bodyPr/>
          <a:lstStyle/>
          <a:p>
            <a:fld id="{B1E691A1-F3A6-4574-B226-B412272B38A6}" type="slidenum">
              <a:rPr lang="de-DE" smtClean="0"/>
              <a:pPr/>
              <a:t>‹#›</a:t>
            </a:fld>
            <a:endParaRPr lang="de-DE"/>
          </a:p>
        </p:txBody>
      </p:sp>
      <p:sp>
        <p:nvSpPr>
          <p:cNvPr id="6" name="Textplatzhalter 15">
            <a:extLst>
              <a:ext uri="{FF2B5EF4-FFF2-40B4-BE49-F238E27FC236}">
                <a16:creationId xmlns:a16="http://schemas.microsoft.com/office/drawing/2014/main" id="{A4B53DB6-80C3-D01F-BDE4-AFB56A6B75EA}"/>
              </a:ext>
            </a:extLst>
          </p:cNvPr>
          <p:cNvSpPr>
            <a:spLocks noGrp="1"/>
          </p:cNvSpPr>
          <p:nvPr>
            <p:ph type="body" sz="quarter" idx="13" hasCustomPrompt="1"/>
          </p:nvPr>
        </p:nvSpPr>
        <p:spPr bwMode="gray">
          <a:xfrm>
            <a:off x="515938" y="921522"/>
            <a:ext cx="5219701" cy="276999"/>
          </a:xfrm>
        </p:spPr>
        <p:txBody>
          <a:bodyPr wrap="square">
            <a:spAutoFit/>
          </a:bodyPr>
          <a:lstStyle>
            <a:lvl1pPr marL="0" indent="0">
              <a:buNone/>
              <a:defRPr sz="1800"/>
            </a:lvl1pPr>
          </a:lstStyle>
          <a:p>
            <a:pPr lvl="0"/>
            <a:r>
              <a:rPr lang="en-US"/>
              <a:t>Subtitle</a:t>
            </a:r>
          </a:p>
        </p:txBody>
      </p:sp>
      <p:sp>
        <p:nvSpPr>
          <p:cNvPr id="9" name="Inhaltsplatzhalter 4">
            <a:extLst>
              <a:ext uri="{FF2B5EF4-FFF2-40B4-BE49-F238E27FC236}">
                <a16:creationId xmlns:a16="http://schemas.microsoft.com/office/drawing/2014/main" id="{B948D79B-E0E8-80F3-AB99-7EF9CDDA9C62}"/>
              </a:ext>
            </a:extLst>
          </p:cNvPr>
          <p:cNvSpPr>
            <a:spLocks noGrp="1"/>
          </p:cNvSpPr>
          <p:nvPr>
            <p:ph sz="quarter" idx="15" hasCustomPrompt="1"/>
          </p:nvPr>
        </p:nvSpPr>
        <p:spPr bwMode="gray">
          <a:xfrm>
            <a:off x="515937" y="1449388"/>
            <a:ext cx="5219701" cy="4608512"/>
          </a:xfrm>
        </p:spPr>
        <p:txBody>
          <a:bodyPr/>
          <a:lstStyle/>
          <a:p>
            <a:pPr lvl="0"/>
            <a:r>
              <a:rPr lang="en-US" noProof="0"/>
              <a:t>First level</a:t>
            </a:r>
          </a:p>
          <a:p>
            <a:pPr lvl="1"/>
            <a:r>
              <a:rPr lang="en-US" noProof="0"/>
              <a:t>Second level</a:t>
            </a:r>
          </a:p>
          <a:p>
            <a:pPr lvl="2"/>
            <a:r>
              <a:rPr lang="en-US" noProof="0"/>
              <a:t>Third level</a:t>
            </a:r>
          </a:p>
          <a:p>
            <a:pPr lvl="3"/>
            <a:r>
              <a:rPr lang="en-US" noProof="0"/>
              <a:t>Fourth level</a:t>
            </a:r>
          </a:p>
          <a:p>
            <a:pPr lvl="4"/>
            <a:r>
              <a:rPr lang="en-US" noProof="0"/>
              <a:t>Fifth level</a:t>
            </a:r>
          </a:p>
          <a:p>
            <a:pPr lvl="5"/>
            <a:r>
              <a:rPr lang="en-US" noProof="0"/>
              <a:t>Sixth level</a:t>
            </a:r>
          </a:p>
          <a:p>
            <a:pPr lvl="6"/>
            <a:r>
              <a:rPr lang="en-US" noProof="0"/>
              <a:t>Seventh level</a:t>
            </a:r>
          </a:p>
          <a:p>
            <a:pPr lvl="7"/>
            <a:r>
              <a:rPr lang="en-US" noProof="0"/>
              <a:t>Eighth level</a:t>
            </a:r>
          </a:p>
          <a:p>
            <a:pPr lvl="8"/>
            <a:r>
              <a:rPr lang="en-US" noProof="0"/>
              <a:t>Nineth level</a:t>
            </a:r>
          </a:p>
        </p:txBody>
      </p:sp>
      <p:sp>
        <p:nvSpPr>
          <p:cNvPr id="10" name="Title 1">
            <a:extLst>
              <a:ext uri="{FF2B5EF4-FFF2-40B4-BE49-F238E27FC236}">
                <a16:creationId xmlns:a16="http://schemas.microsoft.com/office/drawing/2014/main" id="{1AA63BB0-73AC-7587-28FB-0A96DF658943}"/>
              </a:ext>
            </a:extLst>
          </p:cNvPr>
          <p:cNvSpPr>
            <a:spLocks noGrp="1"/>
          </p:cNvSpPr>
          <p:nvPr>
            <p:ph type="title" hasCustomPrompt="1"/>
          </p:nvPr>
        </p:nvSpPr>
        <p:spPr bwMode="gray">
          <a:xfrm>
            <a:off x="515937" y="476250"/>
            <a:ext cx="5219701" cy="430887"/>
          </a:xfrm>
        </p:spPr>
        <p:txBody>
          <a:bodyPr vert="horz"/>
          <a:lstStyle/>
          <a:p>
            <a:r>
              <a:rPr lang="en-US"/>
              <a:t>Click to edit title</a:t>
            </a:r>
          </a:p>
        </p:txBody>
      </p:sp>
      <p:sp>
        <p:nvSpPr>
          <p:cNvPr id="2" name="Textfeld 1">
            <a:extLst>
              <a:ext uri="{FF2B5EF4-FFF2-40B4-BE49-F238E27FC236}">
                <a16:creationId xmlns:a16="http://schemas.microsoft.com/office/drawing/2014/main" id="{56437736-CFA1-CDD9-8686-D532BC412AAA}"/>
              </a:ext>
            </a:extLst>
          </p:cNvPr>
          <p:cNvSpPr txBox="1">
            <a:spLocks/>
          </p:cNvSpPr>
          <p:nvPr userDrawn="1"/>
        </p:nvSpPr>
        <p:spPr>
          <a:xfrm>
            <a:off x="5691185" y="6310083"/>
            <a:ext cx="809630" cy="153888"/>
          </a:xfrm>
          <a:prstGeom prst="rect">
            <a:avLst/>
          </a:prstGeom>
          <a:noFill/>
        </p:spPr>
        <p:txBody>
          <a:bodyPr wrap="square" lIns="0" tIns="0" rIns="0" bIns="0" rtlCol="0">
            <a:spAutoFit/>
          </a:bodyPr>
          <a:lstStyle/>
          <a:p>
            <a:pPr marL="0" lvl="0" indent="0" algn="ctr" defTabSz="914400" rtl="0" eaLnBrk="1" latinLnBrk="0" hangingPunct="1">
              <a:lnSpc>
                <a:spcPct val="100000"/>
              </a:lnSpc>
              <a:spcBef>
                <a:spcPts val="0"/>
              </a:spcBef>
              <a:spcAft>
                <a:spcPts val="600"/>
              </a:spcAft>
              <a:buClr>
                <a:schemeClr val="accent1"/>
              </a:buClr>
              <a:buFont typeface="Arial" panose="020B0604020202020204" pitchFamily="34" charset="0"/>
              <a:buNone/>
            </a:pPr>
            <a:r>
              <a:rPr lang="en-US" sz="1000" kern="1200">
                <a:solidFill>
                  <a:schemeClr val="accent2"/>
                </a:solidFill>
                <a:latin typeface="+mn-lt"/>
                <a:ea typeface="+mn-ea"/>
                <a:cs typeface="+mn-cs"/>
              </a:rPr>
              <a:t>Confidential</a:t>
            </a:r>
          </a:p>
        </p:txBody>
      </p:sp>
    </p:spTree>
    <p:extLst>
      <p:ext uri="{BB962C8B-B14F-4D97-AF65-F5344CB8AC3E}">
        <p14:creationId xmlns:p14="http://schemas.microsoft.com/office/powerpoint/2010/main" val="1249023530"/>
      </p:ext>
    </p:extLst>
  </p:cSld>
  <p:clrMapOvr>
    <a:masterClrMapping/>
  </p:clrMapOvr>
  <p:extLst>
    <p:ext uri="{DCECCB84-F9BA-43D5-87BE-67443E8EF086}">
      <p15:sldGuideLst xmlns:p15="http://schemas.microsoft.com/office/powerpoint/2012/main">
        <p15:guide id="1" orient="horz" pos="913">
          <p15:clr>
            <a:srgbClr val="F26B43"/>
          </p15:clr>
        </p15:guide>
        <p15:guide id="2" orient="horz" pos="754">
          <p15:clr>
            <a:srgbClr val="F26B43"/>
          </p15:clr>
        </p15:guide>
        <p15:guide id="3" orient="horz" pos="300">
          <p15:clr>
            <a:srgbClr val="F26B43"/>
          </p15:clr>
        </p15:guide>
        <p15:guide id="4" orient="horz" pos="3974">
          <p15:clr>
            <a:srgbClr val="F26B43"/>
          </p15:clr>
        </p15:guide>
        <p15:guide id="5" orient="horz" pos="3816">
          <p15:clr>
            <a:srgbClr val="F26B43"/>
          </p15:clr>
        </p15:guide>
        <p15:guide id="6" pos="3840" userDrawn="1">
          <p15:clr>
            <a:srgbClr val="F26B43"/>
          </p15:clr>
        </p15:guide>
        <p15:guide id="7" pos="3613" userDrawn="1">
          <p15:clr>
            <a:srgbClr val="F26B43"/>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ext with collage and information">
    <p:spTree>
      <p:nvGrpSpPr>
        <p:cNvPr id="1" name=""/>
        <p:cNvGrpSpPr/>
        <p:nvPr/>
      </p:nvGrpSpPr>
      <p:grpSpPr>
        <a:xfrm>
          <a:off x="0" y="0"/>
          <a:ext cx="0" cy="0"/>
          <a:chOff x="0" y="0"/>
          <a:chExt cx="0" cy="0"/>
        </a:xfrm>
      </p:grpSpPr>
      <p:sp>
        <p:nvSpPr>
          <p:cNvPr id="3" name="Picture Placeholder 7">
            <a:extLst>
              <a:ext uri="{FF2B5EF4-FFF2-40B4-BE49-F238E27FC236}">
                <a16:creationId xmlns:a16="http://schemas.microsoft.com/office/drawing/2014/main" id="{AE0FE1CD-B1AE-2871-3162-980A2C8857B3}"/>
              </a:ext>
            </a:extLst>
          </p:cNvPr>
          <p:cNvSpPr>
            <a:spLocks noGrp="1"/>
          </p:cNvSpPr>
          <p:nvPr>
            <p:ph type="pic" sz="quarter" idx="11" hasCustomPrompt="1"/>
          </p:nvPr>
        </p:nvSpPr>
        <p:spPr bwMode="gray">
          <a:xfrm>
            <a:off x="-1" y="2903025"/>
            <a:ext cx="4053600" cy="3956400"/>
          </a:xfrm>
          <a:pattFill prst="wdUpDiag">
            <a:fgClr>
              <a:schemeClr val="bg1"/>
            </a:fgClr>
            <a:bgClr>
              <a:schemeClr val="bg2"/>
            </a:bgClr>
          </a:pattFill>
        </p:spPr>
        <p:txBody>
          <a:bodyPr anchor="ctr"/>
          <a:lstStyle>
            <a:lvl1pPr marL="0" indent="0" algn="ctr">
              <a:lnSpc>
                <a:spcPct val="100000"/>
              </a:lnSpc>
              <a:buNone/>
              <a:defRPr sz="1000" b="1" i="1">
                <a:solidFill>
                  <a:srgbClr val="BDBDBD"/>
                </a:solidFill>
              </a:defRPr>
            </a:lvl1pPr>
          </a:lstStyle>
          <a:p>
            <a:r>
              <a:rPr lang="en-US" noProof="0"/>
              <a:t> Image placeholder</a:t>
            </a:r>
          </a:p>
        </p:txBody>
      </p:sp>
      <p:graphicFrame>
        <p:nvGraphicFramePr>
          <p:cNvPr id="18" name="Objekt 17" hidden="1">
            <a:extLst>
              <a:ext uri="{FF2B5EF4-FFF2-40B4-BE49-F238E27FC236}">
                <a16:creationId xmlns:a16="http://schemas.microsoft.com/office/drawing/2014/main" id="{F05B8204-9FDB-9C14-7435-D448FCDFE6C8}"/>
              </a:ext>
            </a:extLst>
          </p:cNvPr>
          <p:cNvGraphicFramePr>
            <a:graphicFrameLocks noChangeAspect="1"/>
          </p:cNvGraphicFramePr>
          <p:nvPr userDrawn="1">
            <p:custDataLst>
              <p:tags r:id="rId1"/>
            </p:custDataLst>
            <p:extLst>
              <p:ext uri="{D42A27DB-BD31-4B8C-83A1-F6EECF244321}">
                <p14:modId xmlns:p14="http://schemas.microsoft.com/office/powerpoint/2010/main" val="18488273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80" imgH="481" progId="TCLayout.ActiveDocument.1">
                  <p:embed/>
                </p:oleObj>
              </mc:Choice>
              <mc:Fallback>
                <p:oleObj name="think-cell Folie" r:id="rId3" imgW="480" imgH="481" progId="TCLayout.ActiveDocument.1">
                  <p:embed/>
                  <p:pic>
                    <p:nvPicPr>
                      <p:cNvPr id="18" name="Objekt 17" hidden="1">
                        <a:extLst>
                          <a:ext uri="{FF2B5EF4-FFF2-40B4-BE49-F238E27FC236}">
                            <a16:creationId xmlns:a16="http://schemas.microsoft.com/office/drawing/2014/main" id="{F05B8204-9FDB-9C14-7435-D448FCDFE6C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Footer Placeholder 6">
            <a:extLst>
              <a:ext uri="{FF2B5EF4-FFF2-40B4-BE49-F238E27FC236}">
                <a16:creationId xmlns:a16="http://schemas.microsoft.com/office/drawing/2014/main" id="{8349C354-53FD-5E75-76EC-6C80A35BC397}"/>
              </a:ext>
            </a:extLst>
          </p:cNvPr>
          <p:cNvSpPr>
            <a:spLocks noGrp="1"/>
          </p:cNvSpPr>
          <p:nvPr>
            <p:ph type="ftr" sz="quarter" idx="16"/>
          </p:nvPr>
        </p:nvSpPr>
        <p:spPr bwMode="gray"/>
        <p:txBody>
          <a:bodyPr/>
          <a:lstStyle/>
          <a:p>
            <a:r>
              <a:rPr lang="de-DE"/>
              <a:t>© Copyright Sensirion, Switzerland</a:t>
            </a:r>
          </a:p>
        </p:txBody>
      </p:sp>
      <p:sp>
        <p:nvSpPr>
          <p:cNvPr id="8" name="Slide Number Placeholder 7">
            <a:extLst>
              <a:ext uri="{FF2B5EF4-FFF2-40B4-BE49-F238E27FC236}">
                <a16:creationId xmlns:a16="http://schemas.microsoft.com/office/drawing/2014/main" id="{94705C1F-6CF3-8FF8-4D42-9153C70BF287}"/>
              </a:ext>
            </a:extLst>
          </p:cNvPr>
          <p:cNvSpPr>
            <a:spLocks noGrp="1"/>
          </p:cNvSpPr>
          <p:nvPr>
            <p:ph type="sldNum" sz="quarter" idx="17"/>
          </p:nvPr>
        </p:nvSpPr>
        <p:spPr bwMode="gray"/>
        <p:txBody>
          <a:bodyPr/>
          <a:lstStyle/>
          <a:p>
            <a:fld id="{B1E691A1-F3A6-4574-B226-B412272B38A6}" type="slidenum">
              <a:rPr lang="de-DE" smtClean="0"/>
              <a:pPr/>
              <a:t>‹#›</a:t>
            </a:fld>
            <a:endParaRPr lang="de-DE"/>
          </a:p>
        </p:txBody>
      </p:sp>
      <p:sp>
        <p:nvSpPr>
          <p:cNvPr id="6" name="Textplatzhalter 15">
            <a:extLst>
              <a:ext uri="{FF2B5EF4-FFF2-40B4-BE49-F238E27FC236}">
                <a16:creationId xmlns:a16="http://schemas.microsoft.com/office/drawing/2014/main" id="{A4B53DB6-80C3-D01F-BDE4-AFB56A6B75EA}"/>
              </a:ext>
            </a:extLst>
          </p:cNvPr>
          <p:cNvSpPr>
            <a:spLocks noGrp="1"/>
          </p:cNvSpPr>
          <p:nvPr>
            <p:ph type="body" sz="quarter" idx="13" hasCustomPrompt="1"/>
          </p:nvPr>
        </p:nvSpPr>
        <p:spPr bwMode="gray">
          <a:xfrm>
            <a:off x="6456364" y="921522"/>
            <a:ext cx="5219701" cy="276999"/>
          </a:xfrm>
        </p:spPr>
        <p:txBody>
          <a:bodyPr wrap="square">
            <a:spAutoFit/>
          </a:bodyPr>
          <a:lstStyle>
            <a:lvl1pPr marL="0" indent="0">
              <a:buNone/>
              <a:defRPr sz="1800"/>
            </a:lvl1pPr>
          </a:lstStyle>
          <a:p>
            <a:pPr lvl="0"/>
            <a:r>
              <a:rPr lang="en-US"/>
              <a:t>Subtitle</a:t>
            </a:r>
          </a:p>
        </p:txBody>
      </p:sp>
      <p:sp>
        <p:nvSpPr>
          <p:cNvPr id="9" name="Inhaltsplatzhalter 4">
            <a:extLst>
              <a:ext uri="{FF2B5EF4-FFF2-40B4-BE49-F238E27FC236}">
                <a16:creationId xmlns:a16="http://schemas.microsoft.com/office/drawing/2014/main" id="{B948D79B-E0E8-80F3-AB99-7EF9CDDA9C62}"/>
              </a:ext>
            </a:extLst>
          </p:cNvPr>
          <p:cNvSpPr>
            <a:spLocks noGrp="1"/>
          </p:cNvSpPr>
          <p:nvPr>
            <p:ph sz="quarter" idx="15" hasCustomPrompt="1"/>
          </p:nvPr>
        </p:nvSpPr>
        <p:spPr bwMode="gray">
          <a:xfrm>
            <a:off x="6456363" y="1449388"/>
            <a:ext cx="5219701" cy="4608512"/>
          </a:xfrm>
        </p:spPr>
        <p:txBody>
          <a:bodyPr/>
          <a:lstStyle/>
          <a:p>
            <a:pPr lvl="0"/>
            <a:r>
              <a:rPr lang="en-US" noProof="0"/>
              <a:t>First level</a:t>
            </a:r>
          </a:p>
          <a:p>
            <a:pPr lvl="1"/>
            <a:r>
              <a:rPr lang="en-US" noProof="0"/>
              <a:t>Second level</a:t>
            </a:r>
          </a:p>
          <a:p>
            <a:pPr lvl="2"/>
            <a:r>
              <a:rPr lang="en-US" noProof="0"/>
              <a:t>Third level</a:t>
            </a:r>
          </a:p>
          <a:p>
            <a:pPr lvl="3"/>
            <a:r>
              <a:rPr lang="en-US" noProof="0"/>
              <a:t>Fourth level</a:t>
            </a:r>
          </a:p>
          <a:p>
            <a:pPr lvl="4"/>
            <a:r>
              <a:rPr lang="en-US" noProof="0"/>
              <a:t>Fifth level</a:t>
            </a:r>
          </a:p>
          <a:p>
            <a:pPr lvl="5"/>
            <a:r>
              <a:rPr lang="en-US" noProof="0"/>
              <a:t>Sixth level</a:t>
            </a:r>
          </a:p>
          <a:p>
            <a:pPr lvl="6"/>
            <a:r>
              <a:rPr lang="en-US" noProof="0"/>
              <a:t>Seventh level</a:t>
            </a:r>
          </a:p>
          <a:p>
            <a:pPr lvl="7"/>
            <a:r>
              <a:rPr lang="en-US" noProof="0"/>
              <a:t>Eighth level</a:t>
            </a:r>
          </a:p>
          <a:p>
            <a:pPr lvl="8"/>
            <a:r>
              <a:rPr lang="en-US" noProof="0"/>
              <a:t>Nineth level</a:t>
            </a:r>
          </a:p>
        </p:txBody>
      </p:sp>
      <p:sp>
        <p:nvSpPr>
          <p:cNvPr id="10" name="Title 1">
            <a:extLst>
              <a:ext uri="{FF2B5EF4-FFF2-40B4-BE49-F238E27FC236}">
                <a16:creationId xmlns:a16="http://schemas.microsoft.com/office/drawing/2014/main" id="{1AA63BB0-73AC-7587-28FB-0A96DF658943}"/>
              </a:ext>
            </a:extLst>
          </p:cNvPr>
          <p:cNvSpPr>
            <a:spLocks noGrp="1"/>
          </p:cNvSpPr>
          <p:nvPr>
            <p:ph type="title" hasCustomPrompt="1"/>
          </p:nvPr>
        </p:nvSpPr>
        <p:spPr bwMode="gray">
          <a:xfrm>
            <a:off x="6456363" y="476250"/>
            <a:ext cx="5219701" cy="430887"/>
          </a:xfrm>
        </p:spPr>
        <p:txBody>
          <a:bodyPr vert="horz"/>
          <a:lstStyle/>
          <a:p>
            <a:r>
              <a:rPr lang="en-US"/>
              <a:t>Click to edit title</a:t>
            </a:r>
          </a:p>
        </p:txBody>
      </p:sp>
      <p:sp>
        <p:nvSpPr>
          <p:cNvPr id="2" name="Picture Placeholder 7">
            <a:extLst>
              <a:ext uri="{FF2B5EF4-FFF2-40B4-BE49-F238E27FC236}">
                <a16:creationId xmlns:a16="http://schemas.microsoft.com/office/drawing/2014/main" id="{070EB6FF-BDB8-BC57-43D8-64D1EFB9A77C}"/>
              </a:ext>
            </a:extLst>
          </p:cNvPr>
          <p:cNvSpPr>
            <a:spLocks noGrp="1"/>
          </p:cNvSpPr>
          <p:nvPr>
            <p:ph type="pic" sz="quarter" idx="18" hasCustomPrompt="1"/>
          </p:nvPr>
        </p:nvSpPr>
        <p:spPr bwMode="gray">
          <a:xfrm>
            <a:off x="2044799" y="0"/>
            <a:ext cx="2008800" cy="2865600"/>
          </a:xfrm>
          <a:pattFill prst="wdUpDiag">
            <a:fgClr>
              <a:schemeClr val="bg1"/>
            </a:fgClr>
            <a:bgClr>
              <a:schemeClr val="bg2"/>
            </a:bgClr>
          </a:pattFill>
        </p:spPr>
        <p:txBody>
          <a:bodyPr anchor="ctr"/>
          <a:lstStyle>
            <a:lvl1pPr marL="0" indent="0" algn="ctr">
              <a:lnSpc>
                <a:spcPct val="100000"/>
              </a:lnSpc>
              <a:buNone/>
              <a:defRPr sz="1000" b="1" i="1">
                <a:solidFill>
                  <a:srgbClr val="BDBDBD"/>
                </a:solidFill>
              </a:defRPr>
            </a:lvl1pPr>
          </a:lstStyle>
          <a:p>
            <a:r>
              <a:rPr lang="en-US" noProof="0"/>
              <a:t> Image placeholder</a:t>
            </a:r>
          </a:p>
        </p:txBody>
      </p:sp>
      <p:sp>
        <p:nvSpPr>
          <p:cNvPr id="5" name="Picture Placeholder 7">
            <a:extLst>
              <a:ext uri="{FF2B5EF4-FFF2-40B4-BE49-F238E27FC236}">
                <a16:creationId xmlns:a16="http://schemas.microsoft.com/office/drawing/2014/main" id="{34A790C3-EB46-C493-10F9-1874E4BDD5AB}"/>
              </a:ext>
            </a:extLst>
          </p:cNvPr>
          <p:cNvSpPr>
            <a:spLocks noGrp="1"/>
          </p:cNvSpPr>
          <p:nvPr>
            <p:ph type="pic" sz="quarter" idx="19" hasCustomPrompt="1"/>
          </p:nvPr>
        </p:nvSpPr>
        <p:spPr bwMode="gray">
          <a:xfrm>
            <a:off x="4087999" y="0"/>
            <a:ext cx="2008800" cy="1764000"/>
          </a:xfrm>
          <a:pattFill prst="wdUpDiag">
            <a:fgClr>
              <a:schemeClr val="bg1"/>
            </a:fgClr>
            <a:bgClr>
              <a:schemeClr val="bg2"/>
            </a:bgClr>
          </a:pattFill>
        </p:spPr>
        <p:txBody>
          <a:bodyPr anchor="ctr"/>
          <a:lstStyle>
            <a:lvl1pPr marL="0" indent="0" algn="ctr">
              <a:lnSpc>
                <a:spcPct val="100000"/>
              </a:lnSpc>
              <a:buNone/>
              <a:defRPr sz="1000" b="1" i="1">
                <a:solidFill>
                  <a:srgbClr val="BDBDBD"/>
                </a:solidFill>
              </a:defRPr>
            </a:lvl1pPr>
          </a:lstStyle>
          <a:p>
            <a:r>
              <a:rPr lang="en-US" noProof="0"/>
              <a:t>4,9 c</a:t>
            </a:r>
          </a:p>
        </p:txBody>
      </p:sp>
      <p:sp>
        <p:nvSpPr>
          <p:cNvPr id="11" name="Picture Placeholder 7">
            <a:extLst>
              <a:ext uri="{FF2B5EF4-FFF2-40B4-BE49-F238E27FC236}">
                <a16:creationId xmlns:a16="http://schemas.microsoft.com/office/drawing/2014/main" id="{5604904C-2CE1-5025-AED5-7AD531C88649}"/>
              </a:ext>
            </a:extLst>
          </p:cNvPr>
          <p:cNvSpPr>
            <a:spLocks noGrp="1"/>
          </p:cNvSpPr>
          <p:nvPr>
            <p:ph type="pic" sz="quarter" idx="20" hasCustomPrompt="1"/>
          </p:nvPr>
        </p:nvSpPr>
        <p:spPr bwMode="gray">
          <a:xfrm>
            <a:off x="4087999" y="1798125"/>
            <a:ext cx="2008800" cy="2977200"/>
          </a:xfrm>
          <a:pattFill prst="wdUpDiag">
            <a:fgClr>
              <a:schemeClr val="bg1"/>
            </a:fgClr>
            <a:bgClr>
              <a:schemeClr val="bg2"/>
            </a:bgClr>
          </a:pattFill>
        </p:spPr>
        <p:txBody>
          <a:bodyPr anchor="ctr"/>
          <a:lstStyle>
            <a:lvl1pPr marL="0" indent="0" algn="ctr">
              <a:lnSpc>
                <a:spcPct val="100000"/>
              </a:lnSpc>
              <a:buNone/>
              <a:defRPr sz="1000" b="1" i="1">
                <a:solidFill>
                  <a:srgbClr val="BDBDBD"/>
                </a:solidFill>
              </a:defRPr>
            </a:lvl1pPr>
          </a:lstStyle>
          <a:p>
            <a:r>
              <a:rPr lang="en-US" noProof="0"/>
              <a:t> Image placeholder</a:t>
            </a:r>
          </a:p>
        </p:txBody>
      </p:sp>
      <p:sp>
        <p:nvSpPr>
          <p:cNvPr id="12" name="Text Placeholder 6">
            <a:extLst>
              <a:ext uri="{FF2B5EF4-FFF2-40B4-BE49-F238E27FC236}">
                <a16:creationId xmlns:a16="http://schemas.microsoft.com/office/drawing/2014/main" id="{E12DF83D-A7E2-50CC-12C7-794751D711C6}"/>
              </a:ext>
            </a:extLst>
          </p:cNvPr>
          <p:cNvSpPr>
            <a:spLocks noGrp="1"/>
          </p:cNvSpPr>
          <p:nvPr>
            <p:ph type="body" sz="quarter" idx="12" hasCustomPrompt="1"/>
          </p:nvPr>
        </p:nvSpPr>
        <p:spPr bwMode="gray">
          <a:xfrm>
            <a:off x="-1" y="0"/>
            <a:ext cx="2008800" cy="2865600"/>
          </a:xfrm>
          <a:solidFill>
            <a:schemeClr val="bg2"/>
          </a:solidFill>
        </p:spPr>
        <p:txBody>
          <a:bodyPr lIns="216000" tIns="144000" rIns="216000" bIns="144000" anchor="ctr"/>
          <a:lstStyle>
            <a:lvl1pPr marL="0" indent="0" algn="ctr">
              <a:spcAft>
                <a:spcPts val="0"/>
              </a:spcAft>
              <a:buNone/>
              <a:defRPr b="0"/>
            </a:lvl1pPr>
          </a:lstStyle>
          <a:p>
            <a:pPr lvl="0"/>
            <a:r>
              <a:rPr lang="en-US"/>
              <a:t>Text</a:t>
            </a:r>
          </a:p>
        </p:txBody>
      </p:sp>
      <p:sp>
        <p:nvSpPr>
          <p:cNvPr id="13" name="Text Placeholder 6">
            <a:extLst>
              <a:ext uri="{FF2B5EF4-FFF2-40B4-BE49-F238E27FC236}">
                <a16:creationId xmlns:a16="http://schemas.microsoft.com/office/drawing/2014/main" id="{1B4CE3C8-260E-4092-DCF2-14AA83498B85}"/>
              </a:ext>
            </a:extLst>
          </p:cNvPr>
          <p:cNvSpPr>
            <a:spLocks noGrp="1"/>
          </p:cNvSpPr>
          <p:nvPr>
            <p:ph type="body" sz="quarter" idx="21" hasCustomPrompt="1"/>
          </p:nvPr>
        </p:nvSpPr>
        <p:spPr bwMode="gray">
          <a:xfrm>
            <a:off x="4087999" y="4811201"/>
            <a:ext cx="2008800" cy="2048400"/>
          </a:xfrm>
          <a:solidFill>
            <a:schemeClr val="accent1"/>
          </a:solidFill>
        </p:spPr>
        <p:txBody>
          <a:bodyPr lIns="216000" tIns="144000" rIns="216000" bIns="144000" anchor="ctr"/>
          <a:lstStyle>
            <a:lvl1pPr marL="0" indent="0" algn="ctr">
              <a:spcAft>
                <a:spcPts val="0"/>
              </a:spcAft>
              <a:buNone/>
              <a:defRPr sz="2800" b="1">
                <a:solidFill>
                  <a:schemeClr val="bg1"/>
                </a:solidFill>
              </a:defRPr>
            </a:lvl1pPr>
          </a:lstStyle>
          <a:p>
            <a:pPr lvl="0"/>
            <a:r>
              <a:rPr lang="en-US"/>
              <a:t>Text</a:t>
            </a:r>
          </a:p>
        </p:txBody>
      </p:sp>
    </p:spTree>
    <p:extLst>
      <p:ext uri="{BB962C8B-B14F-4D97-AF65-F5344CB8AC3E}">
        <p14:creationId xmlns:p14="http://schemas.microsoft.com/office/powerpoint/2010/main" val="970001423"/>
      </p:ext>
    </p:extLst>
  </p:cSld>
  <p:clrMapOvr>
    <a:masterClrMapping/>
  </p:clrMapOvr>
  <p:extLst>
    <p:ext uri="{DCECCB84-F9BA-43D5-87BE-67443E8EF086}">
      <p15:sldGuideLst xmlns:p15="http://schemas.microsoft.com/office/powerpoint/2012/main">
        <p15:guide id="1" orient="horz" pos="913">
          <p15:clr>
            <a:srgbClr val="F26B43"/>
          </p15:clr>
        </p15:guide>
        <p15:guide id="2" orient="horz" pos="754">
          <p15:clr>
            <a:srgbClr val="F26B43"/>
          </p15:clr>
        </p15:guide>
        <p15:guide id="3" orient="horz" pos="300">
          <p15:clr>
            <a:srgbClr val="F26B43"/>
          </p15:clr>
        </p15:guide>
        <p15:guide id="4" orient="horz" pos="3974">
          <p15:clr>
            <a:srgbClr val="F26B43"/>
          </p15:clr>
        </p15:guide>
        <p15:guide id="5" orient="horz" pos="3816">
          <p15:clr>
            <a:srgbClr val="F26B43"/>
          </p15:clr>
        </p15:guide>
        <p15:guide id="6" pos="4067" userDrawn="1">
          <p15:clr>
            <a:srgbClr val="F26B43"/>
          </p15:clr>
        </p15:guide>
        <p15:guide id="7" pos="3840" userDrawn="1">
          <p15:clr>
            <a:srgbClr val="F26B43"/>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ontent + image + short text">
    <p:spTree>
      <p:nvGrpSpPr>
        <p:cNvPr id="1" name=""/>
        <p:cNvGrpSpPr/>
        <p:nvPr/>
      </p:nvGrpSpPr>
      <p:grpSpPr>
        <a:xfrm>
          <a:off x="0" y="0"/>
          <a:ext cx="0" cy="0"/>
          <a:chOff x="0" y="0"/>
          <a:chExt cx="0" cy="0"/>
        </a:xfrm>
      </p:grpSpPr>
      <p:sp>
        <p:nvSpPr>
          <p:cNvPr id="4" name="Rechteck 16">
            <a:extLst>
              <a:ext uri="{FF2B5EF4-FFF2-40B4-BE49-F238E27FC236}">
                <a16:creationId xmlns:a16="http://schemas.microsoft.com/office/drawing/2014/main" id="{654104DA-6ABA-2977-3F0C-6ED439081925}"/>
              </a:ext>
            </a:extLst>
          </p:cNvPr>
          <p:cNvSpPr>
            <a:spLocks/>
          </p:cNvSpPr>
          <p:nvPr userDrawn="1"/>
        </p:nvSpPr>
        <p:spPr bwMode="gray">
          <a:xfrm>
            <a:off x="6095999" y="4262322"/>
            <a:ext cx="6096000" cy="2595678"/>
          </a:xfrm>
          <a:prstGeom prst="rect">
            <a:avLst/>
          </a:prstGeom>
          <a:solidFill>
            <a:srgbClr val="66CC33"/>
          </a:solidFill>
          <a:ln w="12700" cap="flat" cmpd="sng" algn="ctr">
            <a:noFill/>
            <a:prstDash val="solid"/>
            <a:miter lim="800000"/>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Arial Narrow"/>
              <a:ea typeface="+mn-ea"/>
              <a:cs typeface="+mn-cs"/>
            </a:endParaRPr>
          </a:p>
        </p:txBody>
      </p:sp>
      <p:sp>
        <p:nvSpPr>
          <p:cNvPr id="3" name="Picture Placeholder 7">
            <a:extLst>
              <a:ext uri="{FF2B5EF4-FFF2-40B4-BE49-F238E27FC236}">
                <a16:creationId xmlns:a16="http://schemas.microsoft.com/office/drawing/2014/main" id="{AE0FE1CD-B1AE-2871-3162-980A2C8857B3}"/>
              </a:ext>
            </a:extLst>
          </p:cNvPr>
          <p:cNvSpPr>
            <a:spLocks noGrp="1"/>
          </p:cNvSpPr>
          <p:nvPr>
            <p:ph type="pic" sz="quarter" idx="11" hasCustomPrompt="1"/>
          </p:nvPr>
        </p:nvSpPr>
        <p:spPr bwMode="gray">
          <a:xfrm>
            <a:off x="0" y="0"/>
            <a:ext cx="6096000" cy="6858000"/>
          </a:xfrm>
          <a:pattFill prst="wdUpDiag">
            <a:fgClr>
              <a:schemeClr val="bg1"/>
            </a:fgClr>
            <a:bgClr>
              <a:schemeClr val="bg2"/>
            </a:bgClr>
          </a:pattFill>
        </p:spPr>
        <p:txBody>
          <a:bodyPr anchor="ctr"/>
          <a:lstStyle>
            <a:lvl1pPr marL="0" indent="0" algn="ctr">
              <a:lnSpc>
                <a:spcPct val="100000"/>
              </a:lnSpc>
              <a:buNone/>
              <a:defRPr sz="1000" b="1" i="1">
                <a:solidFill>
                  <a:srgbClr val="BDBDBD"/>
                </a:solidFill>
              </a:defRPr>
            </a:lvl1pPr>
          </a:lstStyle>
          <a:p>
            <a:r>
              <a:rPr lang="en-US" noProof="0"/>
              <a:t> Image placeholder</a:t>
            </a:r>
          </a:p>
        </p:txBody>
      </p:sp>
      <p:graphicFrame>
        <p:nvGraphicFramePr>
          <p:cNvPr id="18" name="Objekt 17" hidden="1">
            <a:extLst>
              <a:ext uri="{FF2B5EF4-FFF2-40B4-BE49-F238E27FC236}">
                <a16:creationId xmlns:a16="http://schemas.microsoft.com/office/drawing/2014/main" id="{F05B8204-9FDB-9C14-7435-D448FCDFE6C8}"/>
              </a:ext>
            </a:extLst>
          </p:cNvPr>
          <p:cNvGraphicFramePr>
            <a:graphicFrameLocks noChangeAspect="1"/>
          </p:cNvGraphicFramePr>
          <p:nvPr userDrawn="1">
            <p:custDataLst>
              <p:tags r:id="rId1"/>
            </p:custDataLst>
            <p:extLst>
              <p:ext uri="{D42A27DB-BD31-4B8C-83A1-F6EECF244321}">
                <p14:modId xmlns:p14="http://schemas.microsoft.com/office/powerpoint/2010/main" val="15075988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80" imgH="481" progId="TCLayout.ActiveDocument.1">
                  <p:embed/>
                </p:oleObj>
              </mc:Choice>
              <mc:Fallback>
                <p:oleObj name="think-cell Folie" r:id="rId3" imgW="480" imgH="481" progId="TCLayout.ActiveDocument.1">
                  <p:embed/>
                  <p:pic>
                    <p:nvPicPr>
                      <p:cNvPr id="18" name="Objekt 17" hidden="1">
                        <a:extLst>
                          <a:ext uri="{FF2B5EF4-FFF2-40B4-BE49-F238E27FC236}">
                            <a16:creationId xmlns:a16="http://schemas.microsoft.com/office/drawing/2014/main" id="{F05B8204-9FDB-9C14-7435-D448FCDFE6C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Textplatzhalter 15">
            <a:extLst>
              <a:ext uri="{FF2B5EF4-FFF2-40B4-BE49-F238E27FC236}">
                <a16:creationId xmlns:a16="http://schemas.microsoft.com/office/drawing/2014/main" id="{9949918B-D12D-7BAD-20AE-4F6D7F538C37}"/>
              </a:ext>
            </a:extLst>
          </p:cNvPr>
          <p:cNvSpPr>
            <a:spLocks noGrp="1"/>
          </p:cNvSpPr>
          <p:nvPr>
            <p:ph type="body" sz="quarter" idx="13" hasCustomPrompt="1"/>
          </p:nvPr>
        </p:nvSpPr>
        <p:spPr bwMode="gray">
          <a:xfrm>
            <a:off x="6456363" y="921522"/>
            <a:ext cx="5219700" cy="276999"/>
          </a:xfrm>
        </p:spPr>
        <p:txBody>
          <a:bodyPr wrap="square">
            <a:spAutoFit/>
          </a:bodyPr>
          <a:lstStyle>
            <a:lvl1pPr marL="0" indent="0">
              <a:buNone/>
              <a:defRPr sz="1800"/>
            </a:lvl1pPr>
          </a:lstStyle>
          <a:p>
            <a:pPr lvl="0"/>
            <a:r>
              <a:rPr lang="en-US"/>
              <a:t>Subtitle</a:t>
            </a:r>
          </a:p>
        </p:txBody>
      </p:sp>
      <p:sp>
        <p:nvSpPr>
          <p:cNvPr id="5" name="Inhaltsplatzhalter 4">
            <a:extLst>
              <a:ext uri="{FF2B5EF4-FFF2-40B4-BE49-F238E27FC236}">
                <a16:creationId xmlns:a16="http://schemas.microsoft.com/office/drawing/2014/main" id="{6F21486E-9A25-93A1-CBA6-27F7E8AF8E64}"/>
              </a:ext>
            </a:extLst>
          </p:cNvPr>
          <p:cNvSpPr>
            <a:spLocks noGrp="1"/>
          </p:cNvSpPr>
          <p:nvPr>
            <p:ph sz="quarter" idx="15" hasCustomPrompt="1"/>
          </p:nvPr>
        </p:nvSpPr>
        <p:spPr bwMode="gray">
          <a:xfrm>
            <a:off x="6456363" y="1449388"/>
            <a:ext cx="5219700" cy="2259012"/>
          </a:xfrm>
        </p:spPr>
        <p:txBody>
          <a:bodyPr/>
          <a:lstStyle/>
          <a:p>
            <a:pPr lvl="0"/>
            <a:r>
              <a:rPr lang="en-US" noProof="0"/>
              <a:t>First level</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 name="Title 1">
            <a:extLst>
              <a:ext uri="{FF2B5EF4-FFF2-40B4-BE49-F238E27FC236}">
                <a16:creationId xmlns:a16="http://schemas.microsoft.com/office/drawing/2014/main" id="{71A2DFB5-48F4-943E-B44B-45DD1B5A924C}"/>
              </a:ext>
            </a:extLst>
          </p:cNvPr>
          <p:cNvSpPr>
            <a:spLocks noGrp="1"/>
          </p:cNvSpPr>
          <p:nvPr>
            <p:ph type="title" hasCustomPrompt="1"/>
          </p:nvPr>
        </p:nvSpPr>
        <p:spPr bwMode="gray">
          <a:xfrm>
            <a:off x="6456362" y="476250"/>
            <a:ext cx="5219700" cy="430887"/>
          </a:xfrm>
        </p:spPr>
        <p:txBody>
          <a:bodyPr vert="horz"/>
          <a:lstStyle/>
          <a:p>
            <a:r>
              <a:rPr lang="en-US"/>
              <a:t>Click to edit title</a:t>
            </a:r>
          </a:p>
        </p:txBody>
      </p:sp>
      <p:sp>
        <p:nvSpPr>
          <p:cNvPr id="7" name="Footer Placeholder 6">
            <a:extLst>
              <a:ext uri="{FF2B5EF4-FFF2-40B4-BE49-F238E27FC236}">
                <a16:creationId xmlns:a16="http://schemas.microsoft.com/office/drawing/2014/main" id="{8349C354-53FD-5E75-76EC-6C80A35BC397}"/>
              </a:ext>
            </a:extLst>
          </p:cNvPr>
          <p:cNvSpPr>
            <a:spLocks noGrp="1"/>
          </p:cNvSpPr>
          <p:nvPr>
            <p:ph type="ftr" sz="quarter" idx="16"/>
          </p:nvPr>
        </p:nvSpPr>
        <p:spPr bwMode="gray"/>
        <p:txBody>
          <a:bodyPr/>
          <a:lstStyle/>
          <a:p>
            <a:r>
              <a:rPr lang="de-DE"/>
              <a:t>© Copyright Sensirion, Switzerland</a:t>
            </a:r>
          </a:p>
        </p:txBody>
      </p:sp>
      <p:sp>
        <p:nvSpPr>
          <p:cNvPr id="8" name="Slide Number Placeholder 7">
            <a:extLst>
              <a:ext uri="{FF2B5EF4-FFF2-40B4-BE49-F238E27FC236}">
                <a16:creationId xmlns:a16="http://schemas.microsoft.com/office/drawing/2014/main" id="{94705C1F-6CF3-8FF8-4D42-9153C70BF287}"/>
              </a:ext>
            </a:extLst>
          </p:cNvPr>
          <p:cNvSpPr>
            <a:spLocks noGrp="1"/>
          </p:cNvSpPr>
          <p:nvPr>
            <p:ph type="sldNum" sz="quarter" idx="17"/>
          </p:nvPr>
        </p:nvSpPr>
        <p:spPr bwMode="gray"/>
        <p:txBody>
          <a:bodyPr/>
          <a:lstStyle/>
          <a:p>
            <a:fld id="{B1E691A1-F3A6-4574-B226-B412272B38A6}" type="slidenum">
              <a:rPr lang="de-DE" smtClean="0"/>
              <a:pPr/>
              <a:t>‹#›</a:t>
            </a:fld>
            <a:endParaRPr lang="de-DE"/>
          </a:p>
        </p:txBody>
      </p:sp>
      <p:grpSp>
        <p:nvGrpSpPr>
          <p:cNvPr id="6" name="Gruppieren 9">
            <a:extLst>
              <a:ext uri="{FF2B5EF4-FFF2-40B4-BE49-F238E27FC236}">
                <a16:creationId xmlns:a16="http://schemas.microsoft.com/office/drawing/2014/main" id="{77D196A1-72F4-4E77-D00E-CAC43B13229E}"/>
              </a:ext>
            </a:extLst>
          </p:cNvPr>
          <p:cNvGrpSpPr/>
          <p:nvPr userDrawn="1"/>
        </p:nvGrpSpPr>
        <p:grpSpPr bwMode="gray">
          <a:xfrm>
            <a:off x="10375900" y="6308725"/>
            <a:ext cx="1300163" cy="130175"/>
            <a:chOff x="10390188" y="6381750"/>
            <a:chExt cx="1300163" cy="130175"/>
          </a:xfrm>
          <a:solidFill>
            <a:schemeClr val="bg1"/>
          </a:solidFill>
        </p:grpSpPr>
        <p:sp>
          <p:nvSpPr>
            <p:cNvPr id="9" name="Freeform 5">
              <a:extLst>
                <a:ext uri="{FF2B5EF4-FFF2-40B4-BE49-F238E27FC236}">
                  <a16:creationId xmlns:a16="http://schemas.microsoft.com/office/drawing/2014/main" id="{842708C1-6BDF-B7DA-245B-7FED966C4D43}"/>
                </a:ext>
              </a:extLst>
            </p:cNvPr>
            <p:cNvSpPr>
              <a:spLocks/>
            </p:cNvSpPr>
            <p:nvPr/>
          </p:nvSpPr>
          <p:spPr bwMode="gray">
            <a:xfrm>
              <a:off x="10390188" y="6383338"/>
              <a:ext cx="153988" cy="125413"/>
            </a:xfrm>
            <a:custGeom>
              <a:avLst/>
              <a:gdLst>
                <a:gd name="T0" fmla="*/ 172 w 428"/>
                <a:gd name="T1" fmla="*/ 60 h 338"/>
                <a:gd name="T2" fmla="*/ 99 w 428"/>
                <a:gd name="T3" fmla="*/ 104 h 338"/>
                <a:gd name="T4" fmla="*/ 159 w 428"/>
                <a:gd name="T5" fmla="*/ 141 h 338"/>
                <a:gd name="T6" fmla="*/ 284 w 428"/>
                <a:gd name="T7" fmla="*/ 141 h 338"/>
                <a:gd name="T8" fmla="*/ 428 w 428"/>
                <a:gd name="T9" fmla="*/ 237 h 338"/>
                <a:gd name="T10" fmla="*/ 270 w 428"/>
                <a:gd name="T11" fmla="*/ 338 h 338"/>
                <a:gd name="T12" fmla="*/ 18 w 428"/>
                <a:gd name="T13" fmla="*/ 338 h 338"/>
                <a:gd name="T14" fmla="*/ 18 w 428"/>
                <a:gd name="T15" fmla="*/ 277 h 338"/>
                <a:gd name="T16" fmla="*/ 255 w 428"/>
                <a:gd name="T17" fmla="*/ 277 h 338"/>
                <a:gd name="T18" fmla="*/ 329 w 428"/>
                <a:gd name="T19" fmla="*/ 239 h 338"/>
                <a:gd name="T20" fmla="*/ 261 w 428"/>
                <a:gd name="T21" fmla="*/ 200 h 338"/>
                <a:gd name="T22" fmla="*/ 150 w 428"/>
                <a:gd name="T23" fmla="*/ 200 h 338"/>
                <a:gd name="T24" fmla="*/ 0 w 428"/>
                <a:gd name="T25" fmla="*/ 103 h 338"/>
                <a:gd name="T26" fmla="*/ 158 w 428"/>
                <a:gd name="T27" fmla="*/ 0 h 338"/>
                <a:gd name="T28" fmla="*/ 406 w 428"/>
                <a:gd name="T29" fmla="*/ 0 h 338"/>
                <a:gd name="T30" fmla="*/ 406 w 428"/>
                <a:gd name="T31" fmla="*/ 60 h 338"/>
                <a:gd name="T32" fmla="*/ 172 w 428"/>
                <a:gd name="T33" fmla="*/ 60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8" h="338">
                  <a:moveTo>
                    <a:pt x="172" y="60"/>
                  </a:moveTo>
                  <a:cubicBezTo>
                    <a:pt x="122" y="60"/>
                    <a:pt x="99" y="73"/>
                    <a:pt x="99" y="104"/>
                  </a:cubicBezTo>
                  <a:cubicBezTo>
                    <a:pt x="99" y="129"/>
                    <a:pt x="119" y="141"/>
                    <a:pt x="159" y="141"/>
                  </a:cubicBezTo>
                  <a:lnTo>
                    <a:pt x="284" y="141"/>
                  </a:lnTo>
                  <a:cubicBezTo>
                    <a:pt x="384" y="141"/>
                    <a:pt x="428" y="166"/>
                    <a:pt x="428" y="237"/>
                  </a:cubicBezTo>
                  <a:cubicBezTo>
                    <a:pt x="428" y="308"/>
                    <a:pt x="377" y="338"/>
                    <a:pt x="270" y="338"/>
                  </a:cubicBezTo>
                  <a:lnTo>
                    <a:pt x="18" y="338"/>
                  </a:lnTo>
                  <a:lnTo>
                    <a:pt x="18" y="277"/>
                  </a:lnTo>
                  <a:lnTo>
                    <a:pt x="255" y="277"/>
                  </a:lnTo>
                  <a:cubicBezTo>
                    <a:pt x="305" y="277"/>
                    <a:pt x="329" y="268"/>
                    <a:pt x="329" y="239"/>
                  </a:cubicBezTo>
                  <a:cubicBezTo>
                    <a:pt x="329" y="209"/>
                    <a:pt x="307" y="200"/>
                    <a:pt x="261" y="200"/>
                  </a:cubicBezTo>
                  <a:lnTo>
                    <a:pt x="150" y="200"/>
                  </a:lnTo>
                  <a:cubicBezTo>
                    <a:pt x="47" y="200"/>
                    <a:pt x="0" y="171"/>
                    <a:pt x="0" y="103"/>
                  </a:cubicBezTo>
                  <a:cubicBezTo>
                    <a:pt x="0" y="30"/>
                    <a:pt x="51" y="0"/>
                    <a:pt x="158" y="0"/>
                  </a:cubicBezTo>
                  <a:lnTo>
                    <a:pt x="406" y="0"/>
                  </a:lnTo>
                  <a:lnTo>
                    <a:pt x="406" y="60"/>
                  </a:lnTo>
                  <a:lnTo>
                    <a:pt x="172" y="60"/>
                  </a:lnTo>
                  <a:close/>
                </a:path>
              </a:pathLst>
            </a:custGeom>
            <a:grpFill/>
            <a:ln>
              <a:noFill/>
            </a:ln>
          </p:spPr>
          <p:txBody>
            <a:bodyPr vert="horz" wrap="square" lIns="91440" tIns="45720" rIns="91440" bIns="45720" numCol="1" anchor="t" anchorCtr="0" compatLnSpc="1">
              <a:prstTxWarp prst="textNoShape">
                <a:avLst/>
              </a:prstTxWarp>
            </a:bodyPr>
            <a:lstStyle/>
            <a:p>
              <a:pPr>
                <a:lnSpc>
                  <a:spcPct val="100000"/>
                </a:lnSpc>
              </a:pPr>
              <a:endParaRPr lang="de-DE" b="1">
                <a:solidFill>
                  <a:srgbClr val="616161"/>
                </a:solidFill>
              </a:endParaRPr>
            </a:p>
          </p:txBody>
        </p:sp>
        <p:sp>
          <p:nvSpPr>
            <p:cNvPr id="10" name="Freeform 6">
              <a:extLst>
                <a:ext uri="{FF2B5EF4-FFF2-40B4-BE49-F238E27FC236}">
                  <a16:creationId xmlns:a16="http://schemas.microsoft.com/office/drawing/2014/main" id="{8486788C-1B91-D9B0-03C0-6872DE49568A}"/>
                </a:ext>
              </a:extLst>
            </p:cNvPr>
            <p:cNvSpPr>
              <a:spLocks/>
            </p:cNvSpPr>
            <p:nvPr/>
          </p:nvSpPr>
          <p:spPr bwMode="gray">
            <a:xfrm>
              <a:off x="10558463" y="6383338"/>
              <a:ext cx="133350" cy="125413"/>
            </a:xfrm>
            <a:custGeom>
              <a:avLst/>
              <a:gdLst>
                <a:gd name="T0" fmla="*/ 107 w 369"/>
                <a:gd name="T1" fmla="*/ 137 h 338"/>
                <a:gd name="T2" fmla="*/ 369 w 369"/>
                <a:gd name="T3" fmla="*/ 137 h 338"/>
                <a:gd name="T4" fmla="*/ 369 w 369"/>
                <a:gd name="T5" fmla="*/ 196 h 338"/>
                <a:gd name="T6" fmla="*/ 107 w 369"/>
                <a:gd name="T7" fmla="*/ 196 h 338"/>
                <a:gd name="T8" fmla="*/ 214 w 369"/>
                <a:gd name="T9" fmla="*/ 279 h 338"/>
                <a:gd name="T10" fmla="*/ 369 w 369"/>
                <a:gd name="T11" fmla="*/ 279 h 338"/>
                <a:gd name="T12" fmla="*/ 369 w 369"/>
                <a:gd name="T13" fmla="*/ 338 h 338"/>
                <a:gd name="T14" fmla="*/ 210 w 369"/>
                <a:gd name="T15" fmla="*/ 338 h 338"/>
                <a:gd name="T16" fmla="*/ 69 w 369"/>
                <a:gd name="T17" fmla="*/ 308 h 338"/>
                <a:gd name="T18" fmla="*/ 0 w 369"/>
                <a:gd name="T19" fmla="*/ 175 h 338"/>
                <a:gd name="T20" fmla="*/ 212 w 369"/>
                <a:gd name="T21" fmla="*/ 0 h 338"/>
                <a:gd name="T22" fmla="*/ 369 w 369"/>
                <a:gd name="T23" fmla="*/ 0 h 338"/>
                <a:gd name="T24" fmla="*/ 369 w 369"/>
                <a:gd name="T25" fmla="*/ 59 h 338"/>
                <a:gd name="T26" fmla="*/ 214 w 369"/>
                <a:gd name="T27" fmla="*/ 59 h 338"/>
                <a:gd name="T28" fmla="*/ 107 w 369"/>
                <a:gd name="T29" fmla="*/ 137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69" h="338">
                  <a:moveTo>
                    <a:pt x="107" y="137"/>
                  </a:moveTo>
                  <a:lnTo>
                    <a:pt x="369" y="137"/>
                  </a:lnTo>
                  <a:lnTo>
                    <a:pt x="369" y="196"/>
                  </a:lnTo>
                  <a:lnTo>
                    <a:pt x="107" y="196"/>
                  </a:lnTo>
                  <a:cubicBezTo>
                    <a:pt x="107" y="257"/>
                    <a:pt x="139" y="279"/>
                    <a:pt x="214" y="279"/>
                  </a:cubicBezTo>
                  <a:lnTo>
                    <a:pt x="369" y="279"/>
                  </a:lnTo>
                  <a:lnTo>
                    <a:pt x="369" y="338"/>
                  </a:lnTo>
                  <a:lnTo>
                    <a:pt x="210" y="338"/>
                  </a:lnTo>
                  <a:cubicBezTo>
                    <a:pt x="155" y="338"/>
                    <a:pt x="113" y="334"/>
                    <a:pt x="69" y="308"/>
                  </a:cubicBezTo>
                  <a:cubicBezTo>
                    <a:pt x="23" y="280"/>
                    <a:pt x="0" y="236"/>
                    <a:pt x="0" y="175"/>
                  </a:cubicBezTo>
                  <a:cubicBezTo>
                    <a:pt x="0" y="55"/>
                    <a:pt x="67" y="0"/>
                    <a:pt x="212" y="0"/>
                  </a:cubicBezTo>
                  <a:lnTo>
                    <a:pt x="369" y="0"/>
                  </a:lnTo>
                  <a:lnTo>
                    <a:pt x="369" y="59"/>
                  </a:lnTo>
                  <a:lnTo>
                    <a:pt x="214" y="59"/>
                  </a:lnTo>
                  <a:cubicBezTo>
                    <a:pt x="146" y="59"/>
                    <a:pt x="111" y="84"/>
                    <a:pt x="107" y="137"/>
                  </a:cubicBezTo>
                  <a:close/>
                </a:path>
              </a:pathLst>
            </a:custGeom>
            <a:grpFill/>
            <a:ln>
              <a:noFill/>
            </a:ln>
          </p:spPr>
          <p:txBody>
            <a:bodyPr vert="horz" wrap="square" lIns="91440" tIns="45720" rIns="91440" bIns="45720" numCol="1" anchor="t" anchorCtr="0" compatLnSpc="1">
              <a:prstTxWarp prst="textNoShape">
                <a:avLst/>
              </a:prstTxWarp>
            </a:bodyPr>
            <a:lstStyle/>
            <a:p>
              <a:pPr>
                <a:lnSpc>
                  <a:spcPct val="100000"/>
                </a:lnSpc>
              </a:pPr>
              <a:endParaRPr lang="de-DE" b="1">
                <a:solidFill>
                  <a:srgbClr val="616161"/>
                </a:solidFill>
              </a:endParaRPr>
            </a:p>
          </p:txBody>
        </p:sp>
        <p:sp>
          <p:nvSpPr>
            <p:cNvPr id="11" name="Freeform 7">
              <a:extLst>
                <a:ext uri="{FF2B5EF4-FFF2-40B4-BE49-F238E27FC236}">
                  <a16:creationId xmlns:a16="http://schemas.microsoft.com/office/drawing/2014/main" id="{EF30CC10-46A7-579D-925C-0F3140C7AEB0}"/>
                </a:ext>
              </a:extLst>
            </p:cNvPr>
            <p:cNvSpPr>
              <a:spLocks/>
            </p:cNvSpPr>
            <p:nvPr/>
          </p:nvSpPr>
          <p:spPr bwMode="gray">
            <a:xfrm>
              <a:off x="10720388" y="6383338"/>
              <a:ext cx="142875" cy="125413"/>
            </a:xfrm>
            <a:custGeom>
              <a:avLst/>
              <a:gdLst>
                <a:gd name="T0" fmla="*/ 120 w 397"/>
                <a:gd name="T1" fmla="*/ 1 h 339"/>
                <a:gd name="T2" fmla="*/ 304 w 397"/>
                <a:gd name="T3" fmla="*/ 244 h 339"/>
                <a:gd name="T4" fmla="*/ 304 w 397"/>
                <a:gd name="T5" fmla="*/ 0 h 339"/>
                <a:gd name="T6" fmla="*/ 397 w 397"/>
                <a:gd name="T7" fmla="*/ 0 h 339"/>
                <a:gd name="T8" fmla="*/ 396 w 397"/>
                <a:gd name="T9" fmla="*/ 339 h 339"/>
                <a:gd name="T10" fmla="*/ 287 w 397"/>
                <a:gd name="T11" fmla="*/ 339 h 339"/>
                <a:gd name="T12" fmla="*/ 93 w 397"/>
                <a:gd name="T13" fmla="*/ 83 h 339"/>
                <a:gd name="T14" fmla="*/ 93 w 397"/>
                <a:gd name="T15" fmla="*/ 339 h 339"/>
                <a:gd name="T16" fmla="*/ 0 w 397"/>
                <a:gd name="T17" fmla="*/ 339 h 339"/>
                <a:gd name="T18" fmla="*/ 0 w 397"/>
                <a:gd name="T19" fmla="*/ 1 h 339"/>
                <a:gd name="T20" fmla="*/ 120 w 397"/>
                <a:gd name="T21" fmla="*/ 1 h 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97" h="339">
                  <a:moveTo>
                    <a:pt x="120" y="1"/>
                  </a:moveTo>
                  <a:lnTo>
                    <a:pt x="304" y="244"/>
                  </a:lnTo>
                  <a:lnTo>
                    <a:pt x="304" y="0"/>
                  </a:lnTo>
                  <a:lnTo>
                    <a:pt x="397" y="0"/>
                  </a:lnTo>
                  <a:lnTo>
                    <a:pt x="396" y="339"/>
                  </a:lnTo>
                  <a:lnTo>
                    <a:pt x="287" y="339"/>
                  </a:lnTo>
                  <a:lnTo>
                    <a:pt x="93" y="83"/>
                  </a:lnTo>
                  <a:lnTo>
                    <a:pt x="93" y="339"/>
                  </a:lnTo>
                  <a:lnTo>
                    <a:pt x="0" y="339"/>
                  </a:lnTo>
                  <a:lnTo>
                    <a:pt x="0" y="1"/>
                  </a:lnTo>
                  <a:lnTo>
                    <a:pt x="120" y="1"/>
                  </a:lnTo>
                  <a:close/>
                </a:path>
              </a:pathLst>
            </a:custGeom>
            <a:grpFill/>
            <a:ln>
              <a:noFill/>
            </a:ln>
          </p:spPr>
          <p:txBody>
            <a:bodyPr vert="horz" wrap="square" lIns="91440" tIns="45720" rIns="91440" bIns="45720" numCol="1" anchor="t" anchorCtr="0" compatLnSpc="1">
              <a:prstTxWarp prst="textNoShape">
                <a:avLst/>
              </a:prstTxWarp>
            </a:bodyPr>
            <a:lstStyle/>
            <a:p>
              <a:pPr>
                <a:lnSpc>
                  <a:spcPct val="100000"/>
                </a:lnSpc>
              </a:pPr>
              <a:endParaRPr lang="de-DE" b="1">
                <a:solidFill>
                  <a:srgbClr val="616161"/>
                </a:solidFill>
              </a:endParaRPr>
            </a:p>
          </p:txBody>
        </p:sp>
        <p:sp>
          <p:nvSpPr>
            <p:cNvPr id="12" name="Freeform 8">
              <a:extLst>
                <a:ext uri="{FF2B5EF4-FFF2-40B4-BE49-F238E27FC236}">
                  <a16:creationId xmlns:a16="http://schemas.microsoft.com/office/drawing/2014/main" id="{31D896FC-A4CF-6966-0929-21CE9AF9E7EE}"/>
                </a:ext>
              </a:extLst>
            </p:cNvPr>
            <p:cNvSpPr>
              <a:spLocks/>
            </p:cNvSpPr>
            <p:nvPr/>
          </p:nvSpPr>
          <p:spPr bwMode="gray">
            <a:xfrm>
              <a:off x="10887075" y="6383338"/>
              <a:ext cx="153988" cy="125413"/>
            </a:xfrm>
            <a:custGeom>
              <a:avLst/>
              <a:gdLst>
                <a:gd name="T0" fmla="*/ 171 w 427"/>
                <a:gd name="T1" fmla="*/ 60 h 338"/>
                <a:gd name="T2" fmla="*/ 99 w 427"/>
                <a:gd name="T3" fmla="*/ 104 h 338"/>
                <a:gd name="T4" fmla="*/ 158 w 427"/>
                <a:gd name="T5" fmla="*/ 141 h 338"/>
                <a:gd name="T6" fmla="*/ 284 w 427"/>
                <a:gd name="T7" fmla="*/ 141 h 338"/>
                <a:gd name="T8" fmla="*/ 427 w 427"/>
                <a:gd name="T9" fmla="*/ 237 h 338"/>
                <a:gd name="T10" fmla="*/ 270 w 427"/>
                <a:gd name="T11" fmla="*/ 338 h 338"/>
                <a:gd name="T12" fmla="*/ 18 w 427"/>
                <a:gd name="T13" fmla="*/ 338 h 338"/>
                <a:gd name="T14" fmla="*/ 18 w 427"/>
                <a:gd name="T15" fmla="*/ 277 h 338"/>
                <a:gd name="T16" fmla="*/ 255 w 427"/>
                <a:gd name="T17" fmla="*/ 277 h 338"/>
                <a:gd name="T18" fmla="*/ 328 w 427"/>
                <a:gd name="T19" fmla="*/ 239 h 338"/>
                <a:gd name="T20" fmla="*/ 261 w 427"/>
                <a:gd name="T21" fmla="*/ 200 h 338"/>
                <a:gd name="T22" fmla="*/ 150 w 427"/>
                <a:gd name="T23" fmla="*/ 200 h 338"/>
                <a:gd name="T24" fmla="*/ 0 w 427"/>
                <a:gd name="T25" fmla="*/ 103 h 338"/>
                <a:gd name="T26" fmla="*/ 158 w 427"/>
                <a:gd name="T27" fmla="*/ 0 h 338"/>
                <a:gd name="T28" fmla="*/ 405 w 427"/>
                <a:gd name="T29" fmla="*/ 0 h 338"/>
                <a:gd name="T30" fmla="*/ 405 w 427"/>
                <a:gd name="T31" fmla="*/ 60 h 338"/>
                <a:gd name="T32" fmla="*/ 171 w 427"/>
                <a:gd name="T33" fmla="*/ 60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7" h="338">
                  <a:moveTo>
                    <a:pt x="171" y="60"/>
                  </a:moveTo>
                  <a:cubicBezTo>
                    <a:pt x="122" y="60"/>
                    <a:pt x="99" y="73"/>
                    <a:pt x="99" y="104"/>
                  </a:cubicBezTo>
                  <a:cubicBezTo>
                    <a:pt x="99" y="129"/>
                    <a:pt x="119" y="141"/>
                    <a:pt x="158" y="141"/>
                  </a:cubicBezTo>
                  <a:lnTo>
                    <a:pt x="284" y="141"/>
                  </a:lnTo>
                  <a:cubicBezTo>
                    <a:pt x="384" y="141"/>
                    <a:pt x="427" y="166"/>
                    <a:pt x="427" y="237"/>
                  </a:cubicBezTo>
                  <a:cubicBezTo>
                    <a:pt x="427" y="308"/>
                    <a:pt x="376" y="338"/>
                    <a:pt x="270" y="338"/>
                  </a:cubicBezTo>
                  <a:lnTo>
                    <a:pt x="18" y="338"/>
                  </a:lnTo>
                  <a:lnTo>
                    <a:pt x="18" y="277"/>
                  </a:lnTo>
                  <a:lnTo>
                    <a:pt x="255" y="277"/>
                  </a:lnTo>
                  <a:cubicBezTo>
                    <a:pt x="305" y="277"/>
                    <a:pt x="328" y="268"/>
                    <a:pt x="328" y="239"/>
                  </a:cubicBezTo>
                  <a:cubicBezTo>
                    <a:pt x="328" y="209"/>
                    <a:pt x="307" y="200"/>
                    <a:pt x="261" y="200"/>
                  </a:cubicBezTo>
                  <a:lnTo>
                    <a:pt x="150" y="200"/>
                  </a:lnTo>
                  <a:cubicBezTo>
                    <a:pt x="47" y="200"/>
                    <a:pt x="0" y="171"/>
                    <a:pt x="0" y="103"/>
                  </a:cubicBezTo>
                  <a:cubicBezTo>
                    <a:pt x="0" y="30"/>
                    <a:pt x="51" y="0"/>
                    <a:pt x="158" y="0"/>
                  </a:cubicBezTo>
                  <a:lnTo>
                    <a:pt x="405" y="0"/>
                  </a:lnTo>
                  <a:lnTo>
                    <a:pt x="405" y="60"/>
                  </a:lnTo>
                  <a:lnTo>
                    <a:pt x="171" y="60"/>
                  </a:lnTo>
                  <a:close/>
                </a:path>
              </a:pathLst>
            </a:custGeom>
            <a:grpFill/>
            <a:ln>
              <a:noFill/>
            </a:ln>
          </p:spPr>
          <p:txBody>
            <a:bodyPr vert="horz" wrap="square" lIns="91440" tIns="45720" rIns="91440" bIns="45720" numCol="1" anchor="t" anchorCtr="0" compatLnSpc="1">
              <a:prstTxWarp prst="textNoShape">
                <a:avLst/>
              </a:prstTxWarp>
            </a:bodyPr>
            <a:lstStyle/>
            <a:p>
              <a:pPr>
                <a:lnSpc>
                  <a:spcPct val="100000"/>
                </a:lnSpc>
              </a:pPr>
              <a:endParaRPr lang="de-DE" b="1">
                <a:solidFill>
                  <a:srgbClr val="616161"/>
                </a:solidFill>
              </a:endParaRPr>
            </a:p>
          </p:txBody>
        </p:sp>
        <p:sp>
          <p:nvSpPr>
            <p:cNvPr id="13" name="Rectangle 9">
              <a:extLst>
                <a:ext uri="{FF2B5EF4-FFF2-40B4-BE49-F238E27FC236}">
                  <a16:creationId xmlns:a16="http://schemas.microsoft.com/office/drawing/2014/main" id="{989BD606-B1B7-9B25-CDC2-7984E9E5115F}"/>
                </a:ext>
              </a:extLst>
            </p:cNvPr>
            <p:cNvSpPr>
              <a:spLocks noChangeArrowheads="1"/>
            </p:cNvSpPr>
            <p:nvPr/>
          </p:nvSpPr>
          <p:spPr bwMode="gray">
            <a:xfrm>
              <a:off x="11066463" y="6383338"/>
              <a:ext cx="36513" cy="125413"/>
            </a:xfrm>
            <a:prstGeom prst="rect">
              <a:avLst/>
            </a:prstGeom>
            <a:grpFill/>
            <a:ln>
              <a:noFill/>
            </a:ln>
          </p:spPr>
          <p:txBody>
            <a:bodyPr vert="horz" wrap="square" lIns="91440" tIns="45720" rIns="91440" bIns="45720" numCol="1" anchor="t" anchorCtr="0" compatLnSpc="1">
              <a:prstTxWarp prst="textNoShape">
                <a:avLst/>
              </a:prstTxWarp>
            </a:bodyPr>
            <a:lstStyle/>
            <a:p>
              <a:pPr>
                <a:lnSpc>
                  <a:spcPct val="100000"/>
                </a:lnSpc>
              </a:pPr>
              <a:endParaRPr lang="de-DE" b="1">
                <a:solidFill>
                  <a:srgbClr val="616161"/>
                </a:solidFill>
              </a:endParaRPr>
            </a:p>
          </p:txBody>
        </p:sp>
        <p:sp>
          <p:nvSpPr>
            <p:cNvPr id="14" name="Freeform 10">
              <a:extLst>
                <a:ext uri="{FF2B5EF4-FFF2-40B4-BE49-F238E27FC236}">
                  <a16:creationId xmlns:a16="http://schemas.microsoft.com/office/drawing/2014/main" id="{FC58B466-965C-8B1B-08EC-E485C91DFAF8}"/>
                </a:ext>
              </a:extLst>
            </p:cNvPr>
            <p:cNvSpPr>
              <a:spLocks noEditPoints="1"/>
            </p:cNvSpPr>
            <p:nvPr/>
          </p:nvSpPr>
          <p:spPr bwMode="gray">
            <a:xfrm>
              <a:off x="11136313" y="6383338"/>
              <a:ext cx="147638" cy="125413"/>
            </a:xfrm>
            <a:custGeom>
              <a:avLst/>
              <a:gdLst>
                <a:gd name="T0" fmla="*/ 211 w 412"/>
                <a:gd name="T1" fmla="*/ 60 h 338"/>
                <a:gd name="T2" fmla="*/ 295 w 412"/>
                <a:gd name="T3" fmla="*/ 103 h 338"/>
                <a:gd name="T4" fmla="*/ 211 w 412"/>
                <a:gd name="T5" fmla="*/ 145 h 338"/>
                <a:gd name="T6" fmla="*/ 95 w 412"/>
                <a:gd name="T7" fmla="*/ 145 h 338"/>
                <a:gd name="T8" fmla="*/ 95 w 412"/>
                <a:gd name="T9" fmla="*/ 60 h 338"/>
                <a:gd name="T10" fmla="*/ 211 w 412"/>
                <a:gd name="T11" fmla="*/ 60 h 338"/>
                <a:gd name="T12" fmla="*/ 0 w 412"/>
                <a:gd name="T13" fmla="*/ 0 h 338"/>
                <a:gd name="T14" fmla="*/ 0 w 412"/>
                <a:gd name="T15" fmla="*/ 338 h 338"/>
                <a:gd name="T16" fmla="*/ 95 w 412"/>
                <a:gd name="T17" fmla="*/ 338 h 338"/>
                <a:gd name="T18" fmla="*/ 95 w 412"/>
                <a:gd name="T19" fmla="*/ 205 h 338"/>
                <a:gd name="T20" fmla="*/ 206 w 412"/>
                <a:gd name="T21" fmla="*/ 205 h 338"/>
                <a:gd name="T22" fmla="*/ 305 w 412"/>
                <a:gd name="T23" fmla="*/ 338 h 338"/>
                <a:gd name="T24" fmla="*/ 412 w 412"/>
                <a:gd name="T25" fmla="*/ 338 h 338"/>
                <a:gd name="T26" fmla="*/ 300 w 412"/>
                <a:gd name="T27" fmla="*/ 197 h 338"/>
                <a:gd name="T28" fmla="*/ 391 w 412"/>
                <a:gd name="T29" fmla="*/ 102 h 338"/>
                <a:gd name="T30" fmla="*/ 233 w 412"/>
                <a:gd name="T31" fmla="*/ 0 h 338"/>
                <a:gd name="T32" fmla="*/ 0 w 412"/>
                <a:gd name="T33" fmla="*/ 0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12" h="338">
                  <a:moveTo>
                    <a:pt x="211" y="60"/>
                  </a:moveTo>
                  <a:cubicBezTo>
                    <a:pt x="267" y="60"/>
                    <a:pt x="295" y="68"/>
                    <a:pt x="295" y="103"/>
                  </a:cubicBezTo>
                  <a:cubicBezTo>
                    <a:pt x="295" y="137"/>
                    <a:pt x="267" y="145"/>
                    <a:pt x="211" y="145"/>
                  </a:cubicBezTo>
                  <a:lnTo>
                    <a:pt x="95" y="145"/>
                  </a:lnTo>
                  <a:lnTo>
                    <a:pt x="95" y="60"/>
                  </a:lnTo>
                  <a:lnTo>
                    <a:pt x="211" y="60"/>
                  </a:lnTo>
                  <a:close/>
                  <a:moveTo>
                    <a:pt x="0" y="0"/>
                  </a:moveTo>
                  <a:lnTo>
                    <a:pt x="0" y="338"/>
                  </a:lnTo>
                  <a:lnTo>
                    <a:pt x="95" y="338"/>
                  </a:lnTo>
                  <a:lnTo>
                    <a:pt x="95" y="205"/>
                  </a:lnTo>
                  <a:lnTo>
                    <a:pt x="206" y="205"/>
                  </a:lnTo>
                  <a:lnTo>
                    <a:pt x="305" y="338"/>
                  </a:lnTo>
                  <a:lnTo>
                    <a:pt x="412" y="338"/>
                  </a:lnTo>
                  <a:lnTo>
                    <a:pt x="300" y="197"/>
                  </a:lnTo>
                  <a:cubicBezTo>
                    <a:pt x="358" y="187"/>
                    <a:pt x="391" y="154"/>
                    <a:pt x="391" y="102"/>
                  </a:cubicBezTo>
                  <a:cubicBezTo>
                    <a:pt x="391" y="31"/>
                    <a:pt x="340" y="0"/>
                    <a:pt x="233" y="0"/>
                  </a:cubicBezTo>
                  <a:lnTo>
                    <a:pt x="0" y="0"/>
                  </a:lnTo>
                  <a:close/>
                </a:path>
              </a:pathLst>
            </a:custGeom>
            <a:grpFill/>
            <a:ln>
              <a:noFill/>
            </a:ln>
          </p:spPr>
          <p:txBody>
            <a:bodyPr vert="horz" wrap="square" lIns="91440" tIns="45720" rIns="91440" bIns="45720" numCol="1" anchor="t" anchorCtr="0" compatLnSpc="1">
              <a:prstTxWarp prst="textNoShape">
                <a:avLst/>
              </a:prstTxWarp>
            </a:bodyPr>
            <a:lstStyle/>
            <a:p>
              <a:pPr>
                <a:lnSpc>
                  <a:spcPct val="100000"/>
                </a:lnSpc>
              </a:pPr>
              <a:endParaRPr lang="de-DE" b="1">
                <a:solidFill>
                  <a:srgbClr val="616161"/>
                </a:solidFill>
              </a:endParaRPr>
            </a:p>
          </p:txBody>
        </p:sp>
        <p:sp>
          <p:nvSpPr>
            <p:cNvPr id="15" name="Rectangle 11">
              <a:extLst>
                <a:ext uri="{FF2B5EF4-FFF2-40B4-BE49-F238E27FC236}">
                  <a16:creationId xmlns:a16="http://schemas.microsoft.com/office/drawing/2014/main" id="{87A0DC9C-BE52-1A5D-84E9-73AD0A681F1B}"/>
                </a:ext>
              </a:extLst>
            </p:cNvPr>
            <p:cNvSpPr>
              <a:spLocks noChangeArrowheads="1"/>
            </p:cNvSpPr>
            <p:nvPr/>
          </p:nvSpPr>
          <p:spPr bwMode="gray">
            <a:xfrm>
              <a:off x="11304588" y="6383338"/>
              <a:ext cx="36513" cy="125413"/>
            </a:xfrm>
            <a:prstGeom prst="rect">
              <a:avLst/>
            </a:prstGeom>
            <a:grpFill/>
            <a:ln>
              <a:noFill/>
            </a:ln>
          </p:spPr>
          <p:txBody>
            <a:bodyPr vert="horz" wrap="square" lIns="91440" tIns="45720" rIns="91440" bIns="45720" numCol="1" anchor="t" anchorCtr="0" compatLnSpc="1">
              <a:prstTxWarp prst="textNoShape">
                <a:avLst/>
              </a:prstTxWarp>
            </a:bodyPr>
            <a:lstStyle/>
            <a:p>
              <a:pPr>
                <a:lnSpc>
                  <a:spcPct val="100000"/>
                </a:lnSpc>
              </a:pPr>
              <a:endParaRPr lang="de-DE" b="1">
                <a:solidFill>
                  <a:srgbClr val="616161"/>
                </a:solidFill>
              </a:endParaRPr>
            </a:p>
          </p:txBody>
        </p:sp>
        <p:sp>
          <p:nvSpPr>
            <p:cNvPr id="17" name="Freeform 12">
              <a:extLst>
                <a:ext uri="{FF2B5EF4-FFF2-40B4-BE49-F238E27FC236}">
                  <a16:creationId xmlns:a16="http://schemas.microsoft.com/office/drawing/2014/main" id="{32A56C7D-800E-90B4-234B-79671DC74A97}"/>
                </a:ext>
              </a:extLst>
            </p:cNvPr>
            <p:cNvSpPr>
              <a:spLocks noEditPoints="1"/>
            </p:cNvSpPr>
            <p:nvPr/>
          </p:nvSpPr>
          <p:spPr bwMode="gray">
            <a:xfrm>
              <a:off x="11363325" y="6381750"/>
              <a:ext cx="161925" cy="130175"/>
            </a:xfrm>
            <a:custGeom>
              <a:avLst/>
              <a:gdLst>
                <a:gd name="T0" fmla="*/ 225 w 449"/>
                <a:gd name="T1" fmla="*/ 57 h 351"/>
                <a:gd name="T2" fmla="*/ 346 w 449"/>
                <a:gd name="T3" fmla="*/ 175 h 351"/>
                <a:gd name="T4" fmla="*/ 225 w 449"/>
                <a:gd name="T5" fmla="*/ 292 h 351"/>
                <a:gd name="T6" fmla="*/ 104 w 449"/>
                <a:gd name="T7" fmla="*/ 172 h 351"/>
                <a:gd name="T8" fmla="*/ 225 w 449"/>
                <a:gd name="T9" fmla="*/ 57 h 351"/>
                <a:gd name="T10" fmla="*/ 0 w 449"/>
                <a:gd name="T11" fmla="*/ 172 h 351"/>
                <a:gd name="T12" fmla="*/ 225 w 449"/>
                <a:gd name="T13" fmla="*/ 351 h 351"/>
                <a:gd name="T14" fmla="*/ 449 w 449"/>
                <a:gd name="T15" fmla="*/ 175 h 351"/>
                <a:gd name="T16" fmla="*/ 247 w 449"/>
                <a:gd name="T17" fmla="*/ 0 h 351"/>
                <a:gd name="T18" fmla="*/ 203 w 449"/>
                <a:gd name="T19" fmla="*/ 0 h 351"/>
                <a:gd name="T20" fmla="*/ 0 w 449"/>
                <a:gd name="T21" fmla="*/ 172 h 3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49" h="351">
                  <a:moveTo>
                    <a:pt x="225" y="57"/>
                  </a:moveTo>
                  <a:cubicBezTo>
                    <a:pt x="308" y="57"/>
                    <a:pt x="346" y="95"/>
                    <a:pt x="346" y="175"/>
                  </a:cubicBezTo>
                  <a:cubicBezTo>
                    <a:pt x="346" y="254"/>
                    <a:pt x="308" y="292"/>
                    <a:pt x="225" y="292"/>
                  </a:cubicBezTo>
                  <a:cubicBezTo>
                    <a:pt x="140" y="292"/>
                    <a:pt x="104" y="254"/>
                    <a:pt x="104" y="172"/>
                  </a:cubicBezTo>
                  <a:cubicBezTo>
                    <a:pt x="104" y="95"/>
                    <a:pt x="143" y="57"/>
                    <a:pt x="225" y="57"/>
                  </a:cubicBezTo>
                  <a:close/>
                  <a:moveTo>
                    <a:pt x="0" y="172"/>
                  </a:moveTo>
                  <a:cubicBezTo>
                    <a:pt x="0" y="294"/>
                    <a:pt x="70" y="351"/>
                    <a:pt x="225" y="351"/>
                  </a:cubicBezTo>
                  <a:cubicBezTo>
                    <a:pt x="378" y="351"/>
                    <a:pt x="449" y="294"/>
                    <a:pt x="449" y="175"/>
                  </a:cubicBezTo>
                  <a:cubicBezTo>
                    <a:pt x="449" y="61"/>
                    <a:pt x="385" y="5"/>
                    <a:pt x="247" y="0"/>
                  </a:cubicBezTo>
                  <a:lnTo>
                    <a:pt x="203" y="0"/>
                  </a:lnTo>
                  <a:cubicBezTo>
                    <a:pt x="67" y="5"/>
                    <a:pt x="0" y="61"/>
                    <a:pt x="0" y="172"/>
                  </a:cubicBezTo>
                  <a:close/>
                </a:path>
              </a:pathLst>
            </a:custGeom>
            <a:grpFill/>
            <a:ln>
              <a:noFill/>
            </a:ln>
          </p:spPr>
          <p:txBody>
            <a:bodyPr vert="horz" wrap="square" lIns="91440" tIns="45720" rIns="91440" bIns="45720" numCol="1" anchor="t" anchorCtr="0" compatLnSpc="1">
              <a:prstTxWarp prst="textNoShape">
                <a:avLst/>
              </a:prstTxWarp>
            </a:bodyPr>
            <a:lstStyle/>
            <a:p>
              <a:pPr>
                <a:lnSpc>
                  <a:spcPct val="100000"/>
                </a:lnSpc>
              </a:pPr>
              <a:endParaRPr lang="de-DE" b="1">
                <a:solidFill>
                  <a:srgbClr val="616161"/>
                </a:solidFill>
              </a:endParaRPr>
            </a:p>
          </p:txBody>
        </p:sp>
        <p:sp>
          <p:nvSpPr>
            <p:cNvPr id="19" name="Freeform 13">
              <a:extLst>
                <a:ext uri="{FF2B5EF4-FFF2-40B4-BE49-F238E27FC236}">
                  <a16:creationId xmlns:a16="http://schemas.microsoft.com/office/drawing/2014/main" id="{09C07526-4DC6-E3C3-3361-B7A9A66EE90F}"/>
                </a:ext>
              </a:extLst>
            </p:cNvPr>
            <p:cNvSpPr>
              <a:spLocks/>
            </p:cNvSpPr>
            <p:nvPr/>
          </p:nvSpPr>
          <p:spPr bwMode="gray">
            <a:xfrm>
              <a:off x="11549063" y="6383338"/>
              <a:ext cx="141288" cy="125413"/>
            </a:xfrm>
            <a:custGeom>
              <a:avLst/>
              <a:gdLst>
                <a:gd name="T0" fmla="*/ 120 w 396"/>
                <a:gd name="T1" fmla="*/ 0 h 338"/>
                <a:gd name="T2" fmla="*/ 304 w 396"/>
                <a:gd name="T3" fmla="*/ 243 h 338"/>
                <a:gd name="T4" fmla="*/ 304 w 396"/>
                <a:gd name="T5" fmla="*/ 0 h 338"/>
                <a:gd name="T6" fmla="*/ 396 w 396"/>
                <a:gd name="T7" fmla="*/ 0 h 338"/>
                <a:gd name="T8" fmla="*/ 396 w 396"/>
                <a:gd name="T9" fmla="*/ 338 h 338"/>
                <a:gd name="T10" fmla="*/ 286 w 396"/>
                <a:gd name="T11" fmla="*/ 338 h 338"/>
                <a:gd name="T12" fmla="*/ 93 w 396"/>
                <a:gd name="T13" fmla="*/ 82 h 338"/>
                <a:gd name="T14" fmla="*/ 93 w 396"/>
                <a:gd name="T15" fmla="*/ 338 h 338"/>
                <a:gd name="T16" fmla="*/ 0 w 396"/>
                <a:gd name="T17" fmla="*/ 338 h 338"/>
                <a:gd name="T18" fmla="*/ 0 w 396"/>
                <a:gd name="T19" fmla="*/ 0 h 338"/>
                <a:gd name="T20" fmla="*/ 120 w 396"/>
                <a:gd name="T21" fmla="*/ 0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96" h="338">
                  <a:moveTo>
                    <a:pt x="120" y="0"/>
                  </a:moveTo>
                  <a:lnTo>
                    <a:pt x="304" y="243"/>
                  </a:lnTo>
                  <a:lnTo>
                    <a:pt x="304" y="0"/>
                  </a:lnTo>
                  <a:lnTo>
                    <a:pt x="396" y="0"/>
                  </a:lnTo>
                  <a:lnTo>
                    <a:pt x="396" y="338"/>
                  </a:lnTo>
                  <a:lnTo>
                    <a:pt x="286" y="338"/>
                  </a:lnTo>
                  <a:lnTo>
                    <a:pt x="93" y="82"/>
                  </a:lnTo>
                  <a:lnTo>
                    <a:pt x="93" y="338"/>
                  </a:lnTo>
                  <a:lnTo>
                    <a:pt x="0" y="338"/>
                  </a:lnTo>
                  <a:lnTo>
                    <a:pt x="0" y="0"/>
                  </a:lnTo>
                  <a:lnTo>
                    <a:pt x="120" y="0"/>
                  </a:lnTo>
                  <a:close/>
                </a:path>
              </a:pathLst>
            </a:custGeom>
            <a:grpFill/>
            <a:ln>
              <a:noFill/>
            </a:ln>
          </p:spPr>
          <p:txBody>
            <a:bodyPr vert="horz" wrap="square" lIns="91440" tIns="45720" rIns="91440" bIns="45720" numCol="1" anchor="t" anchorCtr="0" compatLnSpc="1">
              <a:prstTxWarp prst="textNoShape">
                <a:avLst/>
              </a:prstTxWarp>
            </a:bodyPr>
            <a:lstStyle/>
            <a:p>
              <a:pPr>
                <a:lnSpc>
                  <a:spcPct val="100000"/>
                </a:lnSpc>
              </a:pPr>
              <a:endParaRPr lang="de-DE" b="1">
                <a:solidFill>
                  <a:srgbClr val="616161"/>
                </a:solidFill>
              </a:endParaRPr>
            </a:p>
          </p:txBody>
        </p:sp>
      </p:grpSp>
      <p:sp>
        <p:nvSpPr>
          <p:cNvPr id="22" name="Text Placeholder 21">
            <a:extLst>
              <a:ext uri="{FF2B5EF4-FFF2-40B4-BE49-F238E27FC236}">
                <a16:creationId xmlns:a16="http://schemas.microsoft.com/office/drawing/2014/main" id="{19F1BABE-ACD0-0AE7-DBC8-B7D3751D4D34}"/>
              </a:ext>
            </a:extLst>
          </p:cNvPr>
          <p:cNvSpPr>
            <a:spLocks noGrp="1"/>
          </p:cNvSpPr>
          <p:nvPr>
            <p:ph type="body" sz="quarter" idx="18" hasCustomPrompt="1"/>
          </p:nvPr>
        </p:nvSpPr>
        <p:spPr bwMode="gray">
          <a:xfrm>
            <a:off x="6456362" y="4553706"/>
            <a:ext cx="5219700" cy="1383544"/>
          </a:xfrm>
        </p:spPr>
        <p:txBody>
          <a:bodyPr/>
          <a:lstStyle>
            <a:lvl1pPr marL="0" indent="0">
              <a:buNone/>
              <a:defRPr sz="2800">
                <a:solidFill>
                  <a:schemeClr val="bg1"/>
                </a:solidFill>
              </a:defRPr>
            </a:lvl1pPr>
          </a:lstStyle>
          <a:p>
            <a:pPr marL="0" marR="0" lvl="0" indent="0" algn="l" defTabSz="914400" rtl="0" eaLnBrk="1" fontAlgn="auto" latinLnBrk="0" hangingPunct="1">
              <a:lnSpc>
                <a:spcPct val="100000"/>
              </a:lnSpc>
              <a:spcBef>
                <a:spcPts val="0"/>
              </a:spcBef>
              <a:spcAft>
                <a:spcPts val="600"/>
              </a:spcAft>
              <a:buClr>
                <a:schemeClr val="accent1"/>
              </a:buClr>
              <a:buSzTx/>
              <a:buFont typeface="Arial" panose="020B0604020202020204" pitchFamily="34" charset="0"/>
              <a:buNone/>
              <a:tabLst/>
              <a:defRPr/>
            </a:pPr>
            <a:r>
              <a:rPr lang="en-US" noProof="0"/>
              <a:t>"Here could be a big quotation. Please write a short and meaningful text."</a:t>
            </a:r>
          </a:p>
        </p:txBody>
      </p:sp>
    </p:spTree>
    <p:extLst>
      <p:ext uri="{BB962C8B-B14F-4D97-AF65-F5344CB8AC3E}">
        <p14:creationId xmlns:p14="http://schemas.microsoft.com/office/powerpoint/2010/main" val="1675644209"/>
      </p:ext>
    </p:extLst>
  </p:cSld>
  <p:clrMapOvr>
    <a:masterClrMapping/>
  </p:clrMapOvr>
  <p:extLst>
    <p:ext uri="{DCECCB84-F9BA-43D5-87BE-67443E8EF086}">
      <p15:sldGuideLst xmlns:p15="http://schemas.microsoft.com/office/powerpoint/2012/main">
        <p15:guide id="1" orient="horz" pos="913">
          <p15:clr>
            <a:srgbClr val="F26B43"/>
          </p15:clr>
        </p15:guide>
        <p15:guide id="2" orient="horz" pos="754">
          <p15:clr>
            <a:srgbClr val="F26B43"/>
          </p15:clr>
        </p15:guide>
        <p15:guide id="3" orient="horz" pos="300">
          <p15:clr>
            <a:srgbClr val="F26B43"/>
          </p15:clr>
        </p15:guide>
        <p15:guide id="4" orient="horz" pos="3974">
          <p15:clr>
            <a:srgbClr val="F26B43"/>
          </p15:clr>
        </p15:guide>
        <p15:guide id="5" orient="horz" pos="3816">
          <p15:clr>
            <a:srgbClr val="F26B43"/>
          </p15:clr>
        </p15:guide>
        <p15:guide id="6" pos="3840">
          <p15:clr>
            <a:srgbClr val="F26B43"/>
          </p15:clr>
        </p15:guide>
        <p15:guide id="7" pos="4067">
          <p15:clr>
            <a:srgbClr val="F26B43"/>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Image with text and highlighted text">
    <p:spTree>
      <p:nvGrpSpPr>
        <p:cNvPr id="1" name=""/>
        <p:cNvGrpSpPr/>
        <p:nvPr/>
      </p:nvGrpSpPr>
      <p:grpSpPr>
        <a:xfrm>
          <a:off x="0" y="0"/>
          <a:ext cx="0" cy="0"/>
          <a:chOff x="0" y="0"/>
          <a:chExt cx="0" cy="0"/>
        </a:xfrm>
      </p:grpSpPr>
      <p:sp>
        <p:nvSpPr>
          <p:cNvPr id="23" name="Rechteck 16">
            <a:extLst>
              <a:ext uri="{FF2B5EF4-FFF2-40B4-BE49-F238E27FC236}">
                <a16:creationId xmlns:a16="http://schemas.microsoft.com/office/drawing/2014/main" id="{91D5211F-56ED-4CDB-97CF-483B92C7E91A}"/>
              </a:ext>
            </a:extLst>
          </p:cNvPr>
          <p:cNvSpPr>
            <a:spLocks/>
          </p:cNvSpPr>
          <p:nvPr userDrawn="1"/>
        </p:nvSpPr>
        <p:spPr bwMode="gray">
          <a:xfrm>
            <a:off x="6095999" y="2780387"/>
            <a:ext cx="6096000" cy="4077613"/>
          </a:xfrm>
          <a:prstGeom prst="rect">
            <a:avLst/>
          </a:prstGeom>
          <a:solidFill>
            <a:srgbClr val="EEEEEE"/>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3" name="Picture Placeholder 7">
            <a:extLst>
              <a:ext uri="{FF2B5EF4-FFF2-40B4-BE49-F238E27FC236}">
                <a16:creationId xmlns:a16="http://schemas.microsoft.com/office/drawing/2014/main" id="{AE0FE1CD-B1AE-2871-3162-980A2C8857B3}"/>
              </a:ext>
            </a:extLst>
          </p:cNvPr>
          <p:cNvSpPr>
            <a:spLocks noGrp="1"/>
          </p:cNvSpPr>
          <p:nvPr>
            <p:ph type="pic" sz="quarter" idx="11" hasCustomPrompt="1"/>
          </p:nvPr>
        </p:nvSpPr>
        <p:spPr bwMode="gray">
          <a:xfrm>
            <a:off x="0" y="0"/>
            <a:ext cx="6096000" cy="6858000"/>
          </a:xfrm>
          <a:pattFill prst="wdUpDiag">
            <a:fgClr>
              <a:schemeClr val="bg1"/>
            </a:fgClr>
            <a:bgClr>
              <a:schemeClr val="bg2"/>
            </a:bgClr>
          </a:pattFill>
        </p:spPr>
        <p:txBody>
          <a:bodyPr anchor="ctr"/>
          <a:lstStyle>
            <a:lvl1pPr marL="0" indent="0" algn="ctr">
              <a:lnSpc>
                <a:spcPct val="100000"/>
              </a:lnSpc>
              <a:buNone/>
              <a:defRPr sz="1000" b="1" i="1">
                <a:solidFill>
                  <a:srgbClr val="BDBDBD"/>
                </a:solidFill>
              </a:defRPr>
            </a:lvl1pPr>
          </a:lstStyle>
          <a:p>
            <a:r>
              <a:rPr lang="en-US" noProof="0"/>
              <a:t> Image placeholder</a:t>
            </a:r>
          </a:p>
        </p:txBody>
      </p:sp>
      <p:graphicFrame>
        <p:nvGraphicFramePr>
          <p:cNvPr id="18" name="Objekt 17" hidden="1">
            <a:extLst>
              <a:ext uri="{FF2B5EF4-FFF2-40B4-BE49-F238E27FC236}">
                <a16:creationId xmlns:a16="http://schemas.microsoft.com/office/drawing/2014/main" id="{F05B8204-9FDB-9C14-7435-D448FCDFE6C8}"/>
              </a:ext>
            </a:extLst>
          </p:cNvPr>
          <p:cNvGraphicFramePr>
            <a:graphicFrameLocks noChangeAspect="1"/>
          </p:cNvGraphicFramePr>
          <p:nvPr userDrawn="1">
            <p:custDataLst>
              <p:tags r:id="rId1"/>
            </p:custDataLst>
            <p:extLst>
              <p:ext uri="{D42A27DB-BD31-4B8C-83A1-F6EECF244321}">
                <p14:modId xmlns:p14="http://schemas.microsoft.com/office/powerpoint/2010/main" val="9640356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80" imgH="481" progId="TCLayout.ActiveDocument.1">
                  <p:embed/>
                </p:oleObj>
              </mc:Choice>
              <mc:Fallback>
                <p:oleObj name="think-cell Folie" r:id="rId3" imgW="480" imgH="481" progId="TCLayout.ActiveDocument.1">
                  <p:embed/>
                  <p:pic>
                    <p:nvPicPr>
                      <p:cNvPr id="18" name="Objekt 17" hidden="1">
                        <a:extLst>
                          <a:ext uri="{FF2B5EF4-FFF2-40B4-BE49-F238E27FC236}">
                            <a16:creationId xmlns:a16="http://schemas.microsoft.com/office/drawing/2014/main" id="{F05B8204-9FDB-9C14-7435-D448FCDFE6C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Textplatzhalter 15">
            <a:extLst>
              <a:ext uri="{FF2B5EF4-FFF2-40B4-BE49-F238E27FC236}">
                <a16:creationId xmlns:a16="http://schemas.microsoft.com/office/drawing/2014/main" id="{9949918B-D12D-7BAD-20AE-4F6D7F538C37}"/>
              </a:ext>
            </a:extLst>
          </p:cNvPr>
          <p:cNvSpPr>
            <a:spLocks noGrp="1"/>
          </p:cNvSpPr>
          <p:nvPr>
            <p:ph type="body" sz="quarter" idx="13" hasCustomPrompt="1"/>
          </p:nvPr>
        </p:nvSpPr>
        <p:spPr bwMode="gray">
          <a:xfrm>
            <a:off x="6456363" y="921522"/>
            <a:ext cx="5219700" cy="276999"/>
          </a:xfrm>
        </p:spPr>
        <p:txBody>
          <a:bodyPr wrap="square">
            <a:spAutoFit/>
          </a:bodyPr>
          <a:lstStyle>
            <a:lvl1pPr marL="0" indent="0">
              <a:buNone/>
              <a:defRPr sz="1800"/>
            </a:lvl1pPr>
          </a:lstStyle>
          <a:p>
            <a:pPr lvl="0"/>
            <a:r>
              <a:rPr lang="en-US"/>
              <a:t>Subtitle</a:t>
            </a:r>
          </a:p>
        </p:txBody>
      </p:sp>
      <p:sp>
        <p:nvSpPr>
          <p:cNvPr id="2" name="Title 1">
            <a:extLst>
              <a:ext uri="{FF2B5EF4-FFF2-40B4-BE49-F238E27FC236}">
                <a16:creationId xmlns:a16="http://schemas.microsoft.com/office/drawing/2014/main" id="{71A2DFB5-48F4-943E-B44B-45DD1B5A924C}"/>
              </a:ext>
            </a:extLst>
          </p:cNvPr>
          <p:cNvSpPr>
            <a:spLocks noGrp="1"/>
          </p:cNvSpPr>
          <p:nvPr>
            <p:ph type="title" hasCustomPrompt="1"/>
          </p:nvPr>
        </p:nvSpPr>
        <p:spPr bwMode="gray">
          <a:xfrm>
            <a:off x="6456362" y="476250"/>
            <a:ext cx="5219700" cy="430887"/>
          </a:xfrm>
        </p:spPr>
        <p:txBody>
          <a:bodyPr vert="horz"/>
          <a:lstStyle/>
          <a:p>
            <a:r>
              <a:rPr lang="en-US"/>
              <a:t>Click to edit title</a:t>
            </a:r>
          </a:p>
        </p:txBody>
      </p:sp>
      <p:sp>
        <p:nvSpPr>
          <p:cNvPr id="7" name="Footer Placeholder 6">
            <a:extLst>
              <a:ext uri="{FF2B5EF4-FFF2-40B4-BE49-F238E27FC236}">
                <a16:creationId xmlns:a16="http://schemas.microsoft.com/office/drawing/2014/main" id="{8349C354-53FD-5E75-76EC-6C80A35BC397}"/>
              </a:ext>
            </a:extLst>
          </p:cNvPr>
          <p:cNvSpPr>
            <a:spLocks noGrp="1"/>
          </p:cNvSpPr>
          <p:nvPr>
            <p:ph type="ftr" sz="quarter" idx="16"/>
          </p:nvPr>
        </p:nvSpPr>
        <p:spPr bwMode="gray"/>
        <p:txBody>
          <a:bodyPr/>
          <a:lstStyle/>
          <a:p>
            <a:r>
              <a:rPr lang="de-DE"/>
              <a:t>© Copyright Sensirion, Switzerland</a:t>
            </a:r>
          </a:p>
        </p:txBody>
      </p:sp>
      <p:sp>
        <p:nvSpPr>
          <p:cNvPr id="8" name="Slide Number Placeholder 7">
            <a:extLst>
              <a:ext uri="{FF2B5EF4-FFF2-40B4-BE49-F238E27FC236}">
                <a16:creationId xmlns:a16="http://schemas.microsoft.com/office/drawing/2014/main" id="{94705C1F-6CF3-8FF8-4D42-9153C70BF287}"/>
              </a:ext>
            </a:extLst>
          </p:cNvPr>
          <p:cNvSpPr>
            <a:spLocks noGrp="1"/>
          </p:cNvSpPr>
          <p:nvPr>
            <p:ph type="sldNum" sz="quarter" idx="17"/>
          </p:nvPr>
        </p:nvSpPr>
        <p:spPr bwMode="gray"/>
        <p:txBody>
          <a:bodyPr/>
          <a:lstStyle/>
          <a:p>
            <a:fld id="{B1E691A1-F3A6-4574-B226-B412272B38A6}" type="slidenum">
              <a:rPr lang="de-DE" smtClean="0"/>
              <a:pPr/>
              <a:t>‹#›</a:t>
            </a:fld>
            <a:endParaRPr lang="de-DE"/>
          </a:p>
        </p:txBody>
      </p:sp>
      <p:sp>
        <p:nvSpPr>
          <p:cNvPr id="21" name="Text Placeholder 20">
            <a:extLst>
              <a:ext uri="{FF2B5EF4-FFF2-40B4-BE49-F238E27FC236}">
                <a16:creationId xmlns:a16="http://schemas.microsoft.com/office/drawing/2014/main" id="{E83FA28B-EF70-F097-4CE2-2328A5A69964}"/>
              </a:ext>
            </a:extLst>
          </p:cNvPr>
          <p:cNvSpPr>
            <a:spLocks noGrp="1"/>
          </p:cNvSpPr>
          <p:nvPr>
            <p:ph type="body" sz="quarter" idx="18" hasCustomPrompt="1"/>
          </p:nvPr>
        </p:nvSpPr>
        <p:spPr bwMode="gray">
          <a:xfrm>
            <a:off x="6456363" y="1449388"/>
            <a:ext cx="5219700" cy="892552"/>
          </a:xfrm>
        </p:spPr>
        <p:txBody>
          <a:bodyPr>
            <a:spAutoFit/>
          </a:bodyPr>
          <a:lstStyle>
            <a:lvl1pPr>
              <a:defRPr/>
            </a:lvl1pPr>
          </a:lstStyle>
          <a:p>
            <a:pPr lvl="0"/>
            <a:r>
              <a:rPr lang="en-US"/>
              <a:t>First level</a:t>
            </a:r>
          </a:p>
          <a:p>
            <a:pPr lvl="1"/>
            <a:r>
              <a:rPr lang="en-US"/>
              <a:t>Second level</a:t>
            </a:r>
          </a:p>
          <a:p>
            <a:pPr lvl="2"/>
            <a:r>
              <a:rPr lang="en-US"/>
              <a:t>Third level</a:t>
            </a:r>
          </a:p>
        </p:txBody>
      </p:sp>
      <p:grpSp>
        <p:nvGrpSpPr>
          <p:cNvPr id="24" name="Gruppieren 9">
            <a:extLst>
              <a:ext uri="{FF2B5EF4-FFF2-40B4-BE49-F238E27FC236}">
                <a16:creationId xmlns:a16="http://schemas.microsoft.com/office/drawing/2014/main" id="{0F44FDDE-CC04-474D-24D7-55C182638E86}"/>
              </a:ext>
            </a:extLst>
          </p:cNvPr>
          <p:cNvGrpSpPr/>
          <p:nvPr userDrawn="1"/>
        </p:nvGrpSpPr>
        <p:grpSpPr bwMode="gray">
          <a:xfrm>
            <a:off x="10375900" y="6308725"/>
            <a:ext cx="1300163" cy="130175"/>
            <a:chOff x="10390188" y="6381750"/>
            <a:chExt cx="1300163" cy="130175"/>
          </a:xfrm>
        </p:grpSpPr>
        <p:sp>
          <p:nvSpPr>
            <p:cNvPr id="25" name="Freeform 5">
              <a:extLst>
                <a:ext uri="{FF2B5EF4-FFF2-40B4-BE49-F238E27FC236}">
                  <a16:creationId xmlns:a16="http://schemas.microsoft.com/office/drawing/2014/main" id="{1A28078A-8714-93CE-BE26-2963BA47565E}"/>
                </a:ext>
              </a:extLst>
            </p:cNvPr>
            <p:cNvSpPr>
              <a:spLocks/>
            </p:cNvSpPr>
            <p:nvPr/>
          </p:nvSpPr>
          <p:spPr bwMode="gray">
            <a:xfrm>
              <a:off x="10390188" y="6383338"/>
              <a:ext cx="153988" cy="125413"/>
            </a:xfrm>
            <a:custGeom>
              <a:avLst/>
              <a:gdLst>
                <a:gd name="T0" fmla="*/ 172 w 428"/>
                <a:gd name="T1" fmla="*/ 60 h 338"/>
                <a:gd name="T2" fmla="*/ 99 w 428"/>
                <a:gd name="T3" fmla="*/ 104 h 338"/>
                <a:gd name="T4" fmla="*/ 159 w 428"/>
                <a:gd name="T5" fmla="*/ 141 h 338"/>
                <a:gd name="T6" fmla="*/ 284 w 428"/>
                <a:gd name="T7" fmla="*/ 141 h 338"/>
                <a:gd name="T8" fmla="*/ 428 w 428"/>
                <a:gd name="T9" fmla="*/ 237 h 338"/>
                <a:gd name="T10" fmla="*/ 270 w 428"/>
                <a:gd name="T11" fmla="*/ 338 h 338"/>
                <a:gd name="T12" fmla="*/ 18 w 428"/>
                <a:gd name="T13" fmla="*/ 338 h 338"/>
                <a:gd name="T14" fmla="*/ 18 w 428"/>
                <a:gd name="T15" fmla="*/ 277 h 338"/>
                <a:gd name="T16" fmla="*/ 255 w 428"/>
                <a:gd name="T17" fmla="*/ 277 h 338"/>
                <a:gd name="T18" fmla="*/ 329 w 428"/>
                <a:gd name="T19" fmla="*/ 239 h 338"/>
                <a:gd name="T20" fmla="*/ 261 w 428"/>
                <a:gd name="T21" fmla="*/ 200 h 338"/>
                <a:gd name="T22" fmla="*/ 150 w 428"/>
                <a:gd name="T23" fmla="*/ 200 h 338"/>
                <a:gd name="T24" fmla="*/ 0 w 428"/>
                <a:gd name="T25" fmla="*/ 103 h 338"/>
                <a:gd name="T26" fmla="*/ 158 w 428"/>
                <a:gd name="T27" fmla="*/ 0 h 338"/>
                <a:gd name="T28" fmla="*/ 406 w 428"/>
                <a:gd name="T29" fmla="*/ 0 h 338"/>
                <a:gd name="T30" fmla="*/ 406 w 428"/>
                <a:gd name="T31" fmla="*/ 60 h 338"/>
                <a:gd name="T32" fmla="*/ 172 w 428"/>
                <a:gd name="T33" fmla="*/ 60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8" h="338">
                  <a:moveTo>
                    <a:pt x="172" y="60"/>
                  </a:moveTo>
                  <a:cubicBezTo>
                    <a:pt x="122" y="60"/>
                    <a:pt x="99" y="73"/>
                    <a:pt x="99" y="104"/>
                  </a:cubicBezTo>
                  <a:cubicBezTo>
                    <a:pt x="99" y="129"/>
                    <a:pt x="119" y="141"/>
                    <a:pt x="159" y="141"/>
                  </a:cubicBezTo>
                  <a:lnTo>
                    <a:pt x="284" y="141"/>
                  </a:lnTo>
                  <a:cubicBezTo>
                    <a:pt x="384" y="141"/>
                    <a:pt x="428" y="166"/>
                    <a:pt x="428" y="237"/>
                  </a:cubicBezTo>
                  <a:cubicBezTo>
                    <a:pt x="428" y="308"/>
                    <a:pt x="377" y="338"/>
                    <a:pt x="270" y="338"/>
                  </a:cubicBezTo>
                  <a:lnTo>
                    <a:pt x="18" y="338"/>
                  </a:lnTo>
                  <a:lnTo>
                    <a:pt x="18" y="277"/>
                  </a:lnTo>
                  <a:lnTo>
                    <a:pt x="255" y="277"/>
                  </a:lnTo>
                  <a:cubicBezTo>
                    <a:pt x="305" y="277"/>
                    <a:pt x="329" y="268"/>
                    <a:pt x="329" y="239"/>
                  </a:cubicBezTo>
                  <a:cubicBezTo>
                    <a:pt x="329" y="209"/>
                    <a:pt x="307" y="200"/>
                    <a:pt x="261" y="200"/>
                  </a:cubicBezTo>
                  <a:lnTo>
                    <a:pt x="150" y="200"/>
                  </a:lnTo>
                  <a:cubicBezTo>
                    <a:pt x="47" y="200"/>
                    <a:pt x="0" y="171"/>
                    <a:pt x="0" y="103"/>
                  </a:cubicBezTo>
                  <a:cubicBezTo>
                    <a:pt x="0" y="30"/>
                    <a:pt x="51" y="0"/>
                    <a:pt x="158" y="0"/>
                  </a:cubicBezTo>
                  <a:lnTo>
                    <a:pt x="406" y="0"/>
                  </a:lnTo>
                  <a:lnTo>
                    <a:pt x="406" y="60"/>
                  </a:lnTo>
                  <a:lnTo>
                    <a:pt x="172" y="60"/>
                  </a:lnTo>
                  <a:close/>
                </a:path>
              </a:pathLst>
            </a:custGeom>
            <a:solidFill>
              <a:srgbClr val="66CC33"/>
            </a:solidFill>
            <a:ln>
              <a:noFill/>
            </a:ln>
          </p:spPr>
          <p:txBody>
            <a:bodyPr vert="horz" wrap="square" lIns="91440" tIns="45720" rIns="91440" bIns="45720" numCol="1" anchor="t" anchorCtr="0" compatLnSpc="1">
              <a:prstTxWarp prst="textNoShape">
                <a:avLst/>
              </a:prstTxWarp>
            </a:bodyPr>
            <a:lstStyle/>
            <a:p>
              <a:pPr>
                <a:lnSpc>
                  <a:spcPct val="100000"/>
                </a:lnSpc>
              </a:pPr>
              <a:endParaRPr lang="de-DE" b="1">
                <a:solidFill>
                  <a:srgbClr val="616161"/>
                </a:solidFill>
              </a:endParaRPr>
            </a:p>
          </p:txBody>
        </p:sp>
        <p:sp>
          <p:nvSpPr>
            <p:cNvPr id="26" name="Freeform 6">
              <a:extLst>
                <a:ext uri="{FF2B5EF4-FFF2-40B4-BE49-F238E27FC236}">
                  <a16:creationId xmlns:a16="http://schemas.microsoft.com/office/drawing/2014/main" id="{90788C78-3565-F69B-E358-3D82EE142E53}"/>
                </a:ext>
              </a:extLst>
            </p:cNvPr>
            <p:cNvSpPr>
              <a:spLocks/>
            </p:cNvSpPr>
            <p:nvPr/>
          </p:nvSpPr>
          <p:spPr bwMode="gray">
            <a:xfrm>
              <a:off x="10558463" y="6383338"/>
              <a:ext cx="133350" cy="125413"/>
            </a:xfrm>
            <a:custGeom>
              <a:avLst/>
              <a:gdLst>
                <a:gd name="T0" fmla="*/ 107 w 369"/>
                <a:gd name="T1" fmla="*/ 137 h 338"/>
                <a:gd name="T2" fmla="*/ 369 w 369"/>
                <a:gd name="T3" fmla="*/ 137 h 338"/>
                <a:gd name="T4" fmla="*/ 369 w 369"/>
                <a:gd name="T5" fmla="*/ 196 h 338"/>
                <a:gd name="T6" fmla="*/ 107 w 369"/>
                <a:gd name="T7" fmla="*/ 196 h 338"/>
                <a:gd name="T8" fmla="*/ 214 w 369"/>
                <a:gd name="T9" fmla="*/ 279 h 338"/>
                <a:gd name="T10" fmla="*/ 369 w 369"/>
                <a:gd name="T11" fmla="*/ 279 h 338"/>
                <a:gd name="T12" fmla="*/ 369 w 369"/>
                <a:gd name="T13" fmla="*/ 338 h 338"/>
                <a:gd name="T14" fmla="*/ 210 w 369"/>
                <a:gd name="T15" fmla="*/ 338 h 338"/>
                <a:gd name="T16" fmla="*/ 69 w 369"/>
                <a:gd name="T17" fmla="*/ 308 h 338"/>
                <a:gd name="T18" fmla="*/ 0 w 369"/>
                <a:gd name="T19" fmla="*/ 175 h 338"/>
                <a:gd name="T20" fmla="*/ 212 w 369"/>
                <a:gd name="T21" fmla="*/ 0 h 338"/>
                <a:gd name="T22" fmla="*/ 369 w 369"/>
                <a:gd name="T23" fmla="*/ 0 h 338"/>
                <a:gd name="T24" fmla="*/ 369 w 369"/>
                <a:gd name="T25" fmla="*/ 59 h 338"/>
                <a:gd name="T26" fmla="*/ 214 w 369"/>
                <a:gd name="T27" fmla="*/ 59 h 338"/>
                <a:gd name="T28" fmla="*/ 107 w 369"/>
                <a:gd name="T29" fmla="*/ 137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69" h="338">
                  <a:moveTo>
                    <a:pt x="107" y="137"/>
                  </a:moveTo>
                  <a:lnTo>
                    <a:pt x="369" y="137"/>
                  </a:lnTo>
                  <a:lnTo>
                    <a:pt x="369" y="196"/>
                  </a:lnTo>
                  <a:lnTo>
                    <a:pt x="107" y="196"/>
                  </a:lnTo>
                  <a:cubicBezTo>
                    <a:pt x="107" y="257"/>
                    <a:pt x="139" y="279"/>
                    <a:pt x="214" y="279"/>
                  </a:cubicBezTo>
                  <a:lnTo>
                    <a:pt x="369" y="279"/>
                  </a:lnTo>
                  <a:lnTo>
                    <a:pt x="369" y="338"/>
                  </a:lnTo>
                  <a:lnTo>
                    <a:pt x="210" y="338"/>
                  </a:lnTo>
                  <a:cubicBezTo>
                    <a:pt x="155" y="338"/>
                    <a:pt x="113" y="334"/>
                    <a:pt x="69" y="308"/>
                  </a:cubicBezTo>
                  <a:cubicBezTo>
                    <a:pt x="23" y="280"/>
                    <a:pt x="0" y="236"/>
                    <a:pt x="0" y="175"/>
                  </a:cubicBezTo>
                  <a:cubicBezTo>
                    <a:pt x="0" y="55"/>
                    <a:pt x="67" y="0"/>
                    <a:pt x="212" y="0"/>
                  </a:cubicBezTo>
                  <a:lnTo>
                    <a:pt x="369" y="0"/>
                  </a:lnTo>
                  <a:lnTo>
                    <a:pt x="369" y="59"/>
                  </a:lnTo>
                  <a:lnTo>
                    <a:pt x="214" y="59"/>
                  </a:lnTo>
                  <a:cubicBezTo>
                    <a:pt x="146" y="59"/>
                    <a:pt x="111" y="84"/>
                    <a:pt x="107" y="137"/>
                  </a:cubicBezTo>
                  <a:close/>
                </a:path>
              </a:pathLst>
            </a:custGeom>
            <a:solidFill>
              <a:srgbClr val="66CC33"/>
            </a:solidFill>
            <a:ln>
              <a:noFill/>
            </a:ln>
          </p:spPr>
          <p:txBody>
            <a:bodyPr vert="horz" wrap="square" lIns="91440" tIns="45720" rIns="91440" bIns="45720" numCol="1" anchor="t" anchorCtr="0" compatLnSpc="1">
              <a:prstTxWarp prst="textNoShape">
                <a:avLst/>
              </a:prstTxWarp>
            </a:bodyPr>
            <a:lstStyle/>
            <a:p>
              <a:pPr>
                <a:lnSpc>
                  <a:spcPct val="100000"/>
                </a:lnSpc>
              </a:pPr>
              <a:endParaRPr lang="de-DE" b="1">
                <a:solidFill>
                  <a:srgbClr val="616161"/>
                </a:solidFill>
              </a:endParaRPr>
            </a:p>
          </p:txBody>
        </p:sp>
        <p:sp>
          <p:nvSpPr>
            <p:cNvPr id="27" name="Freeform 7">
              <a:extLst>
                <a:ext uri="{FF2B5EF4-FFF2-40B4-BE49-F238E27FC236}">
                  <a16:creationId xmlns:a16="http://schemas.microsoft.com/office/drawing/2014/main" id="{E78A2A55-B9BB-12F1-4E0E-B27C0D226DE9}"/>
                </a:ext>
              </a:extLst>
            </p:cNvPr>
            <p:cNvSpPr>
              <a:spLocks/>
            </p:cNvSpPr>
            <p:nvPr/>
          </p:nvSpPr>
          <p:spPr bwMode="gray">
            <a:xfrm>
              <a:off x="10720388" y="6383338"/>
              <a:ext cx="142875" cy="125413"/>
            </a:xfrm>
            <a:custGeom>
              <a:avLst/>
              <a:gdLst>
                <a:gd name="T0" fmla="*/ 120 w 397"/>
                <a:gd name="T1" fmla="*/ 1 h 339"/>
                <a:gd name="T2" fmla="*/ 304 w 397"/>
                <a:gd name="T3" fmla="*/ 244 h 339"/>
                <a:gd name="T4" fmla="*/ 304 w 397"/>
                <a:gd name="T5" fmla="*/ 0 h 339"/>
                <a:gd name="T6" fmla="*/ 397 w 397"/>
                <a:gd name="T7" fmla="*/ 0 h 339"/>
                <a:gd name="T8" fmla="*/ 396 w 397"/>
                <a:gd name="T9" fmla="*/ 339 h 339"/>
                <a:gd name="T10" fmla="*/ 287 w 397"/>
                <a:gd name="T11" fmla="*/ 339 h 339"/>
                <a:gd name="T12" fmla="*/ 93 w 397"/>
                <a:gd name="T13" fmla="*/ 83 h 339"/>
                <a:gd name="T14" fmla="*/ 93 w 397"/>
                <a:gd name="T15" fmla="*/ 339 h 339"/>
                <a:gd name="T16" fmla="*/ 0 w 397"/>
                <a:gd name="T17" fmla="*/ 339 h 339"/>
                <a:gd name="T18" fmla="*/ 0 w 397"/>
                <a:gd name="T19" fmla="*/ 1 h 339"/>
                <a:gd name="T20" fmla="*/ 120 w 397"/>
                <a:gd name="T21" fmla="*/ 1 h 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97" h="339">
                  <a:moveTo>
                    <a:pt x="120" y="1"/>
                  </a:moveTo>
                  <a:lnTo>
                    <a:pt x="304" y="244"/>
                  </a:lnTo>
                  <a:lnTo>
                    <a:pt x="304" y="0"/>
                  </a:lnTo>
                  <a:lnTo>
                    <a:pt x="397" y="0"/>
                  </a:lnTo>
                  <a:lnTo>
                    <a:pt x="396" y="339"/>
                  </a:lnTo>
                  <a:lnTo>
                    <a:pt x="287" y="339"/>
                  </a:lnTo>
                  <a:lnTo>
                    <a:pt x="93" y="83"/>
                  </a:lnTo>
                  <a:lnTo>
                    <a:pt x="93" y="339"/>
                  </a:lnTo>
                  <a:lnTo>
                    <a:pt x="0" y="339"/>
                  </a:lnTo>
                  <a:lnTo>
                    <a:pt x="0" y="1"/>
                  </a:lnTo>
                  <a:lnTo>
                    <a:pt x="120" y="1"/>
                  </a:lnTo>
                  <a:close/>
                </a:path>
              </a:pathLst>
            </a:custGeom>
            <a:solidFill>
              <a:srgbClr val="66CC33"/>
            </a:solidFill>
            <a:ln>
              <a:noFill/>
            </a:ln>
          </p:spPr>
          <p:txBody>
            <a:bodyPr vert="horz" wrap="square" lIns="91440" tIns="45720" rIns="91440" bIns="45720" numCol="1" anchor="t" anchorCtr="0" compatLnSpc="1">
              <a:prstTxWarp prst="textNoShape">
                <a:avLst/>
              </a:prstTxWarp>
            </a:bodyPr>
            <a:lstStyle/>
            <a:p>
              <a:pPr>
                <a:lnSpc>
                  <a:spcPct val="100000"/>
                </a:lnSpc>
              </a:pPr>
              <a:endParaRPr lang="de-DE" b="1">
                <a:solidFill>
                  <a:srgbClr val="616161"/>
                </a:solidFill>
              </a:endParaRPr>
            </a:p>
          </p:txBody>
        </p:sp>
        <p:sp>
          <p:nvSpPr>
            <p:cNvPr id="28" name="Freeform 8">
              <a:extLst>
                <a:ext uri="{FF2B5EF4-FFF2-40B4-BE49-F238E27FC236}">
                  <a16:creationId xmlns:a16="http://schemas.microsoft.com/office/drawing/2014/main" id="{327D1575-AE29-CF3A-427F-8917FCF8B397}"/>
                </a:ext>
              </a:extLst>
            </p:cNvPr>
            <p:cNvSpPr>
              <a:spLocks/>
            </p:cNvSpPr>
            <p:nvPr/>
          </p:nvSpPr>
          <p:spPr bwMode="gray">
            <a:xfrm>
              <a:off x="10887075" y="6383338"/>
              <a:ext cx="153988" cy="125413"/>
            </a:xfrm>
            <a:custGeom>
              <a:avLst/>
              <a:gdLst>
                <a:gd name="T0" fmla="*/ 171 w 427"/>
                <a:gd name="T1" fmla="*/ 60 h 338"/>
                <a:gd name="T2" fmla="*/ 99 w 427"/>
                <a:gd name="T3" fmla="*/ 104 h 338"/>
                <a:gd name="T4" fmla="*/ 158 w 427"/>
                <a:gd name="T5" fmla="*/ 141 h 338"/>
                <a:gd name="T6" fmla="*/ 284 w 427"/>
                <a:gd name="T7" fmla="*/ 141 h 338"/>
                <a:gd name="T8" fmla="*/ 427 w 427"/>
                <a:gd name="T9" fmla="*/ 237 h 338"/>
                <a:gd name="T10" fmla="*/ 270 w 427"/>
                <a:gd name="T11" fmla="*/ 338 h 338"/>
                <a:gd name="T12" fmla="*/ 18 w 427"/>
                <a:gd name="T13" fmla="*/ 338 h 338"/>
                <a:gd name="T14" fmla="*/ 18 w 427"/>
                <a:gd name="T15" fmla="*/ 277 h 338"/>
                <a:gd name="T16" fmla="*/ 255 w 427"/>
                <a:gd name="T17" fmla="*/ 277 h 338"/>
                <a:gd name="T18" fmla="*/ 328 w 427"/>
                <a:gd name="T19" fmla="*/ 239 h 338"/>
                <a:gd name="T20" fmla="*/ 261 w 427"/>
                <a:gd name="T21" fmla="*/ 200 h 338"/>
                <a:gd name="T22" fmla="*/ 150 w 427"/>
                <a:gd name="T23" fmla="*/ 200 h 338"/>
                <a:gd name="T24" fmla="*/ 0 w 427"/>
                <a:gd name="T25" fmla="*/ 103 h 338"/>
                <a:gd name="T26" fmla="*/ 158 w 427"/>
                <a:gd name="T27" fmla="*/ 0 h 338"/>
                <a:gd name="T28" fmla="*/ 405 w 427"/>
                <a:gd name="T29" fmla="*/ 0 h 338"/>
                <a:gd name="T30" fmla="*/ 405 w 427"/>
                <a:gd name="T31" fmla="*/ 60 h 338"/>
                <a:gd name="T32" fmla="*/ 171 w 427"/>
                <a:gd name="T33" fmla="*/ 60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7" h="338">
                  <a:moveTo>
                    <a:pt x="171" y="60"/>
                  </a:moveTo>
                  <a:cubicBezTo>
                    <a:pt x="122" y="60"/>
                    <a:pt x="99" y="73"/>
                    <a:pt x="99" y="104"/>
                  </a:cubicBezTo>
                  <a:cubicBezTo>
                    <a:pt x="99" y="129"/>
                    <a:pt x="119" y="141"/>
                    <a:pt x="158" y="141"/>
                  </a:cubicBezTo>
                  <a:lnTo>
                    <a:pt x="284" y="141"/>
                  </a:lnTo>
                  <a:cubicBezTo>
                    <a:pt x="384" y="141"/>
                    <a:pt x="427" y="166"/>
                    <a:pt x="427" y="237"/>
                  </a:cubicBezTo>
                  <a:cubicBezTo>
                    <a:pt x="427" y="308"/>
                    <a:pt x="376" y="338"/>
                    <a:pt x="270" y="338"/>
                  </a:cubicBezTo>
                  <a:lnTo>
                    <a:pt x="18" y="338"/>
                  </a:lnTo>
                  <a:lnTo>
                    <a:pt x="18" y="277"/>
                  </a:lnTo>
                  <a:lnTo>
                    <a:pt x="255" y="277"/>
                  </a:lnTo>
                  <a:cubicBezTo>
                    <a:pt x="305" y="277"/>
                    <a:pt x="328" y="268"/>
                    <a:pt x="328" y="239"/>
                  </a:cubicBezTo>
                  <a:cubicBezTo>
                    <a:pt x="328" y="209"/>
                    <a:pt x="307" y="200"/>
                    <a:pt x="261" y="200"/>
                  </a:cubicBezTo>
                  <a:lnTo>
                    <a:pt x="150" y="200"/>
                  </a:lnTo>
                  <a:cubicBezTo>
                    <a:pt x="47" y="200"/>
                    <a:pt x="0" y="171"/>
                    <a:pt x="0" y="103"/>
                  </a:cubicBezTo>
                  <a:cubicBezTo>
                    <a:pt x="0" y="30"/>
                    <a:pt x="51" y="0"/>
                    <a:pt x="158" y="0"/>
                  </a:cubicBezTo>
                  <a:lnTo>
                    <a:pt x="405" y="0"/>
                  </a:lnTo>
                  <a:lnTo>
                    <a:pt x="405" y="60"/>
                  </a:lnTo>
                  <a:lnTo>
                    <a:pt x="171" y="60"/>
                  </a:lnTo>
                  <a:close/>
                </a:path>
              </a:pathLst>
            </a:custGeom>
            <a:solidFill>
              <a:srgbClr val="66CC33"/>
            </a:solidFill>
            <a:ln>
              <a:noFill/>
            </a:ln>
          </p:spPr>
          <p:txBody>
            <a:bodyPr vert="horz" wrap="square" lIns="91440" tIns="45720" rIns="91440" bIns="45720" numCol="1" anchor="t" anchorCtr="0" compatLnSpc="1">
              <a:prstTxWarp prst="textNoShape">
                <a:avLst/>
              </a:prstTxWarp>
            </a:bodyPr>
            <a:lstStyle/>
            <a:p>
              <a:pPr>
                <a:lnSpc>
                  <a:spcPct val="100000"/>
                </a:lnSpc>
              </a:pPr>
              <a:endParaRPr lang="de-DE" b="1">
                <a:solidFill>
                  <a:srgbClr val="616161"/>
                </a:solidFill>
              </a:endParaRPr>
            </a:p>
          </p:txBody>
        </p:sp>
        <p:sp>
          <p:nvSpPr>
            <p:cNvPr id="29" name="Rectangle 9">
              <a:extLst>
                <a:ext uri="{FF2B5EF4-FFF2-40B4-BE49-F238E27FC236}">
                  <a16:creationId xmlns:a16="http://schemas.microsoft.com/office/drawing/2014/main" id="{374EC2BB-8E73-7D8C-2546-89E564A97973}"/>
                </a:ext>
              </a:extLst>
            </p:cNvPr>
            <p:cNvSpPr>
              <a:spLocks noChangeArrowheads="1"/>
            </p:cNvSpPr>
            <p:nvPr/>
          </p:nvSpPr>
          <p:spPr bwMode="gray">
            <a:xfrm>
              <a:off x="11066463" y="6383338"/>
              <a:ext cx="36513" cy="125413"/>
            </a:xfrm>
            <a:prstGeom prst="rect">
              <a:avLst/>
            </a:prstGeom>
            <a:solidFill>
              <a:srgbClr val="66CC33"/>
            </a:solidFill>
            <a:ln>
              <a:noFill/>
            </a:ln>
          </p:spPr>
          <p:txBody>
            <a:bodyPr vert="horz" wrap="square" lIns="91440" tIns="45720" rIns="91440" bIns="45720" numCol="1" anchor="t" anchorCtr="0" compatLnSpc="1">
              <a:prstTxWarp prst="textNoShape">
                <a:avLst/>
              </a:prstTxWarp>
            </a:bodyPr>
            <a:lstStyle/>
            <a:p>
              <a:pPr>
                <a:lnSpc>
                  <a:spcPct val="100000"/>
                </a:lnSpc>
              </a:pPr>
              <a:endParaRPr lang="de-DE" b="1">
                <a:solidFill>
                  <a:srgbClr val="616161"/>
                </a:solidFill>
              </a:endParaRPr>
            </a:p>
          </p:txBody>
        </p:sp>
        <p:sp>
          <p:nvSpPr>
            <p:cNvPr id="30" name="Freeform 10">
              <a:extLst>
                <a:ext uri="{FF2B5EF4-FFF2-40B4-BE49-F238E27FC236}">
                  <a16:creationId xmlns:a16="http://schemas.microsoft.com/office/drawing/2014/main" id="{08981905-DDB7-CF12-44BE-C91ABAD26437}"/>
                </a:ext>
              </a:extLst>
            </p:cNvPr>
            <p:cNvSpPr>
              <a:spLocks noEditPoints="1"/>
            </p:cNvSpPr>
            <p:nvPr/>
          </p:nvSpPr>
          <p:spPr bwMode="gray">
            <a:xfrm>
              <a:off x="11136313" y="6383338"/>
              <a:ext cx="147638" cy="125413"/>
            </a:xfrm>
            <a:custGeom>
              <a:avLst/>
              <a:gdLst>
                <a:gd name="T0" fmla="*/ 211 w 412"/>
                <a:gd name="T1" fmla="*/ 60 h 338"/>
                <a:gd name="T2" fmla="*/ 295 w 412"/>
                <a:gd name="T3" fmla="*/ 103 h 338"/>
                <a:gd name="T4" fmla="*/ 211 w 412"/>
                <a:gd name="T5" fmla="*/ 145 h 338"/>
                <a:gd name="T6" fmla="*/ 95 w 412"/>
                <a:gd name="T7" fmla="*/ 145 h 338"/>
                <a:gd name="T8" fmla="*/ 95 w 412"/>
                <a:gd name="T9" fmla="*/ 60 h 338"/>
                <a:gd name="T10" fmla="*/ 211 w 412"/>
                <a:gd name="T11" fmla="*/ 60 h 338"/>
                <a:gd name="T12" fmla="*/ 0 w 412"/>
                <a:gd name="T13" fmla="*/ 0 h 338"/>
                <a:gd name="T14" fmla="*/ 0 w 412"/>
                <a:gd name="T15" fmla="*/ 338 h 338"/>
                <a:gd name="T16" fmla="*/ 95 w 412"/>
                <a:gd name="T17" fmla="*/ 338 h 338"/>
                <a:gd name="T18" fmla="*/ 95 w 412"/>
                <a:gd name="T19" fmla="*/ 205 h 338"/>
                <a:gd name="T20" fmla="*/ 206 w 412"/>
                <a:gd name="T21" fmla="*/ 205 h 338"/>
                <a:gd name="T22" fmla="*/ 305 w 412"/>
                <a:gd name="T23" fmla="*/ 338 h 338"/>
                <a:gd name="T24" fmla="*/ 412 w 412"/>
                <a:gd name="T25" fmla="*/ 338 h 338"/>
                <a:gd name="T26" fmla="*/ 300 w 412"/>
                <a:gd name="T27" fmla="*/ 197 h 338"/>
                <a:gd name="T28" fmla="*/ 391 w 412"/>
                <a:gd name="T29" fmla="*/ 102 h 338"/>
                <a:gd name="T30" fmla="*/ 233 w 412"/>
                <a:gd name="T31" fmla="*/ 0 h 338"/>
                <a:gd name="T32" fmla="*/ 0 w 412"/>
                <a:gd name="T33" fmla="*/ 0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12" h="338">
                  <a:moveTo>
                    <a:pt x="211" y="60"/>
                  </a:moveTo>
                  <a:cubicBezTo>
                    <a:pt x="267" y="60"/>
                    <a:pt x="295" y="68"/>
                    <a:pt x="295" y="103"/>
                  </a:cubicBezTo>
                  <a:cubicBezTo>
                    <a:pt x="295" y="137"/>
                    <a:pt x="267" y="145"/>
                    <a:pt x="211" y="145"/>
                  </a:cubicBezTo>
                  <a:lnTo>
                    <a:pt x="95" y="145"/>
                  </a:lnTo>
                  <a:lnTo>
                    <a:pt x="95" y="60"/>
                  </a:lnTo>
                  <a:lnTo>
                    <a:pt x="211" y="60"/>
                  </a:lnTo>
                  <a:close/>
                  <a:moveTo>
                    <a:pt x="0" y="0"/>
                  </a:moveTo>
                  <a:lnTo>
                    <a:pt x="0" y="338"/>
                  </a:lnTo>
                  <a:lnTo>
                    <a:pt x="95" y="338"/>
                  </a:lnTo>
                  <a:lnTo>
                    <a:pt x="95" y="205"/>
                  </a:lnTo>
                  <a:lnTo>
                    <a:pt x="206" y="205"/>
                  </a:lnTo>
                  <a:lnTo>
                    <a:pt x="305" y="338"/>
                  </a:lnTo>
                  <a:lnTo>
                    <a:pt x="412" y="338"/>
                  </a:lnTo>
                  <a:lnTo>
                    <a:pt x="300" y="197"/>
                  </a:lnTo>
                  <a:cubicBezTo>
                    <a:pt x="358" y="187"/>
                    <a:pt x="391" y="154"/>
                    <a:pt x="391" y="102"/>
                  </a:cubicBezTo>
                  <a:cubicBezTo>
                    <a:pt x="391" y="31"/>
                    <a:pt x="340" y="0"/>
                    <a:pt x="233" y="0"/>
                  </a:cubicBezTo>
                  <a:lnTo>
                    <a:pt x="0" y="0"/>
                  </a:lnTo>
                  <a:close/>
                </a:path>
              </a:pathLst>
            </a:custGeom>
            <a:solidFill>
              <a:srgbClr val="66CC33"/>
            </a:solidFill>
            <a:ln>
              <a:noFill/>
            </a:ln>
          </p:spPr>
          <p:txBody>
            <a:bodyPr vert="horz" wrap="square" lIns="91440" tIns="45720" rIns="91440" bIns="45720" numCol="1" anchor="t" anchorCtr="0" compatLnSpc="1">
              <a:prstTxWarp prst="textNoShape">
                <a:avLst/>
              </a:prstTxWarp>
            </a:bodyPr>
            <a:lstStyle/>
            <a:p>
              <a:pPr>
                <a:lnSpc>
                  <a:spcPct val="100000"/>
                </a:lnSpc>
              </a:pPr>
              <a:endParaRPr lang="de-DE" b="1">
                <a:solidFill>
                  <a:srgbClr val="616161"/>
                </a:solidFill>
              </a:endParaRPr>
            </a:p>
          </p:txBody>
        </p:sp>
        <p:sp>
          <p:nvSpPr>
            <p:cNvPr id="31" name="Rectangle 11">
              <a:extLst>
                <a:ext uri="{FF2B5EF4-FFF2-40B4-BE49-F238E27FC236}">
                  <a16:creationId xmlns:a16="http://schemas.microsoft.com/office/drawing/2014/main" id="{6FCAD919-4F93-86F1-EECF-938EDE1FBADC}"/>
                </a:ext>
              </a:extLst>
            </p:cNvPr>
            <p:cNvSpPr>
              <a:spLocks noChangeArrowheads="1"/>
            </p:cNvSpPr>
            <p:nvPr/>
          </p:nvSpPr>
          <p:spPr bwMode="gray">
            <a:xfrm>
              <a:off x="11304588" y="6383338"/>
              <a:ext cx="36513" cy="125413"/>
            </a:xfrm>
            <a:prstGeom prst="rect">
              <a:avLst/>
            </a:prstGeom>
            <a:solidFill>
              <a:srgbClr val="66CC33"/>
            </a:solidFill>
            <a:ln>
              <a:noFill/>
            </a:ln>
          </p:spPr>
          <p:txBody>
            <a:bodyPr vert="horz" wrap="square" lIns="91440" tIns="45720" rIns="91440" bIns="45720" numCol="1" anchor="t" anchorCtr="0" compatLnSpc="1">
              <a:prstTxWarp prst="textNoShape">
                <a:avLst/>
              </a:prstTxWarp>
            </a:bodyPr>
            <a:lstStyle/>
            <a:p>
              <a:pPr>
                <a:lnSpc>
                  <a:spcPct val="100000"/>
                </a:lnSpc>
              </a:pPr>
              <a:endParaRPr lang="de-DE" b="1">
                <a:solidFill>
                  <a:srgbClr val="616161"/>
                </a:solidFill>
              </a:endParaRPr>
            </a:p>
          </p:txBody>
        </p:sp>
        <p:sp>
          <p:nvSpPr>
            <p:cNvPr id="32" name="Freeform 12">
              <a:extLst>
                <a:ext uri="{FF2B5EF4-FFF2-40B4-BE49-F238E27FC236}">
                  <a16:creationId xmlns:a16="http://schemas.microsoft.com/office/drawing/2014/main" id="{7A5264F1-7C86-CA50-C155-CAA2BD881D44}"/>
                </a:ext>
              </a:extLst>
            </p:cNvPr>
            <p:cNvSpPr>
              <a:spLocks noEditPoints="1"/>
            </p:cNvSpPr>
            <p:nvPr/>
          </p:nvSpPr>
          <p:spPr bwMode="gray">
            <a:xfrm>
              <a:off x="11363325" y="6381750"/>
              <a:ext cx="161925" cy="130175"/>
            </a:xfrm>
            <a:custGeom>
              <a:avLst/>
              <a:gdLst>
                <a:gd name="T0" fmla="*/ 225 w 449"/>
                <a:gd name="T1" fmla="*/ 57 h 351"/>
                <a:gd name="T2" fmla="*/ 346 w 449"/>
                <a:gd name="T3" fmla="*/ 175 h 351"/>
                <a:gd name="T4" fmla="*/ 225 w 449"/>
                <a:gd name="T5" fmla="*/ 292 h 351"/>
                <a:gd name="T6" fmla="*/ 104 w 449"/>
                <a:gd name="T7" fmla="*/ 172 h 351"/>
                <a:gd name="T8" fmla="*/ 225 w 449"/>
                <a:gd name="T9" fmla="*/ 57 h 351"/>
                <a:gd name="T10" fmla="*/ 0 w 449"/>
                <a:gd name="T11" fmla="*/ 172 h 351"/>
                <a:gd name="T12" fmla="*/ 225 w 449"/>
                <a:gd name="T13" fmla="*/ 351 h 351"/>
                <a:gd name="T14" fmla="*/ 449 w 449"/>
                <a:gd name="T15" fmla="*/ 175 h 351"/>
                <a:gd name="T16" fmla="*/ 247 w 449"/>
                <a:gd name="T17" fmla="*/ 0 h 351"/>
                <a:gd name="T18" fmla="*/ 203 w 449"/>
                <a:gd name="T19" fmla="*/ 0 h 351"/>
                <a:gd name="T20" fmla="*/ 0 w 449"/>
                <a:gd name="T21" fmla="*/ 172 h 3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49" h="351">
                  <a:moveTo>
                    <a:pt x="225" y="57"/>
                  </a:moveTo>
                  <a:cubicBezTo>
                    <a:pt x="308" y="57"/>
                    <a:pt x="346" y="95"/>
                    <a:pt x="346" y="175"/>
                  </a:cubicBezTo>
                  <a:cubicBezTo>
                    <a:pt x="346" y="254"/>
                    <a:pt x="308" y="292"/>
                    <a:pt x="225" y="292"/>
                  </a:cubicBezTo>
                  <a:cubicBezTo>
                    <a:pt x="140" y="292"/>
                    <a:pt x="104" y="254"/>
                    <a:pt x="104" y="172"/>
                  </a:cubicBezTo>
                  <a:cubicBezTo>
                    <a:pt x="104" y="95"/>
                    <a:pt x="143" y="57"/>
                    <a:pt x="225" y="57"/>
                  </a:cubicBezTo>
                  <a:close/>
                  <a:moveTo>
                    <a:pt x="0" y="172"/>
                  </a:moveTo>
                  <a:cubicBezTo>
                    <a:pt x="0" y="294"/>
                    <a:pt x="70" y="351"/>
                    <a:pt x="225" y="351"/>
                  </a:cubicBezTo>
                  <a:cubicBezTo>
                    <a:pt x="378" y="351"/>
                    <a:pt x="449" y="294"/>
                    <a:pt x="449" y="175"/>
                  </a:cubicBezTo>
                  <a:cubicBezTo>
                    <a:pt x="449" y="61"/>
                    <a:pt x="385" y="5"/>
                    <a:pt x="247" y="0"/>
                  </a:cubicBezTo>
                  <a:lnTo>
                    <a:pt x="203" y="0"/>
                  </a:lnTo>
                  <a:cubicBezTo>
                    <a:pt x="67" y="5"/>
                    <a:pt x="0" y="61"/>
                    <a:pt x="0" y="172"/>
                  </a:cubicBezTo>
                  <a:close/>
                </a:path>
              </a:pathLst>
            </a:custGeom>
            <a:solidFill>
              <a:srgbClr val="66CC33"/>
            </a:solidFill>
            <a:ln>
              <a:noFill/>
            </a:ln>
          </p:spPr>
          <p:txBody>
            <a:bodyPr vert="horz" wrap="square" lIns="91440" tIns="45720" rIns="91440" bIns="45720" numCol="1" anchor="t" anchorCtr="0" compatLnSpc="1">
              <a:prstTxWarp prst="textNoShape">
                <a:avLst/>
              </a:prstTxWarp>
            </a:bodyPr>
            <a:lstStyle/>
            <a:p>
              <a:pPr>
                <a:lnSpc>
                  <a:spcPct val="100000"/>
                </a:lnSpc>
              </a:pPr>
              <a:endParaRPr lang="de-DE" b="1">
                <a:solidFill>
                  <a:srgbClr val="616161"/>
                </a:solidFill>
              </a:endParaRPr>
            </a:p>
          </p:txBody>
        </p:sp>
        <p:sp>
          <p:nvSpPr>
            <p:cNvPr id="33" name="Freeform 13">
              <a:extLst>
                <a:ext uri="{FF2B5EF4-FFF2-40B4-BE49-F238E27FC236}">
                  <a16:creationId xmlns:a16="http://schemas.microsoft.com/office/drawing/2014/main" id="{86E6E369-7AC0-6A21-5058-7AD60DDE0255}"/>
                </a:ext>
              </a:extLst>
            </p:cNvPr>
            <p:cNvSpPr>
              <a:spLocks/>
            </p:cNvSpPr>
            <p:nvPr/>
          </p:nvSpPr>
          <p:spPr bwMode="gray">
            <a:xfrm>
              <a:off x="11549063" y="6383338"/>
              <a:ext cx="141288" cy="125413"/>
            </a:xfrm>
            <a:custGeom>
              <a:avLst/>
              <a:gdLst>
                <a:gd name="T0" fmla="*/ 120 w 396"/>
                <a:gd name="T1" fmla="*/ 0 h 338"/>
                <a:gd name="T2" fmla="*/ 304 w 396"/>
                <a:gd name="T3" fmla="*/ 243 h 338"/>
                <a:gd name="T4" fmla="*/ 304 w 396"/>
                <a:gd name="T5" fmla="*/ 0 h 338"/>
                <a:gd name="T6" fmla="*/ 396 w 396"/>
                <a:gd name="T7" fmla="*/ 0 h 338"/>
                <a:gd name="T8" fmla="*/ 396 w 396"/>
                <a:gd name="T9" fmla="*/ 338 h 338"/>
                <a:gd name="T10" fmla="*/ 286 w 396"/>
                <a:gd name="T11" fmla="*/ 338 h 338"/>
                <a:gd name="T12" fmla="*/ 93 w 396"/>
                <a:gd name="T13" fmla="*/ 82 h 338"/>
                <a:gd name="T14" fmla="*/ 93 w 396"/>
                <a:gd name="T15" fmla="*/ 338 h 338"/>
                <a:gd name="T16" fmla="*/ 0 w 396"/>
                <a:gd name="T17" fmla="*/ 338 h 338"/>
                <a:gd name="T18" fmla="*/ 0 w 396"/>
                <a:gd name="T19" fmla="*/ 0 h 338"/>
                <a:gd name="T20" fmla="*/ 120 w 396"/>
                <a:gd name="T21" fmla="*/ 0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96" h="338">
                  <a:moveTo>
                    <a:pt x="120" y="0"/>
                  </a:moveTo>
                  <a:lnTo>
                    <a:pt x="304" y="243"/>
                  </a:lnTo>
                  <a:lnTo>
                    <a:pt x="304" y="0"/>
                  </a:lnTo>
                  <a:lnTo>
                    <a:pt x="396" y="0"/>
                  </a:lnTo>
                  <a:lnTo>
                    <a:pt x="396" y="338"/>
                  </a:lnTo>
                  <a:lnTo>
                    <a:pt x="286" y="338"/>
                  </a:lnTo>
                  <a:lnTo>
                    <a:pt x="93" y="82"/>
                  </a:lnTo>
                  <a:lnTo>
                    <a:pt x="93" y="338"/>
                  </a:lnTo>
                  <a:lnTo>
                    <a:pt x="0" y="338"/>
                  </a:lnTo>
                  <a:lnTo>
                    <a:pt x="0" y="0"/>
                  </a:lnTo>
                  <a:lnTo>
                    <a:pt x="120" y="0"/>
                  </a:lnTo>
                  <a:close/>
                </a:path>
              </a:pathLst>
            </a:custGeom>
            <a:solidFill>
              <a:srgbClr val="66CC33"/>
            </a:solidFill>
            <a:ln>
              <a:noFill/>
            </a:ln>
          </p:spPr>
          <p:txBody>
            <a:bodyPr vert="horz" wrap="square" lIns="91440" tIns="45720" rIns="91440" bIns="45720" numCol="1" anchor="t" anchorCtr="0" compatLnSpc="1">
              <a:prstTxWarp prst="textNoShape">
                <a:avLst/>
              </a:prstTxWarp>
            </a:bodyPr>
            <a:lstStyle/>
            <a:p>
              <a:pPr>
                <a:lnSpc>
                  <a:spcPct val="100000"/>
                </a:lnSpc>
              </a:pPr>
              <a:endParaRPr lang="de-DE" b="1">
                <a:solidFill>
                  <a:srgbClr val="616161"/>
                </a:solidFill>
              </a:endParaRPr>
            </a:p>
          </p:txBody>
        </p:sp>
      </p:grpSp>
      <p:sp>
        <p:nvSpPr>
          <p:cNvPr id="35" name="Text Placeholder 34">
            <a:extLst>
              <a:ext uri="{FF2B5EF4-FFF2-40B4-BE49-F238E27FC236}">
                <a16:creationId xmlns:a16="http://schemas.microsoft.com/office/drawing/2014/main" id="{54F6975E-DC59-631E-F3F8-235D6AE75E66}"/>
              </a:ext>
            </a:extLst>
          </p:cNvPr>
          <p:cNvSpPr>
            <a:spLocks noGrp="1"/>
          </p:cNvSpPr>
          <p:nvPr>
            <p:ph type="body" sz="quarter" idx="19" hasCustomPrompt="1"/>
          </p:nvPr>
        </p:nvSpPr>
        <p:spPr bwMode="gray">
          <a:xfrm>
            <a:off x="6456363" y="3149600"/>
            <a:ext cx="5219700" cy="2908300"/>
          </a:xfrm>
        </p:spPr>
        <p:txBody>
          <a:bodyPr/>
          <a:lstStyle>
            <a:lvl1pPr>
              <a:defRPr/>
            </a:lvl1pPr>
          </a:lstStyle>
          <a:p>
            <a:pPr lvl="0"/>
            <a:r>
              <a:rPr lang="en-US" noProof="0"/>
              <a:t>First level</a:t>
            </a:r>
          </a:p>
          <a:p>
            <a:pPr lvl="1"/>
            <a:r>
              <a:rPr lang="en-US" noProof="0"/>
              <a:t>Second level</a:t>
            </a:r>
          </a:p>
          <a:p>
            <a:pPr lvl="2"/>
            <a:r>
              <a:rPr lang="en-US" noProof="0"/>
              <a:t>Third level</a:t>
            </a:r>
          </a:p>
          <a:p>
            <a:pPr lvl="3"/>
            <a:r>
              <a:rPr lang="en-US" noProof="0"/>
              <a:t>Fourth level</a:t>
            </a:r>
          </a:p>
          <a:p>
            <a:pPr lvl="4"/>
            <a:r>
              <a:rPr lang="en-US" noProof="0"/>
              <a:t>Fifth level</a:t>
            </a:r>
          </a:p>
          <a:p>
            <a:pPr lvl="5"/>
            <a:r>
              <a:rPr lang="en-US" noProof="0"/>
              <a:t>Sixth level</a:t>
            </a:r>
          </a:p>
          <a:p>
            <a:pPr lvl="6"/>
            <a:r>
              <a:rPr lang="en-US" noProof="0"/>
              <a:t>Seventh level</a:t>
            </a:r>
          </a:p>
          <a:p>
            <a:pPr lvl="7"/>
            <a:r>
              <a:rPr lang="en-US" noProof="0"/>
              <a:t>Eighth level</a:t>
            </a:r>
          </a:p>
          <a:p>
            <a:pPr lvl="8"/>
            <a:r>
              <a:rPr lang="en-US" noProof="0"/>
              <a:t>Nineth level</a:t>
            </a:r>
          </a:p>
        </p:txBody>
      </p:sp>
    </p:spTree>
    <p:extLst>
      <p:ext uri="{BB962C8B-B14F-4D97-AF65-F5344CB8AC3E}">
        <p14:creationId xmlns:p14="http://schemas.microsoft.com/office/powerpoint/2010/main" val="3615227027"/>
      </p:ext>
    </p:extLst>
  </p:cSld>
  <p:clrMapOvr>
    <a:masterClrMapping/>
  </p:clrMapOvr>
  <p:extLst>
    <p:ext uri="{DCECCB84-F9BA-43D5-87BE-67443E8EF086}">
      <p15:sldGuideLst xmlns:p15="http://schemas.microsoft.com/office/powerpoint/2012/main">
        <p15:guide id="1" orient="horz" pos="913">
          <p15:clr>
            <a:srgbClr val="F26B43"/>
          </p15:clr>
        </p15:guide>
        <p15:guide id="2" orient="horz" pos="754">
          <p15:clr>
            <a:srgbClr val="F26B43"/>
          </p15:clr>
        </p15:guide>
        <p15:guide id="3" orient="horz" pos="300">
          <p15:clr>
            <a:srgbClr val="F26B43"/>
          </p15:clr>
        </p15:guide>
        <p15:guide id="4" orient="horz" pos="3974">
          <p15:clr>
            <a:srgbClr val="F26B43"/>
          </p15:clr>
        </p15:guide>
        <p15:guide id="5" orient="horz" pos="3816">
          <p15:clr>
            <a:srgbClr val="F26B43"/>
          </p15:clr>
        </p15:guide>
        <p15:guide id="6" pos="3840">
          <p15:clr>
            <a:srgbClr val="F26B43"/>
          </p15:clr>
        </p15:guide>
        <p15:guide id="7" pos="4067">
          <p15:clr>
            <a:srgbClr val="F26B43"/>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ig image with description">
    <p:spTree>
      <p:nvGrpSpPr>
        <p:cNvPr id="1" name=""/>
        <p:cNvGrpSpPr/>
        <p:nvPr/>
      </p:nvGrpSpPr>
      <p:grpSpPr>
        <a:xfrm>
          <a:off x="0" y="0"/>
          <a:ext cx="0" cy="0"/>
          <a:chOff x="0" y="0"/>
          <a:chExt cx="0" cy="0"/>
        </a:xfrm>
      </p:grpSpPr>
      <p:sp>
        <p:nvSpPr>
          <p:cNvPr id="3" name="Picture Placeholder 7">
            <a:extLst>
              <a:ext uri="{FF2B5EF4-FFF2-40B4-BE49-F238E27FC236}">
                <a16:creationId xmlns:a16="http://schemas.microsoft.com/office/drawing/2014/main" id="{AE0FE1CD-B1AE-2871-3162-980A2C8857B3}"/>
              </a:ext>
            </a:extLst>
          </p:cNvPr>
          <p:cNvSpPr>
            <a:spLocks noGrp="1"/>
          </p:cNvSpPr>
          <p:nvPr>
            <p:ph type="pic" sz="quarter" idx="11" hasCustomPrompt="1"/>
          </p:nvPr>
        </p:nvSpPr>
        <p:spPr bwMode="gray">
          <a:xfrm>
            <a:off x="0" y="0"/>
            <a:ext cx="8256588" cy="6858000"/>
          </a:xfrm>
          <a:pattFill prst="wdUpDiag">
            <a:fgClr>
              <a:schemeClr val="bg1"/>
            </a:fgClr>
            <a:bgClr>
              <a:schemeClr val="bg2"/>
            </a:bgClr>
          </a:pattFill>
        </p:spPr>
        <p:txBody>
          <a:bodyPr anchor="ctr"/>
          <a:lstStyle>
            <a:lvl1pPr marL="0" indent="0" algn="ctr">
              <a:lnSpc>
                <a:spcPct val="100000"/>
              </a:lnSpc>
              <a:buNone/>
              <a:defRPr sz="1000" b="1" i="1">
                <a:solidFill>
                  <a:srgbClr val="BDBDBD"/>
                </a:solidFill>
              </a:defRPr>
            </a:lvl1pPr>
          </a:lstStyle>
          <a:p>
            <a:r>
              <a:rPr lang="en-US" noProof="0"/>
              <a:t> Image placeholder</a:t>
            </a:r>
          </a:p>
        </p:txBody>
      </p:sp>
      <p:graphicFrame>
        <p:nvGraphicFramePr>
          <p:cNvPr id="18" name="Objekt 17" hidden="1">
            <a:extLst>
              <a:ext uri="{FF2B5EF4-FFF2-40B4-BE49-F238E27FC236}">
                <a16:creationId xmlns:a16="http://schemas.microsoft.com/office/drawing/2014/main" id="{F05B8204-9FDB-9C14-7435-D448FCDFE6C8}"/>
              </a:ext>
            </a:extLst>
          </p:cNvPr>
          <p:cNvGraphicFramePr>
            <a:graphicFrameLocks noChangeAspect="1"/>
          </p:cNvGraphicFramePr>
          <p:nvPr userDrawn="1">
            <p:custDataLst>
              <p:tags r:id="rId1"/>
            </p:custDataLst>
            <p:extLst>
              <p:ext uri="{D42A27DB-BD31-4B8C-83A1-F6EECF244321}">
                <p14:modId xmlns:p14="http://schemas.microsoft.com/office/powerpoint/2010/main" val="13796598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80" imgH="481" progId="TCLayout.ActiveDocument.1">
                  <p:embed/>
                </p:oleObj>
              </mc:Choice>
              <mc:Fallback>
                <p:oleObj name="think-cell Folie" r:id="rId3" imgW="480" imgH="481" progId="TCLayout.ActiveDocument.1">
                  <p:embed/>
                  <p:pic>
                    <p:nvPicPr>
                      <p:cNvPr id="18" name="Objekt 17" hidden="1">
                        <a:extLst>
                          <a:ext uri="{FF2B5EF4-FFF2-40B4-BE49-F238E27FC236}">
                            <a16:creationId xmlns:a16="http://schemas.microsoft.com/office/drawing/2014/main" id="{F05B8204-9FDB-9C14-7435-D448FCDFE6C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Textplatzhalter 15">
            <a:extLst>
              <a:ext uri="{FF2B5EF4-FFF2-40B4-BE49-F238E27FC236}">
                <a16:creationId xmlns:a16="http://schemas.microsoft.com/office/drawing/2014/main" id="{9949918B-D12D-7BAD-20AE-4F6D7F538C37}"/>
              </a:ext>
            </a:extLst>
          </p:cNvPr>
          <p:cNvSpPr>
            <a:spLocks noGrp="1"/>
          </p:cNvSpPr>
          <p:nvPr>
            <p:ph type="body" sz="quarter" idx="13" hasCustomPrompt="1"/>
          </p:nvPr>
        </p:nvSpPr>
        <p:spPr bwMode="gray">
          <a:xfrm>
            <a:off x="8616951" y="3067822"/>
            <a:ext cx="3059112" cy="276999"/>
          </a:xfrm>
        </p:spPr>
        <p:txBody>
          <a:bodyPr wrap="square">
            <a:spAutoFit/>
          </a:bodyPr>
          <a:lstStyle>
            <a:lvl1pPr marL="0" indent="0">
              <a:buNone/>
              <a:defRPr sz="1800"/>
            </a:lvl1pPr>
          </a:lstStyle>
          <a:p>
            <a:pPr lvl="0"/>
            <a:r>
              <a:rPr lang="en-US"/>
              <a:t>Subtitle</a:t>
            </a:r>
          </a:p>
        </p:txBody>
      </p:sp>
      <p:sp>
        <p:nvSpPr>
          <p:cNvPr id="2" name="Title 1">
            <a:extLst>
              <a:ext uri="{FF2B5EF4-FFF2-40B4-BE49-F238E27FC236}">
                <a16:creationId xmlns:a16="http://schemas.microsoft.com/office/drawing/2014/main" id="{71A2DFB5-48F4-943E-B44B-45DD1B5A924C}"/>
              </a:ext>
            </a:extLst>
          </p:cNvPr>
          <p:cNvSpPr>
            <a:spLocks noGrp="1"/>
          </p:cNvSpPr>
          <p:nvPr>
            <p:ph type="title" hasCustomPrompt="1"/>
          </p:nvPr>
        </p:nvSpPr>
        <p:spPr bwMode="gray">
          <a:xfrm>
            <a:off x="8616950" y="2622550"/>
            <a:ext cx="3059112" cy="430887"/>
          </a:xfrm>
        </p:spPr>
        <p:txBody>
          <a:bodyPr vert="horz" anchor="b"/>
          <a:lstStyle/>
          <a:p>
            <a:r>
              <a:rPr lang="en-US"/>
              <a:t>Click to edit title</a:t>
            </a:r>
          </a:p>
        </p:txBody>
      </p:sp>
      <p:sp>
        <p:nvSpPr>
          <p:cNvPr id="7" name="Footer Placeholder 6">
            <a:extLst>
              <a:ext uri="{FF2B5EF4-FFF2-40B4-BE49-F238E27FC236}">
                <a16:creationId xmlns:a16="http://schemas.microsoft.com/office/drawing/2014/main" id="{8349C354-53FD-5E75-76EC-6C80A35BC397}"/>
              </a:ext>
            </a:extLst>
          </p:cNvPr>
          <p:cNvSpPr>
            <a:spLocks noGrp="1"/>
          </p:cNvSpPr>
          <p:nvPr>
            <p:ph type="ftr" sz="quarter" idx="16"/>
          </p:nvPr>
        </p:nvSpPr>
        <p:spPr bwMode="gray"/>
        <p:txBody>
          <a:bodyPr/>
          <a:lstStyle/>
          <a:p>
            <a:r>
              <a:rPr lang="de-DE"/>
              <a:t>© Copyright Sensirion, Switzerland</a:t>
            </a:r>
          </a:p>
        </p:txBody>
      </p:sp>
      <p:sp>
        <p:nvSpPr>
          <p:cNvPr id="8" name="Slide Number Placeholder 7">
            <a:extLst>
              <a:ext uri="{FF2B5EF4-FFF2-40B4-BE49-F238E27FC236}">
                <a16:creationId xmlns:a16="http://schemas.microsoft.com/office/drawing/2014/main" id="{94705C1F-6CF3-8FF8-4D42-9153C70BF287}"/>
              </a:ext>
            </a:extLst>
          </p:cNvPr>
          <p:cNvSpPr>
            <a:spLocks noGrp="1"/>
          </p:cNvSpPr>
          <p:nvPr>
            <p:ph type="sldNum" sz="quarter" idx="17"/>
          </p:nvPr>
        </p:nvSpPr>
        <p:spPr bwMode="gray"/>
        <p:txBody>
          <a:bodyPr/>
          <a:lstStyle/>
          <a:p>
            <a:fld id="{B1E691A1-F3A6-4574-B226-B412272B38A6}" type="slidenum">
              <a:rPr lang="de-DE" smtClean="0"/>
              <a:pPr/>
              <a:t>‹#›</a:t>
            </a:fld>
            <a:endParaRPr lang="de-DE"/>
          </a:p>
        </p:txBody>
      </p:sp>
      <p:sp>
        <p:nvSpPr>
          <p:cNvPr id="21" name="Text Placeholder 20">
            <a:extLst>
              <a:ext uri="{FF2B5EF4-FFF2-40B4-BE49-F238E27FC236}">
                <a16:creationId xmlns:a16="http://schemas.microsoft.com/office/drawing/2014/main" id="{E83FA28B-EF70-F097-4CE2-2328A5A69964}"/>
              </a:ext>
            </a:extLst>
          </p:cNvPr>
          <p:cNvSpPr>
            <a:spLocks noGrp="1"/>
          </p:cNvSpPr>
          <p:nvPr>
            <p:ph type="body" sz="quarter" idx="18" hasCustomPrompt="1"/>
          </p:nvPr>
        </p:nvSpPr>
        <p:spPr bwMode="gray">
          <a:xfrm>
            <a:off x="8616951" y="3595688"/>
            <a:ext cx="3059112" cy="892552"/>
          </a:xfrm>
        </p:spPr>
        <p:txBody>
          <a:bodyPr wrap="square">
            <a:spAutoFit/>
          </a:bodyPr>
          <a:lstStyle>
            <a:lvl1pPr>
              <a:defRPr/>
            </a:lvl1pPr>
          </a:lstStyle>
          <a:p>
            <a:pPr lvl="0"/>
            <a:r>
              <a:rPr lang="en-US"/>
              <a:t>First level</a:t>
            </a:r>
          </a:p>
          <a:p>
            <a:pPr lvl="1"/>
            <a:r>
              <a:rPr lang="en-US"/>
              <a:t>Second level</a:t>
            </a:r>
          </a:p>
          <a:p>
            <a:pPr lvl="2"/>
            <a:r>
              <a:rPr lang="en-US"/>
              <a:t>Third level</a:t>
            </a:r>
          </a:p>
        </p:txBody>
      </p:sp>
    </p:spTree>
    <p:extLst>
      <p:ext uri="{BB962C8B-B14F-4D97-AF65-F5344CB8AC3E}">
        <p14:creationId xmlns:p14="http://schemas.microsoft.com/office/powerpoint/2010/main" val="29452753"/>
      </p:ext>
    </p:extLst>
  </p:cSld>
  <p:clrMapOvr>
    <a:masterClrMapping/>
  </p:clrMapOvr>
  <p:extLst>
    <p:ext uri="{DCECCB84-F9BA-43D5-87BE-67443E8EF086}">
      <p15:sldGuideLst xmlns:p15="http://schemas.microsoft.com/office/powerpoint/2012/main">
        <p15:guide id="3" orient="horz" pos="300">
          <p15:clr>
            <a:srgbClr val="F26B43"/>
          </p15:clr>
        </p15:guide>
        <p15:guide id="4" orient="horz" pos="3974">
          <p15:clr>
            <a:srgbClr val="F26B43"/>
          </p15:clr>
        </p15:guide>
        <p15:guide id="5" orient="horz" pos="3816">
          <p15:clr>
            <a:srgbClr val="F26B43"/>
          </p15:clr>
        </p15:guide>
        <p15:guide id="7" pos="5201" userDrawn="1">
          <p15:clr>
            <a:srgbClr val="F26B43"/>
          </p15:clr>
        </p15:guide>
        <p15:guide id="8" pos="5428" userDrawn="1">
          <p15:clr>
            <a:srgbClr val="F26B43"/>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Fullbleed image">
    <p:spTree>
      <p:nvGrpSpPr>
        <p:cNvPr id="1" name=""/>
        <p:cNvGrpSpPr/>
        <p:nvPr/>
      </p:nvGrpSpPr>
      <p:grpSpPr>
        <a:xfrm>
          <a:off x="0" y="0"/>
          <a:ext cx="0" cy="0"/>
          <a:chOff x="0" y="0"/>
          <a:chExt cx="0" cy="0"/>
        </a:xfrm>
      </p:grpSpPr>
      <p:graphicFrame>
        <p:nvGraphicFramePr>
          <p:cNvPr id="18" name="Objekt 17" hidden="1">
            <a:extLst>
              <a:ext uri="{FF2B5EF4-FFF2-40B4-BE49-F238E27FC236}">
                <a16:creationId xmlns:a16="http://schemas.microsoft.com/office/drawing/2014/main" id="{F05B8204-9FDB-9C14-7435-D448FCDFE6C8}"/>
              </a:ext>
            </a:extLst>
          </p:cNvPr>
          <p:cNvGraphicFramePr>
            <a:graphicFrameLocks noChangeAspect="1"/>
          </p:cNvGraphicFramePr>
          <p:nvPr userDrawn="1">
            <p:custDataLst>
              <p:tags r:id="rId1"/>
            </p:custDataLst>
            <p:extLst>
              <p:ext uri="{D42A27DB-BD31-4B8C-83A1-F6EECF244321}">
                <p14:modId xmlns:p14="http://schemas.microsoft.com/office/powerpoint/2010/main" val="8590960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80" imgH="481" progId="TCLayout.ActiveDocument.1">
                  <p:embed/>
                </p:oleObj>
              </mc:Choice>
              <mc:Fallback>
                <p:oleObj name="think-cell Folie" r:id="rId3" imgW="480" imgH="481" progId="TCLayout.ActiveDocument.1">
                  <p:embed/>
                  <p:pic>
                    <p:nvPicPr>
                      <p:cNvPr id="18" name="Objekt 17" hidden="1">
                        <a:extLst>
                          <a:ext uri="{FF2B5EF4-FFF2-40B4-BE49-F238E27FC236}">
                            <a16:creationId xmlns:a16="http://schemas.microsoft.com/office/drawing/2014/main" id="{F05B8204-9FDB-9C14-7435-D448FCDFE6C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1" name="Picture Placeholder 50">
            <a:extLst>
              <a:ext uri="{FF2B5EF4-FFF2-40B4-BE49-F238E27FC236}">
                <a16:creationId xmlns:a16="http://schemas.microsoft.com/office/drawing/2014/main" id="{3C433125-54EC-A604-9A0C-E54F6326E923}"/>
              </a:ext>
            </a:extLst>
          </p:cNvPr>
          <p:cNvSpPr>
            <a:spLocks noGrp="1"/>
          </p:cNvSpPr>
          <p:nvPr>
            <p:ph type="pic" sz="quarter" idx="11" hasCustomPrompt="1"/>
          </p:nvPr>
        </p:nvSpPr>
        <p:spPr bwMode="gray">
          <a:xfrm>
            <a:off x="0" y="0"/>
            <a:ext cx="12192000" cy="6858000"/>
          </a:xfrm>
          <a:prstGeom prst="rect">
            <a:avLst/>
          </a:prstGeom>
          <a:pattFill prst="wdUpDiag">
            <a:fgClr>
              <a:schemeClr val="bg1"/>
            </a:fgClr>
            <a:bgClr>
              <a:schemeClr val="bg2"/>
            </a:bgClr>
          </a:pattFill>
        </p:spPr>
        <p:txBody>
          <a:bodyPr wrap="square" anchor="ctr">
            <a:noAutofit/>
          </a:bodyPr>
          <a:lstStyle>
            <a:lvl1pPr marL="0" indent="0" algn="ctr">
              <a:lnSpc>
                <a:spcPct val="100000"/>
              </a:lnSpc>
              <a:buNone/>
              <a:defRPr sz="1000" b="1" i="1">
                <a:solidFill>
                  <a:srgbClr val="BDBDBD"/>
                </a:solidFill>
              </a:defRPr>
            </a:lvl1pPr>
          </a:lstStyle>
          <a:p>
            <a:r>
              <a:rPr lang="en-US" noProof="0"/>
              <a:t> Image placeholder</a:t>
            </a:r>
          </a:p>
        </p:txBody>
      </p:sp>
      <p:sp>
        <p:nvSpPr>
          <p:cNvPr id="7" name="Footer Placeholder 6">
            <a:extLst>
              <a:ext uri="{FF2B5EF4-FFF2-40B4-BE49-F238E27FC236}">
                <a16:creationId xmlns:a16="http://schemas.microsoft.com/office/drawing/2014/main" id="{8349C354-53FD-5E75-76EC-6C80A35BC397}"/>
              </a:ext>
            </a:extLst>
          </p:cNvPr>
          <p:cNvSpPr>
            <a:spLocks noGrp="1"/>
          </p:cNvSpPr>
          <p:nvPr>
            <p:ph type="ftr" sz="quarter" idx="16"/>
          </p:nvPr>
        </p:nvSpPr>
        <p:spPr bwMode="gray"/>
        <p:txBody>
          <a:bodyPr/>
          <a:lstStyle/>
          <a:p>
            <a:r>
              <a:rPr lang="de-DE"/>
              <a:t>© Copyright Sensirion, Switzerland</a:t>
            </a:r>
          </a:p>
        </p:txBody>
      </p:sp>
      <p:sp>
        <p:nvSpPr>
          <p:cNvPr id="8" name="Slide Number Placeholder 7">
            <a:extLst>
              <a:ext uri="{FF2B5EF4-FFF2-40B4-BE49-F238E27FC236}">
                <a16:creationId xmlns:a16="http://schemas.microsoft.com/office/drawing/2014/main" id="{94705C1F-6CF3-8FF8-4D42-9153C70BF287}"/>
              </a:ext>
            </a:extLst>
          </p:cNvPr>
          <p:cNvSpPr>
            <a:spLocks noGrp="1"/>
          </p:cNvSpPr>
          <p:nvPr>
            <p:ph type="sldNum" sz="quarter" idx="17"/>
          </p:nvPr>
        </p:nvSpPr>
        <p:spPr bwMode="gray"/>
        <p:txBody>
          <a:bodyPr/>
          <a:lstStyle/>
          <a:p>
            <a:fld id="{B1E691A1-F3A6-4574-B226-B412272B38A6}" type="slidenum">
              <a:rPr lang="de-DE" smtClean="0"/>
              <a:pPr/>
              <a:t>‹#›</a:t>
            </a:fld>
            <a:endParaRPr lang="de-DE"/>
          </a:p>
        </p:txBody>
      </p:sp>
      <p:sp>
        <p:nvSpPr>
          <p:cNvPr id="53" name="Titel 1">
            <a:extLst>
              <a:ext uri="{FF2B5EF4-FFF2-40B4-BE49-F238E27FC236}">
                <a16:creationId xmlns:a16="http://schemas.microsoft.com/office/drawing/2014/main" id="{5C74850C-4D12-087B-508D-3C1B844F2A39}"/>
              </a:ext>
            </a:extLst>
          </p:cNvPr>
          <p:cNvSpPr>
            <a:spLocks noGrp="1"/>
          </p:cNvSpPr>
          <p:nvPr>
            <p:ph type="ctrTitle" hasCustomPrompt="1"/>
          </p:nvPr>
        </p:nvSpPr>
        <p:spPr bwMode="gray">
          <a:xfrm>
            <a:off x="515937" y="476250"/>
            <a:ext cx="11160125" cy="369332"/>
          </a:xfrm>
          <a:prstGeom prst="rect">
            <a:avLst/>
          </a:prstGeom>
        </p:spPr>
        <p:txBody>
          <a:bodyPr vert="horz" anchor="b"/>
          <a:lstStyle>
            <a:lvl1pPr algn="l">
              <a:lnSpc>
                <a:spcPct val="100000"/>
              </a:lnSpc>
              <a:defRPr sz="2400" cap="all" baseline="0"/>
            </a:lvl1pPr>
          </a:lstStyle>
          <a:p>
            <a:r>
              <a:rPr lang="en-US" noProof="0"/>
              <a:t>overhead</a:t>
            </a:r>
          </a:p>
        </p:txBody>
      </p:sp>
      <p:sp>
        <p:nvSpPr>
          <p:cNvPr id="42" name="Text Placeholder 19">
            <a:extLst>
              <a:ext uri="{FF2B5EF4-FFF2-40B4-BE49-F238E27FC236}">
                <a16:creationId xmlns:a16="http://schemas.microsoft.com/office/drawing/2014/main" id="{76C5E18E-2B9C-928E-C108-9EE58EFA0FA1}"/>
              </a:ext>
            </a:extLst>
          </p:cNvPr>
          <p:cNvSpPr>
            <a:spLocks noGrp="1"/>
          </p:cNvSpPr>
          <p:nvPr>
            <p:ph type="body" sz="quarter" idx="13" hasCustomPrompt="1"/>
          </p:nvPr>
        </p:nvSpPr>
        <p:spPr bwMode="gray">
          <a:xfrm>
            <a:off x="10377489" y="6302981"/>
            <a:ext cx="1300954" cy="139281"/>
          </a:xfrm>
          <a:blipFill>
            <a:blip r:embed="rId5">
              <a:extLst>
                <a:ext uri="{96DAC541-7B7A-43D3-8B79-37D633B846F1}">
                  <asvg:svgBlip xmlns:asvg="http://schemas.microsoft.com/office/drawing/2016/SVG/main" r:embed="rId6"/>
                </a:ext>
              </a:extLst>
            </a:blip>
            <a:stretch>
              <a:fillRect/>
            </a:stretch>
          </a:blipFill>
        </p:spPr>
        <p:txBody>
          <a:bodyPr/>
          <a:lstStyle>
            <a:lvl1pPr marL="0" indent="0">
              <a:buNone/>
              <a:defRPr/>
            </a:lvl1pPr>
          </a:lstStyle>
          <a:p>
            <a:pPr lvl="0"/>
            <a:r>
              <a:rPr lang="en-US"/>
              <a:t> </a:t>
            </a:r>
          </a:p>
        </p:txBody>
      </p:sp>
      <p:sp>
        <p:nvSpPr>
          <p:cNvPr id="2" name="Textplatzhalter 8">
            <a:extLst>
              <a:ext uri="{FF2B5EF4-FFF2-40B4-BE49-F238E27FC236}">
                <a16:creationId xmlns:a16="http://schemas.microsoft.com/office/drawing/2014/main" id="{2179DAAC-9178-39A5-E378-93A77FC91136}"/>
              </a:ext>
            </a:extLst>
          </p:cNvPr>
          <p:cNvSpPr>
            <a:spLocks noGrp="1"/>
          </p:cNvSpPr>
          <p:nvPr>
            <p:ph type="body" sz="quarter" idx="14" hasCustomPrompt="1"/>
          </p:nvPr>
        </p:nvSpPr>
        <p:spPr>
          <a:xfrm>
            <a:off x="515937" y="845582"/>
            <a:ext cx="11160126" cy="1231106"/>
          </a:xfrm>
        </p:spPr>
        <p:txBody>
          <a:bodyPr wrap="square">
            <a:spAutoFit/>
          </a:bodyPr>
          <a:lstStyle>
            <a:lvl1pPr marL="0" indent="0">
              <a:spcAft>
                <a:spcPts val="0"/>
              </a:spcAft>
              <a:buNone/>
              <a:defRPr sz="4000"/>
            </a:lvl1pPr>
          </a:lstStyle>
          <a:p>
            <a:pPr lvl="0"/>
            <a:r>
              <a:rPr lang="en-US"/>
              <a:t>Descriptive and more informative presentation header (position variable)</a:t>
            </a:r>
          </a:p>
        </p:txBody>
      </p:sp>
    </p:spTree>
    <p:extLst>
      <p:ext uri="{BB962C8B-B14F-4D97-AF65-F5344CB8AC3E}">
        <p14:creationId xmlns:p14="http://schemas.microsoft.com/office/powerpoint/2010/main" val="2797789283"/>
      </p:ext>
    </p:extLst>
  </p:cSld>
  <p:clrMapOvr>
    <a:masterClrMapping/>
  </p:clrMapOvr>
  <p:extLst>
    <p:ext uri="{DCECCB84-F9BA-43D5-87BE-67443E8EF086}">
      <p15:sldGuideLst xmlns:p15="http://schemas.microsoft.com/office/powerpoint/2012/main">
        <p15:guide id="3" orient="horz" pos="300">
          <p15:clr>
            <a:srgbClr val="F26B43"/>
          </p15:clr>
        </p15:guide>
        <p15:guide id="4" orient="horz" pos="3974">
          <p15:clr>
            <a:srgbClr val="F26B43"/>
          </p15:clr>
        </p15:guide>
        <p15:guide id="5" orient="horz" pos="3816">
          <p15:clr>
            <a:srgbClr val="F26B43"/>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Image with key numbers">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3701C1F6-A140-C203-8BFC-35C0188A77B8}"/>
              </a:ext>
            </a:extLst>
          </p:cNvPr>
          <p:cNvSpPr>
            <a:spLocks noGrp="1"/>
          </p:cNvSpPr>
          <p:nvPr>
            <p:ph type="pic" sz="quarter" idx="11" hasCustomPrompt="1"/>
          </p:nvPr>
        </p:nvSpPr>
        <p:spPr bwMode="gray">
          <a:xfrm>
            <a:off x="0" y="0"/>
            <a:ext cx="12192000" cy="6057900"/>
          </a:xfrm>
          <a:pattFill prst="wdUpDiag">
            <a:fgClr>
              <a:schemeClr val="bg1"/>
            </a:fgClr>
            <a:bgClr>
              <a:schemeClr val="bg2"/>
            </a:bgClr>
          </a:pattFill>
        </p:spPr>
        <p:txBody>
          <a:bodyPr anchor="ctr"/>
          <a:lstStyle>
            <a:lvl1pPr marL="0" indent="0" algn="ctr">
              <a:lnSpc>
                <a:spcPct val="100000"/>
              </a:lnSpc>
              <a:buNone/>
              <a:defRPr sz="1000" b="1" i="1">
                <a:solidFill>
                  <a:srgbClr val="BDBDBD"/>
                </a:solidFill>
              </a:defRPr>
            </a:lvl1pPr>
          </a:lstStyle>
          <a:p>
            <a:r>
              <a:rPr lang="en-US" noProof="0"/>
              <a:t> Image placeholder</a:t>
            </a:r>
          </a:p>
        </p:txBody>
      </p:sp>
      <p:graphicFrame>
        <p:nvGraphicFramePr>
          <p:cNvPr id="5" name="Objekt 4" hidden="1">
            <a:extLst>
              <a:ext uri="{FF2B5EF4-FFF2-40B4-BE49-F238E27FC236}">
                <a16:creationId xmlns:a16="http://schemas.microsoft.com/office/drawing/2014/main" id="{767385B7-6838-292C-9A71-B34C47821397}"/>
              </a:ext>
            </a:extLst>
          </p:cNvPr>
          <p:cNvGraphicFramePr>
            <a:graphicFrameLocks noChangeAspect="1"/>
          </p:cNvGraphicFramePr>
          <p:nvPr userDrawn="1">
            <p:custDataLst>
              <p:tags r:id="rId1"/>
            </p:custDataLst>
            <p:extLst>
              <p:ext uri="{D42A27DB-BD31-4B8C-83A1-F6EECF244321}">
                <p14:modId xmlns:p14="http://schemas.microsoft.com/office/powerpoint/2010/main" val="13212143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80" imgH="481" progId="TCLayout.ActiveDocument.1">
                  <p:embed/>
                </p:oleObj>
              </mc:Choice>
              <mc:Fallback>
                <p:oleObj name="think-cell Folie" r:id="rId3" imgW="480" imgH="481" progId="TCLayout.ActiveDocument.1">
                  <p:embed/>
                  <p:pic>
                    <p:nvPicPr>
                      <p:cNvPr id="5" name="Objekt 4" hidden="1">
                        <a:extLst>
                          <a:ext uri="{FF2B5EF4-FFF2-40B4-BE49-F238E27FC236}">
                            <a16:creationId xmlns:a16="http://schemas.microsoft.com/office/drawing/2014/main" id="{767385B7-6838-292C-9A71-B34C4782139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7" name="Footer Placeholder 26">
            <a:extLst>
              <a:ext uri="{FF2B5EF4-FFF2-40B4-BE49-F238E27FC236}">
                <a16:creationId xmlns:a16="http://schemas.microsoft.com/office/drawing/2014/main" id="{9D65CB0B-9E70-7B90-E6AE-21AEF33734E4}"/>
              </a:ext>
            </a:extLst>
          </p:cNvPr>
          <p:cNvSpPr>
            <a:spLocks noGrp="1"/>
          </p:cNvSpPr>
          <p:nvPr>
            <p:ph type="ftr" sz="quarter" idx="20"/>
          </p:nvPr>
        </p:nvSpPr>
        <p:spPr bwMode="gray"/>
        <p:txBody>
          <a:bodyPr/>
          <a:lstStyle/>
          <a:p>
            <a:r>
              <a:rPr lang="de-DE"/>
              <a:t>© Copyright Sensirion, Switzerland</a:t>
            </a:r>
          </a:p>
        </p:txBody>
      </p:sp>
      <p:sp>
        <p:nvSpPr>
          <p:cNvPr id="28" name="Slide Number Placeholder 27">
            <a:extLst>
              <a:ext uri="{FF2B5EF4-FFF2-40B4-BE49-F238E27FC236}">
                <a16:creationId xmlns:a16="http://schemas.microsoft.com/office/drawing/2014/main" id="{492DC165-2374-0ED2-FB65-A73A065F463D}"/>
              </a:ext>
            </a:extLst>
          </p:cNvPr>
          <p:cNvSpPr>
            <a:spLocks noGrp="1"/>
          </p:cNvSpPr>
          <p:nvPr>
            <p:ph type="sldNum" sz="quarter" idx="21"/>
          </p:nvPr>
        </p:nvSpPr>
        <p:spPr bwMode="gray"/>
        <p:txBody>
          <a:bodyPr/>
          <a:lstStyle/>
          <a:p>
            <a:fld id="{B1E691A1-F3A6-4574-B226-B412272B38A6}" type="slidenum">
              <a:rPr lang="de-DE" smtClean="0"/>
              <a:pPr/>
              <a:t>‹#›</a:t>
            </a:fld>
            <a:endParaRPr lang="de-DE"/>
          </a:p>
        </p:txBody>
      </p:sp>
      <p:sp>
        <p:nvSpPr>
          <p:cNvPr id="2" name="Titel 1">
            <a:extLst>
              <a:ext uri="{FF2B5EF4-FFF2-40B4-BE49-F238E27FC236}">
                <a16:creationId xmlns:a16="http://schemas.microsoft.com/office/drawing/2014/main" id="{7E11D4A9-12E5-8C22-BA13-B7609DBBB009}"/>
              </a:ext>
            </a:extLst>
          </p:cNvPr>
          <p:cNvSpPr>
            <a:spLocks noGrp="1"/>
          </p:cNvSpPr>
          <p:nvPr>
            <p:ph type="ctrTitle" hasCustomPrompt="1"/>
          </p:nvPr>
        </p:nvSpPr>
        <p:spPr bwMode="gray">
          <a:xfrm>
            <a:off x="515937" y="476250"/>
            <a:ext cx="11160125" cy="369332"/>
          </a:xfrm>
          <a:prstGeom prst="rect">
            <a:avLst/>
          </a:prstGeom>
        </p:spPr>
        <p:txBody>
          <a:bodyPr vert="horz" anchor="b"/>
          <a:lstStyle>
            <a:lvl1pPr algn="l">
              <a:lnSpc>
                <a:spcPct val="100000"/>
              </a:lnSpc>
              <a:defRPr sz="2400" cap="all" baseline="0"/>
            </a:lvl1pPr>
          </a:lstStyle>
          <a:p>
            <a:r>
              <a:rPr lang="en-US" noProof="0"/>
              <a:t>overhead</a:t>
            </a:r>
          </a:p>
        </p:txBody>
      </p:sp>
      <p:sp>
        <p:nvSpPr>
          <p:cNvPr id="4" name="Text Placeholder 6">
            <a:extLst>
              <a:ext uri="{FF2B5EF4-FFF2-40B4-BE49-F238E27FC236}">
                <a16:creationId xmlns:a16="http://schemas.microsoft.com/office/drawing/2014/main" id="{783F72AC-0CBE-E186-9952-E60DB0E74486}"/>
              </a:ext>
            </a:extLst>
          </p:cNvPr>
          <p:cNvSpPr>
            <a:spLocks noGrp="1"/>
          </p:cNvSpPr>
          <p:nvPr>
            <p:ph type="body" sz="quarter" idx="12" hasCustomPrompt="1"/>
          </p:nvPr>
        </p:nvSpPr>
        <p:spPr bwMode="gray">
          <a:xfrm>
            <a:off x="515938" y="3630386"/>
            <a:ext cx="1800000" cy="1872000"/>
          </a:xfrm>
          <a:solidFill>
            <a:schemeClr val="bg1"/>
          </a:solidFill>
        </p:spPr>
        <p:txBody>
          <a:bodyPr lIns="144000" tIns="108000" rIns="144000" bIns="108000" anchor="ctr"/>
          <a:lstStyle>
            <a:lvl1pPr marL="0" indent="0" algn="ctr">
              <a:spcAft>
                <a:spcPts val="0"/>
              </a:spcAft>
              <a:buNone/>
              <a:defRPr sz="4000" b="1">
                <a:solidFill>
                  <a:schemeClr val="tx2"/>
                </a:solidFill>
              </a:defRPr>
            </a:lvl1pPr>
          </a:lstStyle>
          <a:p>
            <a:pPr lvl="0"/>
            <a:r>
              <a:rPr lang="en-US"/>
              <a:t>00%</a:t>
            </a:r>
          </a:p>
        </p:txBody>
      </p:sp>
      <p:sp>
        <p:nvSpPr>
          <p:cNvPr id="6" name="Text Placeholder 6">
            <a:extLst>
              <a:ext uri="{FF2B5EF4-FFF2-40B4-BE49-F238E27FC236}">
                <a16:creationId xmlns:a16="http://schemas.microsoft.com/office/drawing/2014/main" id="{C8F2AC20-5F87-7AC3-8355-B5B96BFDB3F9}"/>
              </a:ext>
            </a:extLst>
          </p:cNvPr>
          <p:cNvSpPr>
            <a:spLocks noGrp="1"/>
          </p:cNvSpPr>
          <p:nvPr>
            <p:ph type="body" sz="quarter" idx="13" hasCustomPrompt="1"/>
          </p:nvPr>
        </p:nvSpPr>
        <p:spPr bwMode="gray">
          <a:xfrm>
            <a:off x="2405969" y="3630386"/>
            <a:ext cx="1800000" cy="1872000"/>
          </a:xfrm>
          <a:solidFill>
            <a:schemeClr val="bg1"/>
          </a:solidFill>
        </p:spPr>
        <p:txBody>
          <a:bodyPr lIns="144000" tIns="108000" rIns="144000" bIns="108000" anchor="ctr"/>
          <a:lstStyle>
            <a:lvl1pPr marL="0" indent="0" algn="ctr">
              <a:spcAft>
                <a:spcPts val="0"/>
              </a:spcAft>
              <a:buNone/>
              <a:defRPr sz="4000" b="1">
                <a:solidFill>
                  <a:schemeClr val="tx2"/>
                </a:solidFill>
              </a:defRPr>
            </a:lvl1pPr>
          </a:lstStyle>
          <a:p>
            <a:pPr lvl="0"/>
            <a:r>
              <a:rPr lang="en-US"/>
              <a:t>0 Mio</a:t>
            </a:r>
          </a:p>
        </p:txBody>
      </p:sp>
      <p:sp>
        <p:nvSpPr>
          <p:cNvPr id="10" name="Text Placeholder 6">
            <a:extLst>
              <a:ext uri="{FF2B5EF4-FFF2-40B4-BE49-F238E27FC236}">
                <a16:creationId xmlns:a16="http://schemas.microsoft.com/office/drawing/2014/main" id="{CFA3BF58-70A4-801F-861A-566DC4A4E7E1}"/>
              </a:ext>
            </a:extLst>
          </p:cNvPr>
          <p:cNvSpPr>
            <a:spLocks noGrp="1"/>
          </p:cNvSpPr>
          <p:nvPr>
            <p:ph type="body" sz="quarter" idx="14" hasCustomPrompt="1"/>
          </p:nvPr>
        </p:nvSpPr>
        <p:spPr bwMode="gray">
          <a:xfrm>
            <a:off x="4296000" y="3630386"/>
            <a:ext cx="1800000" cy="1872000"/>
          </a:xfrm>
          <a:solidFill>
            <a:schemeClr val="bg1"/>
          </a:solidFill>
        </p:spPr>
        <p:txBody>
          <a:bodyPr lIns="144000" tIns="108000" rIns="144000" bIns="108000" anchor="ctr"/>
          <a:lstStyle>
            <a:lvl1pPr marL="0" indent="0" algn="ctr">
              <a:spcAft>
                <a:spcPts val="0"/>
              </a:spcAft>
              <a:buNone/>
              <a:defRPr sz="4000" b="1">
                <a:solidFill>
                  <a:schemeClr val="tx2"/>
                </a:solidFill>
              </a:defRPr>
            </a:lvl1pPr>
          </a:lstStyle>
          <a:p>
            <a:pPr lvl="0"/>
            <a:r>
              <a:rPr lang="en-US"/>
              <a:t>20XY</a:t>
            </a:r>
          </a:p>
        </p:txBody>
      </p:sp>
      <p:sp>
        <p:nvSpPr>
          <p:cNvPr id="7" name="Textfeld 6">
            <a:extLst>
              <a:ext uri="{FF2B5EF4-FFF2-40B4-BE49-F238E27FC236}">
                <a16:creationId xmlns:a16="http://schemas.microsoft.com/office/drawing/2014/main" id="{BF627B82-BAE1-728D-079F-4BDC3D0385E8}"/>
              </a:ext>
            </a:extLst>
          </p:cNvPr>
          <p:cNvSpPr txBox="1">
            <a:spLocks/>
          </p:cNvSpPr>
          <p:nvPr userDrawn="1"/>
        </p:nvSpPr>
        <p:spPr>
          <a:xfrm>
            <a:off x="5691185" y="6310083"/>
            <a:ext cx="809630" cy="153888"/>
          </a:xfrm>
          <a:prstGeom prst="rect">
            <a:avLst/>
          </a:prstGeom>
          <a:noFill/>
        </p:spPr>
        <p:txBody>
          <a:bodyPr wrap="square" lIns="0" tIns="0" rIns="0" bIns="0" rtlCol="0">
            <a:spAutoFit/>
          </a:bodyPr>
          <a:lstStyle/>
          <a:p>
            <a:pPr marL="0" lvl="0" indent="0" algn="ctr" defTabSz="914400" rtl="0" eaLnBrk="1" latinLnBrk="0" hangingPunct="1">
              <a:lnSpc>
                <a:spcPct val="100000"/>
              </a:lnSpc>
              <a:spcBef>
                <a:spcPts val="0"/>
              </a:spcBef>
              <a:spcAft>
                <a:spcPts val="600"/>
              </a:spcAft>
              <a:buClr>
                <a:schemeClr val="accent1"/>
              </a:buClr>
              <a:buFont typeface="Arial" panose="020B0604020202020204" pitchFamily="34" charset="0"/>
              <a:buNone/>
            </a:pPr>
            <a:r>
              <a:rPr lang="en-US" sz="1000" kern="1200">
                <a:solidFill>
                  <a:schemeClr val="accent2"/>
                </a:solidFill>
                <a:latin typeface="+mn-lt"/>
                <a:ea typeface="+mn-ea"/>
                <a:cs typeface="+mn-cs"/>
              </a:rPr>
              <a:t>Confidential</a:t>
            </a:r>
          </a:p>
        </p:txBody>
      </p:sp>
      <p:sp>
        <p:nvSpPr>
          <p:cNvPr id="9" name="Textplatzhalter 8">
            <a:extLst>
              <a:ext uri="{FF2B5EF4-FFF2-40B4-BE49-F238E27FC236}">
                <a16:creationId xmlns:a16="http://schemas.microsoft.com/office/drawing/2014/main" id="{5AFF93A4-4D7F-2C80-AAC0-F02F1BA39CE4}"/>
              </a:ext>
            </a:extLst>
          </p:cNvPr>
          <p:cNvSpPr>
            <a:spLocks noGrp="1"/>
          </p:cNvSpPr>
          <p:nvPr>
            <p:ph type="body" sz="quarter" idx="22" hasCustomPrompt="1"/>
          </p:nvPr>
        </p:nvSpPr>
        <p:spPr>
          <a:xfrm>
            <a:off x="515937" y="845582"/>
            <a:ext cx="11160126" cy="615553"/>
          </a:xfrm>
        </p:spPr>
        <p:txBody>
          <a:bodyPr wrap="square">
            <a:spAutoFit/>
          </a:bodyPr>
          <a:lstStyle>
            <a:lvl1pPr marL="0" indent="0">
              <a:spcAft>
                <a:spcPts val="0"/>
              </a:spcAft>
              <a:buNone/>
              <a:defRPr sz="4000"/>
            </a:lvl1pPr>
          </a:lstStyle>
          <a:p>
            <a:pPr lvl="0"/>
            <a:r>
              <a:rPr lang="en-US"/>
              <a:t>Descriptive, informative presentation header</a:t>
            </a:r>
          </a:p>
        </p:txBody>
      </p:sp>
    </p:spTree>
    <p:extLst>
      <p:ext uri="{BB962C8B-B14F-4D97-AF65-F5344CB8AC3E}">
        <p14:creationId xmlns:p14="http://schemas.microsoft.com/office/powerpoint/2010/main" val="2572802073"/>
      </p:ext>
    </p:extLst>
  </p:cSld>
  <p:clrMapOvr>
    <a:masterClrMapping/>
  </p:clrMapOvr>
  <p:extLst>
    <p:ext uri="{DCECCB84-F9BA-43D5-87BE-67443E8EF086}">
      <p15:sldGuideLst xmlns:p15="http://schemas.microsoft.com/office/powerpoint/2012/main">
        <p15:guide id="1" orient="horz" pos="3816">
          <p15:clr>
            <a:srgbClr val="F26B43"/>
          </p15:clr>
        </p15:guide>
        <p15:guide id="2" orient="horz" pos="2288" userDrawn="1">
          <p15:clr>
            <a:srgbClr val="F26B43"/>
          </p15:clr>
        </p15:guide>
        <p15:guide id="3" orient="horz" pos="3465" userDrawn="1">
          <p15:clr>
            <a:srgbClr val="F26B43"/>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Facts and Figures">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AE11F65-0243-C583-47AE-B8C1C1605595}"/>
              </a:ext>
            </a:extLst>
          </p:cNvPr>
          <p:cNvSpPr/>
          <p:nvPr userDrawn="1"/>
        </p:nvSpPr>
        <p:spPr bwMode="gray">
          <a:xfrm>
            <a:off x="0" y="0"/>
            <a:ext cx="12192000" cy="6057900"/>
          </a:xfrm>
          <a:prstGeom prst="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en-US" err="1"/>
          </a:p>
        </p:txBody>
      </p:sp>
      <p:graphicFrame>
        <p:nvGraphicFramePr>
          <p:cNvPr id="5" name="Objekt 4" hidden="1">
            <a:extLst>
              <a:ext uri="{FF2B5EF4-FFF2-40B4-BE49-F238E27FC236}">
                <a16:creationId xmlns:a16="http://schemas.microsoft.com/office/drawing/2014/main" id="{767385B7-6838-292C-9A71-B34C47821397}"/>
              </a:ext>
            </a:extLst>
          </p:cNvPr>
          <p:cNvGraphicFramePr>
            <a:graphicFrameLocks noChangeAspect="1"/>
          </p:cNvGraphicFramePr>
          <p:nvPr userDrawn="1">
            <p:custDataLst>
              <p:tags r:id="rId1"/>
            </p:custDataLst>
            <p:extLst>
              <p:ext uri="{D42A27DB-BD31-4B8C-83A1-F6EECF244321}">
                <p14:modId xmlns:p14="http://schemas.microsoft.com/office/powerpoint/2010/main" val="16401167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80" imgH="481" progId="TCLayout.ActiveDocument.1">
                  <p:embed/>
                </p:oleObj>
              </mc:Choice>
              <mc:Fallback>
                <p:oleObj name="think-cell Folie" r:id="rId3" imgW="480" imgH="481" progId="TCLayout.ActiveDocument.1">
                  <p:embed/>
                  <p:pic>
                    <p:nvPicPr>
                      <p:cNvPr id="5" name="Objekt 4" hidden="1">
                        <a:extLst>
                          <a:ext uri="{FF2B5EF4-FFF2-40B4-BE49-F238E27FC236}">
                            <a16:creationId xmlns:a16="http://schemas.microsoft.com/office/drawing/2014/main" id="{767385B7-6838-292C-9A71-B34C4782139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7" name="Footer Placeholder 26">
            <a:extLst>
              <a:ext uri="{FF2B5EF4-FFF2-40B4-BE49-F238E27FC236}">
                <a16:creationId xmlns:a16="http://schemas.microsoft.com/office/drawing/2014/main" id="{9D65CB0B-9E70-7B90-E6AE-21AEF33734E4}"/>
              </a:ext>
            </a:extLst>
          </p:cNvPr>
          <p:cNvSpPr>
            <a:spLocks noGrp="1"/>
          </p:cNvSpPr>
          <p:nvPr>
            <p:ph type="ftr" sz="quarter" idx="20"/>
          </p:nvPr>
        </p:nvSpPr>
        <p:spPr bwMode="gray"/>
        <p:txBody>
          <a:bodyPr/>
          <a:lstStyle/>
          <a:p>
            <a:r>
              <a:rPr lang="de-DE"/>
              <a:t>© Copyright Sensirion, Switzerland</a:t>
            </a:r>
          </a:p>
        </p:txBody>
      </p:sp>
      <p:sp>
        <p:nvSpPr>
          <p:cNvPr id="28" name="Slide Number Placeholder 27">
            <a:extLst>
              <a:ext uri="{FF2B5EF4-FFF2-40B4-BE49-F238E27FC236}">
                <a16:creationId xmlns:a16="http://schemas.microsoft.com/office/drawing/2014/main" id="{492DC165-2374-0ED2-FB65-A73A065F463D}"/>
              </a:ext>
            </a:extLst>
          </p:cNvPr>
          <p:cNvSpPr>
            <a:spLocks noGrp="1"/>
          </p:cNvSpPr>
          <p:nvPr>
            <p:ph type="sldNum" sz="quarter" idx="21"/>
          </p:nvPr>
        </p:nvSpPr>
        <p:spPr bwMode="gray"/>
        <p:txBody>
          <a:bodyPr/>
          <a:lstStyle/>
          <a:p>
            <a:fld id="{B1E691A1-F3A6-4574-B226-B412272B38A6}" type="slidenum">
              <a:rPr lang="de-DE" smtClean="0"/>
              <a:pPr/>
              <a:t>‹#›</a:t>
            </a:fld>
            <a:endParaRPr lang="de-DE"/>
          </a:p>
        </p:txBody>
      </p:sp>
      <p:sp>
        <p:nvSpPr>
          <p:cNvPr id="2" name="Titel 1">
            <a:extLst>
              <a:ext uri="{FF2B5EF4-FFF2-40B4-BE49-F238E27FC236}">
                <a16:creationId xmlns:a16="http://schemas.microsoft.com/office/drawing/2014/main" id="{7E11D4A9-12E5-8C22-BA13-B7609DBBB009}"/>
              </a:ext>
            </a:extLst>
          </p:cNvPr>
          <p:cNvSpPr>
            <a:spLocks noGrp="1"/>
          </p:cNvSpPr>
          <p:nvPr>
            <p:ph type="ctrTitle" hasCustomPrompt="1"/>
          </p:nvPr>
        </p:nvSpPr>
        <p:spPr bwMode="gray">
          <a:xfrm>
            <a:off x="515937" y="476250"/>
            <a:ext cx="5580063" cy="369332"/>
          </a:xfrm>
          <a:prstGeom prst="rect">
            <a:avLst/>
          </a:prstGeom>
        </p:spPr>
        <p:txBody>
          <a:bodyPr vert="horz" anchor="b"/>
          <a:lstStyle>
            <a:lvl1pPr algn="l">
              <a:lnSpc>
                <a:spcPct val="100000"/>
              </a:lnSpc>
              <a:defRPr sz="2400" cap="all" baseline="0"/>
            </a:lvl1pPr>
          </a:lstStyle>
          <a:p>
            <a:r>
              <a:rPr lang="en-US" noProof="0"/>
              <a:t>overhead</a:t>
            </a:r>
          </a:p>
        </p:txBody>
      </p:sp>
      <p:sp>
        <p:nvSpPr>
          <p:cNvPr id="6" name="Text Placeholder 6">
            <a:extLst>
              <a:ext uri="{FF2B5EF4-FFF2-40B4-BE49-F238E27FC236}">
                <a16:creationId xmlns:a16="http://schemas.microsoft.com/office/drawing/2014/main" id="{D96E3213-01DD-6CDB-B5B1-3441A96565B7}"/>
              </a:ext>
            </a:extLst>
          </p:cNvPr>
          <p:cNvSpPr>
            <a:spLocks noGrp="1"/>
          </p:cNvSpPr>
          <p:nvPr>
            <p:ph type="body" sz="quarter" idx="12" hasCustomPrompt="1"/>
          </p:nvPr>
        </p:nvSpPr>
        <p:spPr bwMode="gray">
          <a:xfrm>
            <a:off x="515938" y="3630386"/>
            <a:ext cx="1800000" cy="1872000"/>
          </a:xfrm>
          <a:solidFill>
            <a:schemeClr val="accent1"/>
          </a:solidFill>
        </p:spPr>
        <p:txBody>
          <a:bodyPr lIns="144000" tIns="108000" rIns="144000" bIns="108000" anchor="ctr"/>
          <a:lstStyle>
            <a:lvl1pPr marL="0" indent="0" algn="ctr">
              <a:spcAft>
                <a:spcPts val="0"/>
              </a:spcAft>
              <a:buNone/>
              <a:defRPr sz="4000" b="1">
                <a:solidFill>
                  <a:schemeClr val="bg1"/>
                </a:solidFill>
              </a:defRPr>
            </a:lvl1pPr>
          </a:lstStyle>
          <a:p>
            <a:pPr lvl="0"/>
            <a:r>
              <a:rPr lang="en-US"/>
              <a:t>00%</a:t>
            </a:r>
          </a:p>
        </p:txBody>
      </p:sp>
      <p:sp>
        <p:nvSpPr>
          <p:cNvPr id="10" name="Text Placeholder 6">
            <a:extLst>
              <a:ext uri="{FF2B5EF4-FFF2-40B4-BE49-F238E27FC236}">
                <a16:creationId xmlns:a16="http://schemas.microsoft.com/office/drawing/2014/main" id="{C8772DF6-A6AE-7370-A35E-06C67B09DD20}"/>
              </a:ext>
            </a:extLst>
          </p:cNvPr>
          <p:cNvSpPr>
            <a:spLocks noGrp="1"/>
          </p:cNvSpPr>
          <p:nvPr>
            <p:ph type="body" sz="quarter" idx="13" hasCustomPrompt="1"/>
          </p:nvPr>
        </p:nvSpPr>
        <p:spPr bwMode="gray">
          <a:xfrm>
            <a:off x="2405969" y="3630386"/>
            <a:ext cx="1800000" cy="1872000"/>
          </a:xfrm>
          <a:solidFill>
            <a:schemeClr val="accent1"/>
          </a:solidFill>
        </p:spPr>
        <p:txBody>
          <a:bodyPr lIns="144000" tIns="108000" rIns="144000" bIns="108000" anchor="ctr"/>
          <a:lstStyle>
            <a:lvl1pPr marL="0" indent="0" algn="ctr">
              <a:spcAft>
                <a:spcPts val="0"/>
              </a:spcAft>
              <a:buNone/>
              <a:defRPr sz="4000" b="1">
                <a:solidFill>
                  <a:schemeClr val="bg1"/>
                </a:solidFill>
              </a:defRPr>
            </a:lvl1pPr>
          </a:lstStyle>
          <a:p>
            <a:pPr lvl="0"/>
            <a:r>
              <a:rPr lang="en-US"/>
              <a:t>0 Mio</a:t>
            </a:r>
          </a:p>
        </p:txBody>
      </p:sp>
      <p:sp>
        <p:nvSpPr>
          <p:cNvPr id="11" name="Text Placeholder 6">
            <a:extLst>
              <a:ext uri="{FF2B5EF4-FFF2-40B4-BE49-F238E27FC236}">
                <a16:creationId xmlns:a16="http://schemas.microsoft.com/office/drawing/2014/main" id="{CE9D3FEE-C577-F74B-1629-DFFC856C6ECD}"/>
              </a:ext>
            </a:extLst>
          </p:cNvPr>
          <p:cNvSpPr>
            <a:spLocks noGrp="1"/>
          </p:cNvSpPr>
          <p:nvPr>
            <p:ph type="body" sz="quarter" idx="14" hasCustomPrompt="1"/>
          </p:nvPr>
        </p:nvSpPr>
        <p:spPr bwMode="gray">
          <a:xfrm>
            <a:off x="4296000" y="3630386"/>
            <a:ext cx="1800000" cy="1872000"/>
          </a:xfrm>
          <a:solidFill>
            <a:schemeClr val="accent1"/>
          </a:solidFill>
        </p:spPr>
        <p:txBody>
          <a:bodyPr lIns="144000" tIns="108000" rIns="144000" bIns="108000" anchor="ctr"/>
          <a:lstStyle>
            <a:lvl1pPr marL="0" indent="0" algn="ctr">
              <a:spcAft>
                <a:spcPts val="0"/>
              </a:spcAft>
              <a:buNone/>
              <a:defRPr sz="4000" b="1">
                <a:solidFill>
                  <a:schemeClr val="bg1"/>
                </a:solidFill>
              </a:defRPr>
            </a:lvl1pPr>
          </a:lstStyle>
          <a:p>
            <a:pPr lvl="0"/>
            <a:r>
              <a:rPr lang="en-US"/>
              <a:t>20XY</a:t>
            </a:r>
          </a:p>
        </p:txBody>
      </p:sp>
      <p:sp>
        <p:nvSpPr>
          <p:cNvPr id="13" name="Text Placeholder 12">
            <a:extLst>
              <a:ext uri="{FF2B5EF4-FFF2-40B4-BE49-F238E27FC236}">
                <a16:creationId xmlns:a16="http://schemas.microsoft.com/office/drawing/2014/main" id="{F6886565-4CB8-E065-18D3-4742E7B0E0C3}"/>
              </a:ext>
            </a:extLst>
          </p:cNvPr>
          <p:cNvSpPr>
            <a:spLocks noGrp="1"/>
          </p:cNvSpPr>
          <p:nvPr>
            <p:ph type="body" sz="quarter" idx="23" hasCustomPrompt="1"/>
          </p:nvPr>
        </p:nvSpPr>
        <p:spPr bwMode="gray">
          <a:xfrm>
            <a:off x="515937" y="2351941"/>
            <a:ext cx="5539837" cy="984885"/>
          </a:xfrm>
        </p:spPr>
        <p:txBody>
          <a:bodyPr>
            <a:spAutoFit/>
          </a:bodyPr>
          <a:lstStyle>
            <a:lvl1pPr marL="0" indent="0">
              <a:buNone/>
              <a:defRPr/>
            </a:lvl1pPr>
          </a:lstStyle>
          <a:p>
            <a:pPr marL="0" marR="0" lvl="0" indent="0" algn="l" defTabSz="914400" rtl="0" eaLnBrk="1" fontAlgn="auto" latinLnBrk="0" hangingPunct="1">
              <a:lnSpc>
                <a:spcPct val="100000"/>
              </a:lnSpc>
              <a:spcBef>
                <a:spcPts val="0"/>
              </a:spcBef>
              <a:spcAft>
                <a:spcPts val="600"/>
              </a:spcAft>
              <a:buClr>
                <a:schemeClr val="accent1"/>
              </a:buClr>
              <a:buSzTx/>
              <a:buFont typeface="Arial" panose="020B0604020202020204" pitchFamily="34" charset="0"/>
              <a:buNone/>
              <a:tabLst/>
              <a:defRPr/>
            </a:pPr>
            <a:r>
              <a:rPr lang="en-US"/>
              <a:t>Please insert your informative text here. Please insert your informative text here. Please insert your informative text here. Please insert your informative text here. Please insert your informative text here. Please insert your informative text here. </a:t>
            </a:r>
          </a:p>
        </p:txBody>
      </p:sp>
      <p:sp>
        <p:nvSpPr>
          <p:cNvPr id="18" name="Content Placeholder 17">
            <a:extLst>
              <a:ext uri="{FF2B5EF4-FFF2-40B4-BE49-F238E27FC236}">
                <a16:creationId xmlns:a16="http://schemas.microsoft.com/office/drawing/2014/main" id="{617CFD3D-B343-29AA-FD1F-47C1DE17260F}"/>
              </a:ext>
            </a:extLst>
          </p:cNvPr>
          <p:cNvSpPr>
            <a:spLocks noGrp="1"/>
          </p:cNvSpPr>
          <p:nvPr>
            <p:ph sz="quarter" idx="24" hasCustomPrompt="1"/>
          </p:nvPr>
        </p:nvSpPr>
        <p:spPr bwMode="gray">
          <a:xfrm>
            <a:off x="6456364" y="476250"/>
            <a:ext cx="5219700" cy="5026025"/>
          </a:xfrm>
        </p:spPr>
        <p:txBody>
          <a:bodyPr/>
          <a:lstStyle/>
          <a:p>
            <a:pPr lvl="0"/>
            <a:r>
              <a:rPr lang="en-US" noProof="0"/>
              <a:t>First level</a:t>
            </a:r>
          </a:p>
          <a:p>
            <a:pPr lvl="1"/>
            <a:r>
              <a:rPr lang="en-US" noProof="0"/>
              <a:t>Second level</a:t>
            </a:r>
          </a:p>
          <a:p>
            <a:pPr lvl="2"/>
            <a:r>
              <a:rPr lang="en-US" noProof="0"/>
              <a:t>Third level</a:t>
            </a:r>
          </a:p>
          <a:p>
            <a:pPr lvl="3"/>
            <a:r>
              <a:rPr lang="en-US" noProof="0"/>
              <a:t>Fourth level</a:t>
            </a:r>
          </a:p>
          <a:p>
            <a:pPr lvl="4"/>
            <a:r>
              <a:rPr lang="en-US" noProof="0"/>
              <a:t>Fifth level</a:t>
            </a:r>
          </a:p>
          <a:p>
            <a:pPr lvl="5"/>
            <a:r>
              <a:rPr lang="en-US" noProof="0"/>
              <a:t>Sixth level</a:t>
            </a:r>
          </a:p>
          <a:p>
            <a:pPr lvl="6"/>
            <a:r>
              <a:rPr lang="en-US" noProof="0"/>
              <a:t>Seventh level</a:t>
            </a:r>
          </a:p>
          <a:p>
            <a:pPr lvl="7"/>
            <a:r>
              <a:rPr lang="en-US" noProof="0"/>
              <a:t>Eighth level</a:t>
            </a:r>
          </a:p>
          <a:p>
            <a:pPr lvl="8"/>
            <a:r>
              <a:rPr lang="en-US" noProof="0"/>
              <a:t>Nineth level</a:t>
            </a:r>
          </a:p>
        </p:txBody>
      </p:sp>
      <p:sp>
        <p:nvSpPr>
          <p:cNvPr id="7" name="Textfeld 6">
            <a:extLst>
              <a:ext uri="{FF2B5EF4-FFF2-40B4-BE49-F238E27FC236}">
                <a16:creationId xmlns:a16="http://schemas.microsoft.com/office/drawing/2014/main" id="{DCBBC41F-AA48-5A95-BD22-EDF913E79FCD}"/>
              </a:ext>
            </a:extLst>
          </p:cNvPr>
          <p:cNvSpPr txBox="1">
            <a:spLocks/>
          </p:cNvSpPr>
          <p:nvPr userDrawn="1"/>
        </p:nvSpPr>
        <p:spPr>
          <a:xfrm>
            <a:off x="5691185" y="6310083"/>
            <a:ext cx="809630" cy="153888"/>
          </a:xfrm>
          <a:prstGeom prst="rect">
            <a:avLst/>
          </a:prstGeom>
          <a:noFill/>
        </p:spPr>
        <p:txBody>
          <a:bodyPr wrap="square" lIns="0" tIns="0" rIns="0" bIns="0" rtlCol="0">
            <a:spAutoFit/>
          </a:bodyPr>
          <a:lstStyle/>
          <a:p>
            <a:pPr marL="0" lvl="0" indent="0" algn="ctr" defTabSz="914400" rtl="0" eaLnBrk="1" latinLnBrk="0" hangingPunct="1">
              <a:lnSpc>
                <a:spcPct val="100000"/>
              </a:lnSpc>
              <a:spcBef>
                <a:spcPts val="0"/>
              </a:spcBef>
              <a:spcAft>
                <a:spcPts val="600"/>
              </a:spcAft>
              <a:buClr>
                <a:schemeClr val="accent1"/>
              </a:buClr>
              <a:buFont typeface="Arial" panose="020B0604020202020204" pitchFamily="34" charset="0"/>
              <a:buNone/>
            </a:pPr>
            <a:r>
              <a:rPr lang="en-US" sz="1000" kern="1200">
                <a:solidFill>
                  <a:schemeClr val="accent2"/>
                </a:solidFill>
                <a:latin typeface="+mn-lt"/>
                <a:ea typeface="+mn-ea"/>
                <a:cs typeface="+mn-cs"/>
              </a:rPr>
              <a:t>Confidential</a:t>
            </a:r>
          </a:p>
        </p:txBody>
      </p:sp>
      <p:sp>
        <p:nvSpPr>
          <p:cNvPr id="8" name="Textplatzhalter 8">
            <a:extLst>
              <a:ext uri="{FF2B5EF4-FFF2-40B4-BE49-F238E27FC236}">
                <a16:creationId xmlns:a16="http://schemas.microsoft.com/office/drawing/2014/main" id="{3F2B394E-FF4F-A13B-82E3-DC3EC336F9BA}"/>
              </a:ext>
            </a:extLst>
          </p:cNvPr>
          <p:cNvSpPr>
            <a:spLocks noGrp="1"/>
          </p:cNvSpPr>
          <p:nvPr>
            <p:ph type="body" sz="quarter" idx="22" hasCustomPrompt="1"/>
          </p:nvPr>
        </p:nvSpPr>
        <p:spPr>
          <a:xfrm>
            <a:off x="515937" y="845582"/>
            <a:ext cx="5580063" cy="1231106"/>
          </a:xfrm>
        </p:spPr>
        <p:txBody>
          <a:bodyPr wrap="square">
            <a:spAutoFit/>
          </a:bodyPr>
          <a:lstStyle>
            <a:lvl1pPr marL="0" indent="0">
              <a:spcAft>
                <a:spcPts val="0"/>
              </a:spcAft>
              <a:buNone/>
              <a:defRPr sz="4000"/>
            </a:lvl1pPr>
          </a:lstStyle>
          <a:p>
            <a:pPr lvl="0"/>
            <a:r>
              <a:rPr lang="en-US"/>
              <a:t>Headline</a:t>
            </a:r>
          </a:p>
          <a:p>
            <a:pPr lvl="0"/>
            <a:r>
              <a:rPr lang="en-US"/>
              <a:t>Second line</a:t>
            </a:r>
          </a:p>
        </p:txBody>
      </p:sp>
    </p:spTree>
    <p:extLst>
      <p:ext uri="{BB962C8B-B14F-4D97-AF65-F5344CB8AC3E}">
        <p14:creationId xmlns:p14="http://schemas.microsoft.com/office/powerpoint/2010/main" val="2989349200"/>
      </p:ext>
    </p:extLst>
  </p:cSld>
  <p:clrMapOvr>
    <a:masterClrMapping/>
  </p:clrMapOvr>
  <p:extLst>
    <p:ext uri="{DCECCB84-F9BA-43D5-87BE-67443E8EF086}">
      <p15:sldGuideLst xmlns:p15="http://schemas.microsoft.com/office/powerpoint/2012/main">
        <p15:guide id="1" orient="horz" pos="3816">
          <p15:clr>
            <a:srgbClr val="F26B43"/>
          </p15:clr>
        </p15:guide>
        <p15:guide id="2" orient="horz" pos="1480" userDrawn="1">
          <p15:clr>
            <a:srgbClr val="F26B43"/>
          </p15:clr>
        </p15:guide>
        <p15:guide id="3" orient="horz" pos="2286" userDrawn="1">
          <p15:clr>
            <a:srgbClr val="F26B43"/>
          </p15:clr>
        </p15:guide>
        <p15:guide id="4" pos="3840" userDrawn="1">
          <p15:clr>
            <a:srgbClr val="F26B43"/>
          </p15:clr>
        </p15:guide>
        <p15:guide id="5" orient="horz" pos="3465" userDrawn="1">
          <p15:clr>
            <a:srgbClr val="F26B43"/>
          </p15:clr>
        </p15:guide>
        <p15:guide id="6" pos="4067" userDrawn="1">
          <p15:clr>
            <a:srgbClr val="F26B43"/>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act">
    <p:spTree>
      <p:nvGrpSpPr>
        <p:cNvPr id="1" name=""/>
        <p:cNvGrpSpPr/>
        <p:nvPr/>
      </p:nvGrpSpPr>
      <p:grpSpPr>
        <a:xfrm>
          <a:off x="0" y="0"/>
          <a:ext cx="0" cy="0"/>
          <a:chOff x="0" y="0"/>
          <a:chExt cx="0" cy="0"/>
        </a:xfrm>
      </p:grpSpPr>
      <p:sp>
        <p:nvSpPr>
          <p:cNvPr id="3" name="Picture Placeholder 7">
            <a:extLst>
              <a:ext uri="{FF2B5EF4-FFF2-40B4-BE49-F238E27FC236}">
                <a16:creationId xmlns:a16="http://schemas.microsoft.com/office/drawing/2014/main" id="{AE0FE1CD-B1AE-2871-3162-980A2C8857B3}"/>
              </a:ext>
            </a:extLst>
          </p:cNvPr>
          <p:cNvSpPr>
            <a:spLocks noGrp="1"/>
          </p:cNvSpPr>
          <p:nvPr>
            <p:ph type="pic" sz="quarter" idx="11" hasCustomPrompt="1"/>
          </p:nvPr>
        </p:nvSpPr>
        <p:spPr bwMode="gray">
          <a:xfrm>
            <a:off x="4369594" y="0"/>
            <a:ext cx="7822406" cy="6057900"/>
          </a:xfrm>
          <a:pattFill prst="wdUpDiag">
            <a:fgClr>
              <a:schemeClr val="bg1"/>
            </a:fgClr>
            <a:bgClr>
              <a:schemeClr val="bg2"/>
            </a:bgClr>
          </a:pattFill>
        </p:spPr>
        <p:txBody>
          <a:bodyPr anchor="ctr"/>
          <a:lstStyle>
            <a:lvl1pPr marL="0" indent="0" algn="ctr">
              <a:lnSpc>
                <a:spcPct val="100000"/>
              </a:lnSpc>
              <a:buNone/>
              <a:defRPr sz="1000" b="1" i="1">
                <a:solidFill>
                  <a:srgbClr val="BDBDBD"/>
                </a:solidFill>
              </a:defRPr>
            </a:lvl1pPr>
          </a:lstStyle>
          <a:p>
            <a:r>
              <a:rPr lang="en-US" noProof="0"/>
              <a:t> Image placeholder</a:t>
            </a:r>
          </a:p>
        </p:txBody>
      </p:sp>
      <p:graphicFrame>
        <p:nvGraphicFramePr>
          <p:cNvPr id="18" name="Objekt 17" hidden="1">
            <a:extLst>
              <a:ext uri="{FF2B5EF4-FFF2-40B4-BE49-F238E27FC236}">
                <a16:creationId xmlns:a16="http://schemas.microsoft.com/office/drawing/2014/main" id="{F05B8204-9FDB-9C14-7435-D448FCDFE6C8}"/>
              </a:ext>
            </a:extLst>
          </p:cNvPr>
          <p:cNvGraphicFramePr>
            <a:graphicFrameLocks noChangeAspect="1"/>
          </p:cNvGraphicFramePr>
          <p:nvPr userDrawn="1">
            <p:custDataLst>
              <p:tags r:id="rId1"/>
            </p:custDataLst>
            <p:extLst>
              <p:ext uri="{D42A27DB-BD31-4B8C-83A1-F6EECF244321}">
                <p14:modId xmlns:p14="http://schemas.microsoft.com/office/powerpoint/2010/main" val="32958347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80" imgH="481" progId="TCLayout.ActiveDocument.1">
                  <p:embed/>
                </p:oleObj>
              </mc:Choice>
              <mc:Fallback>
                <p:oleObj name="think-cell Folie" r:id="rId3" imgW="480" imgH="481" progId="TCLayout.ActiveDocument.1">
                  <p:embed/>
                  <p:pic>
                    <p:nvPicPr>
                      <p:cNvPr id="18" name="Objekt 17" hidden="1">
                        <a:extLst>
                          <a:ext uri="{FF2B5EF4-FFF2-40B4-BE49-F238E27FC236}">
                            <a16:creationId xmlns:a16="http://schemas.microsoft.com/office/drawing/2014/main" id="{F05B8204-9FDB-9C14-7435-D448FCDFE6C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Footer Placeholder 6">
            <a:extLst>
              <a:ext uri="{FF2B5EF4-FFF2-40B4-BE49-F238E27FC236}">
                <a16:creationId xmlns:a16="http://schemas.microsoft.com/office/drawing/2014/main" id="{8349C354-53FD-5E75-76EC-6C80A35BC397}"/>
              </a:ext>
            </a:extLst>
          </p:cNvPr>
          <p:cNvSpPr>
            <a:spLocks noGrp="1"/>
          </p:cNvSpPr>
          <p:nvPr>
            <p:ph type="ftr" sz="quarter" idx="16"/>
          </p:nvPr>
        </p:nvSpPr>
        <p:spPr bwMode="gray"/>
        <p:txBody>
          <a:bodyPr/>
          <a:lstStyle/>
          <a:p>
            <a:r>
              <a:rPr lang="de-DE"/>
              <a:t>© Copyright Sensirion, Switzerland</a:t>
            </a:r>
          </a:p>
        </p:txBody>
      </p:sp>
      <p:sp>
        <p:nvSpPr>
          <p:cNvPr id="8" name="Slide Number Placeholder 7">
            <a:extLst>
              <a:ext uri="{FF2B5EF4-FFF2-40B4-BE49-F238E27FC236}">
                <a16:creationId xmlns:a16="http://schemas.microsoft.com/office/drawing/2014/main" id="{94705C1F-6CF3-8FF8-4D42-9153C70BF287}"/>
              </a:ext>
            </a:extLst>
          </p:cNvPr>
          <p:cNvSpPr>
            <a:spLocks noGrp="1"/>
          </p:cNvSpPr>
          <p:nvPr>
            <p:ph type="sldNum" sz="quarter" idx="17"/>
          </p:nvPr>
        </p:nvSpPr>
        <p:spPr bwMode="gray"/>
        <p:txBody>
          <a:bodyPr/>
          <a:lstStyle/>
          <a:p>
            <a:fld id="{B1E691A1-F3A6-4574-B226-B412272B38A6}" type="slidenum">
              <a:rPr lang="de-DE" smtClean="0"/>
              <a:pPr/>
              <a:t>‹#›</a:t>
            </a:fld>
            <a:endParaRPr lang="de-DE"/>
          </a:p>
        </p:txBody>
      </p:sp>
      <p:sp>
        <p:nvSpPr>
          <p:cNvPr id="10" name="Title 1">
            <a:extLst>
              <a:ext uri="{FF2B5EF4-FFF2-40B4-BE49-F238E27FC236}">
                <a16:creationId xmlns:a16="http://schemas.microsoft.com/office/drawing/2014/main" id="{1AA63BB0-73AC-7587-28FB-0A96DF658943}"/>
              </a:ext>
            </a:extLst>
          </p:cNvPr>
          <p:cNvSpPr>
            <a:spLocks noGrp="1"/>
          </p:cNvSpPr>
          <p:nvPr>
            <p:ph type="title" hasCustomPrompt="1"/>
          </p:nvPr>
        </p:nvSpPr>
        <p:spPr bwMode="gray">
          <a:xfrm>
            <a:off x="515937" y="1449388"/>
            <a:ext cx="3484563" cy="615553"/>
          </a:xfrm>
        </p:spPr>
        <p:txBody>
          <a:bodyPr vert="horz"/>
          <a:lstStyle>
            <a:lvl1pPr>
              <a:defRPr sz="4000" cap="all" baseline="0"/>
            </a:lvl1pPr>
          </a:lstStyle>
          <a:p>
            <a:r>
              <a:rPr lang="en-US"/>
              <a:t>Contact</a:t>
            </a:r>
          </a:p>
        </p:txBody>
      </p:sp>
      <p:sp>
        <p:nvSpPr>
          <p:cNvPr id="12" name="Text Placeholder 11">
            <a:extLst>
              <a:ext uri="{FF2B5EF4-FFF2-40B4-BE49-F238E27FC236}">
                <a16:creationId xmlns:a16="http://schemas.microsoft.com/office/drawing/2014/main" id="{968A28B4-9AD6-D64F-46E1-2CD6D443217A}"/>
              </a:ext>
            </a:extLst>
          </p:cNvPr>
          <p:cNvSpPr>
            <a:spLocks noGrp="1"/>
          </p:cNvSpPr>
          <p:nvPr>
            <p:ph type="body" sz="quarter" idx="18" hasCustomPrompt="1"/>
          </p:nvPr>
        </p:nvSpPr>
        <p:spPr bwMode="gray">
          <a:xfrm>
            <a:off x="515938" y="2422525"/>
            <a:ext cx="1789112" cy="492443"/>
          </a:xfrm>
        </p:spPr>
        <p:txBody>
          <a:bodyPr wrap="square">
            <a:spAutoFit/>
          </a:bodyPr>
          <a:lstStyle>
            <a:lvl1pPr marL="0" indent="0">
              <a:spcAft>
                <a:spcPts val="0"/>
              </a:spcAft>
              <a:buNone/>
              <a:defRPr b="1"/>
            </a:lvl1pPr>
          </a:lstStyle>
          <a:p>
            <a:pPr lvl="0"/>
            <a:r>
              <a:rPr lang="en-US"/>
              <a:t>First name</a:t>
            </a:r>
          </a:p>
          <a:p>
            <a:pPr lvl="0"/>
            <a:r>
              <a:rPr lang="en-US"/>
              <a:t>Last name</a:t>
            </a:r>
          </a:p>
        </p:txBody>
      </p:sp>
      <p:sp>
        <p:nvSpPr>
          <p:cNvPr id="13" name="Text Placeholder 11">
            <a:extLst>
              <a:ext uri="{FF2B5EF4-FFF2-40B4-BE49-F238E27FC236}">
                <a16:creationId xmlns:a16="http://schemas.microsoft.com/office/drawing/2014/main" id="{0E2BC42F-49BB-5EC3-11AB-85D6295A0A2F}"/>
              </a:ext>
            </a:extLst>
          </p:cNvPr>
          <p:cNvSpPr>
            <a:spLocks noGrp="1"/>
          </p:cNvSpPr>
          <p:nvPr>
            <p:ph type="body" sz="quarter" idx="19" hasCustomPrompt="1"/>
          </p:nvPr>
        </p:nvSpPr>
        <p:spPr bwMode="gray">
          <a:xfrm>
            <a:off x="2390775" y="2422525"/>
            <a:ext cx="1609725" cy="615553"/>
          </a:xfrm>
        </p:spPr>
        <p:txBody>
          <a:bodyPr>
            <a:spAutoFit/>
          </a:bodyPr>
          <a:lstStyle>
            <a:lvl1pPr marL="0" indent="0">
              <a:spcAft>
                <a:spcPts val="600"/>
              </a:spcAft>
              <a:buNone/>
              <a:defRPr sz="1000" b="0"/>
            </a:lvl1pPr>
          </a:lstStyle>
          <a:p>
            <a:r>
              <a:rPr lang="en-US"/>
              <a:t>E-mail</a:t>
            </a:r>
          </a:p>
          <a:p>
            <a:pPr lvl="0"/>
            <a:r>
              <a:rPr lang="en-US"/>
              <a:t>Phone</a:t>
            </a:r>
          </a:p>
          <a:p>
            <a:pPr lvl="0"/>
            <a:r>
              <a:rPr lang="en-US"/>
              <a:t>Address</a:t>
            </a:r>
          </a:p>
        </p:txBody>
      </p:sp>
      <p:sp>
        <p:nvSpPr>
          <p:cNvPr id="14" name="Text Placeholder 11">
            <a:extLst>
              <a:ext uri="{FF2B5EF4-FFF2-40B4-BE49-F238E27FC236}">
                <a16:creationId xmlns:a16="http://schemas.microsoft.com/office/drawing/2014/main" id="{3935B3FD-4FD7-1142-C3FC-23D71F2A2105}"/>
              </a:ext>
            </a:extLst>
          </p:cNvPr>
          <p:cNvSpPr>
            <a:spLocks noGrp="1"/>
          </p:cNvSpPr>
          <p:nvPr>
            <p:ph type="body" sz="quarter" idx="20" hasCustomPrompt="1"/>
          </p:nvPr>
        </p:nvSpPr>
        <p:spPr bwMode="gray">
          <a:xfrm>
            <a:off x="515938" y="3422650"/>
            <a:ext cx="1789112" cy="492443"/>
          </a:xfrm>
        </p:spPr>
        <p:txBody>
          <a:bodyPr wrap="square">
            <a:spAutoFit/>
          </a:bodyPr>
          <a:lstStyle>
            <a:lvl1pPr marL="0" indent="0">
              <a:spcAft>
                <a:spcPts val="0"/>
              </a:spcAft>
              <a:buNone/>
              <a:defRPr b="1"/>
            </a:lvl1pPr>
          </a:lstStyle>
          <a:p>
            <a:pPr lvl="0"/>
            <a:r>
              <a:rPr lang="en-US"/>
              <a:t>First name</a:t>
            </a:r>
          </a:p>
          <a:p>
            <a:pPr lvl="0"/>
            <a:r>
              <a:rPr lang="en-US"/>
              <a:t>Last name</a:t>
            </a:r>
          </a:p>
        </p:txBody>
      </p:sp>
      <p:sp>
        <p:nvSpPr>
          <p:cNvPr id="15" name="Text Placeholder 11">
            <a:extLst>
              <a:ext uri="{FF2B5EF4-FFF2-40B4-BE49-F238E27FC236}">
                <a16:creationId xmlns:a16="http://schemas.microsoft.com/office/drawing/2014/main" id="{DFCFADD4-BDD7-C835-1085-0A971CE578AF}"/>
              </a:ext>
            </a:extLst>
          </p:cNvPr>
          <p:cNvSpPr>
            <a:spLocks noGrp="1"/>
          </p:cNvSpPr>
          <p:nvPr>
            <p:ph type="body" sz="quarter" idx="21" hasCustomPrompt="1"/>
          </p:nvPr>
        </p:nvSpPr>
        <p:spPr bwMode="gray">
          <a:xfrm>
            <a:off x="2390775" y="3422650"/>
            <a:ext cx="1609725" cy="615553"/>
          </a:xfrm>
        </p:spPr>
        <p:txBody>
          <a:bodyPr>
            <a:spAutoFit/>
          </a:bodyPr>
          <a:lstStyle>
            <a:lvl1pPr marL="0" indent="0">
              <a:spcAft>
                <a:spcPts val="600"/>
              </a:spcAft>
              <a:buNone/>
              <a:defRPr sz="1000" b="0"/>
            </a:lvl1pPr>
          </a:lstStyle>
          <a:p>
            <a:r>
              <a:rPr lang="en-US"/>
              <a:t>E-mail</a:t>
            </a:r>
          </a:p>
          <a:p>
            <a:pPr lvl="0"/>
            <a:r>
              <a:rPr lang="en-US"/>
              <a:t>Phone</a:t>
            </a:r>
          </a:p>
          <a:p>
            <a:pPr lvl="0"/>
            <a:r>
              <a:rPr lang="en-US"/>
              <a:t>Address</a:t>
            </a:r>
          </a:p>
        </p:txBody>
      </p:sp>
      <p:sp>
        <p:nvSpPr>
          <p:cNvPr id="16" name="Text Placeholder 11">
            <a:extLst>
              <a:ext uri="{FF2B5EF4-FFF2-40B4-BE49-F238E27FC236}">
                <a16:creationId xmlns:a16="http://schemas.microsoft.com/office/drawing/2014/main" id="{365E10C3-0988-8B7A-CEBD-ABE2BDA7F1D7}"/>
              </a:ext>
            </a:extLst>
          </p:cNvPr>
          <p:cNvSpPr>
            <a:spLocks noGrp="1"/>
          </p:cNvSpPr>
          <p:nvPr>
            <p:ph type="body" sz="quarter" idx="22" hasCustomPrompt="1"/>
          </p:nvPr>
        </p:nvSpPr>
        <p:spPr bwMode="gray">
          <a:xfrm>
            <a:off x="515938" y="4422775"/>
            <a:ext cx="1789112" cy="492443"/>
          </a:xfrm>
        </p:spPr>
        <p:txBody>
          <a:bodyPr wrap="square">
            <a:spAutoFit/>
          </a:bodyPr>
          <a:lstStyle>
            <a:lvl1pPr marL="0" indent="0">
              <a:spcAft>
                <a:spcPts val="0"/>
              </a:spcAft>
              <a:buNone/>
              <a:defRPr b="1"/>
            </a:lvl1pPr>
          </a:lstStyle>
          <a:p>
            <a:pPr lvl="0"/>
            <a:r>
              <a:rPr lang="en-US"/>
              <a:t>First name</a:t>
            </a:r>
          </a:p>
          <a:p>
            <a:pPr lvl="0"/>
            <a:r>
              <a:rPr lang="en-US"/>
              <a:t>Last name</a:t>
            </a:r>
          </a:p>
        </p:txBody>
      </p:sp>
      <p:sp>
        <p:nvSpPr>
          <p:cNvPr id="17" name="Text Placeholder 11">
            <a:extLst>
              <a:ext uri="{FF2B5EF4-FFF2-40B4-BE49-F238E27FC236}">
                <a16:creationId xmlns:a16="http://schemas.microsoft.com/office/drawing/2014/main" id="{D92315C8-74E3-7E7B-DA7E-6FFA0BBEBDFF}"/>
              </a:ext>
            </a:extLst>
          </p:cNvPr>
          <p:cNvSpPr>
            <a:spLocks noGrp="1"/>
          </p:cNvSpPr>
          <p:nvPr>
            <p:ph type="body" sz="quarter" idx="23" hasCustomPrompt="1"/>
          </p:nvPr>
        </p:nvSpPr>
        <p:spPr bwMode="gray">
          <a:xfrm>
            <a:off x="2390775" y="4422775"/>
            <a:ext cx="1609725" cy="615553"/>
          </a:xfrm>
        </p:spPr>
        <p:txBody>
          <a:bodyPr>
            <a:spAutoFit/>
          </a:bodyPr>
          <a:lstStyle>
            <a:lvl1pPr marL="0" indent="0">
              <a:spcAft>
                <a:spcPts val="600"/>
              </a:spcAft>
              <a:buNone/>
              <a:defRPr sz="1000" b="0"/>
            </a:lvl1pPr>
          </a:lstStyle>
          <a:p>
            <a:r>
              <a:rPr lang="en-US"/>
              <a:t>E-mail</a:t>
            </a:r>
          </a:p>
          <a:p>
            <a:pPr lvl="0"/>
            <a:r>
              <a:rPr lang="en-US"/>
              <a:t>Phone</a:t>
            </a:r>
          </a:p>
          <a:p>
            <a:pPr lvl="0"/>
            <a:r>
              <a:rPr lang="en-US"/>
              <a:t>Address</a:t>
            </a:r>
          </a:p>
        </p:txBody>
      </p:sp>
      <p:sp>
        <p:nvSpPr>
          <p:cNvPr id="22" name="Text Placeholder 21">
            <a:extLst>
              <a:ext uri="{FF2B5EF4-FFF2-40B4-BE49-F238E27FC236}">
                <a16:creationId xmlns:a16="http://schemas.microsoft.com/office/drawing/2014/main" id="{06340F3A-9AB1-D342-7190-230CAC35531B}"/>
              </a:ext>
            </a:extLst>
          </p:cNvPr>
          <p:cNvSpPr>
            <a:spLocks noGrp="1"/>
          </p:cNvSpPr>
          <p:nvPr>
            <p:ph type="body" sz="quarter" idx="24" hasCustomPrompt="1"/>
          </p:nvPr>
        </p:nvSpPr>
        <p:spPr bwMode="gray">
          <a:xfrm>
            <a:off x="515939" y="3207505"/>
            <a:ext cx="3480542" cy="45719"/>
          </a:xfrm>
          <a:custGeom>
            <a:avLst/>
            <a:gdLst>
              <a:gd name="connsiteX0" fmla="*/ 0 w 3933825"/>
              <a:gd name="connsiteY0" fmla="*/ 0 h 523875"/>
              <a:gd name="connsiteX1" fmla="*/ 3933825 w 3933825"/>
              <a:gd name="connsiteY1" fmla="*/ 0 h 523875"/>
              <a:gd name="connsiteX2" fmla="*/ 3933825 w 3933825"/>
              <a:gd name="connsiteY2" fmla="*/ 523875 h 523875"/>
              <a:gd name="connsiteX3" fmla="*/ 0 w 3933825"/>
              <a:gd name="connsiteY3" fmla="*/ 523875 h 523875"/>
              <a:gd name="connsiteX4" fmla="*/ 0 w 3933825"/>
              <a:gd name="connsiteY4" fmla="*/ 0 h 523875"/>
              <a:gd name="connsiteX0" fmla="*/ 0 w 3933825"/>
              <a:gd name="connsiteY0" fmla="*/ 0 h 523875"/>
              <a:gd name="connsiteX1" fmla="*/ 3933825 w 3933825"/>
              <a:gd name="connsiteY1" fmla="*/ 0 h 523875"/>
              <a:gd name="connsiteX2" fmla="*/ 0 w 3933825"/>
              <a:gd name="connsiteY2" fmla="*/ 523875 h 523875"/>
              <a:gd name="connsiteX3" fmla="*/ 0 w 3933825"/>
              <a:gd name="connsiteY3" fmla="*/ 0 h 523875"/>
              <a:gd name="connsiteX0" fmla="*/ 0 w 3933825"/>
              <a:gd name="connsiteY0" fmla="*/ 0 h 0"/>
              <a:gd name="connsiteX1" fmla="*/ 3933825 w 3933825"/>
              <a:gd name="connsiteY1" fmla="*/ 0 h 0"/>
              <a:gd name="connsiteX2" fmla="*/ 0 w 3933825"/>
              <a:gd name="connsiteY2" fmla="*/ 0 h 0"/>
            </a:gdLst>
            <a:ahLst/>
            <a:cxnLst>
              <a:cxn ang="0">
                <a:pos x="connsiteX0" y="connsiteY0"/>
              </a:cxn>
              <a:cxn ang="0">
                <a:pos x="connsiteX1" y="connsiteY1"/>
              </a:cxn>
              <a:cxn ang="0">
                <a:pos x="connsiteX2" y="connsiteY2"/>
              </a:cxn>
            </a:cxnLst>
            <a:rect l="l" t="t" r="r" b="b"/>
            <a:pathLst>
              <a:path w="3933825">
                <a:moveTo>
                  <a:pt x="0" y="0"/>
                </a:moveTo>
                <a:lnTo>
                  <a:pt x="3933825" y="0"/>
                </a:lnTo>
                <a:lnTo>
                  <a:pt x="0" y="0"/>
                </a:lnTo>
                <a:close/>
              </a:path>
            </a:pathLst>
          </a:custGeom>
          <a:ln w="6350">
            <a:solidFill>
              <a:srgbClr val="BDBDBD"/>
            </a:solidFill>
          </a:ln>
        </p:spPr>
        <p:txBody>
          <a:bodyPr/>
          <a:lstStyle>
            <a:lvl1pPr marL="0" indent="0">
              <a:buNone/>
              <a:defRPr/>
            </a:lvl1pPr>
          </a:lstStyle>
          <a:p>
            <a:pPr lvl="0"/>
            <a:r>
              <a:rPr lang="en-US"/>
              <a:t> </a:t>
            </a:r>
          </a:p>
        </p:txBody>
      </p:sp>
      <p:sp>
        <p:nvSpPr>
          <p:cNvPr id="23" name="Text Placeholder 21">
            <a:extLst>
              <a:ext uri="{FF2B5EF4-FFF2-40B4-BE49-F238E27FC236}">
                <a16:creationId xmlns:a16="http://schemas.microsoft.com/office/drawing/2014/main" id="{C716B27B-8D03-8B76-8793-65296174B477}"/>
              </a:ext>
            </a:extLst>
          </p:cNvPr>
          <p:cNvSpPr>
            <a:spLocks noGrp="1"/>
          </p:cNvSpPr>
          <p:nvPr>
            <p:ph type="body" sz="quarter" idx="25" hasCustomPrompt="1"/>
          </p:nvPr>
        </p:nvSpPr>
        <p:spPr bwMode="gray">
          <a:xfrm>
            <a:off x="515939" y="4207629"/>
            <a:ext cx="3480542" cy="45719"/>
          </a:xfrm>
          <a:custGeom>
            <a:avLst/>
            <a:gdLst>
              <a:gd name="connsiteX0" fmla="*/ 0 w 3933825"/>
              <a:gd name="connsiteY0" fmla="*/ 0 h 523875"/>
              <a:gd name="connsiteX1" fmla="*/ 3933825 w 3933825"/>
              <a:gd name="connsiteY1" fmla="*/ 0 h 523875"/>
              <a:gd name="connsiteX2" fmla="*/ 3933825 w 3933825"/>
              <a:gd name="connsiteY2" fmla="*/ 523875 h 523875"/>
              <a:gd name="connsiteX3" fmla="*/ 0 w 3933825"/>
              <a:gd name="connsiteY3" fmla="*/ 523875 h 523875"/>
              <a:gd name="connsiteX4" fmla="*/ 0 w 3933825"/>
              <a:gd name="connsiteY4" fmla="*/ 0 h 523875"/>
              <a:gd name="connsiteX0" fmla="*/ 0 w 3933825"/>
              <a:gd name="connsiteY0" fmla="*/ 0 h 523875"/>
              <a:gd name="connsiteX1" fmla="*/ 3933825 w 3933825"/>
              <a:gd name="connsiteY1" fmla="*/ 0 h 523875"/>
              <a:gd name="connsiteX2" fmla="*/ 0 w 3933825"/>
              <a:gd name="connsiteY2" fmla="*/ 523875 h 523875"/>
              <a:gd name="connsiteX3" fmla="*/ 0 w 3933825"/>
              <a:gd name="connsiteY3" fmla="*/ 0 h 523875"/>
              <a:gd name="connsiteX0" fmla="*/ 0 w 3933825"/>
              <a:gd name="connsiteY0" fmla="*/ 0 h 0"/>
              <a:gd name="connsiteX1" fmla="*/ 3933825 w 3933825"/>
              <a:gd name="connsiteY1" fmla="*/ 0 h 0"/>
              <a:gd name="connsiteX2" fmla="*/ 0 w 3933825"/>
              <a:gd name="connsiteY2" fmla="*/ 0 h 0"/>
            </a:gdLst>
            <a:ahLst/>
            <a:cxnLst>
              <a:cxn ang="0">
                <a:pos x="connsiteX0" y="connsiteY0"/>
              </a:cxn>
              <a:cxn ang="0">
                <a:pos x="connsiteX1" y="connsiteY1"/>
              </a:cxn>
              <a:cxn ang="0">
                <a:pos x="connsiteX2" y="connsiteY2"/>
              </a:cxn>
            </a:cxnLst>
            <a:rect l="l" t="t" r="r" b="b"/>
            <a:pathLst>
              <a:path w="3933825">
                <a:moveTo>
                  <a:pt x="0" y="0"/>
                </a:moveTo>
                <a:lnTo>
                  <a:pt x="3933825" y="0"/>
                </a:lnTo>
                <a:lnTo>
                  <a:pt x="0" y="0"/>
                </a:lnTo>
                <a:close/>
              </a:path>
            </a:pathLst>
          </a:custGeom>
          <a:ln w="6350">
            <a:solidFill>
              <a:srgbClr val="BDBDBD"/>
            </a:solidFill>
          </a:ln>
        </p:spPr>
        <p:txBody>
          <a:bodyPr/>
          <a:lstStyle>
            <a:lvl1pPr marL="0" indent="0">
              <a:buNone/>
              <a:defRPr/>
            </a:lvl1pPr>
          </a:lstStyle>
          <a:p>
            <a:pPr lvl="0"/>
            <a:r>
              <a:rPr lang="en-US"/>
              <a:t> </a:t>
            </a:r>
          </a:p>
        </p:txBody>
      </p:sp>
    </p:spTree>
    <p:extLst>
      <p:ext uri="{BB962C8B-B14F-4D97-AF65-F5344CB8AC3E}">
        <p14:creationId xmlns:p14="http://schemas.microsoft.com/office/powerpoint/2010/main" val="1813941894"/>
      </p:ext>
    </p:extLst>
  </p:cSld>
  <p:clrMapOvr>
    <a:masterClrMapping/>
  </p:clrMapOvr>
  <p:extLst>
    <p:ext uri="{DCECCB84-F9BA-43D5-87BE-67443E8EF086}">
      <p15:sldGuideLst xmlns:p15="http://schemas.microsoft.com/office/powerpoint/2012/main">
        <p15:guide id="1" orient="horz" pos="913">
          <p15:clr>
            <a:srgbClr val="F26B43"/>
          </p15:clr>
        </p15:guide>
        <p15:guide id="3" orient="horz" pos="300">
          <p15:clr>
            <a:srgbClr val="F26B43"/>
          </p15:clr>
        </p15:guide>
        <p15:guide id="4" orient="horz" pos="3974">
          <p15:clr>
            <a:srgbClr val="F26B43"/>
          </p15:clr>
        </p15:guide>
        <p15:guide id="5" orient="horz" pos="3816">
          <p15:clr>
            <a:srgbClr val="F26B43"/>
          </p15:clr>
        </p15:guide>
        <p15:guide id="6" pos="2520" userDrawn="1">
          <p15:clr>
            <a:srgbClr val="F26B43"/>
          </p15:clr>
        </p15:guide>
        <p15:guide id="7" pos="2751" userDrawn="1">
          <p15:clr>
            <a:srgbClr val="F26B43"/>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hapter slide">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3701C1F6-A140-C203-8BFC-35C0188A77B8}"/>
              </a:ext>
            </a:extLst>
          </p:cNvPr>
          <p:cNvSpPr>
            <a:spLocks noGrp="1"/>
          </p:cNvSpPr>
          <p:nvPr>
            <p:ph type="pic" sz="quarter" idx="11" hasCustomPrompt="1"/>
          </p:nvPr>
        </p:nvSpPr>
        <p:spPr bwMode="gray">
          <a:xfrm>
            <a:off x="0" y="0"/>
            <a:ext cx="9874800" cy="6858000"/>
          </a:xfrm>
          <a:pattFill prst="wdUpDiag">
            <a:fgClr>
              <a:schemeClr val="bg1"/>
            </a:fgClr>
            <a:bgClr>
              <a:schemeClr val="bg2"/>
            </a:bgClr>
          </a:pattFill>
        </p:spPr>
        <p:txBody>
          <a:bodyPr anchor="ctr"/>
          <a:lstStyle>
            <a:lvl1pPr marL="0" indent="0" algn="ctr">
              <a:lnSpc>
                <a:spcPct val="100000"/>
              </a:lnSpc>
              <a:buNone/>
              <a:defRPr sz="1000" b="1" i="1">
                <a:solidFill>
                  <a:srgbClr val="BDBDBD"/>
                </a:solidFill>
              </a:defRPr>
            </a:lvl1pPr>
          </a:lstStyle>
          <a:p>
            <a:r>
              <a:rPr lang="en-US"/>
              <a:t> Image placeholder</a:t>
            </a:r>
          </a:p>
        </p:txBody>
      </p:sp>
      <p:graphicFrame>
        <p:nvGraphicFramePr>
          <p:cNvPr id="5" name="Objekt 4" hidden="1">
            <a:extLst>
              <a:ext uri="{FF2B5EF4-FFF2-40B4-BE49-F238E27FC236}">
                <a16:creationId xmlns:a16="http://schemas.microsoft.com/office/drawing/2014/main" id="{767385B7-6838-292C-9A71-B34C47821397}"/>
              </a:ext>
            </a:extLst>
          </p:cNvPr>
          <p:cNvGraphicFramePr>
            <a:graphicFrameLocks noChangeAspect="1"/>
          </p:cNvGraphicFramePr>
          <p:nvPr userDrawn="1">
            <p:custDataLst>
              <p:tags r:id="rId1"/>
            </p:custDataLst>
            <p:extLst>
              <p:ext uri="{D42A27DB-BD31-4B8C-83A1-F6EECF244321}">
                <p14:modId xmlns:p14="http://schemas.microsoft.com/office/powerpoint/2010/main" val="37742899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80" imgH="481" progId="TCLayout.ActiveDocument.1">
                  <p:embed/>
                </p:oleObj>
              </mc:Choice>
              <mc:Fallback>
                <p:oleObj name="think-cell Folie" r:id="rId3" imgW="480" imgH="481" progId="TCLayout.ActiveDocument.1">
                  <p:embed/>
                  <p:pic>
                    <p:nvPicPr>
                      <p:cNvPr id="5" name="Objekt 4" hidden="1">
                        <a:extLst>
                          <a:ext uri="{FF2B5EF4-FFF2-40B4-BE49-F238E27FC236}">
                            <a16:creationId xmlns:a16="http://schemas.microsoft.com/office/drawing/2014/main" id="{767385B7-6838-292C-9A71-B34C4782139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9E4B5D56-4EE6-6923-EBA2-5824FC9584B2}"/>
              </a:ext>
            </a:extLst>
          </p:cNvPr>
          <p:cNvSpPr>
            <a:spLocks noGrp="1"/>
          </p:cNvSpPr>
          <p:nvPr>
            <p:ph type="ctrTitle" hasCustomPrompt="1"/>
          </p:nvPr>
        </p:nvSpPr>
        <p:spPr bwMode="gray">
          <a:xfrm>
            <a:off x="1189036" y="1334291"/>
            <a:ext cx="7612064" cy="369332"/>
          </a:xfrm>
          <a:prstGeom prst="rect">
            <a:avLst/>
          </a:prstGeom>
        </p:spPr>
        <p:txBody>
          <a:bodyPr vert="horz" anchor="b"/>
          <a:lstStyle>
            <a:lvl1pPr algn="l">
              <a:lnSpc>
                <a:spcPct val="100000"/>
              </a:lnSpc>
              <a:defRPr sz="2400" cap="all" baseline="0"/>
            </a:lvl1pPr>
          </a:lstStyle>
          <a:p>
            <a:r>
              <a:rPr lang="de-DE"/>
              <a:t>Chapter 1</a:t>
            </a:r>
          </a:p>
        </p:txBody>
      </p:sp>
      <p:sp>
        <p:nvSpPr>
          <p:cNvPr id="4" name="Textplatzhalter 8">
            <a:extLst>
              <a:ext uri="{FF2B5EF4-FFF2-40B4-BE49-F238E27FC236}">
                <a16:creationId xmlns:a16="http://schemas.microsoft.com/office/drawing/2014/main" id="{6B697B09-1663-F3FE-7753-55104D18A158}"/>
              </a:ext>
            </a:extLst>
          </p:cNvPr>
          <p:cNvSpPr>
            <a:spLocks noGrp="1"/>
          </p:cNvSpPr>
          <p:nvPr>
            <p:ph type="body" sz="quarter" idx="14" hasCustomPrompt="1"/>
          </p:nvPr>
        </p:nvSpPr>
        <p:spPr>
          <a:xfrm>
            <a:off x="1189036" y="1703623"/>
            <a:ext cx="7612064" cy="1231106"/>
          </a:xfrm>
        </p:spPr>
        <p:txBody>
          <a:bodyPr wrap="square">
            <a:spAutoFit/>
          </a:bodyPr>
          <a:lstStyle>
            <a:lvl1pPr marL="0" indent="0">
              <a:spcAft>
                <a:spcPts val="0"/>
              </a:spcAft>
              <a:buNone/>
              <a:defRPr sz="4000"/>
            </a:lvl1pPr>
          </a:lstStyle>
          <a:p>
            <a:pPr lvl="0"/>
            <a:r>
              <a:rPr lang="en-US"/>
              <a:t>Chapter title</a:t>
            </a:r>
          </a:p>
          <a:p>
            <a:pPr lvl="0"/>
            <a:r>
              <a:rPr lang="en-US"/>
              <a:t>(Position variable)</a:t>
            </a:r>
          </a:p>
        </p:txBody>
      </p:sp>
    </p:spTree>
    <p:extLst>
      <p:ext uri="{BB962C8B-B14F-4D97-AF65-F5344CB8AC3E}">
        <p14:creationId xmlns:p14="http://schemas.microsoft.com/office/powerpoint/2010/main" val="4147481199"/>
      </p:ext>
    </p:extLst>
  </p:cSld>
  <p:clrMapOvr>
    <a:masterClrMapping/>
  </p:clrMapOvr>
  <p:extLst>
    <p:ext uri="{DCECCB84-F9BA-43D5-87BE-67443E8EF086}">
      <p15:sldGuideLst xmlns:p15="http://schemas.microsoft.com/office/powerpoint/2012/main">
        <p15:guide id="1" pos="6221" userDrawn="1">
          <p15:clr>
            <a:srgbClr val="F26B43"/>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End slide green">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2C58368B-6ED4-3E65-BBE2-7282F6944C35}"/>
              </a:ext>
            </a:extLst>
          </p:cNvPr>
          <p:cNvSpPr/>
          <p:nvPr userDrawn="1"/>
        </p:nvSpPr>
        <p:spPr bwMode="gray">
          <a:xfrm>
            <a:off x="0" y="0"/>
            <a:ext cx="12192000" cy="6858000"/>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en-US" err="1"/>
          </a:p>
        </p:txBody>
      </p:sp>
      <p:grpSp>
        <p:nvGrpSpPr>
          <p:cNvPr id="6" name="Gruppieren 4">
            <a:extLst>
              <a:ext uri="{FF2B5EF4-FFF2-40B4-BE49-F238E27FC236}">
                <a16:creationId xmlns:a16="http://schemas.microsoft.com/office/drawing/2014/main" id="{8C35BDC6-DF5F-0207-EC72-AE68637A4815}"/>
              </a:ext>
            </a:extLst>
          </p:cNvPr>
          <p:cNvGrpSpPr>
            <a:grpSpLocks/>
          </p:cNvGrpSpPr>
          <p:nvPr userDrawn="1"/>
        </p:nvGrpSpPr>
        <p:grpSpPr bwMode="gray">
          <a:xfrm>
            <a:off x="3210560" y="3140105"/>
            <a:ext cx="5770880" cy="577789"/>
            <a:chOff x="10390188" y="6381750"/>
            <a:chExt cx="1300163" cy="130175"/>
          </a:xfrm>
          <a:solidFill>
            <a:schemeClr val="bg1"/>
          </a:solidFill>
        </p:grpSpPr>
        <p:sp>
          <p:nvSpPr>
            <p:cNvPr id="7" name="Freeform 5">
              <a:extLst>
                <a:ext uri="{FF2B5EF4-FFF2-40B4-BE49-F238E27FC236}">
                  <a16:creationId xmlns:a16="http://schemas.microsoft.com/office/drawing/2014/main" id="{000B9D22-2032-7685-E4EF-DE1150B3BCAA}"/>
                </a:ext>
              </a:extLst>
            </p:cNvPr>
            <p:cNvSpPr>
              <a:spLocks/>
            </p:cNvSpPr>
            <p:nvPr/>
          </p:nvSpPr>
          <p:spPr bwMode="gray">
            <a:xfrm>
              <a:off x="10390188" y="6383338"/>
              <a:ext cx="153988" cy="125413"/>
            </a:xfrm>
            <a:custGeom>
              <a:avLst/>
              <a:gdLst>
                <a:gd name="T0" fmla="*/ 172 w 428"/>
                <a:gd name="T1" fmla="*/ 60 h 338"/>
                <a:gd name="T2" fmla="*/ 99 w 428"/>
                <a:gd name="T3" fmla="*/ 104 h 338"/>
                <a:gd name="T4" fmla="*/ 159 w 428"/>
                <a:gd name="T5" fmla="*/ 141 h 338"/>
                <a:gd name="T6" fmla="*/ 284 w 428"/>
                <a:gd name="T7" fmla="*/ 141 h 338"/>
                <a:gd name="T8" fmla="*/ 428 w 428"/>
                <a:gd name="T9" fmla="*/ 237 h 338"/>
                <a:gd name="T10" fmla="*/ 270 w 428"/>
                <a:gd name="T11" fmla="*/ 338 h 338"/>
                <a:gd name="T12" fmla="*/ 18 w 428"/>
                <a:gd name="T13" fmla="*/ 338 h 338"/>
                <a:gd name="T14" fmla="*/ 18 w 428"/>
                <a:gd name="T15" fmla="*/ 277 h 338"/>
                <a:gd name="T16" fmla="*/ 255 w 428"/>
                <a:gd name="T17" fmla="*/ 277 h 338"/>
                <a:gd name="T18" fmla="*/ 329 w 428"/>
                <a:gd name="T19" fmla="*/ 239 h 338"/>
                <a:gd name="T20" fmla="*/ 261 w 428"/>
                <a:gd name="T21" fmla="*/ 200 h 338"/>
                <a:gd name="T22" fmla="*/ 150 w 428"/>
                <a:gd name="T23" fmla="*/ 200 h 338"/>
                <a:gd name="T24" fmla="*/ 0 w 428"/>
                <a:gd name="T25" fmla="*/ 103 h 338"/>
                <a:gd name="T26" fmla="*/ 158 w 428"/>
                <a:gd name="T27" fmla="*/ 0 h 338"/>
                <a:gd name="T28" fmla="*/ 406 w 428"/>
                <a:gd name="T29" fmla="*/ 0 h 338"/>
                <a:gd name="T30" fmla="*/ 406 w 428"/>
                <a:gd name="T31" fmla="*/ 60 h 338"/>
                <a:gd name="T32" fmla="*/ 172 w 428"/>
                <a:gd name="T33" fmla="*/ 60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8" h="338">
                  <a:moveTo>
                    <a:pt x="172" y="60"/>
                  </a:moveTo>
                  <a:cubicBezTo>
                    <a:pt x="122" y="60"/>
                    <a:pt x="99" y="73"/>
                    <a:pt x="99" y="104"/>
                  </a:cubicBezTo>
                  <a:cubicBezTo>
                    <a:pt x="99" y="129"/>
                    <a:pt x="119" y="141"/>
                    <a:pt x="159" y="141"/>
                  </a:cubicBezTo>
                  <a:lnTo>
                    <a:pt x="284" y="141"/>
                  </a:lnTo>
                  <a:cubicBezTo>
                    <a:pt x="384" y="141"/>
                    <a:pt x="428" y="166"/>
                    <a:pt x="428" y="237"/>
                  </a:cubicBezTo>
                  <a:cubicBezTo>
                    <a:pt x="428" y="308"/>
                    <a:pt x="377" y="338"/>
                    <a:pt x="270" y="338"/>
                  </a:cubicBezTo>
                  <a:lnTo>
                    <a:pt x="18" y="338"/>
                  </a:lnTo>
                  <a:lnTo>
                    <a:pt x="18" y="277"/>
                  </a:lnTo>
                  <a:lnTo>
                    <a:pt x="255" y="277"/>
                  </a:lnTo>
                  <a:cubicBezTo>
                    <a:pt x="305" y="277"/>
                    <a:pt x="329" y="268"/>
                    <a:pt x="329" y="239"/>
                  </a:cubicBezTo>
                  <a:cubicBezTo>
                    <a:pt x="329" y="209"/>
                    <a:pt x="307" y="200"/>
                    <a:pt x="261" y="200"/>
                  </a:cubicBezTo>
                  <a:lnTo>
                    <a:pt x="150" y="200"/>
                  </a:lnTo>
                  <a:cubicBezTo>
                    <a:pt x="47" y="200"/>
                    <a:pt x="0" y="171"/>
                    <a:pt x="0" y="103"/>
                  </a:cubicBezTo>
                  <a:cubicBezTo>
                    <a:pt x="0" y="30"/>
                    <a:pt x="51" y="0"/>
                    <a:pt x="158" y="0"/>
                  </a:cubicBezTo>
                  <a:lnTo>
                    <a:pt x="406" y="0"/>
                  </a:lnTo>
                  <a:lnTo>
                    <a:pt x="406" y="60"/>
                  </a:lnTo>
                  <a:lnTo>
                    <a:pt x="172" y="60"/>
                  </a:lnTo>
                  <a:close/>
                </a:path>
              </a:pathLst>
            </a:custGeom>
            <a:grpFill/>
            <a:ln>
              <a:noFill/>
            </a:ln>
          </p:spPr>
          <p:txBody>
            <a:bodyPr vert="horz" wrap="square" lIns="91440" tIns="45720" rIns="91440" bIns="45720" numCol="1" anchor="t" anchorCtr="0" compatLnSpc="1">
              <a:prstTxWarp prst="textNoShape">
                <a:avLst/>
              </a:prstTxWarp>
            </a:bodyPr>
            <a:lstStyle/>
            <a:p>
              <a:endParaRPr lang="de-DE" b="1">
                <a:solidFill>
                  <a:srgbClr val="616161"/>
                </a:solidFill>
              </a:endParaRPr>
            </a:p>
          </p:txBody>
        </p:sp>
        <p:sp>
          <p:nvSpPr>
            <p:cNvPr id="8" name="Freeform 6">
              <a:extLst>
                <a:ext uri="{FF2B5EF4-FFF2-40B4-BE49-F238E27FC236}">
                  <a16:creationId xmlns:a16="http://schemas.microsoft.com/office/drawing/2014/main" id="{F8D4E96C-3D03-B2FF-8F31-C0A07FAA852A}"/>
                </a:ext>
              </a:extLst>
            </p:cNvPr>
            <p:cNvSpPr>
              <a:spLocks/>
            </p:cNvSpPr>
            <p:nvPr/>
          </p:nvSpPr>
          <p:spPr bwMode="gray">
            <a:xfrm>
              <a:off x="10558463" y="6383338"/>
              <a:ext cx="133350" cy="125413"/>
            </a:xfrm>
            <a:custGeom>
              <a:avLst/>
              <a:gdLst>
                <a:gd name="T0" fmla="*/ 107 w 369"/>
                <a:gd name="T1" fmla="*/ 137 h 338"/>
                <a:gd name="T2" fmla="*/ 369 w 369"/>
                <a:gd name="T3" fmla="*/ 137 h 338"/>
                <a:gd name="T4" fmla="*/ 369 w 369"/>
                <a:gd name="T5" fmla="*/ 196 h 338"/>
                <a:gd name="T6" fmla="*/ 107 w 369"/>
                <a:gd name="T7" fmla="*/ 196 h 338"/>
                <a:gd name="T8" fmla="*/ 214 w 369"/>
                <a:gd name="T9" fmla="*/ 279 h 338"/>
                <a:gd name="T10" fmla="*/ 369 w 369"/>
                <a:gd name="T11" fmla="*/ 279 h 338"/>
                <a:gd name="T12" fmla="*/ 369 w 369"/>
                <a:gd name="T13" fmla="*/ 338 h 338"/>
                <a:gd name="T14" fmla="*/ 210 w 369"/>
                <a:gd name="T15" fmla="*/ 338 h 338"/>
                <a:gd name="T16" fmla="*/ 69 w 369"/>
                <a:gd name="T17" fmla="*/ 308 h 338"/>
                <a:gd name="T18" fmla="*/ 0 w 369"/>
                <a:gd name="T19" fmla="*/ 175 h 338"/>
                <a:gd name="T20" fmla="*/ 212 w 369"/>
                <a:gd name="T21" fmla="*/ 0 h 338"/>
                <a:gd name="T22" fmla="*/ 369 w 369"/>
                <a:gd name="T23" fmla="*/ 0 h 338"/>
                <a:gd name="T24" fmla="*/ 369 w 369"/>
                <a:gd name="T25" fmla="*/ 59 h 338"/>
                <a:gd name="T26" fmla="*/ 214 w 369"/>
                <a:gd name="T27" fmla="*/ 59 h 338"/>
                <a:gd name="T28" fmla="*/ 107 w 369"/>
                <a:gd name="T29" fmla="*/ 137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69" h="338">
                  <a:moveTo>
                    <a:pt x="107" y="137"/>
                  </a:moveTo>
                  <a:lnTo>
                    <a:pt x="369" y="137"/>
                  </a:lnTo>
                  <a:lnTo>
                    <a:pt x="369" y="196"/>
                  </a:lnTo>
                  <a:lnTo>
                    <a:pt x="107" y="196"/>
                  </a:lnTo>
                  <a:cubicBezTo>
                    <a:pt x="107" y="257"/>
                    <a:pt x="139" y="279"/>
                    <a:pt x="214" y="279"/>
                  </a:cubicBezTo>
                  <a:lnTo>
                    <a:pt x="369" y="279"/>
                  </a:lnTo>
                  <a:lnTo>
                    <a:pt x="369" y="338"/>
                  </a:lnTo>
                  <a:lnTo>
                    <a:pt x="210" y="338"/>
                  </a:lnTo>
                  <a:cubicBezTo>
                    <a:pt x="155" y="338"/>
                    <a:pt x="113" y="334"/>
                    <a:pt x="69" y="308"/>
                  </a:cubicBezTo>
                  <a:cubicBezTo>
                    <a:pt x="23" y="280"/>
                    <a:pt x="0" y="236"/>
                    <a:pt x="0" y="175"/>
                  </a:cubicBezTo>
                  <a:cubicBezTo>
                    <a:pt x="0" y="55"/>
                    <a:pt x="67" y="0"/>
                    <a:pt x="212" y="0"/>
                  </a:cubicBezTo>
                  <a:lnTo>
                    <a:pt x="369" y="0"/>
                  </a:lnTo>
                  <a:lnTo>
                    <a:pt x="369" y="59"/>
                  </a:lnTo>
                  <a:lnTo>
                    <a:pt x="214" y="59"/>
                  </a:lnTo>
                  <a:cubicBezTo>
                    <a:pt x="146" y="59"/>
                    <a:pt x="111" y="84"/>
                    <a:pt x="107" y="137"/>
                  </a:cubicBezTo>
                  <a:close/>
                </a:path>
              </a:pathLst>
            </a:custGeom>
            <a:grpFill/>
            <a:ln>
              <a:noFill/>
            </a:ln>
          </p:spPr>
          <p:txBody>
            <a:bodyPr vert="horz" wrap="square" lIns="91440" tIns="45720" rIns="91440" bIns="45720" numCol="1" anchor="t" anchorCtr="0" compatLnSpc="1">
              <a:prstTxWarp prst="textNoShape">
                <a:avLst/>
              </a:prstTxWarp>
            </a:bodyPr>
            <a:lstStyle/>
            <a:p>
              <a:endParaRPr lang="de-DE" b="1">
                <a:solidFill>
                  <a:srgbClr val="616161"/>
                </a:solidFill>
              </a:endParaRPr>
            </a:p>
          </p:txBody>
        </p:sp>
        <p:sp>
          <p:nvSpPr>
            <p:cNvPr id="9" name="Freeform 7">
              <a:extLst>
                <a:ext uri="{FF2B5EF4-FFF2-40B4-BE49-F238E27FC236}">
                  <a16:creationId xmlns:a16="http://schemas.microsoft.com/office/drawing/2014/main" id="{CC52DFD7-BF25-08BB-6862-88712D8D955D}"/>
                </a:ext>
              </a:extLst>
            </p:cNvPr>
            <p:cNvSpPr>
              <a:spLocks/>
            </p:cNvSpPr>
            <p:nvPr/>
          </p:nvSpPr>
          <p:spPr bwMode="gray">
            <a:xfrm>
              <a:off x="10720388" y="6383338"/>
              <a:ext cx="142875" cy="125413"/>
            </a:xfrm>
            <a:custGeom>
              <a:avLst/>
              <a:gdLst>
                <a:gd name="T0" fmla="*/ 120 w 397"/>
                <a:gd name="T1" fmla="*/ 1 h 339"/>
                <a:gd name="T2" fmla="*/ 304 w 397"/>
                <a:gd name="T3" fmla="*/ 244 h 339"/>
                <a:gd name="T4" fmla="*/ 304 w 397"/>
                <a:gd name="T5" fmla="*/ 0 h 339"/>
                <a:gd name="T6" fmla="*/ 397 w 397"/>
                <a:gd name="T7" fmla="*/ 0 h 339"/>
                <a:gd name="T8" fmla="*/ 396 w 397"/>
                <a:gd name="T9" fmla="*/ 339 h 339"/>
                <a:gd name="T10" fmla="*/ 287 w 397"/>
                <a:gd name="T11" fmla="*/ 339 h 339"/>
                <a:gd name="T12" fmla="*/ 93 w 397"/>
                <a:gd name="T13" fmla="*/ 83 h 339"/>
                <a:gd name="T14" fmla="*/ 93 w 397"/>
                <a:gd name="T15" fmla="*/ 339 h 339"/>
                <a:gd name="T16" fmla="*/ 0 w 397"/>
                <a:gd name="T17" fmla="*/ 339 h 339"/>
                <a:gd name="T18" fmla="*/ 0 w 397"/>
                <a:gd name="T19" fmla="*/ 1 h 339"/>
                <a:gd name="T20" fmla="*/ 120 w 397"/>
                <a:gd name="T21" fmla="*/ 1 h 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97" h="339">
                  <a:moveTo>
                    <a:pt x="120" y="1"/>
                  </a:moveTo>
                  <a:lnTo>
                    <a:pt x="304" y="244"/>
                  </a:lnTo>
                  <a:lnTo>
                    <a:pt x="304" y="0"/>
                  </a:lnTo>
                  <a:lnTo>
                    <a:pt x="397" y="0"/>
                  </a:lnTo>
                  <a:lnTo>
                    <a:pt x="396" y="339"/>
                  </a:lnTo>
                  <a:lnTo>
                    <a:pt x="287" y="339"/>
                  </a:lnTo>
                  <a:lnTo>
                    <a:pt x="93" y="83"/>
                  </a:lnTo>
                  <a:lnTo>
                    <a:pt x="93" y="339"/>
                  </a:lnTo>
                  <a:lnTo>
                    <a:pt x="0" y="339"/>
                  </a:lnTo>
                  <a:lnTo>
                    <a:pt x="0" y="1"/>
                  </a:lnTo>
                  <a:lnTo>
                    <a:pt x="120" y="1"/>
                  </a:lnTo>
                  <a:close/>
                </a:path>
              </a:pathLst>
            </a:custGeom>
            <a:grpFill/>
            <a:ln>
              <a:noFill/>
            </a:ln>
          </p:spPr>
          <p:txBody>
            <a:bodyPr vert="horz" wrap="square" lIns="91440" tIns="45720" rIns="91440" bIns="45720" numCol="1" anchor="t" anchorCtr="0" compatLnSpc="1">
              <a:prstTxWarp prst="textNoShape">
                <a:avLst/>
              </a:prstTxWarp>
            </a:bodyPr>
            <a:lstStyle/>
            <a:p>
              <a:endParaRPr lang="de-DE" b="1">
                <a:solidFill>
                  <a:srgbClr val="616161"/>
                </a:solidFill>
              </a:endParaRPr>
            </a:p>
          </p:txBody>
        </p:sp>
        <p:sp>
          <p:nvSpPr>
            <p:cNvPr id="10" name="Freeform 8">
              <a:extLst>
                <a:ext uri="{FF2B5EF4-FFF2-40B4-BE49-F238E27FC236}">
                  <a16:creationId xmlns:a16="http://schemas.microsoft.com/office/drawing/2014/main" id="{0B8720C0-9BD8-9D99-8E51-2404F8FD9AD1}"/>
                </a:ext>
              </a:extLst>
            </p:cNvPr>
            <p:cNvSpPr>
              <a:spLocks/>
            </p:cNvSpPr>
            <p:nvPr/>
          </p:nvSpPr>
          <p:spPr bwMode="gray">
            <a:xfrm>
              <a:off x="10887075" y="6383338"/>
              <a:ext cx="153988" cy="125413"/>
            </a:xfrm>
            <a:custGeom>
              <a:avLst/>
              <a:gdLst>
                <a:gd name="T0" fmla="*/ 171 w 427"/>
                <a:gd name="T1" fmla="*/ 60 h 338"/>
                <a:gd name="T2" fmla="*/ 99 w 427"/>
                <a:gd name="T3" fmla="*/ 104 h 338"/>
                <a:gd name="T4" fmla="*/ 158 w 427"/>
                <a:gd name="T5" fmla="*/ 141 h 338"/>
                <a:gd name="T6" fmla="*/ 284 w 427"/>
                <a:gd name="T7" fmla="*/ 141 h 338"/>
                <a:gd name="T8" fmla="*/ 427 w 427"/>
                <a:gd name="T9" fmla="*/ 237 h 338"/>
                <a:gd name="T10" fmla="*/ 270 w 427"/>
                <a:gd name="T11" fmla="*/ 338 h 338"/>
                <a:gd name="T12" fmla="*/ 18 w 427"/>
                <a:gd name="T13" fmla="*/ 338 h 338"/>
                <a:gd name="T14" fmla="*/ 18 w 427"/>
                <a:gd name="T15" fmla="*/ 277 h 338"/>
                <a:gd name="T16" fmla="*/ 255 w 427"/>
                <a:gd name="T17" fmla="*/ 277 h 338"/>
                <a:gd name="T18" fmla="*/ 328 w 427"/>
                <a:gd name="T19" fmla="*/ 239 h 338"/>
                <a:gd name="T20" fmla="*/ 261 w 427"/>
                <a:gd name="T21" fmla="*/ 200 h 338"/>
                <a:gd name="T22" fmla="*/ 150 w 427"/>
                <a:gd name="T23" fmla="*/ 200 h 338"/>
                <a:gd name="T24" fmla="*/ 0 w 427"/>
                <a:gd name="T25" fmla="*/ 103 h 338"/>
                <a:gd name="T26" fmla="*/ 158 w 427"/>
                <a:gd name="T27" fmla="*/ 0 h 338"/>
                <a:gd name="T28" fmla="*/ 405 w 427"/>
                <a:gd name="T29" fmla="*/ 0 h 338"/>
                <a:gd name="T30" fmla="*/ 405 w 427"/>
                <a:gd name="T31" fmla="*/ 60 h 338"/>
                <a:gd name="T32" fmla="*/ 171 w 427"/>
                <a:gd name="T33" fmla="*/ 60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7" h="338">
                  <a:moveTo>
                    <a:pt x="171" y="60"/>
                  </a:moveTo>
                  <a:cubicBezTo>
                    <a:pt x="122" y="60"/>
                    <a:pt x="99" y="73"/>
                    <a:pt x="99" y="104"/>
                  </a:cubicBezTo>
                  <a:cubicBezTo>
                    <a:pt x="99" y="129"/>
                    <a:pt x="119" y="141"/>
                    <a:pt x="158" y="141"/>
                  </a:cubicBezTo>
                  <a:lnTo>
                    <a:pt x="284" y="141"/>
                  </a:lnTo>
                  <a:cubicBezTo>
                    <a:pt x="384" y="141"/>
                    <a:pt x="427" y="166"/>
                    <a:pt x="427" y="237"/>
                  </a:cubicBezTo>
                  <a:cubicBezTo>
                    <a:pt x="427" y="308"/>
                    <a:pt x="376" y="338"/>
                    <a:pt x="270" y="338"/>
                  </a:cubicBezTo>
                  <a:lnTo>
                    <a:pt x="18" y="338"/>
                  </a:lnTo>
                  <a:lnTo>
                    <a:pt x="18" y="277"/>
                  </a:lnTo>
                  <a:lnTo>
                    <a:pt x="255" y="277"/>
                  </a:lnTo>
                  <a:cubicBezTo>
                    <a:pt x="305" y="277"/>
                    <a:pt x="328" y="268"/>
                    <a:pt x="328" y="239"/>
                  </a:cubicBezTo>
                  <a:cubicBezTo>
                    <a:pt x="328" y="209"/>
                    <a:pt x="307" y="200"/>
                    <a:pt x="261" y="200"/>
                  </a:cubicBezTo>
                  <a:lnTo>
                    <a:pt x="150" y="200"/>
                  </a:lnTo>
                  <a:cubicBezTo>
                    <a:pt x="47" y="200"/>
                    <a:pt x="0" y="171"/>
                    <a:pt x="0" y="103"/>
                  </a:cubicBezTo>
                  <a:cubicBezTo>
                    <a:pt x="0" y="30"/>
                    <a:pt x="51" y="0"/>
                    <a:pt x="158" y="0"/>
                  </a:cubicBezTo>
                  <a:lnTo>
                    <a:pt x="405" y="0"/>
                  </a:lnTo>
                  <a:lnTo>
                    <a:pt x="405" y="60"/>
                  </a:lnTo>
                  <a:lnTo>
                    <a:pt x="171" y="60"/>
                  </a:lnTo>
                  <a:close/>
                </a:path>
              </a:pathLst>
            </a:custGeom>
            <a:grpFill/>
            <a:ln>
              <a:noFill/>
            </a:ln>
          </p:spPr>
          <p:txBody>
            <a:bodyPr vert="horz" wrap="square" lIns="91440" tIns="45720" rIns="91440" bIns="45720" numCol="1" anchor="t" anchorCtr="0" compatLnSpc="1">
              <a:prstTxWarp prst="textNoShape">
                <a:avLst/>
              </a:prstTxWarp>
            </a:bodyPr>
            <a:lstStyle/>
            <a:p>
              <a:endParaRPr lang="de-DE" b="1">
                <a:solidFill>
                  <a:srgbClr val="616161"/>
                </a:solidFill>
              </a:endParaRPr>
            </a:p>
          </p:txBody>
        </p:sp>
        <p:sp>
          <p:nvSpPr>
            <p:cNvPr id="11" name="Rectangle 10">
              <a:extLst>
                <a:ext uri="{FF2B5EF4-FFF2-40B4-BE49-F238E27FC236}">
                  <a16:creationId xmlns:a16="http://schemas.microsoft.com/office/drawing/2014/main" id="{9CB9DBBE-B733-30A7-D8CC-73B2778CD875}"/>
                </a:ext>
              </a:extLst>
            </p:cNvPr>
            <p:cNvSpPr>
              <a:spLocks noChangeArrowheads="1"/>
            </p:cNvSpPr>
            <p:nvPr/>
          </p:nvSpPr>
          <p:spPr bwMode="gray">
            <a:xfrm>
              <a:off x="11066463" y="6383338"/>
              <a:ext cx="36513" cy="125413"/>
            </a:xfrm>
            <a:prstGeom prst="rect">
              <a:avLst/>
            </a:prstGeom>
            <a:grpFill/>
            <a:ln>
              <a:noFill/>
            </a:ln>
          </p:spPr>
          <p:txBody>
            <a:bodyPr vert="horz" wrap="square" lIns="91440" tIns="45720" rIns="91440" bIns="45720" numCol="1" anchor="t" anchorCtr="0" compatLnSpc="1">
              <a:prstTxWarp prst="textNoShape">
                <a:avLst/>
              </a:prstTxWarp>
            </a:bodyPr>
            <a:lstStyle/>
            <a:p>
              <a:endParaRPr lang="de-DE" b="1">
                <a:solidFill>
                  <a:srgbClr val="616161"/>
                </a:solidFill>
              </a:endParaRPr>
            </a:p>
          </p:txBody>
        </p:sp>
        <p:sp>
          <p:nvSpPr>
            <p:cNvPr id="12" name="Freeform 10">
              <a:extLst>
                <a:ext uri="{FF2B5EF4-FFF2-40B4-BE49-F238E27FC236}">
                  <a16:creationId xmlns:a16="http://schemas.microsoft.com/office/drawing/2014/main" id="{67751171-6C0E-1097-B361-73208E5D3781}"/>
                </a:ext>
              </a:extLst>
            </p:cNvPr>
            <p:cNvSpPr>
              <a:spLocks noEditPoints="1"/>
            </p:cNvSpPr>
            <p:nvPr/>
          </p:nvSpPr>
          <p:spPr bwMode="gray">
            <a:xfrm>
              <a:off x="11136313" y="6383338"/>
              <a:ext cx="147638" cy="125413"/>
            </a:xfrm>
            <a:custGeom>
              <a:avLst/>
              <a:gdLst>
                <a:gd name="T0" fmla="*/ 211 w 412"/>
                <a:gd name="T1" fmla="*/ 60 h 338"/>
                <a:gd name="T2" fmla="*/ 295 w 412"/>
                <a:gd name="T3" fmla="*/ 103 h 338"/>
                <a:gd name="T4" fmla="*/ 211 w 412"/>
                <a:gd name="T5" fmla="*/ 145 h 338"/>
                <a:gd name="T6" fmla="*/ 95 w 412"/>
                <a:gd name="T7" fmla="*/ 145 h 338"/>
                <a:gd name="T8" fmla="*/ 95 w 412"/>
                <a:gd name="T9" fmla="*/ 60 h 338"/>
                <a:gd name="T10" fmla="*/ 211 w 412"/>
                <a:gd name="T11" fmla="*/ 60 h 338"/>
                <a:gd name="T12" fmla="*/ 0 w 412"/>
                <a:gd name="T13" fmla="*/ 0 h 338"/>
                <a:gd name="T14" fmla="*/ 0 w 412"/>
                <a:gd name="T15" fmla="*/ 338 h 338"/>
                <a:gd name="T16" fmla="*/ 95 w 412"/>
                <a:gd name="T17" fmla="*/ 338 h 338"/>
                <a:gd name="T18" fmla="*/ 95 w 412"/>
                <a:gd name="T19" fmla="*/ 205 h 338"/>
                <a:gd name="T20" fmla="*/ 206 w 412"/>
                <a:gd name="T21" fmla="*/ 205 h 338"/>
                <a:gd name="T22" fmla="*/ 305 w 412"/>
                <a:gd name="T23" fmla="*/ 338 h 338"/>
                <a:gd name="T24" fmla="*/ 412 w 412"/>
                <a:gd name="T25" fmla="*/ 338 h 338"/>
                <a:gd name="T26" fmla="*/ 300 w 412"/>
                <a:gd name="T27" fmla="*/ 197 h 338"/>
                <a:gd name="T28" fmla="*/ 391 w 412"/>
                <a:gd name="T29" fmla="*/ 102 h 338"/>
                <a:gd name="T30" fmla="*/ 233 w 412"/>
                <a:gd name="T31" fmla="*/ 0 h 338"/>
                <a:gd name="T32" fmla="*/ 0 w 412"/>
                <a:gd name="T33" fmla="*/ 0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12" h="338">
                  <a:moveTo>
                    <a:pt x="211" y="60"/>
                  </a:moveTo>
                  <a:cubicBezTo>
                    <a:pt x="267" y="60"/>
                    <a:pt x="295" y="68"/>
                    <a:pt x="295" y="103"/>
                  </a:cubicBezTo>
                  <a:cubicBezTo>
                    <a:pt x="295" y="137"/>
                    <a:pt x="267" y="145"/>
                    <a:pt x="211" y="145"/>
                  </a:cubicBezTo>
                  <a:lnTo>
                    <a:pt x="95" y="145"/>
                  </a:lnTo>
                  <a:lnTo>
                    <a:pt x="95" y="60"/>
                  </a:lnTo>
                  <a:lnTo>
                    <a:pt x="211" y="60"/>
                  </a:lnTo>
                  <a:close/>
                  <a:moveTo>
                    <a:pt x="0" y="0"/>
                  </a:moveTo>
                  <a:lnTo>
                    <a:pt x="0" y="338"/>
                  </a:lnTo>
                  <a:lnTo>
                    <a:pt x="95" y="338"/>
                  </a:lnTo>
                  <a:lnTo>
                    <a:pt x="95" y="205"/>
                  </a:lnTo>
                  <a:lnTo>
                    <a:pt x="206" y="205"/>
                  </a:lnTo>
                  <a:lnTo>
                    <a:pt x="305" y="338"/>
                  </a:lnTo>
                  <a:lnTo>
                    <a:pt x="412" y="338"/>
                  </a:lnTo>
                  <a:lnTo>
                    <a:pt x="300" y="197"/>
                  </a:lnTo>
                  <a:cubicBezTo>
                    <a:pt x="358" y="187"/>
                    <a:pt x="391" y="154"/>
                    <a:pt x="391" y="102"/>
                  </a:cubicBezTo>
                  <a:cubicBezTo>
                    <a:pt x="391" y="31"/>
                    <a:pt x="340" y="0"/>
                    <a:pt x="233" y="0"/>
                  </a:cubicBezTo>
                  <a:lnTo>
                    <a:pt x="0" y="0"/>
                  </a:lnTo>
                  <a:close/>
                </a:path>
              </a:pathLst>
            </a:custGeom>
            <a:grpFill/>
            <a:ln>
              <a:noFill/>
            </a:ln>
          </p:spPr>
          <p:txBody>
            <a:bodyPr vert="horz" wrap="square" lIns="91440" tIns="45720" rIns="91440" bIns="45720" numCol="1" anchor="t" anchorCtr="0" compatLnSpc="1">
              <a:prstTxWarp prst="textNoShape">
                <a:avLst/>
              </a:prstTxWarp>
            </a:bodyPr>
            <a:lstStyle/>
            <a:p>
              <a:endParaRPr lang="de-DE" b="1">
                <a:solidFill>
                  <a:srgbClr val="616161"/>
                </a:solidFill>
              </a:endParaRPr>
            </a:p>
          </p:txBody>
        </p:sp>
        <p:sp>
          <p:nvSpPr>
            <p:cNvPr id="13" name="Rectangle 12">
              <a:extLst>
                <a:ext uri="{FF2B5EF4-FFF2-40B4-BE49-F238E27FC236}">
                  <a16:creationId xmlns:a16="http://schemas.microsoft.com/office/drawing/2014/main" id="{B5039CF0-23AE-D403-744C-13B48EBCA1C2}"/>
                </a:ext>
              </a:extLst>
            </p:cNvPr>
            <p:cNvSpPr>
              <a:spLocks noChangeArrowheads="1"/>
            </p:cNvSpPr>
            <p:nvPr/>
          </p:nvSpPr>
          <p:spPr bwMode="gray">
            <a:xfrm>
              <a:off x="11304588" y="6383338"/>
              <a:ext cx="36513" cy="125413"/>
            </a:xfrm>
            <a:prstGeom prst="rect">
              <a:avLst/>
            </a:prstGeom>
            <a:grpFill/>
            <a:ln>
              <a:noFill/>
            </a:ln>
          </p:spPr>
          <p:txBody>
            <a:bodyPr vert="horz" wrap="square" lIns="91440" tIns="45720" rIns="91440" bIns="45720" numCol="1" anchor="t" anchorCtr="0" compatLnSpc="1">
              <a:prstTxWarp prst="textNoShape">
                <a:avLst/>
              </a:prstTxWarp>
            </a:bodyPr>
            <a:lstStyle/>
            <a:p>
              <a:endParaRPr lang="de-DE" b="1">
                <a:solidFill>
                  <a:srgbClr val="616161"/>
                </a:solidFill>
              </a:endParaRPr>
            </a:p>
          </p:txBody>
        </p:sp>
        <p:sp>
          <p:nvSpPr>
            <p:cNvPr id="14" name="Freeform 12">
              <a:extLst>
                <a:ext uri="{FF2B5EF4-FFF2-40B4-BE49-F238E27FC236}">
                  <a16:creationId xmlns:a16="http://schemas.microsoft.com/office/drawing/2014/main" id="{E0943492-D7DB-FD88-3B2B-F02015372BF5}"/>
                </a:ext>
              </a:extLst>
            </p:cNvPr>
            <p:cNvSpPr>
              <a:spLocks noEditPoints="1"/>
            </p:cNvSpPr>
            <p:nvPr/>
          </p:nvSpPr>
          <p:spPr bwMode="gray">
            <a:xfrm>
              <a:off x="11363325" y="6381750"/>
              <a:ext cx="161925" cy="130175"/>
            </a:xfrm>
            <a:custGeom>
              <a:avLst/>
              <a:gdLst>
                <a:gd name="T0" fmla="*/ 225 w 449"/>
                <a:gd name="T1" fmla="*/ 57 h 351"/>
                <a:gd name="T2" fmla="*/ 346 w 449"/>
                <a:gd name="T3" fmla="*/ 175 h 351"/>
                <a:gd name="T4" fmla="*/ 225 w 449"/>
                <a:gd name="T5" fmla="*/ 292 h 351"/>
                <a:gd name="T6" fmla="*/ 104 w 449"/>
                <a:gd name="T7" fmla="*/ 172 h 351"/>
                <a:gd name="T8" fmla="*/ 225 w 449"/>
                <a:gd name="T9" fmla="*/ 57 h 351"/>
                <a:gd name="T10" fmla="*/ 0 w 449"/>
                <a:gd name="T11" fmla="*/ 172 h 351"/>
                <a:gd name="T12" fmla="*/ 225 w 449"/>
                <a:gd name="T13" fmla="*/ 351 h 351"/>
                <a:gd name="T14" fmla="*/ 449 w 449"/>
                <a:gd name="T15" fmla="*/ 175 h 351"/>
                <a:gd name="T16" fmla="*/ 247 w 449"/>
                <a:gd name="T17" fmla="*/ 0 h 351"/>
                <a:gd name="T18" fmla="*/ 203 w 449"/>
                <a:gd name="T19" fmla="*/ 0 h 351"/>
                <a:gd name="T20" fmla="*/ 0 w 449"/>
                <a:gd name="T21" fmla="*/ 172 h 3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49" h="351">
                  <a:moveTo>
                    <a:pt x="225" y="57"/>
                  </a:moveTo>
                  <a:cubicBezTo>
                    <a:pt x="308" y="57"/>
                    <a:pt x="346" y="95"/>
                    <a:pt x="346" y="175"/>
                  </a:cubicBezTo>
                  <a:cubicBezTo>
                    <a:pt x="346" y="254"/>
                    <a:pt x="308" y="292"/>
                    <a:pt x="225" y="292"/>
                  </a:cubicBezTo>
                  <a:cubicBezTo>
                    <a:pt x="140" y="292"/>
                    <a:pt x="104" y="254"/>
                    <a:pt x="104" y="172"/>
                  </a:cubicBezTo>
                  <a:cubicBezTo>
                    <a:pt x="104" y="95"/>
                    <a:pt x="143" y="57"/>
                    <a:pt x="225" y="57"/>
                  </a:cubicBezTo>
                  <a:close/>
                  <a:moveTo>
                    <a:pt x="0" y="172"/>
                  </a:moveTo>
                  <a:cubicBezTo>
                    <a:pt x="0" y="294"/>
                    <a:pt x="70" y="351"/>
                    <a:pt x="225" y="351"/>
                  </a:cubicBezTo>
                  <a:cubicBezTo>
                    <a:pt x="378" y="351"/>
                    <a:pt x="449" y="294"/>
                    <a:pt x="449" y="175"/>
                  </a:cubicBezTo>
                  <a:cubicBezTo>
                    <a:pt x="449" y="61"/>
                    <a:pt x="385" y="5"/>
                    <a:pt x="247" y="0"/>
                  </a:cubicBezTo>
                  <a:lnTo>
                    <a:pt x="203" y="0"/>
                  </a:lnTo>
                  <a:cubicBezTo>
                    <a:pt x="67" y="5"/>
                    <a:pt x="0" y="61"/>
                    <a:pt x="0" y="172"/>
                  </a:cubicBezTo>
                  <a:close/>
                </a:path>
              </a:pathLst>
            </a:custGeom>
            <a:grpFill/>
            <a:ln>
              <a:noFill/>
            </a:ln>
          </p:spPr>
          <p:txBody>
            <a:bodyPr vert="horz" wrap="square" lIns="91440" tIns="45720" rIns="91440" bIns="45720" numCol="1" anchor="t" anchorCtr="0" compatLnSpc="1">
              <a:prstTxWarp prst="textNoShape">
                <a:avLst/>
              </a:prstTxWarp>
            </a:bodyPr>
            <a:lstStyle/>
            <a:p>
              <a:endParaRPr lang="de-DE" b="1">
                <a:solidFill>
                  <a:srgbClr val="616161"/>
                </a:solidFill>
              </a:endParaRPr>
            </a:p>
          </p:txBody>
        </p:sp>
        <p:sp>
          <p:nvSpPr>
            <p:cNvPr id="15" name="Freeform 13">
              <a:extLst>
                <a:ext uri="{FF2B5EF4-FFF2-40B4-BE49-F238E27FC236}">
                  <a16:creationId xmlns:a16="http://schemas.microsoft.com/office/drawing/2014/main" id="{7B150577-9ADA-5345-38E9-4FD1218AA3F2}"/>
                </a:ext>
              </a:extLst>
            </p:cNvPr>
            <p:cNvSpPr>
              <a:spLocks/>
            </p:cNvSpPr>
            <p:nvPr/>
          </p:nvSpPr>
          <p:spPr bwMode="gray">
            <a:xfrm>
              <a:off x="11549063" y="6383338"/>
              <a:ext cx="141288" cy="125413"/>
            </a:xfrm>
            <a:custGeom>
              <a:avLst/>
              <a:gdLst>
                <a:gd name="T0" fmla="*/ 120 w 396"/>
                <a:gd name="T1" fmla="*/ 0 h 338"/>
                <a:gd name="T2" fmla="*/ 304 w 396"/>
                <a:gd name="T3" fmla="*/ 243 h 338"/>
                <a:gd name="T4" fmla="*/ 304 w 396"/>
                <a:gd name="T5" fmla="*/ 0 h 338"/>
                <a:gd name="T6" fmla="*/ 396 w 396"/>
                <a:gd name="T7" fmla="*/ 0 h 338"/>
                <a:gd name="T8" fmla="*/ 396 w 396"/>
                <a:gd name="T9" fmla="*/ 338 h 338"/>
                <a:gd name="T10" fmla="*/ 286 w 396"/>
                <a:gd name="T11" fmla="*/ 338 h 338"/>
                <a:gd name="T12" fmla="*/ 93 w 396"/>
                <a:gd name="T13" fmla="*/ 82 h 338"/>
                <a:gd name="T14" fmla="*/ 93 w 396"/>
                <a:gd name="T15" fmla="*/ 338 h 338"/>
                <a:gd name="T16" fmla="*/ 0 w 396"/>
                <a:gd name="T17" fmla="*/ 338 h 338"/>
                <a:gd name="T18" fmla="*/ 0 w 396"/>
                <a:gd name="T19" fmla="*/ 0 h 338"/>
                <a:gd name="T20" fmla="*/ 120 w 396"/>
                <a:gd name="T21" fmla="*/ 0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96" h="338">
                  <a:moveTo>
                    <a:pt x="120" y="0"/>
                  </a:moveTo>
                  <a:lnTo>
                    <a:pt x="304" y="243"/>
                  </a:lnTo>
                  <a:lnTo>
                    <a:pt x="304" y="0"/>
                  </a:lnTo>
                  <a:lnTo>
                    <a:pt x="396" y="0"/>
                  </a:lnTo>
                  <a:lnTo>
                    <a:pt x="396" y="338"/>
                  </a:lnTo>
                  <a:lnTo>
                    <a:pt x="286" y="338"/>
                  </a:lnTo>
                  <a:lnTo>
                    <a:pt x="93" y="82"/>
                  </a:lnTo>
                  <a:lnTo>
                    <a:pt x="93" y="338"/>
                  </a:lnTo>
                  <a:lnTo>
                    <a:pt x="0" y="338"/>
                  </a:lnTo>
                  <a:lnTo>
                    <a:pt x="0" y="0"/>
                  </a:lnTo>
                  <a:lnTo>
                    <a:pt x="120" y="0"/>
                  </a:lnTo>
                  <a:close/>
                </a:path>
              </a:pathLst>
            </a:custGeom>
            <a:grpFill/>
            <a:ln>
              <a:noFill/>
            </a:ln>
          </p:spPr>
          <p:txBody>
            <a:bodyPr vert="horz" wrap="square" lIns="91440" tIns="45720" rIns="91440" bIns="45720" numCol="1" anchor="t" anchorCtr="0" compatLnSpc="1">
              <a:prstTxWarp prst="textNoShape">
                <a:avLst/>
              </a:prstTxWarp>
            </a:bodyPr>
            <a:lstStyle/>
            <a:p>
              <a:endParaRPr lang="de-DE" b="1">
                <a:solidFill>
                  <a:srgbClr val="616161"/>
                </a:solidFill>
              </a:endParaRPr>
            </a:p>
          </p:txBody>
        </p:sp>
      </p:grpSp>
    </p:spTree>
    <p:extLst>
      <p:ext uri="{BB962C8B-B14F-4D97-AF65-F5344CB8AC3E}">
        <p14:creationId xmlns:p14="http://schemas.microsoft.com/office/powerpoint/2010/main" val="234457832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End slide grey">
    <p:spTree>
      <p:nvGrpSpPr>
        <p:cNvPr id="1" name=""/>
        <p:cNvGrpSpPr/>
        <p:nvPr/>
      </p:nvGrpSpPr>
      <p:grpSpPr>
        <a:xfrm>
          <a:off x="0" y="0"/>
          <a:ext cx="0" cy="0"/>
          <a:chOff x="0" y="0"/>
          <a:chExt cx="0" cy="0"/>
        </a:xfrm>
      </p:grpSpPr>
      <p:pic>
        <p:nvPicPr>
          <p:cNvPr id="2" name="Grafik 15" descr="Ein Bild, das Verschwommen, Nebel, Screenshot enthält.&#10;&#10;Automatisch generierte Beschreibung">
            <a:extLst>
              <a:ext uri="{FF2B5EF4-FFF2-40B4-BE49-F238E27FC236}">
                <a16:creationId xmlns:a16="http://schemas.microsoft.com/office/drawing/2014/main" id="{204F183D-37BD-47B8-5474-702251703FF5}"/>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2504" b="12504"/>
          <a:stretch/>
        </p:blipFill>
        <p:spPr bwMode="gray">
          <a:xfrm>
            <a:off x="0" y="0"/>
            <a:ext cx="12192000" cy="6858000"/>
          </a:xfrm>
          <a:prstGeom prst="rect">
            <a:avLst/>
          </a:prstGeom>
        </p:spPr>
      </p:pic>
      <p:grpSp>
        <p:nvGrpSpPr>
          <p:cNvPr id="6" name="Gruppieren 4">
            <a:extLst>
              <a:ext uri="{FF2B5EF4-FFF2-40B4-BE49-F238E27FC236}">
                <a16:creationId xmlns:a16="http://schemas.microsoft.com/office/drawing/2014/main" id="{8C35BDC6-DF5F-0207-EC72-AE68637A4815}"/>
              </a:ext>
            </a:extLst>
          </p:cNvPr>
          <p:cNvGrpSpPr>
            <a:grpSpLocks/>
          </p:cNvGrpSpPr>
          <p:nvPr userDrawn="1"/>
        </p:nvGrpSpPr>
        <p:grpSpPr bwMode="gray">
          <a:xfrm>
            <a:off x="3210560" y="3140105"/>
            <a:ext cx="5770880" cy="577789"/>
            <a:chOff x="10390188" y="6381750"/>
            <a:chExt cx="1300163" cy="130175"/>
          </a:xfrm>
          <a:solidFill>
            <a:schemeClr val="bg1"/>
          </a:solidFill>
        </p:grpSpPr>
        <p:sp>
          <p:nvSpPr>
            <p:cNvPr id="7" name="Freeform 5">
              <a:extLst>
                <a:ext uri="{FF2B5EF4-FFF2-40B4-BE49-F238E27FC236}">
                  <a16:creationId xmlns:a16="http://schemas.microsoft.com/office/drawing/2014/main" id="{000B9D22-2032-7685-E4EF-DE1150B3BCAA}"/>
                </a:ext>
              </a:extLst>
            </p:cNvPr>
            <p:cNvSpPr>
              <a:spLocks/>
            </p:cNvSpPr>
            <p:nvPr/>
          </p:nvSpPr>
          <p:spPr bwMode="gray">
            <a:xfrm>
              <a:off x="10390188" y="6383338"/>
              <a:ext cx="153988" cy="125413"/>
            </a:xfrm>
            <a:custGeom>
              <a:avLst/>
              <a:gdLst>
                <a:gd name="T0" fmla="*/ 172 w 428"/>
                <a:gd name="T1" fmla="*/ 60 h 338"/>
                <a:gd name="T2" fmla="*/ 99 w 428"/>
                <a:gd name="T3" fmla="*/ 104 h 338"/>
                <a:gd name="T4" fmla="*/ 159 w 428"/>
                <a:gd name="T5" fmla="*/ 141 h 338"/>
                <a:gd name="T6" fmla="*/ 284 w 428"/>
                <a:gd name="T7" fmla="*/ 141 h 338"/>
                <a:gd name="T8" fmla="*/ 428 w 428"/>
                <a:gd name="T9" fmla="*/ 237 h 338"/>
                <a:gd name="T10" fmla="*/ 270 w 428"/>
                <a:gd name="T11" fmla="*/ 338 h 338"/>
                <a:gd name="T12" fmla="*/ 18 w 428"/>
                <a:gd name="T13" fmla="*/ 338 h 338"/>
                <a:gd name="T14" fmla="*/ 18 w 428"/>
                <a:gd name="T15" fmla="*/ 277 h 338"/>
                <a:gd name="T16" fmla="*/ 255 w 428"/>
                <a:gd name="T17" fmla="*/ 277 h 338"/>
                <a:gd name="T18" fmla="*/ 329 w 428"/>
                <a:gd name="T19" fmla="*/ 239 h 338"/>
                <a:gd name="T20" fmla="*/ 261 w 428"/>
                <a:gd name="T21" fmla="*/ 200 h 338"/>
                <a:gd name="T22" fmla="*/ 150 w 428"/>
                <a:gd name="T23" fmla="*/ 200 h 338"/>
                <a:gd name="T24" fmla="*/ 0 w 428"/>
                <a:gd name="T25" fmla="*/ 103 h 338"/>
                <a:gd name="T26" fmla="*/ 158 w 428"/>
                <a:gd name="T27" fmla="*/ 0 h 338"/>
                <a:gd name="T28" fmla="*/ 406 w 428"/>
                <a:gd name="T29" fmla="*/ 0 h 338"/>
                <a:gd name="T30" fmla="*/ 406 w 428"/>
                <a:gd name="T31" fmla="*/ 60 h 338"/>
                <a:gd name="T32" fmla="*/ 172 w 428"/>
                <a:gd name="T33" fmla="*/ 60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8" h="338">
                  <a:moveTo>
                    <a:pt x="172" y="60"/>
                  </a:moveTo>
                  <a:cubicBezTo>
                    <a:pt x="122" y="60"/>
                    <a:pt x="99" y="73"/>
                    <a:pt x="99" y="104"/>
                  </a:cubicBezTo>
                  <a:cubicBezTo>
                    <a:pt x="99" y="129"/>
                    <a:pt x="119" y="141"/>
                    <a:pt x="159" y="141"/>
                  </a:cubicBezTo>
                  <a:lnTo>
                    <a:pt x="284" y="141"/>
                  </a:lnTo>
                  <a:cubicBezTo>
                    <a:pt x="384" y="141"/>
                    <a:pt x="428" y="166"/>
                    <a:pt x="428" y="237"/>
                  </a:cubicBezTo>
                  <a:cubicBezTo>
                    <a:pt x="428" y="308"/>
                    <a:pt x="377" y="338"/>
                    <a:pt x="270" y="338"/>
                  </a:cubicBezTo>
                  <a:lnTo>
                    <a:pt x="18" y="338"/>
                  </a:lnTo>
                  <a:lnTo>
                    <a:pt x="18" y="277"/>
                  </a:lnTo>
                  <a:lnTo>
                    <a:pt x="255" y="277"/>
                  </a:lnTo>
                  <a:cubicBezTo>
                    <a:pt x="305" y="277"/>
                    <a:pt x="329" y="268"/>
                    <a:pt x="329" y="239"/>
                  </a:cubicBezTo>
                  <a:cubicBezTo>
                    <a:pt x="329" y="209"/>
                    <a:pt x="307" y="200"/>
                    <a:pt x="261" y="200"/>
                  </a:cubicBezTo>
                  <a:lnTo>
                    <a:pt x="150" y="200"/>
                  </a:lnTo>
                  <a:cubicBezTo>
                    <a:pt x="47" y="200"/>
                    <a:pt x="0" y="171"/>
                    <a:pt x="0" y="103"/>
                  </a:cubicBezTo>
                  <a:cubicBezTo>
                    <a:pt x="0" y="30"/>
                    <a:pt x="51" y="0"/>
                    <a:pt x="158" y="0"/>
                  </a:cubicBezTo>
                  <a:lnTo>
                    <a:pt x="406" y="0"/>
                  </a:lnTo>
                  <a:lnTo>
                    <a:pt x="406" y="60"/>
                  </a:lnTo>
                  <a:lnTo>
                    <a:pt x="172" y="60"/>
                  </a:lnTo>
                  <a:close/>
                </a:path>
              </a:pathLst>
            </a:custGeom>
            <a:grpFill/>
            <a:ln>
              <a:noFill/>
            </a:ln>
          </p:spPr>
          <p:txBody>
            <a:bodyPr vert="horz" wrap="square" lIns="91440" tIns="45720" rIns="91440" bIns="45720" numCol="1" anchor="t" anchorCtr="0" compatLnSpc="1">
              <a:prstTxWarp prst="textNoShape">
                <a:avLst/>
              </a:prstTxWarp>
            </a:bodyPr>
            <a:lstStyle/>
            <a:p>
              <a:endParaRPr lang="de-DE" b="1">
                <a:solidFill>
                  <a:srgbClr val="616161"/>
                </a:solidFill>
              </a:endParaRPr>
            </a:p>
          </p:txBody>
        </p:sp>
        <p:sp>
          <p:nvSpPr>
            <p:cNvPr id="8" name="Freeform 6">
              <a:extLst>
                <a:ext uri="{FF2B5EF4-FFF2-40B4-BE49-F238E27FC236}">
                  <a16:creationId xmlns:a16="http://schemas.microsoft.com/office/drawing/2014/main" id="{F8D4E96C-3D03-B2FF-8F31-C0A07FAA852A}"/>
                </a:ext>
              </a:extLst>
            </p:cNvPr>
            <p:cNvSpPr>
              <a:spLocks/>
            </p:cNvSpPr>
            <p:nvPr/>
          </p:nvSpPr>
          <p:spPr bwMode="gray">
            <a:xfrm>
              <a:off x="10558463" y="6383338"/>
              <a:ext cx="133350" cy="125413"/>
            </a:xfrm>
            <a:custGeom>
              <a:avLst/>
              <a:gdLst>
                <a:gd name="T0" fmla="*/ 107 w 369"/>
                <a:gd name="T1" fmla="*/ 137 h 338"/>
                <a:gd name="T2" fmla="*/ 369 w 369"/>
                <a:gd name="T3" fmla="*/ 137 h 338"/>
                <a:gd name="T4" fmla="*/ 369 w 369"/>
                <a:gd name="T5" fmla="*/ 196 h 338"/>
                <a:gd name="T6" fmla="*/ 107 w 369"/>
                <a:gd name="T7" fmla="*/ 196 h 338"/>
                <a:gd name="T8" fmla="*/ 214 w 369"/>
                <a:gd name="T9" fmla="*/ 279 h 338"/>
                <a:gd name="T10" fmla="*/ 369 w 369"/>
                <a:gd name="T11" fmla="*/ 279 h 338"/>
                <a:gd name="T12" fmla="*/ 369 w 369"/>
                <a:gd name="T13" fmla="*/ 338 h 338"/>
                <a:gd name="T14" fmla="*/ 210 w 369"/>
                <a:gd name="T15" fmla="*/ 338 h 338"/>
                <a:gd name="T16" fmla="*/ 69 w 369"/>
                <a:gd name="T17" fmla="*/ 308 h 338"/>
                <a:gd name="T18" fmla="*/ 0 w 369"/>
                <a:gd name="T19" fmla="*/ 175 h 338"/>
                <a:gd name="T20" fmla="*/ 212 w 369"/>
                <a:gd name="T21" fmla="*/ 0 h 338"/>
                <a:gd name="T22" fmla="*/ 369 w 369"/>
                <a:gd name="T23" fmla="*/ 0 h 338"/>
                <a:gd name="T24" fmla="*/ 369 w 369"/>
                <a:gd name="T25" fmla="*/ 59 h 338"/>
                <a:gd name="T26" fmla="*/ 214 w 369"/>
                <a:gd name="T27" fmla="*/ 59 h 338"/>
                <a:gd name="T28" fmla="*/ 107 w 369"/>
                <a:gd name="T29" fmla="*/ 137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69" h="338">
                  <a:moveTo>
                    <a:pt x="107" y="137"/>
                  </a:moveTo>
                  <a:lnTo>
                    <a:pt x="369" y="137"/>
                  </a:lnTo>
                  <a:lnTo>
                    <a:pt x="369" y="196"/>
                  </a:lnTo>
                  <a:lnTo>
                    <a:pt x="107" y="196"/>
                  </a:lnTo>
                  <a:cubicBezTo>
                    <a:pt x="107" y="257"/>
                    <a:pt x="139" y="279"/>
                    <a:pt x="214" y="279"/>
                  </a:cubicBezTo>
                  <a:lnTo>
                    <a:pt x="369" y="279"/>
                  </a:lnTo>
                  <a:lnTo>
                    <a:pt x="369" y="338"/>
                  </a:lnTo>
                  <a:lnTo>
                    <a:pt x="210" y="338"/>
                  </a:lnTo>
                  <a:cubicBezTo>
                    <a:pt x="155" y="338"/>
                    <a:pt x="113" y="334"/>
                    <a:pt x="69" y="308"/>
                  </a:cubicBezTo>
                  <a:cubicBezTo>
                    <a:pt x="23" y="280"/>
                    <a:pt x="0" y="236"/>
                    <a:pt x="0" y="175"/>
                  </a:cubicBezTo>
                  <a:cubicBezTo>
                    <a:pt x="0" y="55"/>
                    <a:pt x="67" y="0"/>
                    <a:pt x="212" y="0"/>
                  </a:cubicBezTo>
                  <a:lnTo>
                    <a:pt x="369" y="0"/>
                  </a:lnTo>
                  <a:lnTo>
                    <a:pt x="369" y="59"/>
                  </a:lnTo>
                  <a:lnTo>
                    <a:pt x="214" y="59"/>
                  </a:lnTo>
                  <a:cubicBezTo>
                    <a:pt x="146" y="59"/>
                    <a:pt x="111" y="84"/>
                    <a:pt x="107" y="137"/>
                  </a:cubicBezTo>
                  <a:close/>
                </a:path>
              </a:pathLst>
            </a:custGeom>
            <a:grpFill/>
            <a:ln>
              <a:noFill/>
            </a:ln>
          </p:spPr>
          <p:txBody>
            <a:bodyPr vert="horz" wrap="square" lIns="91440" tIns="45720" rIns="91440" bIns="45720" numCol="1" anchor="t" anchorCtr="0" compatLnSpc="1">
              <a:prstTxWarp prst="textNoShape">
                <a:avLst/>
              </a:prstTxWarp>
            </a:bodyPr>
            <a:lstStyle/>
            <a:p>
              <a:endParaRPr lang="de-DE" b="1">
                <a:solidFill>
                  <a:srgbClr val="616161"/>
                </a:solidFill>
              </a:endParaRPr>
            </a:p>
          </p:txBody>
        </p:sp>
        <p:sp>
          <p:nvSpPr>
            <p:cNvPr id="9" name="Freeform 7">
              <a:extLst>
                <a:ext uri="{FF2B5EF4-FFF2-40B4-BE49-F238E27FC236}">
                  <a16:creationId xmlns:a16="http://schemas.microsoft.com/office/drawing/2014/main" id="{CC52DFD7-BF25-08BB-6862-88712D8D955D}"/>
                </a:ext>
              </a:extLst>
            </p:cNvPr>
            <p:cNvSpPr>
              <a:spLocks/>
            </p:cNvSpPr>
            <p:nvPr/>
          </p:nvSpPr>
          <p:spPr bwMode="gray">
            <a:xfrm>
              <a:off x="10720388" y="6383338"/>
              <a:ext cx="142875" cy="125413"/>
            </a:xfrm>
            <a:custGeom>
              <a:avLst/>
              <a:gdLst>
                <a:gd name="T0" fmla="*/ 120 w 397"/>
                <a:gd name="T1" fmla="*/ 1 h 339"/>
                <a:gd name="T2" fmla="*/ 304 w 397"/>
                <a:gd name="T3" fmla="*/ 244 h 339"/>
                <a:gd name="T4" fmla="*/ 304 w 397"/>
                <a:gd name="T5" fmla="*/ 0 h 339"/>
                <a:gd name="T6" fmla="*/ 397 w 397"/>
                <a:gd name="T7" fmla="*/ 0 h 339"/>
                <a:gd name="T8" fmla="*/ 396 w 397"/>
                <a:gd name="T9" fmla="*/ 339 h 339"/>
                <a:gd name="T10" fmla="*/ 287 w 397"/>
                <a:gd name="T11" fmla="*/ 339 h 339"/>
                <a:gd name="T12" fmla="*/ 93 w 397"/>
                <a:gd name="T13" fmla="*/ 83 h 339"/>
                <a:gd name="T14" fmla="*/ 93 w 397"/>
                <a:gd name="T15" fmla="*/ 339 h 339"/>
                <a:gd name="T16" fmla="*/ 0 w 397"/>
                <a:gd name="T17" fmla="*/ 339 h 339"/>
                <a:gd name="T18" fmla="*/ 0 w 397"/>
                <a:gd name="T19" fmla="*/ 1 h 339"/>
                <a:gd name="T20" fmla="*/ 120 w 397"/>
                <a:gd name="T21" fmla="*/ 1 h 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97" h="339">
                  <a:moveTo>
                    <a:pt x="120" y="1"/>
                  </a:moveTo>
                  <a:lnTo>
                    <a:pt x="304" y="244"/>
                  </a:lnTo>
                  <a:lnTo>
                    <a:pt x="304" y="0"/>
                  </a:lnTo>
                  <a:lnTo>
                    <a:pt x="397" y="0"/>
                  </a:lnTo>
                  <a:lnTo>
                    <a:pt x="396" y="339"/>
                  </a:lnTo>
                  <a:lnTo>
                    <a:pt x="287" y="339"/>
                  </a:lnTo>
                  <a:lnTo>
                    <a:pt x="93" y="83"/>
                  </a:lnTo>
                  <a:lnTo>
                    <a:pt x="93" y="339"/>
                  </a:lnTo>
                  <a:lnTo>
                    <a:pt x="0" y="339"/>
                  </a:lnTo>
                  <a:lnTo>
                    <a:pt x="0" y="1"/>
                  </a:lnTo>
                  <a:lnTo>
                    <a:pt x="120" y="1"/>
                  </a:lnTo>
                  <a:close/>
                </a:path>
              </a:pathLst>
            </a:custGeom>
            <a:grpFill/>
            <a:ln>
              <a:noFill/>
            </a:ln>
          </p:spPr>
          <p:txBody>
            <a:bodyPr vert="horz" wrap="square" lIns="91440" tIns="45720" rIns="91440" bIns="45720" numCol="1" anchor="t" anchorCtr="0" compatLnSpc="1">
              <a:prstTxWarp prst="textNoShape">
                <a:avLst/>
              </a:prstTxWarp>
            </a:bodyPr>
            <a:lstStyle/>
            <a:p>
              <a:endParaRPr lang="de-DE" b="1">
                <a:solidFill>
                  <a:srgbClr val="616161"/>
                </a:solidFill>
              </a:endParaRPr>
            </a:p>
          </p:txBody>
        </p:sp>
        <p:sp>
          <p:nvSpPr>
            <p:cNvPr id="10" name="Freeform 8">
              <a:extLst>
                <a:ext uri="{FF2B5EF4-FFF2-40B4-BE49-F238E27FC236}">
                  <a16:creationId xmlns:a16="http://schemas.microsoft.com/office/drawing/2014/main" id="{0B8720C0-9BD8-9D99-8E51-2404F8FD9AD1}"/>
                </a:ext>
              </a:extLst>
            </p:cNvPr>
            <p:cNvSpPr>
              <a:spLocks/>
            </p:cNvSpPr>
            <p:nvPr/>
          </p:nvSpPr>
          <p:spPr bwMode="gray">
            <a:xfrm>
              <a:off x="10887075" y="6383338"/>
              <a:ext cx="153988" cy="125413"/>
            </a:xfrm>
            <a:custGeom>
              <a:avLst/>
              <a:gdLst>
                <a:gd name="T0" fmla="*/ 171 w 427"/>
                <a:gd name="T1" fmla="*/ 60 h 338"/>
                <a:gd name="T2" fmla="*/ 99 w 427"/>
                <a:gd name="T3" fmla="*/ 104 h 338"/>
                <a:gd name="T4" fmla="*/ 158 w 427"/>
                <a:gd name="T5" fmla="*/ 141 h 338"/>
                <a:gd name="T6" fmla="*/ 284 w 427"/>
                <a:gd name="T7" fmla="*/ 141 h 338"/>
                <a:gd name="T8" fmla="*/ 427 w 427"/>
                <a:gd name="T9" fmla="*/ 237 h 338"/>
                <a:gd name="T10" fmla="*/ 270 w 427"/>
                <a:gd name="T11" fmla="*/ 338 h 338"/>
                <a:gd name="T12" fmla="*/ 18 w 427"/>
                <a:gd name="T13" fmla="*/ 338 h 338"/>
                <a:gd name="T14" fmla="*/ 18 w 427"/>
                <a:gd name="T15" fmla="*/ 277 h 338"/>
                <a:gd name="T16" fmla="*/ 255 w 427"/>
                <a:gd name="T17" fmla="*/ 277 h 338"/>
                <a:gd name="T18" fmla="*/ 328 w 427"/>
                <a:gd name="T19" fmla="*/ 239 h 338"/>
                <a:gd name="T20" fmla="*/ 261 w 427"/>
                <a:gd name="T21" fmla="*/ 200 h 338"/>
                <a:gd name="T22" fmla="*/ 150 w 427"/>
                <a:gd name="T23" fmla="*/ 200 h 338"/>
                <a:gd name="T24" fmla="*/ 0 w 427"/>
                <a:gd name="T25" fmla="*/ 103 h 338"/>
                <a:gd name="T26" fmla="*/ 158 w 427"/>
                <a:gd name="T27" fmla="*/ 0 h 338"/>
                <a:gd name="T28" fmla="*/ 405 w 427"/>
                <a:gd name="T29" fmla="*/ 0 h 338"/>
                <a:gd name="T30" fmla="*/ 405 w 427"/>
                <a:gd name="T31" fmla="*/ 60 h 338"/>
                <a:gd name="T32" fmla="*/ 171 w 427"/>
                <a:gd name="T33" fmla="*/ 60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7" h="338">
                  <a:moveTo>
                    <a:pt x="171" y="60"/>
                  </a:moveTo>
                  <a:cubicBezTo>
                    <a:pt x="122" y="60"/>
                    <a:pt x="99" y="73"/>
                    <a:pt x="99" y="104"/>
                  </a:cubicBezTo>
                  <a:cubicBezTo>
                    <a:pt x="99" y="129"/>
                    <a:pt x="119" y="141"/>
                    <a:pt x="158" y="141"/>
                  </a:cubicBezTo>
                  <a:lnTo>
                    <a:pt x="284" y="141"/>
                  </a:lnTo>
                  <a:cubicBezTo>
                    <a:pt x="384" y="141"/>
                    <a:pt x="427" y="166"/>
                    <a:pt x="427" y="237"/>
                  </a:cubicBezTo>
                  <a:cubicBezTo>
                    <a:pt x="427" y="308"/>
                    <a:pt x="376" y="338"/>
                    <a:pt x="270" y="338"/>
                  </a:cubicBezTo>
                  <a:lnTo>
                    <a:pt x="18" y="338"/>
                  </a:lnTo>
                  <a:lnTo>
                    <a:pt x="18" y="277"/>
                  </a:lnTo>
                  <a:lnTo>
                    <a:pt x="255" y="277"/>
                  </a:lnTo>
                  <a:cubicBezTo>
                    <a:pt x="305" y="277"/>
                    <a:pt x="328" y="268"/>
                    <a:pt x="328" y="239"/>
                  </a:cubicBezTo>
                  <a:cubicBezTo>
                    <a:pt x="328" y="209"/>
                    <a:pt x="307" y="200"/>
                    <a:pt x="261" y="200"/>
                  </a:cubicBezTo>
                  <a:lnTo>
                    <a:pt x="150" y="200"/>
                  </a:lnTo>
                  <a:cubicBezTo>
                    <a:pt x="47" y="200"/>
                    <a:pt x="0" y="171"/>
                    <a:pt x="0" y="103"/>
                  </a:cubicBezTo>
                  <a:cubicBezTo>
                    <a:pt x="0" y="30"/>
                    <a:pt x="51" y="0"/>
                    <a:pt x="158" y="0"/>
                  </a:cubicBezTo>
                  <a:lnTo>
                    <a:pt x="405" y="0"/>
                  </a:lnTo>
                  <a:lnTo>
                    <a:pt x="405" y="60"/>
                  </a:lnTo>
                  <a:lnTo>
                    <a:pt x="171" y="60"/>
                  </a:lnTo>
                  <a:close/>
                </a:path>
              </a:pathLst>
            </a:custGeom>
            <a:grpFill/>
            <a:ln>
              <a:noFill/>
            </a:ln>
          </p:spPr>
          <p:txBody>
            <a:bodyPr vert="horz" wrap="square" lIns="91440" tIns="45720" rIns="91440" bIns="45720" numCol="1" anchor="t" anchorCtr="0" compatLnSpc="1">
              <a:prstTxWarp prst="textNoShape">
                <a:avLst/>
              </a:prstTxWarp>
            </a:bodyPr>
            <a:lstStyle/>
            <a:p>
              <a:endParaRPr lang="de-DE" b="1">
                <a:solidFill>
                  <a:srgbClr val="616161"/>
                </a:solidFill>
              </a:endParaRPr>
            </a:p>
          </p:txBody>
        </p:sp>
        <p:sp>
          <p:nvSpPr>
            <p:cNvPr id="11" name="Rectangle 10">
              <a:extLst>
                <a:ext uri="{FF2B5EF4-FFF2-40B4-BE49-F238E27FC236}">
                  <a16:creationId xmlns:a16="http://schemas.microsoft.com/office/drawing/2014/main" id="{9CB9DBBE-B733-30A7-D8CC-73B2778CD875}"/>
                </a:ext>
              </a:extLst>
            </p:cNvPr>
            <p:cNvSpPr>
              <a:spLocks noChangeArrowheads="1"/>
            </p:cNvSpPr>
            <p:nvPr/>
          </p:nvSpPr>
          <p:spPr bwMode="gray">
            <a:xfrm>
              <a:off x="11066463" y="6383338"/>
              <a:ext cx="36513" cy="125413"/>
            </a:xfrm>
            <a:prstGeom prst="rect">
              <a:avLst/>
            </a:prstGeom>
            <a:grpFill/>
            <a:ln>
              <a:noFill/>
            </a:ln>
          </p:spPr>
          <p:txBody>
            <a:bodyPr vert="horz" wrap="square" lIns="91440" tIns="45720" rIns="91440" bIns="45720" numCol="1" anchor="t" anchorCtr="0" compatLnSpc="1">
              <a:prstTxWarp prst="textNoShape">
                <a:avLst/>
              </a:prstTxWarp>
            </a:bodyPr>
            <a:lstStyle/>
            <a:p>
              <a:endParaRPr lang="de-DE" b="1">
                <a:solidFill>
                  <a:srgbClr val="616161"/>
                </a:solidFill>
              </a:endParaRPr>
            </a:p>
          </p:txBody>
        </p:sp>
        <p:sp>
          <p:nvSpPr>
            <p:cNvPr id="12" name="Freeform 10">
              <a:extLst>
                <a:ext uri="{FF2B5EF4-FFF2-40B4-BE49-F238E27FC236}">
                  <a16:creationId xmlns:a16="http://schemas.microsoft.com/office/drawing/2014/main" id="{67751171-6C0E-1097-B361-73208E5D3781}"/>
                </a:ext>
              </a:extLst>
            </p:cNvPr>
            <p:cNvSpPr>
              <a:spLocks noEditPoints="1"/>
            </p:cNvSpPr>
            <p:nvPr/>
          </p:nvSpPr>
          <p:spPr bwMode="gray">
            <a:xfrm>
              <a:off x="11136313" y="6383338"/>
              <a:ext cx="147638" cy="125413"/>
            </a:xfrm>
            <a:custGeom>
              <a:avLst/>
              <a:gdLst>
                <a:gd name="T0" fmla="*/ 211 w 412"/>
                <a:gd name="T1" fmla="*/ 60 h 338"/>
                <a:gd name="T2" fmla="*/ 295 w 412"/>
                <a:gd name="T3" fmla="*/ 103 h 338"/>
                <a:gd name="T4" fmla="*/ 211 w 412"/>
                <a:gd name="T5" fmla="*/ 145 h 338"/>
                <a:gd name="T6" fmla="*/ 95 w 412"/>
                <a:gd name="T7" fmla="*/ 145 h 338"/>
                <a:gd name="T8" fmla="*/ 95 w 412"/>
                <a:gd name="T9" fmla="*/ 60 h 338"/>
                <a:gd name="T10" fmla="*/ 211 w 412"/>
                <a:gd name="T11" fmla="*/ 60 h 338"/>
                <a:gd name="T12" fmla="*/ 0 w 412"/>
                <a:gd name="T13" fmla="*/ 0 h 338"/>
                <a:gd name="T14" fmla="*/ 0 w 412"/>
                <a:gd name="T15" fmla="*/ 338 h 338"/>
                <a:gd name="T16" fmla="*/ 95 w 412"/>
                <a:gd name="T17" fmla="*/ 338 h 338"/>
                <a:gd name="T18" fmla="*/ 95 w 412"/>
                <a:gd name="T19" fmla="*/ 205 h 338"/>
                <a:gd name="T20" fmla="*/ 206 w 412"/>
                <a:gd name="T21" fmla="*/ 205 h 338"/>
                <a:gd name="T22" fmla="*/ 305 w 412"/>
                <a:gd name="T23" fmla="*/ 338 h 338"/>
                <a:gd name="T24" fmla="*/ 412 w 412"/>
                <a:gd name="T25" fmla="*/ 338 h 338"/>
                <a:gd name="T26" fmla="*/ 300 w 412"/>
                <a:gd name="T27" fmla="*/ 197 h 338"/>
                <a:gd name="T28" fmla="*/ 391 w 412"/>
                <a:gd name="T29" fmla="*/ 102 h 338"/>
                <a:gd name="T30" fmla="*/ 233 w 412"/>
                <a:gd name="T31" fmla="*/ 0 h 338"/>
                <a:gd name="T32" fmla="*/ 0 w 412"/>
                <a:gd name="T33" fmla="*/ 0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12" h="338">
                  <a:moveTo>
                    <a:pt x="211" y="60"/>
                  </a:moveTo>
                  <a:cubicBezTo>
                    <a:pt x="267" y="60"/>
                    <a:pt x="295" y="68"/>
                    <a:pt x="295" y="103"/>
                  </a:cubicBezTo>
                  <a:cubicBezTo>
                    <a:pt x="295" y="137"/>
                    <a:pt x="267" y="145"/>
                    <a:pt x="211" y="145"/>
                  </a:cubicBezTo>
                  <a:lnTo>
                    <a:pt x="95" y="145"/>
                  </a:lnTo>
                  <a:lnTo>
                    <a:pt x="95" y="60"/>
                  </a:lnTo>
                  <a:lnTo>
                    <a:pt x="211" y="60"/>
                  </a:lnTo>
                  <a:close/>
                  <a:moveTo>
                    <a:pt x="0" y="0"/>
                  </a:moveTo>
                  <a:lnTo>
                    <a:pt x="0" y="338"/>
                  </a:lnTo>
                  <a:lnTo>
                    <a:pt x="95" y="338"/>
                  </a:lnTo>
                  <a:lnTo>
                    <a:pt x="95" y="205"/>
                  </a:lnTo>
                  <a:lnTo>
                    <a:pt x="206" y="205"/>
                  </a:lnTo>
                  <a:lnTo>
                    <a:pt x="305" y="338"/>
                  </a:lnTo>
                  <a:lnTo>
                    <a:pt x="412" y="338"/>
                  </a:lnTo>
                  <a:lnTo>
                    <a:pt x="300" y="197"/>
                  </a:lnTo>
                  <a:cubicBezTo>
                    <a:pt x="358" y="187"/>
                    <a:pt x="391" y="154"/>
                    <a:pt x="391" y="102"/>
                  </a:cubicBezTo>
                  <a:cubicBezTo>
                    <a:pt x="391" y="31"/>
                    <a:pt x="340" y="0"/>
                    <a:pt x="233" y="0"/>
                  </a:cubicBezTo>
                  <a:lnTo>
                    <a:pt x="0" y="0"/>
                  </a:lnTo>
                  <a:close/>
                </a:path>
              </a:pathLst>
            </a:custGeom>
            <a:grpFill/>
            <a:ln>
              <a:noFill/>
            </a:ln>
          </p:spPr>
          <p:txBody>
            <a:bodyPr vert="horz" wrap="square" lIns="91440" tIns="45720" rIns="91440" bIns="45720" numCol="1" anchor="t" anchorCtr="0" compatLnSpc="1">
              <a:prstTxWarp prst="textNoShape">
                <a:avLst/>
              </a:prstTxWarp>
            </a:bodyPr>
            <a:lstStyle/>
            <a:p>
              <a:endParaRPr lang="de-DE" b="1">
                <a:solidFill>
                  <a:srgbClr val="616161"/>
                </a:solidFill>
              </a:endParaRPr>
            </a:p>
          </p:txBody>
        </p:sp>
        <p:sp>
          <p:nvSpPr>
            <p:cNvPr id="13" name="Rectangle 12">
              <a:extLst>
                <a:ext uri="{FF2B5EF4-FFF2-40B4-BE49-F238E27FC236}">
                  <a16:creationId xmlns:a16="http://schemas.microsoft.com/office/drawing/2014/main" id="{B5039CF0-23AE-D403-744C-13B48EBCA1C2}"/>
                </a:ext>
              </a:extLst>
            </p:cNvPr>
            <p:cNvSpPr>
              <a:spLocks noChangeArrowheads="1"/>
            </p:cNvSpPr>
            <p:nvPr/>
          </p:nvSpPr>
          <p:spPr bwMode="gray">
            <a:xfrm>
              <a:off x="11304588" y="6383338"/>
              <a:ext cx="36513" cy="125413"/>
            </a:xfrm>
            <a:prstGeom prst="rect">
              <a:avLst/>
            </a:prstGeom>
            <a:grpFill/>
            <a:ln>
              <a:noFill/>
            </a:ln>
          </p:spPr>
          <p:txBody>
            <a:bodyPr vert="horz" wrap="square" lIns="91440" tIns="45720" rIns="91440" bIns="45720" numCol="1" anchor="t" anchorCtr="0" compatLnSpc="1">
              <a:prstTxWarp prst="textNoShape">
                <a:avLst/>
              </a:prstTxWarp>
            </a:bodyPr>
            <a:lstStyle/>
            <a:p>
              <a:endParaRPr lang="de-DE" b="1">
                <a:solidFill>
                  <a:srgbClr val="616161"/>
                </a:solidFill>
              </a:endParaRPr>
            </a:p>
          </p:txBody>
        </p:sp>
        <p:sp>
          <p:nvSpPr>
            <p:cNvPr id="14" name="Freeform 12">
              <a:extLst>
                <a:ext uri="{FF2B5EF4-FFF2-40B4-BE49-F238E27FC236}">
                  <a16:creationId xmlns:a16="http://schemas.microsoft.com/office/drawing/2014/main" id="{E0943492-D7DB-FD88-3B2B-F02015372BF5}"/>
                </a:ext>
              </a:extLst>
            </p:cNvPr>
            <p:cNvSpPr>
              <a:spLocks noEditPoints="1"/>
            </p:cNvSpPr>
            <p:nvPr/>
          </p:nvSpPr>
          <p:spPr bwMode="gray">
            <a:xfrm>
              <a:off x="11363325" y="6381750"/>
              <a:ext cx="161925" cy="130175"/>
            </a:xfrm>
            <a:custGeom>
              <a:avLst/>
              <a:gdLst>
                <a:gd name="T0" fmla="*/ 225 w 449"/>
                <a:gd name="T1" fmla="*/ 57 h 351"/>
                <a:gd name="T2" fmla="*/ 346 w 449"/>
                <a:gd name="T3" fmla="*/ 175 h 351"/>
                <a:gd name="T4" fmla="*/ 225 w 449"/>
                <a:gd name="T5" fmla="*/ 292 h 351"/>
                <a:gd name="T6" fmla="*/ 104 w 449"/>
                <a:gd name="T7" fmla="*/ 172 h 351"/>
                <a:gd name="T8" fmla="*/ 225 w 449"/>
                <a:gd name="T9" fmla="*/ 57 h 351"/>
                <a:gd name="T10" fmla="*/ 0 w 449"/>
                <a:gd name="T11" fmla="*/ 172 h 351"/>
                <a:gd name="T12" fmla="*/ 225 w 449"/>
                <a:gd name="T13" fmla="*/ 351 h 351"/>
                <a:gd name="T14" fmla="*/ 449 w 449"/>
                <a:gd name="T15" fmla="*/ 175 h 351"/>
                <a:gd name="T16" fmla="*/ 247 w 449"/>
                <a:gd name="T17" fmla="*/ 0 h 351"/>
                <a:gd name="T18" fmla="*/ 203 w 449"/>
                <a:gd name="T19" fmla="*/ 0 h 351"/>
                <a:gd name="T20" fmla="*/ 0 w 449"/>
                <a:gd name="T21" fmla="*/ 172 h 3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49" h="351">
                  <a:moveTo>
                    <a:pt x="225" y="57"/>
                  </a:moveTo>
                  <a:cubicBezTo>
                    <a:pt x="308" y="57"/>
                    <a:pt x="346" y="95"/>
                    <a:pt x="346" y="175"/>
                  </a:cubicBezTo>
                  <a:cubicBezTo>
                    <a:pt x="346" y="254"/>
                    <a:pt x="308" y="292"/>
                    <a:pt x="225" y="292"/>
                  </a:cubicBezTo>
                  <a:cubicBezTo>
                    <a:pt x="140" y="292"/>
                    <a:pt x="104" y="254"/>
                    <a:pt x="104" y="172"/>
                  </a:cubicBezTo>
                  <a:cubicBezTo>
                    <a:pt x="104" y="95"/>
                    <a:pt x="143" y="57"/>
                    <a:pt x="225" y="57"/>
                  </a:cubicBezTo>
                  <a:close/>
                  <a:moveTo>
                    <a:pt x="0" y="172"/>
                  </a:moveTo>
                  <a:cubicBezTo>
                    <a:pt x="0" y="294"/>
                    <a:pt x="70" y="351"/>
                    <a:pt x="225" y="351"/>
                  </a:cubicBezTo>
                  <a:cubicBezTo>
                    <a:pt x="378" y="351"/>
                    <a:pt x="449" y="294"/>
                    <a:pt x="449" y="175"/>
                  </a:cubicBezTo>
                  <a:cubicBezTo>
                    <a:pt x="449" y="61"/>
                    <a:pt x="385" y="5"/>
                    <a:pt x="247" y="0"/>
                  </a:cubicBezTo>
                  <a:lnTo>
                    <a:pt x="203" y="0"/>
                  </a:lnTo>
                  <a:cubicBezTo>
                    <a:pt x="67" y="5"/>
                    <a:pt x="0" y="61"/>
                    <a:pt x="0" y="172"/>
                  </a:cubicBezTo>
                  <a:close/>
                </a:path>
              </a:pathLst>
            </a:custGeom>
            <a:grpFill/>
            <a:ln>
              <a:noFill/>
            </a:ln>
          </p:spPr>
          <p:txBody>
            <a:bodyPr vert="horz" wrap="square" lIns="91440" tIns="45720" rIns="91440" bIns="45720" numCol="1" anchor="t" anchorCtr="0" compatLnSpc="1">
              <a:prstTxWarp prst="textNoShape">
                <a:avLst/>
              </a:prstTxWarp>
            </a:bodyPr>
            <a:lstStyle/>
            <a:p>
              <a:endParaRPr lang="de-DE" b="1">
                <a:solidFill>
                  <a:srgbClr val="616161"/>
                </a:solidFill>
              </a:endParaRPr>
            </a:p>
          </p:txBody>
        </p:sp>
        <p:sp>
          <p:nvSpPr>
            <p:cNvPr id="15" name="Freeform 13">
              <a:extLst>
                <a:ext uri="{FF2B5EF4-FFF2-40B4-BE49-F238E27FC236}">
                  <a16:creationId xmlns:a16="http://schemas.microsoft.com/office/drawing/2014/main" id="{7B150577-9ADA-5345-38E9-4FD1218AA3F2}"/>
                </a:ext>
              </a:extLst>
            </p:cNvPr>
            <p:cNvSpPr>
              <a:spLocks/>
            </p:cNvSpPr>
            <p:nvPr/>
          </p:nvSpPr>
          <p:spPr bwMode="gray">
            <a:xfrm>
              <a:off x="11549063" y="6383338"/>
              <a:ext cx="141288" cy="125413"/>
            </a:xfrm>
            <a:custGeom>
              <a:avLst/>
              <a:gdLst>
                <a:gd name="T0" fmla="*/ 120 w 396"/>
                <a:gd name="T1" fmla="*/ 0 h 338"/>
                <a:gd name="T2" fmla="*/ 304 w 396"/>
                <a:gd name="T3" fmla="*/ 243 h 338"/>
                <a:gd name="T4" fmla="*/ 304 w 396"/>
                <a:gd name="T5" fmla="*/ 0 h 338"/>
                <a:gd name="T6" fmla="*/ 396 w 396"/>
                <a:gd name="T7" fmla="*/ 0 h 338"/>
                <a:gd name="T8" fmla="*/ 396 w 396"/>
                <a:gd name="T9" fmla="*/ 338 h 338"/>
                <a:gd name="T10" fmla="*/ 286 w 396"/>
                <a:gd name="T11" fmla="*/ 338 h 338"/>
                <a:gd name="T12" fmla="*/ 93 w 396"/>
                <a:gd name="T13" fmla="*/ 82 h 338"/>
                <a:gd name="T14" fmla="*/ 93 w 396"/>
                <a:gd name="T15" fmla="*/ 338 h 338"/>
                <a:gd name="T16" fmla="*/ 0 w 396"/>
                <a:gd name="T17" fmla="*/ 338 h 338"/>
                <a:gd name="T18" fmla="*/ 0 w 396"/>
                <a:gd name="T19" fmla="*/ 0 h 338"/>
                <a:gd name="T20" fmla="*/ 120 w 396"/>
                <a:gd name="T21" fmla="*/ 0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96" h="338">
                  <a:moveTo>
                    <a:pt x="120" y="0"/>
                  </a:moveTo>
                  <a:lnTo>
                    <a:pt x="304" y="243"/>
                  </a:lnTo>
                  <a:lnTo>
                    <a:pt x="304" y="0"/>
                  </a:lnTo>
                  <a:lnTo>
                    <a:pt x="396" y="0"/>
                  </a:lnTo>
                  <a:lnTo>
                    <a:pt x="396" y="338"/>
                  </a:lnTo>
                  <a:lnTo>
                    <a:pt x="286" y="338"/>
                  </a:lnTo>
                  <a:lnTo>
                    <a:pt x="93" y="82"/>
                  </a:lnTo>
                  <a:lnTo>
                    <a:pt x="93" y="338"/>
                  </a:lnTo>
                  <a:lnTo>
                    <a:pt x="0" y="338"/>
                  </a:lnTo>
                  <a:lnTo>
                    <a:pt x="0" y="0"/>
                  </a:lnTo>
                  <a:lnTo>
                    <a:pt x="120" y="0"/>
                  </a:lnTo>
                  <a:close/>
                </a:path>
              </a:pathLst>
            </a:custGeom>
            <a:grpFill/>
            <a:ln>
              <a:noFill/>
            </a:ln>
          </p:spPr>
          <p:txBody>
            <a:bodyPr vert="horz" wrap="square" lIns="91440" tIns="45720" rIns="91440" bIns="45720" numCol="1" anchor="t" anchorCtr="0" compatLnSpc="1">
              <a:prstTxWarp prst="textNoShape">
                <a:avLst/>
              </a:prstTxWarp>
            </a:bodyPr>
            <a:lstStyle/>
            <a:p>
              <a:endParaRPr lang="de-DE" b="1">
                <a:solidFill>
                  <a:srgbClr val="616161"/>
                </a:solidFill>
              </a:endParaRPr>
            </a:p>
          </p:txBody>
        </p:sp>
      </p:grpSp>
    </p:spTree>
    <p:extLst>
      <p:ext uri="{BB962C8B-B14F-4D97-AF65-F5344CB8AC3E}">
        <p14:creationId xmlns:p14="http://schemas.microsoft.com/office/powerpoint/2010/main" val="63662879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Title without Text ">
    <p:spTree>
      <p:nvGrpSpPr>
        <p:cNvPr id="1" name=""/>
        <p:cNvGrpSpPr/>
        <p:nvPr/>
      </p:nvGrpSpPr>
      <p:grpSpPr>
        <a:xfrm>
          <a:off x="0" y="0"/>
          <a:ext cx="0" cy="0"/>
          <a:chOff x="0" y="0"/>
          <a:chExt cx="0" cy="0"/>
        </a:xfrm>
      </p:grpSpPr>
      <p:sp>
        <p:nvSpPr>
          <p:cNvPr id="4" name="Rectangle 2"/>
          <p:cNvSpPr>
            <a:spLocks noGrp="1" noChangeArrowheads="1"/>
          </p:cNvSpPr>
          <p:nvPr>
            <p:ph type="title" hasCustomPrompt="1"/>
          </p:nvPr>
        </p:nvSpPr>
        <p:spPr bwMode="auto">
          <a:xfrm>
            <a:off x="839787" y="358516"/>
            <a:ext cx="4767524" cy="430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b" anchorCtr="0" compatLnSpc="1">
            <a:prstTxWarp prst="textNoShape">
              <a:avLst/>
            </a:prstTxWarp>
          </a:bodyPr>
          <a:lstStyle>
            <a:lvl1pPr>
              <a:defRPr/>
            </a:lvl1pPr>
          </a:lstStyle>
          <a:p>
            <a:pPr lvl="0"/>
            <a:r>
              <a:rPr lang="en-US" noProof="0"/>
              <a:t>Add Title / </a:t>
            </a:r>
            <a:r>
              <a:rPr lang="en-US" noProof="0" err="1"/>
              <a:t>Titel</a:t>
            </a:r>
            <a:r>
              <a:rPr lang="en-US" noProof="0"/>
              <a:t> </a:t>
            </a:r>
            <a:r>
              <a:rPr lang="en-US" noProof="0" err="1"/>
              <a:t>hinzufügen</a:t>
            </a:r>
            <a:r>
              <a:rPr lang="en-US" noProof="0"/>
              <a:t> </a:t>
            </a:r>
          </a:p>
        </p:txBody>
      </p:sp>
      <p:sp>
        <p:nvSpPr>
          <p:cNvPr id="2" name="Foliennummernplatzhalter 1">
            <a:extLst>
              <a:ext uri="{FF2B5EF4-FFF2-40B4-BE49-F238E27FC236}">
                <a16:creationId xmlns:a16="http://schemas.microsoft.com/office/drawing/2014/main" id="{6DEAD031-EE7C-4798-A89A-83F471FC31AC}"/>
              </a:ext>
            </a:extLst>
          </p:cNvPr>
          <p:cNvSpPr>
            <a:spLocks noGrp="1"/>
          </p:cNvSpPr>
          <p:nvPr>
            <p:ph type="sldNum" sz="quarter" idx="10"/>
          </p:nvPr>
        </p:nvSpPr>
        <p:spPr/>
        <p:txBody>
          <a:bodyPr/>
          <a:lstStyle/>
          <a:p>
            <a:fld id="{B82950B1-C7CF-425D-9A48-9AE722F4F236}" type="slidenum">
              <a:rPr lang="en-US" smtClean="0"/>
              <a:pPr/>
              <a:t>‹#›</a:t>
            </a:fld>
            <a:endParaRPr lang="en-US"/>
          </a:p>
        </p:txBody>
      </p:sp>
    </p:spTree>
    <p:extLst>
      <p:ext uri="{BB962C8B-B14F-4D97-AF65-F5344CB8AC3E}">
        <p14:creationId xmlns:p14="http://schemas.microsoft.com/office/powerpoint/2010/main" val="53306531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
        <p:nvSpPr>
          <p:cNvPr id="3" name="Foliennummernplatzhalter 2">
            <a:extLst>
              <a:ext uri="{FF2B5EF4-FFF2-40B4-BE49-F238E27FC236}">
                <a16:creationId xmlns:a16="http://schemas.microsoft.com/office/drawing/2014/main" id="{E9AFD47E-91FA-4BA4-9B8B-6A8D06C2C645}"/>
              </a:ext>
            </a:extLst>
          </p:cNvPr>
          <p:cNvSpPr>
            <a:spLocks noGrp="1"/>
          </p:cNvSpPr>
          <p:nvPr>
            <p:ph type="sldNum" sz="quarter" idx="10"/>
          </p:nvPr>
        </p:nvSpPr>
        <p:spPr/>
        <p:txBody>
          <a:bodyPr/>
          <a:lstStyle/>
          <a:p>
            <a:fld id="{B82950B1-C7CF-425D-9A48-9AE722F4F236}" type="slidenum">
              <a:rPr lang="de-CH" smtClean="0"/>
              <a:pPr/>
              <a:t>‹#›</a:t>
            </a:fld>
            <a:endParaRPr lang="de-CH"/>
          </a:p>
        </p:txBody>
      </p:sp>
    </p:spTree>
    <p:extLst>
      <p:ext uri="{BB962C8B-B14F-4D97-AF65-F5344CB8AC3E}">
        <p14:creationId xmlns:p14="http://schemas.microsoft.com/office/powerpoint/2010/main" val="93505753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3701C1F6-A140-C203-8BFC-35C0188A77B8}"/>
              </a:ext>
            </a:extLst>
          </p:cNvPr>
          <p:cNvSpPr>
            <a:spLocks noGrp="1"/>
          </p:cNvSpPr>
          <p:nvPr>
            <p:ph type="pic" sz="quarter" idx="11" hasCustomPrompt="1"/>
          </p:nvPr>
        </p:nvSpPr>
        <p:spPr bwMode="gray">
          <a:xfrm>
            <a:off x="0" y="0"/>
            <a:ext cx="12192000" cy="6057900"/>
          </a:xfrm>
          <a:pattFill prst="wdUpDiag">
            <a:fgClr>
              <a:schemeClr val="bg1"/>
            </a:fgClr>
            <a:bgClr>
              <a:schemeClr val="bg2"/>
            </a:bgClr>
          </a:pattFill>
        </p:spPr>
        <p:txBody>
          <a:bodyPr anchor="ctr"/>
          <a:lstStyle>
            <a:lvl1pPr marL="0" indent="0" algn="ctr">
              <a:lnSpc>
                <a:spcPct val="100000"/>
              </a:lnSpc>
              <a:buNone/>
              <a:defRPr sz="1000" b="1" i="1">
                <a:solidFill>
                  <a:srgbClr val="BDBDBD"/>
                </a:solidFill>
              </a:defRPr>
            </a:lvl1pPr>
          </a:lstStyle>
          <a:p>
            <a:r>
              <a:rPr lang="en-US" noProof="0"/>
              <a:t> Image placeholder</a:t>
            </a:r>
          </a:p>
        </p:txBody>
      </p:sp>
      <p:graphicFrame>
        <p:nvGraphicFramePr>
          <p:cNvPr id="5" name="Objekt 4" hidden="1">
            <a:extLst>
              <a:ext uri="{FF2B5EF4-FFF2-40B4-BE49-F238E27FC236}">
                <a16:creationId xmlns:a16="http://schemas.microsoft.com/office/drawing/2014/main" id="{767385B7-6838-292C-9A71-B34C47821397}"/>
              </a:ext>
            </a:extLst>
          </p:cNvPr>
          <p:cNvGraphicFramePr>
            <a:graphicFrameLocks noChangeAspect="1"/>
          </p:cNvGraphicFramePr>
          <p:nvPr userDrawn="1">
            <p:custDataLst>
              <p:tags r:id="rId1"/>
            </p:custDataLst>
            <p:extLst>
              <p:ext uri="{D42A27DB-BD31-4B8C-83A1-F6EECF244321}">
                <p14:modId xmlns:p14="http://schemas.microsoft.com/office/powerpoint/2010/main" val="28654975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80" imgH="481" progId="TCLayout.ActiveDocument.1">
                  <p:embed/>
                </p:oleObj>
              </mc:Choice>
              <mc:Fallback>
                <p:oleObj name="think-cell Folie" r:id="rId3" imgW="480" imgH="481" progId="TCLayout.ActiveDocument.1">
                  <p:embed/>
                  <p:pic>
                    <p:nvPicPr>
                      <p:cNvPr id="5" name="Objekt 4" hidden="1">
                        <a:extLst>
                          <a:ext uri="{FF2B5EF4-FFF2-40B4-BE49-F238E27FC236}">
                            <a16:creationId xmlns:a16="http://schemas.microsoft.com/office/drawing/2014/main" id="{767385B7-6838-292C-9A71-B34C4782139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9E4B5D56-4EE6-6923-EBA2-5824FC9584B2}"/>
              </a:ext>
            </a:extLst>
          </p:cNvPr>
          <p:cNvSpPr>
            <a:spLocks noGrp="1"/>
          </p:cNvSpPr>
          <p:nvPr>
            <p:ph type="ctrTitle" hasCustomPrompt="1"/>
          </p:nvPr>
        </p:nvSpPr>
        <p:spPr bwMode="gray">
          <a:xfrm>
            <a:off x="1189036" y="1334291"/>
            <a:ext cx="9144000" cy="369332"/>
          </a:xfrm>
          <a:prstGeom prst="rect">
            <a:avLst/>
          </a:prstGeom>
        </p:spPr>
        <p:txBody>
          <a:bodyPr vert="horz" anchor="b"/>
          <a:lstStyle>
            <a:lvl1pPr algn="l">
              <a:lnSpc>
                <a:spcPct val="100000"/>
              </a:lnSpc>
              <a:defRPr sz="2400" cap="all" baseline="0"/>
            </a:lvl1pPr>
          </a:lstStyle>
          <a:p>
            <a:r>
              <a:rPr lang="en-US" noProof="0"/>
              <a:t>Agenda</a:t>
            </a:r>
          </a:p>
        </p:txBody>
      </p:sp>
      <p:sp>
        <p:nvSpPr>
          <p:cNvPr id="7" name="Text Placeholder 6">
            <a:extLst>
              <a:ext uri="{FF2B5EF4-FFF2-40B4-BE49-F238E27FC236}">
                <a16:creationId xmlns:a16="http://schemas.microsoft.com/office/drawing/2014/main" id="{54780551-0AC8-CC10-4203-E0F948B252FC}"/>
              </a:ext>
            </a:extLst>
          </p:cNvPr>
          <p:cNvSpPr>
            <a:spLocks noGrp="1"/>
          </p:cNvSpPr>
          <p:nvPr>
            <p:ph type="body" sz="quarter" idx="12" hasCustomPrompt="1"/>
          </p:nvPr>
        </p:nvSpPr>
        <p:spPr bwMode="gray">
          <a:xfrm>
            <a:off x="1189038" y="3630386"/>
            <a:ext cx="2340000" cy="1872000"/>
          </a:xfrm>
          <a:solidFill>
            <a:schemeClr val="bg1"/>
          </a:solidFill>
        </p:spPr>
        <p:txBody>
          <a:bodyPr lIns="216000" tIns="144000" rIns="216000" bIns="144000"/>
          <a:lstStyle>
            <a:lvl1pPr marL="0" indent="0">
              <a:spcAft>
                <a:spcPts val="0"/>
              </a:spcAft>
              <a:buNone/>
              <a:defRPr b="0"/>
            </a:lvl1pPr>
          </a:lstStyle>
          <a:p>
            <a:pPr lvl="0"/>
            <a:r>
              <a:rPr lang="en-US"/>
              <a:t>Chapter title</a:t>
            </a:r>
          </a:p>
          <a:p>
            <a:pPr lvl="0"/>
            <a:r>
              <a:rPr lang="en-US"/>
              <a:t>Placeholder</a:t>
            </a:r>
          </a:p>
          <a:p>
            <a:pPr lvl="0"/>
            <a:r>
              <a:rPr lang="en-US"/>
              <a:t>Third line</a:t>
            </a:r>
          </a:p>
        </p:txBody>
      </p:sp>
      <p:sp>
        <p:nvSpPr>
          <p:cNvPr id="9" name="Text Placeholder 6">
            <a:extLst>
              <a:ext uri="{FF2B5EF4-FFF2-40B4-BE49-F238E27FC236}">
                <a16:creationId xmlns:a16="http://schemas.microsoft.com/office/drawing/2014/main" id="{CC4BB3A0-56D7-008F-2F5E-749DA502114B}"/>
              </a:ext>
            </a:extLst>
          </p:cNvPr>
          <p:cNvSpPr>
            <a:spLocks noGrp="1"/>
          </p:cNvSpPr>
          <p:nvPr>
            <p:ph type="body" sz="quarter" idx="13" hasCustomPrompt="1"/>
          </p:nvPr>
        </p:nvSpPr>
        <p:spPr bwMode="gray">
          <a:xfrm>
            <a:off x="3665538" y="3630386"/>
            <a:ext cx="2340000" cy="1872000"/>
          </a:xfrm>
          <a:solidFill>
            <a:schemeClr val="bg1"/>
          </a:solidFill>
        </p:spPr>
        <p:txBody>
          <a:bodyPr lIns="216000" tIns="144000" rIns="216000" bIns="144000"/>
          <a:lstStyle>
            <a:lvl1pPr marL="0" indent="0">
              <a:spcAft>
                <a:spcPts val="0"/>
              </a:spcAft>
              <a:buNone/>
              <a:defRPr b="0"/>
            </a:lvl1pPr>
          </a:lstStyle>
          <a:p>
            <a:pPr lvl="0"/>
            <a:r>
              <a:rPr lang="en-US"/>
              <a:t>Chapter title</a:t>
            </a:r>
          </a:p>
          <a:p>
            <a:pPr lvl="0"/>
            <a:r>
              <a:rPr lang="en-US"/>
              <a:t>Placeholder</a:t>
            </a:r>
          </a:p>
          <a:p>
            <a:pPr lvl="0"/>
            <a:r>
              <a:rPr lang="en-US"/>
              <a:t>Third line</a:t>
            </a:r>
          </a:p>
        </p:txBody>
      </p:sp>
      <p:sp>
        <p:nvSpPr>
          <p:cNvPr id="20" name="Text Placeholder 6">
            <a:extLst>
              <a:ext uri="{FF2B5EF4-FFF2-40B4-BE49-F238E27FC236}">
                <a16:creationId xmlns:a16="http://schemas.microsoft.com/office/drawing/2014/main" id="{5F8F1682-426D-A92C-5CC0-F70B368876DA}"/>
              </a:ext>
            </a:extLst>
          </p:cNvPr>
          <p:cNvSpPr>
            <a:spLocks noGrp="1"/>
          </p:cNvSpPr>
          <p:nvPr>
            <p:ph type="body" sz="quarter" idx="14" hasCustomPrompt="1"/>
          </p:nvPr>
        </p:nvSpPr>
        <p:spPr bwMode="gray">
          <a:xfrm>
            <a:off x="6142038" y="3630386"/>
            <a:ext cx="2340000" cy="1872000"/>
          </a:xfrm>
          <a:solidFill>
            <a:schemeClr val="bg1"/>
          </a:solidFill>
        </p:spPr>
        <p:txBody>
          <a:bodyPr lIns="216000" tIns="144000" rIns="216000" bIns="144000"/>
          <a:lstStyle>
            <a:lvl1pPr marL="0" indent="0">
              <a:spcAft>
                <a:spcPts val="0"/>
              </a:spcAft>
              <a:buNone/>
              <a:defRPr b="0"/>
            </a:lvl1pPr>
          </a:lstStyle>
          <a:p>
            <a:pPr lvl="0"/>
            <a:r>
              <a:rPr lang="en-US"/>
              <a:t>Chapter title</a:t>
            </a:r>
          </a:p>
          <a:p>
            <a:pPr lvl="0"/>
            <a:r>
              <a:rPr lang="en-US"/>
              <a:t>Placeholder</a:t>
            </a:r>
          </a:p>
          <a:p>
            <a:pPr lvl="0"/>
            <a:r>
              <a:rPr lang="en-US"/>
              <a:t>Third line</a:t>
            </a:r>
          </a:p>
        </p:txBody>
      </p:sp>
      <p:sp>
        <p:nvSpPr>
          <p:cNvPr id="21" name="Text Placeholder 6">
            <a:extLst>
              <a:ext uri="{FF2B5EF4-FFF2-40B4-BE49-F238E27FC236}">
                <a16:creationId xmlns:a16="http://schemas.microsoft.com/office/drawing/2014/main" id="{C3FD7D7A-E9B6-0D5D-1997-DF07855352F6}"/>
              </a:ext>
            </a:extLst>
          </p:cNvPr>
          <p:cNvSpPr>
            <a:spLocks noGrp="1"/>
          </p:cNvSpPr>
          <p:nvPr>
            <p:ph type="body" sz="quarter" idx="15" hasCustomPrompt="1"/>
          </p:nvPr>
        </p:nvSpPr>
        <p:spPr bwMode="gray">
          <a:xfrm>
            <a:off x="8618538" y="3630386"/>
            <a:ext cx="2340000" cy="1872000"/>
          </a:xfrm>
          <a:solidFill>
            <a:schemeClr val="bg1"/>
          </a:solidFill>
        </p:spPr>
        <p:txBody>
          <a:bodyPr lIns="216000" tIns="144000" rIns="216000" bIns="144000"/>
          <a:lstStyle>
            <a:lvl1pPr marL="0" indent="0">
              <a:spcAft>
                <a:spcPts val="0"/>
              </a:spcAft>
              <a:buNone/>
              <a:defRPr b="0"/>
            </a:lvl1pPr>
          </a:lstStyle>
          <a:p>
            <a:pPr lvl="0"/>
            <a:r>
              <a:rPr lang="en-US"/>
              <a:t>Chapter title</a:t>
            </a:r>
          </a:p>
          <a:p>
            <a:pPr lvl="0"/>
            <a:r>
              <a:rPr lang="en-US"/>
              <a:t>Placeholder</a:t>
            </a:r>
          </a:p>
          <a:p>
            <a:pPr lvl="0"/>
            <a:r>
              <a:rPr lang="en-US"/>
              <a:t>Third line</a:t>
            </a:r>
          </a:p>
        </p:txBody>
      </p:sp>
      <p:sp>
        <p:nvSpPr>
          <p:cNvPr id="23" name="Text Placeholder 22">
            <a:extLst>
              <a:ext uri="{FF2B5EF4-FFF2-40B4-BE49-F238E27FC236}">
                <a16:creationId xmlns:a16="http://schemas.microsoft.com/office/drawing/2014/main" id="{8B0D683F-3864-D1CF-A46B-232B304F7C5E}"/>
              </a:ext>
            </a:extLst>
          </p:cNvPr>
          <p:cNvSpPr>
            <a:spLocks noGrp="1"/>
          </p:cNvSpPr>
          <p:nvPr>
            <p:ph type="body" sz="quarter" idx="16" hasCustomPrompt="1"/>
          </p:nvPr>
        </p:nvSpPr>
        <p:spPr bwMode="gray">
          <a:xfrm>
            <a:off x="1401654" y="4905926"/>
            <a:ext cx="1176706" cy="360850"/>
          </a:xfrm>
          <a:solidFill>
            <a:schemeClr val="accent2"/>
          </a:solidFill>
        </p:spPr>
        <p:txBody>
          <a:bodyPr wrap="none" lIns="108000" tIns="72000" rIns="108000" bIns="72000" anchor="ctr">
            <a:spAutoFit/>
          </a:bodyPr>
          <a:lstStyle>
            <a:lvl1pPr marL="0" indent="0" algn="ctr">
              <a:buNone/>
              <a:defRPr b="1" cap="all" baseline="0">
                <a:solidFill>
                  <a:schemeClr val="bg1"/>
                </a:solidFill>
              </a:defRPr>
            </a:lvl1pPr>
          </a:lstStyle>
          <a:p>
            <a:pPr lvl="0"/>
            <a:r>
              <a:rPr lang="en-US"/>
              <a:t>Chapter 1</a:t>
            </a:r>
          </a:p>
        </p:txBody>
      </p:sp>
      <p:sp>
        <p:nvSpPr>
          <p:cNvPr id="24" name="Text Placeholder 22">
            <a:extLst>
              <a:ext uri="{FF2B5EF4-FFF2-40B4-BE49-F238E27FC236}">
                <a16:creationId xmlns:a16="http://schemas.microsoft.com/office/drawing/2014/main" id="{B08603D7-4ECD-E027-4BF6-9BA21A7C9C6E}"/>
              </a:ext>
            </a:extLst>
          </p:cNvPr>
          <p:cNvSpPr>
            <a:spLocks noGrp="1"/>
          </p:cNvSpPr>
          <p:nvPr>
            <p:ph type="body" sz="quarter" idx="17" hasCustomPrompt="1"/>
          </p:nvPr>
        </p:nvSpPr>
        <p:spPr bwMode="gray">
          <a:xfrm>
            <a:off x="3878154" y="4905926"/>
            <a:ext cx="1176706" cy="360850"/>
          </a:xfrm>
          <a:solidFill>
            <a:schemeClr val="accent2"/>
          </a:solidFill>
        </p:spPr>
        <p:txBody>
          <a:bodyPr wrap="none" lIns="108000" tIns="72000" rIns="108000" bIns="72000" anchor="ctr">
            <a:spAutoFit/>
          </a:bodyPr>
          <a:lstStyle>
            <a:lvl1pPr marL="0" indent="0" algn="ctr">
              <a:buNone/>
              <a:defRPr b="1" cap="all" baseline="0">
                <a:solidFill>
                  <a:schemeClr val="bg1"/>
                </a:solidFill>
              </a:defRPr>
            </a:lvl1pPr>
          </a:lstStyle>
          <a:p>
            <a:pPr lvl="0"/>
            <a:r>
              <a:rPr lang="en-US"/>
              <a:t>Chapter 2</a:t>
            </a:r>
          </a:p>
        </p:txBody>
      </p:sp>
      <p:sp>
        <p:nvSpPr>
          <p:cNvPr id="25" name="Text Placeholder 22">
            <a:extLst>
              <a:ext uri="{FF2B5EF4-FFF2-40B4-BE49-F238E27FC236}">
                <a16:creationId xmlns:a16="http://schemas.microsoft.com/office/drawing/2014/main" id="{5445746D-239C-F4A1-A97C-3AF8E2BA705C}"/>
              </a:ext>
            </a:extLst>
          </p:cNvPr>
          <p:cNvSpPr>
            <a:spLocks noGrp="1"/>
          </p:cNvSpPr>
          <p:nvPr>
            <p:ph type="body" sz="quarter" idx="18" hasCustomPrompt="1"/>
          </p:nvPr>
        </p:nvSpPr>
        <p:spPr bwMode="gray">
          <a:xfrm>
            <a:off x="6354654" y="4905926"/>
            <a:ext cx="1176706" cy="360850"/>
          </a:xfrm>
          <a:solidFill>
            <a:schemeClr val="accent2"/>
          </a:solidFill>
        </p:spPr>
        <p:txBody>
          <a:bodyPr wrap="none" lIns="108000" tIns="72000" rIns="108000" bIns="72000" anchor="ctr">
            <a:spAutoFit/>
          </a:bodyPr>
          <a:lstStyle>
            <a:lvl1pPr marL="0" indent="0" algn="ctr">
              <a:buNone/>
              <a:defRPr b="1" cap="all" baseline="0">
                <a:solidFill>
                  <a:schemeClr val="bg1"/>
                </a:solidFill>
              </a:defRPr>
            </a:lvl1pPr>
          </a:lstStyle>
          <a:p>
            <a:pPr lvl="0"/>
            <a:r>
              <a:rPr lang="en-US"/>
              <a:t>Chapter 3</a:t>
            </a:r>
          </a:p>
        </p:txBody>
      </p:sp>
      <p:sp>
        <p:nvSpPr>
          <p:cNvPr id="26" name="Text Placeholder 22">
            <a:extLst>
              <a:ext uri="{FF2B5EF4-FFF2-40B4-BE49-F238E27FC236}">
                <a16:creationId xmlns:a16="http://schemas.microsoft.com/office/drawing/2014/main" id="{AB140772-9837-E177-41C4-06F402B02DA2}"/>
              </a:ext>
            </a:extLst>
          </p:cNvPr>
          <p:cNvSpPr>
            <a:spLocks noGrp="1"/>
          </p:cNvSpPr>
          <p:nvPr>
            <p:ph type="body" sz="quarter" idx="19" hasCustomPrompt="1"/>
          </p:nvPr>
        </p:nvSpPr>
        <p:spPr bwMode="gray">
          <a:xfrm>
            <a:off x="8831154" y="4905926"/>
            <a:ext cx="1176706" cy="360850"/>
          </a:xfrm>
          <a:solidFill>
            <a:schemeClr val="accent2"/>
          </a:solidFill>
        </p:spPr>
        <p:txBody>
          <a:bodyPr wrap="none" lIns="108000" tIns="72000" rIns="108000" bIns="72000" anchor="ctr">
            <a:spAutoFit/>
          </a:bodyPr>
          <a:lstStyle>
            <a:lvl1pPr marL="0" indent="0" algn="ctr">
              <a:buNone/>
              <a:defRPr b="1" cap="all" baseline="0">
                <a:solidFill>
                  <a:schemeClr val="bg1"/>
                </a:solidFill>
              </a:defRPr>
            </a:lvl1pPr>
          </a:lstStyle>
          <a:p>
            <a:pPr lvl="0"/>
            <a:r>
              <a:rPr lang="en-US"/>
              <a:t>Chapter 4</a:t>
            </a:r>
          </a:p>
        </p:txBody>
      </p:sp>
      <p:sp>
        <p:nvSpPr>
          <p:cNvPr id="27" name="Footer Placeholder 26">
            <a:extLst>
              <a:ext uri="{FF2B5EF4-FFF2-40B4-BE49-F238E27FC236}">
                <a16:creationId xmlns:a16="http://schemas.microsoft.com/office/drawing/2014/main" id="{9D65CB0B-9E70-7B90-E6AE-21AEF33734E4}"/>
              </a:ext>
            </a:extLst>
          </p:cNvPr>
          <p:cNvSpPr>
            <a:spLocks noGrp="1"/>
          </p:cNvSpPr>
          <p:nvPr>
            <p:ph type="ftr" sz="quarter" idx="20"/>
          </p:nvPr>
        </p:nvSpPr>
        <p:spPr bwMode="gray"/>
        <p:txBody>
          <a:bodyPr/>
          <a:lstStyle/>
          <a:p>
            <a:r>
              <a:rPr lang="de-DE"/>
              <a:t>© Copyright Sensirion, Switzerland</a:t>
            </a:r>
          </a:p>
        </p:txBody>
      </p:sp>
      <p:sp>
        <p:nvSpPr>
          <p:cNvPr id="28" name="Slide Number Placeholder 27">
            <a:extLst>
              <a:ext uri="{FF2B5EF4-FFF2-40B4-BE49-F238E27FC236}">
                <a16:creationId xmlns:a16="http://schemas.microsoft.com/office/drawing/2014/main" id="{492DC165-2374-0ED2-FB65-A73A065F463D}"/>
              </a:ext>
            </a:extLst>
          </p:cNvPr>
          <p:cNvSpPr>
            <a:spLocks noGrp="1"/>
          </p:cNvSpPr>
          <p:nvPr>
            <p:ph type="sldNum" sz="quarter" idx="21"/>
          </p:nvPr>
        </p:nvSpPr>
        <p:spPr bwMode="gray"/>
        <p:txBody>
          <a:bodyPr/>
          <a:lstStyle/>
          <a:p>
            <a:fld id="{B1E691A1-F3A6-4574-B226-B412272B38A6}" type="slidenum">
              <a:rPr lang="de-DE" smtClean="0"/>
              <a:pPr/>
              <a:t>‹#›</a:t>
            </a:fld>
            <a:endParaRPr lang="de-DE"/>
          </a:p>
        </p:txBody>
      </p:sp>
      <p:sp>
        <p:nvSpPr>
          <p:cNvPr id="4" name="Textfeld 3">
            <a:extLst>
              <a:ext uri="{FF2B5EF4-FFF2-40B4-BE49-F238E27FC236}">
                <a16:creationId xmlns:a16="http://schemas.microsoft.com/office/drawing/2014/main" id="{939FCACE-9BDD-8052-C056-6D9D8D43E378}"/>
              </a:ext>
            </a:extLst>
          </p:cNvPr>
          <p:cNvSpPr txBox="1">
            <a:spLocks/>
          </p:cNvSpPr>
          <p:nvPr userDrawn="1"/>
        </p:nvSpPr>
        <p:spPr>
          <a:xfrm>
            <a:off x="5691185" y="6310083"/>
            <a:ext cx="809630" cy="153888"/>
          </a:xfrm>
          <a:prstGeom prst="rect">
            <a:avLst/>
          </a:prstGeom>
          <a:noFill/>
        </p:spPr>
        <p:txBody>
          <a:bodyPr wrap="square" lIns="0" tIns="0" rIns="0" bIns="0" rtlCol="0">
            <a:spAutoFit/>
          </a:bodyPr>
          <a:lstStyle/>
          <a:p>
            <a:pPr marL="0" lvl="0" indent="0" algn="ctr" defTabSz="914400" rtl="0" eaLnBrk="1" latinLnBrk="0" hangingPunct="1">
              <a:lnSpc>
                <a:spcPct val="100000"/>
              </a:lnSpc>
              <a:spcBef>
                <a:spcPts val="0"/>
              </a:spcBef>
              <a:spcAft>
                <a:spcPts val="600"/>
              </a:spcAft>
              <a:buClr>
                <a:schemeClr val="accent1"/>
              </a:buClr>
              <a:buFont typeface="Arial" panose="020B0604020202020204" pitchFamily="34" charset="0"/>
              <a:buNone/>
            </a:pPr>
            <a:r>
              <a:rPr lang="en-US" sz="1000" kern="1200">
                <a:solidFill>
                  <a:schemeClr val="accent2"/>
                </a:solidFill>
                <a:latin typeface="+mn-lt"/>
                <a:ea typeface="+mn-ea"/>
                <a:cs typeface="+mn-cs"/>
              </a:rPr>
              <a:t>Confidential</a:t>
            </a:r>
          </a:p>
        </p:txBody>
      </p:sp>
      <p:sp>
        <p:nvSpPr>
          <p:cNvPr id="11" name="Textplatzhalter 8">
            <a:extLst>
              <a:ext uri="{FF2B5EF4-FFF2-40B4-BE49-F238E27FC236}">
                <a16:creationId xmlns:a16="http://schemas.microsoft.com/office/drawing/2014/main" id="{E52A1870-45CF-BBEE-B594-FA64290C3279}"/>
              </a:ext>
            </a:extLst>
          </p:cNvPr>
          <p:cNvSpPr>
            <a:spLocks noGrp="1"/>
          </p:cNvSpPr>
          <p:nvPr>
            <p:ph type="body" sz="quarter" idx="22" hasCustomPrompt="1"/>
          </p:nvPr>
        </p:nvSpPr>
        <p:spPr>
          <a:xfrm>
            <a:off x="1189036" y="1703623"/>
            <a:ext cx="9144000" cy="615553"/>
          </a:xfrm>
        </p:spPr>
        <p:txBody>
          <a:bodyPr>
            <a:spAutoFit/>
          </a:bodyPr>
          <a:lstStyle>
            <a:lvl1pPr marL="0" indent="0">
              <a:spcAft>
                <a:spcPts val="0"/>
              </a:spcAft>
              <a:buNone/>
              <a:defRPr sz="4000"/>
            </a:lvl1pPr>
          </a:lstStyle>
          <a:p>
            <a:pPr lvl="0"/>
            <a:r>
              <a:rPr lang="en-US"/>
              <a:t>Headline</a:t>
            </a:r>
          </a:p>
        </p:txBody>
      </p:sp>
    </p:spTree>
    <p:extLst>
      <p:ext uri="{BB962C8B-B14F-4D97-AF65-F5344CB8AC3E}">
        <p14:creationId xmlns:p14="http://schemas.microsoft.com/office/powerpoint/2010/main" val="1394390255"/>
      </p:ext>
    </p:extLst>
  </p:cSld>
  <p:clrMapOvr>
    <a:masterClrMapping/>
  </p:clrMapOvr>
  <p:extLst>
    <p:ext uri="{DCECCB84-F9BA-43D5-87BE-67443E8EF086}">
      <p15:sldGuideLst xmlns:p15="http://schemas.microsoft.com/office/powerpoint/2012/main">
        <p15:guide id="1" orient="horz" pos="3816">
          <p15:clr>
            <a:srgbClr val="F26B43"/>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 Subtitle">
    <p:spTree>
      <p:nvGrpSpPr>
        <p:cNvPr id="1" name=""/>
        <p:cNvGrpSpPr/>
        <p:nvPr/>
      </p:nvGrpSpPr>
      <p:grpSpPr>
        <a:xfrm>
          <a:off x="0" y="0"/>
          <a:ext cx="0" cy="0"/>
          <a:chOff x="0" y="0"/>
          <a:chExt cx="0" cy="0"/>
        </a:xfrm>
      </p:grpSpPr>
      <p:graphicFrame>
        <p:nvGraphicFramePr>
          <p:cNvPr id="18" name="Objekt 17" hidden="1">
            <a:extLst>
              <a:ext uri="{FF2B5EF4-FFF2-40B4-BE49-F238E27FC236}">
                <a16:creationId xmlns:a16="http://schemas.microsoft.com/office/drawing/2014/main" id="{F05B8204-9FDB-9C14-7435-D448FCDFE6C8}"/>
              </a:ext>
            </a:extLst>
          </p:cNvPr>
          <p:cNvGraphicFramePr>
            <a:graphicFrameLocks noChangeAspect="1"/>
          </p:cNvGraphicFramePr>
          <p:nvPr userDrawn="1">
            <p:custDataLst>
              <p:tags r:id="rId1"/>
            </p:custDataLst>
            <p:extLst>
              <p:ext uri="{D42A27DB-BD31-4B8C-83A1-F6EECF244321}">
                <p14:modId xmlns:p14="http://schemas.microsoft.com/office/powerpoint/2010/main" val="5785589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80" imgH="481" progId="TCLayout.ActiveDocument.1">
                  <p:embed/>
                </p:oleObj>
              </mc:Choice>
              <mc:Fallback>
                <p:oleObj name="think-cell Folie" r:id="rId3" imgW="480" imgH="481" progId="TCLayout.ActiveDocument.1">
                  <p:embed/>
                  <p:pic>
                    <p:nvPicPr>
                      <p:cNvPr id="18" name="Objekt 17" hidden="1">
                        <a:extLst>
                          <a:ext uri="{FF2B5EF4-FFF2-40B4-BE49-F238E27FC236}">
                            <a16:creationId xmlns:a16="http://schemas.microsoft.com/office/drawing/2014/main" id="{F05B8204-9FDB-9C14-7435-D448FCDFE6C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Textplatzhalter 15">
            <a:extLst>
              <a:ext uri="{FF2B5EF4-FFF2-40B4-BE49-F238E27FC236}">
                <a16:creationId xmlns:a16="http://schemas.microsoft.com/office/drawing/2014/main" id="{9949918B-D12D-7BAD-20AE-4F6D7F538C37}"/>
              </a:ext>
            </a:extLst>
          </p:cNvPr>
          <p:cNvSpPr>
            <a:spLocks noGrp="1"/>
          </p:cNvSpPr>
          <p:nvPr>
            <p:ph type="body" sz="quarter" idx="13" hasCustomPrompt="1"/>
          </p:nvPr>
        </p:nvSpPr>
        <p:spPr bwMode="gray">
          <a:xfrm>
            <a:off x="515938" y="921522"/>
            <a:ext cx="11160125" cy="276999"/>
          </a:xfrm>
        </p:spPr>
        <p:txBody>
          <a:bodyPr>
            <a:spAutoFit/>
          </a:bodyPr>
          <a:lstStyle>
            <a:lvl1pPr marL="0" indent="0">
              <a:buNone/>
              <a:defRPr sz="1800"/>
            </a:lvl1pPr>
          </a:lstStyle>
          <a:p>
            <a:pPr lvl="0"/>
            <a:r>
              <a:rPr lang="en-US"/>
              <a:t>Subtitle</a:t>
            </a:r>
          </a:p>
        </p:txBody>
      </p:sp>
      <p:sp>
        <p:nvSpPr>
          <p:cNvPr id="2" name="Title 1">
            <a:extLst>
              <a:ext uri="{FF2B5EF4-FFF2-40B4-BE49-F238E27FC236}">
                <a16:creationId xmlns:a16="http://schemas.microsoft.com/office/drawing/2014/main" id="{2857EDF7-6D11-2BD0-D719-AE9C55860BD0}"/>
              </a:ext>
            </a:extLst>
          </p:cNvPr>
          <p:cNvSpPr>
            <a:spLocks noGrp="1"/>
          </p:cNvSpPr>
          <p:nvPr>
            <p:ph type="title" hasCustomPrompt="1"/>
          </p:nvPr>
        </p:nvSpPr>
        <p:spPr bwMode="gray"/>
        <p:txBody>
          <a:bodyPr vert="horz"/>
          <a:lstStyle/>
          <a:p>
            <a:r>
              <a:rPr lang="en-US"/>
              <a:t>Click to edit title</a:t>
            </a:r>
          </a:p>
        </p:txBody>
      </p:sp>
      <p:sp>
        <p:nvSpPr>
          <p:cNvPr id="5" name="Footer Placeholder 4">
            <a:extLst>
              <a:ext uri="{FF2B5EF4-FFF2-40B4-BE49-F238E27FC236}">
                <a16:creationId xmlns:a16="http://schemas.microsoft.com/office/drawing/2014/main" id="{EE8853C1-9697-12F7-AC00-B3FBDCA5F7FB}"/>
              </a:ext>
            </a:extLst>
          </p:cNvPr>
          <p:cNvSpPr>
            <a:spLocks noGrp="1"/>
          </p:cNvSpPr>
          <p:nvPr>
            <p:ph type="ftr" sz="quarter" idx="15"/>
          </p:nvPr>
        </p:nvSpPr>
        <p:spPr bwMode="gray">
          <a:xfrm>
            <a:off x="1249680" y="6310083"/>
            <a:ext cx="2746800" cy="153888"/>
          </a:xfrm>
        </p:spPr>
        <p:txBody>
          <a:bodyPr/>
          <a:lstStyle/>
          <a:p>
            <a:r>
              <a:rPr lang="de-DE"/>
              <a:t>© Copyright </a:t>
            </a:r>
            <a:r>
              <a:rPr lang="de-DE" err="1"/>
              <a:t>Sensirion</a:t>
            </a:r>
            <a:r>
              <a:rPr lang="de-DE"/>
              <a:t>, </a:t>
            </a:r>
            <a:r>
              <a:rPr lang="de-DE" err="1"/>
              <a:t>Switzerland</a:t>
            </a:r>
            <a:endParaRPr lang="de-DE"/>
          </a:p>
        </p:txBody>
      </p:sp>
      <p:sp>
        <p:nvSpPr>
          <p:cNvPr id="6" name="Slide Number Placeholder 5">
            <a:extLst>
              <a:ext uri="{FF2B5EF4-FFF2-40B4-BE49-F238E27FC236}">
                <a16:creationId xmlns:a16="http://schemas.microsoft.com/office/drawing/2014/main" id="{58261214-1D1D-D6A6-57CA-ABCC75DAE253}"/>
              </a:ext>
            </a:extLst>
          </p:cNvPr>
          <p:cNvSpPr>
            <a:spLocks noGrp="1"/>
          </p:cNvSpPr>
          <p:nvPr>
            <p:ph type="sldNum" sz="quarter" idx="16"/>
          </p:nvPr>
        </p:nvSpPr>
        <p:spPr bwMode="gray"/>
        <p:txBody>
          <a:bodyPr/>
          <a:lstStyle/>
          <a:p>
            <a:fld id="{B1E691A1-F3A6-4574-B226-B412272B38A6}" type="slidenum">
              <a:rPr lang="de-DE" smtClean="0"/>
              <a:pPr/>
              <a:t>‹#›</a:t>
            </a:fld>
            <a:endParaRPr lang="de-DE"/>
          </a:p>
        </p:txBody>
      </p:sp>
      <p:sp>
        <p:nvSpPr>
          <p:cNvPr id="3" name="Textfeld 2">
            <a:extLst>
              <a:ext uri="{FF2B5EF4-FFF2-40B4-BE49-F238E27FC236}">
                <a16:creationId xmlns:a16="http://schemas.microsoft.com/office/drawing/2014/main" id="{C63355AB-FAD5-F43D-E6F6-D41B3E6D9558}"/>
              </a:ext>
            </a:extLst>
          </p:cNvPr>
          <p:cNvSpPr txBox="1">
            <a:spLocks/>
          </p:cNvSpPr>
          <p:nvPr userDrawn="1"/>
        </p:nvSpPr>
        <p:spPr>
          <a:xfrm>
            <a:off x="5691185" y="6310083"/>
            <a:ext cx="809630" cy="153888"/>
          </a:xfrm>
          <a:prstGeom prst="rect">
            <a:avLst/>
          </a:prstGeom>
          <a:noFill/>
        </p:spPr>
        <p:txBody>
          <a:bodyPr wrap="square" lIns="0" tIns="0" rIns="0" bIns="0" rtlCol="0">
            <a:spAutoFit/>
          </a:bodyPr>
          <a:lstStyle/>
          <a:p>
            <a:pPr marL="0" lvl="0" indent="0" algn="ctr" defTabSz="914400" rtl="0" eaLnBrk="1" latinLnBrk="0" hangingPunct="1">
              <a:lnSpc>
                <a:spcPct val="100000"/>
              </a:lnSpc>
              <a:spcBef>
                <a:spcPts val="0"/>
              </a:spcBef>
              <a:spcAft>
                <a:spcPts val="600"/>
              </a:spcAft>
              <a:buClr>
                <a:schemeClr val="accent1"/>
              </a:buClr>
              <a:buFont typeface="Arial" panose="020B0604020202020204" pitchFamily="34" charset="0"/>
              <a:buNone/>
            </a:pPr>
            <a:r>
              <a:rPr lang="en-US" sz="1000" kern="1200">
                <a:solidFill>
                  <a:schemeClr val="accent2"/>
                </a:solidFill>
                <a:latin typeface="+mn-lt"/>
                <a:ea typeface="+mn-ea"/>
                <a:cs typeface="+mn-cs"/>
              </a:rPr>
              <a:t>Confidential</a:t>
            </a:r>
          </a:p>
        </p:txBody>
      </p:sp>
    </p:spTree>
    <p:extLst>
      <p:ext uri="{BB962C8B-B14F-4D97-AF65-F5344CB8AC3E}">
        <p14:creationId xmlns:p14="http://schemas.microsoft.com/office/powerpoint/2010/main" val="2553339533"/>
      </p:ext>
    </p:extLst>
  </p:cSld>
  <p:clrMapOvr>
    <a:masterClrMapping/>
  </p:clrMapOvr>
  <p:extLst>
    <p:ext uri="{DCECCB84-F9BA-43D5-87BE-67443E8EF086}">
      <p15:sldGuideLst xmlns:p15="http://schemas.microsoft.com/office/powerpoint/2012/main">
        <p15:guide id="1" orient="horz" pos="913" userDrawn="1">
          <p15:clr>
            <a:srgbClr val="F26B43"/>
          </p15:clr>
        </p15:guide>
        <p15:guide id="2" orient="horz" pos="754" userDrawn="1">
          <p15:clr>
            <a:srgbClr val="F26B43"/>
          </p15:clr>
        </p15:guide>
        <p15:guide id="3" orient="horz" pos="300" userDrawn="1">
          <p15:clr>
            <a:srgbClr val="F26B43"/>
          </p15:clr>
        </p15:guide>
        <p15:guide id="4" orient="horz" pos="3974" userDrawn="1">
          <p15:clr>
            <a:srgbClr val="F26B43"/>
          </p15:clr>
        </p15:guide>
        <p15:guide id="5" orient="horz" pos="3816" userDrawn="1">
          <p15:clr>
            <a:srgbClr val="F26B43"/>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 Subtitle + Content">
    <p:spTree>
      <p:nvGrpSpPr>
        <p:cNvPr id="1" name=""/>
        <p:cNvGrpSpPr/>
        <p:nvPr/>
      </p:nvGrpSpPr>
      <p:grpSpPr>
        <a:xfrm>
          <a:off x="0" y="0"/>
          <a:ext cx="0" cy="0"/>
          <a:chOff x="0" y="0"/>
          <a:chExt cx="0" cy="0"/>
        </a:xfrm>
      </p:grpSpPr>
      <p:graphicFrame>
        <p:nvGraphicFramePr>
          <p:cNvPr id="18" name="Objekt 17" hidden="1">
            <a:extLst>
              <a:ext uri="{FF2B5EF4-FFF2-40B4-BE49-F238E27FC236}">
                <a16:creationId xmlns:a16="http://schemas.microsoft.com/office/drawing/2014/main" id="{F05B8204-9FDB-9C14-7435-D448FCDFE6C8}"/>
              </a:ext>
            </a:extLst>
          </p:cNvPr>
          <p:cNvGraphicFramePr>
            <a:graphicFrameLocks noChangeAspect="1"/>
          </p:cNvGraphicFramePr>
          <p:nvPr userDrawn="1">
            <p:custDataLst>
              <p:tags r:id="rId1"/>
            </p:custDataLst>
            <p:extLst>
              <p:ext uri="{D42A27DB-BD31-4B8C-83A1-F6EECF244321}">
                <p14:modId xmlns:p14="http://schemas.microsoft.com/office/powerpoint/2010/main" val="21517623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80" imgH="481" progId="TCLayout.ActiveDocument.1">
                  <p:embed/>
                </p:oleObj>
              </mc:Choice>
              <mc:Fallback>
                <p:oleObj name="think-cell Folie" r:id="rId3" imgW="480" imgH="481" progId="TCLayout.ActiveDocument.1">
                  <p:embed/>
                  <p:pic>
                    <p:nvPicPr>
                      <p:cNvPr id="18" name="Objekt 17" hidden="1">
                        <a:extLst>
                          <a:ext uri="{FF2B5EF4-FFF2-40B4-BE49-F238E27FC236}">
                            <a16:creationId xmlns:a16="http://schemas.microsoft.com/office/drawing/2014/main" id="{F05B8204-9FDB-9C14-7435-D448FCDFE6C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Textplatzhalter 15">
            <a:extLst>
              <a:ext uri="{FF2B5EF4-FFF2-40B4-BE49-F238E27FC236}">
                <a16:creationId xmlns:a16="http://schemas.microsoft.com/office/drawing/2014/main" id="{9949918B-D12D-7BAD-20AE-4F6D7F538C37}"/>
              </a:ext>
            </a:extLst>
          </p:cNvPr>
          <p:cNvSpPr>
            <a:spLocks noGrp="1"/>
          </p:cNvSpPr>
          <p:nvPr>
            <p:ph type="body" sz="quarter" idx="13" hasCustomPrompt="1"/>
          </p:nvPr>
        </p:nvSpPr>
        <p:spPr bwMode="gray">
          <a:xfrm>
            <a:off x="515938" y="921522"/>
            <a:ext cx="11160125" cy="276999"/>
          </a:xfrm>
        </p:spPr>
        <p:txBody>
          <a:bodyPr>
            <a:spAutoFit/>
          </a:bodyPr>
          <a:lstStyle>
            <a:lvl1pPr marL="0" indent="0">
              <a:buNone/>
              <a:defRPr sz="1800"/>
            </a:lvl1pPr>
          </a:lstStyle>
          <a:p>
            <a:pPr lvl="0"/>
            <a:r>
              <a:rPr lang="en-US"/>
              <a:t>Subtitle</a:t>
            </a:r>
          </a:p>
        </p:txBody>
      </p:sp>
      <p:sp>
        <p:nvSpPr>
          <p:cNvPr id="5" name="Inhaltsplatzhalter 4">
            <a:extLst>
              <a:ext uri="{FF2B5EF4-FFF2-40B4-BE49-F238E27FC236}">
                <a16:creationId xmlns:a16="http://schemas.microsoft.com/office/drawing/2014/main" id="{6F21486E-9A25-93A1-CBA6-27F7E8AF8E64}"/>
              </a:ext>
            </a:extLst>
          </p:cNvPr>
          <p:cNvSpPr>
            <a:spLocks noGrp="1"/>
          </p:cNvSpPr>
          <p:nvPr>
            <p:ph sz="quarter" idx="15" hasCustomPrompt="1"/>
          </p:nvPr>
        </p:nvSpPr>
        <p:spPr bwMode="gray">
          <a:xfrm>
            <a:off x="515937" y="1449388"/>
            <a:ext cx="11160126" cy="4608512"/>
          </a:xfrm>
        </p:spPr>
        <p:txBody>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US" noProof="0"/>
              <a:t>First level</a:t>
            </a:r>
          </a:p>
          <a:p>
            <a:pPr lvl="1"/>
            <a:r>
              <a:rPr lang="en-US" noProof="0"/>
              <a:t>Second level</a:t>
            </a:r>
          </a:p>
          <a:p>
            <a:pPr lvl="2"/>
            <a:r>
              <a:rPr lang="en-US" noProof="0"/>
              <a:t>Third level</a:t>
            </a:r>
          </a:p>
          <a:p>
            <a:pPr lvl="3"/>
            <a:r>
              <a:rPr lang="en-US" noProof="0"/>
              <a:t>Fourth level</a:t>
            </a:r>
          </a:p>
          <a:p>
            <a:pPr lvl="4"/>
            <a:r>
              <a:rPr lang="en-US" noProof="0"/>
              <a:t>Fifth level</a:t>
            </a:r>
          </a:p>
          <a:p>
            <a:pPr lvl="5"/>
            <a:r>
              <a:rPr lang="en-US" noProof="0"/>
              <a:t>Sixth level</a:t>
            </a:r>
          </a:p>
          <a:p>
            <a:pPr lvl="6"/>
            <a:r>
              <a:rPr lang="en-US" noProof="0"/>
              <a:t>Seventh level</a:t>
            </a:r>
          </a:p>
          <a:p>
            <a:pPr lvl="7"/>
            <a:r>
              <a:rPr lang="en-US" noProof="0"/>
              <a:t>Eighth level</a:t>
            </a:r>
          </a:p>
          <a:p>
            <a:pPr lvl="8"/>
            <a:r>
              <a:rPr lang="en-US" noProof="0"/>
              <a:t>Nineth level</a:t>
            </a:r>
          </a:p>
        </p:txBody>
      </p:sp>
      <p:sp>
        <p:nvSpPr>
          <p:cNvPr id="2" name="Title 1">
            <a:extLst>
              <a:ext uri="{FF2B5EF4-FFF2-40B4-BE49-F238E27FC236}">
                <a16:creationId xmlns:a16="http://schemas.microsoft.com/office/drawing/2014/main" id="{71A2DFB5-48F4-943E-B44B-45DD1B5A924C}"/>
              </a:ext>
            </a:extLst>
          </p:cNvPr>
          <p:cNvSpPr>
            <a:spLocks noGrp="1"/>
          </p:cNvSpPr>
          <p:nvPr>
            <p:ph type="title" hasCustomPrompt="1"/>
          </p:nvPr>
        </p:nvSpPr>
        <p:spPr bwMode="gray"/>
        <p:txBody>
          <a:bodyPr vert="horz"/>
          <a:lstStyle/>
          <a:p>
            <a:r>
              <a:rPr lang="en-US"/>
              <a:t>Click to edit title</a:t>
            </a:r>
          </a:p>
        </p:txBody>
      </p:sp>
      <p:sp>
        <p:nvSpPr>
          <p:cNvPr id="7" name="Footer Placeholder 6">
            <a:extLst>
              <a:ext uri="{FF2B5EF4-FFF2-40B4-BE49-F238E27FC236}">
                <a16:creationId xmlns:a16="http://schemas.microsoft.com/office/drawing/2014/main" id="{8349C354-53FD-5E75-76EC-6C80A35BC397}"/>
              </a:ext>
            </a:extLst>
          </p:cNvPr>
          <p:cNvSpPr>
            <a:spLocks noGrp="1"/>
          </p:cNvSpPr>
          <p:nvPr>
            <p:ph type="ftr" sz="quarter" idx="16"/>
          </p:nvPr>
        </p:nvSpPr>
        <p:spPr bwMode="gray"/>
        <p:txBody>
          <a:bodyPr/>
          <a:lstStyle/>
          <a:p>
            <a:r>
              <a:rPr lang="de-DE"/>
              <a:t>© Copyright Sensirion, Switzerland</a:t>
            </a:r>
          </a:p>
        </p:txBody>
      </p:sp>
      <p:sp>
        <p:nvSpPr>
          <p:cNvPr id="8" name="Slide Number Placeholder 7">
            <a:extLst>
              <a:ext uri="{FF2B5EF4-FFF2-40B4-BE49-F238E27FC236}">
                <a16:creationId xmlns:a16="http://schemas.microsoft.com/office/drawing/2014/main" id="{94705C1F-6CF3-8FF8-4D42-9153C70BF287}"/>
              </a:ext>
            </a:extLst>
          </p:cNvPr>
          <p:cNvSpPr>
            <a:spLocks noGrp="1"/>
          </p:cNvSpPr>
          <p:nvPr>
            <p:ph type="sldNum" sz="quarter" idx="17"/>
          </p:nvPr>
        </p:nvSpPr>
        <p:spPr bwMode="gray"/>
        <p:txBody>
          <a:bodyPr/>
          <a:lstStyle/>
          <a:p>
            <a:fld id="{B1E691A1-F3A6-4574-B226-B412272B38A6}" type="slidenum">
              <a:rPr lang="de-DE" smtClean="0"/>
              <a:pPr/>
              <a:t>‹#›</a:t>
            </a:fld>
            <a:endParaRPr lang="de-DE"/>
          </a:p>
        </p:txBody>
      </p:sp>
      <p:sp>
        <p:nvSpPr>
          <p:cNvPr id="3" name="Textfeld 2">
            <a:extLst>
              <a:ext uri="{FF2B5EF4-FFF2-40B4-BE49-F238E27FC236}">
                <a16:creationId xmlns:a16="http://schemas.microsoft.com/office/drawing/2014/main" id="{64C115DD-6EA6-34AA-FD09-A8081C9328CC}"/>
              </a:ext>
            </a:extLst>
          </p:cNvPr>
          <p:cNvSpPr txBox="1">
            <a:spLocks/>
          </p:cNvSpPr>
          <p:nvPr userDrawn="1"/>
        </p:nvSpPr>
        <p:spPr>
          <a:xfrm>
            <a:off x="5691185" y="6310083"/>
            <a:ext cx="809630" cy="153888"/>
          </a:xfrm>
          <a:prstGeom prst="rect">
            <a:avLst/>
          </a:prstGeom>
          <a:noFill/>
        </p:spPr>
        <p:txBody>
          <a:bodyPr wrap="square" lIns="0" tIns="0" rIns="0" bIns="0" rtlCol="0">
            <a:spAutoFit/>
          </a:bodyPr>
          <a:lstStyle/>
          <a:p>
            <a:pPr marL="0" lvl="0" indent="0" algn="ctr" defTabSz="914400" rtl="0" eaLnBrk="1" latinLnBrk="0" hangingPunct="1">
              <a:lnSpc>
                <a:spcPct val="100000"/>
              </a:lnSpc>
              <a:spcBef>
                <a:spcPts val="0"/>
              </a:spcBef>
              <a:spcAft>
                <a:spcPts val="600"/>
              </a:spcAft>
              <a:buClr>
                <a:schemeClr val="accent1"/>
              </a:buClr>
              <a:buFont typeface="Arial" panose="020B0604020202020204" pitchFamily="34" charset="0"/>
              <a:buNone/>
            </a:pPr>
            <a:r>
              <a:rPr lang="en-US" sz="1000" kern="1200">
                <a:solidFill>
                  <a:schemeClr val="accent2"/>
                </a:solidFill>
                <a:latin typeface="+mn-lt"/>
                <a:ea typeface="+mn-ea"/>
                <a:cs typeface="+mn-cs"/>
              </a:rPr>
              <a:t>Confidential</a:t>
            </a:r>
          </a:p>
        </p:txBody>
      </p:sp>
    </p:spTree>
    <p:extLst>
      <p:ext uri="{BB962C8B-B14F-4D97-AF65-F5344CB8AC3E}">
        <p14:creationId xmlns:p14="http://schemas.microsoft.com/office/powerpoint/2010/main" val="1315337689"/>
      </p:ext>
    </p:extLst>
  </p:cSld>
  <p:clrMapOvr>
    <a:masterClrMapping/>
  </p:clrMapOvr>
  <p:extLst>
    <p:ext uri="{DCECCB84-F9BA-43D5-87BE-67443E8EF086}">
      <p15:sldGuideLst xmlns:p15="http://schemas.microsoft.com/office/powerpoint/2012/main">
        <p15:guide id="1" orient="horz" pos="913" userDrawn="1">
          <p15:clr>
            <a:srgbClr val="F26B43"/>
          </p15:clr>
        </p15:guide>
        <p15:guide id="2" orient="horz" pos="754" userDrawn="1">
          <p15:clr>
            <a:srgbClr val="F26B43"/>
          </p15:clr>
        </p15:guide>
        <p15:guide id="3" orient="horz" pos="300" userDrawn="1">
          <p15:clr>
            <a:srgbClr val="F26B43"/>
          </p15:clr>
        </p15:guide>
        <p15:guide id="4" orient="horz" pos="3974" userDrawn="1">
          <p15:clr>
            <a:srgbClr val="F26B43"/>
          </p15:clr>
        </p15:guide>
        <p15:guide id="5" orient="horz" pos="3816" userDrawn="1">
          <p15:clr>
            <a:srgbClr val="F26B43"/>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 Subtitle + 3x Content">
    <p:spTree>
      <p:nvGrpSpPr>
        <p:cNvPr id="1" name=""/>
        <p:cNvGrpSpPr/>
        <p:nvPr/>
      </p:nvGrpSpPr>
      <p:grpSpPr>
        <a:xfrm>
          <a:off x="0" y="0"/>
          <a:ext cx="0" cy="0"/>
          <a:chOff x="0" y="0"/>
          <a:chExt cx="0" cy="0"/>
        </a:xfrm>
      </p:grpSpPr>
      <p:graphicFrame>
        <p:nvGraphicFramePr>
          <p:cNvPr id="18" name="Objekt 17" hidden="1">
            <a:extLst>
              <a:ext uri="{FF2B5EF4-FFF2-40B4-BE49-F238E27FC236}">
                <a16:creationId xmlns:a16="http://schemas.microsoft.com/office/drawing/2014/main" id="{F05B8204-9FDB-9C14-7435-D448FCDFE6C8}"/>
              </a:ext>
            </a:extLst>
          </p:cNvPr>
          <p:cNvGraphicFramePr>
            <a:graphicFrameLocks noChangeAspect="1"/>
          </p:cNvGraphicFramePr>
          <p:nvPr userDrawn="1">
            <p:custDataLst>
              <p:tags r:id="rId1"/>
            </p:custDataLst>
            <p:extLst>
              <p:ext uri="{D42A27DB-BD31-4B8C-83A1-F6EECF244321}">
                <p14:modId xmlns:p14="http://schemas.microsoft.com/office/powerpoint/2010/main" val="11849981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80" imgH="481" progId="TCLayout.ActiveDocument.1">
                  <p:embed/>
                </p:oleObj>
              </mc:Choice>
              <mc:Fallback>
                <p:oleObj name="think-cell Folie" r:id="rId3" imgW="480" imgH="481" progId="TCLayout.ActiveDocument.1">
                  <p:embed/>
                  <p:pic>
                    <p:nvPicPr>
                      <p:cNvPr id="18" name="Objekt 17" hidden="1">
                        <a:extLst>
                          <a:ext uri="{FF2B5EF4-FFF2-40B4-BE49-F238E27FC236}">
                            <a16:creationId xmlns:a16="http://schemas.microsoft.com/office/drawing/2014/main" id="{F05B8204-9FDB-9C14-7435-D448FCDFE6C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Textplatzhalter 15">
            <a:extLst>
              <a:ext uri="{FF2B5EF4-FFF2-40B4-BE49-F238E27FC236}">
                <a16:creationId xmlns:a16="http://schemas.microsoft.com/office/drawing/2014/main" id="{9949918B-D12D-7BAD-20AE-4F6D7F538C37}"/>
              </a:ext>
            </a:extLst>
          </p:cNvPr>
          <p:cNvSpPr>
            <a:spLocks noGrp="1"/>
          </p:cNvSpPr>
          <p:nvPr>
            <p:ph type="body" sz="quarter" idx="13" hasCustomPrompt="1"/>
          </p:nvPr>
        </p:nvSpPr>
        <p:spPr bwMode="gray">
          <a:xfrm>
            <a:off x="515938" y="921522"/>
            <a:ext cx="11160125" cy="276999"/>
          </a:xfrm>
        </p:spPr>
        <p:txBody>
          <a:bodyPr>
            <a:spAutoFit/>
          </a:bodyPr>
          <a:lstStyle>
            <a:lvl1pPr marL="0" indent="0">
              <a:buNone/>
              <a:defRPr sz="1800"/>
            </a:lvl1pPr>
          </a:lstStyle>
          <a:p>
            <a:pPr lvl="0"/>
            <a:r>
              <a:rPr lang="en-US"/>
              <a:t>Subtitle</a:t>
            </a:r>
          </a:p>
        </p:txBody>
      </p:sp>
      <p:sp>
        <p:nvSpPr>
          <p:cNvPr id="5" name="Inhaltsplatzhalter 4">
            <a:extLst>
              <a:ext uri="{FF2B5EF4-FFF2-40B4-BE49-F238E27FC236}">
                <a16:creationId xmlns:a16="http://schemas.microsoft.com/office/drawing/2014/main" id="{6F21486E-9A25-93A1-CBA6-27F7E8AF8E64}"/>
              </a:ext>
            </a:extLst>
          </p:cNvPr>
          <p:cNvSpPr>
            <a:spLocks noGrp="1"/>
          </p:cNvSpPr>
          <p:nvPr>
            <p:ph sz="quarter" idx="15" hasCustomPrompt="1"/>
          </p:nvPr>
        </p:nvSpPr>
        <p:spPr bwMode="gray">
          <a:xfrm>
            <a:off x="515937" y="1449388"/>
            <a:ext cx="3481200" cy="4608512"/>
          </a:xfrm>
        </p:spPr>
        <p:txBody>
          <a:bodyPr/>
          <a:lstStyle/>
          <a:p>
            <a:pPr lvl="0"/>
            <a:r>
              <a:rPr lang="en-US" noProof="0"/>
              <a:t>First level</a:t>
            </a:r>
          </a:p>
          <a:p>
            <a:pPr lvl="1"/>
            <a:r>
              <a:rPr lang="en-US" noProof="0"/>
              <a:t>Second level</a:t>
            </a:r>
          </a:p>
          <a:p>
            <a:pPr lvl="2"/>
            <a:r>
              <a:rPr lang="en-US" noProof="0"/>
              <a:t>Third level</a:t>
            </a:r>
          </a:p>
          <a:p>
            <a:pPr lvl="3"/>
            <a:r>
              <a:rPr lang="en-US" noProof="0"/>
              <a:t>Fourth level</a:t>
            </a:r>
          </a:p>
          <a:p>
            <a:pPr lvl="4"/>
            <a:r>
              <a:rPr lang="en-US" noProof="0"/>
              <a:t>Fifth level</a:t>
            </a:r>
          </a:p>
          <a:p>
            <a:pPr lvl="5"/>
            <a:r>
              <a:rPr lang="en-US" noProof="0"/>
              <a:t>Sixth level</a:t>
            </a:r>
          </a:p>
          <a:p>
            <a:pPr lvl="6"/>
            <a:r>
              <a:rPr lang="en-US" noProof="0"/>
              <a:t>Seventh level</a:t>
            </a:r>
          </a:p>
          <a:p>
            <a:pPr lvl="7"/>
            <a:r>
              <a:rPr lang="en-US" noProof="0"/>
              <a:t>Eighth level</a:t>
            </a:r>
          </a:p>
          <a:p>
            <a:pPr lvl="8"/>
            <a:r>
              <a:rPr lang="en-US" noProof="0"/>
              <a:t>Nineth level</a:t>
            </a:r>
          </a:p>
        </p:txBody>
      </p:sp>
      <p:sp>
        <p:nvSpPr>
          <p:cNvPr id="2" name="Title 1">
            <a:extLst>
              <a:ext uri="{FF2B5EF4-FFF2-40B4-BE49-F238E27FC236}">
                <a16:creationId xmlns:a16="http://schemas.microsoft.com/office/drawing/2014/main" id="{71A2DFB5-48F4-943E-B44B-45DD1B5A924C}"/>
              </a:ext>
            </a:extLst>
          </p:cNvPr>
          <p:cNvSpPr>
            <a:spLocks noGrp="1"/>
          </p:cNvSpPr>
          <p:nvPr>
            <p:ph type="title" hasCustomPrompt="1"/>
          </p:nvPr>
        </p:nvSpPr>
        <p:spPr bwMode="gray"/>
        <p:txBody>
          <a:bodyPr vert="horz"/>
          <a:lstStyle/>
          <a:p>
            <a:r>
              <a:rPr lang="en-US"/>
              <a:t>Click to edit title</a:t>
            </a:r>
          </a:p>
        </p:txBody>
      </p:sp>
      <p:sp>
        <p:nvSpPr>
          <p:cNvPr id="6" name="Inhaltsplatzhalter 4">
            <a:extLst>
              <a:ext uri="{FF2B5EF4-FFF2-40B4-BE49-F238E27FC236}">
                <a16:creationId xmlns:a16="http://schemas.microsoft.com/office/drawing/2014/main" id="{8F1908BE-39C9-327A-2C04-66DD57487143}"/>
              </a:ext>
            </a:extLst>
          </p:cNvPr>
          <p:cNvSpPr>
            <a:spLocks noGrp="1"/>
          </p:cNvSpPr>
          <p:nvPr>
            <p:ph sz="quarter" idx="16" hasCustomPrompt="1"/>
          </p:nvPr>
        </p:nvSpPr>
        <p:spPr bwMode="gray">
          <a:xfrm>
            <a:off x="4355400" y="1449388"/>
            <a:ext cx="3481200" cy="4608512"/>
          </a:xfrm>
        </p:spPr>
        <p:txBody>
          <a:bodyPr/>
          <a:lstStyle/>
          <a:p>
            <a:pPr lvl="0"/>
            <a:r>
              <a:rPr lang="en-US" noProof="0"/>
              <a:t>First level</a:t>
            </a:r>
          </a:p>
          <a:p>
            <a:pPr lvl="1"/>
            <a:r>
              <a:rPr lang="en-US" noProof="0"/>
              <a:t>Second level</a:t>
            </a:r>
          </a:p>
          <a:p>
            <a:pPr lvl="2"/>
            <a:r>
              <a:rPr lang="en-US" noProof="0"/>
              <a:t>Third level</a:t>
            </a:r>
          </a:p>
          <a:p>
            <a:pPr lvl="3"/>
            <a:r>
              <a:rPr lang="en-US" noProof="0"/>
              <a:t>Fourth level</a:t>
            </a:r>
          </a:p>
          <a:p>
            <a:pPr lvl="4"/>
            <a:r>
              <a:rPr lang="en-US" noProof="0"/>
              <a:t>Fifth level</a:t>
            </a:r>
          </a:p>
          <a:p>
            <a:pPr lvl="5"/>
            <a:r>
              <a:rPr lang="en-US" noProof="0"/>
              <a:t>Sixth level</a:t>
            </a:r>
          </a:p>
          <a:p>
            <a:pPr lvl="6"/>
            <a:r>
              <a:rPr lang="en-US" noProof="0"/>
              <a:t>Seventh level</a:t>
            </a:r>
          </a:p>
          <a:p>
            <a:pPr lvl="7"/>
            <a:r>
              <a:rPr lang="en-US" noProof="0"/>
              <a:t>Eighth level</a:t>
            </a:r>
          </a:p>
          <a:p>
            <a:pPr lvl="8"/>
            <a:r>
              <a:rPr lang="en-US" noProof="0"/>
              <a:t>Nineth level</a:t>
            </a:r>
          </a:p>
        </p:txBody>
      </p:sp>
      <p:sp>
        <p:nvSpPr>
          <p:cNvPr id="7" name="Inhaltsplatzhalter 4">
            <a:extLst>
              <a:ext uri="{FF2B5EF4-FFF2-40B4-BE49-F238E27FC236}">
                <a16:creationId xmlns:a16="http://schemas.microsoft.com/office/drawing/2014/main" id="{5AC1E2D8-EBA5-8468-C828-FB753DBBC50D}"/>
              </a:ext>
            </a:extLst>
          </p:cNvPr>
          <p:cNvSpPr>
            <a:spLocks noGrp="1"/>
          </p:cNvSpPr>
          <p:nvPr>
            <p:ph sz="quarter" idx="17" hasCustomPrompt="1"/>
          </p:nvPr>
        </p:nvSpPr>
        <p:spPr bwMode="gray">
          <a:xfrm>
            <a:off x="8194862" y="1449388"/>
            <a:ext cx="3481200" cy="4608512"/>
          </a:xfrm>
        </p:spPr>
        <p:txBody>
          <a:bodyPr/>
          <a:lstStyle/>
          <a:p>
            <a:pPr lvl="0"/>
            <a:r>
              <a:rPr lang="en-US" noProof="0"/>
              <a:t>First level</a:t>
            </a:r>
          </a:p>
          <a:p>
            <a:pPr lvl="1"/>
            <a:r>
              <a:rPr lang="en-US" noProof="0"/>
              <a:t>Second level</a:t>
            </a:r>
          </a:p>
          <a:p>
            <a:pPr lvl="2"/>
            <a:r>
              <a:rPr lang="en-US" noProof="0"/>
              <a:t>Third level</a:t>
            </a:r>
          </a:p>
          <a:p>
            <a:pPr lvl="3"/>
            <a:r>
              <a:rPr lang="en-US" noProof="0"/>
              <a:t>Fourth level</a:t>
            </a:r>
          </a:p>
          <a:p>
            <a:pPr lvl="4"/>
            <a:r>
              <a:rPr lang="en-US" noProof="0"/>
              <a:t>Fifth level</a:t>
            </a:r>
          </a:p>
          <a:p>
            <a:pPr lvl="5"/>
            <a:r>
              <a:rPr lang="en-US" noProof="0"/>
              <a:t>Sixth level</a:t>
            </a:r>
          </a:p>
          <a:p>
            <a:pPr lvl="6"/>
            <a:r>
              <a:rPr lang="en-US" noProof="0"/>
              <a:t>Seventh level</a:t>
            </a:r>
          </a:p>
          <a:p>
            <a:pPr lvl="7"/>
            <a:r>
              <a:rPr lang="en-US" noProof="0"/>
              <a:t>Eighth level</a:t>
            </a:r>
          </a:p>
          <a:p>
            <a:pPr lvl="8"/>
            <a:r>
              <a:rPr lang="en-US" noProof="0"/>
              <a:t>Nineth level</a:t>
            </a:r>
          </a:p>
        </p:txBody>
      </p:sp>
      <p:sp>
        <p:nvSpPr>
          <p:cNvPr id="9" name="Footer Placeholder 8">
            <a:extLst>
              <a:ext uri="{FF2B5EF4-FFF2-40B4-BE49-F238E27FC236}">
                <a16:creationId xmlns:a16="http://schemas.microsoft.com/office/drawing/2014/main" id="{156C2395-551D-A17B-2A91-4067A45F0585}"/>
              </a:ext>
            </a:extLst>
          </p:cNvPr>
          <p:cNvSpPr>
            <a:spLocks noGrp="1"/>
          </p:cNvSpPr>
          <p:nvPr>
            <p:ph type="ftr" sz="quarter" idx="18"/>
          </p:nvPr>
        </p:nvSpPr>
        <p:spPr bwMode="gray"/>
        <p:txBody>
          <a:bodyPr/>
          <a:lstStyle/>
          <a:p>
            <a:r>
              <a:rPr lang="de-DE"/>
              <a:t>© Copyright Sensirion, Switzerland</a:t>
            </a:r>
          </a:p>
        </p:txBody>
      </p:sp>
      <p:sp>
        <p:nvSpPr>
          <p:cNvPr id="10" name="Slide Number Placeholder 9">
            <a:extLst>
              <a:ext uri="{FF2B5EF4-FFF2-40B4-BE49-F238E27FC236}">
                <a16:creationId xmlns:a16="http://schemas.microsoft.com/office/drawing/2014/main" id="{D0C6D6FD-9E5E-2C8E-2B4D-E4F3E2288486}"/>
              </a:ext>
            </a:extLst>
          </p:cNvPr>
          <p:cNvSpPr>
            <a:spLocks noGrp="1"/>
          </p:cNvSpPr>
          <p:nvPr>
            <p:ph type="sldNum" sz="quarter" idx="19"/>
          </p:nvPr>
        </p:nvSpPr>
        <p:spPr bwMode="gray"/>
        <p:txBody>
          <a:bodyPr/>
          <a:lstStyle/>
          <a:p>
            <a:fld id="{B1E691A1-F3A6-4574-B226-B412272B38A6}" type="slidenum">
              <a:rPr lang="de-DE" smtClean="0"/>
              <a:pPr/>
              <a:t>‹#›</a:t>
            </a:fld>
            <a:endParaRPr lang="de-DE"/>
          </a:p>
        </p:txBody>
      </p:sp>
      <p:sp>
        <p:nvSpPr>
          <p:cNvPr id="3" name="Textfeld 2">
            <a:extLst>
              <a:ext uri="{FF2B5EF4-FFF2-40B4-BE49-F238E27FC236}">
                <a16:creationId xmlns:a16="http://schemas.microsoft.com/office/drawing/2014/main" id="{1523A57E-EC4E-CE7A-1491-2B3B7FFA66A6}"/>
              </a:ext>
            </a:extLst>
          </p:cNvPr>
          <p:cNvSpPr txBox="1">
            <a:spLocks/>
          </p:cNvSpPr>
          <p:nvPr userDrawn="1"/>
        </p:nvSpPr>
        <p:spPr>
          <a:xfrm>
            <a:off x="5691185" y="6310083"/>
            <a:ext cx="809630" cy="153888"/>
          </a:xfrm>
          <a:prstGeom prst="rect">
            <a:avLst/>
          </a:prstGeom>
          <a:noFill/>
        </p:spPr>
        <p:txBody>
          <a:bodyPr wrap="square" lIns="0" tIns="0" rIns="0" bIns="0" rtlCol="0">
            <a:spAutoFit/>
          </a:bodyPr>
          <a:lstStyle/>
          <a:p>
            <a:pPr marL="0" lvl="0" indent="0" algn="ctr" defTabSz="914400" rtl="0" eaLnBrk="1" latinLnBrk="0" hangingPunct="1">
              <a:lnSpc>
                <a:spcPct val="100000"/>
              </a:lnSpc>
              <a:spcBef>
                <a:spcPts val="0"/>
              </a:spcBef>
              <a:spcAft>
                <a:spcPts val="600"/>
              </a:spcAft>
              <a:buClr>
                <a:schemeClr val="accent1"/>
              </a:buClr>
              <a:buFont typeface="Arial" panose="020B0604020202020204" pitchFamily="34" charset="0"/>
              <a:buNone/>
            </a:pPr>
            <a:r>
              <a:rPr lang="en-US" sz="1000" kern="1200">
                <a:solidFill>
                  <a:schemeClr val="accent2"/>
                </a:solidFill>
                <a:latin typeface="+mn-lt"/>
                <a:ea typeface="+mn-ea"/>
                <a:cs typeface="+mn-cs"/>
              </a:rPr>
              <a:t>Confidential</a:t>
            </a:r>
          </a:p>
        </p:txBody>
      </p:sp>
    </p:spTree>
    <p:extLst>
      <p:ext uri="{BB962C8B-B14F-4D97-AF65-F5344CB8AC3E}">
        <p14:creationId xmlns:p14="http://schemas.microsoft.com/office/powerpoint/2010/main" val="3365147904"/>
      </p:ext>
    </p:extLst>
  </p:cSld>
  <p:clrMapOvr>
    <a:masterClrMapping/>
  </p:clrMapOvr>
  <p:extLst>
    <p:ext uri="{DCECCB84-F9BA-43D5-87BE-67443E8EF086}">
      <p15:sldGuideLst xmlns:p15="http://schemas.microsoft.com/office/powerpoint/2012/main">
        <p15:guide id="1" orient="horz" pos="913" userDrawn="1">
          <p15:clr>
            <a:srgbClr val="F26B43"/>
          </p15:clr>
        </p15:guide>
        <p15:guide id="2" orient="horz" pos="754" userDrawn="1">
          <p15:clr>
            <a:srgbClr val="F26B43"/>
          </p15:clr>
        </p15:guide>
        <p15:guide id="3" orient="horz" pos="300" userDrawn="1">
          <p15:clr>
            <a:srgbClr val="F26B43"/>
          </p15:clr>
        </p15:guide>
        <p15:guide id="5" orient="horz" pos="3816" userDrawn="1">
          <p15:clr>
            <a:srgbClr val="F26B43"/>
          </p15:clr>
        </p15:guide>
        <p15:guide id="6" pos="2519" userDrawn="1">
          <p15:clr>
            <a:srgbClr val="F26B43"/>
          </p15:clr>
        </p15:guide>
        <p15:guide id="7" pos="2744" userDrawn="1">
          <p15:clr>
            <a:srgbClr val="F26B43"/>
          </p15:clr>
        </p15:guide>
        <p15:guide id="8" pos="4937" userDrawn="1">
          <p15:clr>
            <a:srgbClr val="F26B43"/>
          </p15:clr>
        </p15:guide>
        <p15:guide id="9" pos="5160" userDrawn="1">
          <p15:clr>
            <a:srgbClr val="F26B43"/>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 Subtitle + 6 boxes">
    <p:spTree>
      <p:nvGrpSpPr>
        <p:cNvPr id="1" name=""/>
        <p:cNvGrpSpPr/>
        <p:nvPr/>
      </p:nvGrpSpPr>
      <p:grpSpPr>
        <a:xfrm>
          <a:off x="0" y="0"/>
          <a:ext cx="0" cy="0"/>
          <a:chOff x="0" y="0"/>
          <a:chExt cx="0" cy="0"/>
        </a:xfrm>
      </p:grpSpPr>
      <p:sp>
        <p:nvSpPr>
          <p:cNvPr id="14" name="Text Placeholder 13">
            <a:extLst>
              <a:ext uri="{FF2B5EF4-FFF2-40B4-BE49-F238E27FC236}">
                <a16:creationId xmlns:a16="http://schemas.microsoft.com/office/drawing/2014/main" id="{49E8E17E-26E4-A3D6-87C5-AFB07C98EC5F}"/>
              </a:ext>
            </a:extLst>
          </p:cNvPr>
          <p:cNvSpPr>
            <a:spLocks noGrp="1"/>
          </p:cNvSpPr>
          <p:nvPr>
            <p:ph type="body" sz="quarter" idx="23" hasCustomPrompt="1"/>
          </p:nvPr>
        </p:nvSpPr>
        <p:spPr bwMode="gray">
          <a:xfrm>
            <a:off x="515937" y="1449388"/>
            <a:ext cx="3482976" cy="2126715"/>
          </a:xfrm>
          <a:solidFill>
            <a:schemeClr val="bg2"/>
          </a:solidFill>
        </p:spPr>
        <p:txBody>
          <a:bodyPr anchor="ctr"/>
          <a:lstStyle>
            <a:lvl1pPr marL="0" indent="0" algn="ctr">
              <a:buNone/>
              <a:defRPr sz="1600" b="0"/>
            </a:lvl1pPr>
          </a:lstStyle>
          <a:p>
            <a:pPr lvl="0"/>
            <a:r>
              <a:rPr lang="en-US"/>
              <a:t>Please insert text here.</a:t>
            </a:r>
          </a:p>
        </p:txBody>
      </p:sp>
      <p:graphicFrame>
        <p:nvGraphicFramePr>
          <p:cNvPr id="18" name="Objekt 17" hidden="1">
            <a:extLst>
              <a:ext uri="{FF2B5EF4-FFF2-40B4-BE49-F238E27FC236}">
                <a16:creationId xmlns:a16="http://schemas.microsoft.com/office/drawing/2014/main" id="{F05B8204-9FDB-9C14-7435-D448FCDFE6C8}"/>
              </a:ext>
            </a:extLst>
          </p:cNvPr>
          <p:cNvGraphicFramePr>
            <a:graphicFrameLocks noChangeAspect="1"/>
          </p:cNvGraphicFramePr>
          <p:nvPr userDrawn="1">
            <p:custDataLst>
              <p:tags r:id="rId1"/>
            </p:custDataLst>
            <p:extLst>
              <p:ext uri="{D42A27DB-BD31-4B8C-83A1-F6EECF244321}">
                <p14:modId xmlns:p14="http://schemas.microsoft.com/office/powerpoint/2010/main" val="33528582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80" imgH="481" progId="TCLayout.ActiveDocument.1">
                  <p:embed/>
                </p:oleObj>
              </mc:Choice>
              <mc:Fallback>
                <p:oleObj name="think-cell Folie" r:id="rId3" imgW="480" imgH="481" progId="TCLayout.ActiveDocument.1">
                  <p:embed/>
                  <p:pic>
                    <p:nvPicPr>
                      <p:cNvPr id="18" name="Objekt 17" hidden="1">
                        <a:extLst>
                          <a:ext uri="{FF2B5EF4-FFF2-40B4-BE49-F238E27FC236}">
                            <a16:creationId xmlns:a16="http://schemas.microsoft.com/office/drawing/2014/main" id="{F05B8204-9FDB-9C14-7435-D448FCDFE6C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Textplatzhalter 15">
            <a:extLst>
              <a:ext uri="{FF2B5EF4-FFF2-40B4-BE49-F238E27FC236}">
                <a16:creationId xmlns:a16="http://schemas.microsoft.com/office/drawing/2014/main" id="{9949918B-D12D-7BAD-20AE-4F6D7F538C37}"/>
              </a:ext>
            </a:extLst>
          </p:cNvPr>
          <p:cNvSpPr>
            <a:spLocks noGrp="1"/>
          </p:cNvSpPr>
          <p:nvPr>
            <p:ph type="body" sz="quarter" idx="13" hasCustomPrompt="1"/>
          </p:nvPr>
        </p:nvSpPr>
        <p:spPr bwMode="gray">
          <a:xfrm>
            <a:off x="515938" y="921522"/>
            <a:ext cx="11160125" cy="276999"/>
          </a:xfrm>
        </p:spPr>
        <p:txBody>
          <a:bodyPr>
            <a:spAutoFit/>
          </a:bodyPr>
          <a:lstStyle>
            <a:lvl1pPr marL="0" indent="0">
              <a:buNone/>
              <a:defRPr sz="1800"/>
            </a:lvl1pPr>
          </a:lstStyle>
          <a:p>
            <a:pPr lvl="0"/>
            <a:r>
              <a:rPr lang="en-US"/>
              <a:t>Subtitle</a:t>
            </a:r>
          </a:p>
        </p:txBody>
      </p:sp>
      <p:sp>
        <p:nvSpPr>
          <p:cNvPr id="2" name="Title 1">
            <a:extLst>
              <a:ext uri="{FF2B5EF4-FFF2-40B4-BE49-F238E27FC236}">
                <a16:creationId xmlns:a16="http://schemas.microsoft.com/office/drawing/2014/main" id="{71A2DFB5-48F4-943E-B44B-45DD1B5A924C}"/>
              </a:ext>
            </a:extLst>
          </p:cNvPr>
          <p:cNvSpPr>
            <a:spLocks noGrp="1"/>
          </p:cNvSpPr>
          <p:nvPr>
            <p:ph type="title" hasCustomPrompt="1"/>
          </p:nvPr>
        </p:nvSpPr>
        <p:spPr bwMode="gray"/>
        <p:txBody>
          <a:bodyPr vert="horz"/>
          <a:lstStyle/>
          <a:p>
            <a:r>
              <a:rPr lang="en-US"/>
              <a:t>Click to edit title</a:t>
            </a:r>
          </a:p>
        </p:txBody>
      </p:sp>
      <p:sp>
        <p:nvSpPr>
          <p:cNvPr id="9" name="Footer Placeholder 8">
            <a:extLst>
              <a:ext uri="{FF2B5EF4-FFF2-40B4-BE49-F238E27FC236}">
                <a16:creationId xmlns:a16="http://schemas.microsoft.com/office/drawing/2014/main" id="{156C2395-551D-A17B-2A91-4067A45F0585}"/>
              </a:ext>
            </a:extLst>
          </p:cNvPr>
          <p:cNvSpPr>
            <a:spLocks noGrp="1"/>
          </p:cNvSpPr>
          <p:nvPr>
            <p:ph type="ftr" sz="quarter" idx="18"/>
          </p:nvPr>
        </p:nvSpPr>
        <p:spPr bwMode="gray"/>
        <p:txBody>
          <a:bodyPr/>
          <a:lstStyle/>
          <a:p>
            <a:r>
              <a:rPr lang="de-DE"/>
              <a:t>© Copyright Sensirion, Switzerland</a:t>
            </a:r>
          </a:p>
        </p:txBody>
      </p:sp>
      <p:sp>
        <p:nvSpPr>
          <p:cNvPr id="10" name="Slide Number Placeholder 9">
            <a:extLst>
              <a:ext uri="{FF2B5EF4-FFF2-40B4-BE49-F238E27FC236}">
                <a16:creationId xmlns:a16="http://schemas.microsoft.com/office/drawing/2014/main" id="{D0C6D6FD-9E5E-2C8E-2B4D-E4F3E2288486}"/>
              </a:ext>
            </a:extLst>
          </p:cNvPr>
          <p:cNvSpPr>
            <a:spLocks noGrp="1"/>
          </p:cNvSpPr>
          <p:nvPr>
            <p:ph type="sldNum" sz="quarter" idx="19"/>
          </p:nvPr>
        </p:nvSpPr>
        <p:spPr bwMode="gray"/>
        <p:txBody>
          <a:bodyPr/>
          <a:lstStyle/>
          <a:p>
            <a:fld id="{B1E691A1-F3A6-4574-B226-B412272B38A6}" type="slidenum">
              <a:rPr lang="de-DE" smtClean="0"/>
              <a:pPr/>
              <a:t>‹#›</a:t>
            </a:fld>
            <a:endParaRPr lang="de-DE"/>
          </a:p>
        </p:txBody>
      </p:sp>
      <p:sp>
        <p:nvSpPr>
          <p:cNvPr id="15" name="Text Placeholder 13">
            <a:extLst>
              <a:ext uri="{FF2B5EF4-FFF2-40B4-BE49-F238E27FC236}">
                <a16:creationId xmlns:a16="http://schemas.microsoft.com/office/drawing/2014/main" id="{5308B52D-65E6-1464-379E-C8CF0122CCD6}"/>
              </a:ext>
            </a:extLst>
          </p:cNvPr>
          <p:cNvSpPr>
            <a:spLocks noGrp="1"/>
          </p:cNvSpPr>
          <p:nvPr>
            <p:ph type="body" sz="quarter" idx="24" hasCustomPrompt="1"/>
          </p:nvPr>
        </p:nvSpPr>
        <p:spPr bwMode="gray">
          <a:xfrm>
            <a:off x="4355400" y="1449388"/>
            <a:ext cx="3482976" cy="2126715"/>
          </a:xfrm>
          <a:solidFill>
            <a:schemeClr val="bg2"/>
          </a:solidFill>
        </p:spPr>
        <p:txBody>
          <a:bodyPr anchor="ctr"/>
          <a:lstStyle>
            <a:lvl1pPr marL="0" indent="0" algn="ctr">
              <a:buNone/>
              <a:defRPr sz="1600" b="0"/>
            </a:lvl1pPr>
          </a:lstStyle>
          <a:p>
            <a:pPr lvl="0"/>
            <a:r>
              <a:rPr lang="en-US"/>
              <a:t>Please insert text here.</a:t>
            </a:r>
          </a:p>
        </p:txBody>
      </p:sp>
      <p:sp>
        <p:nvSpPr>
          <p:cNvPr id="17" name="Text Placeholder 13">
            <a:extLst>
              <a:ext uri="{FF2B5EF4-FFF2-40B4-BE49-F238E27FC236}">
                <a16:creationId xmlns:a16="http://schemas.microsoft.com/office/drawing/2014/main" id="{2629594C-3B97-746E-C8B2-909437FE0A2E}"/>
              </a:ext>
            </a:extLst>
          </p:cNvPr>
          <p:cNvSpPr>
            <a:spLocks noGrp="1"/>
          </p:cNvSpPr>
          <p:nvPr>
            <p:ph type="body" sz="quarter" idx="25" hasCustomPrompt="1"/>
          </p:nvPr>
        </p:nvSpPr>
        <p:spPr bwMode="gray">
          <a:xfrm>
            <a:off x="8194862" y="1449388"/>
            <a:ext cx="3482976" cy="2126715"/>
          </a:xfrm>
          <a:solidFill>
            <a:schemeClr val="bg2"/>
          </a:solidFill>
        </p:spPr>
        <p:txBody>
          <a:bodyPr anchor="ctr"/>
          <a:lstStyle>
            <a:lvl1pPr marL="0" indent="0" algn="ctr">
              <a:buNone/>
              <a:defRPr sz="1600" b="0"/>
            </a:lvl1pPr>
          </a:lstStyle>
          <a:p>
            <a:pPr lvl="0"/>
            <a:r>
              <a:rPr lang="en-US"/>
              <a:t>Please insert text here.</a:t>
            </a:r>
          </a:p>
        </p:txBody>
      </p:sp>
      <p:sp>
        <p:nvSpPr>
          <p:cNvPr id="19" name="Text Placeholder 13">
            <a:extLst>
              <a:ext uri="{FF2B5EF4-FFF2-40B4-BE49-F238E27FC236}">
                <a16:creationId xmlns:a16="http://schemas.microsoft.com/office/drawing/2014/main" id="{A82E4A71-EAC5-941D-0166-198F720BA3DA}"/>
              </a:ext>
            </a:extLst>
          </p:cNvPr>
          <p:cNvSpPr>
            <a:spLocks noGrp="1"/>
          </p:cNvSpPr>
          <p:nvPr>
            <p:ph type="body" sz="quarter" idx="26" hasCustomPrompt="1"/>
          </p:nvPr>
        </p:nvSpPr>
        <p:spPr bwMode="gray">
          <a:xfrm>
            <a:off x="515937" y="3932501"/>
            <a:ext cx="3482976" cy="2126715"/>
          </a:xfrm>
          <a:solidFill>
            <a:schemeClr val="bg2"/>
          </a:solidFill>
        </p:spPr>
        <p:txBody>
          <a:bodyPr anchor="ctr"/>
          <a:lstStyle>
            <a:lvl1pPr marL="0" indent="0" algn="ctr">
              <a:buNone/>
              <a:defRPr sz="1600" b="0"/>
            </a:lvl1pPr>
          </a:lstStyle>
          <a:p>
            <a:pPr lvl="0"/>
            <a:r>
              <a:rPr lang="en-US"/>
              <a:t>Please insert text here.</a:t>
            </a:r>
          </a:p>
        </p:txBody>
      </p:sp>
      <p:sp>
        <p:nvSpPr>
          <p:cNvPr id="20" name="Text Placeholder 13">
            <a:extLst>
              <a:ext uri="{FF2B5EF4-FFF2-40B4-BE49-F238E27FC236}">
                <a16:creationId xmlns:a16="http://schemas.microsoft.com/office/drawing/2014/main" id="{A3825208-F370-3CE7-BDB5-3EF611DDDE62}"/>
              </a:ext>
            </a:extLst>
          </p:cNvPr>
          <p:cNvSpPr>
            <a:spLocks noGrp="1"/>
          </p:cNvSpPr>
          <p:nvPr>
            <p:ph type="body" sz="quarter" idx="27" hasCustomPrompt="1"/>
          </p:nvPr>
        </p:nvSpPr>
        <p:spPr bwMode="gray">
          <a:xfrm>
            <a:off x="4355400" y="3932501"/>
            <a:ext cx="3482976" cy="2126715"/>
          </a:xfrm>
          <a:solidFill>
            <a:schemeClr val="bg2"/>
          </a:solidFill>
        </p:spPr>
        <p:txBody>
          <a:bodyPr anchor="ctr"/>
          <a:lstStyle>
            <a:lvl1pPr marL="0" indent="0" algn="ctr">
              <a:buNone/>
              <a:defRPr sz="1600" b="0"/>
            </a:lvl1pPr>
          </a:lstStyle>
          <a:p>
            <a:pPr lvl="0"/>
            <a:r>
              <a:rPr lang="en-US"/>
              <a:t>Please insert text here.</a:t>
            </a:r>
          </a:p>
        </p:txBody>
      </p:sp>
      <p:sp>
        <p:nvSpPr>
          <p:cNvPr id="21" name="Text Placeholder 13">
            <a:extLst>
              <a:ext uri="{FF2B5EF4-FFF2-40B4-BE49-F238E27FC236}">
                <a16:creationId xmlns:a16="http://schemas.microsoft.com/office/drawing/2014/main" id="{D26EACE3-3CB7-3CF8-8D76-628CF8F4A601}"/>
              </a:ext>
            </a:extLst>
          </p:cNvPr>
          <p:cNvSpPr>
            <a:spLocks noGrp="1"/>
          </p:cNvSpPr>
          <p:nvPr>
            <p:ph type="body" sz="quarter" idx="28" hasCustomPrompt="1"/>
          </p:nvPr>
        </p:nvSpPr>
        <p:spPr bwMode="gray">
          <a:xfrm>
            <a:off x="8194862" y="3932501"/>
            <a:ext cx="3482976" cy="2126715"/>
          </a:xfrm>
          <a:solidFill>
            <a:schemeClr val="bg2"/>
          </a:solidFill>
        </p:spPr>
        <p:txBody>
          <a:bodyPr anchor="ctr"/>
          <a:lstStyle>
            <a:lvl1pPr marL="0" indent="0" algn="ctr">
              <a:buNone/>
              <a:defRPr sz="1600" b="0"/>
            </a:lvl1pPr>
          </a:lstStyle>
          <a:p>
            <a:pPr lvl="0"/>
            <a:r>
              <a:rPr lang="en-US"/>
              <a:t>Please insert text here.</a:t>
            </a:r>
          </a:p>
        </p:txBody>
      </p:sp>
      <p:sp>
        <p:nvSpPr>
          <p:cNvPr id="3" name="Textfeld 2">
            <a:extLst>
              <a:ext uri="{FF2B5EF4-FFF2-40B4-BE49-F238E27FC236}">
                <a16:creationId xmlns:a16="http://schemas.microsoft.com/office/drawing/2014/main" id="{140B66FC-1B01-85BA-CC2D-5A34D3877441}"/>
              </a:ext>
            </a:extLst>
          </p:cNvPr>
          <p:cNvSpPr txBox="1">
            <a:spLocks/>
          </p:cNvSpPr>
          <p:nvPr userDrawn="1"/>
        </p:nvSpPr>
        <p:spPr>
          <a:xfrm>
            <a:off x="5691185" y="6310083"/>
            <a:ext cx="809630" cy="153888"/>
          </a:xfrm>
          <a:prstGeom prst="rect">
            <a:avLst/>
          </a:prstGeom>
          <a:noFill/>
        </p:spPr>
        <p:txBody>
          <a:bodyPr wrap="square" lIns="0" tIns="0" rIns="0" bIns="0" rtlCol="0">
            <a:spAutoFit/>
          </a:bodyPr>
          <a:lstStyle/>
          <a:p>
            <a:pPr marL="0" lvl="0" indent="0" algn="ctr" defTabSz="914400" rtl="0" eaLnBrk="1" latinLnBrk="0" hangingPunct="1">
              <a:lnSpc>
                <a:spcPct val="100000"/>
              </a:lnSpc>
              <a:spcBef>
                <a:spcPts val="0"/>
              </a:spcBef>
              <a:spcAft>
                <a:spcPts val="600"/>
              </a:spcAft>
              <a:buClr>
                <a:schemeClr val="accent1"/>
              </a:buClr>
              <a:buFont typeface="Arial" panose="020B0604020202020204" pitchFamily="34" charset="0"/>
              <a:buNone/>
            </a:pPr>
            <a:r>
              <a:rPr lang="en-US" sz="1000" kern="1200">
                <a:solidFill>
                  <a:schemeClr val="accent2"/>
                </a:solidFill>
                <a:latin typeface="+mn-lt"/>
                <a:ea typeface="+mn-ea"/>
                <a:cs typeface="+mn-cs"/>
              </a:rPr>
              <a:t>Confidential</a:t>
            </a:r>
          </a:p>
        </p:txBody>
      </p:sp>
    </p:spTree>
    <p:extLst>
      <p:ext uri="{BB962C8B-B14F-4D97-AF65-F5344CB8AC3E}">
        <p14:creationId xmlns:p14="http://schemas.microsoft.com/office/powerpoint/2010/main" val="2678304372"/>
      </p:ext>
    </p:extLst>
  </p:cSld>
  <p:clrMapOvr>
    <a:masterClrMapping/>
  </p:clrMapOvr>
  <p:extLst>
    <p:ext uri="{DCECCB84-F9BA-43D5-87BE-67443E8EF086}">
      <p15:sldGuideLst xmlns:p15="http://schemas.microsoft.com/office/powerpoint/2012/main">
        <p15:guide id="1" orient="horz" pos="913" userDrawn="1">
          <p15:clr>
            <a:srgbClr val="F26B43"/>
          </p15:clr>
        </p15:guide>
        <p15:guide id="2" orient="horz" pos="754" userDrawn="1">
          <p15:clr>
            <a:srgbClr val="F26B43"/>
          </p15:clr>
        </p15:guide>
        <p15:guide id="3" orient="horz" pos="300" userDrawn="1">
          <p15:clr>
            <a:srgbClr val="F26B43"/>
          </p15:clr>
        </p15:guide>
        <p15:guide id="5" orient="horz" pos="3816" userDrawn="1">
          <p15:clr>
            <a:srgbClr val="F26B43"/>
          </p15:clr>
        </p15:guide>
        <p15:guide id="6" pos="2519" userDrawn="1">
          <p15:clr>
            <a:srgbClr val="F26B43"/>
          </p15:clr>
        </p15:guide>
        <p15:guide id="7" pos="2744" userDrawn="1">
          <p15:clr>
            <a:srgbClr val="F26B43"/>
          </p15:clr>
        </p15:guide>
        <p15:guide id="8" pos="4937" userDrawn="1">
          <p15:clr>
            <a:srgbClr val="F26B43"/>
          </p15:clr>
        </p15:guide>
        <p15:guide id="9" pos="5160" userDrawn="1">
          <p15:clr>
            <a:srgbClr val="F26B43"/>
          </p15:clr>
        </p15:guide>
        <p15:guide id="10" orient="horz" pos="2253" userDrawn="1">
          <p15:clr>
            <a:srgbClr val="F26B43"/>
          </p15:clr>
        </p15:guide>
        <p15:guide id="11" orient="horz" pos="2478" userDrawn="1">
          <p15:clr>
            <a:srgbClr val="F26B43"/>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Quotation green">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B0F1CDF5-237B-F47C-D8CA-DE0503CD5683}"/>
              </a:ext>
            </a:extLst>
          </p:cNvPr>
          <p:cNvSpPr/>
          <p:nvPr userDrawn="1"/>
        </p:nvSpPr>
        <p:spPr bwMode="gray">
          <a:xfrm>
            <a:off x="0" y="0"/>
            <a:ext cx="12192000" cy="6057900"/>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en-US" err="1"/>
          </a:p>
        </p:txBody>
      </p:sp>
      <p:graphicFrame>
        <p:nvGraphicFramePr>
          <p:cNvPr id="5" name="Objekt 4" hidden="1">
            <a:extLst>
              <a:ext uri="{FF2B5EF4-FFF2-40B4-BE49-F238E27FC236}">
                <a16:creationId xmlns:a16="http://schemas.microsoft.com/office/drawing/2014/main" id="{767385B7-6838-292C-9A71-B34C47821397}"/>
              </a:ext>
            </a:extLst>
          </p:cNvPr>
          <p:cNvGraphicFramePr>
            <a:graphicFrameLocks noChangeAspect="1"/>
          </p:cNvGraphicFramePr>
          <p:nvPr userDrawn="1">
            <p:custDataLst>
              <p:tags r:id="rId1"/>
            </p:custDataLst>
            <p:extLst>
              <p:ext uri="{D42A27DB-BD31-4B8C-83A1-F6EECF244321}">
                <p14:modId xmlns:p14="http://schemas.microsoft.com/office/powerpoint/2010/main" val="28306707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80" imgH="481" progId="TCLayout.ActiveDocument.1">
                  <p:embed/>
                </p:oleObj>
              </mc:Choice>
              <mc:Fallback>
                <p:oleObj name="think-cell Folie" r:id="rId3" imgW="480" imgH="481" progId="TCLayout.ActiveDocument.1">
                  <p:embed/>
                  <p:pic>
                    <p:nvPicPr>
                      <p:cNvPr id="5" name="Objekt 4" hidden="1">
                        <a:extLst>
                          <a:ext uri="{FF2B5EF4-FFF2-40B4-BE49-F238E27FC236}">
                            <a16:creationId xmlns:a16="http://schemas.microsoft.com/office/drawing/2014/main" id="{767385B7-6838-292C-9A71-B34C4782139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0F25E6B3-6C87-A87E-E654-73DB34346CD3}"/>
              </a:ext>
            </a:extLst>
          </p:cNvPr>
          <p:cNvSpPr>
            <a:spLocks noGrp="1"/>
          </p:cNvSpPr>
          <p:nvPr>
            <p:ph type="ftr" sz="quarter" idx="12"/>
          </p:nvPr>
        </p:nvSpPr>
        <p:spPr bwMode="gray"/>
        <p:txBody>
          <a:bodyPr/>
          <a:lstStyle/>
          <a:p>
            <a:r>
              <a:rPr lang="de-DE"/>
              <a:t>© Copyright Sensirion, Switzerland</a:t>
            </a:r>
          </a:p>
        </p:txBody>
      </p:sp>
      <p:sp>
        <p:nvSpPr>
          <p:cNvPr id="7" name="Slide Number Placeholder 6">
            <a:extLst>
              <a:ext uri="{FF2B5EF4-FFF2-40B4-BE49-F238E27FC236}">
                <a16:creationId xmlns:a16="http://schemas.microsoft.com/office/drawing/2014/main" id="{2876E652-2BB5-70AF-BA63-8072F6FCEB34}"/>
              </a:ext>
            </a:extLst>
          </p:cNvPr>
          <p:cNvSpPr>
            <a:spLocks noGrp="1"/>
          </p:cNvSpPr>
          <p:nvPr>
            <p:ph type="sldNum" sz="quarter" idx="13"/>
          </p:nvPr>
        </p:nvSpPr>
        <p:spPr bwMode="gray"/>
        <p:txBody>
          <a:bodyPr/>
          <a:lstStyle/>
          <a:p>
            <a:fld id="{B1E691A1-F3A6-4574-B226-B412272B38A6}" type="slidenum">
              <a:rPr lang="de-DE" smtClean="0"/>
              <a:pPr/>
              <a:t>‹#›</a:t>
            </a:fld>
            <a:endParaRPr lang="de-DE"/>
          </a:p>
        </p:txBody>
      </p:sp>
      <p:sp>
        <p:nvSpPr>
          <p:cNvPr id="21" name="Text Placeholder 20">
            <a:extLst>
              <a:ext uri="{FF2B5EF4-FFF2-40B4-BE49-F238E27FC236}">
                <a16:creationId xmlns:a16="http://schemas.microsoft.com/office/drawing/2014/main" id="{E39F68C3-9C83-12BD-2EAF-016DA916E676}"/>
              </a:ext>
            </a:extLst>
          </p:cNvPr>
          <p:cNvSpPr>
            <a:spLocks noGrp="1"/>
          </p:cNvSpPr>
          <p:nvPr>
            <p:ph type="body" sz="quarter" idx="14" hasCustomPrompt="1"/>
          </p:nvPr>
        </p:nvSpPr>
        <p:spPr bwMode="gray">
          <a:xfrm>
            <a:off x="515937" y="1449388"/>
            <a:ext cx="8585200" cy="1846659"/>
          </a:xfrm>
        </p:spPr>
        <p:txBody>
          <a:bodyPr>
            <a:spAutoFit/>
          </a:bodyPr>
          <a:lstStyle>
            <a:lvl1pPr marL="0" indent="0">
              <a:buNone/>
              <a:defRPr sz="4000">
                <a:solidFill>
                  <a:schemeClr val="bg1"/>
                </a:solidFill>
              </a:defRPr>
            </a:lvl1pPr>
          </a:lstStyle>
          <a:p>
            <a:pPr lvl="0"/>
            <a:r>
              <a:rPr lang="en-US"/>
              <a:t>Please insert your quotation here. This is a placeholder for your text. Lorem ipsum dolor sit </a:t>
            </a:r>
            <a:r>
              <a:rPr lang="en-US" err="1"/>
              <a:t>amet</a:t>
            </a:r>
            <a:r>
              <a:rPr lang="en-US"/>
              <a:t>.</a:t>
            </a:r>
          </a:p>
        </p:txBody>
      </p:sp>
      <p:sp>
        <p:nvSpPr>
          <p:cNvPr id="26" name="Graphic 23">
            <a:extLst>
              <a:ext uri="{FF2B5EF4-FFF2-40B4-BE49-F238E27FC236}">
                <a16:creationId xmlns:a16="http://schemas.microsoft.com/office/drawing/2014/main" id="{B07E0D32-E171-080B-A2A8-E02631A7ABC8}"/>
              </a:ext>
            </a:extLst>
          </p:cNvPr>
          <p:cNvSpPr/>
          <p:nvPr userDrawn="1"/>
        </p:nvSpPr>
        <p:spPr bwMode="gray">
          <a:xfrm>
            <a:off x="515938" y="476250"/>
            <a:ext cx="897834" cy="722271"/>
          </a:xfrm>
          <a:custGeom>
            <a:avLst/>
            <a:gdLst>
              <a:gd name="connsiteX0" fmla="*/ 1402080 w 3268027"/>
              <a:gd name="connsiteY0" fmla="*/ 0 h 2628995"/>
              <a:gd name="connsiteX1" fmla="*/ 835057 w 3268027"/>
              <a:gd name="connsiteY1" fmla="*/ 1257776 h 2628995"/>
              <a:gd name="connsiteX2" fmla="*/ 1422749 w 3268027"/>
              <a:gd name="connsiteY2" fmla="*/ 1938242 h 2628995"/>
              <a:gd name="connsiteX3" fmla="*/ 721709 w 3268027"/>
              <a:gd name="connsiteY3" fmla="*/ 2628995 h 2628995"/>
              <a:gd name="connsiteX4" fmla="*/ 0 w 3268027"/>
              <a:gd name="connsiteY4" fmla="*/ 1927860 h 2628995"/>
              <a:gd name="connsiteX5" fmla="*/ 360807 w 3268027"/>
              <a:gd name="connsiteY5" fmla="*/ 907256 h 2628995"/>
              <a:gd name="connsiteX6" fmla="*/ 752570 w 3268027"/>
              <a:gd name="connsiteY6" fmla="*/ 0 h 2628995"/>
              <a:gd name="connsiteX7" fmla="*/ 1402080 w 3268027"/>
              <a:gd name="connsiteY7" fmla="*/ 0 h 2628995"/>
              <a:gd name="connsiteX8" fmla="*/ 3247454 w 3268027"/>
              <a:gd name="connsiteY8" fmla="*/ 0 h 2628995"/>
              <a:gd name="connsiteX9" fmla="*/ 2680430 w 3268027"/>
              <a:gd name="connsiteY9" fmla="*/ 1257776 h 2628995"/>
              <a:gd name="connsiteX10" fmla="*/ 3268028 w 3268027"/>
              <a:gd name="connsiteY10" fmla="*/ 1938242 h 2628995"/>
              <a:gd name="connsiteX11" fmla="*/ 2566988 w 3268027"/>
              <a:gd name="connsiteY11" fmla="*/ 2628995 h 2628995"/>
              <a:gd name="connsiteX12" fmla="*/ 1845278 w 3268027"/>
              <a:gd name="connsiteY12" fmla="*/ 1927955 h 2628995"/>
              <a:gd name="connsiteX13" fmla="*/ 2206085 w 3268027"/>
              <a:gd name="connsiteY13" fmla="*/ 907352 h 2628995"/>
              <a:gd name="connsiteX14" fmla="*/ 2597944 w 3268027"/>
              <a:gd name="connsiteY14" fmla="*/ 0 h 2628995"/>
              <a:gd name="connsiteX15" fmla="*/ 3247454 w 3268027"/>
              <a:gd name="connsiteY15" fmla="*/ 0 h 26289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268027" h="2628995">
                <a:moveTo>
                  <a:pt x="1402080" y="0"/>
                </a:moveTo>
                <a:lnTo>
                  <a:pt x="835057" y="1257776"/>
                </a:lnTo>
                <a:cubicBezTo>
                  <a:pt x="1195864" y="1309307"/>
                  <a:pt x="1422749" y="1567053"/>
                  <a:pt x="1422749" y="1938242"/>
                </a:cubicBezTo>
                <a:cubicBezTo>
                  <a:pt x="1422749" y="2360962"/>
                  <a:pt x="1144429" y="2628995"/>
                  <a:pt x="721709" y="2628995"/>
                </a:cubicBezTo>
                <a:cubicBezTo>
                  <a:pt x="298990" y="2628995"/>
                  <a:pt x="0" y="2340197"/>
                  <a:pt x="0" y="1927860"/>
                </a:cubicBezTo>
                <a:cubicBezTo>
                  <a:pt x="0" y="1711357"/>
                  <a:pt x="82487" y="1484567"/>
                  <a:pt x="360807" y="907256"/>
                </a:cubicBezTo>
                <a:lnTo>
                  <a:pt x="752570" y="0"/>
                </a:lnTo>
                <a:lnTo>
                  <a:pt x="1402080" y="0"/>
                </a:lnTo>
                <a:close/>
                <a:moveTo>
                  <a:pt x="3247454" y="0"/>
                </a:moveTo>
                <a:lnTo>
                  <a:pt x="2680430" y="1257776"/>
                </a:lnTo>
                <a:cubicBezTo>
                  <a:pt x="3041237" y="1309307"/>
                  <a:pt x="3268028" y="1567053"/>
                  <a:pt x="3268028" y="1938242"/>
                </a:cubicBezTo>
                <a:cubicBezTo>
                  <a:pt x="3268028" y="2360962"/>
                  <a:pt x="2989707" y="2628995"/>
                  <a:pt x="2566988" y="2628995"/>
                </a:cubicBezTo>
                <a:cubicBezTo>
                  <a:pt x="2144268" y="2628995"/>
                  <a:pt x="1845278" y="2340293"/>
                  <a:pt x="1845278" y="1927955"/>
                </a:cubicBezTo>
                <a:cubicBezTo>
                  <a:pt x="1845278" y="1711452"/>
                  <a:pt x="1927765" y="1484662"/>
                  <a:pt x="2206085" y="907352"/>
                </a:cubicBezTo>
                <a:lnTo>
                  <a:pt x="2597944" y="0"/>
                </a:lnTo>
                <a:lnTo>
                  <a:pt x="3247454" y="0"/>
                </a:lnTo>
                <a:close/>
              </a:path>
            </a:pathLst>
          </a:custGeom>
          <a:solidFill>
            <a:schemeClr val="bg1"/>
          </a:solidFill>
          <a:ln w="9525" cap="flat">
            <a:noFill/>
            <a:prstDash val="solid"/>
            <a:miter/>
          </a:ln>
        </p:spPr>
        <p:txBody>
          <a:bodyPr rtlCol="0" anchor="ctr"/>
          <a:lstStyle/>
          <a:p>
            <a:endParaRPr lang="en-US"/>
          </a:p>
        </p:txBody>
      </p:sp>
      <p:sp>
        <p:nvSpPr>
          <p:cNvPr id="27" name="Text Placeholder 20">
            <a:extLst>
              <a:ext uri="{FF2B5EF4-FFF2-40B4-BE49-F238E27FC236}">
                <a16:creationId xmlns:a16="http://schemas.microsoft.com/office/drawing/2014/main" id="{454D9A05-F8D2-B6AE-6EFC-1A27396F7E7E}"/>
              </a:ext>
            </a:extLst>
          </p:cNvPr>
          <p:cNvSpPr>
            <a:spLocks noGrp="1"/>
          </p:cNvSpPr>
          <p:nvPr>
            <p:ph type="body" sz="quarter" idx="15" hasCustomPrompt="1"/>
          </p:nvPr>
        </p:nvSpPr>
        <p:spPr bwMode="gray">
          <a:xfrm>
            <a:off x="515937" y="5408613"/>
            <a:ext cx="3480543" cy="0"/>
          </a:xfrm>
          <a:custGeom>
            <a:avLst/>
            <a:gdLst>
              <a:gd name="connsiteX0" fmla="*/ 0 w 3480543"/>
              <a:gd name="connsiteY0" fmla="*/ 0 h 288147"/>
              <a:gd name="connsiteX1" fmla="*/ 3480543 w 3480543"/>
              <a:gd name="connsiteY1" fmla="*/ 0 h 288147"/>
              <a:gd name="connsiteX2" fmla="*/ 3480543 w 3480543"/>
              <a:gd name="connsiteY2" fmla="*/ 288147 h 288147"/>
              <a:gd name="connsiteX3" fmla="*/ 0 w 3480543"/>
              <a:gd name="connsiteY3" fmla="*/ 288147 h 288147"/>
              <a:gd name="connsiteX4" fmla="*/ 0 w 3480543"/>
              <a:gd name="connsiteY4" fmla="*/ 0 h 288147"/>
              <a:gd name="connsiteX0" fmla="*/ 3480543 w 3571983"/>
              <a:gd name="connsiteY0" fmla="*/ 0 h 288147"/>
              <a:gd name="connsiteX1" fmla="*/ 3480543 w 3571983"/>
              <a:gd name="connsiteY1" fmla="*/ 288147 h 288147"/>
              <a:gd name="connsiteX2" fmla="*/ 0 w 3571983"/>
              <a:gd name="connsiteY2" fmla="*/ 288147 h 288147"/>
              <a:gd name="connsiteX3" fmla="*/ 0 w 3571983"/>
              <a:gd name="connsiteY3" fmla="*/ 0 h 288147"/>
              <a:gd name="connsiteX4" fmla="*/ 3571983 w 3571983"/>
              <a:gd name="connsiteY4" fmla="*/ 91440 h 288147"/>
              <a:gd name="connsiteX0" fmla="*/ 3480543 w 3480543"/>
              <a:gd name="connsiteY0" fmla="*/ 0 h 288147"/>
              <a:gd name="connsiteX1" fmla="*/ 3480543 w 3480543"/>
              <a:gd name="connsiteY1" fmla="*/ 288147 h 288147"/>
              <a:gd name="connsiteX2" fmla="*/ 0 w 3480543"/>
              <a:gd name="connsiteY2" fmla="*/ 288147 h 288147"/>
              <a:gd name="connsiteX3" fmla="*/ 0 w 3480543"/>
              <a:gd name="connsiteY3" fmla="*/ 0 h 288147"/>
              <a:gd name="connsiteX0" fmla="*/ 3480543 w 3480543"/>
              <a:gd name="connsiteY0" fmla="*/ 288147 h 288147"/>
              <a:gd name="connsiteX1" fmla="*/ 0 w 3480543"/>
              <a:gd name="connsiteY1" fmla="*/ 288147 h 288147"/>
              <a:gd name="connsiteX2" fmla="*/ 0 w 3480543"/>
              <a:gd name="connsiteY2" fmla="*/ 0 h 288147"/>
              <a:gd name="connsiteX0" fmla="*/ 3480543 w 3480543"/>
              <a:gd name="connsiteY0" fmla="*/ 0 h 0"/>
              <a:gd name="connsiteX1" fmla="*/ 0 w 3480543"/>
              <a:gd name="connsiteY1" fmla="*/ 0 h 0"/>
            </a:gdLst>
            <a:ahLst/>
            <a:cxnLst>
              <a:cxn ang="0">
                <a:pos x="connsiteX0" y="connsiteY0"/>
              </a:cxn>
              <a:cxn ang="0">
                <a:pos x="connsiteX1" y="connsiteY1"/>
              </a:cxn>
            </a:cxnLst>
            <a:rect l="l" t="t" r="r" b="b"/>
            <a:pathLst>
              <a:path w="3480543">
                <a:moveTo>
                  <a:pt x="3480543" y="0"/>
                </a:moveTo>
                <a:lnTo>
                  <a:pt x="0" y="0"/>
                </a:lnTo>
              </a:path>
            </a:pathLst>
          </a:custGeom>
          <a:ln w="19050">
            <a:solidFill>
              <a:schemeClr val="bg1"/>
            </a:solidFill>
          </a:ln>
        </p:spPr>
        <p:txBody>
          <a:bodyPr wrap="square" bIns="72000" anchor="b">
            <a:noAutofit/>
          </a:bodyPr>
          <a:lstStyle>
            <a:lvl1pPr marL="0" indent="0">
              <a:buNone/>
              <a:defRPr sz="1600">
                <a:solidFill>
                  <a:schemeClr val="bg1"/>
                </a:solidFill>
              </a:defRPr>
            </a:lvl1pPr>
          </a:lstStyle>
          <a:p>
            <a:pPr lvl="0"/>
            <a:r>
              <a:rPr lang="en-US"/>
              <a:t>First name, last name</a:t>
            </a:r>
          </a:p>
        </p:txBody>
      </p:sp>
      <p:sp>
        <p:nvSpPr>
          <p:cNvPr id="3" name="Textfeld 2">
            <a:extLst>
              <a:ext uri="{FF2B5EF4-FFF2-40B4-BE49-F238E27FC236}">
                <a16:creationId xmlns:a16="http://schemas.microsoft.com/office/drawing/2014/main" id="{1D6E50B3-9626-29E8-2932-2971A3323537}"/>
              </a:ext>
            </a:extLst>
          </p:cNvPr>
          <p:cNvSpPr txBox="1">
            <a:spLocks/>
          </p:cNvSpPr>
          <p:nvPr userDrawn="1"/>
        </p:nvSpPr>
        <p:spPr>
          <a:xfrm>
            <a:off x="5691185" y="6310083"/>
            <a:ext cx="809630" cy="153888"/>
          </a:xfrm>
          <a:prstGeom prst="rect">
            <a:avLst/>
          </a:prstGeom>
          <a:noFill/>
        </p:spPr>
        <p:txBody>
          <a:bodyPr wrap="square" lIns="0" tIns="0" rIns="0" bIns="0" rtlCol="0">
            <a:spAutoFit/>
          </a:bodyPr>
          <a:lstStyle/>
          <a:p>
            <a:pPr marL="0" lvl="0" indent="0" algn="ctr" defTabSz="914400" rtl="0" eaLnBrk="1" latinLnBrk="0" hangingPunct="1">
              <a:lnSpc>
                <a:spcPct val="100000"/>
              </a:lnSpc>
              <a:spcBef>
                <a:spcPts val="0"/>
              </a:spcBef>
              <a:spcAft>
                <a:spcPts val="600"/>
              </a:spcAft>
              <a:buClr>
                <a:schemeClr val="accent1"/>
              </a:buClr>
              <a:buFont typeface="Arial" panose="020B0604020202020204" pitchFamily="34" charset="0"/>
              <a:buNone/>
            </a:pPr>
            <a:r>
              <a:rPr lang="en-US" sz="1000" kern="1200">
                <a:solidFill>
                  <a:schemeClr val="accent2"/>
                </a:solidFill>
                <a:latin typeface="+mn-lt"/>
                <a:ea typeface="+mn-ea"/>
                <a:cs typeface="+mn-cs"/>
              </a:rPr>
              <a:t>Confidential</a:t>
            </a:r>
          </a:p>
        </p:txBody>
      </p:sp>
    </p:spTree>
    <p:extLst>
      <p:ext uri="{BB962C8B-B14F-4D97-AF65-F5344CB8AC3E}">
        <p14:creationId xmlns:p14="http://schemas.microsoft.com/office/powerpoint/2010/main" val="2891417635"/>
      </p:ext>
    </p:extLst>
  </p:cSld>
  <p:clrMapOvr>
    <a:masterClrMapping/>
  </p:clrMapOvr>
  <p:extLst>
    <p:ext uri="{DCECCB84-F9BA-43D5-87BE-67443E8EF086}">
      <p15:sldGuideLst xmlns:p15="http://schemas.microsoft.com/office/powerpoint/2012/main">
        <p15:guide id="1" orient="horz" pos="3816">
          <p15:clr>
            <a:srgbClr val="F26B43"/>
          </p15:clr>
        </p15:guide>
        <p15:guide id="2" orient="horz" pos="913" userDrawn="1">
          <p15:clr>
            <a:srgbClr val="F26B43"/>
          </p15:clr>
        </p15:guide>
        <p15:guide id="3" orient="horz" pos="754" userDrawn="1">
          <p15:clr>
            <a:srgbClr val="F26B43"/>
          </p15:clr>
        </p15:guide>
        <p15:guide id="4" orient="horz" pos="3407" userDrawn="1">
          <p15:clr>
            <a:srgbClr val="F26B43"/>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Quotation grey">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B0F1CDF5-237B-F47C-D8CA-DE0503CD5683}"/>
              </a:ext>
            </a:extLst>
          </p:cNvPr>
          <p:cNvSpPr/>
          <p:nvPr userDrawn="1"/>
        </p:nvSpPr>
        <p:spPr bwMode="gray">
          <a:xfrm>
            <a:off x="0" y="0"/>
            <a:ext cx="12192000" cy="6057900"/>
          </a:xfrm>
          <a:prstGeom prst="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en-US" err="1"/>
          </a:p>
        </p:txBody>
      </p:sp>
      <p:graphicFrame>
        <p:nvGraphicFramePr>
          <p:cNvPr id="5" name="Objekt 4" hidden="1">
            <a:extLst>
              <a:ext uri="{FF2B5EF4-FFF2-40B4-BE49-F238E27FC236}">
                <a16:creationId xmlns:a16="http://schemas.microsoft.com/office/drawing/2014/main" id="{767385B7-6838-292C-9A71-B34C47821397}"/>
              </a:ext>
            </a:extLst>
          </p:cNvPr>
          <p:cNvGraphicFramePr>
            <a:graphicFrameLocks noChangeAspect="1"/>
          </p:cNvGraphicFramePr>
          <p:nvPr userDrawn="1">
            <p:custDataLst>
              <p:tags r:id="rId1"/>
            </p:custDataLst>
            <p:extLst>
              <p:ext uri="{D42A27DB-BD31-4B8C-83A1-F6EECF244321}">
                <p14:modId xmlns:p14="http://schemas.microsoft.com/office/powerpoint/2010/main" val="28306707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80" imgH="481" progId="TCLayout.ActiveDocument.1">
                  <p:embed/>
                </p:oleObj>
              </mc:Choice>
              <mc:Fallback>
                <p:oleObj name="think-cell Folie" r:id="rId3" imgW="480" imgH="481" progId="TCLayout.ActiveDocument.1">
                  <p:embed/>
                  <p:pic>
                    <p:nvPicPr>
                      <p:cNvPr id="5" name="Objekt 4" hidden="1">
                        <a:extLst>
                          <a:ext uri="{FF2B5EF4-FFF2-40B4-BE49-F238E27FC236}">
                            <a16:creationId xmlns:a16="http://schemas.microsoft.com/office/drawing/2014/main" id="{767385B7-6838-292C-9A71-B34C4782139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0F25E6B3-6C87-A87E-E654-73DB34346CD3}"/>
              </a:ext>
            </a:extLst>
          </p:cNvPr>
          <p:cNvSpPr>
            <a:spLocks noGrp="1"/>
          </p:cNvSpPr>
          <p:nvPr>
            <p:ph type="ftr" sz="quarter" idx="12"/>
          </p:nvPr>
        </p:nvSpPr>
        <p:spPr bwMode="gray"/>
        <p:txBody>
          <a:bodyPr/>
          <a:lstStyle/>
          <a:p>
            <a:r>
              <a:rPr lang="de-DE"/>
              <a:t>© Copyright Sensirion, Switzerland</a:t>
            </a:r>
          </a:p>
        </p:txBody>
      </p:sp>
      <p:sp>
        <p:nvSpPr>
          <p:cNvPr id="7" name="Slide Number Placeholder 6">
            <a:extLst>
              <a:ext uri="{FF2B5EF4-FFF2-40B4-BE49-F238E27FC236}">
                <a16:creationId xmlns:a16="http://schemas.microsoft.com/office/drawing/2014/main" id="{2876E652-2BB5-70AF-BA63-8072F6FCEB34}"/>
              </a:ext>
            </a:extLst>
          </p:cNvPr>
          <p:cNvSpPr>
            <a:spLocks noGrp="1"/>
          </p:cNvSpPr>
          <p:nvPr>
            <p:ph type="sldNum" sz="quarter" idx="13"/>
          </p:nvPr>
        </p:nvSpPr>
        <p:spPr bwMode="gray"/>
        <p:txBody>
          <a:bodyPr/>
          <a:lstStyle/>
          <a:p>
            <a:fld id="{B1E691A1-F3A6-4574-B226-B412272B38A6}" type="slidenum">
              <a:rPr lang="de-DE" smtClean="0"/>
              <a:pPr/>
              <a:t>‹#›</a:t>
            </a:fld>
            <a:endParaRPr lang="de-DE"/>
          </a:p>
        </p:txBody>
      </p:sp>
      <p:sp>
        <p:nvSpPr>
          <p:cNvPr id="21" name="Text Placeholder 20">
            <a:extLst>
              <a:ext uri="{FF2B5EF4-FFF2-40B4-BE49-F238E27FC236}">
                <a16:creationId xmlns:a16="http://schemas.microsoft.com/office/drawing/2014/main" id="{E39F68C3-9C83-12BD-2EAF-016DA916E676}"/>
              </a:ext>
            </a:extLst>
          </p:cNvPr>
          <p:cNvSpPr>
            <a:spLocks noGrp="1"/>
          </p:cNvSpPr>
          <p:nvPr>
            <p:ph type="body" sz="quarter" idx="14" hasCustomPrompt="1"/>
          </p:nvPr>
        </p:nvSpPr>
        <p:spPr bwMode="gray">
          <a:xfrm>
            <a:off x="515937" y="1449388"/>
            <a:ext cx="8585200" cy="1846659"/>
          </a:xfrm>
        </p:spPr>
        <p:txBody>
          <a:bodyPr>
            <a:spAutoFit/>
          </a:bodyPr>
          <a:lstStyle>
            <a:lvl1pPr marL="0" indent="0">
              <a:buNone/>
              <a:defRPr sz="4000">
                <a:solidFill>
                  <a:schemeClr val="tx1"/>
                </a:solidFill>
              </a:defRPr>
            </a:lvl1pPr>
          </a:lstStyle>
          <a:p>
            <a:pPr lvl="0"/>
            <a:r>
              <a:rPr lang="en-US"/>
              <a:t>Please insert your quotation here. This is a placeholder for your text. Lorem ipsum dolor sit </a:t>
            </a:r>
            <a:r>
              <a:rPr lang="en-US" err="1"/>
              <a:t>amet</a:t>
            </a:r>
            <a:r>
              <a:rPr lang="en-US"/>
              <a:t>.</a:t>
            </a:r>
          </a:p>
        </p:txBody>
      </p:sp>
      <p:sp>
        <p:nvSpPr>
          <p:cNvPr id="26" name="Graphic 23">
            <a:extLst>
              <a:ext uri="{FF2B5EF4-FFF2-40B4-BE49-F238E27FC236}">
                <a16:creationId xmlns:a16="http://schemas.microsoft.com/office/drawing/2014/main" id="{B07E0D32-E171-080B-A2A8-E02631A7ABC8}"/>
              </a:ext>
            </a:extLst>
          </p:cNvPr>
          <p:cNvSpPr/>
          <p:nvPr userDrawn="1"/>
        </p:nvSpPr>
        <p:spPr bwMode="gray">
          <a:xfrm>
            <a:off x="515938" y="476250"/>
            <a:ext cx="897834" cy="722271"/>
          </a:xfrm>
          <a:custGeom>
            <a:avLst/>
            <a:gdLst>
              <a:gd name="connsiteX0" fmla="*/ 1402080 w 3268027"/>
              <a:gd name="connsiteY0" fmla="*/ 0 h 2628995"/>
              <a:gd name="connsiteX1" fmla="*/ 835057 w 3268027"/>
              <a:gd name="connsiteY1" fmla="*/ 1257776 h 2628995"/>
              <a:gd name="connsiteX2" fmla="*/ 1422749 w 3268027"/>
              <a:gd name="connsiteY2" fmla="*/ 1938242 h 2628995"/>
              <a:gd name="connsiteX3" fmla="*/ 721709 w 3268027"/>
              <a:gd name="connsiteY3" fmla="*/ 2628995 h 2628995"/>
              <a:gd name="connsiteX4" fmla="*/ 0 w 3268027"/>
              <a:gd name="connsiteY4" fmla="*/ 1927860 h 2628995"/>
              <a:gd name="connsiteX5" fmla="*/ 360807 w 3268027"/>
              <a:gd name="connsiteY5" fmla="*/ 907256 h 2628995"/>
              <a:gd name="connsiteX6" fmla="*/ 752570 w 3268027"/>
              <a:gd name="connsiteY6" fmla="*/ 0 h 2628995"/>
              <a:gd name="connsiteX7" fmla="*/ 1402080 w 3268027"/>
              <a:gd name="connsiteY7" fmla="*/ 0 h 2628995"/>
              <a:gd name="connsiteX8" fmla="*/ 3247454 w 3268027"/>
              <a:gd name="connsiteY8" fmla="*/ 0 h 2628995"/>
              <a:gd name="connsiteX9" fmla="*/ 2680430 w 3268027"/>
              <a:gd name="connsiteY9" fmla="*/ 1257776 h 2628995"/>
              <a:gd name="connsiteX10" fmla="*/ 3268028 w 3268027"/>
              <a:gd name="connsiteY10" fmla="*/ 1938242 h 2628995"/>
              <a:gd name="connsiteX11" fmla="*/ 2566988 w 3268027"/>
              <a:gd name="connsiteY11" fmla="*/ 2628995 h 2628995"/>
              <a:gd name="connsiteX12" fmla="*/ 1845278 w 3268027"/>
              <a:gd name="connsiteY12" fmla="*/ 1927955 h 2628995"/>
              <a:gd name="connsiteX13" fmla="*/ 2206085 w 3268027"/>
              <a:gd name="connsiteY13" fmla="*/ 907352 h 2628995"/>
              <a:gd name="connsiteX14" fmla="*/ 2597944 w 3268027"/>
              <a:gd name="connsiteY14" fmla="*/ 0 h 2628995"/>
              <a:gd name="connsiteX15" fmla="*/ 3247454 w 3268027"/>
              <a:gd name="connsiteY15" fmla="*/ 0 h 26289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268027" h="2628995">
                <a:moveTo>
                  <a:pt x="1402080" y="0"/>
                </a:moveTo>
                <a:lnTo>
                  <a:pt x="835057" y="1257776"/>
                </a:lnTo>
                <a:cubicBezTo>
                  <a:pt x="1195864" y="1309307"/>
                  <a:pt x="1422749" y="1567053"/>
                  <a:pt x="1422749" y="1938242"/>
                </a:cubicBezTo>
                <a:cubicBezTo>
                  <a:pt x="1422749" y="2360962"/>
                  <a:pt x="1144429" y="2628995"/>
                  <a:pt x="721709" y="2628995"/>
                </a:cubicBezTo>
                <a:cubicBezTo>
                  <a:pt x="298990" y="2628995"/>
                  <a:pt x="0" y="2340197"/>
                  <a:pt x="0" y="1927860"/>
                </a:cubicBezTo>
                <a:cubicBezTo>
                  <a:pt x="0" y="1711357"/>
                  <a:pt x="82487" y="1484567"/>
                  <a:pt x="360807" y="907256"/>
                </a:cubicBezTo>
                <a:lnTo>
                  <a:pt x="752570" y="0"/>
                </a:lnTo>
                <a:lnTo>
                  <a:pt x="1402080" y="0"/>
                </a:lnTo>
                <a:close/>
                <a:moveTo>
                  <a:pt x="3247454" y="0"/>
                </a:moveTo>
                <a:lnTo>
                  <a:pt x="2680430" y="1257776"/>
                </a:lnTo>
                <a:cubicBezTo>
                  <a:pt x="3041237" y="1309307"/>
                  <a:pt x="3268028" y="1567053"/>
                  <a:pt x="3268028" y="1938242"/>
                </a:cubicBezTo>
                <a:cubicBezTo>
                  <a:pt x="3268028" y="2360962"/>
                  <a:pt x="2989707" y="2628995"/>
                  <a:pt x="2566988" y="2628995"/>
                </a:cubicBezTo>
                <a:cubicBezTo>
                  <a:pt x="2144268" y="2628995"/>
                  <a:pt x="1845278" y="2340293"/>
                  <a:pt x="1845278" y="1927955"/>
                </a:cubicBezTo>
                <a:cubicBezTo>
                  <a:pt x="1845278" y="1711452"/>
                  <a:pt x="1927765" y="1484662"/>
                  <a:pt x="2206085" y="907352"/>
                </a:cubicBezTo>
                <a:lnTo>
                  <a:pt x="2597944" y="0"/>
                </a:lnTo>
                <a:lnTo>
                  <a:pt x="3247454" y="0"/>
                </a:lnTo>
                <a:close/>
              </a:path>
            </a:pathLst>
          </a:custGeom>
          <a:solidFill>
            <a:schemeClr val="accent1"/>
          </a:solidFill>
          <a:ln w="9525" cap="flat">
            <a:noFill/>
            <a:prstDash val="solid"/>
            <a:miter/>
          </a:ln>
        </p:spPr>
        <p:txBody>
          <a:bodyPr rtlCol="0" anchor="ctr"/>
          <a:lstStyle/>
          <a:p>
            <a:endParaRPr lang="en-US"/>
          </a:p>
        </p:txBody>
      </p:sp>
      <p:sp>
        <p:nvSpPr>
          <p:cNvPr id="2" name="Text Placeholder 20">
            <a:extLst>
              <a:ext uri="{FF2B5EF4-FFF2-40B4-BE49-F238E27FC236}">
                <a16:creationId xmlns:a16="http://schemas.microsoft.com/office/drawing/2014/main" id="{77B10B0C-BD78-1DCA-2424-E743077D6B81}"/>
              </a:ext>
            </a:extLst>
          </p:cNvPr>
          <p:cNvSpPr>
            <a:spLocks noGrp="1"/>
          </p:cNvSpPr>
          <p:nvPr>
            <p:ph type="body" sz="quarter" idx="15" hasCustomPrompt="1"/>
          </p:nvPr>
        </p:nvSpPr>
        <p:spPr bwMode="gray">
          <a:xfrm>
            <a:off x="515937" y="5408613"/>
            <a:ext cx="3480543" cy="0"/>
          </a:xfrm>
          <a:custGeom>
            <a:avLst/>
            <a:gdLst>
              <a:gd name="connsiteX0" fmla="*/ 0 w 3480543"/>
              <a:gd name="connsiteY0" fmla="*/ 0 h 288147"/>
              <a:gd name="connsiteX1" fmla="*/ 3480543 w 3480543"/>
              <a:gd name="connsiteY1" fmla="*/ 0 h 288147"/>
              <a:gd name="connsiteX2" fmla="*/ 3480543 w 3480543"/>
              <a:gd name="connsiteY2" fmla="*/ 288147 h 288147"/>
              <a:gd name="connsiteX3" fmla="*/ 0 w 3480543"/>
              <a:gd name="connsiteY3" fmla="*/ 288147 h 288147"/>
              <a:gd name="connsiteX4" fmla="*/ 0 w 3480543"/>
              <a:gd name="connsiteY4" fmla="*/ 0 h 288147"/>
              <a:gd name="connsiteX0" fmla="*/ 0 w 3480543"/>
              <a:gd name="connsiteY0" fmla="*/ 0 h 288147"/>
              <a:gd name="connsiteX1" fmla="*/ 3480543 w 3480543"/>
              <a:gd name="connsiteY1" fmla="*/ 0 h 288147"/>
              <a:gd name="connsiteX2" fmla="*/ 3480543 w 3480543"/>
              <a:gd name="connsiteY2" fmla="*/ 288147 h 288147"/>
              <a:gd name="connsiteX3" fmla="*/ 0 w 3480543"/>
              <a:gd name="connsiteY3" fmla="*/ 288147 h 288147"/>
              <a:gd name="connsiteX4" fmla="*/ 91440 w 3480543"/>
              <a:gd name="connsiteY4" fmla="*/ 91440 h 288147"/>
              <a:gd name="connsiteX0" fmla="*/ 0 w 3480543"/>
              <a:gd name="connsiteY0" fmla="*/ 0 h 288147"/>
              <a:gd name="connsiteX1" fmla="*/ 3480543 w 3480543"/>
              <a:gd name="connsiteY1" fmla="*/ 0 h 288147"/>
              <a:gd name="connsiteX2" fmla="*/ 3480543 w 3480543"/>
              <a:gd name="connsiteY2" fmla="*/ 288147 h 288147"/>
              <a:gd name="connsiteX3" fmla="*/ 0 w 3480543"/>
              <a:gd name="connsiteY3" fmla="*/ 288147 h 288147"/>
              <a:gd name="connsiteX0" fmla="*/ 3480543 w 3480543"/>
              <a:gd name="connsiteY0" fmla="*/ 0 h 288147"/>
              <a:gd name="connsiteX1" fmla="*/ 3480543 w 3480543"/>
              <a:gd name="connsiteY1" fmla="*/ 288147 h 288147"/>
              <a:gd name="connsiteX2" fmla="*/ 0 w 3480543"/>
              <a:gd name="connsiteY2" fmla="*/ 288147 h 288147"/>
              <a:gd name="connsiteX0" fmla="*/ 3480543 w 3480543"/>
              <a:gd name="connsiteY0" fmla="*/ 0 h 0"/>
              <a:gd name="connsiteX1" fmla="*/ 0 w 3480543"/>
              <a:gd name="connsiteY1" fmla="*/ 0 h 0"/>
            </a:gdLst>
            <a:ahLst/>
            <a:cxnLst>
              <a:cxn ang="0">
                <a:pos x="connsiteX0" y="connsiteY0"/>
              </a:cxn>
              <a:cxn ang="0">
                <a:pos x="connsiteX1" y="connsiteY1"/>
              </a:cxn>
            </a:cxnLst>
            <a:rect l="l" t="t" r="r" b="b"/>
            <a:pathLst>
              <a:path w="3480543">
                <a:moveTo>
                  <a:pt x="3480543" y="0"/>
                </a:moveTo>
                <a:lnTo>
                  <a:pt x="0" y="0"/>
                </a:lnTo>
              </a:path>
            </a:pathLst>
          </a:custGeom>
          <a:ln w="19050">
            <a:solidFill>
              <a:schemeClr val="accent1"/>
            </a:solidFill>
          </a:ln>
        </p:spPr>
        <p:txBody>
          <a:bodyPr wrap="square" bIns="72000" anchor="b">
            <a:noAutofit/>
          </a:bodyPr>
          <a:lstStyle>
            <a:lvl1pPr marL="0" indent="0">
              <a:buNone/>
              <a:defRPr sz="1600">
                <a:solidFill>
                  <a:schemeClr val="tx1"/>
                </a:solidFill>
              </a:defRPr>
            </a:lvl1pPr>
          </a:lstStyle>
          <a:p>
            <a:pPr lvl="0"/>
            <a:r>
              <a:rPr lang="en-US"/>
              <a:t>First name, last name</a:t>
            </a:r>
          </a:p>
        </p:txBody>
      </p:sp>
      <p:sp>
        <p:nvSpPr>
          <p:cNvPr id="3" name="Textfeld 2">
            <a:extLst>
              <a:ext uri="{FF2B5EF4-FFF2-40B4-BE49-F238E27FC236}">
                <a16:creationId xmlns:a16="http://schemas.microsoft.com/office/drawing/2014/main" id="{FBB56ED4-50B3-844F-4EE9-A69F77AB23E3}"/>
              </a:ext>
            </a:extLst>
          </p:cNvPr>
          <p:cNvSpPr txBox="1">
            <a:spLocks/>
          </p:cNvSpPr>
          <p:nvPr userDrawn="1"/>
        </p:nvSpPr>
        <p:spPr>
          <a:xfrm>
            <a:off x="5691185" y="6310083"/>
            <a:ext cx="809630" cy="153888"/>
          </a:xfrm>
          <a:prstGeom prst="rect">
            <a:avLst/>
          </a:prstGeom>
          <a:noFill/>
        </p:spPr>
        <p:txBody>
          <a:bodyPr wrap="square" lIns="0" tIns="0" rIns="0" bIns="0" rtlCol="0">
            <a:spAutoFit/>
          </a:bodyPr>
          <a:lstStyle/>
          <a:p>
            <a:pPr marL="0" lvl="0" indent="0" algn="ctr" defTabSz="914400" rtl="0" eaLnBrk="1" latinLnBrk="0" hangingPunct="1">
              <a:lnSpc>
                <a:spcPct val="100000"/>
              </a:lnSpc>
              <a:spcBef>
                <a:spcPts val="0"/>
              </a:spcBef>
              <a:spcAft>
                <a:spcPts val="600"/>
              </a:spcAft>
              <a:buClr>
                <a:schemeClr val="accent1"/>
              </a:buClr>
              <a:buFont typeface="Arial" panose="020B0604020202020204" pitchFamily="34" charset="0"/>
              <a:buNone/>
            </a:pPr>
            <a:r>
              <a:rPr lang="en-US" sz="1000" kern="1200">
                <a:solidFill>
                  <a:schemeClr val="accent2"/>
                </a:solidFill>
                <a:latin typeface="+mn-lt"/>
                <a:ea typeface="+mn-ea"/>
                <a:cs typeface="+mn-cs"/>
              </a:rPr>
              <a:t>Confidential</a:t>
            </a:r>
          </a:p>
        </p:txBody>
      </p:sp>
    </p:spTree>
    <p:extLst>
      <p:ext uri="{BB962C8B-B14F-4D97-AF65-F5344CB8AC3E}">
        <p14:creationId xmlns:p14="http://schemas.microsoft.com/office/powerpoint/2010/main" val="3967712307"/>
      </p:ext>
    </p:extLst>
  </p:cSld>
  <p:clrMapOvr>
    <a:masterClrMapping/>
  </p:clrMapOvr>
  <p:extLst>
    <p:ext uri="{DCECCB84-F9BA-43D5-87BE-67443E8EF086}">
      <p15:sldGuideLst xmlns:p15="http://schemas.microsoft.com/office/powerpoint/2012/main">
        <p15:guide id="1" orient="horz" pos="3816">
          <p15:clr>
            <a:srgbClr val="F26B43"/>
          </p15:clr>
        </p15:guide>
        <p15:guide id="2" orient="horz" pos="913" userDrawn="1">
          <p15:clr>
            <a:srgbClr val="F26B43"/>
          </p15:clr>
        </p15:guide>
        <p15:guide id="3" orient="horz" pos="754" userDrawn="1">
          <p15:clr>
            <a:srgbClr val="F26B43"/>
          </p15:clr>
        </p15:guide>
        <p15:guide id="4" orient="horz" pos="3407" userDrawn="1">
          <p15:clr>
            <a:srgbClr val="F26B43"/>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oleObject" Target="../embeddings/oleObject1.bin"/><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2.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FFE52C96-6720-7E7E-D0D5-5474F4868481}"/>
              </a:ext>
            </a:extLst>
          </p:cNvPr>
          <p:cNvGraphicFramePr>
            <a:graphicFrameLocks noChangeAspect="1"/>
          </p:cNvGraphicFramePr>
          <p:nvPr userDrawn="1">
            <p:custDataLst>
              <p:tags r:id="rId25"/>
            </p:custDataLst>
            <p:extLst>
              <p:ext uri="{D42A27DB-BD31-4B8C-83A1-F6EECF244321}">
                <p14:modId xmlns:p14="http://schemas.microsoft.com/office/powerpoint/2010/main" val="41398557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26" imgW="306" imgH="306" progId="TCLayout.ActiveDocument.1">
                  <p:embed/>
                </p:oleObj>
              </mc:Choice>
              <mc:Fallback>
                <p:oleObj name="think-cell Folie" r:id="rId26" imgW="306" imgH="306" progId="TCLayout.ActiveDocument.1">
                  <p:embed/>
                  <p:pic>
                    <p:nvPicPr>
                      <p:cNvPr id="8" name="think-cell data - do not delete" hidden="1">
                        <a:extLst>
                          <a:ext uri="{FF2B5EF4-FFF2-40B4-BE49-F238E27FC236}">
                            <a16:creationId xmlns:a16="http://schemas.microsoft.com/office/drawing/2014/main" id="{FFE52C96-6720-7E7E-D0D5-5474F4868481}"/>
                          </a:ext>
                        </a:extLst>
                      </p:cNvPr>
                      <p:cNvPicPr/>
                      <p:nvPr/>
                    </p:nvPicPr>
                    <p:blipFill>
                      <a:blip r:embed="rId27"/>
                      <a:stretch>
                        <a:fillRect/>
                      </a:stretch>
                    </p:blipFill>
                    <p:spPr>
                      <a:xfrm>
                        <a:off x="1588" y="1588"/>
                        <a:ext cx="1588" cy="1588"/>
                      </a:xfrm>
                      <a:prstGeom prst="rect">
                        <a:avLst/>
                      </a:prstGeom>
                    </p:spPr>
                  </p:pic>
                </p:oleObj>
              </mc:Fallback>
            </mc:AlternateContent>
          </a:graphicData>
        </a:graphic>
      </p:graphicFrame>
      <p:sp>
        <p:nvSpPr>
          <p:cNvPr id="3" name="Textplatzhalter 2">
            <a:extLst>
              <a:ext uri="{FF2B5EF4-FFF2-40B4-BE49-F238E27FC236}">
                <a16:creationId xmlns:a16="http://schemas.microsoft.com/office/drawing/2014/main" id="{A5979798-D702-7237-52EB-487BC7C93621}"/>
              </a:ext>
            </a:extLst>
          </p:cNvPr>
          <p:cNvSpPr>
            <a:spLocks noGrp="1"/>
          </p:cNvSpPr>
          <p:nvPr>
            <p:ph type="body" idx="1"/>
          </p:nvPr>
        </p:nvSpPr>
        <p:spPr bwMode="gray">
          <a:xfrm>
            <a:off x="515937" y="1449388"/>
            <a:ext cx="11160125" cy="4608000"/>
          </a:xfrm>
          <a:prstGeom prst="rect">
            <a:avLst/>
          </a:prstGeom>
        </p:spPr>
        <p:txBody>
          <a:bodyPr vert="horz" lIns="0" tIns="0" rIns="0" bIns="0" rtlCol="0">
            <a:noAutofit/>
          </a:bodyPr>
          <a:lstStyle/>
          <a:p>
            <a:pPr lvl="0"/>
            <a:r>
              <a:rPr lang="en-US" noProof="0"/>
              <a:t>First level</a:t>
            </a:r>
          </a:p>
          <a:p>
            <a:pPr lvl="1"/>
            <a:r>
              <a:rPr lang="en-US" noProof="0"/>
              <a:t>Second level</a:t>
            </a:r>
          </a:p>
          <a:p>
            <a:pPr lvl="2"/>
            <a:r>
              <a:rPr lang="en-US" noProof="0"/>
              <a:t>Third level</a:t>
            </a:r>
          </a:p>
          <a:p>
            <a:pPr lvl="3"/>
            <a:r>
              <a:rPr lang="en-US" noProof="0"/>
              <a:t>Fourth level</a:t>
            </a:r>
          </a:p>
          <a:p>
            <a:pPr lvl="4"/>
            <a:r>
              <a:rPr lang="en-US" noProof="0"/>
              <a:t>Fifth level</a:t>
            </a:r>
          </a:p>
          <a:p>
            <a:pPr lvl="5"/>
            <a:r>
              <a:rPr lang="en-US" noProof="0"/>
              <a:t>Sixth level</a:t>
            </a:r>
          </a:p>
          <a:p>
            <a:pPr lvl="6"/>
            <a:r>
              <a:rPr lang="en-US" noProof="0"/>
              <a:t>Seventh level</a:t>
            </a:r>
          </a:p>
          <a:p>
            <a:pPr lvl="7"/>
            <a:r>
              <a:rPr lang="en-US" noProof="0"/>
              <a:t>Eighth level</a:t>
            </a:r>
          </a:p>
          <a:p>
            <a:pPr lvl="8"/>
            <a:r>
              <a:rPr lang="en-US" noProof="0"/>
              <a:t>Nineth level</a:t>
            </a:r>
          </a:p>
        </p:txBody>
      </p:sp>
      <p:sp>
        <p:nvSpPr>
          <p:cNvPr id="5" name="Fußzeilenplatzhalter 4">
            <a:extLst>
              <a:ext uri="{FF2B5EF4-FFF2-40B4-BE49-F238E27FC236}">
                <a16:creationId xmlns:a16="http://schemas.microsoft.com/office/drawing/2014/main" id="{FE47393F-4923-78D3-4CFF-3E48B72ACF31}"/>
              </a:ext>
            </a:extLst>
          </p:cNvPr>
          <p:cNvSpPr>
            <a:spLocks noGrp="1"/>
          </p:cNvSpPr>
          <p:nvPr>
            <p:ph type="ftr" sz="quarter" idx="3"/>
          </p:nvPr>
        </p:nvSpPr>
        <p:spPr bwMode="gray">
          <a:xfrm>
            <a:off x="1249680" y="6310083"/>
            <a:ext cx="2746800" cy="153888"/>
          </a:xfrm>
          <a:prstGeom prst="rect">
            <a:avLst/>
          </a:prstGeom>
        </p:spPr>
        <p:txBody>
          <a:bodyPr vert="horz" lIns="0" tIns="0" rIns="0" bIns="0" rtlCol="0" anchor="ctr">
            <a:spAutoFit/>
          </a:bodyPr>
          <a:lstStyle>
            <a:lvl1pPr algn="l">
              <a:lnSpc>
                <a:spcPct val="100000"/>
              </a:lnSpc>
              <a:defRPr sz="1000">
                <a:solidFill>
                  <a:schemeClr val="accent2"/>
                </a:solidFill>
              </a:defRPr>
            </a:lvl1pPr>
          </a:lstStyle>
          <a:p>
            <a:r>
              <a:rPr lang="de-DE"/>
              <a:t>© Copyright Sensirion, Switzerland</a:t>
            </a:r>
          </a:p>
        </p:txBody>
      </p:sp>
      <p:sp>
        <p:nvSpPr>
          <p:cNvPr id="6" name="Foliennummernplatzhalter 5">
            <a:extLst>
              <a:ext uri="{FF2B5EF4-FFF2-40B4-BE49-F238E27FC236}">
                <a16:creationId xmlns:a16="http://schemas.microsoft.com/office/drawing/2014/main" id="{E2816682-44E5-FDC4-D40C-E9568FC89F81}"/>
              </a:ext>
            </a:extLst>
          </p:cNvPr>
          <p:cNvSpPr>
            <a:spLocks noGrp="1"/>
          </p:cNvSpPr>
          <p:nvPr>
            <p:ph type="sldNum" sz="quarter" idx="4"/>
          </p:nvPr>
        </p:nvSpPr>
        <p:spPr bwMode="gray">
          <a:xfrm>
            <a:off x="515937" y="6310083"/>
            <a:ext cx="680403" cy="153888"/>
          </a:xfrm>
          <a:prstGeom prst="rect">
            <a:avLst/>
          </a:prstGeom>
        </p:spPr>
        <p:txBody>
          <a:bodyPr vert="horz" wrap="square" lIns="0" tIns="0" rIns="0" bIns="0" rtlCol="0" anchor="ctr">
            <a:spAutoFit/>
          </a:bodyPr>
          <a:lstStyle>
            <a:lvl1pPr algn="l">
              <a:lnSpc>
                <a:spcPct val="100000"/>
              </a:lnSpc>
              <a:defRPr sz="1000">
                <a:solidFill>
                  <a:schemeClr val="accent2"/>
                </a:solidFill>
              </a:defRPr>
            </a:lvl1pPr>
          </a:lstStyle>
          <a:p>
            <a:fld id="{B1E691A1-F3A6-4574-B226-B412272B38A6}" type="slidenum">
              <a:rPr lang="de-DE" smtClean="0"/>
              <a:pPr/>
              <a:t>‹#›</a:t>
            </a:fld>
            <a:endParaRPr lang="de-DE"/>
          </a:p>
        </p:txBody>
      </p:sp>
      <p:grpSp>
        <p:nvGrpSpPr>
          <p:cNvPr id="10" name="Gruppieren 9">
            <a:extLst>
              <a:ext uri="{FF2B5EF4-FFF2-40B4-BE49-F238E27FC236}">
                <a16:creationId xmlns:a16="http://schemas.microsoft.com/office/drawing/2014/main" id="{589BAB36-386A-4190-A977-53CCEAC0AA1B}"/>
              </a:ext>
            </a:extLst>
          </p:cNvPr>
          <p:cNvGrpSpPr/>
          <p:nvPr userDrawn="1"/>
        </p:nvGrpSpPr>
        <p:grpSpPr bwMode="gray">
          <a:xfrm>
            <a:off x="10375900" y="6308725"/>
            <a:ext cx="1300163" cy="130175"/>
            <a:chOff x="10390188" y="6381750"/>
            <a:chExt cx="1300163" cy="130175"/>
          </a:xfrm>
        </p:grpSpPr>
        <p:sp>
          <p:nvSpPr>
            <p:cNvPr id="11" name="Freeform 5">
              <a:extLst>
                <a:ext uri="{FF2B5EF4-FFF2-40B4-BE49-F238E27FC236}">
                  <a16:creationId xmlns:a16="http://schemas.microsoft.com/office/drawing/2014/main" id="{2AC79C31-0A46-35AB-8FD6-861E9002F905}"/>
                </a:ext>
              </a:extLst>
            </p:cNvPr>
            <p:cNvSpPr>
              <a:spLocks/>
            </p:cNvSpPr>
            <p:nvPr/>
          </p:nvSpPr>
          <p:spPr bwMode="gray">
            <a:xfrm>
              <a:off x="10390188" y="6383338"/>
              <a:ext cx="153988" cy="125413"/>
            </a:xfrm>
            <a:custGeom>
              <a:avLst/>
              <a:gdLst>
                <a:gd name="T0" fmla="*/ 172 w 428"/>
                <a:gd name="T1" fmla="*/ 60 h 338"/>
                <a:gd name="T2" fmla="*/ 99 w 428"/>
                <a:gd name="T3" fmla="*/ 104 h 338"/>
                <a:gd name="T4" fmla="*/ 159 w 428"/>
                <a:gd name="T5" fmla="*/ 141 h 338"/>
                <a:gd name="T6" fmla="*/ 284 w 428"/>
                <a:gd name="T7" fmla="*/ 141 h 338"/>
                <a:gd name="T8" fmla="*/ 428 w 428"/>
                <a:gd name="T9" fmla="*/ 237 h 338"/>
                <a:gd name="T10" fmla="*/ 270 w 428"/>
                <a:gd name="T11" fmla="*/ 338 h 338"/>
                <a:gd name="T12" fmla="*/ 18 w 428"/>
                <a:gd name="T13" fmla="*/ 338 h 338"/>
                <a:gd name="T14" fmla="*/ 18 w 428"/>
                <a:gd name="T15" fmla="*/ 277 h 338"/>
                <a:gd name="T16" fmla="*/ 255 w 428"/>
                <a:gd name="T17" fmla="*/ 277 h 338"/>
                <a:gd name="T18" fmla="*/ 329 w 428"/>
                <a:gd name="T19" fmla="*/ 239 h 338"/>
                <a:gd name="T20" fmla="*/ 261 w 428"/>
                <a:gd name="T21" fmla="*/ 200 h 338"/>
                <a:gd name="T22" fmla="*/ 150 w 428"/>
                <a:gd name="T23" fmla="*/ 200 h 338"/>
                <a:gd name="T24" fmla="*/ 0 w 428"/>
                <a:gd name="T25" fmla="*/ 103 h 338"/>
                <a:gd name="T26" fmla="*/ 158 w 428"/>
                <a:gd name="T27" fmla="*/ 0 h 338"/>
                <a:gd name="T28" fmla="*/ 406 w 428"/>
                <a:gd name="T29" fmla="*/ 0 h 338"/>
                <a:gd name="T30" fmla="*/ 406 w 428"/>
                <a:gd name="T31" fmla="*/ 60 h 338"/>
                <a:gd name="T32" fmla="*/ 172 w 428"/>
                <a:gd name="T33" fmla="*/ 60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8" h="338">
                  <a:moveTo>
                    <a:pt x="172" y="60"/>
                  </a:moveTo>
                  <a:cubicBezTo>
                    <a:pt x="122" y="60"/>
                    <a:pt x="99" y="73"/>
                    <a:pt x="99" y="104"/>
                  </a:cubicBezTo>
                  <a:cubicBezTo>
                    <a:pt x="99" y="129"/>
                    <a:pt x="119" y="141"/>
                    <a:pt x="159" y="141"/>
                  </a:cubicBezTo>
                  <a:lnTo>
                    <a:pt x="284" y="141"/>
                  </a:lnTo>
                  <a:cubicBezTo>
                    <a:pt x="384" y="141"/>
                    <a:pt x="428" y="166"/>
                    <a:pt x="428" y="237"/>
                  </a:cubicBezTo>
                  <a:cubicBezTo>
                    <a:pt x="428" y="308"/>
                    <a:pt x="377" y="338"/>
                    <a:pt x="270" y="338"/>
                  </a:cubicBezTo>
                  <a:lnTo>
                    <a:pt x="18" y="338"/>
                  </a:lnTo>
                  <a:lnTo>
                    <a:pt x="18" y="277"/>
                  </a:lnTo>
                  <a:lnTo>
                    <a:pt x="255" y="277"/>
                  </a:lnTo>
                  <a:cubicBezTo>
                    <a:pt x="305" y="277"/>
                    <a:pt x="329" y="268"/>
                    <a:pt x="329" y="239"/>
                  </a:cubicBezTo>
                  <a:cubicBezTo>
                    <a:pt x="329" y="209"/>
                    <a:pt x="307" y="200"/>
                    <a:pt x="261" y="200"/>
                  </a:cubicBezTo>
                  <a:lnTo>
                    <a:pt x="150" y="200"/>
                  </a:lnTo>
                  <a:cubicBezTo>
                    <a:pt x="47" y="200"/>
                    <a:pt x="0" y="171"/>
                    <a:pt x="0" y="103"/>
                  </a:cubicBezTo>
                  <a:cubicBezTo>
                    <a:pt x="0" y="30"/>
                    <a:pt x="51" y="0"/>
                    <a:pt x="158" y="0"/>
                  </a:cubicBezTo>
                  <a:lnTo>
                    <a:pt x="406" y="0"/>
                  </a:lnTo>
                  <a:lnTo>
                    <a:pt x="406" y="60"/>
                  </a:lnTo>
                  <a:lnTo>
                    <a:pt x="172" y="60"/>
                  </a:lnTo>
                  <a:close/>
                </a:path>
              </a:pathLst>
            </a:custGeom>
            <a:solidFill>
              <a:srgbClr val="66CC33"/>
            </a:solidFill>
            <a:ln>
              <a:noFill/>
            </a:ln>
          </p:spPr>
          <p:txBody>
            <a:bodyPr vert="horz" wrap="square" lIns="91440" tIns="45720" rIns="91440" bIns="45720" numCol="1" anchor="t" anchorCtr="0" compatLnSpc="1">
              <a:prstTxWarp prst="textNoShape">
                <a:avLst/>
              </a:prstTxWarp>
            </a:bodyPr>
            <a:lstStyle/>
            <a:p>
              <a:pPr>
                <a:lnSpc>
                  <a:spcPct val="100000"/>
                </a:lnSpc>
              </a:pPr>
              <a:endParaRPr lang="de-DE" b="1">
                <a:solidFill>
                  <a:srgbClr val="616161"/>
                </a:solidFill>
              </a:endParaRPr>
            </a:p>
          </p:txBody>
        </p:sp>
        <p:sp>
          <p:nvSpPr>
            <p:cNvPr id="12" name="Freeform 6">
              <a:extLst>
                <a:ext uri="{FF2B5EF4-FFF2-40B4-BE49-F238E27FC236}">
                  <a16:creationId xmlns:a16="http://schemas.microsoft.com/office/drawing/2014/main" id="{D5A4F163-9763-7F50-7898-5C3B411A2A1E}"/>
                </a:ext>
              </a:extLst>
            </p:cNvPr>
            <p:cNvSpPr>
              <a:spLocks/>
            </p:cNvSpPr>
            <p:nvPr/>
          </p:nvSpPr>
          <p:spPr bwMode="gray">
            <a:xfrm>
              <a:off x="10558463" y="6383338"/>
              <a:ext cx="133350" cy="125413"/>
            </a:xfrm>
            <a:custGeom>
              <a:avLst/>
              <a:gdLst>
                <a:gd name="T0" fmla="*/ 107 w 369"/>
                <a:gd name="T1" fmla="*/ 137 h 338"/>
                <a:gd name="T2" fmla="*/ 369 w 369"/>
                <a:gd name="T3" fmla="*/ 137 h 338"/>
                <a:gd name="T4" fmla="*/ 369 w 369"/>
                <a:gd name="T5" fmla="*/ 196 h 338"/>
                <a:gd name="T6" fmla="*/ 107 w 369"/>
                <a:gd name="T7" fmla="*/ 196 h 338"/>
                <a:gd name="T8" fmla="*/ 214 w 369"/>
                <a:gd name="T9" fmla="*/ 279 h 338"/>
                <a:gd name="T10" fmla="*/ 369 w 369"/>
                <a:gd name="T11" fmla="*/ 279 h 338"/>
                <a:gd name="T12" fmla="*/ 369 w 369"/>
                <a:gd name="T13" fmla="*/ 338 h 338"/>
                <a:gd name="T14" fmla="*/ 210 w 369"/>
                <a:gd name="T15" fmla="*/ 338 h 338"/>
                <a:gd name="T16" fmla="*/ 69 w 369"/>
                <a:gd name="T17" fmla="*/ 308 h 338"/>
                <a:gd name="T18" fmla="*/ 0 w 369"/>
                <a:gd name="T19" fmla="*/ 175 h 338"/>
                <a:gd name="T20" fmla="*/ 212 w 369"/>
                <a:gd name="T21" fmla="*/ 0 h 338"/>
                <a:gd name="T22" fmla="*/ 369 w 369"/>
                <a:gd name="T23" fmla="*/ 0 h 338"/>
                <a:gd name="T24" fmla="*/ 369 w 369"/>
                <a:gd name="T25" fmla="*/ 59 h 338"/>
                <a:gd name="T26" fmla="*/ 214 w 369"/>
                <a:gd name="T27" fmla="*/ 59 h 338"/>
                <a:gd name="T28" fmla="*/ 107 w 369"/>
                <a:gd name="T29" fmla="*/ 137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69" h="338">
                  <a:moveTo>
                    <a:pt x="107" y="137"/>
                  </a:moveTo>
                  <a:lnTo>
                    <a:pt x="369" y="137"/>
                  </a:lnTo>
                  <a:lnTo>
                    <a:pt x="369" y="196"/>
                  </a:lnTo>
                  <a:lnTo>
                    <a:pt x="107" y="196"/>
                  </a:lnTo>
                  <a:cubicBezTo>
                    <a:pt x="107" y="257"/>
                    <a:pt x="139" y="279"/>
                    <a:pt x="214" y="279"/>
                  </a:cubicBezTo>
                  <a:lnTo>
                    <a:pt x="369" y="279"/>
                  </a:lnTo>
                  <a:lnTo>
                    <a:pt x="369" y="338"/>
                  </a:lnTo>
                  <a:lnTo>
                    <a:pt x="210" y="338"/>
                  </a:lnTo>
                  <a:cubicBezTo>
                    <a:pt x="155" y="338"/>
                    <a:pt x="113" y="334"/>
                    <a:pt x="69" y="308"/>
                  </a:cubicBezTo>
                  <a:cubicBezTo>
                    <a:pt x="23" y="280"/>
                    <a:pt x="0" y="236"/>
                    <a:pt x="0" y="175"/>
                  </a:cubicBezTo>
                  <a:cubicBezTo>
                    <a:pt x="0" y="55"/>
                    <a:pt x="67" y="0"/>
                    <a:pt x="212" y="0"/>
                  </a:cubicBezTo>
                  <a:lnTo>
                    <a:pt x="369" y="0"/>
                  </a:lnTo>
                  <a:lnTo>
                    <a:pt x="369" y="59"/>
                  </a:lnTo>
                  <a:lnTo>
                    <a:pt x="214" y="59"/>
                  </a:lnTo>
                  <a:cubicBezTo>
                    <a:pt x="146" y="59"/>
                    <a:pt x="111" y="84"/>
                    <a:pt x="107" y="137"/>
                  </a:cubicBezTo>
                  <a:close/>
                </a:path>
              </a:pathLst>
            </a:custGeom>
            <a:solidFill>
              <a:srgbClr val="66CC33"/>
            </a:solidFill>
            <a:ln>
              <a:noFill/>
            </a:ln>
          </p:spPr>
          <p:txBody>
            <a:bodyPr vert="horz" wrap="square" lIns="91440" tIns="45720" rIns="91440" bIns="45720" numCol="1" anchor="t" anchorCtr="0" compatLnSpc="1">
              <a:prstTxWarp prst="textNoShape">
                <a:avLst/>
              </a:prstTxWarp>
            </a:bodyPr>
            <a:lstStyle/>
            <a:p>
              <a:pPr>
                <a:lnSpc>
                  <a:spcPct val="100000"/>
                </a:lnSpc>
              </a:pPr>
              <a:endParaRPr lang="de-DE" b="1">
                <a:solidFill>
                  <a:srgbClr val="616161"/>
                </a:solidFill>
              </a:endParaRPr>
            </a:p>
          </p:txBody>
        </p:sp>
        <p:sp>
          <p:nvSpPr>
            <p:cNvPr id="13" name="Freeform 7">
              <a:extLst>
                <a:ext uri="{FF2B5EF4-FFF2-40B4-BE49-F238E27FC236}">
                  <a16:creationId xmlns:a16="http://schemas.microsoft.com/office/drawing/2014/main" id="{85900EEB-4E63-3574-F6B4-B8DC63DB9ED0}"/>
                </a:ext>
              </a:extLst>
            </p:cNvPr>
            <p:cNvSpPr>
              <a:spLocks/>
            </p:cNvSpPr>
            <p:nvPr/>
          </p:nvSpPr>
          <p:spPr bwMode="gray">
            <a:xfrm>
              <a:off x="10720388" y="6383338"/>
              <a:ext cx="142875" cy="125413"/>
            </a:xfrm>
            <a:custGeom>
              <a:avLst/>
              <a:gdLst>
                <a:gd name="T0" fmla="*/ 120 w 397"/>
                <a:gd name="T1" fmla="*/ 1 h 339"/>
                <a:gd name="T2" fmla="*/ 304 w 397"/>
                <a:gd name="T3" fmla="*/ 244 h 339"/>
                <a:gd name="T4" fmla="*/ 304 w 397"/>
                <a:gd name="T5" fmla="*/ 0 h 339"/>
                <a:gd name="T6" fmla="*/ 397 w 397"/>
                <a:gd name="T7" fmla="*/ 0 h 339"/>
                <a:gd name="T8" fmla="*/ 396 w 397"/>
                <a:gd name="T9" fmla="*/ 339 h 339"/>
                <a:gd name="T10" fmla="*/ 287 w 397"/>
                <a:gd name="T11" fmla="*/ 339 h 339"/>
                <a:gd name="T12" fmla="*/ 93 w 397"/>
                <a:gd name="T13" fmla="*/ 83 h 339"/>
                <a:gd name="T14" fmla="*/ 93 w 397"/>
                <a:gd name="T15" fmla="*/ 339 h 339"/>
                <a:gd name="T16" fmla="*/ 0 w 397"/>
                <a:gd name="T17" fmla="*/ 339 h 339"/>
                <a:gd name="T18" fmla="*/ 0 w 397"/>
                <a:gd name="T19" fmla="*/ 1 h 339"/>
                <a:gd name="T20" fmla="*/ 120 w 397"/>
                <a:gd name="T21" fmla="*/ 1 h 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97" h="339">
                  <a:moveTo>
                    <a:pt x="120" y="1"/>
                  </a:moveTo>
                  <a:lnTo>
                    <a:pt x="304" y="244"/>
                  </a:lnTo>
                  <a:lnTo>
                    <a:pt x="304" y="0"/>
                  </a:lnTo>
                  <a:lnTo>
                    <a:pt x="397" y="0"/>
                  </a:lnTo>
                  <a:lnTo>
                    <a:pt x="396" y="339"/>
                  </a:lnTo>
                  <a:lnTo>
                    <a:pt x="287" y="339"/>
                  </a:lnTo>
                  <a:lnTo>
                    <a:pt x="93" y="83"/>
                  </a:lnTo>
                  <a:lnTo>
                    <a:pt x="93" y="339"/>
                  </a:lnTo>
                  <a:lnTo>
                    <a:pt x="0" y="339"/>
                  </a:lnTo>
                  <a:lnTo>
                    <a:pt x="0" y="1"/>
                  </a:lnTo>
                  <a:lnTo>
                    <a:pt x="120" y="1"/>
                  </a:lnTo>
                  <a:close/>
                </a:path>
              </a:pathLst>
            </a:custGeom>
            <a:solidFill>
              <a:srgbClr val="66CC33"/>
            </a:solidFill>
            <a:ln>
              <a:noFill/>
            </a:ln>
          </p:spPr>
          <p:txBody>
            <a:bodyPr vert="horz" wrap="square" lIns="91440" tIns="45720" rIns="91440" bIns="45720" numCol="1" anchor="t" anchorCtr="0" compatLnSpc="1">
              <a:prstTxWarp prst="textNoShape">
                <a:avLst/>
              </a:prstTxWarp>
            </a:bodyPr>
            <a:lstStyle/>
            <a:p>
              <a:pPr>
                <a:lnSpc>
                  <a:spcPct val="100000"/>
                </a:lnSpc>
              </a:pPr>
              <a:endParaRPr lang="de-DE" b="1">
                <a:solidFill>
                  <a:srgbClr val="616161"/>
                </a:solidFill>
              </a:endParaRPr>
            </a:p>
          </p:txBody>
        </p:sp>
        <p:sp>
          <p:nvSpPr>
            <p:cNvPr id="14" name="Freeform 8">
              <a:extLst>
                <a:ext uri="{FF2B5EF4-FFF2-40B4-BE49-F238E27FC236}">
                  <a16:creationId xmlns:a16="http://schemas.microsoft.com/office/drawing/2014/main" id="{6D1E6D4C-3A7B-C62B-F18B-6508ED07622A}"/>
                </a:ext>
              </a:extLst>
            </p:cNvPr>
            <p:cNvSpPr>
              <a:spLocks/>
            </p:cNvSpPr>
            <p:nvPr/>
          </p:nvSpPr>
          <p:spPr bwMode="gray">
            <a:xfrm>
              <a:off x="10887075" y="6383338"/>
              <a:ext cx="153988" cy="125413"/>
            </a:xfrm>
            <a:custGeom>
              <a:avLst/>
              <a:gdLst>
                <a:gd name="T0" fmla="*/ 171 w 427"/>
                <a:gd name="T1" fmla="*/ 60 h 338"/>
                <a:gd name="T2" fmla="*/ 99 w 427"/>
                <a:gd name="T3" fmla="*/ 104 h 338"/>
                <a:gd name="T4" fmla="*/ 158 w 427"/>
                <a:gd name="T5" fmla="*/ 141 h 338"/>
                <a:gd name="T6" fmla="*/ 284 w 427"/>
                <a:gd name="T7" fmla="*/ 141 h 338"/>
                <a:gd name="T8" fmla="*/ 427 w 427"/>
                <a:gd name="T9" fmla="*/ 237 h 338"/>
                <a:gd name="T10" fmla="*/ 270 w 427"/>
                <a:gd name="T11" fmla="*/ 338 h 338"/>
                <a:gd name="T12" fmla="*/ 18 w 427"/>
                <a:gd name="T13" fmla="*/ 338 h 338"/>
                <a:gd name="T14" fmla="*/ 18 w 427"/>
                <a:gd name="T15" fmla="*/ 277 h 338"/>
                <a:gd name="T16" fmla="*/ 255 w 427"/>
                <a:gd name="T17" fmla="*/ 277 h 338"/>
                <a:gd name="T18" fmla="*/ 328 w 427"/>
                <a:gd name="T19" fmla="*/ 239 h 338"/>
                <a:gd name="T20" fmla="*/ 261 w 427"/>
                <a:gd name="T21" fmla="*/ 200 h 338"/>
                <a:gd name="T22" fmla="*/ 150 w 427"/>
                <a:gd name="T23" fmla="*/ 200 h 338"/>
                <a:gd name="T24" fmla="*/ 0 w 427"/>
                <a:gd name="T25" fmla="*/ 103 h 338"/>
                <a:gd name="T26" fmla="*/ 158 w 427"/>
                <a:gd name="T27" fmla="*/ 0 h 338"/>
                <a:gd name="T28" fmla="*/ 405 w 427"/>
                <a:gd name="T29" fmla="*/ 0 h 338"/>
                <a:gd name="T30" fmla="*/ 405 w 427"/>
                <a:gd name="T31" fmla="*/ 60 h 338"/>
                <a:gd name="T32" fmla="*/ 171 w 427"/>
                <a:gd name="T33" fmla="*/ 60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7" h="338">
                  <a:moveTo>
                    <a:pt x="171" y="60"/>
                  </a:moveTo>
                  <a:cubicBezTo>
                    <a:pt x="122" y="60"/>
                    <a:pt x="99" y="73"/>
                    <a:pt x="99" y="104"/>
                  </a:cubicBezTo>
                  <a:cubicBezTo>
                    <a:pt x="99" y="129"/>
                    <a:pt x="119" y="141"/>
                    <a:pt x="158" y="141"/>
                  </a:cubicBezTo>
                  <a:lnTo>
                    <a:pt x="284" y="141"/>
                  </a:lnTo>
                  <a:cubicBezTo>
                    <a:pt x="384" y="141"/>
                    <a:pt x="427" y="166"/>
                    <a:pt x="427" y="237"/>
                  </a:cubicBezTo>
                  <a:cubicBezTo>
                    <a:pt x="427" y="308"/>
                    <a:pt x="376" y="338"/>
                    <a:pt x="270" y="338"/>
                  </a:cubicBezTo>
                  <a:lnTo>
                    <a:pt x="18" y="338"/>
                  </a:lnTo>
                  <a:lnTo>
                    <a:pt x="18" y="277"/>
                  </a:lnTo>
                  <a:lnTo>
                    <a:pt x="255" y="277"/>
                  </a:lnTo>
                  <a:cubicBezTo>
                    <a:pt x="305" y="277"/>
                    <a:pt x="328" y="268"/>
                    <a:pt x="328" y="239"/>
                  </a:cubicBezTo>
                  <a:cubicBezTo>
                    <a:pt x="328" y="209"/>
                    <a:pt x="307" y="200"/>
                    <a:pt x="261" y="200"/>
                  </a:cubicBezTo>
                  <a:lnTo>
                    <a:pt x="150" y="200"/>
                  </a:lnTo>
                  <a:cubicBezTo>
                    <a:pt x="47" y="200"/>
                    <a:pt x="0" y="171"/>
                    <a:pt x="0" y="103"/>
                  </a:cubicBezTo>
                  <a:cubicBezTo>
                    <a:pt x="0" y="30"/>
                    <a:pt x="51" y="0"/>
                    <a:pt x="158" y="0"/>
                  </a:cubicBezTo>
                  <a:lnTo>
                    <a:pt x="405" y="0"/>
                  </a:lnTo>
                  <a:lnTo>
                    <a:pt x="405" y="60"/>
                  </a:lnTo>
                  <a:lnTo>
                    <a:pt x="171" y="60"/>
                  </a:lnTo>
                  <a:close/>
                </a:path>
              </a:pathLst>
            </a:custGeom>
            <a:solidFill>
              <a:srgbClr val="66CC33"/>
            </a:solidFill>
            <a:ln>
              <a:noFill/>
            </a:ln>
          </p:spPr>
          <p:txBody>
            <a:bodyPr vert="horz" wrap="square" lIns="91440" tIns="45720" rIns="91440" bIns="45720" numCol="1" anchor="t" anchorCtr="0" compatLnSpc="1">
              <a:prstTxWarp prst="textNoShape">
                <a:avLst/>
              </a:prstTxWarp>
            </a:bodyPr>
            <a:lstStyle/>
            <a:p>
              <a:pPr>
                <a:lnSpc>
                  <a:spcPct val="100000"/>
                </a:lnSpc>
              </a:pPr>
              <a:endParaRPr lang="de-DE" b="1">
                <a:solidFill>
                  <a:srgbClr val="616161"/>
                </a:solidFill>
              </a:endParaRPr>
            </a:p>
          </p:txBody>
        </p:sp>
        <p:sp>
          <p:nvSpPr>
            <p:cNvPr id="15" name="Rectangle 9">
              <a:extLst>
                <a:ext uri="{FF2B5EF4-FFF2-40B4-BE49-F238E27FC236}">
                  <a16:creationId xmlns:a16="http://schemas.microsoft.com/office/drawing/2014/main" id="{D32E3D8B-D9DB-5946-DDA3-563C35F77C55}"/>
                </a:ext>
              </a:extLst>
            </p:cNvPr>
            <p:cNvSpPr>
              <a:spLocks noChangeArrowheads="1"/>
            </p:cNvSpPr>
            <p:nvPr/>
          </p:nvSpPr>
          <p:spPr bwMode="gray">
            <a:xfrm>
              <a:off x="11066463" y="6383338"/>
              <a:ext cx="36513" cy="125413"/>
            </a:xfrm>
            <a:prstGeom prst="rect">
              <a:avLst/>
            </a:prstGeom>
            <a:solidFill>
              <a:srgbClr val="66CC33"/>
            </a:solidFill>
            <a:ln>
              <a:noFill/>
            </a:ln>
          </p:spPr>
          <p:txBody>
            <a:bodyPr vert="horz" wrap="square" lIns="91440" tIns="45720" rIns="91440" bIns="45720" numCol="1" anchor="t" anchorCtr="0" compatLnSpc="1">
              <a:prstTxWarp prst="textNoShape">
                <a:avLst/>
              </a:prstTxWarp>
            </a:bodyPr>
            <a:lstStyle/>
            <a:p>
              <a:pPr>
                <a:lnSpc>
                  <a:spcPct val="100000"/>
                </a:lnSpc>
              </a:pPr>
              <a:endParaRPr lang="de-DE" b="1">
                <a:solidFill>
                  <a:srgbClr val="616161"/>
                </a:solidFill>
              </a:endParaRPr>
            </a:p>
          </p:txBody>
        </p:sp>
        <p:sp>
          <p:nvSpPr>
            <p:cNvPr id="16" name="Freeform 10">
              <a:extLst>
                <a:ext uri="{FF2B5EF4-FFF2-40B4-BE49-F238E27FC236}">
                  <a16:creationId xmlns:a16="http://schemas.microsoft.com/office/drawing/2014/main" id="{B0C285FB-7B3E-B133-CBEB-6F9C65A19C26}"/>
                </a:ext>
              </a:extLst>
            </p:cNvPr>
            <p:cNvSpPr>
              <a:spLocks noEditPoints="1"/>
            </p:cNvSpPr>
            <p:nvPr/>
          </p:nvSpPr>
          <p:spPr bwMode="gray">
            <a:xfrm>
              <a:off x="11136313" y="6383338"/>
              <a:ext cx="147638" cy="125413"/>
            </a:xfrm>
            <a:custGeom>
              <a:avLst/>
              <a:gdLst>
                <a:gd name="T0" fmla="*/ 211 w 412"/>
                <a:gd name="T1" fmla="*/ 60 h 338"/>
                <a:gd name="T2" fmla="*/ 295 w 412"/>
                <a:gd name="T3" fmla="*/ 103 h 338"/>
                <a:gd name="T4" fmla="*/ 211 w 412"/>
                <a:gd name="T5" fmla="*/ 145 h 338"/>
                <a:gd name="T6" fmla="*/ 95 w 412"/>
                <a:gd name="T7" fmla="*/ 145 h 338"/>
                <a:gd name="T8" fmla="*/ 95 w 412"/>
                <a:gd name="T9" fmla="*/ 60 h 338"/>
                <a:gd name="T10" fmla="*/ 211 w 412"/>
                <a:gd name="T11" fmla="*/ 60 h 338"/>
                <a:gd name="T12" fmla="*/ 0 w 412"/>
                <a:gd name="T13" fmla="*/ 0 h 338"/>
                <a:gd name="T14" fmla="*/ 0 w 412"/>
                <a:gd name="T15" fmla="*/ 338 h 338"/>
                <a:gd name="T16" fmla="*/ 95 w 412"/>
                <a:gd name="T17" fmla="*/ 338 h 338"/>
                <a:gd name="T18" fmla="*/ 95 w 412"/>
                <a:gd name="T19" fmla="*/ 205 h 338"/>
                <a:gd name="T20" fmla="*/ 206 w 412"/>
                <a:gd name="T21" fmla="*/ 205 h 338"/>
                <a:gd name="T22" fmla="*/ 305 w 412"/>
                <a:gd name="T23" fmla="*/ 338 h 338"/>
                <a:gd name="T24" fmla="*/ 412 w 412"/>
                <a:gd name="T25" fmla="*/ 338 h 338"/>
                <a:gd name="T26" fmla="*/ 300 w 412"/>
                <a:gd name="T27" fmla="*/ 197 h 338"/>
                <a:gd name="T28" fmla="*/ 391 w 412"/>
                <a:gd name="T29" fmla="*/ 102 h 338"/>
                <a:gd name="T30" fmla="*/ 233 w 412"/>
                <a:gd name="T31" fmla="*/ 0 h 338"/>
                <a:gd name="T32" fmla="*/ 0 w 412"/>
                <a:gd name="T33" fmla="*/ 0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12" h="338">
                  <a:moveTo>
                    <a:pt x="211" y="60"/>
                  </a:moveTo>
                  <a:cubicBezTo>
                    <a:pt x="267" y="60"/>
                    <a:pt x="295" y="68"/>
                    <a:pt x="295" y="103"/>
                  </a:cubicBezTo>
                  <a:cubicBezTo>
                    <a:pt x="295" y="137"/>
                    <a:pt x="267" y="145"/>
                    <a:pt x="211" y="145"/>
                  </a:cubicBezTo>
                  <a:lnTo>
                    <a:pt x="95" y="145"/>
                  </a:lnTo>
                  <a:lnTo>
                    <a:pt x="95" y="60"/>
                  </a:lnTo>
                  <a:lnTo>
                    <a:pt x="211" y="60"/>
                  </a:lnTo>
                  <a:close/>
                  <a:moveTo>
                    <a:pt x="0" y="0"/>
                  </a:moveTo>
                  <a:lnTo>
                    <a:pt x="0" y="338"/>
                  </a:lnTo>
                  <a:lnTo>
                    <a:pt x="95" y="338"/>
                  </a:lnTo>
                  <a:lnTo>
                    <a:pt x="95" y="205"/>
                  </a:lnTo>
                  <a:lnTo>
                    <a:pt x="206" y="205"/>
                  </a:lnTo>
                  <a:lnTo>
                    <a:pt x="305" y="338"/>
                  </a:lnTo>
                  <a:lnTo>
                    <a:pt x="412" y="338"/>
                  </a:lnTo>
                  <a:lnTo>
                    <a:pt x="300" y="197"/>
                  </a:lnTo>
                  <a:cubicBezTo>
                    <a:pt x="358" y="187"/>
                    <a:pt x="391" y="154"/>
                    <a:pt x="391" y="102"/>
                  </a:cubicBezTo>
                  <a:cubicBezTo>
                    <a:pt x="391" y="31"/>
                    <a:pt x="340" y="0"/>
                    <a:pt x="233" y="0"/>
                  </a:cubicBezTo>
                  <a:lnTo>
                    <a:pt x="0" y="0"/>
                  </a:lnTo>
                  <a:close/>
                </a:path>
              </a:pathLst>
            </a:custGeom>
            <a:solidFill>
              <a:srgbClr val="66CC33"/>
            </a:solidFill>
            <a:ln>
              <a:noFill/>
            </a:ln>
          </p:spPr>
          <p:txBody>
            <a:bodyPr vert="horz" wrap="square" lIns="91440" tIns="45720" rIns="91440" bIns="45720" numCol="1" anchor="t" anchorCtr="0" compatLnSpc="1">
              <a:prstTxWarp prst="textNoShape">
                <a:avLst/>
              </a:prstTxWarp>
            </a:bodyPr>
            <a:lstStyle/>
            <a:p>
              <a:pPr>
                <a:lnSpc>
                  <a:spcPct val="100000"/>
                </a:lnSpc>
              </a:pPr>
              <a:endParaRPr lang="de-DE" b="1">
                <a:solidFill>
                  <a:srgbClr val="616161"/>
                </a:solidFill>
              </a:endParaRPr>
            </a:p>
          </p:txBody>
        </p:sp>
        <p:sp>
          <p:nvSpPr>
            <p:cNvPr id="17" name="Rectangle 11">
              <a:extLst>
                <a:ext uri="{FF2B5EF4-FFF2-40B4-BE49-F238E27FC236}">
                  <a16:creationId xmlns:a16="http://schemas.microsoft.com/office/drawing/2014/main" id="{AA5AE9D2-21E5-6654-A0AB-2C7D2E905172}"/>
                </a:ext>
              </a:extLst>
            </p:cNvPr>
            <p:cNvSpPr>
              <a:spLocks noChangeArrowheads="1"/>
            </p:cNvSpPr>
            <p:nvPr/>
          </p:nvSpPr>
          <p:spPr bwMode="gray">
            <a:xfrm>
              <a:off x="11304588" y="6383338"/>
              <a:ext cx="36513" cy="125413"/>
            </a:xfrm>
            <a:prstGeom prst="rect">
              <a:avLst/>
            </a:prstGeom>
            <a:solidFill>
              <a:srgbClr val="66CC33"/>
            </a:solidFill>
            <a:ln>
              <a:noFill/>
            </a:ln>
          </p:spPr>
          <p:txBody>
            <a:bodyPr vert="horz" wrap="square" lIns="91440" tIns="45720" rIns="91440" bIns="45720" numCol="1" anchor="t" anchorCtr="0" compatLnSpc="1">
              <a:prstTxWarp prst="textNoShape">
                <a:avLst/>
              </a:prstTxWarp>
            </a:bodyPr>
            <a:lstStyle/>
            <a:p>
              <a:pPr>
                <a:lnSpc>
                  <a:spcPct val="100000"/>
                </a:lnSpc>
              </a:pPr>
              <a:endParaRPr lang="de-DE" b="1">
                <a:solidFill>
                  <a:srgbClr val="616161"/>
                </a:solidFill>
              </a:endParaRPr>
            </a:p>
          </p:txBody>
        </p:sp>
        <p:sp>
          <p:nvSpPr>
            <p:cNvPr id="18" name="Freeform 12">
              <a:extLst>
                <a:ext uri="{FF2B5EF4-FFF2-40B4-BE49-F238E27FC236}">
                  <a16:creationId xmlns:a16="http://schemas.microsoft.com/office/drawing/2014/main" id="{AE4D3AFD-7F9C-4F1E-B7D9-5EC57CDBEA85}"/>
                </a:ext>
              </a:extLst>
            </p:cNvPr>
            <p:cNvSpPr>
              <a:spLocks noEditPoints="1"/>
            </p:cNvSpPr>
            <p:nvPr/>
          </p:nvSpPr>
          <p:spPr bwMode="gray">
            <a:xfrm>
              <a:off x="11363325" y="6381750"/>
              <a:ext cx="161925" cy="130175"/>
            </a:xfrm>
            <a:custGeom>
              <a:avLst/>
              <a:gdLst>
                <a:gd name="T0" fmla="*/ 225 w 449"/>
                <a:gd name="T1" fmla="*/ 57 h 351"/>
                <a:gd name="T2" fmla="*/ 346 w 449"/>
                <a:gd name="T3" fmla="*/ 175 h 351"/>
                <a:gd name="T4" fmla="*/ 225 w 449"/>
                <a:gd name="T5" fmla="*/ 292 h 351"/>
                <a:gd name="T6" fmla="*/ 104 w 449"/>
                <a:gd name="T7" fmla="*/ 172 h 351"/>
                <a:gd name="T8" fmla="*/ 225 w 449"/>
                <a:gd name="T9" fmla="*/ 57 h 351"/>
                <a:gd name="T10" fmla="*/ 0 w 449"/>
                <a:gd name="T11" fmla="*/ 172 h 351"/>
                <a:gd name="T12" fmla="*/ 225 w 449"/>
                <a:gd name="T13" fmla="*/ 351 h 351"/>
                <a:gd name="T14" fmla="*/ 449 w 449"/>
                <a:gd name="T15" fmla="*/ 175 h 351"/>
                <a:gd name="T16" fmla="*/ 247 w 449"/>
                <a:gd name="T17" fmla="*/ 0 h 351"/>
                <a:gd name="T18" fmla="*/ 203 w 449"/>
                <a:gd name="T19" fmla="*/ 0 h 351"/>
                <a:gd name="T20" fmla="*/ 0 w 449"/>
                <a:gd name="T21" fmla="*/ 172 h 3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49" h="351">
                  <a:moveTo>
                    <a:pt x="225" y="57"/>
                  </a:moveTo>
                  <a:cubicBezTo>
                    <a:pt x="308" y="57"/>
                    <a:pt x="346" y="95"/>
                    <a:pt x="346" y="175"/>
                  </a:cubicBezTo>
                  <a:cubicBezTo>
                    <a:pt x="346" y="254"/>
                    <a:pt x="308" y="292"/>
                    <a:pt x="225" y="292"/>
                  </a:cubicBezTo>
                  <a:cubicBezTo>
                    <a:pt x="140" y="292"/>
                    <a:pt x="104" y="254"/>
                    <a:pt x="104" y="172"/>
                  </a:cubicBezTo>
                  <a:cubicBezTo>
                    <a:pt x="104" y="95"/>
                    <a:pt x="143" y="57"/>
                    <a:pt x="225" y="57"/>
                  </a:cubicBezTo>
                  <a:close/>
                  <a:moveTo>
                    <a:pt x="0" y="172"/>
                  </a:moveTo>
                  <a:cubicBezTo>
                    <a:pt x="0" y="294"/>
                    <a:pt x="70" y="351"/>
                    <a:pt x="225" y="351"/>
                  </a:cubicBezTo>
                  <a:cubicBezTo>
                    <a:pt x="378" y="351"/>
                    <a:pt x="449" y="294"/>
                    <a:pt x="449" y="175"/>
                  </a:cubicBezTo>
                  <a:cubicBezTo>
                    <a:pt x="449" y="61"/>
                    <a:pt x="385" y="5"/>
                    <a:pt x="247" y="0"/>
                  </a:cubicBezTo>
                  <a:lnTo>
                    <a:pt x="203" y="0"/>
                  </a:lnTo>
                  <a:cubicBezTo>
                    <a:pt x="67" y="5"/>
                    <a:pt x="0" y="61"/>
                    <a:pt x="0" y="172"/>
                  </a:cubicBezTo>
                  <a:close/>
                </a:path>
              </a:pathLst>
            </a:custGeom>
            <a:solidFill>
              <a:srgbClr val="66CC33"/>
            </a:solidFill>
            <a:ln>
              <a:noFill/>
            </a:ln>
          </p:spPr>
          <p:txBody>
            <a:bodyPr vert="horz" wrap="square" lIns="91440" tIns="45720" rIns="91440" bIns="45720" numCol="1" anchor="t" anchorCtr="0" compatLnSpc="1">
              <a:prstTxWarp prst="textNoShape">
                <a:avLst/>
              </a:prstTxWarp>
            </a:bodyPr>
            <a:lstStyle/>
            <a:p>
              <a:pPr>
                <a:lnSpc>
                  <a:spcPct val="100000"/>
                </a:lnSpc>
              </a:pPr>
              <a:endParaRPr lang="de-DE" b="1">
                <a:solidFill>
                  <a:srgbClr val="616161"/>
                </a:solidFill>
              </a:endParaRPr>
            </a:p>
          </p:txBody>
        </p:sp>
        <p:sp>
          <p:nvSpPr>
            <p:cNvPr id="19" name="Freeform 13">
              <a:extLst>
                <a:ext uri="{FF2B5EF4-FFF2-40B4-BE49-F238E27FC236}">
                  <a16:creationId xmlns:a16="http://schemas.microsoft.com/office/drawing/2014/main" id="{DD47989A-E843-AE51-6B2D-83AF32BA64EC}"/>
                </a:ext>
              </a:extLst>
            </p:cNvPr>
            <p:cNvSpPr>
              <a:spLocks/>
            </p:cNvSpPr>
            <p:nvPr/>
          </p:nvSpPr>
          <p:spPr bwMode="gray">
            <a:xfrm>
              <a:off x="11549063" y="6383338"/>
              <a:ext cx="141288" cy="125413"/>
            </a:xfrm>
            <a:custGeom>
              <a:avLst/>
              <a:gdLst>
                <a:gd name="T0" fmla="*/ 120 w 396"/>
                <a:gd name="T1" fmla="*/ 0 h 338"/>
                <a:gd name="T2" fmla="*/ 304 w 396"/>
                <a:gd name="T3" fmla="*/ 243 h 338"/>
                <a:gd name="T4" fmla="*/ 304 w 396"/>
                <a:gd name="T5" fmla="*/ 0 h 338"/>
                <a:gd name="T6" fmla="*/ 396 w 396"/>
                <a:gd name="T7" fmla="*/ 0 h 338"/>
                <a:gd name="T8" fmla="*/ 396 w 396"/>
                <a:gd name="T9" fmla="*/ 338 h 338"/>
                <a:gd name="T10" fmla="*/ 286 w 396"/>
                <a:gd name="T11" fmla="*/ 338 h 338"/>
                <a:gd name="T12" fmla="*/ 93 w 396"/>
                <a:gd name="T13" fmla="*/ 82 h 338"/>
                <a:gd name="T14" fmla="*/ 93 w 396"/>
                <a:gd name="T15" fmla="*/ 338 h 338"/>
                <a:gd name="T16" fmla="*/ 0 w 396"/>
                <a:gd name="T17" fmla="*/ 338 h 338"/>
                <a:gd name="T18" fmla="*/ 0 w 396"/>
                <a:gd name="T19" fmla="*/ 0 h 338"/>
                <a:gd name="T20" fmla="*/ 120 w 396"/>
                <a:gd name="T21" fmla="*/ 0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96" h="338">
                  <a:moveTo>
                    <a:pt x="120" y="0"/>
                  </a:moveTo>
                  <a:lnTo>
                    <a:pt x="304" y="243"/>
                  </a:lnTo>
                  <a:lnTo>
                    <a:pt x="304" y="0"/>
                  </a:lnTo>
                  <a:lnTo>
                    <a:pt x="396" y="0"/>
                  </a:lnTo>
                  <a:lnTo>
                    <a:pt x="396" y="338"/>
                  </a:lnTo>
                  <a:lnTo>
                    <a:pt x="286" y="338"/>
                  </a:lnTo>
                  <a:lnTo>
                    <a:pt x="93" y="82"/>
                  </a:lnTo>
                  <a:lnTo>
                    <a:pt x="93" y="338"/>
                  </a:lnTo>
                  <a:lnTo>
                    <a:pt x="0" y="338"/>
                  </a:lnTo>
                  <a:lnTo>
                    <a:pt x="0" y="0"/>
                  </a:lnTo>
                  <a:lnTo>
                    <a:pt x="120" y="0"/>
                  </a:lnTo>
                  <a:close/>
                </a:path>
              </a:pathLst>
            </a:custGeom>
            <a:solidFill>
              <a:srgbClr val="66CC33"/>
            </a:solidFill>
            <a:ln>
              <a:noFill/>
            </a:ln>
          </p:spPr>
          <p:txBody>
            <a:bodyPr vert="horz" wrap="square" lIns="91440" tIns="45720" rIns="91440" bIns="45720" numCol="1" anchor="t" anchorCtr="0" compatLnSpc="1">
              <a:prstTxWarp prst="textNoShape">
                <a:avLst/>
              </a:prstTxWarp>
            </a:bodyPr>
            <a:lstStyle/>
            <a:p>
              <a:pPr>
                <a:lnSpc>
                  <a:spcPct val="100000"/>
                </a:lnSpc>
              </a:pPr>
              <a:endParaRPr lang="de-DE" b="1">
                <a:solidFill>
                  <a:srgbClr val="616161"/>
                </a:solidFill>
              </a:endParaRPr>
            </a:p>
          </p:txBody>
        </p:sp>
      </p:grpSp>
      <p:sp>
        <p:nvSpPr>
          <p:cNvPr id="4" name="Title Placeholder 3">
            <a:extLst>
              <a:ext uri="{FF2B5EF4-FFF2-40B4-BE49-F238E27FC236}">
                <a16:creationId xmlns:a16="http://schemas.microsoft.com/office/drawing/2014/main" id="{830B595B-5B20-F6F9-CB75-ECE01D213F36}"/>
              </a:ext>
            </a:extLst>
          </p:cNvPr>
          <p:cNvSpPr>
            <a:spLocks noGrp="1"/>
          </p:cNvSpPr>
          <p:nvPr>
            <p:ph type="title"/>
          </p:nvPr>
        </p:nvSpPr>
        <p:spPr bwMode="gray">
          <a:xfrm>
            <a:off x="515937" y="476250"/>
            <a:ext cx="11160125" cy="430887"/>
          </a:xfrm>
          <a:prstGeom prst="rect">
            <a:avLst/>
          </a:prstGeom>
        </p:spPr>
        <p:txBody>
          <a:bodyPr vert="horz" wrap="square" lIns="0" tIns="0" rIns="0" bIns="0" rtlCol="0" anchor="t">
            <a:spAutoFit/>
          </a:bodyPr>
          <a:lstStyle/>
          <a:p>
            <a:r>
              <a:rPr lang="en-US"/>
              <a:t>Click to edit title</a:t>
            </a:r>
          </a:p>
        </p:txBody>
      </p:sp>
    </p:spTree>
    <p:extLst>
      <p:ext uri="{BB962C8B-B14F-4D97-AF65-F5344CB8AC3E}">
        <p14:creationId xmlns:p14="http://schemas.microsoft.com/office/powerpoint/2010/main" val="579290572"/>
      </p:ext>
    </p:extLst>
  </p:cSld>
  <p:clrMap bg1="lt1" tx1="dk1" bg2="lt2" tx2="dk2" accent1="accent1" accent2="accent2" accent3="accent3" accent4="accent4" accent5="accent5" accent6="accent6" hlink="hlink" folHlink="folHlink"/>
  <p:sldLayoutIdLst>
    <p:sldLayoutId id="2147483649" r:id="rId1"/>
    <p:sldLayoutId id="2147483657" r:id="rId2"/>
    <p:sldLayoutId id="2147483658" r:id="rId3"/>
    <p:sldLayoutId id="2147483655" r:id="rId4"/>
    <p:sldLayoutId id="2147483656" r:id="rId5"/>
    <p:sldLayoutId id="2147483659" r:id="rId6"/>
    <p:sldLayoutId id="2147483660" r:id="rId7"/>
    <p:sldLayoutId id="2147483661" r:id="rId8"/>
    <p:sldLayoutId id="2147483662" r:id="rId9"/>
    <p:sldLayoutId id="2147483663" r:id="rId10"/>
    <p:sldLayoutId id="2147483664" r:id="rId11"/>
    <p:sldLayoutId id="2147483665" r:id="rId12"/>
    <p:sldLayoutId id="2147483666" r:id="rId13"/>
    <p:sldLayoutId id="2147483667" r:id="rId14"/>
    <p:sldLayoutId id="2147483668" r:id="rId15"/>
    <p:sldLayoutId id="2147483669" r:id="rId16"/>
    <p:sldLayoutId id="2147483670" r:id="rId17"/>
    <p:sldLayoutId id="2147483671" r:id="rId18"/>
    <p:sldLayoutId id="2147483672" r:id="rId19"/>
    <p:sldLayoutId id="2147483673" r:id="rId20"/>
    <p:sldLayoutId id="2147483674" r:id="rId21"/>
    <p:sldLayoutId id="2147483675" r:id="rId22"/>
    <p:sldLayoutId id="2147483676" r:id="rId23"/>
  </p:sldLayoutIdLst>
  <p:hf hdr="0" dt="0"/>
  <p:txStyles>
    <p:titleStyle>
      <a:lvl1pPr algn="l" defTabSz="914400" rtl="0" eaLnBrk="1" latinLnBrk="0" hangingPunct="1">
        <a:lnSpc>
          <a:spcPct val="100000"/>
        </a:lnSpc>
        <a:spcBef>
          <a:spcPct val="0"/>
        </a:spcBef>
        <a:buNone/>
        <a:defRPr sz="2800" b="1" kern="1200">
          <a:solidFill>
            <a:schemeClr val="accent1"/>
          </a:solidFill>
          <a:latin typeface="+mj-lt"/>
          <a:ea typeface="+mj-ea"/>
          <a:cs typeface="+mj-cs"/>
        </a:defRPr>
      </a:lvl1pPr>
    </p:titleStyle>
    <p:bodyStyle>
      <a:lvl1pPr marL="180000" indent="-180000"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1600" kern="1200">
          <a:solidFill>
            <a:schemeClr val="tx1"/>
          </a:solidFill>
          <a:latin typeface="+mn-lt"/>
          <a:ea typeface="+mn-ea"/>
          <a:cs typeface="+mn-cs"/>
        </a:defRPr>
      </a:lvl1pPr>
      <a:lvl2pPr marL="360000" indent="-18000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a:solidFill>
            <a:schemeClr val="tx1"/>
          </a:solidFill>
          <a:latin typeface="+mn-lt"/>
          <a:ea typeface="+mn-ea"/>
          <a:cs typeface="+mn-cs"/>
        </a:defRPr>
      </a:lvl2pPr>
      <a:lvl3pPr marL="540000" indent="-180000" algn="l" defTabSz="914400" rtl="0" eaLnBrk="1" latinLnBrk="0" hangingPunct="1">
        <a:lnSpc>
          <a:spcPct val="100000"/>
        </a:lnSpc>
        <a:spcBef>
          <a:spcPts val="0"/>
        </a:spcBef>
        <a:spcAft>
          <a:spcPts val="600"/>
        </a:spcAft>
        <a:buClr>
          <a:srgbClr val="BDBDBD"/>
        </a:buClr>
        <a:buFont typeface="Arial" panose="020B0604020202020204" pitchFamily="34" charset="0"/>
        <a:buChar char="•"/>
        <a:defRPr sz="1600" kern="1200">
          <a:solidFill>
            <a:schemeClr val="tx1"/>
          </a:solidFill>
          <a:latin typeface="+mn-lt"/>
          <a:ea typeface="+mn-ea"/>
          <a:cs typeface="+mn-cs"/>
        </a:defRPr>
      </a:lvl3pPr>
      <a:lvl4pPr marL="720000" indent="-180000" algn="l" defTabSz="914400" rtl="0" eaLnBrk="1" latinLnBrk="0" hangingPunct="1">
        <a:lnSpc>
          <a:spcPct val="100000"/>
        </a:lnSpc>
        <a:spcBef>
          <a:spcPts val="0"/>
        </a:spcBef>
        <a:spcAft>
          <a:spcPts val="600"/>
        </a:spcAft>
        <a:buClr>
          <a:srgbClr val="BDBDBD"/>
        </a:buClr>
        <a:buFont typeface="Arial" panose="020B0604020202020204" pitchFamily="34" charset="0"/>
        <a:buChar char="•"/>
        <a:defRPr sz="1600" kern="1200">
          <a:solidFill>
            <a:schemeClr val="tx1"/>
          </a:solidFill>
          <a:latin typeface="+mn-lt"/>
          <a:ea typeface="+mn-ea"/>
          <a:cs typeface="+mn-cs"/>
        </a:defRPr>
      </a:lvl4pPr>
      <a:lvl5pPr marL="900000" indent="-180000" algn="l" defTabSz="914400" rtl="0" eaLnBrk="1" latinLnBrk="0" hangingPunct="1">
        <a:lnSpc>
          <a:spcPct val="100000"/>
        </a:lnSpc>
        <a:spcBef>
          <a:spcPts val="0"/>
        </a:spcBef>
        <a:spcAft>
          <a:spcPts val="600"/>
        </a:spcAft>
        <a:buClr>
          <a:srgbClr val="BDBDBD"/>
        </a:buClr>
        <a:buFont typeface="Arial" panose="020B0604020202020204" pitchFamily="34" charset="0"/>
        <a:buChar char="•"/>
        <a:defRPr sz="1600" kern="1200">
          <a:solidFill>
            <a:schemeClr val="tx1"/>
          </a:solidFill>
          <a:latin typeface="+mn-lt"/>
          <a:ea typeface="+mn-ea"/>
          <a:cs typeface="+mn-cs"/>
        </a:defRPr>
      </a:lvl5pPr>
      <a:lvl6pPr marL="1080000" indent="-180000" algn="l" defTabSz="914400" rtl="0" eaLnBrk="1" latinLnBrk="0" hangingPunct="1">
        <a:lnSpc>
          <a:spcPct val="100000"/>
        </a:lnSpc>
        <a:spcBef>
          <a:spcPts val="0"/>
        </a:spcBef>
        <a:spcAft>
          <a:spcPts val="600"/>
        </a:spcAft>
        <a:buClr>
          <a:srgbClr val="BDBDBD"/>
        </a:buClr>
        <a:buFont typeface="Arial" panose="020B0604020202020204" pitchFamily="34" charset="0"/>
        <a:buChar char="•"/>
        <a:defRPr sz="1600" kern="1200">
          <a:solidFill>
            <a:schemeClr val="tx1"/>
          </a:solidFill>
          <a:latin typeface="+mn-lt"/>
          <a:ea typeface="+mn-ea"/>
          <a:cs typeface="+mn-cs"/>
        </a:defRPr>
      </a:lvl6pPr>
      <a:lvl7pPr marL="1260000" indent="-180000" algn="l" defTabSz="914400" rtl="0" eaLnBrk="1" latinLnBrk="0" hangingPunct="1">
        <a:lnSpc>
          <a:spcPct val="100000"/>
        </a:lnSpc>
        <a:spcBef>
          <a:spcPts val="0"/>
        </a:spcBef>
        <a:spcAft>
          <a:spcPts val="600"/>
        </a:spcAft>
        <a:buClr>
          <a:srgbClr val="BDBDBD"/>
        </a:buClr>
        <a:buFont typeface="Arial" panose="020B0604020202020204" pitchFamily="34" charset="0"/>
        <a:buChar char="•"/>
        <a:defRPr sz="1600" kern="1200">
          <a:solidFill>
            <a:schemeClr val="tx1"/>
          </a:solidFill>
          <a:latin typeface="+mn-lt"/>
          <a:ea typeface="+mn-ea"/>
          <a:cs typeface="+mn-cs"/>
        </a:defRPr>
      </a:lvl7pPr>
      <a:lvl8pPr marL="1440000" indent="-180000" algn="l" defTabSz="914400" rtl="0" eaLnBrk="1" latinLnBrk="0" hangingPunct="1">
        <a:lnSpc>
          <a:spcPct val="100000"/>
        </a:lnSpc>
        <a:spcBef>
          <a:spcPts val="0"/>
        </a:spcBef>
        <a:spcAft>
          <a:spcPts val="600"/>
        </a:spcAft>
        <a:buClr>
          <a:srgbClr val="BDBDBD"/>
        </a:buClr>
        <a:buFont typeface="Arial" panose="020B0604020202020204" pitchFamily="34" charset="0"/>
        <a:buChar char="•"/>
        <a:defRPr sz="1600" kern="1200">
          <a:solidFill>
            <a:schemeClr val="tx1"/>
          </a:solidFill>
          <a:latin typeface="+mn-lt"/>
          <a:ea typeface="+mn-ea"/>
          <a:cs typeface="+mn-cs"/>
        </a:defRPr>
      </a:lvl8pPr>
      <a:lvl9pPr marL="1620000" indent="-180000" algn="l" defTabSz="914400" rtl="0" eaLnBrk="1" latinLnBrk="0" hangingPunct="1">
        <a:lnSpc>
          <a:spcPct val="100000"/>
        </a:lnSpc>
        <a:spcBef>
          <a:spcPts val="0"/>
        </a:spcBef>
        <a:spcAft>
          <a:spcPts val="600"/>
        </a:spcAft>
        <a:buClr>
          <a:srgbClr val="BDBDBD"/>
        </a:buClr>
        <a:buFont typeface="Arial" panose="020B0604020202020204" pitchFamily="34" charset="0"/>
        <a:buChar char="•"/>
        <a:defRPr sz="16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25" userDrawn="1">
          <p15:clr>
            <a:srgbClr val="F26B43"/>
          </p15:clr>
        </p15:guide>
        <p15:guide id="2" pos="7355" userDrawn="1">
          <p15:clr>
            <a:srgbClr val="F26B43"/>
          </p15:clr>
        </p15:guide>
        <p15:guide id="3" orient="horz" pos="300" userDrawn="1">
          <p15:clr>
            <a:srgbClr val="F26B43"/>
          </p15:clr>
        </p15:guide>
        <p15:guide id="4" orient="horz" pos="3974"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Layout" Target="../slideLayouts/slideLayout1.xml"/><Relationship Id="rId1" Type="http://schemas.openxmlformats.org/officeDocument/2006/relationships/tags" Target="../tags/tag23.xml"/><Relationship Id="rId5" Type="http://schemas.openxmlformats.org/officeDocument/2006/relationships/image" Target="../media/image41.jpeg"/><Relationship Id="rId4" Type="http://schemas.openxmlformats.org/officeDocument/2006/relationships/image" Target="../media/image7.emf"/></Relationships>
</file>

<file path=ppt/slides/_rels/slide11.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2.xml"/><Relationship Id="rId1" Type="http://schemas.openxmlformats.org/officeDocument/2006/relationships/slideLayout" Target="../slideLayouts/slideLayout18.xml"/><Relationship Id="rId5" Type="http://schemas.openxmlformats.org/officeDocument/2006/relationships/image" Target="../media/image44.png"/><Relationship Id="rId4" Type="http://schemas.openxmlformats.org/officeDocument/2006/relationships/image" Target="../media/image43.png"/></Relationships>
</file>

<file path=ppt/slides/_rels/slide12.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45.png"/><Relationship Id="rId1" Type="http://schemas.openxmlformats.org/officeDocument/2006/relationships/slideLayout" Target="../slideLayouts/slideLayout5.xml"/><Relationship Id="rId4" Type="http://schemas.microsoft.com/office/2007/relationships/hdphoto" Target="../media/hdphoto1.wdp"/></Relationships>
</file>

<file path=ppt/slides/_rels/slide13.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3.xml"/><Relationship Id="rId1" Type="http://schemas.openxmlformats.org/officeDocument/2006/relationships/slideLayout" Target="../slideLayouts/slideLayout18.xml"/><Relationship Id="rId4" Type="http://schemas.openxmlformats.org/officeDocument/2006/relationships/image" Target="../media/image48.png"/></Relationships>
</file>

<file path=ppt/slides/_rels/slide14.xml.rels><?xml version="1.0" encoding="UTF-8" standalone="yes"?>
<Relationships xmlns="http://schemas.openxmlformats.org/package/2006/relationships"><Relationship Id="rId8" Type="http://schemas.openxmlformats.org/officeDocument/2006/relationships/image" Target="../media/image54.png"/><Relationship Id="rId13" Type="http://schemas.microsoft.com/office/2007/relationships/hdphoto" Target="../media/hdphoto2.wdp"/><Relationship Id="rId3" Type="http://schemas.openxmlformats.org/officeDocument/2006/relationships/image" Target="../media/image49.png"/><Relationship Id="rId7" Type="http://schemas.openxmlformats.org/officeDocument/2006/relationships/image" Target="../media/image53.png"/><Relationship Id="rId12" Type="http://schemas.openxmlformats.org/officeDocument/2006/relationships/image" Target="../media/image58.png"/><Relationship Id="rId2" Type="http://schemas.openxmlformats.org/officeDocument/2006/relationships/notesSlide" Target="../notesSlides/notesSlide4.xml"/><Relationship Id="rId16" Type="http://schemas.openxmlformats.org/officeDocument/2006/relationships/image" Target="../media/image61.png"/><Relationship Id="rId1" Type="http://schemas.openxmlformats.org/officeDocument/2006/relationships/slideLayout" Target="../slideLayouts/slideLayout4.xml"/><Relationship Id="rId6" Type="http://schemas.openxmlformats.org/officeDocument/2006/relationships/image" Target="../media/image52.png"/><Relationship Id="rId11" Type="http://schemas.openxmlformats.org/officeDocument/2006/relationships/image" Target="../media/image57.png"/><Relationship Id="rId5" Type="http://schemas.openxmlformats.org/officeDocument/2006/relationships/image" Target="../media/image51.png"/><Relationship Id="rId15" Type="http://schemas.openxmlformats.org/officeDocument/2006/relationships/image" Target="../media/image60.png"/><Relationship Id="rId10" Type="http://schemas.openxmlformats.org/officeDocument/2006/relationships/image" Target="../media/image56.png"/><Relationship Id="rId4" Type="http://schemas.openxmlformats.org/officeDocument/2006/relationships/image" Target="../media/image50.png"/><Relationship Id="rId9" Type="http://schemas.openxmlformats.org/officeDocument/2006/relationships/image" Target="../media/image55.png"/><Relationship Id="rId14" Type="http://schemas.openxmlformats.org/officeDocument/2006/relationships/image" Target="../media/image59.png"/></Relationships>
</file>

<file path=ppt/slides/_rels/slide15.xml.rels><?xml version="1.0" encoding="UTF-8" standalone="yes"?>
<Relationships xmlns="http://schemas.openxmlformats.org/package/2006/relationships"><Relationship Id="rId8" Type="http://schemas.openxmlformats.org/officeDocument/2006/relationships/image" Target="../media/image66.png"/><Relationship Id="rId13" Type="http://schemas.openxmlformats.org/officeDocument/2006/relationships/image" Target="../media/image71.png"/><Relationship Id="rId18" Type="http://schemas.openxmlformats.org/officeDocument/2006/relationships/image" Target="../media/image76.png"/><Relationship Id="rId3" Type="http://schemas.openxmlformats.org/officeDocument/2006/relationships/image" Target="../media/image62.png"/><Relationship Id="rId7" Type="http://schemas.openxmlformats.org/officeDocument/2006/relationships/image" Target="../media/image65.png"/><Relationship Id="rId12" Type="http://schemas.openxmlformats.org/officeDocument/2006/relationships/image" Target="../media/image70.svg"/><Relationship Id="rId17" Type="http://schemas.openxmlformats.org/officeDocument/2006/relationships/image" Target="../media/image75.png"/><Relationship Id="rId2" Type="http://schemas.openxmlformats.org/officeDocument/2006/relationships/notesSlide" Target="../notesSlides/notesSlide5.xml"/><Relationship Id="rId16" Type="http://schemas.openxmlformats.org/officeDocument/2006/relationships/image" Target="../media/image74.png"/><Relationship Id="rId20" Type="http://schemas.openxmlformats.org/officeDocument/2006/relationships/image" Target="../media/image78.png"/><Relationship Id="rId1" Type="http://schemas.openxmlformats.org/officeDocument/2006/relationships/slideLayout" Target="../slideLayouts/slideLayout18.xml"/><Relationship Id="rId6" Type="http://schemas.openxmlformats.org/officeDocument/2006/relationships/image" Target="../media/image64.png"/><Relationship Id="rId11" Type="http://schemas.openxmlformats.org/officeDocument/2006/relationships/image" Target="../media/image69.png"/><Relationship Id="rId5" Type="http://schemas.openxmlformats.org/officeDocument/2006/relationships/image" Target="../media/image63.png"/><Relationship Id="rId15" Type="http://schemas.openxmlformats.org/officeDocument/2006/relationships/image" Target="../media/image73.png"/><Relationship Id="rId10" Type="http://schemas.openxmlformats.org/officeDocument/2006/relationships/image" Target="../media/image68.svg"/><Relationship Id="rId19" Type="http://schemas.openxmlformats.org/officeDocument/2006/relationships/image" Target="../media/image77.png"/><Relationship Id="rId4" Type="http://schemas.openxmlformats.org/officeDocument/2006/relationships/image" Target="../media/image50.png"/><Relationship Id="rId9" Type="http://schemas.openxmlformats.org/officeDocument/2006/relationships/image" Target="../media/image67.png"/><Relationship Id="rId14" Type="http://schemas.openxmlformats.org/officeDocument/2006/relationships/image" Target="../media/image72.svg"/></Relationships>
</file>

<file path=ppt/slides/_rels/slide16.xml.rels><?xml version="1.0" encoding="UTF-8" standalone="yes"?>
<Relationships xmlns="http://schemas.openxmlformats.org/package/2006/relationships"><Relationship Id="rId3" Type="http://schemas.openxmlformats.org/officeDocument/2006/relationships/image" Target="../media/image79.jpeg"/><Relationship Id="rId2" Type="http://schemas.openxmlformats.org/officeDocument/2006/relationships/notesSlide" Target="../notesSlides/notesSlide6.xml"/><Relationship Id="rId1" Type="http://schemas.openxmlformats.org/officeDocument/2006/relationships/slideLayout" Target="../slideLayouts/slideLayout1.xml"/></Relationships>
</file>

<file path=ppt/slides/_rels/slide17.xml.rels><?xml version="1.0" encoding="UTF-8" standalone="yes"?>
<Relationships xmlns="http://schemas.openxmlformats.org/package/2006/relationships"><Relationship Id="rId3" Type="http://schemas.openxmlformats.org/officeDocument/2006/relationships/image" Target="../media/image80.jpeg"/><Relationship Id="rId2" Type="http://schemas.openxmlformats.org/officeDocument/2006/relationships/notesSlide" Target="../notesSlides/notesSlide7.xml"/><Relationship Id="rId1" Type="http://schemas.openxmlformats.org/officeDocument/2006/relationships/slideLayout" Target="../slideLayouts/slideLayout11.xml"/><Relationship Id="rId4" Type="http://schemas.openxmlformats.org/officeDocument/2006/relationships/image" Target="../media/image81.png"/></Relationships>
</file>

<file path=ppt/slides/_rels/slide18.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notesSlide" Target="../notesSlides/notesSlide8.xml"/><Relationship Id="rId1" Type="http://schemas.openxmlformats.org/officeDocument/2006/relationships/slideLayout" Target="../slideLayouts/slideLayout5.xml"/></Relationships>
</file>

<file path=ppt/slides/_rels/slide19.xml.rels><?xml version="1.0" encoding="UTF-8" standalone="yes"?>
<Relationships xmlns="http://schemas.openxmlformats.org/package/2006/relationships"><Relationship Id="rId2" Type="http://schemas.openxmlformats.org/officeDocument/2006/relationships/image" Target="../media/image82.png"/><Relationship Id="rId1" Type="http://schemas.openxmlformats.org/officeDocument/2006/relationships/slideLayout" Target="../slideLayouts/slideLayout2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0.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83.png"/><Relationship Id="rId1" Type="http://schemas.openxmlformats.org/officeDocument/2006/relationships/slideLayout" Target="../slideLayouts/slideLayout1.xml"/></Relationships>
</file>

<file path=ppt/slides/_rels/slide21.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notesSlide" Target="../notesSlides/notesSlide9.xml"/><Relationship Id="rId1" Type="http://schemas.openxmlformats.org/officeDocument/2006/relationships/slideLayout" Target="../slideLayouts/slideLayout1.xml"/><Relationship Id="rId4" Type="http://schemas.microsoft.com/office/2007/relationships/hdphoto" Target="../media/hdphoto4.wdp"/></Relationships>
</file>

<file path=ppt/slides/_rels/slide22.xml.rels><?xml version="1.0" encoding="UTF-8" standalone="yes"?>
<Relationships xmlns="http://schemas.openxmlformats.org/package/2006/relationships"><Relationship Id="rId2" Type="http://schemas.openxmlformats.org/officeDocument/2006/relationships/image" Target="../media/image85.jpeg"/><Relationship Id="rId1" Type="http://schemas.openxmlformats.org/officeDocument/2006/relationships/slideLayout" Target="../slideLayouts/slideLayout5.xml"/></Relationships>
</file>

<file path=ppt/slides/_rels/slide23.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image" Target="../media/image86.png"/><Relationship Id="rId1" Type="http://schemas.openxmlformats.org/officeDocument/2006/relationships/slideLayout" Target="../slideLayouts/slideLayout4.xml"/></Relationships>
</file>

<file path=ppt/slides/_rels/slide24.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image" Target="../media/image86.png"/><Relationship Id="rId1" Type="http://schemas.openxmlformats.org/officeDocument/2006/relationships/slideLayout" Target="../slideLayouts/slideLayout4.xml"/><Relationship Id="rId5" Type="http://schemas.openxmlformats.org/officeDocument/2006/relationships/image" Target="../media/image90.jpeg"/><Relationship Id="rId4" Type="http://schemas.openxmlformats.org/officeDocument/2006/relationships/image" Target="../media/image89.jpeg"/></Relationships>
</file>

<file path=ppt/slides/_rels/slide25.xml.rels><?xml version="1.0" encoding="UTF-8" standalone="yes"?>
<Relationships xmlns="http://schemas.openxmlformats.org/package/2006/relationships"><Relationship Id="rId3" Type="http://schemas.openxmlformats.org/officeDocument/2006/relationships/image" Target="../media/image92.png"/><Relationship Id="rId2" Type="http://schemas.openxmlformats.org/officeDocument/2006/relationships/image" Target="../media/image91.jpeg"/><Relationship Id="rId1" Type="http://schemas.openxmlformats.org/officeDocument/2006/relationships/slideLayout" Target="../slideLayouts/slideLayout4.xml"/></Relationships>
</file>

<file path=ppt/slides/_rels/slide26.xml.rels><?xml version="1.0" encoding="UTF-8" standalone="yes"?>
<Relationships xmlns="http://schemas.openxmlformats.org/package/2006/relationships"><Relationship Id="rId2" Type="http://schemas.openxmlformats.org/officeDocument/2006/relationships/image" Target="../media/image93.png"/><Relationship Id="rId1" Type="http://schemas.openxmlformats.org/officeDocument/2006/relationships/slideLayout" Target="../slideLayouts/slideLayout5.xml"/></Relationships>
</file>

<file path=ppt/slides/_rels/slide27.xml.rels><?xml version="1.0" encoding="UTF-8" standalone="yes"?>
<Relationships xmlns="http://schemas.openxmlformats.org/package/2006/relationships"><Relationship Id="rId3" Type="http://schemas.openxmlformats.org/officeDocument/2006/relationships/image" Target="../media/image95.png"/><Relationship Id="rId2" Type="http://schemas.openxmlformats.org/officeDocument/2006/relationships/image" Target="../media/image94.png"/><Relationship Id="rId1" Type="http://schemas.openxmlformats.org/officeDocument/2006/relationships/slideLayout" Target="../slideLayouts/slideLayout5.xml"/><Relationship Id="rId4" Type="http://schemas.openxmlformats.org/officeDocument/2006/relationships/image" Target="../media/image96.png"/></Relationships>
</file>

<file path=ppt/slides/_rels/slide28.xml.rels><?xml version="1.0" encoding="UTF-8" standalone="yes"?>
<Relationships xmlns="http://schemas.openxmlformats.org/package/2006/relationships"><Relationship Id="rId3" Type="http://schemas.openxmlformats.org/officeDocument/2006/relationships/image" Target="../media/image98.svg"/><Relationship Id="rId2" Type="http://schemas.openxmlformats.org/officeDocument/2006/relationships/image" Target="../media/image97.png"/><Relationship Id="rId1" Type="http://schemas.openxmlformats.org/officeDocument/2006/relationships/slideLayout" Target="../slideLayouts/slideLayout5.xml"/><Relationship Id="rId4" Type="http://schemas.openxmlformats.org/officeDocument/2006/relationships/image" Target="../media/image99.png"/></Relationships>
</file>

<file path=ppt/slides/_rels/slide29.xml.rels><?xml version="1.0" encoding="UTF-8" standalone="yes"?>
<Relationships xmlns="http://schemas.openxmlformats.org/package/2006/relationships"><Relationship Id="rId3" Type="http://schemas.openxmlformats.org/officeDocument/2006/relationships/image" Target="../media/image101.png"/><Relationship Id="rId2" Type="http://schemas.openxmlformats.org/officeDocument/2006/relationships/image" Target="../media/image100.png"/><Relationship Id="rId1"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Layout" Target="../slideLayouts/slideLayout1.xml"/><Relationship Id="rId1" Type="http://schemas.openxmlformats.org/officeDocument/2006/relationships/tags" Target="../tags/tag22.xml"/><Relationship Id="rId5" Type="http://schemas.openxmlformats.org/officeDocument/2006/relationships/image" Target="../media/image8.png"/><Relationship Id="rId4" Type="http://schemas.openxmlformats.org/officeDocument/2006/relationships/image" Target="../media/image7.emf"/></Relationships>
</file>

<file path=ppt/slides/_rels/slide30.xml.rels><?xml version="1.0" encoding="UTF-8" standalone="yes"?>
<Relationships xmlns="http://schemas.openxmlformats.org/package/2006/relationships"><Relationship Id="rId3" Type="http://schemas.openxmlformats.org/officeDocument/2006/relationships/image" Target="../media/image103.png"/><Relationship Id="rId2" Type="http://schemas.openxmlformats.org/officeDocument/2006/relationships/image" Target="../media/image102.png"/><Relationship Id="rId1" Type="http://schemas.openxmlformats.org/officeDocument/2006/relationships/slideLayout" Target="../slideLayouts/slideLayout5.xml"/></Relationships>
</file>

<file path=ppt/slides/_rels/slide31.xml.rels><?xml version="1.0" encoding="UTF-8" standalone="yes"?>
<Relationships xmlns="http://schemas.openxmlformats.org/package/2006/relationships"><Relationship Id="rId3" Type="http://schemas.openxmlformats.org/officeDocument/2006/relationships/image" Target="../media/image105.png"/><Relationship Id="rId2" Type="http://schemas.openxmlformats.org/officeDocument/2006/relationships/image" Target="../media/image104.png"/><Relationship Id="rId1" Type="http://schemas.openxmlformats.org/officeDocument/2006/relationships/slideLayout" Target="../slideLayouts/slideLayout5.xml"/></Relationships>
</file>

<file path=ppt/slides/_rels/slide32.xml.rels><?xml version="1.0" encoding="UTF-8" standalone="yes"?>
<Relationships xmlns="http://schemas.openxmlformats.org/package/2006/relationships"><Relationship Id="rId2" Type="http://schemas.openxmlformats.org/officeDocument/2006/relationships/image" Target="../media/image106.png"/><Relationship Id="rId1" Type="http://schemas.openxmlformats.org/officeDocument/2006/relationships/slideLayout" Target="../slideLayouts/slideLayout4.xml"/></Relationships>
</file>

<file path=ppt/slides/_rels/slide33.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Layout" Target="../slideLayouts/slideLayout1.xml"/><Relationship Id="rId1" Type="http://schemas.openxmlformats.org/officeDocument/2006/relationships/tags" Target="../tags/tag24.xml"/><Relationship Id="rId5" Type="http://schemas.openxmlformats.org/officeDocument/2006/relationships/image" Target="../media/image41.jpeg"/><Relationship Id="rId4" Type="http://schemas.openxmlformats.org/officeDocument/2006/relationships/image" Target="../media/image7.emf"/></Relationships>
</file>

<file path=ppt/slides/_rels/slide34.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107.png"/><Relationship Id="rId1" Type="http://schemas.openxmlformats.org/officeDocument/2006/relationships/slideLayout" Target="../slideLayouts/slideLayout5.xml"/><Relationship Id="rId5" Type="http://schemas.microsoft.com/office/2007/relationships/hdphoto" Target="../media/hdphoto6.wdp"/><Relationship Id="rId4" Type="http://schemas.openxmlformats.org/officeDocument/2006/relationships/image" Target="../media/image108.png"/></Relationships>
</file>

<file path=ppt/slides/_rels/slide35.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Layout" Target="../slideLayouts/slideLayout1.xml"/><Relationship Id="rId1" Type="http://schemas.openxmlformats.org/officeDocument/2006/relationships/tags" Target="../tags/tag25.xml"/><Relationship Id="rId5" Type="http://schemas.openxmlformats.org/officeDocument/2006/relationships/image" Target="../media/image41.jpeg"/><Relationship Id="rId4" Type="http://schemas.openxmlformats.org/officeDocument/2006/relationships/image" Target="../media/image7.emf"/></Relationships>
</file>

<file path=ppt/slides/_rels/slide36.xml.rels><?xml version="1.0" encoding="UTF-8" standalone="yes"?>
<Relationships xmlns="http://schemas.openxmlformats.org/package/2006/relationships"><Relationship Id="rId8" Type="http://schemas.openxmlformats.org/officeDocument/2006/relationships/hyperlink" Target="https://brand.sensirion.com/share/AZNzz1D58v8yFn5qCNmc" TargetMode="External"/><Relationship Id="rId13" Type="http://schemas.openxmlformats.org/officeDocument/2006/relationships/hyperlink" Target="https://brand.sensirion.com/share/mFaF2z2r6Xo58gD3hx4b" TargetMode="External"/><Relationship Id="rId18" Type="http://schemas.openxmlformats.org/officeDocument/2006/relationships/hyperlink" Target="https://brand.sensirion.com/share/PE7LFqyGU8ZHg8qQDG3N" TargetMode="External"/><Relationship Id="rId3" Type="http://schemas.openxmlformats.org/officeDocument/2006/relationships/hyperlink" Target="https://brand.sensirion.com/share/gqn8ck32bWpKLHpb2C4e" TargetMode="External"/><Relationship Id="rId21" Type="http://schemas.openxmlformats.org/officeDocument/2006/relationships/image" Target="../media/image117.png"/><Relationship Id="rId7" Type="http://schemas.openxmlformats.org/officeDocument/2006/relationships/image" Target="../media/image111.png"/><Relationship Id="rId12" Type="http://schemas.openxmlformats.org/officeDocument/2006/relationships/hyperlink" Target="https://brand.sensirion.com/share/Ak9obnu4ndUKpWqAhSju" TargetMode="External"/><Relationship Id="rId17" Type="http://schemas.openxmlformats.org/officeDocument/2006/relationships/image" Target="../media/image116.png"/><Relationship Id="rId25" Type="http://schemas.openxmlformats.org/officeDocument/2006/relationships/image" Target="../media/image120.png"/><Relationship Id="rId2" Type="http://schemas.openxmlformats.org/officeDocument/2006/relationships/hyperlink" Target="https://brand.sensirion.com/share/44truHJaPiK16VfA9hhJ" TargetMode="External"/><Relationship Id="rId16" Type="http://schemas.openxmlformats.org/officeDocument/2006/relationships/hyperlink" Target="https://brand.sensirion.com/share/NxF6wmH4GrMKrZWqXg2J" TargetMode="External"/><Relationship Id="rId20" Type="http://schemas.openxmlformats.org/officeDocument/2006/relationships/hyperlink" Target="https://brand.sensirion.com/share/KFmrW6E1ZBREsaNyuUrn" TargetMode="External"/><Relationship Id="rId1" Type="http://schemas.openxmlformats.org/officeDocument/2006/relationships/slideLayout" Target="../slideLayouts/slideLayout5.xml"/><Relationship Id="rId6" Type="http://schemas.openxmlformats.org/officeDocument/2006/relationships/image" Target="../media/image110.png"/><Relationship Id="rId11" Type="http://schemas.openxmlformats.org/officeDocument/2006/relationships/image" Target="../media/image113.png"/><Relationship Id="rId24" Type="http://schemas.openxmlformats.org/officeDocument/2006/relationships/hyperlink" Target="https://brand.sensirion.com/share/B12Xcpt5qKbFAXmsp5qv" TargetMode="External"/><Relationship Id="rId5" Type="http://schemas.openxmlformats.org/officeDocument/2006/relationships/image" Target="../media/image109.png"/><Relationship Id="rId15" Type="http://schemas.openxmlformats.org/officeDocument/2006/relationships/image" Target="../media/image115.png"/><Relationship Id="rId23" Type="http://schemas.openxmlformats.org/officeDocument/2006/relationships/image" Target="../media/image119.png"/><Relationship Id="rId10" Type="http://schemas.openxmlformats.org/officeDocument/2006/relationships/image" Target="../media/image112.png"/><Relationship Id="rId19" Type="http://schemas.openxmlformats.org/officeDocument/2006/relationships/hyperlink" Target="https://brand.sensirion.com/share/pKHVVhXjmFursv4bJzjD" TargetMode="External"/><Relationship Id="rId4" Type="http://schemas.openxmlformats.org/officeDocument/2006/relationships/hyperlink" Target="https://brand.sensirion.com/share/BN8kWiNVQg6FqASHPBPn" TargetMode="External"/><Relationship Id="rId9" Type="http://schemas.openxmlformats.org/officeDocument/2006/relationships/hyperlink" Target="https://brand.sensirion.com/share/3HvFmXrJEBpHY3jS5NaG" TargetMode="External"/><Relationship Id="rId14" Type="http://schemas.openxmlformats.org/officeDocument/2006/relationships/image" Target="../media/image114.png"/><Relationship Id="rId22" Type="http://schemas.openxmlformats.org/officeDocument/2006/relationships/image" Target="../media/image118.png"/></Relationships>
</file>

<file path=ppt/slides/_rels/slide37.xml.rels><?xml version="1.0" encoding="UTF-8" standalone="yes"?>
<Relationships xmlns="http://schemas.openxmlformats.org/package/2006/relationships"><Relationship Id="rId8" Type="http://schemas.openxmlformats.org/officeDocument/2006/relationships/hyperlink" Target="https://brand.sensirion.com/share/uYa4gfAPstG7H7suWkZH" TargetMode="External"/><Relationship Id="rId13" Type="http://schemas.openxmlformats.org/officeDocument/2006/relationships/image" Target="../media/image126.png"/><Relationship Id="rId18" Type="http://schemas.openxmlformats.org/officeDocument/2006/relationships/hyperlink" Target="https://brand.sensirion.com/share/H21KFuJi1zApgwGBcrFY" TargetMode="External"/><Relationship Id="rId3" Type="http://schemas.openxmlformats.org/officeDocument/2006/relationships/hyperlink" Target="https://brand.sensirion.com/share/zQEgCsnzYJFi1o9ftG42" TargetMode="External"/><Relationship Id="rId21" Type="http://schemas.openxmlformats.org/officeDocument/2006/relationships/image" Target="../media/image129.png"/><Relationship Id="rId7" Type="http://schemas.openxmlformats.org/officeDocument/2006/relationships/image" Target="../media/image123.png"/><Relationship Id="rId12" Type="http://schemas.openxmlformats.org/officeDocument/2006/relationships/image" Target="../media/image125.png"/><Relationship Id="rId17" Type="http://schemas.openxmlformats.org/officeDocument/2006/relationships/image" Target="../media/image128.png"/><Relationship Id="rId2" Type="http://schemas.openxmlformats.org/officeDocument/2006/relationships/hyperlink" Target="https://brand.sensirion.com/share/BhwTJFnu6EJGaAatSJUY" TargetMode="External"/><Relationship Id="rId16" Type="http://schemas.openxmlformats.org/officeDocument/2006/relationships/image" Target="../media/image127.png"/><Relationship Id="rId20" Type="http://schemas.openxmlformats.org/officeDocument/2006/relationships/hyperlink" Target="https://brand.sensirion.com/share/52p6Lh1huM9xQHyFqaMo" TargetMode="External"/><Relationship Id="rId1" Type="http://schemas.openxmlformats.org/officeDocument/2006/relationships/slideLayout" Target="../slideLayouts/slideLayout5.xml"/><Relationship Id="rId6" Type="http://schemas.openxmlformats.org/officeDocument/2006/relationships/image" Target="../media/image122.png"/><Relationship Id="rId11" Type="http://schemas.openxmlformats.org/officeDocument/2006/relationships/image" Target="../media/image124.png"/><Relationship Id="rId5" Type="http://schemas.openxmlformats.org/officeDocument/2006/relationships/image" Target="../media/image121.png"/><Relationship Id="rId15" Type="http://schemas.openxmlformats.org/officeDocument/2006/relationships/hyperlink" Target="https://brand.sensirion.com/share/S7Fek7bmNrNCH5hCfiAs" TargetMode="External"/><Relationship Id="rId23" Type="http://schemas.openxmlformats.org/officeDocument/2006/relationships/image" Target="../media/image131.png"/><Relationship Id="rId10" Type="http://schemas.openxmlformats.org/officeDocument/2006/relationships/hyperlink" Target="https://brand.sensirion.com/share/fjKC8hdhziWduuTnWScm" TargetMode="External"/><Relationship Id="rId19" Type="http://schemas.openxmlformats.org/officeDocument/2006/relationships/hyperlink" Target="https://brand.sensirion.com/share/WzvCydhhnp75nSC4LiiT" TargetMode="External"/><Relationship Id="rId4" Type="http://schemas.openxmlformats.org/officeDocument/2006/relationships/hyperlink" Target="https://brand.sensirion.com/share/NTJW1JxWTSqYRHRzA7nD" TargetMode="External"/><Relationship Id="rId9" Type="http://schemas.openxmlformats.org/officeDocument/2006/relationships/hyperlink" Target="https://brand.sensirion.com/share/yGcAtcVTv1wRSjeJH7Rt" TargetMode="External"/><Relationship Id="rId14" Type="http://schemas.openxmlformats.org/officeDocument/2006/relationships/hyperlink" Target="https://brand.sensirion.com/share/HqaWViXTUR9Q9S1wLrn8" TargetMode="External"/><Relationship Id="rId22" Type="http://schemas.openxmlformats.org/officeDocument/2006/relationships/image" Target="../media/image130.png"/></Relationships>
</file>

<file path=ppt/slides/_rels/slide38.xml.rels><?xml version="1.0" encoding="UTF-8" standalone="yes"?>
<Relationships xmlns="http://schemas.openxmlformats.org/package/2006/relationships"><Relationship Id="rId8" Type="http://schemas.openxmlformats.org/officeDocument/2006/relationships/hyperlink" Target="https://brand.sensirion.com/share/Tm9b7nzaNXWhEoh8QqHf" TargetMode="External"/><Relationship Id="rId13" Type="http://schemas.openxmlformats.org/officeDocument/2006/relationships/image" Target="../media/image137.png"/><Relationship Id="rId3" Type="http://schemas.openxmlformats.org/officeDocument/2006/relationships/hyperlink" Target="https://brand.sensirion.com/share/zt8Cp1X3zr4iw7ayif7h" TargetMode="External"/><Relationship Id="rId7" Type="http://schemas.openxmlformats.org/officeDocument/2006/relationships/image" Target="../media/image134.png"/><Relationship Id="rId12" Type="http://schemas.openxmlformats.org/officeDocument/2006/relationships/image" Target="../media/image136.png"/><Relationship Id="rId2" Type="http://schemas.openxmlformats.org/officeDocument/2006/relationships/hyperlink" Target="https://brand.sensirion.com/share/Jjx2hHxBMUvHhUz3qG4i" TargetMode="External"/><Relationship Id="rId1" Type="http://schemas.openxmlformats.org/officeDocument/2006/relationships/slideLayout" Target="../slideLayouts/slideLayout5.xml"/><Relationship Id="rId6" Type="http://schemas.openxmlformats.org/officeDocument/2006/relationships/image" Target="../media/image133.png"/><Relationship Id="rId11" Type="http://schemas.openxmlformats.org/officeDocument/2006/relationships/image" Target="../media/image135.png"/><Relationship Id="rId5" Type="http://schemas.openxmlformats.org/officeDocument/2006/relationships/image" Target="../media/image132.png"/><Relationship Id="rId15" Type="http://schemas.openxmlformats.org/officeDocument/2006/relationships/image" Target="../media/image138.png"/><Relationship Id="rId10" Type="http://schemas.openxmlformats.org/officeDocument/2006/relationships/hyperlink" Target="https://brand.sensirion.com/share/nyyuzebiwTNe3R6sC5sF" TargetMode="External"/><Relationship Id="rId4" Type="http://schemas.openxmlformats.org/officeDocument/2006/relationships/hyperlink" Target="https://brand.sensirion.com/share/eYTX1VpK8R8Pcvkmja19" TargetMode="External"/><Relationship Id="rId9" Type="http://schemas.openxmlformats.org/officeDocument/2006/relationships/hyperlink" Target="https://brand.sensirion.com/share/srCL8Xq6tie99TvSe57n" TargetMode="External"/><Relationship Id="rId14" Type="http://schemas.openxmlformats.org/officeDocument/2006/relationships/hyperlink" Target="https://brand.sensirion.com/share/cjnkfKdHp1ZNqYJTVQMT" TargetMode="External"/></Relationships>
</file>

<file path=ppt/slides/_rels/slide39.xml.rels><?xml version="1.0" encoding="UTF-8" standalone="yes"?>
<Relationships xmlns="http://schemas.openxmlformats.org/package/2006/relationships"><Relationship Id="rId2" Type="http://schemas.openxmlformats.org/officeDocument/2006/relationships/image" Target="../media/image139.png"/><Relationship Id="rId1" Type="http://schemas.openxmlformats.org/officeDocument/2006/relationships/slideLayout" Target="../slideLayouts/slideLayout5.xml"/></Relationships>
</file>

<file path=ppt/slides/_rels/slide4.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notesSlide" Target="../notesSlides/notesSlide1.xml"/><Relationship Id="rId1" Type="http://schemas.openxmlformats.org/officeDocument/2006/relationships/slideLayout" Target="../slideLayouts/slideLayout11.xml"/></Relationships>
</file>

<file path=ppt/slides/_rels/slide40.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Layout" Target="../slideLayouts/slideLayout1.xml"/><Relationship Id="rId1" Type="http://schemas.openxmlformats.org/officeDocument/2006/relationships/tags" Target="../tags/tag26.xml"/><Relationship Id="rId5" Type="http://schemas.openxmlformats.org/officeDocument/2006/relationships/image" Target="../media/image41.jpeg"/><Relationship Id="rId4" Type="http://schemas.openxmlformats.org/officeDocument/2006/relationships/image" Target="../media/image7.emf"/></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2.xml.rels><?xml version="1.0" encoding="UTF-8" standalone="yes"?>
<Relationships xmlns="http://schemas.openxmlformats.org/package/2006/relationships"><Relationship Id="rId3" Type="http://schemas.openxmlformats.org/officeDocument/2006/relationships/image" Target="../media/image140.png"/><Relationship Id="rId2" Type="http://schemas.openxmlformats.org/officeDocument/2006/relationships/hyperlink" Target="mailto:info.us@sensiron.com" TargetMode="External"/><Relationship Id="rId1" Type="http://schemas.openxmlformats.org/officeDocument/2006/relationships/slideLayout" Target="../slideLayouts/slideLayout4.xml"/></Relationships>
</file>

<file path=ppt/slides/_rels/slide43.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Layout" Target="../slideLayouts/slideLayout1.xml"/><Relationship Id="rId1" Type="http://schemas.openxmlformats.org/officeDocument/2006/relationships/tags" Target="../tags/tag27.xml"/><Relationship Id="rId5" Type="http://schemas.openxmlformats.org/officeDocument/2006/relationships/image" Target="../media/image41.jpeg"/><Relationship Id="rId4" Type="http://schemas.openxmlformats.org/officeDocument/2006/relationships/image" Target="../media/image7.emf"/></Relationships>
</file>

<file path=ppt/slides/_rels/slide44.xml.rels><?xml version="1.0" encoding="UTF-8" standalone="yes"?>
<Relationships xmlns="http://schemas.openxmlformats.org/package/2006/relationships"><Relationship Id="rId3" Type="http://schemas.openxmlformats.org/officeDocument/2006/relationships/image" Target="../media/image141.jpeg"/><Relationship Id="rId2" Type="http://schemas.openxmlformats.org/officeDocument/2006/relationships/hyperlink" Target="http://www.kahoot.com/" TargetMode="External"/><Relationship Id="rId1" Type="http://schemas.openxmlformats.org/officeDocument/2006/relationships/slideLayout" Target="../slideLayouts/slideLayout5.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5.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image" Target="../media/image10.jpeg"/><Relationship Id="rId1"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Layout" Target="../slideLayouts/slideLayout11.xml"/></Relationships>
</file>

<file path=ppt/slides/_rels/slide7.xml.rels><?xml version="1.0" encoding="UTF-8" standalone="yes"?>
<Relationships xmlns="http://schemas.openxmlformats.org/package/2006/relationships"><Relationship Id="rId8" Type="http://schemas.openxmlformats.org/officeDocument/2006/relationships/image" Target="../media/image18.png"/><Relationship Id="rId13" Type="http://schemas.openxmlformats.org/officeDocument/2006/relationships/image" Target="../media/image23.png"/><Relationship Id="rId3" Type="http://schemas.openxmlformats.org/officeDocument/2006/relationships/image" Target="../media/image13.png"/><Relationship Id="rId7" Type="http://schemas.openxmlformats.org/officeDocument/2006/relationships/image" Target="../media/image17.jpeg"/><Relationship Id="rId12" Type="http://schemas.openxmlformats.org/officeDocument/2006/relationships/image" Target="../media/image22.png"/><Relationship Id="rId2" Type="http://schemas.microsoft.com/office/2018/10/relationships/comments" Target="../comments/modernComment_7FFFD99B_59F31B75.xml"/><Relationship Id="rId16" Type="http://schemas.openxmlformats.org/officeDocument/2006/relationships/image" Target="../media/image10.jpeg"/><Relationship Id="rId1" Type="http://schemas.openxmlformats.org/officeDocument/2006/relationships/slideLayout" Target="../slideLayouts/slideLayout22.xml"/><Relationship Id="rId6" Type="http://schemas.openxmlformats.org/officeDocument/2006/relationships/image" Target="../media/image16.png"/><Relationship Id="rId11" Type="http://schemas.openxmlformats.org/officeDocument/2006/relationships/image" Target="../media/image21.jpeg"/><Relationship Id="rId5" Type="http://schemas.openxmlformats.org/officeDocument/2006/relationships/image" Target="../media/image15.png"/><Relationship Id="rId15" Type="http://schemas.openxmlformats.org/officeDocument/2006/relationships/image" Target="../media/image25.jpeg"/><Relationship Id="rId10" Type="http://schemas.openxmlformats.org/officeDocument/2006/relationships/image" Target="../media/image20.png"/><Relationship Id="rId4" Type="http://schemas.openxmlformats.org/officeDocument/2006/relationships/image" Target="../media/image14.png"/><Relationship Id="rId9" Type="http://schemas.openxmlformats.org/officeDocument/2006/relationships/image" Target="../media/image19.jpeg"/><Relationship Id="rId14" Type="http://schemas.openxmlformats.org/officeDocument/2006/relationships/image" Target="../media/image24.jpeg"/></Relationships>
</file>

<file path=ppt/slides/_rels/slide8.xml.rels><?xml version="1.0" encoding="UTF-8" standalone="yes"?>
<Relationships xmlns="http://schemas.openxmlformats.org/package/2006/relationships"><Relationship Id="rId8" Type="http://schemas.openxmlformats.org/officeDocument/2006/relationships/image" Target="../media/image32.png"/><Relationship Id="rId13" Type="http://schemas.openxmlformats.org/officeDocument/2006/relationships/hyperlink" Target="https://www.rawpixel.com/search/argentina?page=0" TargetMode="External"/><Relationship Id="rId3" Type="http://schemas.openxmlformats.org/officeDocument/2006/relationships/image" Target="../media/image27.png"/><Relationship Id="rId7" Type="http://schemas.openxmlformats.org/officeDocument/2006/relationships/image" Target="../media/image31.png"/><Relationship Id="rId12" Type="http://schemas.openxmlformats.org/officeDocument/2006/relationships/image" Target="../media/image35.jpeg"/><Relationship Id="rId17" Type="http://schemas.openxmlformats.org/officeDocument/2006/relationships/image" Target="../media/image39.jpeg"/><Relationship Id="rId2" Type="http://schemas.openxmlformats.org/officeDocument/2006/relationships/image" Target="../media/image26.png"/><Relationship Id="rId16" Type="http://schemas.openxmlformats.org/officeDocument/2006/relationships/image" Target="../media/image38.jpeg"/><Relationship Id="rId1" Type="http://schemas.openxmlformats.org/officeDocument/2006/relationships/slideLayout" Target="../slideLayouts/slideLayout23.xml"/><Relationship Id="rId6" Type="http://schemas.openxmlformats.org/officeDocument/2006/relationships/image" Target="../media/image30.png"/><Relationship Id="rId11" Type="http://schemas.openxmlformats.org/officeDocument/2006/relationships/hyperlink" Target="https://www.flickr.com/photos/80497449@N04/7378104730" TargetMode="External"/><Relationship Id="rId5" Type="http://schemas.openxmlformats.org/officeDocument/2006/relationships/image" Target="../media/image29.jpeg"/><Relationship Id="rId15" Type="http://schemas.openxmlformats.org/officeDocument/2006/relationships/image" Target="../media/image37.jpeg"/><Relationship Id="rId10" Type="http://schemas.openxmlformats.org/officeDocument/2006/relationships/image" Target="../media/image34.jpeg"/><Relationship Id="rId4" Type="http://schemas.openxmlformats.org/officeDocument/2006/relationships/image" Target="../media/image28.png"/><Relationship Id="rId9" Type="http://schemas.openxmlformats.org/officeDocument/2006/relationships/image" Target="../media/image33.png"/><Relationship Id="rId14" Type="http://schemas.openxmlformats.org/officeDocument/2006/relationships/image" Target="../media/image36.jpeg"/></Relationships>
</file>

<file path=ppt/slides/_rels/slide9.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image" Target="../media/image40.png"/><Relationship Id="rId1" Type="http://schemas.openxmlformats.org/officeDocument/2006/relationships/slideLayout" Target="../slideLayouts/slideLayout1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Placeholder 8" descr="A city with many tall buildings&#10;&#10;Description automatically generated">
            <a:extLst>
              <a:ext uri="{FF2B5EF4-FFF2-40B4-BE49-F238E27FC236}">
                <a16:creationId xmlns:a16="http://schemas.microsoft.com/office/drawing/2014/main" id="{FCB1AEED-B7E9-11E2-B5CF-548A96CA5EA8}"/>
              </a:ext>
            </a:extLst>
          </p:cNvPr>
          <p:cNvPicPr>
            <a:picLocks noGrp="1" noChangeAspect="1"/>
          </p:cNvPicPr>
          <p:nvPr>
            <p:ph type="pic" sz="quarter" idx="11"/>
          </p:nvPr>
        </p:nvPicPr>
        <p:blipFill>
          <a:blip r:embed="rId2">
            <a:extLst>
              <a:ext uri="{28A0092B-C50C-407E-A947-70E740481C1C}">
                <a14:useLocalDpi xmlns:a14="http://schemas.microsoft.com/office/drawing/2010/main" val="0"/>
              </a:ext>
            </a:extLst>
          </a:blip>
          <a:srcRect t="15" b="15"/>
          <a:stretch>
            <a:fillRect/>
          </a:stretch>
        </p:blipFill>
        <p:spPr/>
      </p:pic>
      <p:sp>
        <p:nvSpPr>
          <p:cNvPr id="3" name="Title 2">
            <a:extLst>
              <a:ext uri="{FF2B5EF4-FFF2-40B4-BE49-F238E27FC236}">
                <a16:creationId xmlns:a16="http://schemas.microsoft.com/office/drawing/2014/main" id="{FDB1EBAB-135B-6858-EDAF-B58EBD7C4E8C}"/>
              </a:ext>
            </a:extLst>
          </p:cNvPr>
          <p:cNvSpPr>
            <a:spLocks noGrp="1"/>
          </p:cNvSpPr>
          <p:nvPr>
            <p:ph type="ctrTitle"/>
          </p:nvPr>
        </p:nvSpPr>
        <p:spPr/>
        <p:txBody>
          <a:bodyPr/>
          <a:lstStyle/>
          <a:p>
            <a:r>
              <a:rPr lang="en-US"/>
              <a:t>Q3 2025 Rep Call</a:t>
            </a:r>
          </a:p>
        </p:txBody>
      </p:sp>
      <p:sp>
        <p:nvSpPr>
          <p:cNvPr id="4" name="Text Placeholder 3">
            <a:extLst>
              <a:ext uri="{FF2B5EF4-FFF2-40B4-BE49-F238E27FC236}">
                <a16:creationId xmlns:a16="http://schemas.microsoft.com/office/drawing/2014/main" id="{2F43616C-3F86-C3F2-85A5-E419CC4435B9}"/>
              </a:ext>
            </a:extLst>
          </p:cNvPr>
          <p:cNvSpPr>
            <a:spLocks noGrp="1"/>
          </p:cNvSpPr>
          <p:nvPr>
            <p:ph type="body" sz="quarter" idx="10"/>
          </p:nvPr>
        </p:nvSpPr>
        <p:spPr>
          <a:xfrm>
            <a:off x="1189036" y="1770521"/>
            <a:ext cx="9144000" cy="246221"/>
          </a:xfrm>
        </p:spPr>
        <p:txBody>
          <a:bodyPr vert="horz" wrap="square" lIns="0" tIns="0" rIns="0" bIns="0" rtlCol="0" anchor="t">
            <a:spAutoFit/>
          </a:bodyPr>
          <a:lstStyle/>
          <a:p>
            <a:r>
              <a:rPr lang="en-US">
                <a:cs typeface="Segoe UI"/>
              </a:rPr>
              <a:t>Sensirion RSM / September 15, 2025</a:t>
            </a:r>
            <a:endParaRPr lang="en-US"/>
          </a:p>
        </p:txBody>
      </p:sp>
      <p:sp>
        <p:nvSpPr>
          <p:cNvPr id="5" name="Text Placeholder 4">
            <a:extLst>
              <a:ext uri="{FF2B5EF4-FFF2-40B4-BE49-F238E27FC236}">
                <a16:creationId xmlns:a16="http://schemas.microsoft.com/office/drawing/2014/main" id="{CEDF68D6-504C-9650-BFAF-2E62F5660E35}"/>
              </a:ext>
            </a:extLst>
          </p:cNvPr>
          <p:cNvSpPr>
            <a:spLocks noGrp="1"/>
          </p:cNvSpPr>
          <p:nvPr>
            <p:ph type="body" sz="quarter" idx="12"/>
          </p:nvPr>
        </p:nvSpPr>
        <p:spPr/>
        <p:txBody>
          <a:bodyPr/>
          <a:lstStyle/>
          <a:p>
            <a:endParaRPr lang="en-US"/>
          </a:p>
        </p:txBody>
      </p:sp>
      <p:sp>
        <p:nvSpPr>
          <p:cNvPr id="6" name="Text Placeholder 5">
            <a:extLst>
              <a:ext uri="{FF2B5EF4-FFF2-40B4-BE49-F238E27FC236}">
                <a16:creationId xmlns:a16="http://schemas.microsoft.com/office/drawing/2014/main" id="{2B3EFC03-5CE6-5271-591E-EDF7D8599889}"/>
              </a:ext>
            </a:extLst>
          </p:cNvPr>
          <p:cNvSpPr>
            <a:spLocks noGrp="1"/>
          </p:cNvSpPr>
          <p:nvPr>
            <p:ph type="body" sz="quarter" idx="13"/>
          </p:nvPr>
        </p:nvSpPr>
        <p:spPr/>
        <p:txBody>
          <a:bodyPr/>
          <a:lstStyle/>
          <a:p>
            <a:endParaRPr lang="en-US"/>
          </a:p>
        </p:txBody>
      </p:sp>
    </p:spTree>
    <p:extLst>
      <p:ext uri="{BB962C8B-B14F-4D97-AF65-F5344CB8AC3E}">
        <p14:creationId xmlns:p14="http://schemas.microsoft.com/office/powerpoint/2010/main" val="381427987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F8A49D4-C687-076F-211B-C36F1407E009}"/>
            </a:ext>
          </a:extLst>
        </p:cNvPr>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F794A956-774D-CA4F-DBEB-EF42C093F6F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80" imgH="481" progId="TCLayout.ActiveDocument.1">
                  <p:embed/>
                </p:oleObj>
              </mc:Choice>
              <mc:Fallback>
                <p:oleObj name="think-cell Folie" r:id="rId3" imgW="480" imgH="481" progId="TCLayout.ActiveDocument.1">
                  <p:embed/>
                  <p:pic>
                    <p:nvPicPr>
                      <p:cNvPr id="8" name="Object 7" hidden="1">
                        <a:extLst>
                          <a:ext uri="{FF2B5EF4-FFF2-40B4-BE49-F238E27FC236}">
                            <a16:creationId xmlns:a16="http://schemas.microsoft.com/office/drawing/2014/main" id="{F794A956-774D-CA4F-DBEB-EF42C093F6F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1" name="Grafik 1" descr="Ein Bild, das Luftfotografie, draußen, Himmel, Wasser enthält.&#10;&#10;Automatisch generierte Beschreibung">
            <a:extLst>
              <a:ext uri="{FF2B5EF4-FFF2-40B4-BE49-F238E27FC236}">
                <a16:creationId xmlns:a16="http://schemas.microsoft.com/office/drawing/2014/main" id="{DE71CA2D-C79C-69CD-6946-F36D6EA17A3F}"/>
              </a:ext>
            </a:extLst>
          </p:cNvPr>
          <p:cNvPicPr>
            <a:picLocks noGrp="1" noChangeAspect="1"/>
          </p:cNvPicPr>
          <p:nvPr>
            <p:ph type="pic" sz="quarter" idx="11"/>
          </p:nvPr>
        </p:nvPicPr>
        <p:blipFill rotWithShape="1">
          <a:blip r:embed="rId5" cstate="screen">
            <a:extLst>
              <a:ext uri="{28A0092B-C50C-407E-A947-70E740481C1C}">
                <a14:useLocalDpi xmlns:a14="http://schemas.microsoft.com/office/drawing/2010/main"/>
              </a:ext>
            </a:extLst>
          </a:blip>
          <a:srcRect t="14" b="14"/>
          <a:stretch/>
        </p:blipFill>
        <p:spPr/>
      </p:pic>
      <p:sp>
        <p:nvSpPr>
          <p:cNvPr id="3" name="Title 2">
            <a:extLst>
              <a:ext uri="{FF2B5EF4-FFF2-40B4-BE49-F238E27FC236}">
                <a16:creationId xmlns:a16="http://schemas.microsoft.com/office/drawing/2014/main" id="{266AEF0A-4AE9-42BC-8DFE-3A471BA6FC28}"/>
              </a:ext>
            </a:extLst>
          </p:cNvPr>
          <p:cNvSpPr>
            <a:spLocks noGrp="1"/>
          </p:cNvSpPr>
          <p:nvPr>
            <p:ph type="ctrTitle"/>
          </p:nvPr>
        </p:nvSpPr>
        <p:spPr>
          <a:xfrm>
            <a:off x="1197425" y="1334075"/>
            <a:ext cx="9144000" cy="738664"/>
          </a:xfrm>
        </p:spPr>
        <p:txBody>
          <a:bodyPr vert="horz"/>
          <a:lstStyle/>
          <a:p>
            <a:r>
              <a:rPr lang="en-US"/>
              <a:t>RSM Updates</a:t>
            </a:r>
          </a:p>
        </p:txBody>
      </p:sp>
      <p:sp>
        <p:nvSpPr>
          <p:cNvPr id="15" name="Textplatzhalter 14">
            <a:extLst>
              <a:ext uri="{FF2B5EF4-FFF2-40B4-BE49-F238E27FC236}">
                <a16:creationId xmlns:a16="http://schemas.microsoft.com/office/drawing/2014/main" id="{A95C60FE-14E4-135A-3A91-E052AE174F0E}"/>
              </a:ext>
            </a:extLst>
          </p:cNvPr>
          <p:cNvSpPr>
            <a:spLocks noGrp="1"/>
          </p:cNvSpPr>
          <p:nvPr>
            <p:ph type="body" sz="quarter" idx="12"/>
          </p:nvPr>
        </p:nvSpPr>
        <p:spPr/>
        <p:txBody>
          <a:bodyPr/>
          <a:lstStyle/>
          <a:p>
            <a:endParaRPr lang="en-US"/>
          </a:p>
        </p:txBody>
      </p:sp>
      <p:sp>
        <p:nvSpPr>
          <p:cNvPr id="16" name="Textplatzhalter 15">
            <a:extLst>
              <a:ext uri="{FF2B5EF4-FFF2-40B4-BE49-F238E27FC236}">
                <a16:creationId xmlns:a16="http://schemas.microsoft.com/office/drawing/2014/main" id="{EC8745C1-F20A-4B7D-BCC0-E7BB4FA2D42B}"/>
              </a:ext>
            </a:extLst>
          </p:cNvPr>
          <p:cNvSpPr>
            <a:spLocks noGrp="1"/>
          </p:cNvSpPr>
          <p:nvPr>
            <p:ph type="body" sz="quarter" idx="13"/>
          </p:nvPr>
        </p:nvSpPr>
        <p:spPr/>
        <p:txBody>
          <a:bodyPr/>
          <a:lstStyle/>
          <a:p>
            <a:endParaRPr lang="en-US"/>
          </a:p>
        </p:txBody>
      </p:sp>
    </p:spTree>
    <p:extLst>
      <p:ext uri="{BB962C8B-B14F-4D97-AF65-F5344CB8AC3E}">
        <p14:creationId xmlns:p14="http://schemas.microsoft.com/office/powerpoint/2010/main" val="25605930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91B2D459-40B8-FE92-9716-1951419BE3E6}"/>
              </a:ext>
            </a:extLst>
          </p:cNvPr>
          <p:cNvSpPr>
            <a:spLocks noGrp="1"/>
          </p:cNvSpPr>
          <p:nvPr>
            <p:ph type="ftr" sz="quarter" idx="20"/>
          </p:nvPr>
        </p:nvSpPr>
        <p:spPr/>
        <p:txBody>
          <a:bodyPr/>
          <a:lstStyle/>
          <a:p>
            <a:r>
              <a:rPr lang="en-US"/>
              <a:t>© Copyright Sensirion, Switzerland</a:t>
            </a:r>
          </a:p>
        </p:txBody>
      </p:sp>
      <p:sp>
        <p:nvSpPr>
          <p:cNvPr id="3" name="Slide Number Placeholder 2">
            <a:extLst>
              <a:ext uri="{FF2B5EF4-FFF2-40B4-BE49-F238E27FC236}">
                <a16:creationId xmlns:a16="http://schemas.microsoft.com/office/drawing/2014/main" id="{BE618BCA-75DB-E0F6-9011-39FE066FF999}"/>
              </a:ext>
            </a:extLst>
          </p:cNvPr>
          <p:cNvSpPr>
            <a:spLocks noGrp="1"/>
          </p:cNvSpPr>
          <p:nvPr>
            <p:ph type="sldNum" sz="quarter" idx="21"/>
          </p:nvPr>
        </p:nvSpPr>
        <p:spPr/>
        <p:txBody>
          <a:bodyPr/>
          <a:lstStyle/>
          <a:p>
            <a:fld id="{B1E691A1-F3A6-4574-B226-B412272B38A6}" type="slidenum">
              <a:rPr lang="en-US" smtClean="0"/>
              <a:pPr/>
              <a:t>11</a:t>
            </a:fld>
            <a:endParaRPr lang="en-US"/>
          </a:p>
        </p:txBody>
      </p:sp>
      <p:sp>
        <p:nvSpPr>
          <p:cNvPr id="4" name="Title 3">
            <a:extLst>
              <a:ext uri="{FF2B5EF4-FFF2-40B4-BE49-F238E27FC236}">
                <a16:creationId xmlns:a16="http://schemas.microsoft.com/office/drawing/2014/main" id="{F9208FA5-80AD-21ED-3757-B529327EC678}"/>
              </a:ext>
            </a:extLst>
          </p:cNvPr>
          <p:cNvSpPr>
            <a:spLocks noGrp="1"/>
          </p:cNvSpPr>
          <p:nvPr>
            <p:ph type="ctrTitle"/>
          </p:nvPr>
        </p:nvSpPr>
        <p:spPr/>
        <p:txBody>
          <a:bodyPr/>
          <a:lstStyle/>
          <a:p>
            <a:r>
              <a:rPr lang="de-CH"/>
              <a:t>SFA40</a:t>
            </a:r>
          </a:p>
        </p:txBody>
      </p:sp>
      <p:sp>
        <p:nvSpPr>
          <p:cNvPr id="5" name="Text Placeholder 4">
            <a:extLst>
              <a:ext uri="{FF2B5EF4-FFF2-40B4-BE49-F238E27FC236}">
                <a16:creationId xmlns:a16="http://schemas.microsoft.com/office/drawing/2014/main" id="{17887685-58E6-9E99-9479-1639D6E69553}"/>
              </a:ext>
            </a:extLst>
          </p:cNvPr>
          <p:cNvSpPr>
            <a:spLocks noGrp="1"/>
          </p:cNvSpPr>
          <p:nvPr>
            <p:ph type="body" sz="quarter" idx="12"/>
          </p:nvPr>
        </p:nvSpPr>
        <p:spPr>
          <a:xfrm>
            <a:off x="515938" y="3518706"/>
            <a:ext cx="1800000" cy="1872000"/>
          </a:xfrm>
        </p:spPr>
        <p:txBody>
          <a:bodyPr/>
          <a:lstStyle/>
          <a:p>
            <a:r>
              <a:rPr lang="de-CH"/>
              <a:t>x8</a:t>
            </a:r>
            <a:r>
              <a:rPr lang="de-CH" sz="2000"/>
              <a:t> </a:t>
            </a:r>
          </a:p>
          <a:p>
            <a:r>
              <a:rPr lang="de-CH" sz="1800" err="1"/>
              <a:t>smaller</a:t>
            </a:r>
            <a:r>
              <a:rPr lang="de-CH" sz="1800"/>
              <a:t> form </a:t>
            </a:r>
            <a:r>
              <a:rPr lang="de-CH" sz="1800" err="1"/>
              <a:t>factor</a:t>
            </a:r>
            <a:r>
              <a:rPr lang="de-CH" sz="1800"/>
              <a:t> </a:t>
            </a:r>
            <a:r>
              <a:rPr lang="de-CH" sz="1800" err="1"/>
              <a:t>than</a:t>
            </a:r>
            <a:r>
              <a:rPr lang="de-CH" sz="1800"/>
              <a:t> SFA30</a:t>
            </a:r>
          </a:p>
        </p:txBody>
      </p:sp>
      <p:sp>
        <p:nvSpPr>
          <p:cNvPr id="6" name="Text Placeholder 5">
            <a:extLst>
              <a:ext uri="{FF2B5EF4-FFF2-40B4-BE49-F238E27FC236}">
                <a16:creationId xmlns:a16="http://schemas.microsoft.com/office/drawing/2014/main" id="{107BD0A5-7C9E-BF6A-0BEB-9F266F238CE6}"/>
              </a:ext>
            </a:extLst>
          </p:cNvPr>
          <p:cNvSpPr>
            <a:spLocks noGrp="1"/>
          </p:cNvSpPr>
          <p:nvPr>
            <p:ph type="body" sz="quarter" idx="13"/>
          </p:nvPr>
        </p:nvSpPr>
        <p:spPr>
          <a:xfrm>
            <a:off x="2405969" y="3518706"/>
            <a:ext cx="1800000" cy="1872000"/>
          </a:xfrm>
        </p:spPr>
        <p:txBody>
          <a:bodyPr/>
          <a:lstStyle/>
          <a:p>
            <a:r>
              <a:rPr lang="de-CH" sz="3800"/>
              <a:t>80</a:t>
            </a:r>
            <a:r>
              <a:rPr lang="de-CH" sz="2000"/>
              <a:t> </a:t>
            </a:r>
            <a:r>
              <a:rPr lang="de-CH" sz="1800"/>
              <a:t>µA </a:t>
            </a:r>
          </a:p>
          <a:p>
            <a:r>
              <a:rPr lang="de-CH" sz="1800" err="1"/>
              <a:t>avg</a:t>
            </a:r>
            <a:r>
              <a:rPr lang="de-CH" sz="1800"/>
              <a:t>. power </a:t>
            </a:r>
            <a:r>
              <a:rPr lang="de-CH" sz="1800" err="1"/>
              <a:t>consumption</a:t>
            </a:r>
            <a:r>
              <a:rPr lang="de-CH" sz="1400"/>
              <a:t>*</a:t>
            </a:r>
          </a:p>
        </p:txBody>
      </p:sp>
      <p:sp>
        <p:nvSpPr>
          <p:cNvPr id="7" name="Text Placeholder 6">
            <a:extLst>
              <a:ext uri="{FF2B5EF4-FFF2-40B4-BE49-F238E27FC236}">
                <a16:creationId xmlns:a16="http://schemas.microsoft.com/office/drawing/2014/main" id="{2BF7D735-050F-AF01-C13A-84FFCA379887}"/>
              </a:ext>
            </a:extLst>
          </p:cNvPr>
          <p:cNvSpPr>
            <a:spLocks noGrp="1"/>
          </p:cNvSpPr>
          <p:nvPr>
            <p:ph type="body" sz="quarter" idx="14"/>
          </p:nvPr>
        </p:nvSpPr>
        <p:spPr>
          <a:xfrm>
            <a:off x="6186031" y="3518706"/>
            <a:ext cx="1800000" cy="1872000"/>
          </a:xfrm>
        </p:spPr>
        <p:txBody>
          <a:bodyPr/>
          <a:lstStyle/>
          <a:p>
            <a:r>
              <a:rPr lang="de-CH" sz="1800" err="1">
                <a:cs typeface="Segoe UI"/>
              </a:rPr>
              <a:t>Available</a:t>
            </a:r>
            <a:r>
              <a:rPr lang="de-CH" sz="1800">
                <a:cs typeface="Segoe UI"/>
              </a:rPr>
              <a:t> </a:t>
            </a:r>
            <a:r>
              <a:rPr lang="de-CH" sz="1800" err="1">
                <a:cs typeface="Segoe UI"/>
              </a:rPr>
              <a:t>as</a:t>
            </a:r>
            <a:r>
              <a:rPr lang="de-CH" sz="1800">
                <a:cs typeface="Segoe UI"/>
              </a:rPr>
              <a:t> </a:t>
            </a:r>
            <a:r>
              <a:rPr lang="de-CH" sz="1800" err="1">
                <a:cs typeface="Segoe UI"/>
              </a:rPr>
              <a:t>part</a:t>
            </a:r>
            <a:r>
              <a:rPr lang="de-CH" sz="1800">
                <a:cs typeface="Segoe UI"/>
              </a:rPr>
              <a:t> </a:t>
            </a:r>
            <a:r>
              <a:rPr lang="de-CH" sz="1800" err="1">
                <a:cs typeface="Segoe UI"/>
              </a:rPr>
              <a:t>of</a:t>
            </a:r>
            <a:r>
              <a:rPr lang="de-CH" sz="1800">
                <a:cs typeface="Segoe UI"/>
              </a:rPr>
              <a:t> </a:t>
            </a:r>
            <a:r>
              <a:rPr lang="de-CH" sz="3800">
                <a:cs typeface="Segoe UI"/>
              </a:rPr>
              <a:t>SEN68</a:t>
            </a:r>
          </a:p>
        </p:txBody>
      </p:sp>
      <p:sp>
        <p:nvSpPr>
          <p:cNvPr id="8" name="Text Placeholder 7">
            <a:extLst>
              <a:ext uri="{FF2B5EF4-FFF2-40B4-BE49-F238E27FC236}">
                <a16:creationId xmlns:a16="http://schemas.microsoft.com/office/drawing/2014/main" id="{ECEFA59E-9BF6-23AD-C838-BE7BA56BF927}"/>
              </a:ext>
            </a:extLst>
          </p:cNvPr>
          <p:cNvSpPr>
            <a:spLocks noGrp="1"/>
          </p:cNvSpPr>
          <p:nvPr>
            <p:ph type="body" sz="quarter" idx="23"/>
          </p:nvPr>
        </p:nvSpPr>
        <p:spPr>
          <a:xfrm>
            <a:off x="593889" y="2351941"/>
            <a:ext cx="5461886" cy="246221"/>
          </a:xfrm>
        </p:spPr>
        <p:txBody>
          <a:bodyPr vert="horz" lIns="0" tIns="0" rIns="0" bIns="0" rtlCol="0" anchor="t">
            <a:spAutoFit/>
          </a:bodyPr>
          <a:lstStyle/>
          <a:p>
            <a:r>
              <a:rPr lang="de-CH"/>
              <a:t>Ideal </a:t>
            </a:r>
            <a:r>
              <a:rPr lang="de-CH" err="1"/>
              <a:t>for</a:t>
            </a:r>
            <a:r>
              <a:rPr lang="de-CH"/>
              <a:t> IAQ </a:t>
            </a:r>
            <a:r>
              <a:rPr lang="de-CH" err="1"/>
              <a:t>monitors</a:t>
            </a:r>
            <a:r>
              <a:rPr lang="de-CH"/>
              <a:t>, </a:t>
            </a:r>
            <a:r>
              <a:rPr lang="de-CH" err="1"/>
              <a:t>air</a:t>
            </a:r>
            <a:r>
              <a:rPr lang="de-CH"/>
              <a:t> </a:t>
            </a:r>
            <a:r>
              <a:rPr lang="de-CH" err="1"/>
              <a:t>purifiers</a:t>
            </a:r>
            <a:r>
              <a:rPr lang="de-CH"/>
              <a:t> and </a:t>
            </a:r>
            <a:r>
              <a:rPr lang="de-CH" err="1"/>
              <a:t>air</a:t>
            </a:r>
            <a:r>
              <a:rPr lang="de-CH"/>
              <a:t> </a:t>
            </a:r>
            <a:r>
              <a:rPr lang="de-CH" err="1"/>
              <a:t>conditioners</a:t>
            </a:r>
            <a:r>
              <a:rPr lang="de-CH"/>
              <a:t>. </a:t>
            </a:r>
          </a:p>
        </p:txBody>
      </p:sp>
      <p:sp>
        <p:nvSpPr>
          <p:cNvPr id="10" name="Text Placeholder 9">
            <a:extLst>
              <a:ext uri="{FF2B5EF4-FFF2-40B4-BE49-F238E27FC236}">
                <a16:creationId xmlns:a16="http://schemas.microsoft.com/office/drawing/2014/main" id="{ADE47B6B-7568-3F2C-7165-F39B2EBDA6E7}"/>
              </a:ext>
            </a:extLst>
          </p:cNvPr>
          <p:cNvSpPr>
            <a:spLocks noGrp="1"/>
          </p:cNvSpPr>
          <p:nvPr>
            <p:ph type="body" sz="quarter" idx="22"/>
          </p:nvPr>
        </p:nvSpPr>
        <p:spPr>
          <a:xfrm>
            <a:off x="515937" y="845582"/>
            <a:ext cx="5580063" cy="1231106"/>
          </a:xfrm>
        </p:spPr>
        <p:txBody>
          <a:bodyPr/>
          <a:lstStyle/>
          <a:p>
            <a:r>
              <a:rPr lang="de-CH" err="1"/>
              <a:t>Revolutionizing</a:t>
            </a:r>
            <a:r>
              <a:rPr lang="de-CH"/>
              <a:t> </a:t>
            </a:r>
            <a:r>
              <a:rPr lang="de-CH" err="1"/>
              <a:t>electrochemical</a:t>
            </a:r>
            <a:r>
              <a:rPr lang="de-CH"/>
              <a:t> </a:t>
            </a:r>
            <a:r>
              <a:rPr lang="de-CH" err="1"/>
              <a:t>sensing</a:t>
            </a:r>
          </a:p>
        </p:txBody>
      </p:sp>
      <p:sp>
        <p:nvSpPr>
          <p:cNvPr id="16" name="TextBox 15">
            <a:extLst>
              <a:ext uri="{FF2B5EF4-FFF2-40B4-BE49-F238E27FC236}">
                <a16:creationId xmlns:a16="http://schemas.microsoft.com/office/drawing/2014/main" id="{16D36869-ACA2-83FE-F4A4-CC6FFB125534}"/>
              </a:ext>
            </a:extLst>
          </p:cNvPr>
          <p:cNvSpPr txBox="1"/>
          <p:nvPr/>
        </p:nvSpPr>
        <p:spPr>
          <a:xfrm>
            <a:off x="9638268" y="2435877"/>
            <a:ext cx="1877716" cy="576293"/>
          </a:xfrm>
          <a:prstGeom prst="rect">
            <a:avLst/>
          </a:prstGeom>
          <a:noFill/>
          <a:ln>
            <a:noFill/>
          </a:ln>
        </p:spPr>
        <p:txBody>
          <a:bodyPr wrap="square" lIns="72000" tIns="72000" rIns="72000" bIns="72000" rtlCol="0" anchor="t">
            <a:spAutoFit/>
          </a:bodyPr>
          <a:lstStyle/>
          <a:p>
            <a:pPr algn="ctr">
              <a:buClr>
                <a:schemeClr val="accent1"/>
              </a:buClr>
            </a:pPr>
            <a:r>
              <a:rPr lang="de-CH" sz="1400"/>
              <a:t>SFA40</a:t>
            </a:r>
          </a:p>
          <a:p>
            <a:pPr algn="ctr">
              <a:buClr>
                <a:schemeClr val="accent1"/>
              </a:buClr>
            </a:pPr>
            <a:endParaRPr lang="de-CH" sz="1400">
              <a:cs typeface="Segoe UI"/>
            </a:endParaRPr>
          </a:p>
        </p:txBody>
      </p:sp>
      <p:pic>
        <p:nvPicPr>
          <p:cNvPr id="17" name="Picture 16" descr="A green and gold circuit board&#10;&#10;Description automatically generated">
            <a:extLst>
              <a:ext uri="{FF2B5EF4-FFF2-40B4-BE49-F238E27FC236}">
                <a16:creationId xmlns:a16="http://schemas.microsoft.com/office/drawing/2014/main" id="{32E6536B-08B2-5262-2577-5036167A76A5}"/>
              </a:ext>
            </a:extLst>
          </p:cNvPr>
          <p:cNvPicPr>
            <a:picLocks noChangeAspect="1"/>
          </p:cNvPicPr>
          <p:nvPr/>
        </p:nvPicPr>
        <p:blipFill rotWithShape="1">
          <a:blip r:embed="rId3">
            <a:extLst>
              <a:ext uri="{28A0092B-C50C-407E-A947-70E740481C1C}">
                <a14:useLocalDpi xmlns:a14="http://schemas.microsoft.com/office/drawing/2010/main" val="0"/>
              </a:ext>
            </a:extLst>
          </a:blip>
          <a:srcRect l="14789" t="22269" r="14348" b="19270"/>
          <a:stretch/>
        </p:blipFill>
        <p:spPr>
          <a:xfrm>
            <a:off x="7137375" y="1047104"/>
            <a:ext cx="3201366" cy="1520507"/>
          </a:xfrm>
          <a:prstGeom prst="rect">
            <a:avLst/>
          </a:prstGeom>
        </p:spPr>
      </p:pic>
      <p:sp>
        <p:nvSpPr>
          <p:cNvPr id="18" name="TextBox 17">
            <a:extLst>
              <a:ext uri="{FF2B5EF4-FFF2-40B4-BE49-F238E27FC236}">
                <a16:creationId xmlns:a16="http://schemas.microsoft.com/office/drawing/2014/main" id="{94A406F1-2AA0-0F11-F701-EC0B951F0B95}"/>
              </a:ext>
            </a:extLst>
          </p:cNvPr>
          <p:cNvSpPr txBox="1"/>
          <p:nvPr/>
        </p:nvSpPr>
        <p:spPr>
          <a:xfrm>
            <a:off x="9638268" y="1733257"/>
            <a:ext cx="1877716" cy="360850"/>
          </a:xfrm>
          <a:prstGeom prst="rect">
            <a:avLst/>
          </a:prstGeom>
          <a:noFill/>
          <a:ln>
            <a:noFill/>
          </a:ln>
        </p:spPr>
        <p:txBody>
          <a:bodyPr wrap="square" lIns="72000" tIns="72000" rIns="72000" bIns="72000" rtlCol="0">
            <a:spAutoFit/>
          </a:bodyPr>
          <a:lstStyle/>
          <a:p>
            <a:pPr algn="ctr">
              <a:buClr>
                <a:schemeClr val="accent1"/>
              </a:buClr>
            </a:pPr>
            <a:r>
              <a:rPr lang="de-CH" sz="1400"/>
              <a:t>SFA30</a:t>
            </a:r>
          </a:p>
        </p:txBody>
      </p:sp>
      <p:sp>
        <p:nvSpPr>
          <p:cNvPr id="19" name="TextBox 18">
            <a:extLst>
              <a:ext uri="{FF2B5EF4-FFF2-40B4-BE49-F238E27FC236}">
                <a16:creationId xmlns:a16="http://schemas.microsoft.com/office/drawing/2014/main" id="{407895EE-4245-1749-1FC2-8A3C4D0609DA}"/>
              </a:ext>
            </a:extLst>
          </p:cNvPr>
          <p:cNvSpPr txBox="1"/>
          <p:nvPr/>
        </p:nvSpPr>
        <p:spPr>
          <a:xfrm>
            <a:off x="9794829" y="5390706"/>
            <a:ext cx="2227748" cy="730182"/>
          </a:xfrm>
          <a:prstGeom prst="rect">
            <a:avLst/>
          </a:prstGeom>
          <a:noFill/>
          <a:ln>
            <a:noFill/>
          </a:ln>
        </p:spPr>
        <p:txBody>
          <a:bodyPr wrap="square" lIns="72000" tIns="72000" rIns="72000" bIns="72000" rtlCol="0" anchor="t">
            <a:spAutoFit/>
          </a:bodyPr>
          <a:lstStyle/>
          <a:p>
            <a:pPr algn="ctr">
              <a:buClr>
                <a:schemeClr val="accent1"/>
              </a:buClr>
            </a:pPr>
            <a:r>
              <a:rPr lang="de-CH" sz="1400"/>
              <a:t>SEN68</a:t>
            </a:r>
          </a:p>
          <a:p>
            <a:pPr algn="ctr">
              <a:buClr>
                <a:schemeClr val="accent1"/>
              </a:buClr>
            </a:pPr>
            <a:r>
              <a:rPr lang="en-US" sz="1200" b="1"/>
              <a:t>HCHO</a:t>
            </a:r>
            <a:r>
              <a:rPr lang="en-US" sz="1200"/>
              <a:t>, RH, T, PM1, PM2.5, PM4, PM10, VOC, NOx</a:t>
            </a:r>
            <a:endParaRPr lang="de-CH" sz="1400"/>
          </a:p>
        </p:txBody>
      </p:sp>
      <p:pic>
        <p:nvPicPr>
          <p:cNvPr id="20" name="Picture 2" descr="A black device with white text&#10;&#10;Description automatically generated">
            <a:extLst>
              <a:ext uri="{FF2B5EF4-FFF2-40B4-BE49-F238E27FC236}">
                <a16:creationId xmlns:a16="http://schemas.microsoft.com/office/drawing/2014/main" id="{44A66543-57D0-11C1-313D-C35D1BA2CAF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869867" y="4606494"/>
            <a:ext cx="2468874" cy="1275263"/>
          </a:xfrm>
          <a:prstGeom prst="rect">
            <a:avLst/>
          </a:prstGeom>
          <a:noFill/>
          <a:extLst>
            <a:ext uri="{909E8E84-426E-40DD-AFC4-6F175D3DCCD1}">
              <a14:hiddenFill xmlns:a14="http://schemas.microsoft.com/office/drawing/2010/main">
                <a:solidFill>
                  <a:srgbClr val="FFFFFF"/>
                </a:solidFill>
              </a14:hiddenFill>
            </a:ext>
          </a:extLst>
        </p:spPr>
      </p:pic>
      <p:sp>
        <p:nvSpPr>
          <p:cNvPr id="9" name="TextBox 8">
            <a:extLst>
              <a:ext uri="{FF2B5EF4-FFF2-40B4-BE49-F238E27FC236}">
                <a16:creationId xmlns:a16="http://schemas.microsoft.com/office/drawing/2014/main" id="{358A8A46-155A-C430-9A1E-D2E0824C39F4}"/>
              </a:ext>
            </a:extLst>
          </p:cNvPr>
          <p:cNvSpPr txBox="1"/>
          <p:nvPr/>
        </p:nvSpPr>
        <p:spPr>
          <a:xfrm>
            <a:off x="449565" y="5504933"/>
            <a:ext cx="5960203" cy="345461"/>
          </a:xfrm>
          <a:prstGeom prst="rect">
            <a:avLst/>
          </a:prstGeom>
          <a:noFill/>
          <a:ln>
            <a:noFill/>
          </a:ln>
        </p:spPr>
        <p:txBody>
          <a:bodyPr wrap="none" lIns="72000" tIns="72000" rIns="72000" bIns="72000" rtlCol="0" anchor="t">
            <a:spAutoFit/>
          </a:bodyPr>
          <a:lstStyle/>
          <a:p>
            <a:pPr>
              <a:buClr>
                <a:schemeClr val="accent1"/>
              </a:buClr>
            </a:pPr>
            <a:r>
              <a:rPr lang="de-CH" sz="1300"/>
              <a:t>*</a:t>
            </a:r>
            <a:r>
              <a:rPr lang="de-CH" sz="1300" err="1"/>
              <a:t>even</a:t>
            </a:r>
            <a:r>
              <a:rPr lang="de-CH" sz="1300"/>
              <a:t> </a:t>
            </a:r>
            <a:r>
              <a:rPr lang="de-CH" sz="1300" err="1"/>
              <a:t>lower</a:t>
            </a:r>
            <a:r>
              <a:rPr lang="de-CH" sz="1300"/>
              <a:t> power </a:t>
            </a:r>
            <a:r>
              <a:rPr lang="de-CH" sz="1300" err="1"/>
              <a:t>consumption</a:t>
            </a:r>
            <a:r>
              <a:rPr lang="de-CH" sz="1300"/>
              <a:t> </a:t>
            </a:r>
            <a:r>
              <a:rPr lang="de-CH" sz="1300" err="1"/>
              <a:t>modes</a:t>
            </a:r>
            <a:r>
              <a:rPr lang="de-CH" sz="1300"/>
              <a:t> </a:t>
            </a:r>
            <a:r>
              <a:rPr lang="de-CH" sz="1300" err="1"/>
              <a:t>are</a:t>
            </a:r>
            <a:r>
              <a:rPr lang="de-CH" sz="1300"/>
              <a:t> in </a:t>
            </a:r>
            <a:r>
              <a:rPr lang="de-CH" sz="1300" err="1"/>
              <a:t>development</a:t>
            </a:r>
            <a:r>
              <a:rPr lang="de-CH" sz="1300"/>
              <a:t>, </a:t>
            </a:r>
            <a:r>
              <a:rPr lang="de-CH" sz="1300" err="1"/>
              <a:t>expected</a:t>
            </a:r>
            <a:r>
              <a:rPr lang="de-CH" sz="1300"/>
              <a:t> in H2'25 </a:t>
            </a:r>
          </a:p>
        </p:txBody>
      </p:sp>
      <p:pic>
        <p:nvPicPr>
          <p:cNvPr id="11" name="Picture 10" descr="A close-up of a computer chip&#10;&#10;Description automatically generated">
            <a:extLst>
              <a:ext uri="{FF2B5EF4-FFF2-40B4-BE49-F238E27FC236}">
                <a16:creationId xmlns:a16="http://schemas.microsoft.com/office/drawing/2014/main" id="{A927517A-E99F-8236-BC53-5B4F0D2281DD}"/>
              </a:ext>
            </a:extLst>
          </p:cNvPr>
          <p:cNvPicPr>
            <a:picLocks noChangeAspect="1"/>
          </p:cNvPicPr>
          <p:nvPr/>
        </p:nvPicPr>
        <p:blipFill>
          <a:blip r:embed="rId5"/>
          <a:stretch>
            <a:fillRect/>
          </a:stretch>
        </p:blipFill>
        <p:spPr>
          <a:xfrm>
            <a:off x="9350615" y="1989137"/>
            <a:ext cx="1095375" cy="847725"/>
          </a:xfrm>
          <a:prstGeom prst="rect">
            <a:avLst/>
          </a:prstGeom>
        </p:spPr>
      </p:pic>
      <p:sp>
        <p:nvSpPr>
          <p:cNvPr id="12" name="Text Placeholder 5">
            <a:extLst>
              <a:ext uri="{FF2B5EF4-FFF2-40B4-BE49-F238E27FC236}">
                <a16:creationId xmlns:a16="http://schemas.microsoft.com/office/drawing/2014/main" id="{57A74865-11ED-7B15-896D-81875A4A1E32}"/>
              </a:ext>
            </a:extLst>
          </p:cNvPr>
          <p:cNvSpPr txBox="1">
            <a:spLocks/>
          </p:cNvSpPr>
          <p:nvPr/>
        </p:nvSpPr>
        <p:spPr bwMode="gray">
          <a:xfrm>
            <a:off x="4296000" y="3518706"/>
            <a:ext cx="1800000" cy="1872000"/>
          </a:xfrm>
          <a:prstGeom prst="rect">
            <a:avLst/>
          </a:prstGeom>
          <a:solidFill>
            <a:schemeClr val="accent1"/>
          </a:solidFill>
        </p:spPr>
        <p:txBody>
          <a:bodyPr vert="horz" lIns="144000" tIns="108000" rIns="144000" bIns="108000" rtlCol="0" anchor="ctr">
            <a:noAutofit/>
          </a:bodyPr>
          <a:lstStyle>
            <a:lvl1pPr marL="0" indent="0" algn="ctr" defTabSz="914400" rtl="0" eaLnBrk="1" latinLnBrk="0" hangingPunct="1">
              <a:lnSpc>
                <a:spcPct val="100000"/>
              </a:lnSpc>
              <a:spcBef>
                <a:spcPts val="0"/>
              </a:spcBef>
              <a:spcAft>
                <a:spcPts val="0"/>
              </a:spcAft>
              <a:buClr>
                <a:schemeClr val="accent1"/>
              </a:buClr>
              <a:buFont typeface="Arial" panose="020B0604020202020204" pitchFamily="34" charset="0"/>
              <a:buNone/>
              <a:defRPr sz="4000" b="1" kern="1200">
                <a:solidFill>
                  <a:schemeClr val="bg1"/>
                </a:solidFill>
                <a:latin typeface="+mn-lt"/>
                <a:ea typeface="+mn-ea"/>
                <a:cs typeface="+mn-cs"/>
              </a:defRPr>
            </a:lvl1pPr>
            <a:lvl2pPr marL="360000" indent="-18000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a:solidFill>
                  <a:schemeClr val="tx1"/>
                </a:solidFill>
                <a:latin typeface="+mn-lt"/>
                <a:ea typeface="+mn-ea"/>
                <a:cs typeface="+mn-cs"/>
              </a:defRPr>
            </a:lvl2pPr>
            <a:lvl3pPr marL="540000" indent="-180000" algn="l" defTabSz="914400" rtl="0" eaLnBrk="1" latinLnBrk="0" hangingPunct="1">
              <a:lnSpc>
                <a:spcPct val="100000"/>
              </a:lnSpc>
              <a:spcBef>
                <a:spcPts val="0"/>
              </a:spcBef>
              <a:spcAft>
                <a:spcPts val="600"/>
              </a:spcAft>
              <a:buClr>
                <a:srgbClr val="BDBDBD"/>
              </a:buClr>
              <a:buFont typeface="Arial" panose="020B0604020202020204" pitchFamily="34" charset="0"/>
              <a:buChar char="•"/>
              <a:defRPr sz="1600" kern="1200">
                <a:solidFill>
                  <a:schemeClr val="tx1"/>
                </a:solidFill>
                <a:latin typeface="+mn-lt"/>
                <a:ea typeface="+mn-ea"/>
                <a:cs typeface="+mn-cs"/>
              </a:defRPr>
            </a:lvl3pPr>
            <a:lvl4pPr marL="720000" indent="-180000" algn="l" defTabSz="914400" rtl="0" eaLnBrk="1" latinLnBrk="0" hangingPunct="1">
              <a:lnSpc>
                <a:spcPct val="100000"/>
              </a:lnSpc>
              <a:spcBef>
                <a:spcPts val="0"/>
              </a:spcBef>
              <a:spcAft>
                <a:spcPts val="600"/>
              </a:spcAft>
              <a:buClr>
                <a:srgbClr val="BDBDBD"/>
              </a:buClr>
              <a:buFont typeface="Arial" panose="020B0604020202020204" pitchFamily="34" charset="0"/>
              <a:buChar char="•"/>
              <a:defRPr sz="1600" kern="1200">
                <a:solidFill>
                  <a:schemeClr val="tx1"/>
                </a:solidFill>
                <a:latin typeface="+mn-lt"/>
                <a:ea typeface="+mn-ea"/>
                <a:cs typeface="+mn-cs"/>
              </a:defRPr>
            </a:lvl4pPr>
            <a:lvl5pPr marL="900000" indent="-180000" algn="l" defTabSz="914400" rtl="0" eaLnBrk="1" latinLnBrk="0" hangingPunct="1">
              <a:lnSpc>
                <a:spcPct val="100000"/>
              </a:lnSpc>
              <a:spcBef>
                <a:spcPts val="0"/>
              </a:spcBef>
              <a:spcAft>
                <a:spcPts val="600"/>
              </a:spcAft>
              <a:buClr>
                <a:srgbClr val="BDBDBD"/>
              </a:buClr>
              <a:buFont typeface="Arial" panose="020B0604020202020204" pitchFamily="34" charset="0"/>
              <a:buChar char="•"/>
              <a:defRPr sz="1600" kern="1200">
                <a:solidFill>
                  <a:schemeClr val="tx1"/>
                </a:solidFill>
                <a:latin typeface="+mn-lt"/>
                <a:ea typeface="+mn-ea"/>
                <a:cs typeface="+mn-cs"/>
              </a:defRPr>
            </a:lvl5pPr>
            <a:lvl6pPr marL="1080000" indent="-180000" algn="l" defTabSz="914400" rtl="0" eaLnBrk="1" latinLnBrk="0" hangingPunct="1">
              <a:lnSpc>
                <a:spcPct val="100000"/>
              </a:lnSpc>
              <a:spcBef>
                <a:spcPts val="0"/>
              </a:spcBef>
              <a:spcAft>
                <a:spcPts val="600"/>
              </a:spcAft>
              <a:buClr>
                <a:srgbClr val="BDBDBD"/>
              </a:buClr>
              <a:buFont typeface="Arial" panose="020B0604020202020204" pitchFamily="34" charset="0"/>
              <a:buChar char="•"/>
              <a:defRPr sz="1600" kern="1200">
                <a:solidFill>
                  <a:schemeClr val="tx1"/>
                </a:solidFill>
                <a:latin typeface="+mn-lt"/>
                <a:ea typeface="+mn-ea"/>
                <a:cs typeface="+mn-cs"/>
              </a:defRPr>
            </a:lvl6pPr>
            <a:lvl7pPr marL="1260000" indent="-180000" algn="l" defTabSz="914400" rtl="0" eaLnBrk="1" latinLnBrk="0" hangingPunct="1">
              <a:lnSpc>
                <a:spcPct val="100000"/>
              </a:lnSpc>
              <a:spcBef>
                <a:spcPts val="0"/>
              </a:spcBef>
              <a:spcAft>
                <a:spcPts val="600"/>
              </a:spcAft>
              <a:buClr>
                <a:srgbClr val="BDBDBD"/>
              </a:buClr>
              <a:buFont typeface="Arial" panose="020B0604020202020204" pitchFamily="34" charset="0"/>
              <a:buChar char="•"/>
              <a:defRPr sz="1600" kern="1200">
                <a:solidFill>
                  <a:schemeClr val="tx1"/>
                </a:solidFill>
                <a:latin typeface="+mn-lt"/>
                <a:ea typeface="+mn-ea"/>
                <a:cs typeface="+mn-cs"/>
              </a:defRPr>
            </a:lvl7pPr>
            <a:lvl8pPr marL="1440000" indent="-180000" algn="l" defTabSz="914400" rtl="0" eaLnBrk="1" latinLnBrk="0" hangingPunct="1">
              <a:lnSpc>
                <a:spcPct val="100000"/>
              </a:lnSpc>
              <a:spcBef>
                <a:spcPts val="0"/>
              </a:spcBef>
              <a:spcAft>
                <a:spcPts val="600"/>
              </a:spcAft>
              <a:buClr>
                <a:srgbClr val="BDBDBD"/>
              </a:buClr>
              <a:buFont typeface="Arial" panose="020B0604020202020204" pitchFamily="34" charset="0"/>
              <a:buChar char="•"/>
              <a:defRPr sz="1600" kern="1200">
                <a:solidFill>
                  <a:schemeClr val="tx1"/>
                </a:solidFill>
                <a:latin typeface="+mn-lt"/>
                <a:ea typeface="+mn-ea"/>
                <a:cs typeface="+mn-cs"/>
              </a:defRPr>
            </a:lvl8pPr>
            <a:lvl9pPr marL="1620000" indent="-180000" algn="l" defTabSz="914400" rtl="0" eaLnBrk="1" latinLnBrk="0" hangingPunct="1">
              <a:lnSpc>
                <a:spcPct val="100000"/>
              </a:lnSpc>
              <a:spcBef>
                <a:spcPts val="0"/>
              </a:spcBef>
              <a:spcAft>
                <a:spcPts val="600"/>
              </a:spcAft>
              <a:buClr>
                <a:srgbClr val="BDBDBD"/>
              </a:buClr>
              <a:buFont typeface="Arial" panose="020B0604020202020204" pitchFamily="34" charset="0"/>
              <a:buChar char="•"/>
              <a:defRPr sz="1600" kern="1200">
                <a:solidFill>
                  <a:schemeClr val="tx1"/>
                </a:solidFill>
                <a:latin typeface="+mn-lt"/>
                <a:ea typeface="+mn-ea"/>
                <a:cs typeface="+mn-cs"/>
              </a:defRPr>
            </a:lvl9pPr>
          </a:lstStyle>
          <a:p>
            <a:r>
              <a:rPr lang="de-CH" sz="3800"/>
              <a:t>&lt;0.3%</a:t>
            </a:r>
            <a:endParaRPr lang="de-CH" sz="1800"/>
          </a:p>
          <a:p>
            <a:r>
              <a:rPr lang="de-CH" sz="1800" err="1"/>
              <a:t>cross-sensitivity</a:t>
            </a:r>
            <a:r>
              <a:rPr lang="de-CH" sz="1800"/>
              <a:t> </a:t>
            </a:r>
            <a:r>
              <a:rPr lang="de-CH" sz="1800" err="1"/>
              <a:t>to</a:t>
            </a:r>
            <a:r>
              <a:rPr lang="de-CH" sz="1800"/>
              <a:t> </a:t>
            </a:r>
            <a:r>
              <a:rPr lang="de-CH" sz="1800" err="1"/>
              <a:t>ethanol</a:t>
            </a:r>
            <a:endParaRPr lang="de-CH" sz="1400"/>
          </a:p>
        </p:txBody>
      </p:sp>
    </p:spTree>
    <p:extLst>
      <p:ext uri="{BB962C8B-B14F-4D97-AF65-F5344CB8AC3E}">
        <p14:creationId xmlns:p14="http://schemas.microsoft.com/office/powerpoint/2010/main" val="387802845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66" name="Straight Connector 65">
            <a:extLst>
              <a:ext uri="{FF2B5EF4-FFF2-40B4-BE49-F238E27FC236}">
                <a16:creationId xmlns:a16="http://schemas.microsoft.com/office/drawing/2014/main" id="{74D24377-41C2-5B8E-04C7-A857C2BEC336}"/>
              </a:ext>
            </a:extLst>
          </p:cNvPr>
          <p:cNvCxnSpPr>
            <a:cxnSpLocks/>
          </p:cNvCxnSpPr>
          <p:nvPr/>
        </p:nvCxnSpPr>
        <p:spPr>
          <a:xfrm>
            <a:off x="10297332" y="2500860"/>
            <a:ext cx="0" cy="2859132"/>
          </a:xfrm>
          <a:prstGeom prst="line">
            <a:avLst/>
          </a:prstGeom>
          <a:ln w="22225">
            <a:solidFill>
              <a:srgbClr val="E8E8E8"/>
            </a:solidFill>
            <a:prstDash val="lgDash"/>
          </a:ln>
        </p:spPr>
        <p:style>
          <a:lnRef idx="1">
            <a:schemeClr val="accent1"/>
          </a:lnRef>
          <a:fillRef idx="0">
            <a:schemeClr val="accent1"/>
          </a:fillRef>
          <a:effectRef idx="0">
            <a:schemeClr val="accent1"/>
          </a:effectRef>
          <a:fontRef idx="minor">
            <a:schemeClr val="tx1"/>
          </a:fontRef>
        </p:style>
      </p:cxnSp>
      <p:sp>
        <p:nvSpPr>
          <p:cNvPr id="2" name="Text Placeholder 1">
            <a:extLst>
              <a:ext uri="{FF2B5EF4-FFF2-40B4-BE49-F238E27FC236}">
                <a16:creationId xmlns:a16="http://schemas.microsoft.com/office/drawing/2014/main" id="{B5AB2C33-0317-9297-A0AD-2D460B338D1F}"/>
              </a:ext>
            </a:extLst>
          </p:cNvPr>
          <p:cNvSpPr>
            <a:spLocks noGrp="1"/>
          </p:cNvSpPr>
          <p:nvPr>
            <p:ph type="body" sz="quarter" idx="13"/>
          </p:nvPr>
        </p:nvSpPr>
        <p:spPr/>
        <p:txBody>
          <a:bodyPr/>
          <a:lstStyle/>
          <a:p>
            <a:endParaRPr lang="de-CH"/>
          </a:p>
        </p:txBody>
      </p:sp>
      <p:sp>
        <p:nvSpPr>
          <p:cNvPr id="4" name="Title 3">
            <a:extLst>
              <a:ext uri="{FF2B5EF4-FFF2-40B4-BE49-F238E27FC236}">
                <a16:creationId xmlns:a16="http://schemas.microsoft.com/office/drawing/2014/main" id="{4DC84895-1727-C089-CA93-167347C3BB5D}"/>
              </a:ext>
            </a:extLst>
          </p:cNvPr>
          <p:cNvSpPr>
            <a:spLocks noGrp="1"/>
          </p:cNvSpPr>
          <p:nvPr>
            <p:ph type="title"/>
          </p:nvPr>
        </p:nvSpPr>
        <p:spPr/>
        <p:txBody>
          <a:bodyPr/>
          <a:lstStyle/>
          <a:p>
            <a:r>
              <a:rPr lang="de-CH" err="1"/>
              <a:t>Already</a:t>
            </a:r>
            <a:r>
              <a:rPr lang="de-CH"/>
              <a:t> </a:t>
            </a:r>
            <a:r>
              <a:rPr lang="de-CH" err="1"/>
              <a:t>available</a:t>
            </a:r>
            <a:r>
              <a:rPr lang="de-CH"/>
              <a:t> in </a:t>
            </a:r>
            <a:r>
              <a:rPr lang="de-CH" err="1"/>
              <a:t>small</a:t>
            </a:r>
            <a:r>
              <a:rPr lang="de-CH"/>
              <a:t> </a:t>
            </a:r>
            <a:r>
              <a:rPr lang="de-CH" err="1"/>
              <a:t>quantities</a:t>
            </a:r>
            <a:endParaRPr lang="de-CH"/>
          </a:p>
        </p:txBody>
      </p:sp>
      <p:sp>
        <p:nvSpPr>
          <p:cNvPr id="5" name="Footer Placeholder 4">
            <a:extLst>
              <a:ext uri="{FF2B5EF4-FFF2-40B4-BE49-F238E27FC236}">
                <a16:creationId xmlns:a16="http://schemas.microsoft.com/office/drawing/2014/main" id="{E1AE0DD8-4549-3D12-63C1-998FF0144EF5}"/>
              </a:ext>
            </a:extLst>
          </p:cNvPr>
          <p:cNvSpPr>
            <a:spLocks noGrp="1"/>
          </p:cNvSpPr>
          <p:nvPr>
            <p:ph type="ftr" sz="quarter" idx="16"/>
          </p:nvPr>
        </p:nvSpPr>
        <p:spPr/>
        <p:txBody>
          <a:bodyPr/>
          <a:lstStyle/>
          <a:p>
            <a:r>
              <a:rPr lang="en-US"/>
              <a:t>© Copyright Sensirion, Switzerland</a:t>
            </a:r>
          </a:p>
        </p:txBody>
      </p:sp>
      <p:sp>
        <p:nvSpPr>
          <p:cNvPr id="6" name="Slide Number Placeholder 5">
            <a:extLst>
              <a:ext uri="{FF2B5EF4-FFF2-40B4-BE49-F238E27FC236}">
                <a16:creationId xmlns:a16="http://schemas.microsoft.com/office/drawing/2014/main" id="{10590EC7-B564-BC67-2717-2E69E59E031D}"/>
              </a:ext>
            </a:extLst>
          </p:cNvPr>
          <p:cNvSpPr>
            <a:spLocks noGrp="1"/>
          </p:cNvSpPr>
          <p:nvPr>
            <p:ph type="sldNum" sz="quarter" idx="17"/>
          </p:nvPr>
        </p:nvSpPr>
        <p:spPr/>
        <p:txBody>
          <a:bodyPr/>
          <a:lstStyle/>
          <a:p>
            <a:fld id="{B1E691A1-F3A6-4574-B226-B412272B38A6}" type="slidenum">
              <a:rPr lang="en-US" smtClean="0"/>
              <a:pPr/>
              <a:t>12</a:t>
            </a:fld>
            <a:endParaRPr lang="en-US"/>
          </a:p>
        </p:txBody>
      </p:sp>
      <p:cxnSp>
        <p:nvCxnSpPr>
          <p:cNvPr id="36" name="Straight Connector 35">
            <a:extLst>
              <a:ext uri="{FF2B5EF4-FFF2-40B4-BE49-F238E27FC236}">
                <a16:creationId xmlns:a16="http://schemas.microsoft.com/office/drawing/2014/main" id="{10B56E2D-5E7F-D4F7-E4C9-94A597092659}"/>
              </a:ext>
            </a:extLst>
          </p:cNvPr>
          <p:cNvCxnSpPr>
            <a:cxnSpLocks/>
          </p:cNvCxnSpPr>
          <p:nvPr/>
        </p:nvCxnSpPr>
        <p:spPr>
          <a:xfrm>
            <a:off x="7540732" y="2491249"/>
            <a:ext cx="0" cy="2866876"/>
          </a:xfrm>
          <a:prstGeom prst="line">
            <a:avLst/>
          </a:prstGeom>
          <a:ln w="22225">
            <a:solidFill>
              <a:srgbClr val="E8E8E8"/>
            </a:solidFill>
            <a:prstDash val="lgDash"/>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0CCC2384-54A3-D6DD-6B2A-68249E433F0F}"/>
              </a:ext>
            </a:extLst>
          </p:cNvPr>
          <p:cNvCxnSpPr>
            <a:cxnSpLocks/>
          </p:cNvCxnSpPr>
          <p:nvPr/>
        </p:nvCxnSpPr>
        <p:spPr>
          <a:xfrm>
            <a:off x="8453620" y="2498993"/>
            <a:ext cx="0" cy="2859132"/>
          </a:xfrm>
          <a:prstGeom prst="line">
            <a:avLst/>
          </a:prstGeom>
          <a:ln w="22225">
            <a:solidFill>
              <a:srgbClr val="E8E8E8"/>
            </a:solidFill>
            <a:prstDash val="lgDash"/>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0C6CE115-DF24-DD1B-63E8-5413CB283D3E}"/>
              </a:ext>
            </a:extLst>
          </p:cNvPr>
          <p:cNvCxnSpPr>
            <a:cxnSpLocks/>
          </p:cNvCxnSpPr>
          <p:nvPr/>
        </p:nvCxnSpPr>
        <p:spPr>
          <a:xfrm>
            <a:off x="9364582" y="2483504"/>
            <a:ext cx="0" cy="2874621"/>
          </a:xfrm>
          <a:prstGeom prst="line">
            <a:avLst/>
          </a:prstGeom>
          <a:ln w="22225">
            <a:solidFill>
              <a:srgbClr val="E8E8E8"/>
            </a:solidFill>
            <a:prstDash val="lgDash"/>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EA88341E-D32B-C0F5-266C-58E2D693F3CF}"/>
              </a:ext>
            </a:extLst>
          </p:cNvPr>
          <p:cNvCxnSpPr>
            <a:cxnSpLocks/>
          </p:cNvCxnSpPr>
          <p:nvPr/>
        </p:nvCxnSpPr>
        <p:spPr>
          <a:xfrm>
            <a:off x="6623416" y="2483504"/>
            <a:ext cx="0" cy="2874621"/>
          </a:xfrm>
          <a:prstGeom prst="line">
            <a:avLst/>
          </a:prstGeom>
          <a:ln w="22225">
            <a:solidFill>
              <a:srgbClr val="E8E8E8"/>
            </a:solidFill>
            <a:prstDash val="lgDash"/>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942B61D-9B00-0EAE-AF26-EDF39F53A56F}"/>
              </a:ext>
            </a:extLst>
          </p:cNvPr>
          <p:cNvCxnSpPr>
            <a:cxnSpLocks/>
          </p:cNvCxnSpPr>
          <p:nvPr/>
        </p:nvCxnSpPr>
        <p:spPr>
          <a:xfrm>
            <a:off x="5692068" y="2483504"/>
            <a:ext cx="0" cy="2874621"/>
          </a:xfrm>
          <a:prstGeom prst="line">
            <a:avLst/>
          </a:prstGeom>
          <a:ln w="22225">
            <a:solidFill>
              <a:srgbClr val="E8E8E8"/>
            </a:solidFill>
            <a:prstDash val="lgDash"/>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63D1EB44-661D-BD93-DFE8-D27E194BC13A}"/>
              </a:ext>
            </a:extLst>
          </p:cNvPr>
          <p:cNvCxnSpPr>
            <a:cxnSpLocks/>
          </p:cNvCxnSpPr>
          <p:nvPr/>
        </p:nvCxnSpPr>
        <p:spPr>
          <a:xfrm flipH="1">
            <a:off x="2062791" y="2506738"/>
            <a:ext cx="14948" cy="2851387"/>
          </a:xfrm>
          <a:prstGeom prst="line">
            <a:avLst/>
          </a:prstGeom>
          <a:ln w="22225">
            <a:solidFill>
              <a:srgbClr val="E8E8E8"/>
            </a:solidFill>
            <a:prstDash val="lgDash"/>
          </a:ln>
        </p:spPr>
        <p:style>
          <a:lnRef idx="1">
            <a:schemeClr val="accent1"/>
          </a:lnRef>
          <a:fillRef idx="0">
            <a:schemeClr val="accent1"/>
          </a:fillRef>
          <a:effectRef idx="0">
            <a:schemeClr val="accent1"/>
          </a:effectRef>
          <a:fontRef idx="minor">
            <a:schemeClr val="tx1"/>
          </a:fontRef>
        </p:style>
      </p:cxnSp>
      <p:sp>
        <p:nvSpPr>
          <p:cNvPr id="42" name="Content Placeholder 2">
            <a:extLst>
              <a:ext uri="{FF2B5EF4-FFF2-40B4-BE49-F238E27FC236}">
                <a16:creationId xmlns:a16="http://schemas.microsoft.com/office/drawing/2014/main" id="{21AD82CF-E056-CD3B-85DD-1AC34D08A325}"/>
              </a:ext>
            </a:extLst>
          </p:cNvPr>
          <p:cNvSpPr txBox="1">
            <a:spLocks/>
          </p:cNvSpPr>
          <p:nvPr/>
        </p:nvSpPr>
        <p:spPr bwMode="gray">
          <a:xfrm>
            <a:off x="657426" y="4191132"/>
            <a:ext cx="1760013" cy="404239"/>
          </a:xfrm>
          <a:prstGeom prst="rect">
            <a:avLst/>
          </a:prstGeom>
        </p:spPr>
        <p:txBody>
          <a:bodyPr vert="horz" lIns="0" tIns="0" rIns="0" bIns="0" rtlCol="0" anchor="t">
            <a:noAutofit/>
          </a:bodyPr>
          <a:lstStyle>
            <a:lvl1pPr marL="180000" indent="-180000"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1600" kern="1200">
                <a:solidFill>
                  <a:schemeClr val="tx1"/>
                </a:solidFill>
                <a:latin typeface="+mn-lt"/>
                <a:ea typeface="+mn-ea"/>
                <a:cs typeface="+mn-cs"/>
              </a:defRPr>
            </a:lvl1pPr>
            <a:lvl2pPr marL="360000" indent="-18000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a:solidFill>
                  <a:schemeClr val="tx1"/>
                </a:solidFill>
                <a:latin typeface="+mn-lt"/>
                <a:ea typeface="+mn-ea"/>
                <a:cs typeface="+mn-cs"/>
              </a:defRPr>
            </a:lvl2pPr>
            <a:lvl3pPr marL="540000" indent="-180000" algn="l" defTabSz="914400" rtl="0" eaLnBrk="1" latinLnBrk="0" hangingPunct="1">
              <a:lnSpc>
                <a:spcPct val="100000"/>
              </a:lnSpc>
              <a:spcBef>
                <a:spcPts val="0"/>
              </a:spcBef>
              <a:spcAft>
                <a:spcPts val="600"/>
              </a:spcAft>
              <a:buClr>
                <a:srgbClr val="BDBDBD"/>
              </a:buClr>
              <a:buFont typeface="Arial" panose="020B0604020202020204" pitchFamily="34" charset="0"/>
              <a:buChar char="•"/>
              <a:defRPr sz="1600" kern="1200">
                <a:solidFill>
                  <a:schemeClr val="tx1"/>
                </a:solidFill>
                <a:latin typeface="+mn-lt"/>
                <a:ea typeface="+mn-ea"/>
                <a:cs typeface="+mn-cs"/>
              </a:defRPr>
            </a:lvl3pPr>
            <a:lvl4pPr marL="720000" indent="-180000" algn="l" defTabSz="914400" rtl="0" eaLnBrk="1" latinLnBrk="0" hangingPunct="1">
              <a:lnSpc>
                <a:spcPct val="100000"/>
              </a:lnSpc>
              <a:spcBef>
                <a:spcPts val="0"/>
              </a:spcBef>
              <a:spcAft>
                <a:spcPts val="600"/>
              </a:spcAft>
              <a:buClr>
                <a:srgbClr val="BDBDBD"/>
              </a:buClr>
              <a:buFont typeface="Arial" panose="020B0604020202020204" pitchFamily="34" charset="0"/>
              <a:buChar char="•"/>
              <a:defRPr sz="1600" kern="1200">
                <a:solidFill>
                  <a:schemeClr val="tx1"/>
                </a:solidFill>
                <a:latin typeface="+mn-lt"/>
                <a:ea typeface="+mn-ea"/>
                <a:cs typeface="+mn-cs"/>
              </a:defRPr>
            </a:lvl4pPr>
            <a:lvl5pPr marL="900000" indent="-180000" algn="l" defTabSz="914400" rtl="0" eaLnBrk="1" latinLnBrk="0" hangingPunct="1">
              <a:lnSpc>
                <a:spcPct val="100000"/>
              </a:lnSpc>
              <a:spcBef>
                <a:spcPts val="0"/>
              </a:spcBef>
              <a:spcAft>
                <a:spcPts val="600"/>
              </a:spcAft>
              <a:buClr>
                <a:srgbClr val="BDBDBD"/>
              </a:buClr>
              <a:buFont typeface="Arial" panose="020B0604020202020204" pitchFamily="34" charset="0"/>
              <a:buChar char="•"/>
              <a:defRPr sz="1600" kern="1200">
                <a:solidFill>
                  <a:schemeClr val="tx1"/>
                </a:solidFill>
                <a:latin typeface="+mn-lt"/>
                <a:ea typeface="+mn-ea"/>
                <a:cs typeface="+mn-cs"/>
              </a:defRPr>
            </a:lvl5pPr>
            <a:lvl6pPr marL="1080000" indent="-180000" algn="l" defTabSz="914400" rtl="0" eaLnBrk="1" latinLnBrk="0" hangingPunct="1">
              <a:lnSpc>
                <a:spcPct val="100000"/>
              </a:lnSpc>
              <a:spcBef>
                <a:spcPts val="0"/>
              </a:spcBef>
              <a:spcAft>
                <a:spcPts val="600"/>
              </a:spcAft>
              <a:buClr>
                <a:srgbClr val="BDBDBD"/>
              </a:buClr>
              <a:buFont typeface="Arial" panose="020B0604020202020204" pitchFamily="34" charset="0"/>
              <a:buChar char="•"/>
              <a:defRPr sz="1600" kern="1200">
                <a:solidFill>
                  <a:schemeClr val="tx1"/>
                </a:solidFill>
                <a:latin typeface="+mn-lt"/>
                <a:ea typeface="+mn-ea"/>
                <a:cs typeface="+mn-cs"/>
              </a:defRPr>
            </a:lvl6pPr>
            <a:lvl7pPr marL="1260000" indent="-180000" algn="l" defTabSz="914400" rtl="0" eaLnBrk="1" latinLnBrk="0" hangingPunct="1">
              <a:lnSpc>
                <a:spcPct val="100000"/>
              </a:lnSpc>
              <a:spcBef>
                <a:spcPts val="0"/>
              </a:spcBef>
              <a:spcAft>
                <a:spcPts val="600"/>
              </a:spcAft>
              <a:buClr>
                <a:srgbClr val="BDBDBD"/>
              </a:buClr>
              <a:buFont typeface="Arial" panose="020B0604020202020204" pitchFamily="34" charset="0"/>
              <a:buChar char="•"/>
              <a:defRPr sz="1600" kern="1200">
                <a:solidFill>
                  <a:schemeClr val="tx1"/>
                </a:solidFill>
                <a:latin typeface="+mn-lt"/>
                <a:ea typeface="+mn-ea"/>
                <a:cs typeface="+mn-cs"/>
              </a:defRPr>
            </a:lvl7pPr>
            <a:lvl8pPr marL="1440000" indent="-180000" algn="l" defTabSz="914400" rtl="0" eaLnBrk="1" latinLnBrk="0" hangingPunct="1">
              <a:lnSpc>
                <a:spcPct val="100000"/>
              </a:lnSpc>
              <a:spcBef>
                <a:spcPts val="0"/>
              </a:spcBef>
              <a:spcAft>
                <a:spcPts val="600"/>
              </a:spcAft>
              <a:buClr>
                <a:srgbClr val="BDBDBD"/>
              </a:buClr>
              <a:buFont typeface="Arial" panose="020B0604020202020204" pitchFamily="34" charset="0"/>
              <a:buChar char="•"/>
              <a:defRPr sz="1600" kern="1200">
                <a:solidFill>
                  <a:schemeClr val="tx1"/>
                </a:solidFill>
                <a:latin typeface="+mn-lt"/>
                <a:ea typeface="+mn-ea"/>
                <a:cs typeface="+mn-cs"/>
              </a:defRPr>
            </a:lvl8pPr>
            <a:lvl9pPr marL="1620000" indent="-180000" algn="l" defTabSz="914400" rtl="0" eaLnBrk="1" latinLnBrk="0" hangingPunct="1">
              <a:lnSpc>
                <a:spcPct val="100000"/>
              </a:lnSpc>
              <a:spcBef>
                <a:spcPts val="0"/>
              </a:spcBef>
              <a:spcAft>
                <a:spcPts val="600"/>
              </a:spcAft>
              <a:buClr>
                <a:srgbClr val="BDBDBD"/>
              </a:buClr>
              <a:buFont typeface="Arial" panose="020B0604020202020204" pitchFamily="34" charset="0"/>
              <a:buChar char="•"/>
              <a:defRPr sz="1600" kern="1200">
                <a:solidFill>
                  <a:schemeClr val="tx1"/>
                </a:solidFill>
                <a:latin typeface="+mn-lt"/>
                <a:ea typeface="+mn-ea"/>
                <a:cs typeface="+mn-cs"/>
              </a:defRPr>
            </a:lvl9pPr>
          </a:lstStyle>
          <a:p>
            <a:pPr marL="179705" lvl="1" indent="0">
              <a:buFont typeface="Arial" panose="020B0604020202020204" pitchFamily="34" charset="0"/>
              <a:buNone/>
            </a:pPr>
            <a:endParaRPr lang="en-US" sz="200">
              <a:cs typeface="Segoe UI"/>
            </a:endParaRPr>
          </a:p>
          <a:p>
            <a:pPr marL="0" indent="0">
              <a:buFont typeface="Arial" panose="020B0604020202020204" pitchFamily="34" charset="0"/>
              <a:buNone/>
            </a:pPr>
            <a:r>
              <a:rPr lang="en-US" b="1"/>
              <a:t>SFA40</a:t>
            </a:r>
            <a:endParaRPr lang="en-US">
              <a:cs typeface="Segoe UI"/>
            </a:endParaRPr>
          </a:p>
          <a:p>
            <a:pPr marL="359410" lvl="1" indent="-179705"/>
            <a:endParaRPr lang="en-US">
              <a:cs typeface="Segoe UI"/>
            </a:endParaRPr>
          </a:p>
        </p:txBody>
      </p:sp>
      <p:sp>
        <p:nvSpPr>
          <p:cNvPr id="43" name="TextBox 42">
            <a:extLst>
              <a:ext uri="{FF2B5EF4-FFF2-40B4-BE49-F238E27FC236}">
                <a16:creationId xmlns:a16="http://schemas.microsoft.com/office/drawing/2014/main" id="{656BD1D2-D928-279B-F96C-C6721A1FEAA8}"/>
              </a:ext>
            </a:extLst>
          </p:cNvPr>
          <p:cNvSpPr txBox="1"/>
          <p:nvPr/>
        </p:nvSpPr>
        <p:spPr>
          <a:xfrm>
            <a:off x="2062791" y="1751149"/>
            <a:ext cx="8218926" cy="330072"/>
          </a:xfrm>
          <a:prstGeom prst="rect">
            <a:avLst/>
          </a:prstGeom>
          <a:solidFill>
            <a:schemeClr val="accent3"/>
          </a:solidFill>
          <a:ln>
            <a:noFill/>
          </a:ln>
        </p:spPr>
        <p:txBody>
          <a:bodyPr wrap="square" lIns="72000" tIns="72000" rIns="72000" bIns="72000" rtlCol="0">
            <a:spAutoFit/>
          </a:bodyPr>
          <a:lstStyle/>
          <a:p>
            <a:pPr>
              <a:buClr>
                <a:schemeClr val="accent1"/>
              </a:buClr>
            </a:pPr>
            <a:r>
              <a:rPr lang="en-US" sz="1200" b="1"/>
              <a:t>2025</a:t>
            </a:r>
          </a:p>
        </p:txBody>
      </p:sp>
      <p:cxnSp>
        <p:nvCxnSpPr>
          <p:cNvPr id="44" name="Straight Connector 43">
            <a:extLst>
              <a:ext uri="{FF2B5EF4-FFF2-40B4-BE49-F238E27FC236}">
                <a16:creationId xmlns:a16="http://schemas.microsoft.com/office/drawing/2014/main" id="{65B25F50-8F6A-04D0-C053-40AFB4338BCB}"/>
              </a:ext>
            </a:extLst>
          </p:cNvPr>
          <p:cNvCxnSpPr>
            <a:cxnSpLocks/>
          </p:cNvCxnSpPr>
          <p:nvPr/>
        </p:nvCxnSpPr>
        <p:spPr>
          <a:xfrm flipH="1">
            <a:off x="2975679" y="2533510"/>
            <a:ext cx="4864" cy="2824615"/>
          </a:xfrm>
          <a:prstGeom prst="line">
            <a:avLst/>
          </a:prstGeom>
          <a:ln w="22225">
            <a:solidFill>
              <a:srgbClr val="E8E8E8"/>
            </a:solidFill>
            <a:prstDash val="lgDash"/>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295688D4-E843-DD3C-C7BB-934305B6D72B}"/>
              </a:ext>
            </a:extLst>
          </p:cNvPr>
          <p:cNvCxnSpPr>
            <a:cxnSpLocks/>
          </p:cNvCxnSpPr>
          <p:nvPr/>
        </p:nvCxnSpPr>
        <p:spPr>
          <a:xfrm>
            <a:off x="3869063" y="2483504"/>
            <a:ext cx="7010" cy="2874621"/>
          </a:xfrm>
          <a:prstGeom prst="line">
            <a:avLst/>
          </a:prstGeom>
          <a:ln w="22225">
            <a:solidFill>
              <a:srgbClr val="E8E8E8"/>
            </a:solidFill>
            <a:prstDash val="lgDash"/>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858AE54-B0D8-0D94-34C3-8F9DCCAB8766}"/>
              </a:ext>
            </a:extLst>
          </p:cNvPr>
          <p:cNvCxnSpPr>
            <a:cxnSpLocks/>
          </p:cNvCxnSpPr>
          <p:nvPr/>
        </p:nvCxnSpPr>
        <p:spPr>
          <a:xfrm>
            <a:off x="4783560" y="2498993"/>
            <a:ext cx="0" cy="2859132"/>
          </a:xfrm>
          <a:prstGeom prst="line">
            <a:avLst/>
          </a:prstGeom>
          <a:ln w="22225">
            <a:solidFill>
              <a:srgbClr val="E8E8E8"/>
            </a:solidFill>
            <a:prstDash val="lgDash"/>
          </a:ln>
        </p:spPr>
        <p:style>
          <a:lnRef idx="1">
            <a:schemeClr val="accent1"/>
          </a:lnRef>
          <a:fillRef idx="0">
            <a:schemeClr val="accent1"/>
          </a:fillRef>
          <a:effectRef idx="0">
            <a:schemeClr val="accent1"/>
          </a:effectRef>
          <a:fontRef idx="minor">
            <a:schemeClr val="tx1"/>
          </a:fontRef>
        </p:style>
      </p:cxnSp>
      <p:sp>
        <p:nvSpPr>
          <p:cNvPr id="47" name="Arrow: Pentagon 46">
            <a:extLst>
              <a:ext uri="{FF2B5EF4-FFF2-40B4-BE49-F238E27FC236}">
                <a16:creationId xmlns:a16="http://schemas.microsoft.com/office/drawing/2014/main" id="{7279663B-BEE2-6184-AE4C-7179E6AA03C2}"/>
              </a:ext>
            </a:extLst>
          </p:cNvPr>
          <p:cNvSpPr/>
          <p:nvPr/>
        </p:nvSpPr>
        <p:spPr>
          <a:xfrm>
            <a:off x="1688958" y="2910887"/>
            <a:ext cx="9105285" cy="267905"/>
          </a:xfrm>
          <a:prstGeom prst="homePlate">
            <a:avLst/>
          </a:prstGeom>
          <a:solidFill>
            <a:schemeClr val="accent4">
              <a:lumMod val="10000"/>
              <a:lumOff val="9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de-CH" err="1"/>
          </a:p>
        </p:txBody>
      </p:sp>
      <p:sp>
        <p:nvSpPr>
          <p:cNvPr id="48" name="Arrow: Pentagon 47">
            <a:extLst>
              <a:ext uri="{FF2B5EF4-FFF2-40B4-BE49-F238E27FC236}">
                <a16:creationId xmlns:a16="http://schemas.microsoft.com/office/drawing/2014/main" id="{E3C1DBC6-B881-DB49-48C5-698DB9160396}"/>
              </a:ext>
            </a:extLst>
          </p:cNvPr>
          <p:cNvSpPr/>
          <p:nvPr/>
        </p:nvSpPr>
        <p:spPr>
          <a:xfrm>
            <a:off x="3348786" y="4195317"/>
            <a:ext cx="4137463" cy="271194"/>
          </a:xfrm>
          <a:prstGeom prst="homePlate">
            <a:avLst/>
          </a:prstGeom>
          <a:solidFill>
            <a:schemeClr val="accent5">
              <a:lumMod val="40000"/>
              <a:lumOff val="6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r>
              <a:rPr lang="de-CH"/>
              <a:t>Pilot </a:t>
            </a:r>
            <a:r>
              <a:rPr lang="de-CH" err="1"/>
              <a:t>production</a:t>
            </a:r>
            <a:endParaRPr lang="de-CH"/>
          </a:p>
        </p:txBody>
      </p:sp>
      <p:sp>
        <p:nvSpPr>
          <p:cNvPr id="49" name="TextBox 48">
            <a:extLst>
              <a:ext uri="{FF2B5EF4-FFF2-40B4-BE49-F238E27FC236}">
                <a16:creationId xmlns:a16="http://schemas.microsoft.com/office/drawing/2014/main" id="{9C19576F-9707-CE39-97DE-E7BACA46F7A5}"/>
              </a:ext>
            </a:extLst>
          </p:cNvPr>
          <p:cNvSpPr txBox="1"/>
          <p:nvPr/>
        </p:nvSpPr>
        <p:spPr>
          <a:xfrm>
            <a:off x="2062791" y="2105687"/>
            <a:ext cx="917139" cy="330072"/>
          </a:xfrm>
          <a:prstGeom prst="rect">
            <a:avLst/>
          </a:prstGeom>
          <a:solidFill>
            <a:schemeClr val="accent3"/>
          </a:solidFill>
          <a:ln>
            <a:noFill/>
          </a:ln>
        </p:spPr>
        <p:txBody>
          <a:bodyPr wrap="square" lIns="72000" tIns="72000" rIns="72000" bIns="72000" rtlCol="0">
            <a:spAutoFit/>
          </a:bodyPr>
          <a:lstStyle/>
          <a:p>
            <a:pPr>
              <a:buClr>
                <a:schemeClr val="accent1"/>
              </a:buClr>
            </a:pPr>
            <a:r>
              <a:rPr lang="en-US" sz="1200" b="1"/>
              <a:t>Apr</a:t>
            </a:r>
          </a:p>
        </p:txBody>
      </p:sp>
      <p:sp>
        <p:nvSpPr>
          <p:cNvPr id="50" name="TextBox 49">
            <a:extLst>
              <a:ext uri="{FF2B5EF4-FFF2-40B4-BE49-F238E27FC236}">
                <a16:creationId xmlns:a16="http://schemas.microsoft.com/office/drawing/2014/main" id="{5ABAE552-BF5E-3409-754F-B9997F6CB34F}"/>
              </a:ext>
            </a:extLst>
          </p:cNvPr>
          <p:cNvSpPr txBox="1"/>
          <p:nvPr/>
        </p:nvSpPr>
        <p:spPr>
          <a:xfrm>
            <a:off x="2975679" y="2105482"/>
            <a:ext cx="917139" cy="330072"/>
          </a:xfrm>
          <a:prstGeom prst="rect">
            <a:avLst/>
          </a:prstGeom>
          <a:solidFill>
            <a:schemeClr val="accent1"/>
          </a:solidFill>
          <a:ln>
            <a:noFill/>
          </a:ln>
        </p:spPr>
        <p:txBody>
          <a:bodyPr wrap="square" lIns="72000" tIns="72000" rIns="72000" bIns="72000" rtlCol="0">
            <a:spAutoFit/>
          </a:bodyPr>
          <a:lstStyle/>
          <a:p>
            <a:pPr>
              <a:buClr>
                <a:schemeClr val="accent1"/>
              </a:buClr>
            </a:pPr>
            <a:r>
              <a:rPr lang="en-US" sz="1200" b="1"/>
              <a:t>May</a:t>
            </a:r>
          </a:p>
        </p:txBody>
      </p:sp>
      <p:sp>
        <p:nvSpPr>
          <p:cNvPr id="51" name="TextBox 50">
            <a:extLst>
              <a:ext uri="{FF2B5EF4-FFF2-40B4-BE49-F238E27FC236}">
                <a16:creationId xmlns:a16="http://schemas.microsoft.com/office/drawing/2014/main" id="{21E7CCC9-9F2D-DE11-1010-5CEC12CFA82E}"/>
              </a:ext>
            </a:extLst>
          </p:cNvPr>
          <p:cNvSpPr txBox="1"/>
          <p:nvPr/>
        </p:nvSpPr>
        <p:spPr>
          <a:xfrm>
            <a:off x="3861585" y="2101775"/>
            <a:ext cx="917139" cy="330072"/>
          </a:xfrm>
          <a:prstGeom prst="rect">
            <a:avLst/>
          </a:prstGeom>
          <a:solidFill>
            <a:schemeClr val="accent3"/>
          </a:solidFill>
          <a:ln>
            <a:noFill/>
          </a:ln>
        </p:spPr>
        <p:txBody>
          <a:bodyPr wrap="square" lIns="72000" tIns="72000" rIns="72000" bIns="72000" rtlCol="0">
            <a:spAutoFit/>
          </a:bodyPr>
          <a:lstStyle/>
          <a:p>
            <a:pPr>
              <a:buClr>
                <a:schemeClr val="accent1"/>
              </a:buClr>
            </a:pPr>
            <a:r>
              <a:rPr lang="en-US" sz="1200" b="1"/>
              <a:t>Jun</a:t>
            </a:r>
          </a:p>
        </p:txBody>
      </p:sp>
      <p:sp>
        <p:nvSpPr>
          <p:cNvPr id="52" name="TextBox 51">
            <a:extLst>
              <a:ext uri="{FF2B5EF4-FFF2-40B4-BE49-F238E27FC236}">
                <a16:creationId xmlns:a16="http://schemas.microsoft.com/office/drawing/2014/main" id="{3170910E-61AE-698F-0535-D8F7D98CD3A1}"/>
              </a:ext>
            </a:extLst>
          </p:cNvPr>
          <p:cNvSpPr txBox="1"/>
          <p:nvPr/>
        </p:nvSpPr>
        <p:spPr>
          <a:xfrm>
            <a:off x="4774473" y="2101570"/>
            <a:ext cx="917139" cy="330072"/>
          </a:xfrm>
          <a:prstGeom prst="rect">
            <a:avLst/>
          </a:prstGeom>
          <a:solidFill>
            <a:schemeClr val="accent1"/>
          </a:solidFill>
          <a:ln>
            <a:noFill/>
          </a:ln>
        </p:spPr>
        <p:txBody>
          <a:bodyPr wrap="square" lIns="72000" tIns="72000" rIns="72000" bIns="72000" rtlCol="0">
            <a:spAutoFit/>
          </a:bodyPr>
          <a:lstStyle/>
          <a:p>
            <a:pPr>
              <a:buClr>
                <a:schemeClr val="accent1"/>
              </a:buClr>
            </a:pPr>
            <a:r>
              <a:rPr lang="en-US" sz="1200" b="1"/>
              <a:t>Jul</a:t>
            </a:r>
          </a:p>
        </p:txBody>
      </p:sp>
      <p:sp>
        <p:nvSpPr>
          <p:cNvPr id="53" name="TextBox 52">
            <a:extLst>
              <a:ext uri="{FF2B5EF4-FFF2-40B4-BE49-F238E27FC236}">
                <a16:creationId xmlns:a16="http://schemas.microsoft.com/office/drawing/2014/main" id="{07D80DC8-6B41-9577-D498-A4CD45EB401B}"/>
              </a:ext>
            </a:extLst>
          </p:cNvPr>
          <p:cNvSpPr txBox="1"/>
          <p:nvPr/>
        </p:nvSpPr>
        <p:spPr>
          <a:xfrm>
            <a:off x="5691612" y="2104007"/>
            <a:ext cx="917139" cy="330072"/>
          </a:xfrm>
          <a:prstGeom prst="rect">
            <a:avLst/>
          </a:prstGeom>
          <a:solidFill>
            <a:schemeClr val="accent3"/>
          </a:solidFill>
          <a:ln>
            <a:noFill/>
          </a:ln>
        </p:spPr>
        <p:txBody>
          <a:bodyPr wrap="square" lIns="72000" tIns="72000" rIns="72000" bIns="72000" rtlCol="0">
            <a:spAutoFit/>
          </a:bodyPr>
          <a:lstStyle/>
          <a:p>
            <a:pPr>
              <a:buClr>
                <a:schemeClr val="accent1"/>
              </a:buClr>
            </a:pPr>
            <a:r>
              <a:rPr lang="en-US" sz="1200" b="1"/>
              <a:t>Aug</a:t>
            </a:r>
          </a:p>
        </p:txBody>
      </p:sp>
      <p:sp>
        <p:nvSpPr>
          <p:cNvPr id="54" name="TextBox 53">
            <a:extLst>
              <a:ext uri="{FF2B5EF4-FFF2-40B4-BE49-F238E27FC236}">
                <a16:creationId xmlns:a16="http://schemas.microsoft.com/office/drawing/2014/main" id="{B019E7DF-FF11-1EA5-94FB-006C2AAAB782}"/>
              </a:ext>
            </a:extLst>
          </p:cNvPr>
          <p:cNvSpPr txBox="1"/>
          <p:nvPr/>
        </p:nvSpPr>
        <p:spPr>
          <a:xfrm>
            <a:off x="6604500" y="2110946"/>
            <a:ext cx="917139" cy="330072"/>
          </a:xfrm>
          <a:prstGeom prst="rect">
            <a:avLst/>
          </a:prstGeom>
          <a:solidFill>
            <a:schemeClr val="accent1"/>
          </a:solidFill>
          <a:ln>
            <a:noFill/>
          </a:ln>
        </p:spPr>
        <p:txBody>
          <a:bodyPr wrap="square" lIns="72000" tIns="72000" rIns="72000" bIns="72000" rtlCol="0">
            <a:spAutoFit/>
          </a:bodyPr>
          <a:lstStyle/>
          <a:p>
            <a:pPr>
              <a:buClr>
                <a:schemeClr val="accent1"/>
              </a:buClr>
            </a:pPr>
            <a:r>
              <a:rPr lang="en-US" sz="1200" b="1"/>
              <a:t>Sep</a:t>
            </a:r>
          </a:p>
        </p:txBody>
      </p:sp>
      <p:sp>
        <p:nvSpPr>
          <p:cNvPr id="55" name="Content Placeholder 2">
            <a:extLst>
              <a:ext uri="{FF2B5EF4-FFF2-40B4-BE49-F238E27FC236}">
                <a16:creationId xmlns:a16="http://schemas.microsoft.com/office/drawing/2014/main" id="{D60B632E-7F01-9E48-56A1-3FB50DE1555C}"/>
              </a:ext>
            </a:extLst>
          </p:cNvPr>
          <p:cNvSpPr txBox="1">
            <a:spLocks/>
          </p:cNvSpPr>
          <p:nvPr/>
        </p:nvSpPr>
        <p:spPr bwMode="gray">
          <a:xfrm>
            <a:off x="655696" y="3460851"/>
            <a:ext cx="1760013" cy="223497"/>
          </a:xfrm>
          <a:prstGeom prst="rect">
            <a:avLst/>
          </a:prstGeom>
        </p:spPr>
        <p:txBody>
          <a:bodyPr vert="horz" lIns="0" tIns="0" rIns="0" bIns="0" rtlCol="0" anchor="t">
            <a:noAutofit/>
          </a:bodyPr>
          <a:lstStyle>
            <a:lvl1pPr marL="180000" indent="-180000"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1600" kern="1200">
                <a:solidFill>
                  <a:schemeClr val="tx1"/>
                </a:solidFill>
                <a:latin typeface="+mn-lt"/>
                <a:ea typeface="+mn-ea"/>
                <a:cs typeface="+mn-cs"/>
              </a:defRPr>
            </a:lvl1pPr>
            <a:lvl2pPr marL="360000" indent="-18000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a:solidFill>
                  <a:schemeClr val="tx1"/>
                </a:solidFill>
                <a:latin typeface="+mn-lt"/>
                <a:ea typeface="+mn-ea"/>
                <a:cs typeface="+mn-cs"/>
              </a:defRPr>
            </a:lvl2pPr>
            <a:lvl3pPr marL="540000" indent="-180000" algn="l" defTabSz="914400" rtl="0" eaLnBrk="1" latinLnBrk="0" hangingPunct="1">
              <a:lnSpc>
                <a:spcPct val="100000"/>
              </a:lnSpc>
              <a:spcBef>
                <a:spcPts val="0"/>
              </a:spcBef>
              <a:spcAft>
                <a:spcPts val="600"/>
              </a:spcAft>
              <a:buClr>
                <a:srgbClr val="BDBDBD"/>
              </a:buClr>
              <a:buFont typeface="Arial" panose="020B0604020202020204" pitchFamily="34" charset="0"/>
              <a:buChar char="•"/>
              <a:defRPr sz="1600" kern="1200">
                <a:solidFill>
                  <a:schemeClr val="tx1"/>
                </a:solidFill>
                <a:latin typeface="+mn-lt"/>
                <a:ea typeface="+mn-ea"/>
                <a:cs typeface="+mn-cs"/>
              </a:defRPr>
            </a:lvl3pPr>
            <a:lvl4pPr marL="720000" indent="-180000" algn="l" defTabSz="914400" rtl="0" eaLnBrk="1" latinLnBrk="0" hangingPunct="1">
              <a:lnSpc>
                <a:spcPct val="100000"/>
              </a:lnSpc>
              <a:spcBef>
                <a:spcPts val="0"/>
              </a:spcBef>
              <a:spcAft>
                <a:spcPts val="600"/>
              </a:spcAft>
              <a:buClr>
                <a:srgbClr val="BDBDBD"/>
              </a:buClr>
              <a:buFont typeface="Arial" panose="020B0604020202020204" pitchFamily="34" charset="0"/>
              <a:buChar char="•"/>
              <a:defRPr sz="1600" kern="1200">
                <a:solidFill>
                  <a:schemeClr val="tx1"/>
                </a:solidFill>
                <a:latin typeface="+mn-lt"/>
                <a:ea typeface="+mn-ea"/>
                <a:cs typeface="+mn-cs"/>
              </a:defRPr>
            </a:lvl4pPr>
            <a:lvl5pPr marL="900000" indent="-180000" algn="l" defTabSz="914400" rtl="0" eaLnBrk="1" latinLnBrk="0" hangingPunct="1">
              <a:lnSpc>
                <a:spcPct val="100000"/>
              </a:lnSpc>
              <a:spcBef>
                <a:spcPts val="0"/>
              </a:spcBef>
              <a:spcAft>
                <a:spcPts val="600"/>
              </a:spcAft>
              <a:buClr>
                <a:srgbClr val="BDBDBD"/>
              </a:buClr>
              <a:buFont typeface="Arial" panose="020B0604020202020204" pitchFamily="34" charset="0"/>
              <a:buChar char="•"/>
              <a:defRPr sz="1600" kern="1200">
                <a:solidFill>
                  <a:schemeClr val="tx1"/>
                </a:solidFill>
                <a:latin typeface="+mn-lt"/>
                <a:ea typeface="+mn-ea"/>
                <a:cs typeface="+mn-cs"/>
              </a:defRPr>
            </a:lvl5pPr>
            <a:lvl6pPr marL="1080000" indent="-180000" algn="l" defTabSz="914400" rtl="0" eaLnBrk="1" latinLnBrk="0" hangingPunct="1">
              <a:lnSpc>
                <a:spcPct val="100000"/>
              </a:lnSpc>
              <a:spcBef>
                <a:spcPts val="0"/>
              </a:spcBef>
              <a:spcAft>
                <a:spcPts val="600"/>
              </a:spcAft>
              <a:buClr>
                <a:srgbClr val="BDBDBD"/>
              </a:buClr>
              <a:buFont typeface="Arial" panose="020B0604020202020204" pitchFamily="34" charset="0"/>
              <a:buChar char="•"/>
              <a:defRPr sz="1600" kern="1200">
                <a:solidFill>
                  <a:schemeClr val="tx1"/>
                </a:solidFill>
                <a:latin typeface="+mn-lt"/>
                <a:ea typeface="+mn-ea"/>
                <a:cs typeface="+mn-cs"/>
              </a:defRPr>
            </a:lvl6pPr>
            <a:lvl7pPr marL="1260000" indent="-180000" algn="l" defTabSz="914400" rtl="0" eaLnBrk="1" latinLnBrk="0" hangingPunct="1">
              <a:lnSpc>
                <a:spcPct val="100000"/>
              </a:lnSpc>
              <a:spcBef>
                <a:spcPts val="0"/>
              </a:spcBef>
              <a:spcAft>
                <a:spcPts val="600"/>
              </a:spcAft>
              <a:buClr>
                <a:srgbClr val="BDBDBD"/>
              </a:buClr>
              <a:buFont typeface="Arial" panose="020B0604020202020204" pitchFamily="34" charset="0"/>
              <a:buChar char="•"/>
              <a:defRPr sz="1600" kern="1200">
                <a:solidFill>
                  <a:schemeClr val="tx1"/>
                </a:solidFill>
                <a:latin typeface="+mn-lt"/>
                <a:ea typeface="+mn-ea"/>
                <a:cs typeface="+mn-cs"/>
              </a:defRPr>
            </a:lvl7pPr>
            <a:lvl8pPr marL="1440000" indent="-180000" algn="l" defTabSz="914400" rtl="0" eaLnBrk="1" latinLnBrk="0" hangingPunct="1">
              <a:lnSpc>
                <a:spcPct val="100000"/>
              </a:lnSpc>
              <a:spcBef>
                <a:spcPts val="0"/>
              </a:spcBef>
              <a:spcAft>
                <a:spcPts val="600"/>
              </a:spcAft>
              <a:buClr>
                <a:srgbClr val="BDBDBD"/>
              </a:buClr>
              <a:buFont typeface="Arial" panose="020B0604020202020204" pitchFamily="34" charset="0"/>
              <a:buChar char="•"/>
              <a:defRPr sz="1600" kern="1200">
                <a:solidFill>
                  <a:schemeClr val="tx1"/>
                </a:solidFill>
                <a:latin typeface="+mn-lt"/>
                <a:ea typeface="+mn-ea"/>
                <a:cs typeface="+mn-cs"/>
              </a:defRPr>
            </a:lvl8pPr>
            <a:lvl9pPr marL="1620000" indent="-180000" algn="l" defTabSz="914400" rtl="0" eaLnBrk="1" latinLnBrk="0" hangingPunct="1">
              <a:lnSpc>
                <a:spcPct val="100000"/>
              </a:lnSpc>
              <a:spcBef>
                <a:spcPts val="0"/>
              </a:spcBef>
              <a:spcAft>
                <a:spcPts val="600"/>
              </a:spcAft>
              <a:buClr>
                <a:srgbClr val="BDBDBD"/>
              </a:buClr>
              <a:buFont typeface="Arial" panose="020B0604020202020204" pitchFamily="34" charset="0"/>
              <a:buChar char="•"/>
              <a:defRPr sz="1600" kern="1200">
                <a:solidFill>
                  <a:schemeClr val="tx1"/>
                </a:solidFill>
                <a:latin typeface="+mn-lt"/>
                <a:ea typeface="+mn-ea"/>
                <a:cs typeface="+mn-cs"/>
              </a:defRPr>
            </a:lvl9pPr>
          </a:lstStyle>
          <a:p>
            <a:pPr marL="0" indent="0">
              <a:buFont typeface="Arial" panose="020B0604020202020204" pitchFamily="34" charset="0"/>
              <a:buNone/>
            </a:pPr>
            <a:r>
              <a:rPr lang="en-US" b="1"/>
              <a:t>SFA30</a:t>
            </a:r>
            <a:endParaRPr lang="en-US">
              <a:cs typeface="Segoe UI"/>
            </a:endParaRPr>
          </a:p>
        </p:txBody>
      </p:sp>
      <p:pic>
        <p:nvPicPr>
          <p:cNvPr id="56" name="Picture 55" descr="A green and gold circuit board&#10;&#10;Description automatically generated">
            <a:extLst>
              <a:ext uri="{FF2B5EF4-FFF2-40B4-BE49-F238E27FC236}">
                <a16:creationId xmlns:a16="http://schemas.microsoft.com/office/drawing/2014/main" id="{B801311E-96CF-2B00-52D8-6186BFF187B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03228" y="2411357"/>
            <a:ext cx="2118151" cy="1219511"/>
          </a:xfrm>
          <a:prstGeom prst="rect">
            <a:avLst/>
          </a:prstGeom>
        </p:spPr>
      </p:pic>
      <p:sp>
        <p:nvSpPr>
          <p:cNvPr id="57" name="Arrow: Pentagon 56">
            <a:extLst>
              <a:ext uri="{FF2B5EF4-FFF2-40B4-BE49-F238E27FC236}">
                <a16:creationId xmlns:a16="http://schemas.microsoft.com/office/drawing/2014/main" id="{8A2A28C4-5333-A3FD-E488-4CA24A9EBBB8}"/>
              </a:ext>
            </a:extLst>
          </p:cNvPr>
          <p:cNvSpPr/>
          <p:nvPr/>
        </p:nvSpPr>
        <p:spPr>
          <a:xfrm>
            <a:off x="7554764" y="4205057"/>
            <a:ext cx="3239484" cy="276062"/>
          </a:xfrm>
          <a:prstGeom prst="homePlate">
            <a:avLst/>
          </a:prstGeom>
          <a:solidFill>
            <a:schemeClr val="accent5">
              <a:lumMod val="60000"/>
              <a:lumOff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r>
              <a:rPr lang="de-CH"/>
              <a:t>Volume </a:t>
            </a:r>
            <a:r>
              <a:rPr lang="de-CH" err="1"/>
              <a:t>production</a:t>
            </a:r>
            <a:endParaRPr lang="de-CH"/>
          </a:p>
        </p:txBody>
      </p:sp>
      <p:cxnSp>
        <p:nvCxnSpPr>
          <p:cNvPr id="58" name="Straight Connector 57">
            <a:extLst>
              <a:ext uri="{FF2B5EF4-FFF2-40B4-BE49-F238E27FC236}">
                <a16:creationId xmlns:a16="http://schemas.microsoft.com/office/drawing/2014/main" id="{DD07C37A-F684-CE09-D34D-E5D193E1DF6F}"/>
              </a:ext>
            </a:extLst>
          </p:cNvPr>
          <p:cNvCxnSpPr>
            <a:cxnSpLocks/>
          </p:cNvCxnSpPr>
          <p:nvPr/>
        </p:nvCxnSpPr>
        <p:spPr>
          <a:xfrm>
            <a:off x="2062791" y="5358125"/>
            <a:ext cx="8234541" cy="0"/>
          </a:xfrm>
          <a:prstGeom prst="line">
            <a:avLst/>
          </a:prstGeom>
          <a:ln w="22225">
            <a:solidFill>
              <a:srgbClr val="E8E8E8"/>
            </a:solidFill>
            <a:prstDash val="lgDash"/>
          </a:ln>
        </p:spPr>
        <p:style>
          <a:lnRef idx="1">
            <a:schemeClr val="accent1"/>
          </a:lnRef>
          <a:fillRef idx="0">
            <a:schemeClr val="accent1"/>
          </a:fillRef>
          <a:effectRef idx="0">
            <a:schemeClr val="accent1"/>
          </a:effectRef>
          <a:fontRef idx="minor">
            <a:schemeClr val="tx1"/>
          </a:fontRef>
        </p:style>
      </p:cxnSp>
      <p:sp>
        <p:nvSpPr>
          <p:cNvPr id="59" name="TextBox 58">
            <a:extLst>
              <a:ext uri="{FF2B5EF4-FFF2-40B4-BE49-F238E27FC236}">
                <a16:creationId xmlns:a16="http://schemas.microsoft.com/office/drawing/2014/main" id="{F6EA4EFC-A4C8-12EB-BF44-13F562FF2199}"/>
              </a:ext>
            </a:extLst>
          </p:cNvPr>
          <p:cNvSpPr txBox="1"/>
          <p:nvPr/>
        </p:nvSpPr>
        <p:spPr>
          <a:xfrm>
            <a:off x="7520870" y="2111701"/>
            <a:ext cx="917139" cy="330072"/>
          </a:xfrm>
          <a:prstGeom prst="rect">
            <a:avLst/>
          </a:prstGeom>
          <a:solidFill>
            <a:schemeClr val="accent3"/>
          </a:solidFill>
          <a:ln>
            <a:noFill/>
          </a:ln>
        </p:spPr>
        <p:txBody>
          <a:bodyPr wrap="square" lIns="72000" tIns="72000" rIns="72000" bIns="72000" rtlCol="0">
            <a:spAutoFit/>
          </a:bodyPr>
          <a:lstStyle/>
          <a:p>
            <a:pPr>
              <a:buClr>
                <a:schemeClr val="accent1"/>
              </a:buClr>
            </a:pPr>
            <a:r>
              <a:rPr lang="en-US" sz="1200" b="1"/>
              <a:t>Oct</a:t>
            </a:r>
          </a:p>
        </p:txBody>
      </p:sp>
      <p:sp>
        <p:nvSpPr>
          <p:cNvPr id="60" name="TextBox 59">
            <a:extLst>
              <a:ext uri="{FF2B5EF4-FFF2-40B4-BE49-F238E27FC236}">
                <a16:creationId xmlns:a16="http://schemas.microsoft.com/office/drawing/2014/main" id="{1D90FD27-06B7-4187-6CDC-8455B6B2E8BC}"/>
              </a:ext>
            </a:extLst>
          </p:cNvPr>
          <p:cNvSpPr txBox="1"/>
          <p:nvPr/>
        </p:nvSpPr>
        <p:spPr>
          <a:xfrm>
            <a:off x="8433758" y="2111496"/>
            <a:ext cx="917139" cy="330072"/>
          </a:xfrm>
          <a:prstGeom prst="rect">
            <a:avLst/>
          </a:prstGeom>
          <a:solidFill>
            <a:schemeClr val="accent1"/>
          </a:solidFill>
          <a:ln>
            <a:noFill/>
          </a:ln>
        </p:spPr>
        <p:txBody>
          <a:bodyPr wrap="square" lIns="72000" tIns="72000" rIns="72000" bIns="72000" rtlCol="0">
            <a:spAutoFit/>
          </a:bodyPr>
          <a:lstStyle/>
          <a:p>
            <a:pPr>
              <a:buClr>
                <a:schemeClr val="accent1"/>
              </a:buClr>
            </a:pPr>
            <a:r>
              <a:rPr lang="en-US" sz="1200" b="1"/>
              <a:t>Nov</a:t>
            </a:r>
          </a:p>
        </p:txBody>
      </p:sp>
      <p:sp>
        <p:nvSpPr>
          <p:cNvPr id="61" name="Arrow: Pentagon 60">
            <a:extLst>
              <a:ext uri="{FF2B5EF4-FFF2-40B4-BE49-F238E27FC236}">
                <a16:creationId xmlns:a16="http://schemas.microsoft.com/office/drawing/2014/main" id="{267B232F-3BF3-FDCA-5D15-7B15D0D8EFBB}"/>
              </a:ext>
            </a:extLst>
          </p:cNvPr>
          <p:cNvSpPr/>
          <p:nvPr/>
        </p:nvSpPr>
        <p:spPr>
          <a:xfrm>
            <a:off x="1791171" y="4200069"/>
            <a:ext cx="1543583" cy="235957"/>
          </a:xfrm>
          <a:prstGeom prst="homePlate">
            <a:avLst/>
          </a:prstGeom>
          <a:solidFill>
            <a:schemeClr val="accent5">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r>
              <a:rPr lang="de-CH"/>
              <a:t>Samples</a:t>
            </a:r>
          </a:p>
        </p:txBody>
      </p:sp>
      <p:pic>
        <p:nvPicPr>
          <p:cNvPr id="62" name="Picture 61" descr="A close-up of a computer chip&#10;&#10;Description automatically generated">
            <a:extLst>
              <a:ext uri="{FF2B5EF4-FFF2-40B4-BE49-F238E27FC236}">
                <a16:creationId xmlns:a16="http://schemas.microsoft.com/office/drawing/2014/main" id="{949210BB-A786-5A71-A477-B304A01E393B}"/>
              </a:ext>
            </a:extLst>
          </p:cNvPr>
          <p:cNvPicPr>
            <a:picLocks noChangeAspect="1"/>
          </p:cNvPicPr>
          <p:nvPr/>
        </p:nvPicPr>
        <p:blipFill>
          <a:blip r:embed="rId3">
            <a:extLst>
              <a:ext uri="{BEBA8EAE-BF5A-486C-A8C5-ECC9F3942E4B}">
                <a14:imgProps xmlns:a14="http://schemas.microsoft.com/office/drawing/2010/main">
                  <a14:imgLayer r:embed="rId4">
                    <a14:imgEffect>
                      <a14:backgroundRemoval t="10000" b="90000" l="10000" r="90000">
                        <a14:foregroundMark x1="45009" y1="48102" x2="31485" y2="55093"/>
                        <a14:foregroundMark x1="55206" y1="43565" x2="52487" y2="47269"/>
                        <a14:foregroundMark x1="32916" y1="64352" x2="30698" y2="65602"/>
                        <a14:backgroundMark x1="34490" y1="80417" x2="34490" y2="80417"/>
                        <a14:backgroundMark x1="25116" y1="74028" x2="25116" y2="74028"/>
                        <a14:backgroundMark x1="34347" y1="80231" x2="34204" y2="79213"/>
                        <a14:backgroundMark x1="16923" y1="58333" x2="16923" y2="58333"/>
                        <a14:backgroundMark x1="21038" y1="65648" x2="21038" y2="65648"/>
                        <a14:backgroundMark x1="25474" y1="73194" x2="25474" y2="73194"/>
                        <a14:backgroundMark x1="36852" y1="77593" x2="36852" y2="77593"/>
                        <a14:backgroundMark x1="37603" y1="77917" x2="37603" y2="77917"/>
                      </a14:backgroundRemoval>
                    </a14:imgEffect>
                  </a14:imgLayer>
                </a14:imgProps>
              </a:ext>
              <a:ext uri="{28A0092B-C50C-407E-A947-70E740481C1C}">
                <a14:useLocalDpi xmlns:a14="http://schemas.microsoft.com/office/drawing/2010/main" val="0"/>
              </a:ext>
            </a:extLst>
          </a:blip>
          <a:stretch>
            <a:fillRect/>
          </a:stretch>
        </p:blipFill>
        <p:spPr>
          <a:xfrm>
            <a:off x="1397749" y="4070407"/>
            <a:ext cx="637795" cy="492894"/>
          </a:xfrm>
          <a:prstGeom prst="rect">
            <a:avLst/>
          </a:prstGeom>
        </p:spPr>
      </p:pic>
      <p:sp>
        <p:nvSpPr>
          <p:cNvPr id="71" name="TextBox 70">
            <a:extLst>
              <a:ext uri="{FF2B5EF4-FFF2-40B4-BE49-F238E27FC236}">
                <a16:creationId xmlns:a16="http://schemas.microsoft.com/office/drawing/2014/main" id="{7C7593B4-3904-1231-C387-DFDF1C91A206}"/>
              </a:ext>
            </a:extLst>
          </p:cNvPr>
          <p:cNvSpPr txBox="1"/>
          <p:nvPr/>
        </p:nvSpPr>
        <p:spPr>
          <a:xfrm>
            <a:off x="9364582" y="2113568"/>
            <a:ext cx="917139" cy="330072"/>
          </a:xfrm>
          <a:prstGeom prst="rect">
            <a:avLst/>
          </a:prstGeom>
          <a:solidFill>
            <a:schemeClr val="accent3"/>
          </a:solidFill>
          <a:ln>
            <a:noFill/>
          </a:ln>
        </p:spPr>
        <p:txBody>
          <a:bodyPr wrap="square" lIns="72000" tIns="72000" rIns="72000" bIns="72000" rtlCol="0">
            <a:spAutoFit/>
          </a:bodyPr>
          <a:lstStyle/>
          <a:p>
            <a:pPr>
              <a:buClr>
                <a:schemeClr val="accent1"/>
              </a:buClr>
            </a:pPr>
            <a:r>
              <a:rPr lang="en-US" sz="1200" b="1"/>
              <a:t>Dec</a:t>
            </a:r>
          </a:p>
        </p:txBody>
      </p:sp>
    </p:spTree>
    <p:extLst>
      <p:ext uri="{BB962C8B-B14F-4D97-AF65-F5344CB8AC3E}">
        <p14:creationId xmlns:p14="http://schemas.microsoft.com/office/powerpoint/2010/main" val="82456801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a:extLst>
              <a:ext uri="{FF2B5EF4-FFF2-40B4-BE49-F238E27FC236}">
                <a16:creationId xmlns:a16="http://schemas.microsoft.com/office/drawing/2014/main" id="{9505B6EF-DD6B-939E-2B0D-02D80A2CAF67}"/>
              </a:ext>
            </a:extLst>
          </p:cNvPr>
          <p:cNvSpPr>
            <a:spLocks noGrp="1"/>
          </p:cNvSpPr>
          <p:nvPr>
            <p:ph type="ctrTitle"/>
          </p:nvPr>
        </p:nvSpPr>
        <p:spPr/>
        <p:txBody>
          <a:bodyPr/>
          <a:lstStyle/>
          <a:p>
            <a:r>
              <a:rPr lang="en-US"/>
              <a:t>STCC4</a:t>
            </a:r>
          </a:p>
        </p:txBody>
      </p:sp>
      <p:sp>
        <p:nvSpPr>
          <p:cNvPr id="18" name="Text Placeholder 17">
            <a:extLst>
              <a:ext uri="{FF2B5EF4-FFF2-40B4-BE49-F238E27FC236}">
                <a16:creationId xmlns:a16="http://schemas.microsoft.com/office/drawing/2014/main" id="{CCC38A5D-7ABE-91B1-CAE7-2951BD9AFA03}"/>
              </a:ext>
            </a:extLst>
          </p:cNvPr>
          <p:cNvSpPr>
            <a:spLocks noGrp="1"/>
          </p:cNvSpPr>
          <p:nvPr>
            <p:ph type="body" sz="quarter" idx="12"/>
          </p:nvPr>
        </p:nvSpPr>
        <p:spPr>
          <a:xfrm>
            <a:off x="515938" y="3429000"/>
            <a:ext cx="1800000" cy="2413051"/>
          </a:xfrm>
        </p:spPr>
        <p:txBody>
          <a:bodyPr/>
          <a:lstStyle/>
          <a:p>
            <a:r>
              <a:rPr lang="en-US" sz="2800"/>
              <a:t>50x </a:t>
            </a:r>
          </a:p>
          <a:p>
            <a:r>
              <a:rPr lang="en-US" sz="1800"/>
              <a:t>smaller form factor than SCD4x</a:t>
            </a:r>
            <a:endParaRPr lang="en-US" sz="2800"/>
          </a:p>
        </p:txBody>
      </p:sp>
      <p:sp>
        <p:nvSpPr>
          <p:cNvPr id="19" name="Text Placeholder 18">
            <a:extLst>
              <a:ext uri="{FF2B5EF4-FFF2-40B4-BE49-F238E27FC236}">
                <a16:creationId xmlns:a16="http://schemas.microsoft.com/office/drawing/2014/main" id="{BDBC8E07-38AF-5DDD-37A8-26A870BBA251}"/>
              </a:ext>
            </a:extLst>
          </p:cNvPr>
          <p:cNvSpPr>
            <a:spLocks noGrp="1"/>
          </p:cNvSpPr>
          <p:nvPr>
            <p:ph type="body" sz="quarter" idx="13"/>
          </p:nvPr>
        </p:nvSpPr>
        <p:spPr>
          <a:xfrm>
            <a:off x="2405968" y="3429000"/>
            <a:ext cx="2837363" cy="1173387"/>
          </a:xfrm>
        </p:spPr>
        <p:txBody>
          <a:bodyPr/>
          <a:lstStyle/>
          <a:p>
            <a:r>
              <a:rPr lang="en-US" sz="2400"/>
              <a:t>±(100ppm+10%) </a:t>
            </a:r>
            <a:r>
              <a:rPr lang="en-US" sz="1800"/>
              <a:t>optimized</a:t>
            </a:r>
            <a:r>
              <a:rPr lang="en-US" sz="2400"/>
              <a:t> </a:t>
            </a:r>
            <a:r>
              <a:rPr lang="en-US" sz="1800"/>
              <a:t>accuracy for IAQ applications</a:t>
            </a:r>
            <a:endParaRPr lang="en-US" sz="2400">
              <a:cs typeface="Segoe UI"/>
            </a:endParaRPr>
          </a:p>
        </p:txBody>
      </p:sp>
      <p:sp>
        <p:nvSpPr>
          <p:cNvPr id="20" name="Text Placeholder 19">
            <a:extLst>
              <a:ext uri="{FF2B5EF4-FFF2-40B4-BE49-F238E27FC236}">
                <a16:creationId xmlns:a16="http://schemas.microsoft.com/office/drawing/2014/main" id="{F654AE79-24E2-C190-602E-1CBFCEE47868}"/>
              </a:ext>
            </a:extLst>
          </p:cNvPr>
          <p:cNvSpPr>
            <a:spLocks noGrp="1"/>
          </p:cNvSpPr>
          <p:nvPr>
            <p:ph type="body" sz="quarter" idx="14"/>
          </p:nvPr>
        </p:nvSpPr>
        <p:spPr>
          <a:xfrm>
            <a:off x="5327418" y="3429000"/>
            <a:ext cx="1800000" cy="2413052"/>
          </a:xfrm>
        </p:spPr>
        <p:txBody>
          <a:bodyPr/>
          <a:lstStyle/>
          <a:p>
            <a:r>
              <a:rPr lang="en-US" sz="2800"/>
              <a:t>&lt;100 µA </a:t>
            </a:r>
            <a:r>
              <a:rPr lang="en-US" sz="1800"/>
              <a:t>possibility for low power applications</a:t>
            </a:r>
            <a:endParaRPr lang="en-US" sz="2800"/>
          </a:p>
        </p:txBody>
      </p:sp>
      <p:sp>
        <p:nvSpPr>
          <p:cNvPr id="22" name="Text Placeholder 21">
            <a:extLst>
              <a:ext uri="{FF2B5EF4-FFF2-40B4-BE49-F238E27FC236}">
                <a16:creationId xmlns:a16="http://schemas.microsoft.com/office/drawing/2014/main" id="{2D154497-EE33-4AD1-D3B2-044306DDF3D6}"/>
              </a:ext>
            </a:extLst>
          </p:cNvPr>
          <p:cNvSpPr>
            <a:spLocks noGrp="1"/>
          </p:cNvSpPr>
          <p:nvPr>
            <p:ph type="body" sz="quarter" idx="23"/>
          </p:nvPr>
        </p:nvSpPr>
        <p:spPr>
          <a:xfrm>
            <a:off x="515937" y="2351941"/>
            <a:ext cx="5539837" cy="615553"/>
          </a:xfrm>
        </p:spPr>
        <p:txBody>
          <a:bodyPr/>
          <a:lstStyle/>
          <a:p>
            <a:r>
              <a:rPr lang="en-US" sz="2000"/>
              <a:t>Striking the right balance between performance, size, power consumption and price.</a:t>
            </a:r>
          </a:p>
        </p:txBody>
      </p:sp>
      <p:sp>
        <p:nvSpPr>
          <p:cNvPr id="21" name="Text Placeholder 20">
            <a:extLst>
              <a:ext uri="{FF2B5EF4-FFF2-40B4-BE49-F238E27FC236}">
                <a16:creationId xmlns:a16="http://schemas.microsoft.com/office/drawing/2014/main" id="{5F580783-D2EC-C8CF-4CB7-876A0E73A5D8}"/>
              </a:ext>
            </a:extLst>
          </p:cNvPr>
          <p:cNvSpPr>
            <a:spLocks noGrp="1"/>
          </p:cNvSpPr>
          <p:nvPr>
            <p:ph type="body" sz="quarter" idx="22"/>
          </p:nvPr>
        </p:nvSpPr>
        <p:spPr>
          <a:xfrm>
            <a:off x="515938" y="845582"/>
            <a:ext cx="5329278" cy="1231106"/>
          </a:xfrm>
          <a:noFill/>
        </p:spPr>
        <p:txBody>
          <a:bodyPr/>
          <a:lstStyle/>
          <a:p>
            <a:r>
              <a:rPr lang="en-US"/>
              <a:t>Minimal Size. </a:t>
            </a:r>
          </a:p>
          <a:p>
            <a:r>
              <a:rPr lang="en-US"/>
              <a:t>Maximize the Potential.</a:t>
            </a:r>
          </a:p>
        </p:txBody>
      </p:sp>
      <p:sp>
        <p:nvSpPr>
          <p:cNvPr id="5" name="Text Placeholder 18">
            <a:extLst>
              <a:ext uri="{FF2B5EF4-FFF2-40B4-BE49-F238E27FC236}">
                <a16:creationId xmlns:a16="http://schemas.microsoft.com/office/drawing/2014/main" id="{85772CF5-FD42-A961-DD66-CF39952B3334}"/>
              </a:ext>
            </a:extLst>
          </p:cNvPr>
          <p:cNvSpPr txBox="1">
            <a:spLocks/>
          </p:cNvSpPr>
          <p:nvPr/>
        </p:nvSpPr>
        <p:spPr bwMode="gray">
          <a:xfrm>
            <a:off x="2405968" y="4668666"/>
            <a:ext cx="2837363" cy="1173386"/>
          </a:xfrm>
          <a:prstGeom prst="rect">
            <a:avLst/>
          </a:prstGeom>
          <a:solidFill>
            <a:schemeClr val="accent1"/>
          </a:solidFill>
        </p:spPr>
        <p:txBody>
          <a:bodyPr vert="horz" lIns="144000" tIns="108000" rIns="144000" bIns="108000" rtlCol="0" anchor="ctr">
            <a:noAutofit/>
          </a:bodyPr>
          <a:lstStyle>
            <a:lvl1pPr marL="0" indent="0" algn="ctr" defTabSz="914400" rtl="0" eaLnBrk="1" latinLnBrk="0" hangingPunct="1">
              <a:lnSpc>
                <a:spcPct val="100000"/>
              </a:lnSpc>
              <a:spcBef>
                <a:spcPts val="0"/>
              </a:spcBef>
              <a:spcAft>
                <a:spcPts val="0"/>
              </a:spcAft>
              <a:buClr>
                <a:schemeClr val="accent1"/>
              </a:buClr>
              <a:buFont typeface="Arial" panose="020B0604020202020204" pitchFamily="34" charset="0"/>
              <a:buNone/>
              <a:defRPr sz="4000" b="1" kern="1200">
                <a:solidFill>
                  <a:schemeClr val="bg1"/>
                </a:solidFill>
                <a:latin typeface="+mn-lt"/>
                <a:ea typeface="+mn-ea"/>
                <a:cs typeface="+mn-cs"/>
              </a:defRPr>
            </a:lvl1pPr>
            <a:lvl2pPr marL="360000" indent="-18000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a:solidFill>
                  <a:schemeClr val="tx1"/>
                </a:solidFill>
                <a:latin typeface="+mn-lt"/>
                <a:ea typeface="+mn-ea"/>
                <a:cs typeface="+mn-cs"/>
              </a:defRPr>
            </a:lvl2pPr>
            <a:lvl3pPr marL="540000" indent="-180000" algn="l" defTabSz="914400" rtl="0" eaLnBrk="1" latinLnBrk="0" hangingPunct="1">
              <a:lnSpc>
                <a:spcPct val="100000"/>
              </a:lnSpc>
              <a:spcBef>
                <a:spcPts val="0"/>
              </a:spcBef>
              <a:spcAft>
                <a:spcPts val="600"/>
              </a:spcAft>
              <a:buClr>
                <a:srgbClr val="BDBDBD"/>
              </a:buClr>
              <a:buFont typeface="Arial" panose="020B0604020202020204" pitchFamily="34" charset="0"/>
              <a:buChar char="•"/>
              <a:defRPr sz="1600" kern="1200">
                <a:solidFill>
                  <a:schemeClr val="tx1"/>
                </a:solidFill>
                <a:latin typeface="+mn-lt"/>
                <a:ea typeface="+mn-ea"/>
                <a:cs typeface="+mn-cs"/>
              </a:defRPr>
            </a:lvl3pPr>
            <a:lvl4pPr marL="720000" indent="-180000" algn="l" defTabSz="914400" rtl="0" eaLnBrk="1" latinLnBrk="0" hangingPunct="1">
              <a:lnSpc>
                <a:spcPct val="100000"/>
              </a:lnSpc>
              <a:spcBef>
                <a:spcPts val="0"/>
              </a:spcBef>
              <a:spcAft>
                <a:spcPts val="600"/>
              </a:spcAft>
              <a:buClr>
                <a:srgbClr val="BDBDBD"/>
              </a:buClr>
              <a:buFont typeface="Arial" panose="020B0604020202020204" pitchFamily="34" charset="0"/>
              <a:buChar char="•"/>
              <a:defRPr sz="1600" kern="1200">
                <a:solidFill>
                  <a:schemeClr val="tx1"/>
                </a:solidFill>
                <a:latin typeface="+mn-lt"/>
                <a:ea typeface="+mn-ea"/>
                <a:cs typeface="+mn-cs"/>
              </a:defRPr>
            </a:lvl4pPr>
            <a:lvl5pPr marL="900000" indent="-180000" algn="l" defTabSz="914400" rtl="0" eaLnBrk="1" latinLnBrk="0" hangingPunct="1">
              <a:lnSpc>
                <a:spcPct val="100000"/>
              </a:lnSpc>
              <a:spcBef>
                <a:spcPts val="0"/>
              </a:spcBef>
              <a:spcAft>
                <a:spcPts val="600"/>
              </a:spcAft>
              <a:buClr>
                <a:srgbClr val="BDBDBD"/>
              </a:buClr>
              <a:buFont typeface="Arial" panose="020B0604020202020204" pitchFamily="34" charset="0"/>
              <a:buChar char="•"/>
              <a:defRPr sz="1600" kern="1200">
                <a:solidFill>
                  <a:schemeClr val="tx1"/>
                </a:solidFill>
                <a:latin typeface="+mn-lt"/>
                <a:ea typeface="+mn-ea"/>
                <a:cs typeface="+mn-cs"/>
              </a:defRPr>
            </a:lvl5pPr>
            <a:lvl6pPr marL="1080000" indent="-180000" algn="l" defTabSz="914400" rtl="0" eaLnBrk="1" latinLnBrk="0" hangingPunct="1">
              <a:lnSpc>
                <a:spcPct val="100000"/>
              </a:lnSpc>
              <a:spcBef>
                <a:spcPts val="0"/>
              </a:spcBef>
              <a:spcAft>
                <a:spcPts val="600"/>
              </a:spcAft>
              <a:buClr>
                <a:srgbClr val="BDBDBD"/>
              </a:buClr>
              <a:buFont typeface="Arial" panose="020B0604020202020204" pitchFamily="34" charset="0"/>
              <a:buChar char="•"/>
              <a:defRPr sz="1600" kern="1200">
                <a:solidFill>
                  <a:schemeClr val="tx1"/>
                </a:solidFill>
                <a:latin typeface="+mn-lt"/>
                <a:ea typeface="+mn-ea"/>
                <a:cs typeface="+mn-cs"/>
              </a:defRPr>
            </a:lvl6pPr>
            <a:lvl7pPr marL="1260000" indent="-180000" algn="l" defTabSz="914400" rtl="0" eaLnBrk="1" latinLnBrk="0" hangingPunct="1">
              <a:lnSpc>
                <a:spcPct val="100000"/>
              </a:lnSpc>
              <a:spcBef>
                <a:spcPts val="0"/>
              </a:spcBef>
              <a:spcAft>
                <a:spcPts val="600"/>
              </a:spcAft>
              <a:buClr>
                <a:srgbClr val="BDBDBD"/>
              </a:buClr>
              <a:buFont typeface="Arial" panose="020B0604020202020204" pitchFamily="34" charset="0"/>
              <a:buChar char="•"/>
              <a:defRPr sz="1600" kern="1200">
                <a:solidFill>
                  <a:schemeClr val="tx1"/>
                </a:solidFill>
                <a:latin typeface="+mn-lt"/>
                <a:ea typeface="+mn-ea"/>
                <a:cs typeface="+mn-cs"/>
              </a:defRPr>
            </a:lvl7pPr>
            <a:lvl8pPr marL="1440000" indent="-180000" algn="l" defTabSz="914400" rtl="0" eaLnBrk="1" latinLnBrk="0" hangingPunct="1">
              <a:lnSpc>
                <a:spcPct val="100000"/>
              </a:lnSpc>
              <a:spcBef>
                <a:spcPts val="0"/>
              </a:spcBef>
              <a:spcAft>
                <a:spcPts val="600"/>
              </a:spcAft>
              <a:buClr>
                <a:srgbClr val="BDBDBD"/>
              </a:buClr>
              <a:buFont typeface="Arial" panose="020B0604020202020204" pitchFamily="34" charset="0"/>
              <a:buChar char="•"/>
              <a:defRPr sz="1600" kern="1200">
                <a:solidFill>
                  <a:schemeClr val="tx1"/>
                </a:solidFill>
                <a:latin typeface="+mn-lt"/>
                <a:ea typeface="+mn-ea"/>
                <a:cs typeface="+mn-cs"/>
              </a:defRPr>
            </a:lvl8pPr>
            <a:lvl9pPr marL="1620000" indent="-180000" algn="l" defTabSz="914400" rtl="0" eaLnBrk="1" latinLnBrk="0" hangingPunct="1">
              <a:lnSpc>
                <a:spcPct val="100000"/>
              </a:lnSpc>
              <a:spcBef>
                <a:spcPts val="0"/>
              </a:spcBef>
              <a:spcAft>
                <a:spcPts val="600"/>
              </a:spcAft>
              <a:buClr>
                <a:srgbClr val="BDBDBD"/>
              </a:buClr>
              <a:buFont typeface="Arial" panose="020B0604020202020204" pitchFamily="34" charset="0"/>
              <a:buChar char="•"/>
              <a:defRPr sz="1600" kern="1200">
                <a:solidFill>
                  <a:schemeClr val="tx1"/>
                </a:solidFill>
                <a:latin typeface="+mn-lt"/>
                <a:ea typeface="+mn-ea"/>
                <a:cs typeface="+mn-cs"/>
              </a:defRPr>
            </a:lvl9pPr>
          </a:lstStyle>
          <a:p>
            <a:r>
              <a:rPr lang="en-US" sz="2200"/>
              <a:t>Cost-efficiency </a:t>
            </a:r>
          </a:p>
          <a:p>
            <a:r>
              <a:rPr lang="en-US" sz="1800"/>
              <a:t>compared to optical sensors</a:t>
            </a:r>
            <a:endParaRPr lang="en-US" sz="2400">
              <a:cs typeface="Segoe UI"/>
            </a:endParaRPr>
          </a:p>
        </p:txBody>
      </p:sp>
      <p:sp>
        <p:nvSpPr>
          <p:cNvPr id="2" name="Footer Placeholder 11">
            <a:extLst>
              <a:ext uri="{FF2B5EF4-FFF2-40B4-BE49-F238E27FC236}">
                <a16:creationId xmlns:a16="http://schemas.microsoft.com/office/drawing/2014/main" id="{10AEA5BA-6AEC-1DEC-F9F6-47D170829664}"/>
              </a:ext>
            </a:extLst>
          </p:cNvPr>
          <p:cNvSpPr>
            <a:spLocks noGrp="1"/>
          </p:cNvSpPr>
          <p:nvPr>
            <p:ph type="ftr" sz="quarter" idx="20"/>
          </p:nvPr>
        </p:nvSpPr>
        <p:spPr>
          <a:xfrm>
            <a:off x="1249680" y="6310083"/>
            <a:ext cx="2746800" cy="153888"/>
          </a:xfrm>
        </p:spPr>
        <p:txBody>
          <a:bodyPr vert="horz" lIns="0" tIns="0" rIns="0" bIns="0" rtlCol="0" anchor="ctr">
            <a:normAutofit/>
          </a:bodyPr>
          <a:lstStyle/>
          <a:p>
            <a:pPr>
              <a:spcAft>
                <a:spcPts val="600"/>
              </a:spcAft>
            </a:pPr>
            <a:r>
              <a:rPr lang="de-DE" kern="1200">
                <a:latin typeface="+mn-lt"/>
                <a:ea typeface="+mn-ea"/>
                <a:cs typeface="+mn-cs"/>
              </a:rPr>
              <a:t>© Copyright Sensirion, </a:t>
            </a:r>
            <a:r>
              <a:rPr lang="de-DE" kern="1200" err="1">
                <a:latin typeface="+mn-lt"/>
                <a:ea typeface="+mn-ea"/>
                <a:cs typeface="+mn-cs"/>
              </a:rPr>
              <a:t>Switzerland</a:t>
            </a:r>
            <a:endParaRPr lang="de-DE" kern="1200">
              <a:latin typeface="+mn-lt"/>
              <a:ea typeface="+mn-ea"/>
              <a:cs typeface="+mn-cs"/>
            </a:endParaRPr>
          </a:p>
        </p:txBody>
      </p:sp>
      <p:pic>
        <p:nvPicPr>
          <p:cNvPr id="12" name="Picture 11" descr="A close-up of a silver square&#10;&#10;AI-generated content may be incorrect.">
            <a:extLst>
              <a:ext uri="{FF2B5EF4-FFF2-40B4-BE49-F238E27FC236}">
                <a16:creationId xmlns:a16="http://schemas.microsoft.com/office/drawing/2014/main" id="{B1B1677B-C999-99C8-654E-C4A4A55442B3}"/>
              </a:ext>
            </a:extLst>
          </p:cNvPr>
          <p:cNvPicPr>
            <a:picLocks noChangeAspect="1"/>
          </p:cNvPicPr>
          <p:nvPr/>
        </p:nvPicPr>
        <p:blipFill>
          <a:blip r:embed="rId3">
            <a:extLst>
              <a:ext uri="{28A0092B-C50C-407E-A947-70E740481C1C}">
                <a14:useLocalDpi xmlns:a14="http://schemas.microsoft.com/office/drawing/2010/main" val="0"/>
              </a:ext>
            </a:extLst>
          </a:blip>
          <a:srcRect l="10982" t="15336" r="12652" b="18879"/>
          <a:stretch>
            <a:fillRect/>
          </a:stretch>
        </p:blipFill>
        <p:spPr>
          <a:xfrm>
            <a:off x="7745058" y="3429000"/>
            <a:ext cx="3683181" cy="1983015"/>
          </a:xfrm>
          <a:prstGeom prst="rect">
            <a:avLst/>
          </a:prstGeom>
          <a:ln w="28575">
            <a:solidFill>
              <a:schemeClr val="accent1"/>
            </a:solidFill>
          </a:ln>
        </p:spPr>
      </p:pic>
      <p:pic>
        <p:nvPicPr>
          <p:cNvPr id="4" name="Picture 3" descr="A match with a red head&#10;&#10;AI-generated content may be incorrect.">
            <a:extLst>
              <a:ext uri="{FF2B5EF4-FFF2-40B4-BE49-F238E27FC236}">
                <a16:creationId xmlns:a16="http://schemas.microsoft.com/office/drawing/2014/main" id="{1A16A1D6-B480-6876-529D-1868C99EC11E}"/>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945058" y="0"/>
            <a:ext cx="6246942" cy="3904339"/>
          </a:xfrm>
          <a:prstGeom prst="rect">
            <a:avLst/>
          </a:prstGeom>
        </p:spPr>
      </p:pic>
      <p:sp>
        <p:nvSpPr>
          <p:cNvPr id="6" name="Rectangle 5">
            <a:extLst>
              <a:ext uri="{FF2B5EF4-FFF2-40B4-BE49-F238E27FC236}">
                <a16:creationId xmlns:a16="http://schemas.microsoft.com/office/drawing/2014/main" id="{3A881730-6077-B358-283B-991515EAEAFE}"/>
              </a:ext>
            </a:extLst>
          </p:cNvPr>
          <p:cNvSpPr/>
          <p:nvPr/>
        </p:nvSpPr>
        <p:spPr>
          <a:xfrm>
            <a:off x="8127205" y="2433638"/>
            <a:ext cx="702469" cy="371475"/>
          </a:xfrm>
          <a:prstGeom prst="rect">
            <a:avLst/>
          </a:prstGeom>
          <a:noFill/>
          <a:ln w="12700">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en-CH" err="1"/>
          </a:p>
        </p:txBody>
      </p:sp>
      <p:cxnSp>
        <p:nvCxnSpPr>
          <p:cNvPr id="9" name="Straight Connector 8">
            <a:extLst>
              <a:ext uri="{FF2B5EF4-FFF2-40B4-BE49-F238E27FC236}">
                <a16:creationId xmlns:a16="http://schemas.microsoft.com/office/drawing/2014/main" id="{A097A5BD-92FC-3E37-2B8F-79A0CD68F746}"/>
              </a:ext>
            </a:extLst>
          </p:cNvPr>
          <p:cNvCxnSpPr>
            <a:cxnSpLocks/>
          </p:cNvCxnSpPr>
          <p:nvPr/>
        </p:nvCxnSpPr>
        <p:spPr>
          <a:xfrm flipH="1">
            <a:off x="7745058" y="2619375"/>
            <a:ext cx="381994" cy="809625"/>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EC5A043-3CF0-7846-2427-FA0170ACCE9F}"/>
              </a:ext>
            </a:extLst>
          </p:cNvPr>
          <p:cNvCxnSpPr>
            <a:cxnSpLocks/>
          </p:cNvCxnSpPr>
          <p:nvPr/>
        </p:nvCxnSpPr>
        <p:spPr>
          <a:xfrm>
            <a:off x="8828779" y="2595563"/>
            <a:ext cx="2599460" cy="833437"/>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8605456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C35903-77A5-CDDA-59BC-5FB6BDD11A11}"/>
            </a:ext>
          </a:extLst>
        </p:cNvPr>
        <p:cNvGrpSpPr/>
        <p:nvPr/>
      </p:nvGrpSpPr>
      <p:grpSpPr>
        <a:xfrm>
          <a:off x="0" y="0"/>
          <a:ext cx="0" cy="0"/>
          <a:chOff x="0" y="0"/>
          <a:chExt cx="0" cy="0"/>
        </a:xfrm>
      </p:grpSpPr>
      <p:sp>
        <p:nvSpPr>
          <p:cNvPr id="66" name="Rectangle 65">
            <a:extLst>
              <a:ext uri="{FF2B5EF4-FFF2-40B4-BE49-F238E27FC236}">
                <a16:creationId xmlns:a16="http://schemas.microsoft.com/office/drawing/2014/main" id="{8EFF513C-8FEA-D0F8-2A83-2720BCECC40D}"/>
              </a:ext>
            </a:extLst>
          </p:cNvPr>
          <p:cNvSpPr/>
          <p:nvPr/>
        </p:nvSpPr>
        <p:spPr>
          <a:xfrm>
            <a:off x="6846690" y="3004169"/>
            <a:ext cx="4428634" cy="401639"/>
          </a:xfrm>
          <a:prstGeom prst="rect">
            <a:avLst/>
          </a:prstGeom>
          <a:solidFill>
            <a:srgbClr val="BDBDBD"/>
          </a:solidFill>
          <a:ln>
            <a:no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r>
              <a:rPr lang="de-CH" sz="1200"/>
              <a:t>Bio-</a:t>
            </a:r>
            <a:r>
              <a:rPr lang="de-CH" sz="1200" err="1"/>
              <a:t>incubators</a:t>
            </a:r>
            <a:r>
              <a:rPr lang="de-CH" sz="1200"/>
              <a:t> &amp; </a:t>
            </a:r>
            <a:r>
              <a:rPr lang="de-CH" sz="1200" err="1"/>
              <a:t>Process</a:t>
            </a:r>
            <a:r>
              <a:rPr lang="de-CH" sz="1200"/>
              <a:t> Control</a:t>
            </a:r>
            <a:endParaRPr lang="en-US" sz="1200" err="1"/>
          </a:p>
        </p:txBody>
      </p:sp>
      <p:sp>
        <p:nvSpPr>
          <p:cNvPr id="5" name="Title 4">
            <a:extLst>
              <a:ext uri="{FF2B5EF4-FFF2-40B4-BE49-F238E27FC236}">
                <a16:creationId xmlns:a16="http://schemas.microsoft.com/office/drawing/2014/main" id="{0A91C710-228F-4CFC-C995-A52ACC015E72}"/>
              </a:ext>
            </a:extLst>
          </p:cNvPr>
          <p:cNvSpPr>
            <a:spLocks noGrp="1"/>
          </p:cNvSpPr>
          <p:nvPr>
            <p:ph type="title"/>
          </p:nvPr>
        </p:nvSpPr>
        <p:spPr bwMode="gray">
          <a:xfrm>
            <a:off x="515937" y="476250"/>
            <a:ext cx="11160125" cy="430887"/>
          </a:xfrm>
        </p:spPr>
        <p:txBody>
          <a:bodyPr/>
          <a:lstStyle/>
          <a:p>
            <a:r>
              <a:rPr lang="en-US" sz="2800" b="1">
                <a:solidFill>
                  <a:schemeClr val="accent1"/>
                </a:solidFill>
              </a:rPr>
              <a:t>CO</a:t>
            </a:r>
            <a:r>
              <a:rPr lang="en-US" sz="2800" b="1" baseline="-25000">
                <a:solidFill>
                  <a:schemeClr val="accent1"/>
                </a:solidFill>
              </a:rPr>
              <a:t>2</a:t>
            </a:r>
            <a:r>
              <a:rPr lang="en-US" baseline="-25000"/>
              <a:t> </a:t>
            </a:r>
            <a:r>
              <a:rPr lang="en-US"/>
              <a:t>Sensing</a:t>
            </a:r>
            <a:r>
              <a:rPr lang="en-US" baseline="-25000"/>
              <a:t> </a:t>
            </a:r>
            <a:r>
              <a:rPr lang="en-US"/>
              <a:t>Applications by Concentration</a:t>
            </a:r>
            <a:endParaRPr lang="en-IN"/>
          </a:p>
        </p:txBody>
      </p:sp>
      <p:sp>
        <p:nvSpPr>
          <p:cNvPr id="8" name="Slide Number Placeholder 4">
            <a:extLst>
              <a:ext uri="{FF2B5EF4-FFF2-40B4-BE49-F238E27FC236}">
                <a16:creationId xmlns:a16="http://schemas.microsoft.com/office/drawing/2014/main" id="{EA25F7A4-72CD-0F09-70B1-1329790C0156}"/>
              </a:ext>
            </a:extLst>
          </p:cNvPr>
          <p:cNvSpPr txBox="1">
            <a:spLocks/>
          </p:cNvSpPr>
          <p:nvPr/>
        </p:nvSpPr>
        <p:spPr bwMode="gray">
          <a:xfrm>
            <a:off x="515937" y="6310083"/>
            <a:ext cx="680403" cy="153888"/>
          </a:xfrm>
          <a:prstGeom prst="rect">
            <a:avLst/>
          </a:prstGeom>
        </p:spPr>
        <p:txBody>
          <a:bodyPr vert="horz" wrap="square" lIns="0" tIns="0" rIns="0" bIns="0" rtlCol="0" anchor="ctr">
            <a:spAutoFit/>
          </a:bodyPr>
          <a:lstStyle>
            <a:defPPr>
              <a:defRPr lang="de-DE"/>
            </a:defPPr>
            <a:lvl1pPr marL="0" algn="l" defTabSz="914400" rtl="0" eaLnBrk="1" latinLnBrk="0" hangingPunct="1">
              <a:lnSpc>
                <a:spcPct val="100000"/>
              </a:lnSpc>
              <a:defRPr sz="1000" kern="1200">
                <a:solidFill>
                  <a:schemeClr val="accent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1E691A1-F3A6-4574-B226-B412272B38A6}" type="slidenum">
              <a:rPr lang="de-DE" smtClean="0"/>
              <a:pPr/>
              <a:t>14</a:t>
            </a:fld>
            <a:endParaRPr lang="de-DE"/>
          </a:p>
        </p:txBody>
      </p:sp>
      <p:sp>
        <p:nvSpPr>
          <p:cNvPr id="9" name="Footer Placeholder 5">
            <a:extLst>
              <a:ext uri="{FF2B5EF4-FFF2-40B4-BE49-F238E27FC236}">
                <a16:creationId xmlns:a16="http://schemas.microsoft.com/office/drawing/2014/main" id="{6EB61311-9391-8330-D29F-FEF008C46317}"/>
              </a:ext>
            </a:extLst>
          </p:cNvPr>
          <p:cNvSpPr txBox="1">
            <a:spLocks/>
          </p:cNvSpPr>
          <p:nvPr/>
        </p:nvSpPr>
        <p:spPr bwMode="gray">
          <a:xfrm>
            <a:off x="1249680" y="6310083"/>
            <a:ext cx="1971694" cy="153888"/>
          </a:xfrm>
          <a:prstGeom prst="rect">
            <a:avLst/>
          </a:prstGeom>
        </p:spPr>
        <p:txBody>
          <a:bodyPr vert="horz" wrap="square" lIns="0" tIns="0" rIns="0" bIns="0" rtlCol="0" anchor="ctr">
            <a:spAutoFit/>
          </a:bodyPr>
          <a:lstStyle>
            <a:defPPr>
              <a:defRPr lang="de-DE"/>
            </a:defPPr>
            <a:lvl1pPr marL="0" algn="l" defTabSz="914400" rtl="0" eaLnBrk="1" latinLnBrk="0" hangingPunct="1">
              <a:lnSpc>
                <a:spcPct val="100000"/>
              </a:lnSpc>
              <a:defRPr sz="1000" kern="1200">
                <a:solidFill>
                  <a:schemeClr val="accent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de-DE"/>
              <a:t>© Copyright Sensirion, Switzerland</a:t>
            </a:r>
          </a:p>
        </p:txBody>
      </p:sp>
      <p:grpSp>
        <p:nvGrpSpPr>
          <p:cNvPr id="22" name="Group 21">
            <a:extLst>
              <a:ext uri="{FF2B5EF4-FFF2-40B4-BE49-F238E27FC236}">
                <a16:creationId xmlns:a16="http://schemas.microsoft.com/office/drawing/2014/main" id="{70E131AF-515F-CAE4-5FDB-FF866F0B81CF}"/>
              </a:ext>
            </a:extLst>
          </p:cNvPr>
          <p:cNvGrpSpPr/>
          <p:nvPr/>
        </p:nvGrpSpPr>
        <p:grpSpPr>
          <a:xfrm>
            <a:off x="281345" y="1884556"/>
            <a:ext cx="11401702" cy="1194057"/>
            <a:chOff x="281345" y="1503556"/>
            <a:chExt cx="11401702" cy="1194057"/>
          </a:xfrm>
        </p:grpSpPr>
        <p:pic>
          <p:nvPicPr>
            <p:cNvPr id="192" name="Picture 191">
              <a:extLst>
                <a:ext uri="{FF2B5EF4-FFF2-40B4-BE49-F238E27FC236}">
                  <a16:creationId xmlns:a16="http://schemas.microsoft.com/office/drawing/2014/main" id="{5C6CC427-2748-33ED-0A23-C51C30C0C705}"/>
                </a:ext>
              </a:extLst>
            </p:cNvPr>
            <p:cNvPicPr>
              <a:picLocks noChangeAspect="1"/>
            </p:cNvPicPr>
            <p:nvPr/>
          </p:nvPicPr>
          <p:blipFill>
            <a:blip r:embed="rId3"/>
            <a:stretch>
              <a:fillRect/>
            </a:stretch>
          </p:blipFill>
          <p:spPr bwMode="gray">
            <a:xfrm>
              <a:off x="11275324" y="1503556"/>
              <a:ext cx="407723" cy="249975"/>
            </a:xfrm>
            <a:prstGeom prst="rect">
              <a:avLst/>
            </a:prstGeom>
          </p:spPr>
        </p:pic>
        <p:sp>
          <p:nvSpPr>
            <p:cNvPr id="112" name="Rectangle 111">
              <a:extLst>
                <a:ext uri="{FF2B5EF4-FFF2-40B4-BE49-F238E27FC236}">
                  <a16:creationId xmlns:a16="http://schemas.microsoft.com/office/drawing/2014/main" id="{F93A00AA-6565-6E37-24F0-A8210FC46192}"/>
                </a:ext>
              </a:extLst>
            </p:cNvPr>
            <p:cNvSpPr/>
            <p:nvPr/>
          </p:nvSpPr>
          <p:spPr bwMode="gray">
            <a:xfrm>
              <a:off x="1053659" y="2237204"/>
              <a:ext cx="5615899" cy="180000"/>
            </a:xfrm>
            <a:prstGeom prst="rect">
              <a:avLst/>
            </a:prstGeom>
            <a:gradFill>
              <a:gsLst>
                <a:gs pos="4000">
                  <a:schemeClr val="bg1"/>
                </a:gs>
                <a:gs pos="5000">
                  <a:schemeClr val="accent1"/>
                </a:gs>
                <a:gs pos="55000">
                  <a:schemeClr val="accent1"/>
                </a:gs>
                <a:gs pos="99000">
                  <a:schemeClr val="bg1"/>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a:t>SCD30</a:t>
              </a:r>
            </a:p>
          </p:txBody>
        </p:sp>
        <p:sp>
          <p:nvSpPr>
            <p:cNvPr id="113" name="Rectangle 112">
              <a:extLst>
                <a:ext uri="{FF2B5EF4-FFF2-40B4-BE49-F238E27FC236}">
                  <a16:creationId xmlns:a16="http://schemas.microsoft.com/office/drawing/2014/main" id="{FD4C7ABD-D59A-768F-E93B-6D15E3177B46}"/>
                </a:ext>
              </a:extLst>
            </p:cNvPr>
            <p:cNvSpPr/>
            <p:nvPr/>
          </p:nvSpPr>
          <p:spPr bwMode="gray">
            <a:xfrm>
              <a:off x="4745418" y="1536825"/>
              <a:ext cx="6452739" cy="180000"/>
            </a:xfrm>
            <a:prstGeom prst="rect">
              <a:avLst/>
            </a:prstGeom>
            <a:gradFill>
              <a:gsLst>
                <a:gs pos="4000">
                  <a:schemeClr val="bg1"/>
                </a:gs>
                <a:gs pos="31000">
                  <a:srgbClr val="66CC3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a:t>STC31-C</a:t>
              </a:r>
            </a:p>
          </p:txBody>
        </p:sp>
        <p:sp>
          <p:nvSpPr>
            <p:cNvPr id="10" name="Rectangle 9">
              <a:extLst>
                <a:ext uri="{FF2B5EF4-FFF2-40B4-BE49-F238E27FC236}">
                  <a16:creationId xmlns:a16="http://schemas.microsoft.com/office/drawing/2014/main" id="{A0373416-2EDA-97DB-1108-2358B37E3266}"/>
                </a:ext>
              </a:extLst>
            </p:cNvPr>
            <p:cNvSpPr/>
            <p:nvPr/>
          </p:nvSpPr>
          <p:spPr bwMode="gray">
            <a:xfrm>
              <a:off x="1439063" y="2004453"/>
              <a:ext cx="5255023" cy="180000"/>
            </a:xfrm>
            <a:prstGeom prst="rect">
              <a:avLst/>
            </a:prstGeom>
            <a:gradFill>
              <a:gsLst>
                <a:gs pos="4000">
                  <a:schemeClr val="bg1"/>
                </a:gs>
                <a:gs pos="5000">
                  <a:schemeClr val="accent1"/>
                </a:gs>
                <a:gs pos="55000">
                  <a:schemeClr val="accent1"/>
                </a:gs>
                <a:gs pos="99000">
                  <a:schemeClr val="bg1"/>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a:t>SCD4x</a:t>
              </a:r>
            </a:p>
          </p:txBody>
        </p:sp>
        <p:sp>
          <p:nvSpPr>
            <p:cNvPr id="11" name="Rectangle 10">
              <a:extLst>
                <a:ext uri="{FF2B5EF4-FFF2-40B4-BE49-F238E27FC236}">
                  <a16:creationId xmlns:a16="http://schemas.microsoft.com/office/drawing/2014/main" id="{9940DD1D-FC51-713B-BE12-4810DDC73115}"/>
                </a:ext>
              </a:extLst>
            </p:cNvPr>
            <p:cNvSpPr/>
            <p:nvPr/>
          </p:nvSpPr>
          <p:spPr bwMode="gray">
            <a:xfrm>
              <a:off x="1778638" y="1769498"/>
              <a:ext cx="4915448" cy="180000"/>
            </a:xfrm>
            <a:prstGeom prst="rect">
              <a:avLst/>
            </a:prstGeom>
            <a:gradFill>
              <a:gsLst>
                <a:gs pos="0">
                  <a:schemeClr val="bg1"/>
                </a:gs>
                <a:gs pos="2000">
                  <a:schemeClr val="accent1"/>
                </a:gs>
                <a:gs pos="54000">
                  <a:schemeClr val="accent1"/>
                </a:gs>
                <a:gs pos="99000">
                  <a:schemeClr val="bg1"/>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a:t>STCC4</a:t>
              </a:r>
            </a:p>
          </p:txBody>
        </p:sp>
        <p:pic>
          <p:nvPicPr>
            <p:cNvPr id="15" name="Picture 14" descr="A close-up of a silver square&#10;&#10;Description automatically generated">
              <a:extLst>
                <a:ext uri="{FF2B5EF4-FFF2-40B4-BE49-F238E27FC236}">
                  <a16:creationId xmlns:a16="http://schemas.microsoft.com/office/drawing/2014/main" id="{425BD0E5-9E4B-D147-1A26-B2A37EAC45E8}"/>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512879" y="1639055"/>
              <a:ext cx="640621" cy="400388"/>
            </a:xfrm>
            <a:prstGeom prst="rect">
              <a:avLst/>
            </a:prstGeom>
          </p:spPr>
        </p:pic>
        <p:pic>
          <p:nvPicPr>
            <p:cNvPr id="20" name="Picture 19" descr="A green circuit board with black buttons&#10;&#10;Description automatically generated">
              <a:extLst>
                <a:ext uri="{FF2B5EF4-FFF2-40B4-BE49-F238E27FC236}">
                  <a16:creationId xmlns:a16="http://schemas.microsoft.com/office/drawing/2014/main" id="{C4ABD53C-33A3-B4A9-132C-D197590D528E}"/>
                </a:ext>
              </a:extLst>
            </p:cNvPr>
            <p:cNvPicPr>
              <a:picLocks noChangeAspect="1"/>
            </p:cNvPicPr>
            <p:nvPr/>
          </p:nvPicPr>
          <p:blipFill>
            <a:blip r:embed="rId5">
              <a:extLst>
                <a:ext uri="{28A0092B-C50C-407E-A947-70E740481C1C}">
                  <a14:useLocalDpi xmlns:a14="http://schemas.microsoft.com/office/drawing/2010/main" val="0"/>
                </a:ext>
              </a:extLst>
            </a:blip>
            <a:srcRect l="21254" t="23439" r="21684" b="22815"/>
            <a:stretch/>
          </p:blipFill>
          <p:spPr>
            <a:xfrm>
              <a:off x="281345" y="1992849"/>
              <a:ext cx="1197194" cy="704764"/>
            </a:xfrm>
            <a:prstGeom prst="rect">
              <a:avLst/>
            </a:prstGeom>
          </p:spPr>
        </p:pic>
        <p:pic>
          <p:nvPicPr>
            <p:cNvPr id="14" name="Picture 13" descr="A close-up of a computer chip&#10;&#10;Description automatically generated">
              <a:extLst>
                <a:ext uri="{FF2B5EF4-FFF2-40B4-BE49-F238E27FC236}">
                  <a16:creationId xmlns:a16="http://schemas.microsoft.com/office/drawing/2014/main" id="{9C9C4449-84B5-577A-DCEE-06D13C19CEF7}"/>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bwMode="gray">
            <a:xfrm>
              <a:off x="893831" y="1672009"/>
              <a:ext cx="1138078" cy="704764"/>
            </a:xfrm>
            <a:prstGeom prst="rect">
              <a:avLst/>
            </a:prstGeom>
          </p:spPr>
        </p:pic>
      </p:grpSp>
      <p:grpSp>
        <p:nvGrpSpPr>
          <p:cNvPr id="16" name="Group 15">
            <a:extLst>
              <a:ext uri="{FF2B5EF4-FFF2-40B4-BE49-F238E27FC236}">
                <a16:creationId xmlns:a16="http://schemas.microsoft.com/office/drawing/2014/main" id="{967E1587-0078-EAB8-472E-DB12C7753D9B}"/>
              </a:ext>
            </a:extLst>
          </p:cNvPr>
          <p:cNvGrpSpPr/>
          <p:nvPr/>
        </p:nvGrpSpPr>
        <p:grpSpPr>
          <a:xfrm>
            <a:off x="5383957" y="4849211"/>
            <a:ext cx="3328880" cy="579276"/>
            <a:chOff x="5383957" y="4862048"/>
            <a:chExt cx="3328880" cy="579276"/>
          </a:xfrm>
        </p:grpSpPr>
        <p:sp>
          <p:nvSpPr>
            <p:cNvPr id="3" name="Rectangle 2">
              <a:extLst>
                <a:ext uri="{FF2B5EF4-FFF2-40B4-BE49-F238E27FC236}">
                  <a16:creationId xmlns:a16="http://schemas.microsoft.com/office/drawing/2014/main" id="{C73C5210-F3B1-C53E-3E39-DE014CA42F79}"/>
                </a:ext>
              </a:extLst>
            </p:cNvPr>
            <p:cNvSpPr/>
            <p:nvPr/>
          </p:nvSpPr>
          <p:spPr>
            <a:xfrm>
              <a:off x="5883177" y="4957530"/>
              <a:ext cx="2829660" cy="401639"/>
            </a:xfrm>
            <a:prstGeom prst="rect">
              <a:avLst/>
            </a:prstGeom>
            <a:solidFill>
              <a:srgbClr val="BDBDBD"/>
            </a:solidFill>
            <a:ln>
              <a:no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r>
                <a:rPr lang="de-CH" sz="1200" err="1"/>
                <a:t>Battery</a:t>
              </a:r>
              <a:r>
                <a:rPr lang="de-CH" sz="1200"/>
                <a:t> Thermal Runaway </a:t>
              </a:r>
              <a:r>
                <a:rPr lang="de-CH" sz="1200" err="1"/>
                <a:t>Detection</a:t>
              </a:r>
              <a:r>
                <a:rPr lang="de-CH" sz="1200"/>
                <a:t> </a:t>
              </a:r>
              <a:endParaRPr lang="en-US" sz="1200" err="1"/>
            </a:p>
          </p:txBody>
        </p:sp>
        <p:grpSp>
          <p:nvGrpSpPr>
            <p:cNvPr id="48" name="Group 47">
              <a:extLst>
                <a:ext uri="{FF2B5EF4-FFF2-40B4-BE49-F238E27FC236}">
                  <a16:creationId xmlns:a16="http://schemas.microsoft.com/office/drawing/2014/main" id="{C58D77F3-F22D-64E0-6653-3D35A301B7CF}"/>
                </a:ext>
              </a:extLst>
            </p:cNvPr>
            <p:cNvGrpSpPr/>
            <p:nvPr/>
          </p:nvGrpSpPr>
          <p:grpSpPr>
            <a:xfrm>
              <a:off x="5383957" y="4862048"/>
              <a:ext cx="579276" cy="579276"/>
              <a:chOff x="3974932" y="2888972"/>
              <a:chExt cx="579276" cy="579276"/>
            </a:xfrm>
          </p:grpSpPr>
          <p:sp>
            <p:nvSpPr>
              <p:cNvPr id="35" name="Oval 34">
                <a:extLst>
                  <a:ext uri="{FF2B5EF4-FFF2-40B4-BE49-F238E27FC236}">
                    <a16:creationId xmlns:a16="http://schemas.microsoft.com/office/drawing/2014/main" id="{757F5F65-8FCB-6685-ADF1-728AC741E078}"/>
                  </a:ext>
                </a:extLst>
              </p:cNvPr>
              <p:cNvSpPr/>
              <p:nvPr/>
            </p:nvSpPr>
            <p:spPr bwMode="gray">
              <a:xfrm>
                <a:off x="3974932" y="2888972"/>
                <a:ext cx="579276" cy="579276"/>
              </a:xfrm>
              <a:prstGeom prst="ellipse">
                <a:avLst/>
              </a:prstGeom>
              <a:solidFill>
                <a:schemeClr val="bg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7" name="Picture 36">
                <a:extLst>
                  <a:ext uri="{FF2B5EF4-FFF2-40B4-BE49-F238E27FC236}">
                    <a16:creationId xmlns:a16="http://schemas.microsoft.com/office/drawing/2014/main" id="{D78EC8C7-E3D8-17D5-8EAF-BA4B9AD23C11}"/>
                  </a:ext>
                </a:extLst>
              </p:cNvPr>
              <p:cNvPicPr>
                <a:picLocks noChangeAspect="1"/>
              </p:cNvPicPr>
              <p:nvPr/>
            </p:nvPicPr>
            <p:blipFill>
              <a:blip r:embed="rId7">
                <a:duotone>
                  <a:schemeClr val="accent2">
                    <a:shade val="45000"/>
                    <a:satMod val="135000"/>
                  </a:schemeClr>
                  <a:prstClr val="white"/>
                </a:duotone>
              </a:blip>
              <a:stretch>
                <a:fillRect/>
              </a:stretch>
            </p:blipFill>
            <p:spPr>
              <a:xfrm>
                <a:off x="4100554" y="3020245"/>
                <a:ext cx="330059" cy="330059"/>
              </a:xfrm>
              <a:prstGeom prst="rect">
                <a:avLst/>
              </a:prstGeom>
            </p:spPr>
          </p:pic>
        </p:grpSp>
      </p:grpSp>
      <p:grpSp>
        <p:nvGrpSpPr>
          <p:cNvPr id="63" name="Group 62">
            <a:extLst>
              <a:ext uri="{FF2B5EF4-FFF2-40B4-BE49-F238E27FC236}">
                <a16:creationId xmlns:a16="http://schemas.microsoft.com/office/drawing/2014/main" id="{06B118AF-7421-4915-CDE0-DE3059D6D3BB}"/>
              </a:ext>
            </a:extLst>
          </p:cNvPr>
          <p:cNvGrpSpPr/>
          <p:nvPr/>
        </p:nvGrpSpPr>
        <p:grpSpPr>
          <a:xfrm>
            <a:off x="1778637" y="4849211"/>
            <a:ext cx="3188839" cy="579276"/>
            <a:chOff x="1708497" y="3872498"/>
            <a:chExt cx="3188839" cy="579276"/>
          </a:xfrm>
        </p:grpSpPr>
        <p:sp>
          <p:nvSpPr>
            <p:cNvPr id="59" name="Rectangle 58">
              <a:extLst>
                <a:ext uri="{FF2B5EF4-FFF2-40B4-BE49-F238E27FC236}">
                  <a16:creationId xmlns:a16="http://schemas.microsoft.com/office/drawing/2014/main" id="{697D523B-0C49-92CE-FA7B-D248A4216DB9}"/>
                </a:ext>
              </a:extLst>
            </p:cNvPr>
            <p:cNvSpPr/>
            <p:nvPr/>
          </p:nvSpPr>
          <p:spPr>
            <a:xfrm>
              <a:off x="1708497" y="3968355"/>
              <a:ext cx="2694743" cy="401639"/>
            </a:xfrm>
            <a:prstGeom prst="rect">
              <a:avLst/>
            </a:prstGeom>
            <a:solidFill>
              <a:srgbClr val="BDBDBD"/>
            </a:solidFill>
            <a:ln>
              <a:no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r>
                <a:rPr lang="de-CH" sz="1200"/>
                <a:t>Demand-</a:t>
              </a:r>
              <a:r>
                <a:rPr lang="de-CH" sz="1200" err="1"/>
                <a:t>Controlled</a:t>
              </a:r>
              <a:r>
                <a:rPr lang="de-CH" sz="1200"/>
                <a:t> &amp; Energy Recovery Ventilation</a:t>
              </a:r>
              <a:endParaRPr lang="en-US" sz="1200" err="1"/>
            </a:p>
          </p:txBody>
        </p:sp>
        <p:grpSp>
          <p:nvGrpSpPr>
            <p:cNvPr id="53" name="Group 52">
              <a:extLst>
                <a:ext uri="{FF2B5EF4-FFF2-40B4-BE49-F238E27FC236}">
                  <a16:creationId xmlns:a16="http://schemas.microsoft.com/office/drawing/2014/main" id="{083E9A8B-8384-AD8A-4417-57C81CC66BC2}"/>
                </a:ext>
              </a:extLst>
            </p:cNvPr>
            <p:cNvGrpSpPr/>
            <p:nvPr/>
          </p:nvGrpSpPr>
          <p:grpSpPr>
            <a:xfrm>
              <a:off x="4318060" y="3872498"/>
              <a:ext cx="579276" cy="579276"/>
              <a:chOff x="3017654" y="3385111"/>
              <a:chExt cx="579276" cy="579276"/>
            </a:xfrm>
          </p:grpSpPr>
          <p:sp>
            <p:nvSpPr>
              <p:cNvPr id="38" name="Oval 37">
                <a:extLst>
                  <a:ext uri="{FF2B5EF4-FFF2-40B4-BE49-F238E27FC236}">
                    <a16:creationId xmlns:a16="http://schemas.microsoft.com/office/drawing/2014/main" id="{C91B6146-35E8-1DA6-E8AD-F2026117AC5E}"/>
                  </a:ext>
                </a:extLst>
              </p:cNvPr>
              <p:cNvSpPr/>
              <p:nvPr/>
            </p:nvSpPr>
            <p:spPr bwMode="gray">
              <a:xfrm>
                <a:off x="3017654" y="3385111"/>
                <a:ext cx="579276" cy="579276"/>
              </a:xfrm>
              <a:prstGeom prst="ellipse">
                <a:avLst/>
              </a:prstGeom>
              <a:solidFill>
                <a:srgbClr val="FFFFFF"/>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6" name="Picture 35">
                <a:extLst>
                  <a:ext uri="{FF2B5EF4-FFF2-40B4-BE49-F238E27FC236}">
                    <a16:creationId xmlns:a16="http://schemas.microsoft.com/office/drawing/2014/main" id="{637D3E5E-7B2E-3178-2108-6F54197F6637}"/>
                  </a:ext>
                </a:extLst>
              </p:cNvPr>
              <p:cNvPicPr>
                <a:picLocks noChangeAspect="1"/>
              </p:cNvPicPr>
              <p:nvPr/>
            </p:nvPicPr>
            <p:blipFill>
              <a:blip r:embed="rId8"/>
              <a:stretch>
                <a:fillRect/>
              </a:stretch>
            </p:blipFill>
            <p:spPr>
              <a:xfrm>
                <a:off x="3102834" y="3471828"/>
                <a:ext cx="424228" cy="424228"/>
              </a:xfrm>
              <a:prstGeom prst="rect">
                <a:avLst/>
              </a:prstGeom>
            </p:spPr>
          </p:pic>
        </p:grpSp>
      </p:grpSp>
      <p:grpSp>
        <p:nvGrpSpPr>
          <p:cNvPr id="19" name="Group 18">
            <a:extLst>
              <a:ext uri="{FF2B5EF4-FFF2-40B4-BE49-F238E27FC236}">
                <a16:creationId xmlns:a16="http://schemas.microsoft.com/office/drawing/2014/main" id="{5303793C-B476-1F66-6C3B-2EBA11DE68B4}"/>
              </a:ext>
            </a:extLst>
          </p:cNvPr>
          <p:cNvGrpSpPr/>
          <p:nvPr/>
        </p:nvGrpSpPr>
        <p:grpSpPr>
          <a:xfrm>
            <a:off x="2899478" y="3561425"/>
            <a:ext cx="2518495" cy="579276"/>
            <a:chOff x="2899478" y="3536521"/>
            <a:chExt cx="2518495" cy="579276"/>
          </a:xfrm>
        </p:grpSpPr>
        <p:sp>
          <p:nvSpPr>
            <p:cNvPr id="61" name="Rectangle 60">
              <a:extLst>
                <a:ext uri="{FF2B5EF4-FFF2-40B4-BE49-F238E27FC236}">
                  <a16:creationId xmlns:a16="http://schemas.microsoft.com/office/drawing/2014/main" id="{FC3C4939-C56E-20D4-8551-64AF6512FA48}"/>
                </a:ext>
              </a:extLst>
            </p:cNvPr>
            <p:cNvSpPr/>
            <p:nvPr/>
          </p:nvSpPr>
          <p:spPr>
            <a:xfrm>
              <a:off x="2899478" y="3623367"/>
              <a:ext cx="2151146" cy="401639"/>
            </a:xfrm>
            <a:prstGeom prst="rect">
              <a:avLst/>
            </a:prstGeom>
            <a:solidFill>
              <a:srgbClr val="BDBDBD"/>
            </a:solidFill>
            <a:ln>
              <a:no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r>
                <a:rPr lang="de-CH" sz="1200"/>
                <a:t>Greenhouse Control &amp; Monitoring</a:t>
              </a:r>
              <a:endParaRPr lang="en-US" sz="1200" err="1"/>
            </a:p>
          </p:txBody>
        </p:sp>
        <p:grpSp>
          <p:nvGrpSpPr>
            <p:cNvPr id="51" name="Group 50">
              <a:extLst>
                <a:ext uri="{FF2B5EF4-FFF2-40B4-BE49-F238E27FC236}">
                  <a16:creationId xmlns:a16="http://schemas.microsoft.com/office/drawing/2014/main" id="{F62E21B7-1F8C-F9BB-673E-88EA18F8AFA8}"/>
                </a:ext>
              </a:extLst>
            </p:cNvPr>
            <p:cNvGrpSpPr/>
            <p:nvPr/>
          </p:nvGrpSpPr>
          <p:grpSpPr>
            <a:xfrm>
              <a:off x="4838697" y="3536521"/>
              <a:ext cx="579276" cy="579276"/>
              <a:chOff x="4536260" y="1992383"/>
              <a:chExt cx="579276" cy="579276"/>
            </a:xfrm>
            <a:solidFill>
              <a:schemeClr val="bg1"/>
            </a:solidFill>
          </p:grpSpPr>
          <p:sp>
            <p:nvSpPr>
              <p:cNvPr id="32" name="Oval 31">
                <a:extLst>
                  <a:ext uri="{FF2B5EF4-FFF2-40B4-BE49-F238E27FC236}">
                    <a16:creationId xmlns:a16="http://schemas.microsoft.com/office/drawing/2014/main" id="{07EDADAE-810C-C3DA-CFED-F224AA196091}"/>
                  </a:ext>
                </a:extLst>
              </p:cNvPr>
              <p:cNvSpPr/>
              <p:nvPr/>
            </p:nvSpPr>
            <p:spPr bwMode="gray">
              <a:xfrm>
                <a:off x="4536260" y="1992383"/>
                <a:ext cx="579276" cy="579276"/>
              </a:xfrm>
              <a:prstGeom prst="ellipse">
                <a:avLst/>
              </a:prstGeom>
              <a:grp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9" name="Picture 38">
                <a:extLst>
                  <a:ext uri="{FF2B5EF4-FFF2-40B4-BE49-F238E27FC236}">
                    <a16:creationId xmlns:a16="http://schemas.microsoft.com/office/drawing/2014/main" id="{B0538483-DB3F-DACE-1477-691E42AA64D3}"/>
                  </a:ext>
                </a:extLst>
              </p:cNvPr>
              <p:cNvPicPr>
                <a:picLocks noChangeAspect="1"/>
              </p:cNvPicPr>
              <p:nvPr/>
            </p:nvPicPr>
            <p:blipFill>
              <a:blip r:embed="rId9"/>
              <a:stretch>
                <a:fillRect/>
              </a:stretch>
            </p:blipFill>
            <p:spPr>
              <a:xfrm>
                <a:off x="4625225" y="2079524"/>
                <a:ext cx="404359" cy="404359"/>
              </a:xfrm>
              <a:prstGeom prst="rect">
                <a:avLst/>
              </a:prstGeom>
              <a:noFill/>
            </p:spPr>
          </p:pic>
        </p:grpSp>
      </p:grpSp>
      <p:grpSp>
        <p:nvGrpSpPr>
          <p:cNvPr id="18" name="Group 17">
            <a:extLst>
              <a:ext uri="{FF2B5EF4-FFF2-40B4-BE49-F238E27FC236}">
                <a16:creationId xmlns:a16="http://schemas.microsoft.com/office/drawing/2014/main" id="{BE7F835D-CDFB-F169-8482-2FE65A39A9CE}"/>
              </a:ext>
            </a:extLst>
          </p:cNvPr>
          <p:cNvGrpSpPr/>
          <p:nvPr/>
        </p:nvGrpSpPr>
        <p:grpSpPr>
          <a:xfrm>
            <a:off x="3303122" y="4206147"/>
            <a:ext cx="2789883" cy="579276"/>
            <a:chOff x="3303122" y="4180350"/>
            <a:chExt cx="2789883" cy="579276"/>
          </a:xfrm>
        </p:grpSpPr>
        <p:sp>
          <p:nvSpPr>
            <p:cNvPr id="67" name="Rectangle 66">
              <a:extLst>
                <a:ext uri="{FF2B5EF4-FFF2-40B4-BE49-F238E27FC236}">
                  <a16:creationId xmlns:a16="http://schemas.microsoft.com/office/drawing/2014/main" id="{979C44A0-1103-E67C-94BF-E77E69DAC7B1}"/>
                </a:ext>
              </a:extLst>
            </p:cNvPr>
            <p:cNvSpPr/>
            <p:nvPr/>
          </p:nvSpPr>
          <p:spPr>
            <a:xfrm>
              <a:off x="3788708" y="4277633"/>
              <a:ext cx="2304297" cy="401639"/>
            </a:xfrm>
            <a:prstGeom prst="rect">
              <a:avLst/>
            </a:prstGeom>
            <a:solidFill>
              <a:srgbClr val="BDBDBD"/>
            </a:solidFill>
            <a:ln>
              <a:no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r>
                <a:rPr lang="de-CH" sz="1200" err="1"/>
                <a:t>Grain</a:t>
              </a:r>
              <a:r>
                <a:rPr lang="de-CH" sz="1200"/>
                <a:t> Storage</a:t>
              </a:r>
              <a:endParaRPr lang="en-US" sz="1200" err="1"/>
            </a:p>
          </p:txBody>
        </p:sp>
        <p:grpSp>
          <p:nvGrpSpPr>
            <p:cNvPr id="57" name="Group 56">
              <a:extLst>
                <a:ext uri="{FF2B5EF4-FFF2-40B4-BE49-F238E27FC236}">
                  <a16:creationId xmlns:a16="http://schemas.microsoft.com/office/drawing/2014/main" id="{3DD04F6A-2A3A-7617-BDA0-B28D1CF1E02A}"/>
                </a:ext>
              </a:extLst>
            </p:cNvPr>
            <p:cNvGrpSpPr/>
            <p:nvPr/>
          </p:nvGrpSpPr>
          <p:grpSpPr>
            <a:xfrm>
              <a:off x="3303122" y="4180350"/>
              <a:ext cx="579276" cy="579276"/>
              <a:chOff x="2702182" y="2893751"/>
              <a:chExt cx="579276" cy="579276"/>
            </a:xfrm>
          </p:grpSpPr>
          <p:sp>
            <p:nvSpPr>
              <p:cNvPr id="41" name="Oval 40">
                <a:extLst>
                  <a:ext uri="{FF2B5EF4-FFF2-40B4-BE49-F238E27FC236}">
                    <a16:creationId xmlns:a16="http://schemas.microsoft.com/office/drawing/2014/main" id="{11BE0114-8581-E24B-4C74-84B02D7EC6D3}"/>
                  </a:ext>
                </a:extLst>
              </p:cNvPr>
              <p:cNvSpPr/>
              <p:nvPr/>
            </p:nvSpPr>
            <p:spPr bwMode="gray">
              <a:xfrm>
                <a:off x="2702182" y="2893751"/>
                <a:ext cx="579276" cy="579276"/>
              </a:xfrm>
              <a:prstGeom prst="ellipse">
                <a:avLst/>
              </a:prstGeom>
              <a:solidFill>
                <a:schemeClr val="bg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0" name="Picture 39">
                <a:extLst>
                  <a:ext uri="{FF2B5EF4-FFF2-40B4-BE49-F238E27FC236}">
                    <a16:creationId xmlns:a16="http://schemas.microsoft.com/office/drawing/2014/main" id="{1FF136A8-6980-935C-F62A-37A8BBC8B807}"/>
                  </a:ext>
                </a:extLst>
              </p:cNvPr>
              <p:cNvPicPr>
                <a:picLocks noChangeAspect="1"/>
              </p:cNvPicPr>
              <p:nvPr/>
            </p:nvPicPr>
            <p:blipFill>
              <a:blip r:embed="rId10">
                <a:duotone>
                  <a:schemeClr val="bg2">
                    <a:shade val="45000"/>
                    <a:satMod val="135000"/>
                  </a:schemeClr>
                  <a:prstClr val="white"/>
                </a:duotone>
              </a:blip>
              <a:stretch>
                <a:fillRect/>
              </a:stretch>
            </p:blipFill>
            <p:spPr>
              <a:xfrm>
                <a:off x="2849399" y="3022670"/>
                <a:ext cx="338369" cy="338369"/>
              </a:xfrm>
              <a:prstGeom prst="rect">
                <a:avLst/>
              </a:prstGeom>
            </p:spPr>
          </p:pic>
        </p:grpSp>
      </p:grpSp>
      <p:grpSp>
        <p:nvGrpSpPr>
          <p:cNvPr id="69" name="Group 68">
            <a:extLst>
              <a:ext uri="{FF2B5EF4-FFF2-40B4-BE49-F238E27FC236}">
                <a16:creationId xmlns:a16="http://schemas.microsoft.com/office/drawing/2014/main" id="{4CC157A9-CB7D-130D-C5F4-BC5158206ED9}"/>
              </a:ext>
            </a:extLst>
          </p:cNvPr>
          <p:cNvGrpSpPr/>
          <p:nvPr/>
        </p:nvGrpSpPr>
        <p:grpSpPr>
          <a:xfrm>
            <a:off x="4841747" y="5493504"/>
            <a:ext cx="2700248" cy="579276"/>
            <a:chOff x="5088222" y="3843003"/>
            <a:chExt cx="2700248" cy="579276"/>
          </a:xfrm>
        </p:grpSpPr>
        <p:sp>
          <p:nvSpPr>
            <p:cNvPr id="68" name="Rectangle 67">
              <a:extLst>
                <a:ext uri="{FF2B5EF4-FFF2-40B4-BE49-F238E27FC236}">
                  <a16:creationId xmlns:a16="http://schemas.microsoft.com/office/drawing/2014/main" id="{F469C85E-CDC0-CC53-DA30-8ABF08ADA1CE}"/>
                </a:ext>
              </a:extLst>
            </p:cNvPr>
            <p:cNvSpPr/>
            <p:nvPr/>
          </p:nvSpPr>
          <p:spPr>
            <a:xfrm>
              <a:off x="5578496" y="3944909"/>
              <a:ext cx="2209974" cy="401639"/>
            </a:xfrm>
            <a:prstGeom prst="rect">
              <a:avLst/>
            </a:prstGeom>
            <a:solidFill>
              <a:srgbClr val="BDBDBD"/>
            </a:solidFill>
            <a:ln>
              <a:no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r>
                <a:rPr lang="de-CH" sz="1200"/>
                <a:t>Industrial </a:t>
              </a:r>
              <a:r>
                <a:rPr lang="de-CH" sz="1200" err="1"/>
                <a:t>Safety</a:t>
              </a:r>
              <a:r>
                <a:rPr lang="de-CH" sz="1200"/>
                <a:t> Monitors</a:t>
              </a:r>
              <a:endParaRPr lang="en-US" sz="1200" err="1"/>
            </a:p>
          </p:txBody>
        </p:sp>
        <p:grpSp>
          <p:nvGrpSpPr>
            <p:cNvPr id="50" name="Group 49">
              <a:extLst>
                <a:ext uri="{FF2B5EF4-FFF2-40B4-BE49-F238E27FC236}">
                  <a16:creationId xmlns:a16="http://schemas.microsoft.com/office/drawing/2014/main" id="{96FF2FF6-3AD6-1144-186A-934F1A63AE11}"/>
                </a:ext>
              </a:extLst>
            </p:cNvPr>
            <p:cNvGrpSpPr/>
            <p:nvPr/>
          </p:nvGrpSpPr>
          <p:grpSpPr>
            <a:xfrm>
              <a:off x="5088222" y="3843003"/>
              <a:ext cx="579276" cy="579276"/>
              <a:chOff x="5130420" y="1642576"/>
              <a:chExt cx="579276" cy="579276"/>
            </a:xfrm>
          </p:grpSpPr>
          <p:sp>
            <p:nvSpPr>
              <p:cNvPr id="29" name="Oval 28">
                <a:extLst>
                  <a:ext uri="{FF2B5EF4-FFF2-40B4-BE49-F238E27FC236}">
                    <a16:creationId xmlns:a16="http://schemas.microsoft.com/office/drawing/2014/main" id="{BDF13E7D-C15A-F416-183A-49886D5C4425}"/>
                  </a:ext>
                </a:extLst>
              </p:cNvPr>
              <p:cNvSpPr/>
              <p:nvPr/>
            </p:nvSpPr>
            <p:spPr bwMode="gray">
              <a:xfrm>
                <a:off x="5130420" y="1642576"/>
                <a:ext cx="579276" cy="579276"/>
              </a:xfrm>
              <a:prstGeom prst="ellipse">
                <a:avLst/>
              </a:prstGeom>
              <a:solidFill>
                <a:srgbClr val="FFFFFF"/>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2" name="Picture 41">
                <a:extLst>
                  <a:ext uri="{FF2B5EF4-FFF2-40B4-BE49-F238E27FC236}">
                    <a16:creationId xmlns:a16="http://schemas.microsoft.com/office/drawing/2014/main" id="{78012B6F-2DDB-5EAA-316A-08A62C90E198}"/>
                  </a:ext>
                </a:extLst>
              </p:cNvPr>
              <p:cNvPicPr>
                <a:picLocks noChangeAspect="1"/>
              </p:cNvPicPr>
              <p:nvPr/>
            </p:nvPicPr>
            <p:blipFill>
              <a:blip r:embed="rId11"/>
              <a:stretch>
                <a:fillRect/>
              </a:stretch>
            </p:blipFill>
            <p:spPr>
              <a:xfrm>
                <a:off x="5201978" y="1709964"/>
                <a:ext cx="436159" cy="436159"/>
              </a:xfrm>
              <a:prstGeom prst="rect">
                <a:avLst/>
              </a:prstGeom>
            </p:spPr>
          </p:pic>
        </p:grpSp>
      </p:grpSp>
      <p:grpSp>
        <p:nvGrpSpPr>
          <p:cNvPr id="49" name="Group 48">
            <a:extLst>
              <a:ext uri="{FF2B5EF4-FFF2-40B4-BE49-F238E27FC236}">
                <a16:creationId xmlns:a16="http://schemas.microsoft.com/office/drawing/2014/main" id="{35090992-2565-884B-5A10-249DD55D73C0}"/>
              </a:ext>
            </a:extLst>
          </p:cNvPr>
          <p:cNvGrpSpPr/>
          <p:nvPr/>
        </p:nvGrpSpPr>
        <p:grpSpPr>
          <a:xfrm>
            <a:off x="6335478" y="2925510"/>
            <a:ext cx="579276" cy="579276"/>
            <a:chOff x="6771548" y="1871774"/>
            <a:chExt cx="579276" cy="579276"/>
          </a:xfrm>
        </p:grpSpPr>
        <p:sp>
          <p:nvSpPr>
            <p:cNvPr id="25" name="Oval 24">
              <a:extLst>
                <a:ext uri="{FF2B5EF4-FFF2-40B4-BE49-F238E27FC236}">
                  <a16:creationId xmlns:a16="http://schemas.microsoft.com/office/drawing/2014/main" id="{2984670B-3951-746B-B717-E73D017BA95E}"/>
                </a:ext>
              </a:extLst>
            </p:cNvPr>
            <p:cNvSpPr/>
            <p:nvPr/>
          </p:nvSpPr>
          <p:spPr bwMode="gray">
            <a:xfrm>
              <a:off x="6771548" y="1871774"/>
              <a:ext cx="579276" cy="579276"/>
            </a:xfrm>
            <a:prstGeom prst="ellipse">
              <a:avLst/>
            </a:prstGeom>
            <a:solidFill>
              <a:srgbClr val="FFFFFF"/>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4" name="Oval 43">
              <a:extLst>
                <a:ext uri="{FF2B5EF4-FFF2-40B4-BE49-F238E27FC236}">
                  <a16:creationId xmlns:a16="http://schemas.microsoft.com/office/drawing/2014/main" id="{412FF970-ED4C-1A18-0254-4D96939E1C70}"/>
                </a:ext>
              </a:extLst>
            </p:cNvPr>
            <p:cNvSpPr/>
            <p:nvPr/>
          </p:nvSpPr>
          <p:spPr>
            <a:xfrm>
              <a:off x="6832760" y="1936412"/>
              <a:ext cx="450000" cy="450000"/>
            </a:xfrm>
            <a:prstGeom prst="ellipse">
              <a:avLst/>
            </a:prstGeom>
            <a:solidFill>
              <a:srgbClr val="7030A0"/>
            </a:solidFill>
            <a:ln>
              <a:no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en-US" err="1"/>
            </a:p>
          </p:txBody>
        </p:sp>
        <p:pic>
          <p:nvPicPr>
            <p:cNvPr id="43" name="Picture 42">
              <a:extLst>
                <a:ext uri="{FF2B5EF4-FFF2-40B4-BE49-F238E27FC236}">
                  <a16:creationId xmlns:a16="http://schemas.microsoft.com/office/drawing/2014/main" id="{E1461204-EB44-F126-1F2C-AA78C67504CD}"/>
                </a:ext>
              </a:extLst>
            </p:cNvPr>
            <p:cNvPicPr>
              <a:picLocks noChangeAspect="1"/>
            </p:cNvPicPr>
            <p:nvPr/>
          </p:nvPicPr>
          <p:blipFill>
            <a:blip r:embed="rId12">
              <a:lum bright="70000" contrast="-70000"/>
              <a:extLst>
                <a:ext uri="{BEBA8EAE-BF5A-486C-A8C5-ECC9F3942E4B}">
                  <a14:imgProps xmlns:a14="http://schemas.microsoft.com/office/drawing/2010/main">
                    <a14:imgLayer r:embed="rId13">
                      <a14:imgEffect>
                        <a14:artisticPhotocopy/>
                      </a14:imgEffect>
                    </a14:imgLayer>
                  </a14:imgProps>
                </a:ext>
              </a:extLst>
            </a:blip>
            <a:stretch>
              <a:fillRect/>
            </a:stretch>
          </p:blipFill>
          <p:spPr>
            <a:xfrm>
              <a:off x="6817072" y="1923105"/>
              <a:ext cx="476614" cy="476614"/>
            </a:xfrm>
            <a:prstGeom prst="rect">
              <a:avLst/>
            </a:prstGeom>
          </p:spPr>
        </p:pic>
      </p:grpSp>
      <p:grpSp>
        <p:nvGrpSpPr>
          <p:cNvPr id="17" name="Group 16">
            <a:extLst>
              <a:ext uri="{FF2B5EF4-FFF2-40B4-BE49-F238E27FC236}">
                <a16:creationId xmlns:a16="http://schemas.microsoft.com/office/drawing/2014/main" id="{B9F2026C-5D90-9F66-C1AE-324009316161}"/>
              </a:ext>
            </a:extLst>
          </p:cNvPr>
          <p:cNvGrpSpPr/>
          <p:nvPr/>
        </p:nvGrpSpPr>
        <p:grpSpPr>
          <a:xfrm>
            <a:off x="6166334" y="4206147"/>
            <a:ext cx="2662715" cy="579276"/>
            <a:chOff x="6166334" y="4203366"/>
            <a:chExt cx="2662715" cy="579276"/>
          </a:xfrm>
        </p:grpSpPr>
        <p:sp>
          <p:nvSpPr>
            <p:cNvPr id="4" name="Rectangle 3">
              <a:extLst>
                <a:ext uri="{FF2B5EF4-FFF2-40B4-BE49-F238E27FC236}">
                  <a16:creationId xmlns:a16="http://schemas.microsoft.com/office/drawing/2014/main" id="{BAAB8086-2EB9-CECA-E4B3-5C0C54EF4439}"/>
                </a:ext>
              </a:extLst>
            </p:cNvPr>
            <p:cNvSpPr/>
            <p:nvPr/>
          </p:nvSpPr>
          <p:spPr>
            <a:xfrm>
              <a:off x="6669559" y="4277471"/>
              <a:ext cx="2159490" cy="401639"/>
            </a:xfrm>
            <a:prstGeom prst="rect">
              <a:avLst/>
            </a:prstGeom>
            <a:solidFill>
              <a:srgbClr val="BDBDBD"/>
            </a:solidFill>
            <a:ln>
              <a:no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r>
                <a:rPr lang="de-CH" sz="1200" err="1"/>
                <a:t>Controlled</a:t>
              </a:r>
              <a:r>
                <a:rPr lang="de-CH" sz="1200"/>
                <a:t> Fruit &amp; </a:t>
              </a:r>
              <a:r>
                <a:rPr lang="de-CH" sz="1200" err="1"/>
                <a:t>Vegetable</a:t>
              </a:r>
              <a:r>
                <a:rPr lang="de-CH" sz="1200"/>
                <a:t> Storage / </a:t>
              </a:r>
              <a:r>
                <a:rPr lang="de-CH" sz="1200" err="1"/>
                <a:t>Logistics</a:t>
              </a:r>
              <a:endParaRPr lang="en-US" sz="1200"/>
            </a:p>
          </p:txBody>
        </p:sp>
        <p:grpSp>
          <p:nvGrpSpPr>
            <p:cNvPr id="52" name="Group 51">
              <a:extLst>
                <a:ext uri="{FF2B5EF4-FFF2-40B4-BE49-F238E27FC236}">
                  <a16:creationId xmlns:a16="http://schemas.microsoft.com/office/drawing/2014/main" id="{4052E41B-5AF4-9FBE-8965-676E710BA6C3}"/>
                </a:ext>
              </a:extLst>
            </p:cNvPr>
            <p:cNvGrpSpPr/>
            <p:nvPr/>
          </p:nvGrpSpPr>
          <p:grpSpPr>
            <a:xfrm>
              <a:off x="6166334" y="4203366"/>
              <a:ext cx="579276" cy="579276"/>
              <a:chOff x="-262063" y="1543805"/>
              <a:chExt cx="579276" cy="579276"/>
            </a:xfrm>
          </p:grpSpPr>
          <p:sp>
            <p:nvSpPr>
              <p:cNvPr id="21" name="Oval 20">
                <a:extLst>
                  <a:ext uri="{FF2B5EF4-FFF2-40B4-BE49-F238E27FC236}">
                    <a16:creationId xmlns:a16="http://schemas.microsoft.com/office/drawing/2014/main" id="{9AC66B12-8F3B-BE29-7828-8CD89FF29D0D}"/>
                  </a:ext>
                </a:extLst>
              </p:cNvPr>
              <p:cNvSpPr/>
              <p:nvPr/>
            </p:nvSpPr>
            <p:spPr bwMode="gray">
              <a:xfrm>
                <a:off x="-262063" y="1543805"/>
                <a:ext cx="579276" cy="579276"/>
              </a:xfrm>
              <a:prstGeom prst="ellipse">
                <a:avLst/>
              </a:prstGeom>
              <a:solidFill>
                <a:schemeClr val="bg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5" name="Picture 44">
                <a:extLst>
                  <a:ext uri="{FF2B5EF4-FFF2-40B4-BE49-F238E27FC236}">
                    <a16:creationId xmlns:a16="http://schemas.microsoft.com/office/drawing/2014/main" id="{BE7D829D-F701-4CA4-53B7-94D5D9F1C06C}"/>
                  </a:ext>
                </a:extLst>
              </p:cNvPr>
              <p:cNvPicPr>
                <a:picLocks noChangeAspect="1"/>
              </p:cNvPicPr>
              <p:nvPr/>
            </p:nvPicPr>
            <p:blipFill>
              <a:blip r:embed="rId14"/>
              <a:stretch>
                <a:fillRect/>
              </a:stretch>
            </p:blipFill>
            <p:spPr>
              <a:xfrm>
                <a:off x="-146223" y="1685606"/>
                <a:ext cx="313393" cy="313393"/>
              </a:xfrm>
              <a:prstGeom prst="rect">
                <a:avLst/>
              </a:prstGeom>
            </p:spPr>
          </p:pic>
        </p:grpSp>
      </p:grpSp>
      <p:grpSp>
        <p:nvGrpSpPr>
          <p:cNvPr id="65" name="Group 64">
            <a:extLst>
              <a:ext uri="{FF2B5EF4-FFF2-40B4-BE49-F238E27FC236}">
                <a16:creationId xmlns:a16="http://schemas.microsoft.com/office/drawing/2014/main" id="{B60018EE-FD20-F982-B1C1-4F2301CF384A}"/>
              </a:ext>
            </a:extLst>
          </p:cNvPr>
          <p:cNvGrpSpPr/>
          <p:nvPr/>
        </p:nvGrpSpPr>
        <p:grpSpPr>
          <a:xfrm>
            <a:off x="5489530" y="3561425"/>
            <a:ext cx="2124741" cy="579276"/>
            <a:chOff x="6456373" y="1739074"/>
            <a:chExt cx="2124741" cy="579276"/>
          </a:xfrm>
        </p:grpSpPr>
        <p:sp>
          <p:nvSpPr>
            <p:cNvPr id="64" name="Rectangle 63">
              <a:extLst>
                <a:ext uri="{FF2B5EF4-FFF2-40B4-BE49-F238E27FC236}">
                  <a16:creationId xmlns:a16="http://schemas.microsoft.com/office/drawing/2014/main" id="{B0E38880-5F4D-58F0-D70F-62FEDE5151FF}"/>
                </a:ext>
              </a:extLst>
            </p:cNvPr>
            <p:cNvSpPr/>
            <p:nvPr/>
          </p:nvSpPr>
          <p:spPr>
            <a:xfrm>
              <a:off x="6947708" y="1823564"/>
              <a:ext cx="1633406" cy="401639"/>
            </a:xfrm>
            <a:prstGeom prst="rect">
              <a:avLst/>
            </a:prstGeom>
            <a:solidFill>
              <a:srgbClr val="BDBDBD"/>
            </a:solidFill>
            <a:ln>
              <a:no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r>
                <a:rPr lang="de-CH" sz="1200"/>
                <a:t>Breath Analysis</a:t>
              </a:r>
              <a:endParaRPr lang="en-US" sz="1200" err="1"/>
            </a:p>
          </p:txBody>
        </p:sp>
        <p:grpSp>
          <p:nvGrpSpPr>
            <p:cNvPr id="47" name="Group 46">
              <a:extLst>
                <a:ext uri="{FF2B5EF4-FFF2-40B4-BE49-F238E27FC236}">
                  <a16:creationId xmlns:a16="http://schemas.microsoft.com/office/drawing/2014/main" id="{DE702432-D220-0567-CFD3-0B534CF15078}"/>
                </a:ext>
              </a:extLst>
            </p:cNvPr>
            <p:cNvGrpSpPr/>
            <p:nvPr/>
          </p:nvGrpSpPr>
          <p:grpSpPr>
            <a:xfrm>
              <a:off x="6456373" y="1739074"/>
              <a:ext cx="579276" cy="579276"/>
              <a:chOff x="7692676" y="2321826"/>
              <a:chExt cx="579276" cy="579276"/>
            </a:xfrm>
            <a:solidFill>
              <a:schemeClr val="bg1"/>
            </a:solidFill>
          </p:grpSpPr>
          <p:sp>
            <p:nvSpPr>
              <p:cNvPr id="24" name="Oval 23">
                <a:extLst>
                  <a:ext uri="{FF2B5EF4-FFF2-40B4-BE49-F238E27FC236}">
                    <a16:creationId xmlns:a16="http://schemas.microsoft.com/office/drawing/2014/main" id="{9244D699-4E61-0456-2010-704CC31AF9E6}"/>
                  </a:ext>
                </a:extLst>
              </p:cNvPr>
              <p:cNvSpPr/>
              <p:nvPr/>
            </p:nvSpPr>
            <p:spPr bwMode="gray">
              <a:xfrm>
                <a:off x="7692676" y="2321826"/>
                <a:ext cx="579276" cy="579276"/>
              </a:xfrm>
              <a:prstGeom prst="ellipse">
                <a:avLst/>
              </a:prstGeom>
              <a:grp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6" name="Picture 45">
                <a:extLst>
                  <a:ext uri="{FF2B5EF4-FFF2-40B4-BE49-F238E27FC236}">
                    <a16:creationId xmlns:a16="http://schemas.microsoft.com/office/drawing/2014/main" id="{C29EA24D-D8E7-6EDA-92F2-C492B17CBC63}"/>
                  </a:ext>
                </a:extLst>
              </p:cNvPr>
              <p:cNvPicPr>
                <a:picLocks noChangeAspect="1"/>
              </p:cNvPicPr>
              <p:nvPr/>
            </p:nvPicPr>
            <p:blipFill>
              <a:blip r:embed="rId15">
                <a:duotone>
                  <a:schemeClr val="accent5">
                    <a:shade val="45000"/>
                    <a:satMod val="135000"/>
                  </a:schemeClr>
                  <a:prstClr val="white"/>
                </a:duotone>
              </a:blip>
              <a:stretch>
                <a:fillRect/>
              </a:stretch>
            </p:blipFill>
            <p:spPr>
              <a:xfrm>
                <a:off x="7833418" y="2471583"/>
                <a:ext cx="280898" cy="280898"/>
              </a:xfrm>
              <a:prstGeom prst="rect">
                <a:avLst/>
              </a:prstGeom>
              <a:grpFill/>
            </p:spPr>
          </p:pic>
        </p:grpSp>
      </p:grpSp>
      <p:grpSp>
        <p:nvGrpSpPr>
          <p:cNvPr id="62" name="Group 61">
            <a:extLst>
              <a:ext uri="{FF2B5EF4-FFF2-40B4-BE49-F238E27FC236}">
                <a16:creationId xmlns:a16="http://schemas.microsoft.com/office/drawing/2014/main" id="{5253DC49-982F-43A3-AA03-129D1DF7A713}"/>
              </a:ext>
            </a:extLst>
          </p:cNvPr>
          <p:cNvGrpSpPr/>
          <p:nvPr/>
        </p:nvGrpSpPr>
        <p:grpSpPr>
          <a:xfrm>
            <a:off x="1778639" y="5493504"/>
            <a:ext cx="2951811" cy="579276"/>
            <a:chOff x="2266898" y="3184221"/>
            <a:chExt cx="2577028" cy="579276"/>
          </a:xfrm>
        </p:grpSpPr>
        <p:sp>
          <p:nvSpPr>
            <p:cNvPr id="60" name="Rectangle 59">
              <a:extLst>
                <a:ext uri="{FF2B5EF4-FFF2-40B4-BE49-F238E27FC236}">
                  <a16:creationId xmlns:a16="http://schemas.microsoft.com/office/drawing/2014/main" id="{292D775A-9F23-1B7E-770D-F7D2C3CD85BE}"/>
                </a:ext>
              </a:extLst>
            </p:cNvPr>
            <p:cNvSpPr/>
            <p:nvPr/>
          </p:nvSpPr>
          <p:spPr>
            <a:xfrm>
              <a:off x="2266898" y="3280026"/>
              <a:ext cx="2136188" cy="401639"/>
            </a:xfrm>
            <a:prstGeom prst="rect">
              <a:avLst/>
            </a:prstGeom>
            <a:solidFill>
              <a:srgbClr val="BDBDBD"/>
            </a:solidFill>
            <a:ln>
              <a:no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r>
                <a:rPr lang="de-CH" sz="1200"/>
                <a:t>Indoor Air Quality &amp; Air </a:t>
              </a:r>
              <a:r>
                <a:rPr lang="de-CH" sz="1200" err="1"/>
                <a:t>Purifiers</a:t>
              </a:r>
              <a:endParaRPr lang="en-US" sz="1200" err="1"/>
            </a:p>
          </p:txBody>
        </p:sp>
        <p:grpSp>
          <p:nvGrpSpPr>
            <p:cNvPr id="56" name="Group 55">
              <a:extLst>
                <a:ext uri="{FF2B5EF4-FFF2-40B4-BE49-F238E27FC236}">
                  <a16:creationId xmlns:a16="http://schemas.microsoft.com/office/drawing/2014/main" id="{1A39474C-A8E6-01CB-B2E2-AC0A5CC2EBA9}"/>
                </a:ext>
              </a:extLst>
            </p:cNvPr>
            <p:cNvGrpSpPr/>
            <p:nvPr/>
          </p:nvGrpSpPr>
          <p:grpSpPr>
            <a:xfrm>
              <a:off x="4337917" y="3184221"/>
              <a:ext cx="506009" cy="579276"/>
              <a:chOff x="1065159" y="3022670"/>
              <a:chExt cx="506009" cy="579276"/>
            </a:xfrm>
            <a:solidFill>
              <a:srgbClr val="FFFFFF"/>
            </a:solidFill>
          </p:grpSpPr>
          <p:sp>
            <p:nvSpPr>
              <p:cNvPr id="54" name="Oval 53">
                <a:extLst>
                  <a:ext uri="{FF2B5EF4-FFF2-40B4-BE49-F238E27FC236}">
                    <a16:creationId xmlns:a16="http://schemas.microsoft.com/office/drawing/2014/main" id="{079B0700-0466-82C9-E07F-7EEC87C2E97C}"/>
                  </a:ext>
                </a:extLst>
              </p:cNvPr>
              <p:cNvSpPr/>
              <p:nvPr/>
            </p:nvSpPr>
            <p:spPr bwMode="gray">
              <a:xfrm>
                <a:off x="1065159" y="3022670"/>
                <a:ext cx="506009" cy="579276"/>
              </a:xfrm>
              <a:prstGeom prst="ellipse">
                <a:avLst/>
              </a:prstGeom>
              <a:grp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5" name="Picture 54">
                <a:extLst>
                  <a:ext uri="{FF2B5EF4-FFF2-40B4-BE49-F238E27FC236}">
                    <a16:creationId xmlns:a16="http://schemas.microsoft.com/office/drawing/2014/main" id="{E94E97E7-676F-65E8-A426-969AD34DAC42}"/>
                  </a:ext>
                </a:extLst>
              </p:cNvPr>
              <p:cNvPicPr>
                <a:picLocks noChangeAspect="1"/>
              </p:cNvPicPr>
              <p:nvPr/>
            </p:nvPicPr>
            <p:blipFill>
              <a:blip r:embed="rId16"/>
              <a:stretch>
                <a:fillRect/>
              </a:stretch>
            </p:blipFill>
            <p:spPr>
              <a:xfrm>
                <a:off x="1213341" y="3148732"/>
                <a:ext cx="251739" cy="340140"/>
              </a:xfrm>
              <a:prstGeom prst="rect">
                <a:avLst/>
              </a:prstGeom>
              <a:grpFill/>
            </p:spPr>
          </p:pic>
        </p:grpSp>
      </p:grpSp>
      <p:grpSp>
        <p:nvGrpSpPr>
          <p:cNvPr id="13" name="Group 12">
            <a:extLst>
              <a:ext uri="{FF2B5EF4-FFF2-40B4-BE49-F238E27FC236}">
                <a16:creationId xmlns:a16="http://schemas.microsoft.com/office/drawing/2014/main" id="{F5D9BF18-C771-28B9-7E45-4F12ACABECE4}"/>
              </a:ext>
            </a:extLst>
          </p:cNvPr>
          <p:cNvGrpSpPr/>
          <p:nvPr/>
        </p:nvGrpSpPr>
        <p:grpSpPr>
          <a:xfrm>
            <a:off x="505956" y="1267290"/>
            <a:ext cx="11160124" cy="582912"/>
            <a:chOff x="515936" y="4481484"/>
            <a:chExt cx="11160124" cy="582912"/>
          </a:xfrm>
        </p:grpSpPr>
        <p:sp>
          <p:nvSpPr>
            <p:cNvPr id="84" name="TextBox 83">
              <a:extLst>
                <a:ext uri="{FF2B5EF4-FFF2-40B4-BE49-F238E27FC236}">
                  <a16:creationId xmlns:a16="http://schemas.microsoft.com/office/drawing/2014/main" id="{A9B8E803-9261-FDEA-4EB4-9B37C85B9984}"/>
                </a:ext>
              </a:extLst>
            </p:cNvPr>
            <p:cNvSpPr txBox="1"/>
            <p:nvPr/>
          </p:nvSpPr>
          <p:spPr bwMode="gray">
            <a:xfrm rot="16200000">
              <a:off x="890156" y="4505509"/>
              <a:ext cx="184666" cy="933106"/>
            </a:xfrm>
            <a:prstGeom prst="rect">
              <a:avLst/>
            </a:prstGeom>
            <a:noFill/>
          </p:spPr>
          <p:txBody>
            <a:bodyPr vert="eaVert" wrap="none" lIns="0" tIns="0" rIns="0" bIns="0" rtlCol="0">
              <a:spAutoFit/>
            </a:bodyPr>
            <a:lstStyle/>
            <a:p>
              <a:r>
                <a:rPr lang="en-US" sz="1200" b="1">
                  <a:solidFill>
                    <a:srgbClr val="616161"/>
                  </a:solidFill>
                </a:rPr>
                <a:t>100 ppm </a:t>
              </a:r>
            </a:p>
          </p:txBody>
        </p:sp>
        <p:sp>
          <p:nvSpPr>
            <p:cNvPr id="85" name="TextBox 84">
              <a:extLst>
                <a:ext uri="{FF2B5EF4-FFF2-40B4-BE49-F238E27FC236}">
                  <a16:creationId xmlns:a16="http://schemas.microsoft.com/office/drawing/2014/main" id="{0AAD16D3-A182-745D-2554-71C5980EA308}"/>
                </a:ext>
              </a:extLst>
            </p:cNvPr>
            <p:cNvSpPr txBox="1"/>
            <p:nvPr/>
          </p:nvSpPr>
          <p:spPr bwMode="gray">
            <a:xfrm rot="16200000">
              <a:off x="3441927" y="4414393"/>
              <a:ext cx="184666" cy="1115336"/>
            </a:xfrm>
            <a:prstGeom prst="rect">
              <a:avLst/>
            </a:prstGeom>
            <a:noFill/>
          </p:spPr>
          <p:txBody>
            <a:bodyPr vert="eaVert" wrap="none" lIns="0" tIns="0" rIns="0" bIns="0" rtlCol="0">
              <a:spAutoFit/>
            </a:bodyPr>
            <a:lstStyle/>
            <a:p>
              <a:r>
                <a:rPr lang="en-US" sz="1200" b="1">
                  <a:solidFill>
                    <a:srgbClr val="616161"/>
                  </a:solidFill>
                </a:rPr>
                <a:t>1’000 ppm </a:t>
              </a:r>
            </a:p>
          </p:txBody>
        </p:sp>
        <p:sp>
          <p:nvSpPr>
            <p:cNvPr id="86" name="TextBox 85">
              <a:extLst>
                <a:ext uri="{FF2B5EF4-FFF2-40B4-BE49-F238E27FC236}">
                  <a16:creationId xmlns:a16="http://schemas.microsoft.com/office/drawing/2014/main" id="{1F266CAE-7F8E-78B2-2F84-74D4CEF190FC}"/>
                </a:ext>
              </a:extLst>
            </p:cNvPr>
            <p:cNvSpPr txBox="1"/>
            <p:nvPr/>
          </p:nvSpPr>
          <p:spPr bwMode="gray">
            <a:xfrm rot="16200000">
              <a:off x="5993687" y="4354018"/>
              <a:ext cx="184666" cy="1236090"/>
            </a:xfrm>
            <a:prstGeom prst="rect">
              <a:avLst/>
            </a:prstGeom>
            <a:noFill/>
          </p:spPr>
          <p:txBody>
            <a:bodyPr vert="eaVert" wrap="none" lIns="0" tIns="0" rIns="0" bIns="0" rtlCol="0">
              <a:spAutoFit/>
            </a:bodyPr>
            <a:lstStyle/>
            <a:p>
              <a:r>
                <a:rPr lang="en-US" sz="1200" b="1">
                  <a:solidFill>
                    <a:srgbClr val="616161"/>
                  </a:solidFill>
                </a:rPr>
                <a:t>10’000 ppm </a:t>
              </a:r>
            </a:p>
          </p:txBody>
        </p:sp>
        <p:sp>
          <p:nvSpPr>
            <p:cNvPr id="87" name="TextBox 86">
              <a:extLst>
                <a:ext uri="{FF2B5EF4-FFF2-40B4-BE49-F238E27FC236}">
                  <a16:creationId xmlns:a16="http://schemas.microsoft.com/office/drawing/2014/main" id="{2BB506E2-FEEB-DAE1-128D-CBCCDCF8CFEC}"/>
                </a:ext>
              </a:extLst>
            </p:cNvPr>
            <p:cNvSpPr txBox="1"/>
            <p:nvPr/>
          </p:nvSpPr>
          <p:spPr bwMode="gray">
            <a:xfrm rot="16200000">
              <a:off x="3441921" y="4154381"/>
              <a:ext cx="184666" cy="838873"/>
            </a:xfrm>
            <a:prstGeom prst="rect">
              <a:avLst/>
            </a:prstGeom>
            <a:noFill/>
          </p:spPr>
          <p:txBody>
            <a:bodyPr vert="eaVert" wrap="none" lIns="0" tIns="0" rIns="0" bIns="0" rtlCol="0">
              <a:spAutoFit/>
            </a:bodyPr>
            <a:lstStyle/>
            <a:p>
              <a:r>
                <a:rPr lang="en-US" sz="1200" b="1">
                  <a:solidFill>
                    <a:srgbClr val="616161"/>
                  </a:solidFill>
                </a:rPr>
                <a:t>0.1 vol%</a:t>
              </a:r>
            </a:p>
          </p:txBody>
        </p:sp>
        <p:sp>
          <p:nvSpPr>
            <p:cNvPr id="88" name="TextBox 87">
              <a:extLst>
                <a:ext uri="{FF2B5EF4-FFF2-40B4-BE49-F238E27FC236}">
                  <a16:creationId xmlns:a16="http://schemas.microsoft.com/office/drawing/2014/main" id="{C34AF119-F368-737B-E3A6-B9D5C14864EB}"/>
                </a:ext>
              </a:extLst>
            </p:cNvPr>
            <p:cNvSpPr txBox="1"/>
            <p:nvPr/>
          </p:nvSpPr>
          <p:spPr bwMode="gray">
            <a:xfrm rot="16200000">
              <a:off x="5993684" y="4243302"/>
              <a:ext cx="184666" cy="661034"/>
            </a:xfrm>
            <a:prstGeom prst="rect">
              <a:avLst/>
            </a:prstGeom>
            <a:noFill/>
          </p:spPr>
          <p:txBody>
            <a:bodyPr vert="eaVert" wrap="none" lIns="0" tIns="0" rIns="0" bIns="0" rtlCol="0">
              <a:spAutoFit/>
            </a:bodyPr>
            <a:lstStyle/>
            <a:p>
              <a:r>
                <a:rPr lang="en-US" sz="1200" b="1">
                  <a:solidFill>
                    <a:srgbClr val="616161"/>
                  </a:solidFill>
                </a:rPr>
                <a:t>1 vol%</a:t>
              </a:r>
            </a:p>
          </p:txBody>
        </p:sp>
        <p:sp>
          <p:nvSpPr>
            <p:cNvPr id="89" name="TextBox 88">
              <a:extLst>
                <a:ext uri="{FF2B5EF4-FFF2-40B4-BE49-F238E27FC236}">
                  <a16:creationId xmlns:a16="http://schemas.microsoft.com/office/drawing/2014/main" id="{3DFDB0BF-8123-E879-7977-C9051544FAFC}"/>
                </a:ext>
              </a:extLst>
            </p:cNvPr>
            <p:cNvSpPr txBox="1"/>
            <p:nvPr/>
          </p:nvSpPr>
          <p:spPr bwMode="gray">
            <a:xfrm rot="16200000">
              <a:off x="8590865" y="4182923"/>
              <a:ext cx="184666" cy="781788"/>
            </a:xfrm>
            <a:prstGeom prst="rect">
              <a:avLst/>
            </a:prstGeom>
            <a:noFill/>
          </p:spPr>
          <p:txBody>
            <a:bodyPr vert="eaVert" wrap="none" lIns="0" tIns="0" rIns="0" bIns="0" rtlCol="0">
              <a:spAutoFit/>
            </a:bodyPr>
            <a:lstStyle/>
            <a:p>
              <a:r>
                <a:rPr lang="en-US" sz="1200" b="1">
                  <a:solidFill>
                    <a:srgbClr val="616161"/>
                  </a:solidFill>
                </a:rPr>
                <a:t>10 vol%</a:t>
              </a:r>
            </a:p>
          </p:txBody>
        </p:sp>
        <p:sp>
          <p:nvSpPr>
            <p:cNvPr id="90" name="TextBox 89">
              <a:extLst>
                <a:ext uri="{FF2B5EF4-FFF2-40B4-BE49-F238E27FC236}">
                  <a16:creationId xmlns:a16="http://schemas.microsoft.com/office/drawing/2014/main" id="{80ECEBC5-875D-8ADA-EABE-3586BE227C34}"/>
                </a:ext>
              </a:extLst>
            </p:cNvPr>
            <p:cNvSpPr txBox="1"/>
            <p:nvPr/>
          </p:nvSpPr>
          <p:spPr bwMode="gray">
            <a:xfrm rot="16200000">
              <a:off x="11132455" y="4122545"/>
              <a:ext cx="184666" cy="902544"/>
            </a:xfrm>
            <a:prstGeom prst="rect">
              <a:avLst/>
            </a:prstGeom>
            <a:noFill/>
          </p:spPr>
          <p:txBody>
            <a:bodyPr vert="eaVert" wrap="none" lIns="0" tIns="0" rIns="0" bIns="0" rtlCol="0">
              <a:spAutoFit/>
            </a:bodyPr>
            <a:lstStyle/>
            <a:p>
              <a:r>
                <a:rPr lang="en-US" sz="1200" b="1">
                  <a:solidFill>
                    <a:srgbClr val="616161"/>
                  </a:solidFill>
                </a:rPr>
                <a:t>100 vol%</a:t>
              </a:r>
            </a:p>
          </p:txBody>
        </p:sp>
        <p:cxnSp>
          <p:nvCxnSpPr>
            <p:cNvPr id="93" name="Straight Connector 92">
              <a:extLst>
                <a:ext uri="{FF2B5EF4-FFF2-40B4-BE49-F238E27FC236}">
                  <a16:creationId xmlns:a16="http://schemas.microsoft.com/office/drawing/2014/main" id="{BA5A9E3E-CC5E-8231-C022-80270FBED402}"/>
                </a:ext>
              </a:extLst>
            </p:cNvPr>
            <p:cNvCxnSpPr/>
            <p:nvPr/>
          </p:nvCxnSpPr>
          <p:spPr bwMode="gray">
            <a:xfrm>
              <a:off x="3533444" y="4692635"/>
              <a:ext cx="0" cy="118875"/>
            </a:xfrm>
            <a:prstGeom prst="line">
              <a:avLst/>
            </a:prstGeom>
            <a:ln w="28575">
              <a:solidFill>
                <a:srgbClr val="616161"/>
              </a:solidFill>
            </a:ln>
          </p:spPr>
          <p:style>
            <a:lnRef idx="1">
              <a:schemeClr val="accent1"/>
            </a:lnRef>
            <a:fillRef idx="0">
              <a:schemeClr val="accent1"/>
            </a:fillRef>
            <a:effectRef idx="0">
              <a:schemeClr val="accent1"/>
            </a:effectRef>
            <a:fontRef idx="minor">
              <a:schemeClr val="tx1"/>
            </a:fontRef>
          </p:style>
        </p:cxnSp>
        <p:cxnSp>
          <p:nvCxnSpPr>
            <p:cNvPr id="94" name="Straight Connector 93">
              <a:extLst>
                <a:ext uri="{FF2B5EF4-FFF2-40B4-BE49-F238E27FC236}">
                  <a16:creationId xmlns:a16="http://schemas.microsoft.com/office/drawing/2014/main" id="{F03A92ED-DEAF-A959-30E1-8D6A889A440A}"/>
                </a:ext>
              </a:extLst>
            </p:cNvPr>
            <p:cNvCxnSpPr/>
            <p:nvPr/>
          </p:nvCxnSpPr>
          <p:spPr bwMode="gray">
            <a:xfrm>
              <a:off x="6086019" y="4692635"/>
              <a:ext cx="0" cy="118875"/>
            </a:xfrm>
            <a:prstGeom prst="line">
              <a:avLst/>
            </a:prstGeom>
            <a:ln w="28575">
              <a:solidFill>
                <a:srgbClr val="616161"/>
              </a:solidFill>
            </a:ln>
          </p:spPr>
          <p:style>
            <a:lnRef idx="1">
              <a:schemeClr val="accent1"/>
            </a:lnRef>
            <a:fillRef idx="0">
              <a:schemeClr val="accent1"/>
            </a:fillRef>
            <a:effectRef idx="0">
              <a:schemeClr val="accent1"/>
            </a:effectRef>
            <a:fontRef idx="minor">
              <a:schemeClr val="tx1"/>
            </a:fontRef>
          </p:style>
        </p:cxnSp>
        <p:cxnSp>
          <p:nvCxnSpPr>
            <p:cNvPr id="97" name="Straight Arrow Connector 96">
              <a:extLst>
                <a:ext uri="{FF2B5EF4-FFF2-40B4-BE49-F238E27FC236}">
                  <a16:creationId xmlns:a16="http://schemas.microsoft.com/office/drawing/2014/main" id="{39AAA517-E67B-2F43-2E3E-6A2DB3BAE03A}"/>
                </a:ext>
              </a:extLst>
            </p:cNvPr>
            <p:cNvCxnSpPr>
              <a:cxnSpLocks/>
            </p:cNvCxnSpPr>
            <p:nvPr/>
          </p:nvCxnSpPr>
          <p:spPr bwMode="gray">
            <a:xfrm>
              <a:off x="980872" y="4750234"/>
              <a:ext cx="10210303" cy="0"/>
            </a:xfrm>
            <a:prstGeom prst="straightConnector1">
              <a:avLst/>
            </a:prstGeom>
            <a:ln w="28575">
              <a:solidFill>
                <a:srgbClr val="616161"/>
              </a:solidFill>
              <a:headEnd type="oval"/>
              <a:tailEnd type="oval"/>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FB866292-50B5-3B2D-840D-BCE83E6EA70D}"/>
                </a:ext>
              </a:extLst>
            </p:cNvPr>
            <p:cNvCxnSpPr/>
            <p:nvPr/>
          </p:nvCxnSpPr>
          <p:spPr bwMode="gray">
            <a:xfrm>
              <a:off x="8572546" y="4692635"/>
              <a:ext cx="0" cy="118875"/>
            </a:xfrm>
            <a:prstGeom prst="line">
              <a:avLst/>
            </a:prstGeom>
            <a:ln w="28575">
              <a:solidFill>
                <a:srgbClr val="616161"/>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63386177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4F87FBF-4433-A104-96E4-A37F776D157E}"/>
            </a:ext>
          </a:extLst>
        </p:cNvPr>
        <p:cNvGrpSpPr/>
        <p:nvPr/>
      </p:nvGrpSpPr>
      <p:grpSpPr>
        <a:xfrm>
          <a:off x="0" y="0"/>
          <a:ext cx="0" cy="0"/>
          <a:chOff x="0" y="0"/>
          <a:chExt cx="0" cy="0"/>
        </a:xfrm>
      </p:grpSpPr>
      <p:sp>
        <p:nvSpPr>
          <p:cNvPr id="18" name="Text Placeholder 17">
            <a:extLst>
              <a:ext uri="{FF2B5EF4-FFF2-40B4-BE49-F238E27FC236}">
                <a16:creationId xmlns:a16="http://schemas.microsoft.com/office/drawing/2014/main" id="{7377521B-CA39-3A44-253C-3DF03B5BE71E}"/>
              </a:ext>
            </a:extLst>
          </p:cNvPr>
          <p:cNvSpPr>
            <a:spLocks noGrp="1"/>
          </p:cNvSpPr>
          <p:nvPr>
            <p:ph type="body" sz="quarter" idx="12"/>
          </p:nvPr>
        </p:nvSpPr>
        <p:spPr>
          <a:xfrm>
            <a:off x="379648" y="1589268"/>
            <a:ext cx="1818000" cy="2070233"/>
          </a:xfrm>
          <a:solidFill>
            <a:schemeClr val="accent1">
              <a:lumMod val="20000"/>
              <a:lumOff val="80000"/>
            </a:schemeClr>
          </a:solidFill>
          <a:ln w="12700">
            <a:solidFill>
              <a:schemeClr val="accent1"/>
            </a:solidFill>
          </a:ln>
        </p:spPr>
        <p:txBody>
          <a:bodyPr/>
          <a:lstStyle/>
          <a:p>
            <a:pPr algn="l"/>
            <a:endParaRPr lang="en-US" sz="1600">
              <a:solidFill>
                <a:sysClr val="windowText" lastClr="000000"/>
              </a:solidFill>
              <a:effectLst/>
              <a:latin typeface="Segoe UI" panose="020B0502040204020203" pitchFamily="34" charset="0"/>
            </a:endParaRPr>
          </a:p>
          <a:p>
            <a:pPr algn="l"/>
            <a:endParaRPr lang="en-US" sz="1600">
              <a:solidFill>
                <a:sysClr val="windowText" lastClr="000000"/>
              </a:solidFill>
              <a:latin typeface="Segoe UI" panose="020B0502040204020203" pitchFamily="34" charset="0"/>
            </a:endParaRPr>
          </a:p>
          <a:p>
            <a:pPr algn="l"/>
            <a:endParaRPr lang="en-US" sz="1600">
              <a:solidFill>
                <a:sysClr val="windowText" lastClr="000000"/>
              </a:solidFill>
              <a:effectLst/>
              <a:latin typeface="Segoe UI" panose="020B0502040204020203" pitchFamily="34" charset="0"/>
            </a:endParaRPr>
          </a:p>
          <a:p>
            <a:pPr algn="l"/>
            <a:endParaRPr lang="en-US" sz="1600">
              <a:solidFill>
                <a:sysClr val="windowText" lastClr="000000"/>
              </a:solidFill>
              <a:effectLst/>
              <a:latin typeface="Segoe UI" panose="020B0502040204020203" pitchFamily="34" charset="0"/>
            </a:endParaRPr>
          </a:p>
          <a:p>
            <a:r>
              <a:rPr lang="en-US" sz="1600">
                <a:solidFill>
                  <a:sysClr val="windowText" lastClr="000000"/>
                </a:solidFill>
                <a:effectLst/>
                <a:latin typeface="Segoe UI" panose="020B0502040204020203" pitchFamily="34" charset="0"/>
              </a:rPr>
              <a:t>SCD30</a:t>
            </a:r>
            <a:br>
              <a:rPr lang="en-US" sz="1600">
                <a:solidFill>
                  <a:sysClr val="windowText" lastClr="000000"/>
                </a:solidFill>
                <a:effectLst/>
                <a:latin typeface="Segoe UI" panose="020B0502040204020203" pitchFamily="34" charset="0"/>
              </a:rPr>
            </a:br>
            <a:r>
              <a:rPr lang="en-US" sz="1600" b="0">
                <a:solidFill>
                  <a:sysClr val="windowText" lastClr="000000"/>
                </a:solidFill>
                <a:latin typeface="Segoe UI" panose="020B0502040204020203" pitchFamily="34" charset="0"/>
              </a:rPr>
              <a:t>Best-in-class NDIR CO</a:t>
            </a:r>
            <a:r>
              <a:rPr lang="en-US" sz="1600" b="0" baseline="-25000">
                <a:solidFill>
                  <a:sysClr val="windowText" lastClr="000000"/>
                </a:solidFill>
                <a:latin typeface="Segoe UI" panose="020B0502040204020203" pitchFamily="34" charset="0"/>
              </a:rPr>
              <a:t>2</a:t>
            </a:r>
            <a:r>
              <a:rPr lang="en-US" sz="1600" b="0">
                <a:solidFill>
                  <a:sysClr val="windowText" lastClr="000000"/>
                </a:solidFill>
                <a:latin typeface="Segoe UI" panose="020B0502040204020203" pitchFamily="34" charset="0"/>
              </a:rPr>
              <a:t> sensor</a:t>
            </a:r>
          </a:p>
        </p:txBody>
      </p:sp>
      <p:sp>
        <p:nvSpPr>
          <p:cNvPr id="15" name="Text Placeholder 17">
            <a:extLst>
              <a:ext uri="{FF2B5EF4-FFF2-40B4-BE49-F238E27FC236}">
                <a16:creationId xmlns:a16="http://schemas.microsoft.com/office/drawing/2014/main" id="{CBA9F4C4-9F70-C65D-8C9F-65C993C473F0}"/>
              </a:ext>
            </a:extLst>
          </p:cNvPr>
          <p:cNvSpPr txBox="1">
            <a:spLocks/>
          </p:cNvSpPr>
          <p:nvPr/>
        </p:nvSpPr>
        <p:spPr bwMode="gray">
          <a:xfrm>
            <a:off x="379648" y="3740883"/>
            <a:ext cx="1805800" cy="2070000"/>
          </a:xfrm>
          <a:prstGeom prst="rect">
            <a:avLst/>
          </a:prstGeom>
          <a:solidFill>
            <a:schemeClr val="accent1">
              <a:lumMod val="20000"/>
              <a:lumOff val="80000"/>
            </a:schemeClr>
          </a:solidFill>
          <a:ln w="12700">
            <a:solidFill>
              <a:schemeClr val="accent1"/>
            </a:solidFill>
          </a:ln>
        </p:spPr>
        <p:txBody>
          <a:bodyPr vert="horz" lIns="144000" tIns="108000" rIns="144000" bIns="108000" rtlCol="0" anchor="ctr">
            <a:noAutofit/>
          </a:bodyPr>
          <a:lstStyle>
            <a:lvl1pPr marL="0" indent="0" algn="ctr" defTabSz="914400" rtl="0" eaLnBrk="1" latinLnBrk="0" hangingPunct="1">
              <a:lnSpc>
                <a:spcPct val="100000"/>
              </a:lnSpc>
              <a:spcBef>
                <a:spcPts val="0"/>
              </a:spcBef>
              <a:spcAft>
                <a:spcPts val="0"/>
              </a:spcAft>
              <a:buClr>
                <a:schemeClr val="accent1"/>
              </a:buClr>
              <a:buFont typeface="Arial" panose="020B0604020202020204" pitchFamily="34" charset="0"/>
              <a:buNone/>
              <a:defRPr sz="4000" b="1" kern="1200">
                <a:solidFill>
                  <a:schemeClr val="bg1"/>
                </a:solidFill>
                <a:latin typeface="+mn-lt"/>
                <a:ea typeface="+mn-ea"/>
                <a:cs typeface="+mn-cs"/>
              </a:defRPr>
            </a:lvl1pPr>
            <a:lvl2pPr marL="360000" indent="-18000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a:solidFill>
                  <a:schemeClr val="tx1"/>
                </a:solidFill>
                <a:latin typeface="+mn-lt"/>
                <a:ea typeface="+mn-ea"/>
                <a:cs typeface="+mn-cs"/>
              </a:defRPr>
            </a:lvl2pPr>
            <a:lvl3pPr marL="540000" indent="-180000" algn="l" defTabSz="914400" rtl="0" eaLnBrk="1" latinLnBrk="0" hangingPunct="1">
              <a:lnSpc>
                <a:spcPct val="100000"/>
              </a:lnSpc>
              <a:spcBef>
                <a:spcPts val="0"/>
              </a:spcBef>
              <a:spcAft>
                <a:spcPts val="600"/>
              </a:spcAft>
              <a:buClr>
                <a:srgbClr val="BDBDBD"/>
              </a:buClr>
              <a:buFont typeface="Arial" panose="020B0604020202020204" pitchFamily="34" charset="0"/>
              <a:buChar char="•"/>
              <a:defRPr sz="1600" kern="1200">
                <a:solidFill>
                  <a:schemeClr val="tx1"/>
                </a:solidFill>
                <a:latin typeface="+mn-lt"/>
                <a:ea typeface="+mn-ea"/>
                <a:cs typeface="+mn-cs"/>
              </a:defRPr>
            </a:lvl3pPr>
            <a:lvl4pPr marL="720000" indent="-180000" algn="l" defTabSz="914400" rtl="0" eaLnBrk="1" latinLnBrk="0" hangingPunct="1">
              <a:lnSpc>
                <a:spcPct val="100000"/>
              </a:lnSpc>
              <a:spcBef>
                <a:spcPts val="0"/>
              </a:spcBef>
              <a:spcAft>
                <a:spcPts val="600"/>
              </a:spcAft>
              <a:buClr>
                <a:srgbClr val="BDBDBD"/>
              </a:buClr>
              <a:buFont typeface="Arial" panose="020B0604020202020204" pitchFamily="34" charset="0"/>
              <a:buChar char="•"/>
              <a:defRPr sz="1600" kern="1200">
                <a:solidFill>
                  <a:schemeClr val="tx1"/>
                </a:solidFill>
                <a:latin typeface="+mn-lt"/>
                <a:ea typeface="+mn-ea"/>
                <a:cs typeface="+mn-cs"/>
              </a:defRPr>
            </a:lvl4pPr>
            <a:lvl5pPr marL="900000" indent="-180000" algn="l" defTabSz="914400" rtl="0" eaLnBrk="1" latinLnBrk="0" hangingPunct="1">
              <a:lnSpc>
                <a:spcPct val="100000"/>
              </a:lnSpc>
              <a:spcBef>
                <a:spcPts val="0"/>
              </a:spcBef>
              <a:spcAft>
                <a:spcPts val="600"/>
              </a:spcAft>
              <a:buClr>
                <a:srgbClr val="BDBDBD"/>
              </a:buClr>
              <a:buFont typeface="Arial" panose="020B0604020202020204" pitchFamily="34" charset="0"/>
              <a:buChar char="•"/>
              <a:defRPr sz="1600" kern="1200">
                <a:solidFill>
                  <a:schemeClr val="tx1"/>
                </a:solidFill>
                <a:latin typeface="+mn-lt"/>
                <a:ea typeface="+mn-ea"/>
                <a:cs typeface="+mn-cs"/>
              </a:defRPr>
            </a:lvl5pPr>
            <a:lvl6pPr marL="1080000" indent="-180000" algn="l" defTabSz="914400" rtl="0" eaLnBrk="1" latinLnBrk="0" hangingPunct="1">
              <a:lnSpc>
                <a:spcPct val="100000"/>
              </a:lnSpc>
              <a:spcBef>
                <a:spcPts val="0"/>
              </a:spcBef>
              <a:spcAft>
                <a:spcPts val="600"/>
              </a:spcAft>
              <a:buClr>
                <a:srgbClr val="BDBDBD"/>
              </a:buClr>
              <a:buFont typeface="Arial" panose="020B0604020202020204" pitchFamily="34" charset="0"/>
              <a:buChar char="•"/>
              <a:defRPr sz="1600" kern="1200">
                <a:solidFill>
                  <a:schemeClr val="tx1"/>
                </a:solidFill>
                <a:latin typeface="+mn-lt"/>
                <a:ea typeface="+mn-ea"/>
                <a:cs typeface="+mn-cs"/>
              </a:defRPr>
            </a:lvl6pPr>
            <a:lvl7pPr marL="1260000" indent="-180000" algn="l" defTabSz="914400" rtl="0" eaLnBrk="1" latinLnBrk="0" hangingPunct="1">
              <a:lnSpc>
                <a:spcPct val="100000"/>
              </a:lnSpc>
              <a:spcBef>
                <a:spcPts val="0"/>
              </a:spcBef>
              <a:spcAft>
                <a:spcPts val="600"/>
              </a:spcAft>
              <a:buClr>
                <a:srgbClr val="BDBDBD"/>
              </a:buClr>
              <a:buFont typeface="Arial" panose="020B0604020202020204" pitchFamily="34" charset="0"/>
              <a:buChar char="•"/>
              <a:defRPr sz="1600" kern="1200">
                <a:solidFill>
                  <a:schemeClr val="tx1"/>
                </a:solidFill>
                <a:latin typeface="+mn-lt"/>
                <a:ea typeface="+mn-ea"/>
                <a:cs typeface="+mn-cs"/>
              </a:defRPr>
            </a:lvl7pPr>
            <a:lvl8pPr marL="1440000" indent="-180000" algn="l" defTabSz="914400" rtl="0" eaLnBrk="1" latinLnBrk="0" hangingPunct="1">
              <a:lnSpc>
                <a:spcPct val="100000"/>
              </a:lnSpc>
              <a:spcBef>
                <a:spcPts val="0"/>
              </a:spcBef>
              <a:spcAft>
                <a:spcPts val="600"/>
              </a:spcAft>
              <a:buClr>
                <a:srgbClr val="BDBDBD"/>
              </a:buClr>
              <a:buFont typeface="Arial" panose="020B0604020202020204" pitchFamily="34" charset="0"/>
              <a:buChar char="•"/>
              <a:defRPr sz="1600" kern="1200">
                <a:solidFill>
                  <a:schemeClr val="tx1"/>
                </a:solidFill>
                <a:latin typeface="+mn-lt"/>
                <a:ea typeface="+mn-ea"/>
                <a:cs typeface="+mn-cs"/>
              </a:defRPr>
            </a:lvl8pPr>
            <a:lvl9pPr marL="1620000" indent="-180000" algn="l" defTabSz="914400" rtl="0" eaLnBrk="1" latinLnBrk="0" hangingPunct="1">
              <a:lnSpc>
                <a:spcPct val="100000"/>
              </a:lnSpc>
              <a:spcBef>
                <a:spcPts val="0"/>
              </a:spcBef>
              <a:spcAft>
                <a:spcPts val="600"/>
              </a:spcAft>
              <a:buClr>
                <a:srgbClr val="BDBDBD"/>
              </a:buClr>
              <a:buFont typeface="Arial" panose="020B0604020202020204" pitchFamily="34" charset="0"/>
              <a:buChar char="•"/>
              <a:defRPr sz="1600" kern="1200">
                <a:solidFill>
                  <a:schemeClr val="tx1"/>
                </a:solidFill>
                <a:latin typeface="+mn-lt"/>
                <a:ea typeface="+mn-ea"/>
                <a:cs typeface="+mn-cs"/>
              </a:defRPr>
            </a:lvl9pPr>
          </a:lstStyle>
          <a:p>
            <a:pPr algn="l"/>
            <a:endParaRPr lang="en-US" sz="1600">
              <a:solidFill>
                <a:sysClr val="windowText" lastClr="000000"/>
              </a:solidFill>
              <a:latin typeface="Segoe UI" panose="020B0502040204020203" pitchFamily="34" charset="0"/>
            </a:endParaRPr>
          </a:p>
          <a:p>
            <a:pPr algn="l"/>
            <a:endParaRPr lang="en-US" sz="1600">
              <a:solidFill>
                <a:sysClr val="windowText" lastClr="000000"/>
              </a:solidFill>
              <a:latin typeface="Segoe UI" panose="020B0502040204020203" pitchFamily="34" charset="0"/>
            </a:endParaRPr>
          </a:p>
          <a:p>
            <a:pPr algn="l"/>
            <a:endParaRPr lang="en-US" sz="1600">
              <a:solidFill>
                <a:sysClr val="windowText" lastClr="000000"/>
              </a:solidFill>
              <a:latin typeface="Segoe UI" panose="020B0502040204020203" pitchFamily="34" charset="0"/>
            </a:endParaRPr>
          </a:p>
          <a:p>
            <a:endParaRPr lang="en-US" sz="1600">
              <a:solidFill>
                <a:sysClr val="windowText" lastClr="000000"/>
              </a:solidFill>
              <a:latin typeface="Segoe UI" panose="020B0502040204020203" pitchFamily="34" charset="0"/>
            </a:endParaRPr>
          </a:p>
          <a:p>
            <a:r>
              <a:rPr lang="en-US" sz="1600">
                <a:solidFill>
                  <a:sysClr val="windowText" lastClr="000000"/>
                </a:solidFill>
                <a:latin typeface="Segoe UI" panose="020B0502040204020203" pitchFamily="34" charset="0"/>
              </a:rPr>
              <a:t>STCC4</a:t>
            </a:r>
            <a:br>
              <a:rPr lang="en-US" sz="1600">
                <a:solidFill>
                  <a:sysClr val="windowText" lastClr="000000"/>
                </a:solidFill>
                <a:latin typeface="Segoe UI" panose="020B0502040204020203" pitchFamily="34" charset="0"/>
              </a:rPr>
            </a:br>
            <a:r>
              <a:rPr lang="en-US" sz="1600" b="0">
                <a:solidFill>
                  <a:sysClr val="windowText" lastClr="000000"/>
                </a:solidFill>
                <a:latin typeface="Segoe UI" panose="020B0502040204020203" pitchFamily="34" charset="0"/>
              </a:rPr>
              <a:t>Low-concentration </a:t>
            </a:r>
          </a:p>
          <a:p>
            <a:r>
              <a:rPr lang="en-US" sz="1600" b="0">
                <a:solidFill>
                  <a:sysClr val="windowText" lastClr="000000"/>
                </a:solidFill>
                <a:latin typeface="Segoe UI" panose="020B0502040204020203" pitchFamily="34" charset="0"/>
              </a:rPr>
              <a:t>TC CO</a:t>
            </a:r>
            <a:r>
              <a:rPr lang="en-US" sz="1600" b="0" baseline="-25000">
                <a:solidFill>
                  <a:sysClr val="windowText" lastClr="000000"/>
                </a:solidFill>
                <a:latin typeface="Segoe UI" panose="020B0502040204020203" pitchFamily="34" charset="0"/>
              </a:rPr>
              <a:t>2</a:t>
            </a:r>
            <a:r>
              <a:rPr lang="en-US" sz="1600" b="0">
                <a:solidFill>
                  <a:sysClr val="windowText" lastClr="000000"/>
                </a:solidFill>
                <a:latin typeface="Segoe UI" panose="020B0502040204020203" pitchFamily="34" charset="0"/>
              </a:rPr>
              <a:t> sensor</a:t>
            </a:r>
          </a:p>
        </p:txBody>
      </p:sp>
      <p:sp>
        <p:nvSpPr>
          <p:cNvPr id="17" name="Title 16">
            <a:extLst>
              <a:ext uri="{FF2B5EF4-FFF2-40B4-BE49-F238E27FC236}">
                <a16:creationId xmlns:a16="http://schemas.microsoft.com/office/drawing/2014/main" id="{2921A8ED-F098-E207-B4D8-114AC483D4B7}"/>
              </a:ext>
            </a:extLst>
          </p:cNvPr>
          <p:cNvSpPr>
            <a:spLocks noGrp="1"/>
          </p:cNvSpPr>
          <p:nvPr>
            <p:ph type="ctrTitle"/>
          </p:nvPr>
        </p:nvSpPr>
        <p:spPr/>
        <p:txBody>
          <a:bodyPr/>
          <a:lstStyle/>
          <a:p>
            <a:r>
              <a:rPr lang="en-US"/>
              <a:t>Sensirion CO</a:t>
            </a:r>
            <a:r>
              <a:rPr lang="en-US" baseline="-25000"/>
              <a:t>2</a:t>
            </a:r>
            <a:r>
              <a:rPr lang="en-US"/>
              <a:t> Sensing Portfolio</a:t>
            </a:r>
          </a:p>
        </p:txBody>
      </p:sp>
      <p:sp>
        <p:nvSpPr>
          <p:cNvPr id="21" name="Text Placeholder 20">
            <a:extLst>
              <a:ext uri="{FF2B5EF4-FFF2-40B4-BE49-F238E27FC236}">
                <a16:creationId xmlns:a16="http://schemas.microsoft.com/office/drawing/2014/main" id="{864A858B-11EC-71DB-34C4-34A40D1AC2D3}"/>
              </a:ext>
            </a:extLst>
          </p:cNvPr>
          <p:cNvSpPr>
            <a:spLocks noGrp="1"/>
          </p:cNvSpPr>
          <p:nvPr>
            <p:ph type="body" sz="quarter" idx="22"/>
          </p:nvPr>
        </p:nvSpPr>
        <p:spPr>
          <a:xfrm>
            <a:off x="515937" y="845582"/>
            <a:ext cx="10087586" cy="615553"/>
          </a:xfrm>
        </p:spPr>
        <p:txBody>
          <a:bodyPr vert="horz" wrap="square" lIns="0" tIns="0" rIns="0" bIns="0" rtlCol="0" anchor="t">
            <a:spAutoFit/>
          </a:bodyPr>
          <a:lstStyle/>
          <a:p>
            <a:r>
              <a:rPr lang="en-US"/>
              <a:t>The right sensor for every application</a:t>
            </a:r>
          </a:p>
        </p:txBody>
      </p:sp>
      <p:pic>
        <p:nvPicPr>
          <p:cNvPr id="22" name="Picture 21" descr="A close-up of a circuit board&#10;&#10;Description automatically generated">
            <a:extLst>
              <a:ext uri="{FF2B5EF4-FFF2-40B4-BE49-F238E27FC236}">
                <a16:creationId xmlns:a16="http://schemas.microsoft.com/office/drawing/2014/main" id="{B9F5415A-1006-6B09-FCED-B15925D6DFF6}"/>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l="39152" t="21492" r="38467" b="43880"/>
          <a:stretch/>
        </p:blipFill>
        <p:spPr>
          <a:xfrm>
            <a:off x="669604" y="1675143"/>
            <a:ext cx="1053471" cy="1018687"/>
          </a:xfrm>
          <a:custGeom>
            <a:avLst/>
            <a:gdLst>
              <a:gd name="connsiteX0" fmla="*/ 654908 w 1309816"/>
              <a:gd name="connsiteY0" fmla="*/ 0 h 1266568"/>
              <a:gd name="connsiteX1" fmla="*/ 1309816 w 1309816"/>
              <a:gd name="connsiteY1" fmla="*/ 633284 h 1266568"/>
              <a:gd name="connsiteX2" fmla="*/ 654908 w 1309816"/>
              <a:gd name="connsiteY2" fmla="*/ 1266568 h 1266568"/>
              <a:gd name="connsiteX3" fmla="*/ 0 w 1309816"/>
              <a:gd name="connsiteY3" fmla="*/ 633284 h 1266568"/>
              <a:gd name="connsiteX4" fmla="*/ 654908 w 1309816"/>
              <a:gd name="connsiteY4" fmla="*/ 0 h 12665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9816" h="1266568">
                <a:moveTo>
                  <a:pt x="654908" y="0"/>
                </a:moveTo>
                <a:cubicBezTo>
                  <a:pt x="1016604" y="0"/>
                  <a:pt x="1309816" y="283531"/>
                  <a:pt x="1309816" y="633284"/>
                </a:cubicBezTo>
                <a:cubicBezTo>
                  <a:pt x="1309816" y="983037"/>
                  <a:pt x="1016604" y="1266568"/>
                  <a:pt x="654908" y="1266568"/>
                </a:cubicBezTo>
                <a:cubicBezTo>
                  <a:pt x="293212" y="1266568"/>
                  <a:pt x="0" y="983037"/>
                  <a:pt x="0" y="633284"/>
                </a:cubicBezTo>
                <a:cubicBezTo>
                  <a:pt x="0" y="283531"/>
                  <a:pt x="293212" y="0"/>
                  <a:pt x="654908" y="0"/>
                </a:cubicBezTo>
                <a:close/>
              </a:path>
            </a:pathLst>
          </a:custGeom>
        </p:spPr>
      </p:pic>
      <p:sp>
        <p:nvSpPr>
          <p:cNvPr id="2" name="Footer Placeholder 4">
            <a:extLst>
              <a:ext uri="{FF2B5EF4-FFF2-40B4-BE49-F238E27FC236}">
                <a16:creationId xmlns:a16="http://schemas.microsoft.com/office/drawing/2014/main" id="{1E7AEEEF-44DF-BD4C-5036-9132944ED0CA}"/>
              </a:ext>
            </a:extLst>
          </p:cNvPr>
          <p:cNvSpPr txBox="1">
            <a:spLocks/>
          </p:cNvSpPr>
          <p:nvPr/>
        </p:nvSpPr>
        <p:spPr>
          <a:xfrm>
            <a:off x="1249680" y="6310083"/>
            <a:ext cx="2746800" cy="153888"/>
          </a:xfrm>
          <a:prstGeom prst="rect">
            <a:avLst/>
          </a:prstGeom>
        </p:spPr>
        <p:txBody>
          <a:bodyPr vert="horz" lIns="0" tIns="0" rIns="0" bIns="0" rtlCol="0" anchor="ctr">
            <a:spAutoFit/>
          </a:bodyPr>
          <a:lstStyle>
            <a:defPPr>
              <a:defRPr lang="de-DE"/>
            </a:defPPr>
            <a:lvl1pPr>
              <a:lnSpc>
                <a:spcPct val="100000"/>
              </a:lnSpc>
              <a:defRPr sz="1000">
                <a:solidFill>
                  <a:schemeClr val="accent2"/>
                </a:solidFil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t>© Copyright </a:t>
            </a:r>
            <a:r>
              <a:rPr lang="en-US" err="1"/>
              <a:t>Sensirion</a:t>
            </a:r>
            <a:r>
              <a:rPr lang="en-US"/>
              <a:t>, Switzerland</a:t>
            </a:r>
          </a:p>
        </p:txBody>
      </p:sp>
      <p:sp>
        <p:nvSpPr>
          <p:cNvPr id="3" name="Slide Number Placeholder 5">
            <a:extLst>
              <a:ext uri="{FF2B5EF4-FFF2-40B4-BE49-F238E27FC236}">
                <a16:creationId xmlns:a16="http://schemas.microsoft.com/office/drawing/2014/main" id="{7E4D4E34-AA72-5837-DD96-58C60E7429B5}"/>
              </a:ext>
            </a:extLst>
          </p:cNvPr>
          <p:cNvSpPr txBox="1">
            <a:spLocks/>
          </p:cNvSpPr>
          <p:nvPr/>
        </p:nvSpPr>
        <p:spPr>
          <a:xfrm>
            <a:off x="515937" y="6310083"/>
            <a:ext cx="680403" cy="153888"/>
          </a:xfrm>
          <a:prstGeom prst="rect">
            <a:avLst/>
          </a:prstGeom>
        </p:spPr>
        <p:txBody>
          <a:bodyPr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1E691A1-F3A6-4574-B226-B412272B38A6}" type="slidenum">
              <a:rPr lang="en-US" sz="1000" smtClean="0">
                <a:solidFill>
                  <a:srgbClr val="6F6F6F"/>
                </a:solidFill>
              </a:rPr>
              <a:pPr/>
              <a:t>15</a:t>
            </a:fld>
            <a:endParaRPr lang="en-US" sz="1000">
              <a:solidFill>
                <a:srgbClr val="6F6F6F"/>
              </a:solidFill>
            </a:endParaRPr>
          </a:p>
        </p:txBody>
      </p:sp>
      <p:pic>
        <p:nvPicPr>
          <p:cNvPr id="9" name="Picture 8" descr="A close-up of a silver square&#10;&#10;Description automatically generated">
            <a:extLst>
              <a:ext uri="{FF2B5EF4-FFF2-40B4-BE49-F238E27FC236}">
                <a16:creationId xmlns:a16="http://schemas.microsoft.com/office/drawing/2014/main" id="{DD174D19-C716-43DC-7266-988A24290B5C}"/>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20309" y="3552393"/>
            <a:ext cx="2353856" cy="1471160"/>
          </a:xfrm>
          <a:prstGeom prst="rect">
            <a:avLst/>
          </a:prstGeom>
        </p:spPr>
      </p:pic>
      <p:grpSp>
        <p:nvGrpSpPr>
          <p:cNvPr id="65" name="Group 64">
            <a:extLst>
              <a:ext uri="{FF2B5EF4-FFF2-40B4-BE49-F238E27FC236}">
                <a16:creationId xmlns:a16="http://schemas.microsoft.com/office/drawing/2014/main" id="{788DC683-CD45-8181-012C-8764E5721FF3}"/>
              </a:ext>
            </a:extLst>
          </p:cNvPr>
          <p:cNvGrpSpPr/>
          <p:nvPr/>
        </p:nvGrpSpPr>
        <p:grpSpPr>
          <a:xfrm>
            <a:off x="9372115" y="3552393"/>
            <a:ext cx="2352601" cy="2258490"/>
            <a:chOff x="5679326" y="3552393"/>
            <a:chExt cx="2352601" cy="2258490"/>
          </a:xfrm>
        </p:grpSpPr>
        <p:sp>
          <p:nvSpPr>
            <p:cNvPr id="16" name="Text Placeholder 17">
              <a:extLst>
                <a:ext uri="{FF2B5EF4-FFF2-40B4-BE49-F238E27FC236}">
                  <a16:creationId xmlns:a16="http://schemas.microsoft.com/office/drawing/2014/main" id="{24722C23-E0C6-C589-7E85-D680CA7A7AEB}"/>
                </a:ext>
              </a:extLst>
            </p:cNvPr>
            <p:cNvSpPr txBox="1">
              <a:spLocks/>
            </p:cNvSpPr>
            <p:nvPr/>
          </p:nvSpPr>
          <p:spPr bwMode="gray">
            <a:xfrm>
              <a:off x="5977090" y="3740883"/>
              <a:ext cx="1818000" cy="2070000"/>
            </a:xfrm>
            <a:prstGeom prst="rect">
              <a:avLst/>
            </a:prstGeom>
            <a:solidFill>
              <a:schemeClr val="accent1">
                <a:lumMod val="20000"/>
                <a:lumOff val="80000"/>
              </a:schemeClr>
            </a:solidFill>
            <a:ln w="12700">
              <a:solidFill>
                <a:schemeClr val="accent1"/>
              </a:solidFill>
            </a:ln>
          </p:spPr>
          <p:txBody>
            <a:bodyPr vert="horz" lIns="144000" tIns="108000" rIns="144000" bIns="108000" rtlCol="0" anchor="ctr">
              <a:noAutofit/>
            </a:bodyPr>
            <a:lstStyle>
              <a:lvl1pPr marL="0" indent="0" algn="ctr" defTabSz="914400" rtl="0" eaLnBrk="1" latinLnBrk="0" hangingPunct="1">
                <a:lnSpc>
                  <a:spcPct val="100000"/>
                </a:lnSpc>
                <a:spcBef>
                  <a:spcPts val="0"/>
                </a:spcBef>
                <a:spcAft>
                  <a:spcPts val="0"/>
                </a:spcAft>
                <a:buClr>
                  <a:schemeClr val="accent1"/>
                </a:buClr>
                <a:buFont typeface="Arial" panose="020B0604020202020204" pitchFamily="34" charset="0"/>
                <a:buNone/>
                <a:defRPr sz="4000" b="1" kern="1200">
                  <a:solidFill>
                    <a:schemeClr val="bg1"/>
                  </a:solidFill>
                  <a:latin typeface="+mn-lt"/>
                  <a:ea typeface="+mn-ea"/>
                  <a:cs typeface="+mn-cs"/>
                </a:defRPr>
              </a:lvl1pPr>
              <a:lvl2pPr marL="360000" indent="-18000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a:solidFill>
                    <a:schemeClr val="tx1"/>
                  </a:solidFill>
                  <a:latin typeface="+mn-lt"/>
                  <a:ea typeface="+mn-ea"/>
                  <a:cs typeface="+mn-cs"/>
                </a:defRPr>
              </a:lvl2pPr>
              <a:lvl3pPr marL="540000" indent="-180000" algn="l" defTabSz="914400" rtl="0" eaLnBrk="1" latinLnBrk="0" hangingPunct="1">
                <a:lnSpc>
                  <a:spcPct val="100000"/>
                </a:lnSpc>
                <a:spcBef>
                  <a:spcPts val="0"/>
                </a:spcBef>
                <a:spcAft>
                  <a:spcPts val="600"/>
                </a:spcAft>
                <a:buClr>
                  <a:srgbClr val="BDBDBD"/>
                </a:buClr>
                <a:buFont typeface="Arial" panose="020B0604020202020204" pitchFamily="34" charset="0"/>
                <a:buChar char="•"/>
                <a:defRPr sz="1600" kern="1200">
                  <a:solidFill>
                    <a:schemeClr val="tx1"/>
                  </a:solidFill>
                  <a:latin typeface="+mn-lt"/>
                  <a:ea typeface="+mn-ea"/>
                  <a:cs typeface="+mn-cs"/>
                </a:defRPr>
              </a:lvl3pPr>
              <a:lvl4pPr marL="720000" indent="-180000" algn="l" defTabSz="914400" rtl="0" eaLnBrk="1" latinLnBrk="0" hangingPunct="1">
                <a:lnSpc>
                  <a:spcPct val="100000"/>
                </a:lnSpc>
                <a:spcBef>
                  <a:spcPts val="0"/>
                </a:spcBef>
                <a:spcAft>
                  <a:spcPts val="600"/>
                </a:spcAft>
                <a:buClr>
                  <a:srgbClr val="BDBDBD"/>
                </a:buClr>
                <a:buFont typeface="Arial" panose="020B0604020202020204" pitchFamily="34" charset="0"/>
                <a:buChar char="•"/>
                <a:defRPr sz="1600" kern="1200">
                  <a:solidFill>
                    <a:schemeClr val="tx1"/>
                  </a:solidFill>
                  <a:latin typeface="+mn-lt"/>
                  <a:ea typeface="+mn-ea"/>
                  <a:cs typeface="+mn-cs"/>
                </a:defRPr>
              </a:lvl4pPr>
              <a:lvl5pPr marL="900000" indent="-180000" algn="l" defTabSz="914400" rtl="0" eaLnBrk="1" latinLnBrk="0" hangingPunct="1">
                <a:lnSpc>
                  <a:spcPct val="100000"/>
                </a:lnSpc>
                <a:spcBef>
                  <a:spcPts val="0"/>
                </a:spcBef>
                <a:spcAft>
                  <a:spcPts val="600"/>
                </a:spcAft>
                <a:buClr>
                  <a:srgbClr val="BDBDBD"/>
                </a:buClr>
                <a:buFont typeface="Arial" panose="020B0604020202020204" pitchFamily="34" charset="0"/>
                <a:buChar char="•"/>
                <a:defRPr sz="1600" kern="1200">
                  <a:solidFill>
                    <a:schemeClr val="tx1"/>
                  </a:solidFill>
                  <a:latin typeface="+mn-lt"/>
                  <a:ea typeface="+mn-ea"/>
                  <a:cs typeface="+mn-cs"/>
                </a:defRPr>
              </a:lvl5pPr>
              <a:lvl6pPr marL="1080000" indent="-180000" algn="l" defTabSz="914400" rtl="0" eaLnBrk="1" latinLnBrk="0" hangingPunct="1">
                <a:lnSpc>
                  <a:spcPct val="100000"/>
                </a:lnSpc>
                <a:spcBef>
                  <a:spcPts val="0"/>
                </a:spcBef>
                <a:spcAft>
                  <a:spcPts val="600"/>
                </a:spcAft>
                <a:buClr>
                  <a:srgbClr val="BDBDBD"/>
                </a:buClr>
                <a:buFont typeface="Arial" panose="020B0604020202020204" pitchFamily="34" charset="0"/>
                <a:buChar char="•"/>
                <a:defRPr sz="1600" kern="1200">
                  <a:solidFill>
                    <a:schemeClr val="tx1"/>
                  </a:solidFill>
                  <a:latin typeface="+mn-lt"/>
                  <a:ea typeface="+mn-ea"/>
                  <a:cs typeface="+mn-cs"/>
                </a:defRPr>
              </a:lvl6pPr>
              <a:lvl7pPr marL="1260000" indent="-180000" algn="l" defTabSz="914400" rtl="0" eaLnBrk="1" latinLnBrk="0" hangingPunct="1">
                <a:lnSpc>
                  <a:spcPct val="100000"/>
                </a:lnSpc>
                <a:spcBef>
                  <a:spcPts val="0"/>
                </a:spcBef>
                <a:spcAft>
                  <a:spcPts val="600"/>
                </a:spcAft>
                <a:buClr>
                  <a:srgbClr val="BDBDBD"/>
                </a:buClr>
                <a:buFont typeface="Arial" panose="020B0604020202020204" pitchFamily="34" charset="0"/>
                <a:buChar char="•"/>
                <a:defRPr sz="1600" kern="1200">
                  <a:solidFill>
                    <a:schemeClr val="tx1"/>
                  </a:solidFill>
                  <a:latin typeface="+mn-lt"/>
                  <a:ea typeface="+mn-ea"/>
                  <a:cs typeface="+mn-cs"/>
                </a:defRPr>
              </a:lvl7pPr>
              <a:lvl8pPr marL="1440000" indent="-180000" algn="l" defTabSz="914400" rtl="0" eaLnBrk="1" latinLnBrk="0" hangingPunct="1">
                <a:lnSpc>
                  <a:spcPct val="100000"/>
                </a:lnSpc>
                <a:spcBef>
                  <a:spcPts val="0"/>
                </a:spcBef>
                <a:spcAft>
                  <a:spcPts val="600"/>
                </a:spcAft>
                <a:buClr>
                  <a:srgbClr val="BDBDBD"/>
                </a:buClr>
                <a:buFont typeface="Arial" panose="020B0604020202020204" pitchFamily="34" charset="0"/>
                <a:buChar char="•"/>
                <a:defRPr sz="1600" kern="1200">
                  <a:solidFill>
                    <a:schemeClr val="tx1"/>
                  </a:solidFill>
                  <a:latin typeface="+mn-lt"/>
                  <a:ea typeface="+mn-ea"/>
                  <a:cs typeface="+mn-cs"/>
                </a:defRPr>
              </a:lvl8pPr>
              <a:lvl9pPr marL="1620000" indent="-180000" algn="l" defTabSz="914400" rtl="0" eaLnBrk="1" latinLnBrk="0" hangingPunct="1">
                <a:lnSpc>
                  <a:spcPct val="100000"/>
                </a:lnSpc>
                <a:spcBef>
                  <a:spcPts val="0"/>
                </a:spcBef>
                <a:spcAft>
                  <a:spcPts val="600"/>
                </a:spcAft>
                <a:buClr>
                  <a:srgbClr val="BDBDBD"/>
                </a:buClr>
                <a:buFont typeface="Arial" panose="020B0604020202020204" pitchFamily="34" charset="0"/>
                <a:buChar char="•"/>
                <a:defRPr sz="1600" kern="1200">
                  <a:solidFill>
                    <a:schemeClr val="tx1"/>
                  </a:solidFill>
                  <a:latin typeface="+mn-lt"/>
                  <a:ea typeface="+mn-ea"/>
                  <a:cs typeface="+mn-cs"/>
                </a:defRPr>
              </a:lvl9pPr>
            </a:lstStyle>
            <a:p>
              <a:pPr algn="l"/>
              <a:endParaRPr lang="en-US" sz="1600">
                <a:solidFill>
                  <a:sysClr val="windowText" lastClr="000000"/>
                </a:solidFill>
                <a:latin typeface="Segoe UI" panose="020B0502040204020203" pitchFamily="34" charset="0"/>
              </a:endParaRPr>
            </a:p>
            <a:p>
              <a:pPr algn="l"/>
              <a:endParaRPr lang="en-US" sz="1600">
                <a:solidFill>
                  <a:sysClr val="windowText" lastClr="000000"/>
                </a:solidFill>
                <a:latin typeface="Segoe UI" panose="020B0502040204020203" pitchFamily="34" charset="0"/>
              </a:endParaRPr>
            </a:p>
            <a:p>
              <a:pPr algn="l"/>
              <a:endParaRPr lang="en-US" sz="1600">
                <a:solidFill>
                  <a:sysClr val="windowText" lastClr="000000"/>
                </a:solidFill>
                <a:latin typeface="Segoe UI" panose="020B0502040204020203" pitchFamily="34" charset="0"/>
              </a:endParaRPr>
            </a:p>
            <a:p>
              <a:pPr algn="l"/>
              <a:endParaRPr lang="en-US" sz="1600">
                <a:solidFill>
                  <a:sysClr val="windowText" lastClr="000000"/>
                </a:solidFill>
                <a:latin typeface="Segoe UI" panose="020B0502040204020203" pitchFamily="34" charset="0"/>
              </a:endParaRPr>
            </a:p>
            <a:p>
              <a:r>
                <a:rPr lang="en-US" sz="1600">
                  <a:solidFill>
                    <a:sysClr val="windowText" lastClr="000000"/>
                  </a:solidFill>
                  <a:latin typeface="Segoe UI" panose="020B0502040204020203" pitchFamily="34" charset="0"/>
                </a:rPr>
                <a:t>STC31-C</a:t>
              </a:r>
              <a:br>
                <a:rPr lang="en-US" sz="1600">
                  <a:solidFill>
                    <a:sysClr val="windowText" lastClr="000000"/>
                  </a:solidFill>
                  <a:latin typeface="Segoe UI" panose="020B0502040204020203" pitchFamily="34" charset="0"/>
                </a:rPr>
              </a:br>
              <a:r>
                <a:rPr lang="en-US" sz="1600" b="0">
                  <a:solidFill>
                    <a:sysClr val="windowText" lastClr="000000"/>
                  </a:solidFill>
                  <a:latin typeface="Segoe UI" panose="020B0502040204020203" pitchFamily="34" charset="0"/>
                </a:rPr>
                <a:t>High-concentration </a:t>
              </a:r>
            </a:p>
            <a:p>
              <a:r>
                <a:rPr lang="en-US" sz="1600" b="0">
                  <a:solidFill>
                    <a:sysClr val="windowText" lastClr="000000"/>
                  </a:solidFill>
                  <a:latin typeface="Segoe UI" panose="020B0502040204020203" pitchFamily="34" charset="0"/>
                </a:rPr>
                <a:t>TC CO</a:t>
              </a:r>
              <a:r>
                <a:rPr lang="en-US" sz="1600" b="0" baseline="-25000">
                  <a:solidFill>
                    <a:sysClr val="windowText" lastClr="000000"/>
                  </a:solidFill>
                  <a:latin typeface="Segoe UI" panose="020B0502040204020203" pitchFamily="34" charset="0"/>
                </a:rPr>
                <a:t>2</a:t>
              </a:r>
              <a:r>
                <a:rPr lang="en-US" sz="1600" b="0">
                  <a:solidFill>
                    <a:sysClr val="windowText" lastClr="000000"/>
                  </a:solidFill>
                  <a:latin typeface="Segoe UI" panose="020B0502040204020203" pitchFamily="34" charset="0"/>
                </a:rPr>
                <a:t> sensor</a:t>
              </a:r>
              <a:endParaRPr lang="en-US" sz="1600">
                <a:solidFill>
                  <a:sysClr val="windowText" lastClr="000000"/>
                </a:solidFill>
                <a:latin typeface="Segoe UI" panose="020B0502040204020203" pitchFamily="34" charset="0"/>
              </a:endParaRPr>
            </a:p>
          </p:txBody>
        </p:sp>
        <p:pic>
          <p:nvPicPr>
            <p:cNvPr id="10" name="Picture 9">
              <a:extLst>
                <a:ext uri="{FF2B5EF4-FFF2-40B4-BE49-F238E27FC236}">
                  <a16:creationId xmlns:a16="http://schemas.microsoft.com/office/drawing/2014/main" id="{D819A7AF-0977-957F-C648-0586D38B4B40}"/>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679326" y="3552393"/>
              <a:ext cx="2352601" cy="1471160"/>
            </a:xfrm>
            <a:prstGeom prst="rect">
              <a:avLst/>
            </a:prstGeom>
          </p:spPr>
        </p:pic>
      </p:grpSp>
      <p:grpSp>
        <p:nvGrpSpPr>
          <p:cNvPr id="81" name="Group 80">
            <a:extLst>
              <a:ext uri="{FF2B5EF4-FFF2-40B4-BE49-F238E27FC236}">
                <a16:creationId xmlns:a16="http://schemas.microsoft.com/office/drawing/2014/main" id="{CAE43074-FAAB-D97F-6D15-0EA5C965A0F7}"/>
              </a:ext>
            </a:extLst>
          </p:cNvPr>
          <p:cNvGrpSpPr/>
          <p:nvPr/>
        </p:nvGrpSpPr>
        <p:grpSpPr>
          <a:xfrm>
            <a:off x="5942164" y="1587489"/>
            <a:ext cx="1770289" cy="2147494"/>
            <a:chOff x="9734860" y="1581065"/>
            <a:chExt cx="1770289" cy="2147494"/>
          </a:xfrm>
        </p:grpSpPr>
        <p:sp>
          <p:nvSpPr>
            <p:cNvPr id="34" name="Rectangle 33">
              <a:extLst>
                <a:ext uri="{FF2B5EF4-FFF2-40B4-BE49-F238E27FC236}">
                  <a16:creationId xmlns:a16="http://schemas.microsoft.com/office/drawing/2014/main" id="{6B235C66-D8F0-6049-2346-EC183CF09FB5}"/>
                </a:ext>
              </a:extLst>
            </p:cNvPr>
            <p:cNvSpPr/>
            <p:nvPr/>
          </p:nvSpPr>
          <p:spPr>
            <a:xfrm>
              <a:off x="9766458" y="1581065"/>
              <a:ext cx="1738691" cy="2070207"/>
            </a:xfrm>
            <a:prstGeom prst="rect">
              <a:avLst/>
            </a:prstGeom>
            <a:solidFill>
              <a:srgbClr val="F8FDF5"/>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t" anchorCtr="0"/>
            <a:lstStyle/>
            <a:p>
              <a:pPr algn="ctr"/>
              <a:r>
                <a:rPr lang="en-US" sz="1400">
                  <a:solidFill>
                    <a:sysClr val="windowText" lastClr="000000"/>
                  </a:solidFill>
                </a:rPr>
                <a:t>Applications</a:t>
              </a:r>
              <a:endParaRPr lang="en-CH" sz="1400">
                <a:solidFill>
                  <a:sysClr val="windowText" lastClr="000000"/>
                </a:solidFill>
              </a:endParaRPr>
            </a:p>
          </p:txBody>
        </p:sp>
        <p:pic>
          <p:nvPicPr>
            <p:cNvPr id="38" name="Picture 37" descr="A diagram of a toilet paper dispenser&#10;&#10;Description automatically generated">
              <a:extLst>
                <a:ext uri="{FF2B5EF4-FFF2-40B4-BE49-F238E27FC236}">
                  <a16:creationId xmlns:a16="http://schemas.microsoft.com/office/drawing/2014/main" id="{462546D0-1E06-F1FF-8774-758BF189A84C}"/>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9998975" y="1779667"/>
              <a:ext cx="1362345" cy="1362345"/>
            </a:xfrm>
            <a:prstGeom prst="rect">
              <a:avLst/>
            </a:prstGeom>
          </p:spPr>
        </p:pic>
        <p:sp>
          <p:nvSpPr>
            <p:cNvPr id="13" name="TextBox 12">
              <a:extLst>
                <a:ext uri="{FF2B5EF4-FFF2-40B4-BE49-F238E27FC236}">
                  <a16:creationId xmlns:a16="http://schemas.microsoft.com/office/drawing/2014/main" id="{794870DF-2817-72CD-7BE3-17022FEA39C2}"/>
                </a:ext>
              </a:extLst>
            </p:cNvPr>
            <p:cNvSpPr txBox="1"/>
            <p:nvPr/>
          </p:nvSpPr>
          <p:spPr>
            <a:xfrm>
              <a:off x="9854775" y="3449859"/>
              <a:ext cx="515253" cy="215738"/>
            </a:xfrm>
            <a:prstGeom prst="rect">
              <a:avLst/>
            </a:prstGeom>
            <a:noFill/>
          </p:spPr>
          <p:txBody>
            <a:bodyPr wrap="square" lIns="0" tIns="0" rIns="0" bIns="0" rtlCol="0">
              <a:noAutofit/>
            </a:bodyPr>
            <a:lstStyle/>
            <a:p>
              <a:pPr algn="ctr">
                <a:buClr>
                  <a:schemeClr val="accent1"/>
                </a:buClr>
              </a:pPr>
              <a:r>
                <a:rPr lang="en-US" sz="1200"/>
                <a:t>IAQM</a:t>
              </a:r>
              <a:endParaRPr lang="en-CH" sz="1200" err="1"/>
            </a:p>
          </p:txBody>
        </p:sp>
        <p:sp>
          <p:nvSpPr>
            <p:cNvPr id="14" name="TextBox 13">
              <a:extLst>
                <a:ext uri="{FF2B5EF4-FFF2-40B4-BE49-F238E27FC236}">
                  <a16:creationId xmlns:a16="http://schemas.microsoft.com/office/drawing/2014/main" id="{FF379169-F2E1-C4BE-E066-48C04C8239C1}"/>
                </a:ext>
              </a:extLst>
            </p:cNvPr>
            <p:cNvSpPr txBox="1"/>
            <p:nvPr/>
          </p:nvSpPr>
          <p:spPr>
            <a:xfrm>
              <a:off x="10451165" y="3405339"/>
              <a:ext cx="871651" cy="215738"/>
            </a:xfrm>
            <a:prstGeom prst="rect">
              <a:avLst/>
            </a:prstGeom>
            <a:noFill/>
          </p:spPr>
          <p:txBody>
            <a:bodyPr wrap="square" lIns="0" tIns="0" rIns="0" bIns="0" rtlCol="0">
              <a:noAutofit/>
            </a:bodyPr>
            <a:lstStyle/>
            <a:p>
              <a:pPr algn="ctr">
                <a:buClr>
                  <a:schemeClr val="accent1"/>
                </a:buClr>
              </a:pPr>
              <a:r>
                <a:rPr lang="en-US" sz="1200"/>
                <a:t>Appliances</a:t>
              </a:r>
              <a:endParaRPr lang="en-CH" sz="1200" err="1"/>
            </a:p>
          </p:txBody>
        </p:sp>
        <p:sp>
          <p:nvSpPr>
            <p:cNvPr id="19" name="TextBox 18">
              <a:extLst>
                <a:ext uri="{FF2B5EF4-FFF2-40B4-BE49-F238E27FC236}">
                  <a16:creationId xmlns:a16="http://schemas.microsoft.com/office/drawing/2014/main" id="{4ADA29AF-C682-0707-0F5E-D6BE4E8F0B11}"/>
                </a:ext>
              </a:extLst>
            </p:cNvPr>
            <p:cNvSpPr txBox="1"/>
            <p:nvPr/>
          </p:nvSpPr>
          <p:spPr>
            <a:xfrm>
              <a:off x="9766458" y="2029363"/>
              <a:ext cx="515253" cy="215738"/>
            </a:xfrm>
            <a:prstGeom prst="rect">
              <a:avLst/>
            </a:prstGeom>
            <a:noFill/>
          </p:spPr>
          <p:txBody>
            <a:bodyPr wrap="square" lIns="0" tIns="0" rIns="0" bIns="0" rtlCol="0">
              <a:noAutofit/>
            </a:bodyPr>
            <a:lstStyle/>
            <a:p>
              <a:pPr algn="ctr">
                <a:buClr>
                  <a:schemeClr val="accent1"/>
                </a:buClr>
              </a:pPr>
              <a:r>
                <a:rPr lang="en-US" sz="1200"/>
                <a:t>DCV</a:t>
              </a:r>
              <a:endParaRPr lang="en-CH" sz="1200" err="1"/>
            </a:p>
          </p:txBody>
        </p:sp>
        <p:pic>
          <p:nvPicPr>
            <p:cNvPr id="43" name="Picture 42" descr="A white round object with a green stripe&#10;&#10;Description automatically generated">
              <a:extLst>
                <a:ext uri="{FF2B5EF4-FFF2-40B4-BE49-F238E27FC236}">
                  <a16:creationId xmlns:a16="http://schemas.microsoft.com/office/drawing/2014/main" id="{17BD43D1-61B8-3678-DE77-799201174B00}"/>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9734860" y="2779319"/>
              <a:ext cx="781494" cy="781494"/>
            </a:xfrm>
            <a:prstGeom prst="rect">
              <a:avLst/>
            </a:prstGeom>
          </p:spPr>
        </p:pic>
        <p:pic>
          <p:nvPicPr>
            <p:cNvPr id="39" name="Picture 38">
              <a:extLst>
                <a:ext uri="{FF2B5EF4-FFF2-40B4-BE49-F238E27FC236}">
                  <a16:creationId xmlns:a16="http://schemas.microsoft.com/office/drawing/2014/main" id="{2F5E2F80-BEEF-0A16-B256-52EF6DE8D69C}"/>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0416996" y="2640406"/>
              <a:ext cx="1088153" cy="1088153"/>
            </a:xfrm>
            <a:prstGeom prst="rect">
              <a:avLst/>
            </a:prstGeom>
          </p:spPr>
        </p:pic>
      </p:grpSp>
      <p:grpSp>
        <p:nvGrpSpPr>
          <p:cNvPr id="46" name="Group 45">
            <a:extLst>
              <a:ext uri="{FF2B5EF4-FFF2-40B4-BE49-F238E27FC236}">
                <a16:creationId xmlns:a16="http://schemas.microsoft.com/office/drawing/2014/main" id="{FEE79A7E-B98C-FDC6-9B42-B28F58B75560}"/>
              </a:ext>
            </a:extLst>
          </p:cNvPr>
          <p:cNvGrpSpPr/>
          <p:nvPr/>
        </p:nvGrpSpPr>
        <p:grpSpPr>
          <a:xfrm>
            <a:off x="4171820" y="1588030"/>
            <a:ext cx="1734484" cy="2070234"/>
            <a:chOff x="4171820" y="1588030"/>
            <a:chExt cx="1734484" cy="2070234"/>
          </a:xfrm>
        </p:grpSpPr>
        <p:sp>
          <p:nvSpPr>
            <p:cNvPr id="30" name="Rectangle 29">
              <a:extLst>
                <a:ext uri="{FF2B5EF4-FFF2-40B4-BE49-F238E27FC236}">
                  <a16:creationId xmlns:a16="http://schemas.microsoft.com/office/drawing/2014/main" id="{AFC360E3-9069-7873-A192-CED17FF09D6D}"/>
                </a:ext>
              </a:extLst>
            </p:cNvPr>
            <p:cNvSpPr/>
            <p:nvPr/>
          </p:nvSpPr>
          <p:spPr>
            <a:xfrm>
              <a:off x="4171820" y="1588030"/>
              <a:ext cx="1734484" cy="2070234"/>
            </a:xfrm>
            <a:prstGeom prst="rect">
              <a:avLst/>
            </a:prstGeom>
            <a:solidFill>
              <a:srgbClr val="F8FDF5"/>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t" anchorCtr="0"/>
            <a:lstStyle/>
            <a:p>
              <a:pPr algn="ctr"/>
              <a:r>
                <a:rPr lang="en-US" sz="1400" u="sng">
                  <a:solidFill>
                    <a:sysClr val="windowText" lastClr="000000"/>
                  </a:solidFill>
                </a:rPr>
                <a:t>Applications</a:t>
              </a:r>
              <a:endParaRPr lang="en-CH" sz="1400" u="sng">
                <a:solidFill>
                  <a:sysClr val="windowText" lastClr="000000"/>
                </a:solidFill>
              </a:endParaRPr>
            </a:p>
          </p:txBody>
        </p:sp>
        <p:pic>
          <p:nvPicPr>
            <p:cNvPr id="32" name="Picture 31" descr="A diagram of a toilet paper dispenser&#10;&#10;Description automatically generated">
              <a:extLst>
                <a:ext uri="{FF2B5EF4-FFF2-40B4-BE49-F238E27FC236}">
                  <a16:creationId xmlns:a16="http://schemas.microsoft.com/office/drawing/2014/main" id="{7ABF3606-1383-58EC-FFD5-9FF1A9F66A43}"/>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295155" y="2049506"/>
              <a:ext cx="1495481" cy="1495481"/>
            </a:xfrm>
            <a:prstGeom prst="rect">
              <a:avLst/>
            </a:prstGeom>
          </p:spPr>
        </p:pic>
        <p:sp>
          <p:nvSpPr>
            <p:cNvPr id="5" name="TextBox 4">
              <a:extLst>
                <a:ext uri="{FF2B5EF4-FFF2-40B4-BE49-F238E27FC236}">
                  <a16:creationId xmlns:a16="http://schemas.microsoft.com/office/drawing/2014/main" id="{7EB03F48-656C-B5F3-33F3-F401912EF29D}"/>
                </a:ext>
              </a:extLst>
            </p:cNvPr>
            <p:cNvSpPr txBox="1"/>
            <p:nvPr/>
          </p:nvSpPr>
          <p:spPr>
            <a:xfrm>
              <a:off x="4294353" y="2245101"/>
              <a:ext cx="515253" cy="215738"/>
            </a:xfrm>
            <a:prstGeom prst="rect">
              <a:avLst/>
            </a:prstGeom>
            <a:noFill/>
          </p:spPr>
          <p:txBody>
            <a:bodyPr wrap="square" lIns="0" tIns="0" rIns="0" bIns="0" rtlCol="0">
              <a:noAutofit/>
            </a:bodyPr>
            <a:lstStyle/>
            <a:p>
              <a:pPr algn="ctr">
                <a:buClr>
                  <a:schemeClr val="accent1"/>
                </a:buClr>
              </a:pPr>
              <a:r>
                <a:rPr lang="en-US" sz="1200"/>
                <a:t>DCV</a:t>
              </a:r>
              <a:endParaRPr lang="en-CH" sz="1200"/>
            </a:p>
          </p:txBody>
        </p:sp>
      </p:grpSp>
      <p:grpSp>
        <p:nvGrpSpPr>
          <p:cNvPr id="47" name="Group 46">
            <a:extLst>
              <a:ext uri="{FF2B5EF4-FFF2-40B4-BE49-F238E27FC236}">
                <a16:creationId xmlns:a16="http://schemas.microsoft.com/office/drawing/2014/main" id="{B269FB05-FF82-150B-AC0D-420F41C7369F}"/>
              </a:ext>
            </a:extLst>
          </p:cNvPr>
          <p:cNvGrpSpPr/>
          <p:nvPr/>
        </p:nvGrpSpPr>
        <p:grpSpPr>
          <a:xfrm>
            <a:off x="2193276" y="1588737"/>
            <a:ext cx="1974338" cy="2196972"/>
            <a:chOff x="2193276" y="1588737"/>
            <a:chExt cx="1974338" cy="2196972"/>
          </a:xfrm>
        </p:grpSpPr>
        <p:sp>
          <p:nvSpPr>
            <p:cNvPr id="26" name="Rectangle 25">
              <a:extLst>
                <a:ext uri="{FF2B5EF4-FFF2-40B4-BE49-F238E27FC236}">
                  <a16:creationId xmlns:a16="http://schemas.microsoft.com/office/drawing/2014/main" id="{00546B3F-7911-8B2A-DCCE-1A792C104F80}"/>
                </a:ext>
              </a:extLst>
            </p:cNvPr>
            <p:cNvSpPr/>
            <p:nvPr/>
          </p:nvSpPr>
          <p:spPr>
            <a:xfrm>
              <a:off x="2193276" y="1588737"/>
              <a:ext cx="1974338" cy="2070233"/>
            </a:xfrm>
            <a:prstGeom prst="rect">
              <a:avLst/>
            </a:prstGeom>
            <a:solidFill>
              <a:srgbClr val="F8FDF5"/>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t" anchorCtr="0"/>
            <a:lstStyle/>
            <a:p>
              <a:pPr algn="ctr">
                <a:spcAft>
                  <a:spcPts val="600"/>
                </a:spcAft>
              </a:pPr>
              <a:r>
                <a:rPr lang="en-US" sz="1400" u="sng">
                  <a:solidFill>
                    <a:sysClr val="windowText" lastClr="000000"/>
                  </a:solidFill>
                </a:rPr>
                <a:t>Properties</a:t>
              </a:r>
            </a:p>
            <a:p>
              <a:pPr>
                <a:lnSpc>
                  <a:spcPct val="175000"/>
                </a:lnSpc>
              </a:pPr>
              <a:r>
                <a:rPr lang="en-US" sz="1200">
                  <a:solidFill>
                    <a:sysClr val="windowText" lastClr="000000"/>
                  </a:solidFill>
                </a:rPr>
                <a:t>High Accuracy</a:t>
              </a:r>
            </a:p>
            <a:p>
              <a:pPr>
                <a:lnSpc>
                  <a:spcPct val="175000"/>
                </a:lnSpc>
              </a:pPr>
              <a:r>
                <a:rPr lang="en-US" sz="1200">
                  <a:solidFill>
                    <a:sysClr val="windowText" lastClr="000000"/>
                  </a:solidFill>
                </a:rPr>
                <a:t>Small Size</a:t>
              </a:r>
            </a:p>
            <a:p>
              <a:pPr>
                <a:lnSpc>
                  <a:spcPct val="175000"/>
                </a:lnSpc>
              </a:pPr>
              <a:r>
                <a:rPr lang="en-US" sz="1200">
                  <a:solidFill>
                    <a:sysClr val="windowText" lastClr="000000"/>
                  </a:solidFill>
                </a:rPr>
                <a:t>Low Price</a:t>
              </a:r>
            </a:p>
            <a:p>
              <a:pPr>
                <a:lnSpc>
                  <a:spcPct val="175000"/>
                </a:lnSpc>
              </a:pPr>
              <a:r>
                <a:rPr lang="en-US" sz="1200">
                  <a:solidFill>
                    <a:sysClr val="windowText" lastClr="000000"/>
                  </a:solidFill>
                </a:rPr>
                <a:t>Low Power</a:t>
              </a:r>
            </a:p>
            <a:p>
              <a:pPr>
                <a:lnSpc>
                  <a:spcPct val="175000"/>
                </a:lnSpc>
              </a:pPr>
              <a:r>
                <a:rPr lang="en-US" sz="1200">
                  <a:solidFill>
                    <a:sysClr val="windowText" lastClr="000000"/>
                  </a:solidFill>
                </a:rPr>
                <a:t>Fast Response</a:t>
              </a:r>
              <a:endParaRPr lang="en-CH" sz="1200">
                <a:solidFill>
                  <a:sysClr val="windowText" lastClr="000000"/>
                </a:solidFill>
              </a:endParaRPr>
            </a:p>
          </p:txBody>
        </p:sp>
        <p:grpSp>
          <p:nvGrpSpPr>
            <p:cNvPr id="28" name="Group 27">
              <a:extLst>
                <a:ext uri="{FF2B5EF4-FFF2-40B4-BE49-F238E27FC236}">
                  <a16:creationId xmlns:a16="http://schemas.microsoft.com/office/drawing/2014/main" id="{78FEEF59-EC49-B5F2-A708-C4A24B4C52E7}"/>
                </a:ext>
              </a:extLst>
            </p:cNvPr>
            <p:cNvGrpSpPr/>
            <p:nvPr/>
          </p:nvGrpSpPr>
          <p:grpSpPr>
            <a:xfrm>
              <a:off x="3305165" y="1739249"/>
              <a:ext cx="774000" cy="2046460"/>
              <a:chOff x="3305165" y="1739249"/>
              <a:chExt cx="774000" cy="2046460"/>
            </a:xfrm>
          </p:grpSpPr>
          <p:pic>
            <p:nvPicPr>
              <p:cNvPr id="33" name="Graphic 32" descr="Rating Star with solid fill">
                <a:extLst>
                  <a:ext uri="{FF2B5EF4-FFF2-40B4-BE49-F238E27FC236}">
                    <a16:creationId xmlns:a16="http://schemas.microsoft.com/office/drawing/2014/main" id="{A22DDBFB-74E7-6815-EA07-5C761A25F66A}"/>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3305165" y="3011709"/>
                <a:ext cx="774000" cy="774000"/>
              </a:xfrm>
              <a:prstGeom prst="rect">
                <a:avLst/>
              </a:prstGeom>
            </p:spPr>
          </p:pic>
          <p:pic>
            <p:nvPicPr>
              <p:cNvPr id="37" name="Graphic 36" descr="Rating 1 Star with solid fill">
                <a:extLst>
                  <a:ext uri="{FF2B5EF4-FFF2-40B4-BE49-F238E27FC236}">
                    <a16:creationId xmlns:a16="http://schemas.microsoft.com/office/drawing/2014/main" id="{D646CE29-DF7E-5842-68F5-3FC911B6DBA7}"/>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3305165" y="2036657"/>
                <a:ext cx="774000" cy="774000"/>
              </a:xfrm>
              <a:prstGeom prst="rect">
                <a:avLst/>
              </a:prstGeom>
            </p:spPr>
          </p:pic>
          <p:pic>
            <p:nvPicPr>
              <p:cNvPr id="42" name="Graphic 41" descr="Rating 3 Star with solid fill">
                <a:extLst>
                  <a:ext uri="{FF2B5EF4-FFF2-40B4-BE49-F238E27FC236}">
                    <a16:creationId xmlns:a16="http://schemas.microsoft.com/office/drawing/2014/main" id="{C9853066-0AF0-18C2-54F5-3FC77D172497}"/>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3305165" y="1739249"/>
                <a:ext cx="774000" cy="774000"/>
              </a:xfrm>
              <a:prstGeom prst="rect">
                <a:avLst/>
              </a:prstGeom>
            </p:spPr>
          </p:pic>
          <p:pic>
            <p:nvPicPr>
              <p:cNvPr id="31" name="Graphic 30" descr="Rating 1 Star with solid fill">
                <a:extLst>
                  <a:ext uri="{FF2B5EF4-FFF2-40B4-BE49-F238E27FC236}">
                    <a16:creationId xmlns:a16="http://schemas.microsoft.com/office/drawing/2014/main" id="{EE0CF05F-6220-A327-936F-2DCFE10811D2}"/>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3305165" y="2359877"/>
                <a:ext cx="774000" cy="774000"/>
              </a:xfrm>
              <a:prstGeom prst="rect">
                <a:avLst/>
              </a:prstGeom>
            </p:spPr>
          </p:pic>
          <p:pic>
            <p:nvPicPr>
              <p:cNvPr id="48" name="Graphic 47" descr="Rating 1 Star with solid fill">
                <a:extLst>
                  <a:ext uri="{FF2B5EF4-FFF2-40B4-BE49-F238E27FC236}">
                    <a16:creationId xmlns:a16="http://schemas.microsoft.com/office/drawing/2014/main" id="{12918701-0160-AAE7-38F8-7990CB942067}"/>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3305165" y="2690218"/>
                <a:ext cx="774000" cy="774000"/>
              </a:xfrm>
              <a:prstGeom prst="rect">
                <a:avLst/>
              </a:prstGeom>
            </p:spPr>
          </p:pic>
        </p:grpSp>
      </p:grpSp>
      <p:grpSp>
        <p:nvGrpSpPr>
          <p:cNvPr id="52" name="Group 51">
            <a:extLst>
              <a:ext uri="{FF2B5EF4-FFF2-40B4-BE49-F238E27FC236}">
                <a16:creationId xmlns:a16="http://schemas.microsoft.com/office/drawing/2014/main" id="{EDCA4B23-FF0F-6BA6-9292-0B718FB0DC57}"/>
              </a:ext>
            </a:extLst>
          </p:cNvPr>
          <p:cNvGrpSpPr/>
          <p:nvPr/>
        </p:nvGrpSpPr>
        <p:grpSpPr>
          <a:xfrm>
            <a:off x="7712404" y="1588030"/>
            <a:ext cx="1972800" cy="2204644"/>
            <a:chOff x="7795091" y="1581065"/>
            <a:chExt cx="1972800" cy="2204644"/>
          </a:xfrm>
        </p:grpSpPr>
        <p:sp>
          <p:nvSpPr>
            <p:cNvPr id="69" name="Rectangle 68">
              <a:extLst>
                <a:ext uri="{FF2B5EF4-FFF2-40B4-BE49-F238E27FC236}">
                  <a16:creationId xmlns:a16="http://schemas.microsoft.com/office/drawing/2014/main" id="{5A55B82B-AC9A-4400-21DC-6D81ECA70C37}"/>
                </a:ext>
              </a:extLst>
            </p:cNvPr>
            <p:cNvSpPr/>
            <p:nvPr/>
          </p:nvSpPr>
          <p:spPr>
            <a:xfrm>
              <a:off x="7795091" y="1581065"/>
              <a:ext cx="1972800" cy="2068984"/>
            </a:xfrm>
            <a:prstGeom prst="rect">
              <a:avLst/>
            </a:prstGeom>
            <a:solidFill>
              <a:srgbClr val="F8FDF5"/>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t" anchorCtr="0"/>
            <a:lstStyle/>
            <a:p>
              <a:pPr algn="ctr">
                <a:spcAft>
                  <a:spcPts val="600"/>
                </a:spcAft>
              </a:pPr>
              <a:r>
                <a:rPr lang="en-US" sz="1400" u="sng">
                  <a:solidFill>
                    <a:sysClr val="windowText" lastClr="000000"/>
                  </a:solidFill>
                </a:rPr>
                <a:t>Properties</a:t>
              </a:r>
            </a:p>
            <a:p>
              <a:pPr>
                <a:lnSpc>
                  <a:spcPct val="175000"/>
                </a:lnSpc>
              </a:pPr>
              <a:r>
                <a:rPr lang="en-US" sz="1200">
                  <a:solidFill>
                    <a:sysClr val="windowText" lastClr="000000"/>
                  </a:solidFill>
                </a:rPr>
                <a:t>High Accuracy*</a:t>
              </a:r>
            </a:p>
            <a:p>
              <a:pPr>
                <a:lnSpc>
                  <a:spcPct val="175000"/>
                </a:lnSpc>
              </a:pPr>
              <a:r>
                <a:rPr lang="en-US" sz="1200">
                  <a:solidFill>
                    <a:sysClr val="windowText" lastClr="000000"/>
                  </a:solidFill>
                </a:rPr>
                <a:t>Small Size</a:t>
              </a:r>
            </a:p>
            <a:p>
              <a:pPr>
                <a:lnSpc>
                  <a:spcPct val="175000"/>
                </a:lnSpc>
              </a:pPr>
              <a:r>
                <a:rPr lang="en-US" sz="1200">
                  <a:solidFill>
                    <a:sysClr val="windowText" lastClr="000000"/>
                  </a:solidFill>
                </a:rPr>
                <a:t>Low Price</a:t>
              </a:r>
            </a:p>
            <a:p>
              <a:pPr>
                <a:lnSpc>
                  <a:spcPct val="175000"/>
                </a:lnSpc>
              </a:pPr>
              <a:r>
                <a:rPr lang="en-US" sz="1200">
                  <a:solidFill>
                    <a:sysClr val="windowText" lastClr="000000"/>
                  </a:solidFill>
                </a:rPr>
                <a:t>Low Power</a:t>
              </a:r>
            </a:p>
            <a:p>
              <a:pPr>
                <a:lnSpc>
                  <a:spcPct val="175000"/>
                </a:lnSpc>
              </a:pPr>
              <a:r>
                <a:rPr lang="en-US" sz="1200">
                  <a:solidFill>
                    <a:sysClr val="windowText" lastClr="000000"/>
                  </a:solidFill>
                </a:rPr>
                <a:t>Fast Response</a:t>
              </a:r>
              <a:endParaRPr lang="en-CH" sz="1400">
                <a:solidFill>
                  <a:sysClr val="windowText" lastClr="000000"/>
                </a:solidFill>
              </a:endParaRPr>
            </a:p>
          </p:txBody>
        </p:sp>
        <p:grpSp>
          <p:nvGrpSpPr>
            <p:cNvPr id="80" name="Group 79">
              <a:extLst>
                <a:ext uri="{FF2B5EF4-FFF2-40B4-BE49-F238E27FC236}">
                  <a16:creationId xmlns:a16="http://schemas.microsoft.com/office/drawing/2014/main" id="{5963FCF8-F4AA-3D6F-A7DB-ACA2CF51A5F7}"/>
                </a:ext>
              </a:extLst>
            </p:cNvPr>
            <p:cNvGrpSpPr/>
            <p:nvPr/>
          </p:nvGrpSpPr>
          <p:grpSpPr>
            <a:xfrm>
              <a:off x="8926691" y="1744638"/>
              <a:ext cx="774000" cy="2041071"/>
              <a:chOff x="8926691" y="1740210"/>
              <a:chExt cx="774000" cy="2041071"/>
            </a:xfrm>
          </p:grpSpPr>
          <p:pic>
            <p:nvPicPr>
              <p:cNvPr id="68" name="Graphic 67" descr="Rating 1 Star with solid fill">
                <a:extLst>
                  <a:ext uri="{FF2B5EF4-FFF2-40B4-BE49-F238E27FC236}">
                    <a16:creationId xmlns:a16="http://schemas.microsoft.com/office/drawing/2014/main" id="{68D5CD9C-5DBC-779B-410E-21DA66D3ABE5}"/>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8926691" y="2357355"/>
                <a:ext cx="774000" cy="774000"/>
              </a:xfrm>
              <a:prstGeom prst="rect">
                <a:avLst/>
              </a:prstGeom>
            </p:spPr>
          </p:pic>
          <p:pic>
            <p:nvPicPr>
              <p:cNvPr id="74" name="Graphic 73" descr="Rating Star with solid fill">
                <a:extLst>
                  <a:ext uri="{FF2B5EF4-FFF2-40B4-BE49-F238E27FC236}">
                    <a16:creationId xmlns:a16="http://schemas.microsoft.com/office/drawing/2014/main" id="{EA960884-5DF9-9729-4F70-9C93CE012F2D}"/>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8926691" y="2361969"/>
                <a:ext cx="774000" cy="774000"/>
              </a:xfrm>
              <a:prstGeom prst="rect">
                <a:avLst/>
              </a:prstGeom>
            </p:spPr>
          </p:pic>
          <p:pic>
            <p:nvPicPr>
              <p:cNvPr id="75" name="Graphic 74" descr="Rating Star with solid fill">
                <a:extLst>
                  <a:ext uri="{FF2B5EF4-FFF2-40B4-BE49-F238E27FC236}">
                    <a16:creationId xmlns:a16="http://schemas.microsoft.com/office/drawing/2014/main" id="{9FF52F8D-ED20-22E7-04F1-4FFAEC5DD634}"/>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8926691" y="1740210"/>
                <a:ext cx="774000" cy="774000"/>
              </a:xfrm>
              <a:prstGeom prst="rect">
                <a:avLst/>
              </a:prstGeom>
            </p:spPr>
          </p:pic>
          <p:pic>
            <p:nvPicPr>
              <p:cNvPr id="76" name="Graphic 75" descr="Rating Star with solid fill">
                <a:extLst>
                  <a:ext uri="{FF2B5EF4-FFF2-40B4-BE49-F238E27FC236}">
                    <a16:creationId xmlns:a16="http://schemas.microsoft.com/office/drawing/2014/main" id="{6CB1A10B-A415-3A18-C721-F0AFCB876425}"/>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8926691" y="2037155"/>
                <a:ext cx="774000" cy="774000"/>
              </a:xfrm>
              <a:prstGeom prst="rect">
                <a:avLst/>
              </a:prstGeom>
            </p:spPr>
          </p:pic>
          <p:pic>
            <p:nvPicPr>
              <p:cNvPr id="78" name="Graphic 77" descr="Rating 1 Star with solid fill">
                <a:extLst>
                  <a:ext uri="{FF2B5EF4-FFF2-40B4-BE49-F238E27FC236}">
                    <a16:creationId xmlns:a16="http://schemas.microsoft.com/office/drawing/2014/main" id="{6DCDF552-E169-AB66-27E3-EC87CE42DDE0}"/>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8926691" y="3007281"/>
                <a:ext cx="774000" cy="774000"/>
              </a:xfrm>
              <a:prstGeom prst="rect">
                <a:avLst/>
              </a:prstGeom>
            </p:spPr>
          </p:pic>
          <p:pic>
            <p:nvPicPr>
              <p:cNvPr id="50" name="Graphic 49" descr="Rating 1 Star with solid fill">
                <a:extLst>
                  <a:ext uri="{FF2B5EF4-FFF2-40B4-BE49-F238E27FC236}">
                    <a16:creationId xmlns:a16="http://schemas.microsoft.com/office/drawing/2014/main" id="{8B50273E-0489-E61D-B7F0-4FD3597B39F8}"/>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8926691" y="2697302"/>
                <a:ext cx="774000" cy="774000"/>
              </a:xfrm>
              <a:prstGeom prst="rect">
                <a:avLst/>
              </a:prstGeom>
            </p:spPr>
          </p:pic>
        </p:grpSp>
      </p:grpSp>
      <p:grpSp>
        <p:nvGrpSpPr>
          <p:cNvPr id="77" name="Group 76">
            <a:extLst>
              <a:ext uri="{FF2B5EF4-FFF2-40B4-BE49-F238E27FC236}">
                <a16:creationId xmlns:a16="http://schemas.microsoft.com/office/drawing/2014/main" id="{C7EF7B4E-5CC1-F848-9173-5752B754F20C}"/>
              </a:ext>
            </a:extLst>
          </p:cNvPr>
          <p:cNvGrpSpPr/>
          <p:nvPr/>
        </p:nvGrpSpPr>
        <p:grpSpPr>
          <a:xfrm>
            <a:off x="9677792" y="1587991"/>
            <a:ext cx="1810088" cy="2070000"/>
            <a:chOff x="5977091" y="1581721"/>
            <a:chExt cx="1818000" cy="2070000"/>
          </a:xfrm>
        </p:grpSpPr>
        <p:sp>
          <p:nvSpPr>
            <p:cNvPr id="8" name="Text Placeholder 17">
              <a:extLst>
                <a:ext uri="{FF2B5EF4-FFF2-40B4-BE49-F238E27FC236}">
                  <a16:creationId xmlns:a16="http://schemas.microsoft.com/office/drawing/2014/main" id="{B391044C-801E-44FF-086E-4CE227F1355F}"/>
                </a:ext>
              </a:extLst>
            </p:cNvPr>
            <p:cNvSpPr txBox="1">
              <a:spLocks/>
            </p:cNvSpPr>
            <p:nvPr/>
          </p:nvSpPr>
          <p:spPr bwMode="gray">
            <a:xfrm>
              <a:off x="5977091" y="1581721"/>
              <a:ext cx="1818000" cy="2070000"/>
            </a:xfrm>
            <a:prstGeom prst="rect">
              <a:avLst/>
            </a:prstGeom>
            <a:solidFill>
              <a:schemeClr val="accent1">
                <a:lumMod val="20000"/>
                <a:lumOff val="80000"/>
              </a:schemeClr>
            </a:solidFill>
            <a:ln w="12700">
              <a:solidFill>
                <a:schemeClr val="accent1"/>
              </a:solidFill>
            </a:ln>
          </p:spPr>
          <p:txBody>
            <a:bodyPr vert="horz" lIns="72000" tIns="108000" rIns="72000" bIns="216000" rtlCol="0" anchor="ctr">
              <a:noAutofit/>
            </a:bodyPr>
            <a:lstStyle>
              <a:lvl1pPr marL="0" indent="0" algn="ctr" defTabSz="914400" rtl="0" eaLnBrk="1" latinLnBrk="0" hangingPunct="1">
                <a:lnSpc>
                  <a:spcPct val="100000"/>
                </a:lnSpc>
                <a:spcBef>
                  <a:spcPts val="0"/>
                </a:spcBef>
                <a:spcAft>
                  <a:spcPts val="0"/>
                </a:spcAft>
                <a:buClr>
                  <a:schemeClr val="accent1"/>
                </a:buClr>
                <a:buFont typeface="Arial" panose="020B0604020202020204" pitchFamily="34" charset="0"/>
                <a:buNone/>
                <a:defRPr sz="4000" b="1" kern="1200">
                  <a:solidFill>
                    <a:schemeClr val="bg1"/>
                  </a:solidFill>
                  <a:latin typeface="+mn-lt"/>
                  <a:ea typeface="+mn-ea"/>
                  <a:cs typeface="+mn-cs"/>
                </a:defRPr>
              </a:lvl1pPr>
              <a:lvl2pPr marL="360000" indent="-18000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a:solidFill>
                    <a:schemeClr val="tx1"/>
                  </a:solidFill>
                  <a:latin typeface="+mn-lt"/>
                  <a:ea typeface="+mn-ea"/>
                  <a:cs typeface="+mn-cs"/>
                </a:defRPr>
              </a:lvl2pPr>
              <a:lvl3pPr marL="540000" indent="-180000" algn="l" defTabSz="914400" rtl="0" eaLnBrk="1" latinLnBrk="0" hangingPunct="1">
                <a:lnSpc>
                  <a:spcPct val="100000"/>
                </a:lnSpc>
                <a:spcBef>
                  <a:spcPts val="0"/>
                </a:spcBef>
                <a:spcAft>
                  <a:spcPts val="600"/>
                </a:spcAft>
                <a:buClr>
                  <a:srgbClr val="BDBDBD"/>
                </a:buClr>
                <a:buFont typeface="Arial" panose="020B0604020202020204" pitchFamily="34" charset="0"/>
                <a:buChar char="•"/>
                <a:defRPr sz="1600" kern="1200">
                  <a:solidFill>
                    <a:schemeClr val="tx1"/>
                  </a:solidFill>
                  <a:latin typeface="+mn-lt"/>
                  <a:ea typeface="+mn-ea"/>
                  <a:cs typeface="+mn-cs"/>
                </a:defRPr>
              </a:lvl3pPr>
              <a:lvl4pPr marL="720000" indent="-180000" algn="l" defTabSz="914400" rtl="0" eaLnBrk="1" latinLnBrk="0" hangingPunct="1">
                <a:lnSpc>
                  <a:spcPct val="100000"/>
                </a:lnSpc>
                <a:spcBef>
                  <a:spcPts val="0"/>
                </a:spcBef>
                <a:spcAft>
                  <a:spcPts val="600"/>
                </a:spcAft>
                <a:buClr>
                  <a:srgbClr val="BDBDBD"/>
                </a:buClr>
                <a:buFont typeface="Arial" panose="020B0604020202020204" pitchFamily="34" charset="0"/>
                <a:buChar char="•"/>
                <a:defRPr sz="1600" kern="1200">
                  <a:solidFill>
                    <a:schemeClr val="tx1"/>
                  </a:solidFill>
                  <a:latin typeface="+mn-lt"/>
                  <a:ea typeface="+mn-ea"/>
                  <a:cs typeface="+mn-cs"/>
                </a:defRPr>
              </a:lvl4pPr>
              <a:lvl5pPr marL="900000" indent="-180000" algn="l" defTabSz="914400" rtl="0" eaLnBrk="1" latinLnBrk="0" hangingPunct="1">
                <a:lnSpc>
                  <a:spcPct val="100000"/>
                </a:lnSpc>
                <a:spcBef>
                  <a:spcPts val="0"/>
                </a:spcBef>
                <a:spcAft>
                  <a:spcPts val="600"/>
                </a:spcAft>
                <a:buClr>
                  <a:srgbClr val="BDBDBD"/>
                </a:buClr>
                <a:buFont typeface="Arial" panose="020B0604020202020204" pitchFamily="34" charset="0"/>
                <a:buChar char="•"/>
                <a:defRPr sz="1600" kern="1200">
                  <a:solidFill>
                    <a:schemeClr val="tx1"/>
                  </a:solidFill>
                  <a:latin typeface="+mn-lt"/>
                  <a:ea typeface="+mn-ea"/>
                  <a:cs typeface="+mn-cs"/>
                </a:defRPr>
              </a:lvl5pPr>
              <a:lvl6pPr marL="1080000" indent="-180000" algn="l" defTabSz="914400" rtl="0" eaLnBrk="1" latinLnBrk="0" hangingPunct="1">
                <a:lnSpc>
                  <a:spcPct val="100000"/>
                </a:lnSpc>
                <a:spcBef>
                  <a:spcPts val="0"/>
                </a:spcBef>
                <a:spcAft>
                  <a:spcPts val="600"/>
                </a:spcAft>
                <a:buClr>
                  <a:srgbClr val="BDBDBD"/>
                </a:buClr>
                <a:buFont typeface="Arial" panose="020B0604020202020204" pitchFamily="34" charset="0"/>
                <a:buChar char="•"/>
                <a:defRPr sz="1600" kern="1200">
                  <a:solidFill>
                    <a:schemeClr val="tx1"/>
                  </a:solidFill>
                  <a:latin typeface="+mn-lt"/>
                  <a:ea typeface="+mn-ea"/>
                  <a:cs typeface="+mn-cs"/>
                </a:defRPr>
              </a:lvl6pPr>
              <a:lvl7pPr marL="1260000" indent="-180000" algn="l" defTabSz="914400" rtl="0" eaLnBrk="1" latinLnBrk="0" hangingPunct="1">
                <a:lnSpc>
                  <a:spcPct val="100000"/>
                </a:lnSpc>
                <a:spcBef>
                  <a:spcPts val="0"/>
                </a:spcBef>
                <a:spcAft>
                  <a:spcPts val="600"/>
                </a:spcAft>
                <a:buClr>
                  <a:srgbClr val="BDBDBD"/>
                </a:buClr>
                <a:buFont typeface="Arial" panose="020B0604020202020204" pitchFamily="34" charset="0"/>
                <a:buChar char="•"/>
                <a:defRPr sz="1600" kern="1200">
                  <a:solidFill>
                    <a:schemeClr val="tx1"/>
                  </a:solidFill>
                  <a:latin typeface="+mn-lt"/>
                  <a:ea typeface="+mn-ea"/>
                  <a:cs typeface="+mn-cs"/>
                </a:defRPr>
              </a:lvl7pPr>
              <a:lvl8pPr marL="1440000" indent="-180000" algn="l" defTabSz="914400" rtl="0" eaLnBrk="1" latinLnBrk="0" hangingPunct="1">
                <a:lnSpc>
                  <a:spcPct val="100000"/>
                </a:lnSpc>
                <a:spcBef>
                  <a:spcPts val="0"/>
                </a:spcBef>
                <a:spcAft>
                  <a:spcPts val="600"/>
                </a:spcAft>
                <a:buClr>
                  <a:srgbClr val="BDBDBD"/>
                </a:buClr>
                <a:buFont typeface="Arial" panose="020B0604020202020204" pitchFamily="34" charset="0"/>
                <a:buChar char="•"/>
                <a:defRPr sz="1600" kern="1200">
                  <a:solidFill>
                    <a:schemeClr val="tx1"/>
                  </a:solidFill>
                  <a:latin typeface="+mn-lt"/>
                  <a:ea typeface="+mn-ea"/>
                  <a:cs typeface="+mn-cs"/>
                </a:defRPr>
              </a:lvl8pPr>
              <a:lvl9pPr marL="1620000" indent="-180000" algn="l" defTabSz="914400" rtl="0" eaLnBrk="1" latinLnBrk="0" hangingPunct="1">
                <a:lnSpc>
                  <a:spcPct val="100000"/>
                </a:lnSpc>
                <a:spcBef>
                  <a:spcPts val="0"/>
                </a:spcBef>
                <a:spcAft>
                  <a:spcPts val="600"/>
                </a:spcAft>
                <a:buClr>
                  <a:srgbClr val="BDBDBD"/>
                </a:buClr>
                <a:buFont typeface="Arial" panose="020B0604020202020204" pitchFamily="34" charset="0"/>
                <a:buChar char="•"/>
                <a:defRPr sz="1600" kern="1200">
                  <a:solidFill>
                    <a:schemeClr val="tx1"/>
                  </a:solidFill>
                  <a:latin typeface="+mn-lt"/>
                  <a:ea typeface="+mn-ea"/>
                  <a:cs typeface="+mn-cs"/>
                </a:defRPr>
              </a:lvl9pPr>
            </a:lstStyle>
            <a:p>
              <a:pPr algn="l"/>
              <a:endParaRPr lang="en-US" sz="1600">
                <a:solidFill>
                  <a:sysClr val="windowText" lastClr="000000"/>
                </a:solidFill>
                <a:latin typeface="Segoe UI" panose="020B0502040204020203" pitchFamily="34" charset="0"/>
              </a:endParaRPr>
            </a:p>
            <a:p>
              <a:pPr algn="l"/>
              <a:endParaRPr lang="en-US" sz="1600">
                <a:solidFill>
                  <a:sysClr val="windowText" lastClr="000000"/>
                </a:solidFill>
                <a:latin typeface="Segoe UI" panose="020B0502040204020203" pitchFamily="34" charset="0"/>
              </a:endParaRPr>
            </a:p>
            <a:p>
              <a:pPr algn="l"/>
              <a:endParaRPr lang="en-US" sz="1600">
                <a:solidFill>
                  <a:sysClr val="windowText" lastClr="000000"/>
                </a:solidFill>
                <a:latin typeface="Segoe UI" panose="020B0502040204020203" pitchFamily="34" charset="0"/>
              </a:endParaRPr>
            </a:p>
            <a:p>
              <a:pPr algn="l"/>
              <a:endParaRPr lang="en-US" sz="1600">
                <a:solidFill>
                  <a:sysClr val="windowText" lastClr="000000"/>
                </a:solidFill>
                <a:latin typeface="Segoe UI" panose="020B0502040204020203" pitchFamily="34" charset="0"/>
              </a:endParaRPr>
            </a:p>
            <a:p>
              <a:r>
                <a:rPr lang="en-US" sz="1600">
                  <a:solidFill>
                    <a:sysClr val="windowText" lastClr="000000"/>
                  </a:solidFill>
                  <a:latin typeface="Segoe UI" panose="020B0502040204020203" pitchFamily="34" charset="0"/>
                </a:rPr>
                <a:t>SCD4x</a:t>
              </a:r>
              <a:br>
                <a:rPr lang="en-US" sz="1600">
                  <a:solidFill>
                    <a:sysClr val="windowText" lastClr="000000"/>
                  </a:solidFill>
                  <a:latin typeface="Segoe UI" panose="020B0502040204020203" pitchFamily="34" charset="0"/>
                </a:rPr>
              </a:br>
              <a:r>
                <a:rPr lang="en-US" sz="1600" b="0">
                  <a:solidFill>
                    <a:sysClr val="windowText" lastClr="000000"/>
                  </a:solidFill>
                  <a:latin typeface="Segoe UI" panose="020B0502040204020203" pitchFamily="34" charset="0"/>
                </a:rPr>
                <a:t>Small &amp; cost-competitive PA NDIR CO</a:t>
              </a:r>
              <a:r>
                <a:rPr lang="en-US" sz="1600" b="0" baseline="-25000">
                  <a:solidFill>
                    <a:sysClr val="windowText" lastClr="000000"/>
                  </a:solidFill>
                  <a:latin typeface="Segoe UI" panose="020B0502040204020203" pitchFamily="34" charset="0"/>
                </a:rPr>
                <a:t>2</a:t>
              </a:r>
              <a:r>
                <a:rPr lang="en-US" sz="1600" b="0">
                  <a:solidFill>
                    <a:sysClr val="windowText" lastClr="000000"/>
                  </a:solidFill>
                  <a:latin typeface="Segoe UI" panose="020B0502040204020203" pitchFamily="34" charset="0"/>
                </a:rPr>
                <a:t> sensors</a:t>
              </a:r>
            </a:p>
          </p:txBody>
        </p:sp>
        <p:pic>
          <p:nvPicPr>
            <p:cNvPr id="6" name="SCD40" descr="A close-up of a computer chip&#10;&#10;Description automatically generated">
              <a:extLst>
                <a:ext uri="{FF2B5EF4-FFF2-40B4-BE49-F238E27FC236}">
                  <a16:creationId xmlns:a16="http://schemas.microsoft.com/office/drawing/2014/main" id="{247D3744-EEDA-838F-EEE3-291C77FE1409}"/>
                </a:ext>
              </a:extLst>
            </p:cNvPr>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6026502" y="1612248"/>
              <a:ext cx="1723967" cy="1077479"/>
            </a:xfrm>
            <a:prstGeom prst="rect">
              <a:avLst/>
            </a:prstGeom>
          </p:spPr>
        </p:pic>
      </p:grpSp>
      <p:grpSp>
        <p:nvGrpSpPr>
          <p:cNvPr id="45" name="Group 44">
            <a:extLst>
              <a:ext uri="{FF2B5EF4-FFF2-40B4-BE49-F238E27FC236}">
                <a16:creationId xmlns:a16="http://schemas.microsoft.com/office/drawing/2014/main" id="{9E2A72C7-5808-8D72-FFC7-EB7F917AD21F}"/>
              </a:ext>
            </a:extLst>
          </p:cNvPr>
          <p:cNvGrpSpPr/>
          <p:nvPr/>
        </p:nvGrpSpPr>
        <p:grpSpPr>
          <a:xfrm>
            <a:off x="2185639" y="3740883"/>
            <a:ext cx="1974337" cy="2186023"/>
            <a:chOff x="2185639" y="3740883"/>
            <a:chExt cx="1974337" cy="2186023"/>
          </a:xfrm>
        </p:grpSpPr>
        <p:sp>
          <p:nvSpPr>
            <p:cNvPr id="49" name="Rectangle 48">
              <a:extLst>
                <a:ext uri="{FF2B5EF4-FFF2-40B4-BE49-F238E27FC236}">
                  <a16:creationId xmlns:a16="http://schemas.microsoft.com/office/drawing/2014/main" id="{0ED75EA6-B3B0-9949-CA6A-1FB7D01F5229}"/>
                </a:ext>
              </a:extLst>
            </p:cNvPr>
            <p:cNvSpPr/>
            <p:nvPr/>
          </p:nvSpPr>
          <p:spPr>
            <a:xfrm>
              <a:off x="2185639" y="3740883"/>
              <a:ext cx="1974337" cy="2070000"/>
            </a:xfrm>
            <a:prstGeom prst="rect">
              <a:avLst/>
            </a:prstGeom>
            <a:solidFill>
              <a:srgbClr val="F8FDF5"/>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t" anchorCtr="0"/>
            <a:lstStyle/>
            <a:p>
              <a:pPr algn="ctr">
                <a:spcAft>
                  <a:spcPts val="600"/>
                </a:spcAft>
              </a:pPr>
              <a:r>
                <a:rPr lang="en-US" sz="1400" u="sng">
                  <a:solidFill>
                    <a:sysClr val="windowText" lastClr="000000"/>
                  </a:solidFill>
                </a:rPr>
                <a:t>Properties</a:t>
              </a:r>
            </a:p>
            <a:p>
              <a:pPr>
                <a:lnSpc>
                  <a:spcPct val="175000"/>
                </a:lnSpc>
              </a:pPr>
              <a:r>
                <a:rPr lang="en-US" sz="1200">
                  <a:solidFill>
                    <a:sysClr val="windowText" lastClr="000000"/>
                  </a:solidFill>
                </a:rPr>
                <a:t>High Accuracy</a:t>
              </a:r>
            </a:p>
            <a:p>
              <a:pPr>
                <a:lnSpc>
                  <a:spcPct val="175000"/>
                </a:lnSpc>
              </a:pPr>
              <a:r>
                <a:rPr lang="en-US" sz="1200">
                  <a:solidFill>
                    <a:sysClr val="windowText" lastClr="000000"/>
                  </a:solidFill>
                </a:rPr>
                <a:t>Small Size</a:t>
              </a:r>
            </a:p>
            <a:p>
              <a:pPr>
                <a:lnSpc>
                  <a:spcPct val="175000"/>
                </a:lnSpc>
              </a:pPr>
              <a:r>
                <a:rPr lang="en-US" sz="1200">
                  <a:solidFill>
                    <a:sysClr val="windowText" lastClr="000000"/>
                  </a:solidFill>
                </a:rPr>
                <a:t>Low Price</a:t>
              </a:r>
            </a:p>
            <a:p>
              <a:pPr>
                <a:lnSpc>
                  <a:spcPct val="175000"/>
                </a:lnSpc>
              </a:pPr>
              <a:r>
                <a:rPr lang="en-US" sz="1200">
                  <a:solidFill>
                    <a:sysClr val="windowText" lastClr="000000"/>
                  </a:solidFill>
                </a:rPr>
                <a:t>Low Power</a:t>
              </a:r>
            </a:p>
            <a:p>
              <a:pPr>
                <a:lnSpc>
                  <a:spcPct val="175000"/>
                </a:lnSpc>
              </a:pPr>
              <a:r>
                <a:rPr lang="en-US" sz="1200">
                  <a:solidFill>
                    <a:sysClr val="windowText" lastClr="000000"/>
                  </a:solidFill>
                </a:rPr>
                <a:t>Fast Response</a:t>
              </a:r>
              <a:endParaRPr lang="en-CH" sz="1200">
                <a:solidFill>
                  <a:sysClr val="windowText" lastClr="000000"/>
                </a:solidFill>
              </a:endParaRPr>
            </a:p>
          </p:txBody>
        </p:sp>
        <p:pic>
          <p:nvPicPr>
            <p:cNvPr id="55" name="Graphic 54" descr="Rating 1 Star with solid fill">
              <a:extLst>
                <a:ext uri="{FF2B5EF4-FFF2-40B4-BE49-F238E27FC236}">
                  <a16:creationId xmlns:a16="http://schemas.microsoft.com/office/drawing/2014/main" id="{A91A97AE-D8F1-42F2-F761-120F51F4286F}"/>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3278137" y="3878660"/>
              <a:ext cx="774000" cy="774000"/>
            </a:xfrm>
            <a:prstGeom prst="rect">
              <a:avLst/>
            </a:prstGeom>
          </p:spPr>
        </p:pic>
        <p:grpSp>
          <p:nvGrpSpPr>
            <p:cNvPr id="36" name="Group 35">
              <a:extLst>
                <a:ext uri="{FF2B5EF4-FFF2-40B4-BE49-F238E27FC236}">
                  <a16:creationId xmlns:a16="http://schemas.microsoft.com/office/drawing/2014/main" id="{57D6278D-DA49-3A35-5404-A46E4DDEA798}"/>
                </a:ext>
              </a:extLst>
            </p:cNvPr>
            <p:cNvGrpSpPr/>
            <p:nvPr/>
          </p:nvGrpSpPr>
          <p:grpSpPr>
            <a:xfrm>
              <a:off x="3274084" y="4186565"/>
              <a:ext cx="778053" cy="1740341"/>
              <a:chOff x="3274084" y="4148018"/>
              <a:chExt cx="778053" cy="1740341"/>
            </a:xfrm>
          </p:grpSpPr>
          <p:pic>
            <p:nvPicPr>
              <p:cNvPr id="56" name="Graphic 55" descr="Rating 1 Star with solid fill">
                <a:extLst>
                  <a:ext uri="{FF2B5EF4-FFF2-40B4-BE49-F238E27FC236}">
                    <a16:creationId xmlns:a16="http://schemas.microsoft.com/office/drawing/2014/main" id="{8F29650D-1731-BB6F-9276-ACC27DF41C5D}"/>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3278137" y="4466373"/>
                <a:ext cx="774000" cy="774000"/>
              </a:xfrm>
              <a:prstGeom prst="rect">
                <a:avLst/>
              </a:prstGeom>
            </p:spPr>
          </p:pic>
          <p:pic>
            <p:nvPicPr>
              <p:cNvPr id="79" name="Graphic 78" descr="Rating Star with solid fill">
                <a:extLst>
                  <a:ext uri="{FF2B5EF4-FFF2-40B4-BE49-F238E27FC236}">
                    <a16:creationId xmlns:a16="http://schemas.microsoft.com/office/drawing/2014/main" id="{0C550FF8-E4E1-1726-AF82-2FE43F392B3F}"/>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3278137" y="5114359"/>
                <a:ext cx="774000" cy="774000"/>
              </a:xfrm>
              <a:prstGeom prst="rect">
                <a:avLst/>
              </a:prstGeom>
            </p:spPr>
          </p:pic>
          <p:pic>
            <p:nvPicPr>
              <p:cNvPr id="53" name="Graphic 52" descr="Rating 3 Star with solid fill">
                <a:extLst>
                  <a:ext uri="{FF2B5EF4-FFF2-40B4-BE49-F238E27FC236}">
                    <a16:creationId xmlns:a16="http://schemas.microsoft.com/office/drawing/2014/main" id="{A1A9F11E-4286-B7CD-3C31-785E32A5932E}"/>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3274084" y="4148018"/>
                <a:ext cx="774000" cy="774000"/>
              </a:xfrm>
              <a:prstGeom prst="rect">
                <a:avLst/>
              </a:prstGeom>
            </p:spPr>
          </p:pic>
          <p:pic>
            <p:nvPicPr>
              <p:cNvPr id="54" name="Graphic 53" descr="Rating 3 Star with solid fill">
                <a:extLst>
                  <a:ext uri="{FF2B5EF4-FFF2-40B4-BE49-F238E27FC236}">
                    <a16:creationId xmlns:a16="http://schemas.microsoft.com/office/drawing/2014/main" id="{889CCD01-85BD-C999-399A-C982A7C433BC}"/>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3274313" y="4464728"/>
                <a:ext cx="774000" cy="774000"/>
              </a:xfrm>
              <a:prstGeom prst="rect">
                <a:avLst/>
              </a:prstGeom>
            </p:spPr>
          </p:pic>
          <p:pic>
            <p:nvPicPr>
              <p:cNvPr id="59" name="Graphic 58" descr="Rating 3 Star with solid fill">
                <a:extLst>
                  <a:ext uri="{FF2B5EF4-FFF2-40B4-BE49-F238E27FC236}">
                    <a16:creationId xmlns:a16="http://schemas.microsoft.com/office/drawing/2014/main" id="{E51CDD71-E116-B21F-55C1-5ADCDFC5CDC3}"/>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3274084" y="4785993"/>
                <a:ext cx="774000" cy="774000"/>
              </a:xfrm>
              <a:prstGeom prst="rect">
                <a:avLst/>
              </a:prstGeom>
            </p:spPr>
          </p:pic>
        </p:grpSp>
      </p:grpSp>
      <p:sp>
        <p:nvSpPr>
          <p:cNvPr id="70" name="TextBox 69">
            <a:extLst>
              <a:ext uri="{FF2B5EF4-FFF2-40B4-BE49-F238E27FC236}">
                <a16:creationId xmlns:a16="http://schemas.microsoft.com/office/drawing/2014/main" id="{16BAFD6E-52C2-F281-65A3-13BCCDFAD95A}"/>
              </a:ext>
            </a:extLst>
          </p:cNvPr>
          <p:cNvSpPr txBox="1"/>
          <p:nvPr/>
        </p:nvSpPr>
        <p:spPr>
          <a:xfrm>
            <a:off x="6282181" y="5851529"/>
            <a:ext cx="4998620" cy="190084"/>
          </a:xfrm>
          <a:prstGeom prst="rect">
            <a:avLst/>
          </a:prstGeom>
          <a:noFill/>
        </p:spPr>
        <p:txBody>
          <a:bodyPr wrap="square" lIns="0" tIns="0" rIns="0" bIns="0" rtlCol="0">
            <a:noAutofit/>
          </a:bodyPr>
          <a:lstStyle/>
          <a:p>
            <a:pPr algn="l">
              <a:buClr>
                <a:schemeClr val="accent1"/>
              </a:buClr>
            </a:pPr>
            <a:r>
              <a:rPr lang="en-US" sz="1050"/>
              <a:t>*Specification dependent on sensor variant</a:t>
            </a:r>
            <a:endParaRPr lang="en-CH" sz="1050"/>
          </a:p>
        </p:txBody>
      </p:sp>
      <p:grpSp>
        <p:nvGrpSpPr>
          <p:cNvPr id="63" name="Group 62">
            <a:extLst>
              <a:ext uri="{FF2B5EF4-FFF2-40B4-BE49-F238E27FC236}">
                <a16:creationId xmlns:a16="http://schemas.microsoft.com/office/drawing/2014/main" id="{F5D16C6D-3D51-99FA-7A17-231320FD3383}"/>
              </a:ext>
            </a:extLst>
          </p:cNvPr>
          <p:cNvGrpSpPr/>
          <p:nvPr/>
        </p:nvGrpSpPr>
        <p:grpSpPr>
          <a:xfrm>
            <a:off x="7711417" y="3740314"/>
            <a:ext cx="1968592" cy="2186592"/>
            <a:chOff x="7797866" y="3740314"/>
            <a:chExt cx="1968592" cy="2186592"/>
          </a:xfrm>
        </p:grpSpPr>
        <p:sp>
          <p:nvSpPr>
            <p:cNvPr id="61" name="Rectangle 60">
              <a:extLst>
                <a:ext uri="{FF2B5EF4-FFF2-40B4-BE49-F238E27FC236}">
                  <a16:creationId xmlns:a16="http://schemas.microsoft.com/office/drawing/2014/main" id="{1979F904-C600-7104-F5B3-E2C54AC8BF97}"/>
                </a:ext>
              </a:extLst>
            </p:cNvPr>
            <p:cNvSpPr/>
            <p:nvPr/>
          </p:nvSpPr>
          <p:spPr>
            <a:xfrm>
              <a:off x="7797866" y="3740314"/>
              <a:ext cx="1968592" cy="2070000"/>
            </a:xfrm>
            <a:prstGeom prst="rect">
              <a:avLst/>
            </a:prstGeom>
            <a:solidFill>
              <a:srgbClr val="F8FDF5"/>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t" anchorCtr="0"/>
            <a:lstStyle/>
            <a:p>
              <a:pPr algn="ctr">
                <a:spcAft>
                  <a:spcPts val="600"/>
                </a:spcAft>
              </a:pPr>
              <a:r>
                <a:rPr lang="en-US" sz="1400" u="sng">
                  <a:solidFill>
                    <a:sysClr val="windowText" lastClr="000000"/>
                  </a:solidFill>
                </a:rPr>
                <a:t>Properties</a:t>
              </a:r>
            </a:p>
            <a:p>
              <a:pPr>
                <a:lnSpc>
                  <a:spcPct val="175000"/>
                </a:lnSpc>
              </a:pPr>
              <a:r>
                <a:rPr lang="en-US" sz="1200">
                  <a:solidFill>
                    <a:sysClr val="windowText" lastClr="000000"/>
                  </a:solidFill>
                </a:rPr>
                <a:t>High Accuracy*</a:t>
              </a:r>
            </a:p>
            <a:p>
              <a:pPr>
                <a:lnSpc>
                  <a:spcPct val="175000"/>
                </a:lnSpc>
              </a:pPr>
              <a:r>
                <a:rPr lang="en-US" sz="1200">
                  <a:solidFill>
                    <a:sysClr val="windowText" lastClr="000000"/>
                  </a:solidFill>
                </a:rPr>
                <a:t>Small Size</a:t>
              </a:r>
            </a:p>
            <a:p>
              <a:pPr>
                <a:lnSpc>
                  <a:spcPct val="175000"/>
                </a:lnSpc>
              </a:pPr>
              <a:r>
                <a:rPr lang="en-US" sz="1200">
                  <a:solidFill>
                    <a:sysClr val="windowText" lastClr="000000"/>
                  </a:solidFill>
                </a:rPr>
                <a:t>Low Price</a:t>
              </a:r>
            </a:p>
            <a:p>
              <a:pPr>
                <a:lnSpc>
                  <a:spcPct val="175000"/>
                </a:lnSpc>
              </a:pPr>
              <a:r>
                <a:rPr lang="en-US" sz="1200">
                  <a:solidFill>
                    <a:sysClr val="windowText" lastClr="000000"/>
                  </a:solidFill>
                </a:rPr>
                <a:t>Low Power</a:t>
              </a:r>
            </a:p>
            <a:p>
              <a:pPr>
                <a:lnSpc>
                  <a:spcPct val="175000"/>
                </a:lnSpc>
              </a:pPr>
              <a:r>
                <a:rPr lang="en-US" sz="1200">
                  <a:solidFill>
                    <a:sysClr val="windowText" lastClr="000000"/>
                  </a:solidFill>
                </a:rPr>
                <a:t>Fast Response</a:t>
              </a:r>
              <a:endParaRPr lang="en-CH" sz="1200">
                <a:solidFill>
                  <a:sysClr val="windowText" lastClr="000000"/>
                </a:solidFill>
              </a:endParaRPr>
            </a:p>
          </p:txBody>
        </p:sp>
        <p:grpSp>
          <p:nvGrpSpPr>
            <p:cNvPr id="73" name="Group 72">
              <a:extLst>
                <a:ext uri="{FF2B5EF4-FFF2-40B4-BE49-F238E27FC236}">
                  <a16:creationId xmlns:a16="http://schemas.microsoft.com/office/drawing/2014/main" id="{73686988-9AE0-CE8E-4AD6-46EF63F444D7}"/>
                </a:ext>
              </a:extLst>
            </p:cNvPr>
            <p:cNvGrpSpPr/>
            <p:nvPr/>
          </p:nvGrpSpPr>
          <p:grpSpPr>
            <a:xfrm>
              <a:off x="8926691" y="3889690"/>
              <a:ext cx="774000" cy="2037216"/>
              <a:chOff x="8891949" y="3889690"/>
              <a:chExt cx="774000" cy="2037216"/>
            </a:xfrm>
          </p:grpSpPr>
          <p:pic>
            <p:nvPicPr>
              <p:cNvPr id="60" name="Graphic 59" descr="Rating 1 Star with solid fill">
                <a:extLst>
                  <a:ext uri="{FF2B5EF4-FFF2-40B4-BE49-F238E27FC236}">
                    <a16:creationId xmlns:a16="http://schemas.microsoft.com/office/drawing/2014/main" id="{2BD39950-7D5C-04F8-6120-1072354565D0}"/>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8891949" y="4516604"/>
                <a:ext cx="774000" cy="774000"/>
              </a:xfrm>
              <a:prstGeom prst="rect">
                <a:avLst/>
              </a:prstGeom>
            </p:spPr>
          </p:pic>
          <p:pic>
            <p:nvPicPr>
              <p:cNvPr id="66" name="Graphic 65" descr="Rating 3 Star with solid fill">
                <a:extLst>
                  <a:ext uri="{FF2B5EF4-FFF2-40B4-BE49-F238E27FC236}">
                    <a16:creationId xmlns:a16="http://schemas.microsoft.com/office/drawing/2014/main" id="{4FCAB2A3-4647-101B-C041-85B0C2F55519}"/>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8891949" y="5152906"/>
                <a:ext cx="774000" cy="774000"/>
              </a:xfrm>
              <a:prstGeom prst="rect">
                <a:avLst/>
              </a:prstGeom>
            </p:spPr>
          </p:pic>
          <p:pic>
            <p:nvPicPr>
              <p:cNvPr id="67" name="Graphic 66" descr="Rating Star with solid fill">
                <a:extLst>
                  <a:ext uri="{FF2B5EF4-FFF2-40B4-BE49-F238E27FC236}">
                    <a16:creationId xmlns:a16="http://schemas.microsoft.com/office/drawing/2014/main" id="{5DB6C39F-DFBC-985C-39D4-7E9BBFF52C6D}"/>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8891949" y="4521218"/>
                <a:ext cx="774000" cy="774000"/>
              </a:xfrm>
              <a:prstGeom prst="rect">
                <a:avLst/>
              </a:prstGeom>
            </p:spPr>
          </p:pic>
          <p:pic>
            <p:nvPicPr>
              <p:cNvPr id="64" name="Graphic 63" descr="Rating Star with solid fill">
                <a:extLst>
                  <a:ext uri="{FF2B5EF4-FFF2-40B4-BE49-F238E27FC236}">
                    <a16:creationId xmlns:a16="http://schemas.microsoft.com/office/drawing/2014/main" id="{45684CE8-8B18-51BA-BB26-B0809D1B97F8}"/>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8891949" y="3889690"/>
                <a:ext cx="774000" cy="774000"/>
              </a:xfrm>
              <a:prstGeom prst="rect">
                <a:avLst/>
              </a:prstGeom>
            </p:spPr>
          </p:pic>
          <p:pic>
            <p:nvPicPr>
              <p:cNvPr id="71" name="Graphic 70" descr="Rating 3 Star with solid fill">
                <a:extLst>
                  <a:ext uri="{FF2B5EF4-FFF2-40B4-BE49-F238E27FC236}">
                    <a16:creationId xmlns:a16="http://schemas.microsoft.com/office/drawing/2014/main" id="{56E61977-3BC6-B797-18E6-E0C5ACE3203C}"/>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8891949" y="4208743"/>
                <a:ext cx="774000" cy="774000"/>
              </a:xfrm>
              <a:prstGeom prst="rect">
                <a:avLst/>
              </a:prstGeom>
            </p:spPr>
          </p:pic>
          <p:pic>
            <p:nvPicPr>
              <p:cNvPr id="72" name="Graphic 71" descr="Rating 3 Star with solid fill">
                <a:extLst>
                  <a:ext uri="{FF2B5EF4-FFF2-40B4-BE49-F238E27FC236}">
                    <a16:creationId xmlns:a16="http://schemas.microsoft.com/office/drawing/2014/main" id="{4DF3B4EC-62B5-E2D2-E3BF-34EC80E70236}"/>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8891949" y="4846718"/>
                <a:ext cx="774000" cy="774000"/>
              </a:xfrm>
              <a:prstGeom prst="rect">
                <a:avLst/>
              </a:prstGeom>
            </p:spPr>
          </p:pic>
        </p:grpSp>
      </p:grpSp>
      <p:grpSp>
        <p:nvGrpSpPr>
          <p:cNvPr id="44" name="Group 43">
            <a:extLst>
              <a:ext uri="{FF2B5EF4-FFF2-40B4-BE49-F238E27FC236}">
                <a16:creationId xmlns:a16="http://schemas.microsoft.com/office/drawing/2014/main" id="{B60855A7-F585-D1F1-E3B4-8E40D37FA495}"/>
              </a:ext>
            </a:extLst>
          </p:cNvPr>
          <p:cNvGrpSpPr/>
          <p:nvPr/>
        </p:nvGrpSpPr>
        <p:grpSpPr>
          <a:xfrm>
            <a:off x="4157253" y="3740882"/>
            <a:ext cx="1817062" cy="2070000"/>
            <a:chOff x="4157253" y="3740882"/>
            <a:chExt cx="1817062" cy="2070000"/>
          </a:xfrm>
        </p:grpSpPr>
        <p:sp>
          <p:nvSpPr>
            <p:cNvPr id="27" name="Rectangle 26">
              <a:extLst>
                <a:ext uri="{FF2B5EF4-FFF2-40B4-BE49-F238E27FC236}">
                  <a16:creationId xmlns:a16="http://schemas.microsoft.com/office/drawing/2014/main" id="{DE71090D-4064-94ED-A71B-5664D0931841}"/>
                </a:ext>
              </a:extLst>
            </p:cNvPr>
            <p:cNvSpPr/>
            <p:nvPr/>
          </p:nvSpPr>
          <p:spPr>
            <a:xfrm>
              <a:off x="4157253" y="3740882"/>
              <a:ext cx="1749052" cy="2070000"/>
            </a:xfrm>
            <a:prstGeom prst="rect">
              <a:avLst/>
            </a:prstGeom>
            <a:solidFill>
              <a:srgbClr val="F8FDF5"/>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t" anchorCtr="0"/>
            <a:lstStyle/>
            <a:p>
              <a:pPr algn="ctr"/>
              <a:r>
                <a:rPr lang="en-US" sz="1400">
                  <a:solidFill>
                    <a:sysClr val="windowText" lastClr="000000"/>
                  </a:solidFill>
                </a:rPr>
                <a:t>Applications</a:t>
              </a:r>
              <a:endParaRPr lang="en-CH" sz="1400">
                <a:solidFill>
                  <a:sysClr val="windowText" lastClr="000000"/>
                </a:solidFill>
              </a:endParaRPr>
            </a:p>
          </p:txBody>
        </p:sp>
        <p:pic>
          <p:nvPicPr>
            <p:cNvPr id="25" name="Picture 24" descr="A white rectangular object with holes&#10;&#10;Description automatically generated">
              <a:extLst>
                <a:ext uri="{FF2B5EF4-FFF2-40B4-BE49-F238E27FC236}">
                  <a16:creationId xmlns:a16="http://schemas.microsoft.com/office/drawing/2014/main" id="{65799B40-AAC4-AC32-E1B7-1E5DD20E1398}"/>
                </a:ext>
              </a:extLst>
            </p:cNvPr>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5010060" y="4399843"/>
              <a:ext cx="964255" cy="964255"/>
            </a:xfrm>
            <a:prstGeom prst="rect">
              <a:avLst/>
            </a:prstGeom>
          </p:spPr>
        </p:pic>
        <p:pic>
          <p:nvPicPr>
            <p:cNvPr id="29" name="Picture 28">
              <a:extLst>
                <a:ext uri="{FF2B5EF4-FFF2-40B4-BE49-F238E27FC236}">
                  <a16:creationId xmlns:a16="http://schemas.microsoft.com/office/drawing/2014/main" id="{B5769E66-F522-4246-814B-D286DBD48B87}"/>
                </a:ext>
              </a:extLst>
            </p:cNvPr>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4294496" y="4770061"/>
              <a:ext cx="774091" cy="1018979"/>
            </a:xfrm>
            <a:prstGeom prst="rect">
              <a:avLst/>
            </a:prstGeom>
          </p:spPr>
        </p:pic>
        <p:sp>
          <p:nvSpPr>
            <p:cNvPr id="7" name="TextBox 6">
              <a:extLst>
                <a:ext uri="{FF2B5EF4-FFF2-40B4-BE49-F238E27FC236}">
                  <a16:creationId xmlns:a16="http://schemas.microsoft.com/office/drawing/2014/main" id="{5AEB3553-0617-A7FD-B7B3-CED5BFD5970A}"/>
                </a:ext>
              </a:extLst>
            </p:cNvPr>
            <p:cNvSpPr txBox="1"/>
            <p:nvPr/>
          </p:nvSpPr>
          <p:spPr>
            <a:xfrm>
              <a:off x="4400096" y="4635990"/>
              <a:ext cx="515253" cy="215738"/>
            </a:xfrm>
            <a:prstGeom prst="rect">
              <a:avLst/>
            </a:prstGeom>
            <a:noFill/>
          </p:spPr>
          <p:txBody>
            <a:bodyPr wrap="square" lIns="0" tIns="0" rIns="0" bIns="0" rtlCol="0">
              <a:noAutofit/>
            </a:bodyPr>
            <a:lstStyle/>
            <a:p>
              <a:pPr algn="ctr">
                <a:buClr>
                  <a:schemeClr val="accent1"/>
                </a:buClr>
              </a:pPr>
              <a:r>
                <a:rPr lang="en-US" sz="1200"/>
                <a:t>IAQM</a:t>
              </a:r>
              <a:endParaRPr lang="en-CH" sz="1200"/>
            </a:p>
          </p:txBody>
        </p:sp>
        <p:sp>
          <p:nvSpPr>
            <p:cNvPr id="11" name="TextBox 10">
              <a:extLst>
                <a:ext uri="{FF2B5EF4-FFF2-40B4-BE49-F238E27FC236}">
                  <a16:creationId xmlns:a16="http://schemas.microsoft.com/office/drawing/2014/main" id="{F30C34C8-DB23-4C77-054B-D1A6D37316B1}"/>
                </a:ext>
              </a:extLst>
            </p:cNvPr>
            <p:cNvSpPr txBox="1"/>
            <p:nvPr/>
          </p:nvSpPr>
          <p:spPr>
            <a:xfrm>
              <a:off x="4291699" y="5559993"/>
              <a:ext cx="871651" cy="215738"/>
            </a:xfrm>
            <a:prstGeom prst="rect">
              <a:avLst/>
            </a:prstGeom>
            <a:noFill/>
          </p:spPr>
          <p:txBody>
            <a:bodyPr wrap="square" lIns="0" tIns="0" rIns="0" bIns="0" rtlCol="0">
              <a:noAutofit/>
            </a:bodyPr>
            <a:lstStyle/>
            <a:p>
              <a:pPr algn="ctr">
                <a:buClr>
                  <a:schemeClr val="accent1"/>
                </a:buClr>
              </a:pPr>
              <a:r>
                <a:rPr lang="en-US" sz="1200"/>
                <a:t>Thermostats</a:t>
              </a:r>
              <a:endParaRPr lang="en-CH" sz="1200" err="1"/>
            </a:p>
          </p:txBody>
        </p:sp>
        <p:sp>
          <p:nvSpPr>
            <p:cNvPr id="12" name="TextBox 11">
              <a:extLst>
                <a:ext uri="{FF2B5EF4-FFF2-40B4-BE49-F238E27FC236}">
                  <a16:creationId xmlns:a16="http://schemas.microsoft.com/office/drawing/2014/main" id="{73DBADAA-41D3-3391-6F9D-2843F10C1625}"/>
                </a:ext>
              </a:extLst>
            </p:cNvPr>
            <p:cNvSpPr txBox="1"/>
            <p:nvPr/>
          </p:nvSpPr>
          <p:spPr>
            <a:xfrm>
              <a:off x="5066300" y="5256229"/>
              <a:ext cx="871651" cy="215738"/>
            </a:xfrm>
            <a:prstGeom prst="rect">
              <a:avLst/>
            </a:prstGeom>
            <a:noFill/>
          </p:spPr>
          <p:txBody>
            <a:bodyPr wrap="square" lIns="0" tIns="0" rIns="0" bIns="0" rtlCol="0">
              <a:noAutofit/>
            </a:bodyPr>
            <a:lstStyle/>
            <a:p>
              <a:pPr algn="ctr">
                <a:buClr>
                  <a:schemeClr val="accent1"/>
                </a:buClr>
              </a:pPr>
              <a:r>
                <a:rPr lang="en-US" sz="1200"/>
                <a:t>Appliances</a:t>
              </a:r>
              <a:endParaRPr lang="en-CH" sz="1200" err="1"/>
            </a:p>
          </p:txBody>
        </p:sp>
        <p:pic>
          <p:nvPicPr>
            <p:cNvPr id="41" name="Picture 40" descr="A white round object with a green stripe&#10;&#10;Description automatically generated">
              <a:extLst>
                <a:ext uri="{FF2B5EF4-FFF2-40B4-BE49-F238E27FC236}">
                  <a16:creationId xmlns:a16="http://schemas.microsoft.com/office/drawing/2014/main" id="{A67D5FFD-B144-1077-1446-148BB59C5827}"/>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4275549" y="3965083"/>
              <a:ext cx="781494" cy="781494"/>
            </a:xfrm>
            <a:prstGeom prst="rect">
              <a:avLst/>
            </a:prstGeom>
          </p:spPr>
        </p:pic>
      </p:grpSp>
      <p:grpSp>
        <p:nvGrpSpPr>
          <p:cNvPr id="58" name="Group 57">
            <a:extLst>
              <a:ext uri="{FF2B5EF4-FFF2-40B4-BE49-F238E27FC236}">
                <a16:creationId xmlns:a16="http://schemas.microsoft.com/office/drawing/2014/main" id="{CB940DB0-9BD0-0DA0-0CE8-870B1B8DE152}"/>
              </a:ext>
            </a:extLst>
          </p:cNvPr>
          <p:cNvGrpSpPr/>
          <p:nvPr/>
        </p:nvGrpSpPr>
        <p:grpSpPr>
          <a:xfrm>
            <a:off x="5975961" y="3740882"/>
            <a:ext cx="1738691" cy="2070000"/>
            <a:chOff x="9766458" y="3741069"/>
            <a:chExt cx="1738691" cy="2070000"/>
          </a:xfrm>
        </p:grpSpPr>
        <p:sp>
          <p:nvSpPr>
            <p:cNvPr id="40" name="Rectangle 39">
              <a:extLst>
                <a:ext uri="{FF2B5EF4-FFF2-40B4-BE49-F238E27FC236}">
                  <a16:creationId xmlns:a16="http://schemas.microsoft.com/office/drawing/2014/main" id="{1FB0F685-76D7-194B-7FE0-C6C7F584F3B5}"/>
                </a:ext>
              </a:extLst>
            </p:cNvPr>
            <p:cNvSpPr/>
            <p:nvPr/>
          </p:nvSpPr>
          <p:spPr>
            <a:xfrm>
              <a:off x="9766458" y="3741069"/>
              <a:ext cx="1738691" cy="2070000"/>
            </a:xfrm>
            <a:prstGeom prst="rect">
              <a:avLst/>
            </a:prstGeom>
            <a:solidFill>
              <a:srgbClr val="F8FDF5"/>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t" anchorCtr="0"/>
            <a:lstStyle/>
            <a:p>
              <a:pPr algn="ctr"/>
              <a:r>
                <a:rPr lang="en-US" sz="1400">
                  <a:solidFill>
                    <a:sysClr val="windowText" lastClr="000000"/>
                  </a:solidFill>
                </a:rPr>
                <a:t>Applications</a:t>
              </a:r>
              <a:endParaRPr lang="en-CH" sz="1400">
                <a:solidFill>
                  <a:sysClr val="windowText" lastClr="000000"/>
                </a:solidFill>
              </a:endParaRPr>
            </a:p>
          </p:txBody>
        </p:sp>
        <p:sp>
          <p:nvSpPr>
            <p:cNvPr id="23" name="TextBox 22">
              <a:extLst>
                <a:ext uri="{FF2B5EF4-FFF2-40B4-BE49-F238E27FC236}">
                  <a16:creationId xmlns:a16="http://schemas.microsoft.com/office/drawing/2014/main" id="{FB24F132-6B80-CB7C-25B7-9A01FBEF7DF8}"/>
                </a:ext>
              </a:extLst>
            </p:cNvPr>
            <p:cNvSpPr txBox="1"/>
            <p:nvPr/>
          </p:nvSpPr>
          <p:spPr>
            <a:xfrm>
              <a:off x="10006361" y="4124305"/>
              <a:ext cx="888922" cy="211366"/>
            </a:xfrm>
            <a:prstGeom prst="rect">
              <a:avLst/>
            </a:prstGeom>
            <a:noFill/>
          </p:spPr>
          <p:txBody>
            <a:bodyPr wrap="square" lIns="0" tIns="0" rIns="0" bIns="0" rtlCol="0">
              <a:noAutofit/>
            </a:bodyPr>
            <a:lstStyle/>
            <a:p>
              <a:pPr algn="ctr">
                <a:buClr>
                  <a:schemeClr val="accent1"/>
                </a:buClr>
              </a:pPr>
              <a:r>
                <a:rPr lang="en-US" sz="1100">
                  <a:solidFill>
                    <a:sysClr val="windowText" lastClr="000000"/>
                  </a:solidFill>
                </a:rPr>
                <a:t>CA Transport</a:t>
              </a:r>
              <a:endParaRPr lang="en-CH" sz="1100">
                <a:solidFill>
                  <a:sysClr val="windowText" lastClr="000000"/>
                </a:solidFill>
              </a:endParaRPr>
            </a:p>
          </p:txBody>
        </p:sp>
        <p:pic>
          <p:nvPicPr>
            <p:cNvPr id="57" name="Grafik 56" descr="Ein Bild, das Elektronisches Gerät, Text, Fernbedienung, Controller enthält.&#10;&#10;Automatisch generierte Beschreibung">
              <a:extLst>
                <a:ext uri="{FF2B5EF4-FFF2-40B4-BE49-F238E27FC236}">
                  <a16:creationId xmlns:a16="http://schemas.microsoft.com/office/drawing/2014/main" id="{36ED0342-313D-1A7C-78A8-DB0146F72751}"/>
                </a:ext>
              </a:extLst>
            </p:cNvPr>
            <p:cNvPicPr>
              <a:picLocks noChangeAspect="1"/>
            </p:cNvPicPr>
            <p:nvPr/>
          </p:nvPicPr>
          <p:blipFill>
            <a:blip r:embed="rId18">
              <a:extLst>
                <a:ext uri="{28A0092B-C50C-407E-A947-70E740481C1C}">
                  <a14:useLocalDpi xmlns:a14="http://schemas.microsoft.com/office/drawing/2010/main" val="0"/>
                </a:ext>
              </a:extLst>
            </a:blip>
            <a:stretch>
              <a:fillRect/>
            </a:stretch>
          </p:blipFill>
          <p:spPr>
            <a:xfrm>
              <a:off x="10686931" y="4502649"/>
              <a:ext cx="804213" cy="1137961"/>
            </a:xfrm>
            <a:prstGeom prst="rect">
              <a:avLst/>
            </a:prstGeom>
          </p:spPr>
        </p:pic>
        <p:sp>
          <p:nvSpPr>
            <p:cNvPr id="20" name="TextBox 19">
              <a:extLst>
                <a:ext uri="{FF2B5EF4-FFF2-40B4-BE49-F238E27FC236}">
                  <a16:creationId xmlns:a16="http://schemas.microsoft.com/office/drawing/2014/main" id="{FBF5E63B-3EA5-0672-B0E4-EA972A33D886}"/>
                </a:ext>
              </a:extLst>
            </p:cNvPr>
            <p:cNvSpPr txBox="1"/>
            <p:nvPr/>
          </p:nvSpPr>
          <p:spPr>
            <a:xfrm>
              <a:off x="10821189" y="5327850"/>
              <a:ext cx="581505" cy="393660"/>
            </a:xfrm>
            <a:prstGeom prst="rect">
              <a:avLst/>
            </a:prstGeom>
            <a:noFill/>
          </p:spPr>
          <p:txBody>
            <a:bodyPr wrap="square" lIns="0" tIns="0" rIns="0" bIns="0" rtlCol="0">
              <a:noAutofit/>
            </a:bodyPr>
            <a:lstStyle>
              <a:defPPr>
                <a:defRPr lang="de-DE"/>
              </a:defPPr>
              <a:lvl1pPr algn="ctr">
                <a:buClr>
                  <a:schemeClr val="accent1"/>
                </a:buClr>
                <a:defRPr sz="1100">
                  <a:solidFill>
                    <a:sysClr val="windowText" lastClr="000000"/>
                  </a:solidFill>
                </a:defRPr>
              </a:lvl1pPr>
            </a:lstStyle>
            <a:p>
              <a:r>
                <a:rPr lang="en-US"/>
                <a:t>Breath Analysis</a:t>
              </a:r>
              <a:endParaRPr lang="en-CH"/>
            </a:p>
          </p:txBody>
        </p:sp>
        <p:pic>
          <p:nvPicPr>
            <p:cNvPr id="62" name="Grafik 61" descr="Ein Bild, das Zylinder, Design enthält.&#10;&#10;Automatisch generierte Beschreibung">
              <a:extLst>
                <a:ext uri="{FF2B5EF4-FFF2-40B4-BE49-F238E27FC236}">
                  <a16:creationId xmlns:a16="http://schemas.microsoft.com/office/drawing/2014/main" id="{E2DB09C0-63F4-15B6-8E4E-C5B45C8CD82D}"/>
                </a:ext>
              </a:extLst>
            </p:cNvPr>
            <p:cNvPicPr>
              <a:picLocks noChangeAspect="1"/>
            </p:cNvPicPr>
            <p:nvPr/>
          </p:nvPicPr>
          <p:blipFill>
            <a:blip r:embed="rId19">
              <a:extLst>
                <a:ext uri="{28A0092B-C50C-407E-A947-70E740481C1C}">
                  <a14:useLocalDpi xmlns:a14="http://schemas.microsoft.com/office/drawing/2010/main" val="0"/>
                </a:ext>
              </a:extLst>
            </a:blip>
            <a:stretch>
              <a:fillRect/>
            </a:stretch>
          </p:blipFill>
          <p:spPr>
            <a:xfrm>
              <a:off x="9791952" y="4621109"/>
              <a:ext cx="901039" cy="901039"/>
            </a:xfrm>
            <a:prstGeom prst="rect">
              <a:avLst/>
            </a:prstGeom>
          </p:spPr>
        </p:pic>
        <p:sp>
          <p:nvSpPr>
            <p:cNvPr id="24" name="TextBox 23">
              <a:extLst>
                <a:ext uri="{FF2B5EF4-FFF2-40B4-BE49-F238E27FC236}">
                  <a16:creationId xmlns:a16="http://schemas.microsoft.com/office/drawing/2014/main" id="{2AFF8585-9AEF-D77A-9052-103ED8FF343D}"/>
                </a:ext>
              </a:extLst>
            </p:cNvPr>
            <p:cNvSpPr txBox="1"/>
            <p:nvPr/>
          </p:nvSpPr>
          <p:spPr>
            <a:xfrm>
              <a:off x="9951515" y="5378629"/>
              <a:ext cx="515834" cy="398803"/>
            </a:xfrm>
            <a:prstGeom prst="rect">
              <a:avLst/>
            </a:prstGeom>
            <a:noFill/>
          </p:spPr>
          <p:txBody>
            <a:bodyPr wrap="square" lIns="0" tIns="0" rIns="0" bIns="0" rtlCol="0">
              <a:noAutofit/>
            </a:bodyPr>
            <a:lstStyle>
              <a:defPPr>
                <a:defRPr lang="de-DE"/>
              </a:defPPr>
              <a:lvl1pPr algn="ctr">
                <a:buClr>
                  <a:schemeClr val="accent1"/>
                </a:buClr>
                <a:defRPr sz="1100">
                  <a:solidFill>
                    <a:sysClr val="windowText" lastClr="000000"/>
                  </a:solidFill>
                </a:defRPr>
              </a:lvl1pPr>
            </a:lstStyle>
            <a:p>
              <a:r>
                <a:rPr lang="en-US"/>
                <a:t>Grain Storage</a:t>
              </a:r>
              <a:endParaRPr lang="en-CH"/>
            </a:p>
          </p:txBody>
        </p:sp>
        <p:pic>
          <p:nvPicPr>
            <p:cNvPr id="35" name="Grafik 34">
              <a:extLst>
                <a:ext uri="{FF2B5EF4-FFF2-40B4-BE49-F238E27FC236}">
                  <a16:creationId xmlns:a16="http://schemas.microsoft.com/office/drawing/2014/main" id="{7095BDDF-AF70-D82A-322F-7186755B4615}"/>
                </a:ext>
              </a:extLst>
            </p:cNvPr>
            <p:cNvPicPr>
              <a:picLocks noChangeAspect="1"/>
            </p:cNvPicPr>
            <p:nvPr/>
          </p:nvPicPr>
          <p:blipFill>
            <a:blip r:embed="rId20">
              <a:extLst>
                <a:ext uri="{28A0092B-C50C-407E-A947-70E740481C1C}">
                  <a14:useLocalDpi xmlns:a14="http://schemas.microsoft.com/office/drawing/2010/main" val="0"/>
                </a:ext>
              </a:extLst>
            </a:blip>
            <a:stretch>
              <a:fillRect/>
            </a:stretch>
          </p:blipFill>
          <p:spPr>
            <a:xfrm>
              <a:off x="10447151" y="4195297"/>
              <a:ext cx="1027797" cy="578992"/>
            </a:xfrm>
            <a:prstGeom prst="rect">
              <a:avLst/>
            </a:prstGeom>
          </p:spPr>
        </p:pic>
      </p:grpSp>
    </p:spTree>
    <p:extLst>
      <p:ext uri="{BB962C8B-B14F-4D97-AF65-F5344CB8AC3E}">
        <p14:creationId xmlns:p14="http://schemas.microsoft.com/office/powerpoint/2010/main" val="2458678492"/>
      </p:ext>
    </p:extLst>
  </p:cSld>
  <p:clrMapOvr>
    <a:masterClrMapping/>
  </p:clrMapOvr>
  <mc:AlternateContent xmlns:mc="http://schemas.openxmlformats.org/markup-compatibility/2006">
    <mc:Choice xmlns:p14="http://schemas.microsoft.com/office/powerpoint/2010/main" Requires="p14">
      <p:transition spd="slow" p14:dur="2000" advTm="63344"/>
    </mc:Choice>
    <mc:Fallback>
      <p:transition spd="slow" advTm="63344"/>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Placeholder 8">
            <a:extLst>
              <a:ext uri="{FF2B5EF4-FFF2-40B4-BE49-F238E27FC236}">
                <a16:creationId xmlns:a16="http://schemas.microsoft.com/office/drawing/2014/main" id="{1554A915-B812-EC02-A058-C39A47DE19B4}"/>
              </a:ext>
            </a:extLst>
          </p:cNvPr>
          <p:cNvPicPr>
            <a:picLocks noGrp="1" noChangeAspect="1"/>
          </p:cNvPicPr>
          <p:nvPr>
            <p:ph type="pic" sz="quarter" idx="11"/>
          </p:nvPr>
        </p:nvPicPr>
        <p:blipFill rotWithShape="1">
          <a:blip r:embed="rId3">
            <a:extLst>
              <a:ext uri="{28A0092B-C50C-407E-A947-70E740481C1C}">
                <a14:useLocalDpi xmlns:a14="http://schemas.microsoft.com/office/drawing/2010/main" val="0"/>
              </a:ext>
            </a:extLst>
          </a:blip>
          <a:srcRect t="7899" r="26493" b="34392"/>
          <a:stretch/>
        </p:blipFill>
        <p:spPr>
          <a:xfrm>
            <a:off x="0" y="0"/>
            <a:ext cx="12192000" cy="6858000"/>
          </a:xfrm>
        </p:spPr>
      </p:pic>
      <p:sp>
        <p:nvSpPr>
          <p:cNvPr id="3" name="Title 2">
            <a:extLst>
              <a:ext uri="{FF2B5EF4-FFF2-40B4-BE49-F238E27FC236}">
                <a16:creationId xmlns:a16="http://schemas.microsoft.com/office/drawing/2014/main" id="{9C143160-FB88-7C0E-0C67-1ED45F19652B}"/>
              </a:ext>
            </a:extLst>
          </p:cNvPr>
          <p:cNvSpPr>
            <a:spLocks noGrp="1"/>
          </p:cNvSpPr>
          <p:nvPr>
            <p:ph type="ctrTitle"/>
          </p:nvPr>
        </p:nvSpPr>
        <p:spPr/>
        <p:txBody>
          <a:bodyPr/>
          <a:lstStyle/>
          <a:p>
            <a:r>
              <a:rPr lang="en-US"/>
              <a:t>SEN6x</a:t>
            </a:r>
          </a:p>
        </p:txBody>
      </p:sp>
      <p:sp>
        <p:nvSpPr>
          <p:cNvPr id="4" name="Text Placeholder 3">
            <a:extLst>
              <a:ext uri="{FF2B5EF4-FFF2-40B4-BE49-F238E27FC236}">
                <a16:creationId xmlns:a16="http://schemas.microsoft.com/office/drawing/2014/main" id="{4ED668AA-280F-68FF-EE80-8EDD91381424}"/>
              </a:ext>
            </a:extLst>
          </p:cNvPr>
          <p:cNvSpPr>
            <a:spLocks noGrp="1"/>
          </p:cNvSpPr>
          <p:nvPr>
            <p:ph type="body" sz="quarter" idx="10"/>
          </p:nvPr>
        </p:nvSpPr>
        <p:spPr>
          <a:xfrm>
            <a:off x="1189036" y="3063969"/>
            <a:ext cx="9144000" cy="246221"/>
          </a:xfrm>
        </p:spPr>
        <p:txBody>
          <a:bodyPr vert="horz" wrap="square" lIns="0" tIns="0" rIns="0" bIns="0" rtlCol="0" anchor="t">
            <a:spAutoFit/>
          </a:bodyPr>
          <a:lstStyle/>
          <a:p>
            <a:r>
              <a:rPr lang="en-US">
                <a:solidFill>
                  <a:schemeClr val="bg1"/>
                </a:solidFill>
              </a:rPr>
              <a:t>September 2025</a:t>
            </a:r>
            <a:endParaRPr lang="en-US"/>
          </a:p>
        </p:txBody>
      </p:sp>
      <p:sp>
        <p:nvSpPr>
          <p:cNvPr id="5" name="Text Placeholder 4">
            <a:extLst>
              <a:ext uri="{FF2B5EF4-FFF2-40B4-BE49-F238E27FC236}">
                <a16:creationId xmlns:a16="http://schemas.microsoft.com/office/drawing/2014/main" id="{C79BAA86-C1AF-DF35-1185-9F59C36CDACA}"/>
              </a:ext>
            </a:extLst>
          </p:cNvPr>
          <p:cNvSpPr>
            <a:spLocks noGrp="1"/>
          </p:cNvSpPr>
          <p:nvPr>
            <p:ph type="body" sz="quarter" idx="12"/>
          </p:nvPr>
        </p:nvSpPr>
        <p:spPr/>
        <p:txBody>
          <a:bodyPr/>
          <a:lstStyle/>
          <a:p>
            <a:endParaRPr lang="en-US"/>
          </a:p>
        </p:txBody>
      </p:sp>
      <p:sp>
        <p:nvSpPr>
          <p:cNvPr id="6" name="Text Placeholder 5">
            <a:extLst>
              <a:ext uri="{FF2B5EF4-FFF2-40B4-BE49-F238E27FC236}">
                <a16:creationId xmlns:a16="http://schemas.microsoft.com/office/drawing/2014/main" id="{A57FD5A5-5D20-372F-5B7A-FFBCDD457979}"/>
              </a:ext>
            </a:extLst>
          </p:cNvPr>
          <p:cNvSpPr>
            <a:spLocks noGrp="1"/>
          </p:cNvSpPr>
          <p:nvPr>
            <p:ph type="body" sz="quarter" idx="13"/>
          </p:nvPr>
        </p:nvSpPr>
        <p:spPr/>
        <p:txBody>
          <a:bodyPr/>
          <a:lstStyle/>
          <a:p>
            <a:endParaRPr lang="en-US"/>
          </a:p>
        </p:txBody>
      </p:sp>
      <p:sp>
        <p:nvSpPr>
          <p:cNvPr id="7" name="Text Placeholder 6">
            <a:extLst>
              <a:ext uri="{FF2B5EF4-FFF2-40B4-BE49-F238E27FC236}">
                <a16:creationId xmlns:a16="http://schemas.microsoft.com/office/drawing/2014/main" id="{F86356DE-8D65-3DCF-8252-26E4B70E97DE}"/>
              </a:ext>
            </a:extLst>
          </p:cNvPr>
          <p:cNvSpPr>
            <a:spLocks noGrp="1"/>
          </p:cNvSpPr>
          <p:nvPr>
            <p:ph type="body" sz="quarter" idx="14"/>
          </p:nvPr>
        </p:nvSpPr>
        <p:spPr>
          <a:xfrm>
            <a:off x="1189036" y="1712694"/>
            <a:ext cx="10232571" cy="975814"/>
          </a:xfrm>
        </p:spPr>
        <p:txBody>
          <a:bodyPr/>
          <a:lstStyle/>
          <a:p>
            <a:r>
              <a:rPr lang="en-US" sz="3200">
                <a:solidFill>
                  <a:schemeClr val="bg1"/>
                </a:solidFill>
              </a:rPr>
              <a:t>All-In-One Combo Solution for Air Quality Monitoring</a:t>
            </a:r>
          </a:p>
        </p:txBody>
      </p:sp>
    </p:spTree>
    <p:extLst>
      <p:ext uri="{BB962C8B-B14F-4D97-AF65-F5344CB8AC3E}">
        <p14:creationId xmlns:p14="http://schemas.microsoft.com/office/powerpoint/2010/main" val="129744818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6" name="Picture Placeholder 6">
            <a:extLst>
              <a:ext uri="{FF2B5EF4-FFF2-40B4-BE49-F238E27FC236}">
                <a16:creationId xmlns:a16="http://schemas.microsoft.com/office/drawing/2014/main" id="{FDCA7275-9EB5-B11A-48E8-AB2F8D893A24}"/>
              </a:ext>
            </a:extLst>
          </p:cNvPr>
          <p:cNvPicPr>
            <a:picLocks noGrp="1" noChangeAspect="1"/>
          </p:cNvPicPr>
          <p:nvPr>
            <p:ph type="pic" sz="quarter" idx="11"/>
          </p:nvPr>
        </p:nvPicPr>
        <p:blipFill rotWithShape="1">
          <a:blip r:embed="rId3" cstate="print">
            <a:extLst>
              <a:ext uri="{28A0092B-C50C-407E-A947-70E740481C1C}">
                <a14:useLocalDpi xmlns:a14="http://schemas.microsoft.com/office/drawing/2010/main" val="0"/>
              </a:ext>
            </a:extLst>
          </a:blip>
          <a:srcRect l="16410" r="16410"/>
          <a:stretch/>
        </p:blipFill>
        <p:spPr bwMode="gray">
          <a:xfrm>
            <a:off x="6096000" y="0"/>
            <a:ext cx="6096000" cy="6057900"/>
          </a:xfrm>
        </p:spPr>
      </p:pic>
      <p:sp>
        <p:nvSpPr>
          <p:cNvPr id="25" name="Title 24">
            <a:extLst>
              <a:ext uri="{FF2B5EF4-FFF2-40B4-BE49-F238E27FC236}">
                <a16:creationId xmlns:a16="http://schemas.microsoft.com/office/drawing/2014/main" id="{2925193C-B29F-9FFA-AD10-BE09DD54FB18}"/>
              </a:ext>
            </a:extLst>
          </p:cNvPr>
          <p:cNvSpPr>
            <a:spLocks noGrp="1"/>
          </p:cNvSpPr>
          <p:nvPr>
            <p:ph type="title"/>
          </p:nvPr>
        </p:nvSpPr>
        <p:spPr bwMode="gray">
          <a:xfrm>
            <a:off x="515937" y="476250"/>
            <a:ext cx="5219701" cy="430887"/>
          </a:xfrm>
        </p:spPr>
        <p:txBody>
          <a:bodyPr/>
          <a:lstStyle/>
          <a:p>
            <a:r>
              <a:rPr lang="en-US"/>
              <a:t>New SEN6x Releases!!!</a:t>
            </a:r>
          </a:p>
        </p:txBody>
      </p:sp>
      <p:sp>
        <p:nvSpPr>
          <p:cNvPr id="27" name="TextBox 26">
            <a:extLst>
              <a:ext uri="{FF2B5EF4-FFF2-40B4-BE49-F238E27FC236}">
                <a16:creationId xmlns:a16="http://schemas.microsoft.com/office/drawing/2014/main" id="{4F840F60-F270-D098-30EA-C9C5F134F989}"/>
              </a:ext>
            </a:extLst>
          </p:cNvPr>
          <p:cNvSpPr txBox="1"/>
          <p:nvPr/>
        </p:nvSpPr>
        <p:spPr bwMode="gray">
          <a:xfrm>
            <a:off x="515937" y="5519291"/>
            <a:ext cx="5048283" cy="553998"/>
          </a:xfrm>
          <a:prstGeom prst="rect">
            <a:avLst/>
          </a:prstGeom>
          <a:solidFill>
            <a:schemeClr val="accent2"/>
          </a:solidFill>
          <a:ln w="38100">
            <a:noFill/>
          </a:ln>
        </p:spPr>
        <p:txBody>
          <a:bodyPr wrap="square" lIns="91440" tIns="45720" rIns="91440" bIns="45720" rtlCol="0" anchor="ctr" anchorCtr="0">
            <a:spAutoFit/>
          </a:bodyPr>
          <a:lstStyle/>
          <a:p>
            <a:pPr algn="ctr"/>
            <a:r>
              <a:rPr lang="en-US" sz="1600">
                <a:solidFill>
                  <a:schemeClr val="bg1"/>
                </a:solidFill>
              </a:rPr>
              <a:t>Identical physical interface for all variants! </a:t>
            </a:r>
          </a:p>
          <a:p>
            <a:pPr algn="ctr"/>
            <a:r>
              <a:rPr lang="en-US" sz="1400">
                <a:solidFill>
                  <a:schemeClr val="bg1"/>
                </a:solidFill>
                <a:sym typeface="Wingdings" panose="05000000000000000000" pitchFamily="2" charset="2"/>
              </a:rPr>
              <a:t> One Design-In</a:t>
            </a:r>
            <a:endParaRPr lang="en-US" sz="1400">
              <a:solidFill>
                <a:schemeClr val="bg1"/>
              </a:solidFill>
            </a:endParaRPr>
          </a:p>
        </p:txBody>
      </p:sp>
      <p:pic>
        <p:nvPicPr>
          <p:cNvPr id="41" name="Picture 40" descr="A black device with white text&#10;&#10;Description automatically generated">
            <a:extLst>
              <a:ext uri="{FF2B5EF4-FFF2-40B4-BE49-F238E27FC236}">
                <a16:creationId xmlns:a16="http://schemas.microsoft.com/office/drawing/2014/main" id="{968CA2C8-B9E5-CE62-E9EA-EF1AD3D29250}"/>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bwMode="gray">
          <a:xfrm>
            <a:off x="1923523" y="1381179"/>
            <a:ext cx="2233109" cy="1153393"/>
          </a:xfrm>
          <a:prstGeom prst="rect">
            <a:avLst/>
          </a:prstGeom>
        </p:spPr>
      </p:pic>
      <p:sp>
        <p:nvSpPr>
          <p:cNvPr id="57" name="TextBox 56">
            <a:extLst>
              <a:ext uri="{FF2B5EF4-FFF2-40B4-BE49-F238E27FC236}">
                <a16:creationId xmlns:a16="http://schemas.microsoft.com/office/drawing/2014/main" id="{2A0FBA6B-407E-87D9-2F40-DB53B2E320E1}"/>
              </a:ext>
            </a:extLst>
          </p:cNvPr>
          <p:cNvSpPr txBox="1"/>
          <p:nvPr/>
        </p:nvSpPr>
        <p:spPr bwMode="gray">
          <a:xfrm>
            <a:off x="515937" y="3137319"/>
            <a:ext cx="5048283" cy="360000"/>
          </a:xfrm>
          <a:prstGeom prst="rect">
            <a:avLst/>
          </a:prstGeom>
          <a:solidFill>
            <a:schemeClr val="bg1">
              <a:lumMod val="95000"/>
            </a:schemeClr>
          </a:solidFill>
          <a:ln w="57150">
            <a:solidFill>
              <a:srgbClr val="66CC33"/>
            </a:solidFill>
          </a:ln>
        </p:spPr>
        <p:txBody>
          <a:bodyPr wrap="square" rtlCol="0" anchor="ctr">
            <a:no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lang="en-US" sz="1400" b="1">
                <a:solidFill>
                  <a:schemeClr val="tx2"/>
                </a:solidFill>
                <a:latin typeface="+mj-lt"/>
                <a:cs typeface="Segoe UI" panose="020B0502040204020203" pitchFamily="34" charset="0"/>
              </a:rPr>
              <a:t>SEN63C </a:t>
            </a:r>
            <a:r>
              <a:rPr lang="en-US" sz="1400">
                <a:solidFill>
                  <a:schemeClr val="tx2"/>
                </a:solidFill>
                <a:latin typeface="+mj-lt"/>
                <a:cs typeface="Segoe UI" panose="020B0502040204020203" pitchFamily="34" charset="0"/>
              </a:rPr>
              <a:t>– PM, RH&amp;T, CO</a:t>
            </a:r>
            <a:r>
              <a:rPr lang="en-US" sz="1400" baseline="-25000">
                <a:solidFill>
                  <a:schemeClr val="tx2"/>
                </a:solidFill>
                <a:latin typeface="+mj-lt"/>
                <a:cs typeface="Segoe UI" panose="020B0502040204020203" pitchFamily="34" charset="0"/>
              </a:rPr>
              <a:t>2</a:t>
            </a:r>
            <a:endParaRPr lang="en-US" sz="1400">
              <a:solidFill>
                <a:schemeClr val="tx2"/>
              </a:solidFill>
              <a:latin typeface="+mj-lt"/>
              <a:cs typeface="Segoe UI" panose="020B0502040204020203" pitchFamily="34" charset="0"/>
            </a:endParaRPr>
          </a:p>
        </p:txBody>
      </p:sp>
      <p:sp>
        <p:nvSpPr>
          <p:cNvPr id="55" name="TextBox 54">
            <a:extLst>
              <a:ext uri="{FF2B5EF4-FFF2-40B4-BE49-F238E27FC236}">
                <a16:creationId xmlns:a16="http://schemas.microsoft.com/office/drawing/2014/main" id="{3BB0EF38-4B03-EDC3-DEE0-D74229DF5FA5}"/>
              </a:ext>
            </a:extLst>
          </p:cNvPr>
          <p:cNvSpPr txBox="1"/>
          <p:nvPr/>
        </p:nvSpPr>
        <p:spPr bwMode="gray">
          <a:xfrm>
            <a:off x="515937" y="3595211"/>
            <a:ext cx="5048283" cy="360000"/>
          </a:xfrm>
          <a:prstGeom prst="rect">
            <a:avLst/>
          </a:prstGeom>
          <a:solidFill>
            <a:schemeClr val="bg1">
              <a:lumMod val="95000"/>
            </a:schemeClr>
          </a:solidFill>
          <a:ln w="57150">
            <a:noFill/>
          </a:ln>
        </p:spPr>
        <p:txBody>
          <a:bodyPr wrap="square" lIns="91440" tIns="45720" rIns="91440" bIns="45720" rtlCol="0" anchor="ctr">
            <a:noAutofit/>
          </a:bodyPr>
          <a:lstStyle/>
          <a:p>
            <a:pPr fontAlgn="base">
              <a:spcBef>
                <a:spcPct val="0"/>
              </a:spcBef>
              <a:spcAft>
                <a:spcPct val="0"/>
              </a:spcAft>
              <a:defRPr/>
            </a:pPr>
            <a:r>
              <a:rPr lang="en-US" sz="1400" b="1">
                <a:solidFill>
                  <a:schemeClr val="tx2"/>
                </a:solidFill>
                <a:latin typeface="+mj-lt"/>
                <a:cs typeface="Segoe UI"/>
              </a:rPr>
              <a:t>SEN65 </a:t>
            </a:r>
            <a:r>
              <a:rPr lang="en-US" sz="1400">
                <a:solidFill>
                  <a:schemeClr val="tx2"/>
                </a:solidFill>
                <a:latin typeface="+mj-lt"/>
                <a:cs typeface="Segoe UI"/>
              </a:rPr>
              <a:t>– PM, RH&amp;T, VOC &amp; NO</a:t>
            </a:r>
            <a:r>
              <a:rPr lang="en-US" sz="1400" baseline="-25000">
                <a:solidFill>
                  <a:schemeClr val="tx2"/>
                </a:solidFill>
                <a:latin typeface="+mj-lt"/>
                <a:cs typeface="Segoe UI"/>
              </a:rPr>
              <a:t>X</a:t>
            </a:r>
            <a:endParaRPr lang="en-US" sz="1400" baseline="-25000">
              <a:solidFill>
                <a:schemeClr val="tx2"/>
              </a:solidFill>
              <a:latin typeface="+mj-lt"/>
              <a:cs typeface="Segoe UI" panose="020B0502040204020203" pitchFamily="34" charset="0"/>
            </a:endParaRPr>
          </a:p>
        </p:txBody>
      </p:sp>
      <p:sp>
        <p:nvSpPr>
          <p:cNvPr id="53" name="TextBox 52">
            <a:extLst>
              <a:ext uri="{FF2B5EF4-FFF2-40B4-BE49-F238E27FC236}">
                <a16:creationId xmlns:a16="http://schemas.microsoft.com/office/drawing/2014/main" id="{636BDBA7-5654-5DDB-1F2E-B0EEB34B61CE}"/>
              </a:ext>
            </a:extLst>
          </p:cNvPr>
          <p:cNvSpPr txBox="1"/>
          <p:nvPr/>
        </p:nvSpPr>
        <p:spPr bwMode="gray">
          <a:xfrm>
            <a:off x="515935" y="4053103"/>
            <a:ext cx="5048283" cy="360000"/>
          </a:xfrm>
          <a:prstGeom prst="rect">
            <a:avLst/>
          </a:prstGeom>
          <a:solidFill>
            <a:schemeClr val="bg1">
              <a:lumMod val="95000"/>
            </a:schemeClr>
          </a:solidFill>
        </p:spPr>
        <p:txBody>
          <a:bodyPr wrap="square" rtlCol="0" anchor="ctr">
            <a:no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lang="en-US" sz="1400" b="1">
                <a:solidFill>
                  <a:schemeClr val="tx2"/>
                </a:solidFill>
                <a:latin typeface="+mj-lt"/>
                <a:cs typeface="Segoe UI" panose="020B0502040204020203" pitchFamily="34" charset="0"/>
              </a:rPr>
              <a:t>SEN66 </a:t>
            </a:r>
            <a:r>
              <a:rPr lang="en-US" sz="1400">
                <a:solidFill>
                  <a:schemeClr val="tx2"/>
                </a:solidFill>
                <a:latin typeface="+mj-lt"/>
                <a:cs typeface="Segoe UI" panose="020B0502040204020203" pitchFamily="34" charset="0"/>
              </a:rPr>
              <a:t>– PM, RH&amp;T, VOC &amp; NO</a:t>
            </a:r>
            <a:r>
              <a:rPr lang="en-US" sz="1400" baseline="-25000">
                <a:solidFill>
                  <a:schemeClr val="tx2"/>
                </a:solidFill>
                <a:latin typeface="+mj-lt"/>
                <a:cs typeface="Segoe UI" panose="020B0502040204020203" pitchFamily="34" charset="0"/>
              </a:rPr>
              <a:t>X</a:t>
            </a:r>
            <a:r>
              <a:rPr lang="en-US" sz="1400">
                <a:solidFill>
                  <a:schemeClr val="tx2"/>
                </a:solidFill>
                <a:latin typeface="+mj-lt"/>
                <a:cs typeface="Segoe UI" panose="020B0502040204020203" pitchFamily="34" charset="0"/>
              </a:rPr>
              <a:t>, CO</a:t>
            </a:r>
            <a:r>
              <a:rPr lang="en-US" sz="1400" baseline="-25000">
                <a:solidFill>
                  <a:schemeClr val="tx2"/>
                </a:solidFill>
                <a:latin typeface="+mj-lt"/>
                <a:cs typeface="Segoe UI" panose="020B0502040204020203" pitchFamily="34" charset="0"/>
              </a:rPr>
              <a:t>2</a:t>
            </a:r>
          </a:p>
        </p:txBody>
      </p:sp>
      <p:sp>
        <p:nvSpPr>
          <p:cNvPr id="51" name="TextBox 50">
            <a:extLst>
              <a:ext uri="{FF2B5EF4-FFF2-40B4-BE49-F238E27FC236}">
                <a16:creationId xmlns:a16="http://schemas.microsoft.com/office/drawing/2014/main" id="{78FFB879-1E43-A1B2-1BE7-799FEB35C696}"/>
              </a:ext>
            </a:extLst>
          </p:cNvPr>
          <p:cNvSpPr txBox="1"/>
          <p:nvPr/>
        </p:nvSpPr>
        <p:spPr bwMode="gray">
          <a:xfrm>
            <a:off x="515934" y="4510995"/>
            <a:ext cx="5048283" cy="360000"/>
          </a:xfrm>
          <a:prstGeom prst="rect">
            <a:avLst/>
          </a:prstGeom>
          <a:solidFill>
            <a:schemeClr val="bg1">
              <a:lumMod val="95000"/>
            </a:schemeClr>
          </a:solidFill>
          <a:ln w="57150">
            <a:solidFill>
              <a:schemeClr val="accent1"/>
            </a:solidFill>
          </a:ln>
        </p:spPr>
        <p:txBody>
          <a:bodyPr wrap="square" rtlCol="0" anchor="ctr">
            <a:no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lang="en-US" sz="1400" b="1">
                <a:solidFill>
                  <a:schemeClr val="tx2"/>
                </a:solidFill>
                <a:latin typeface="+mj-lt"/>
                <a:cs typeface="Segoe UI" panose="020B0502040204020203" pitchFamily="34" charset="0"/>
              </a:rPr>
              <a:t>SEN68 </a:t>
            </a:r>
            <a:r>
              <a:rPr lang="en-US" sz="1400">
                <a:solidFill>
                  <a:schemeClr val="tx2"/>
                </a:solidFill>
                <a:latin typeface="+mj-lt"/>
                <a:cs typeface="Segoe UI" panose="020B0502040204020203" pitchFamily="34" charset="0"/>
              </a:rPr>
              <a:t>– PM, RH&amp;T, VOC &amp; NO</a:t>
            </a:r>
            <a:r>
              <a:rPr lang="en-US" sz="1400" baseline="-25000">
                <a:solidFill>
                  <a:schemeClr val="tx2"/>
                </a:solidFill>
                <a:latin typeface="+mj-lt"/>
                <a:cs typeface="Segoe UI" panose="020B0502040204020203" pitchFamily="34" charset="0"/>
              </a:rPr>
              <a:t>X</a:t>
            </a:r>
            <a:r>
              <a:rPr lang="en-US" sz="1400">
                <a:solidFill>
                  <a:schemeClr val="tx2"/>
                </a:solidFill>
                <a:latin typeface="+mj-lt"/>
                <a:cs typeface="Segoe UI" panose="020B0502040204020203" pitchFamily="34" charset="0"/>
              </a:rPr>
              <a:t>, HCHO</a:t>
            </a:r>
          </a:p>
        </p:txBody>
      </p:sp>
      <p:sp>
        <p:nvSpPr>
          <p:cNvPr id="59" name="Slide Number Placeholder 4">
            <a:extLst>
              <a:ext uri="{FF2B5EF4-FFF2-40B4-BE49-F238E27FC236}">
                <a16:creationId xmlns:a16="http://schemas.microsoft.com/office/drawing/2014/main" id="{34B3145D-A178-659D-27DD-D74AE52E6DCD}"/>
              </a:ext>
            </a:extLst>
          </p:cNvPr>
          <p:cNvSpPr txBox="1">
            <a:spLocks/>
          </p:cNvSpPr>
          <p:nvPr/>
        </p:nvSpPr>
        <p:spPr bwMode="gray">
          <a:xfrm>
            <a:off x="515937" y="6310083"/>
            <a:ext cx="137858" cy="153888"/>
          </a:xfrm>
          <a:prstGeom prst="rect">
            <a:avLst/>
          </a:prstGeom>
        </p:spPr>
        <p:txBody>
          <a:bodyPr vert="horz" wrap="none" lIns="0" tIns="0" rIns="0" bIns="0" rtlCol="0" anchor="ctr">
            <a:spAutoFit/>
          </a:bodyPr>
          <a:lstStyle>
            <a:defPPr>
              <a:defRPr lang="de-DE"/>
            </a:defPPr>
            <a:lvl1pPr marL="0" algn="l" defTabSz="914400" rtl="0" eaLnBrk="1" latinLnBrk="0" hangingPunct="1">
              <a:lnSpc>
                <a:spcPct val="100000"/>
              </a:lnSpc>
              <a:defRPr sz="1000" kern="1200">
                <a:solidFill>
                  <a:schemeClr val="accent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1E691A1-F3A6-4574-B226-B412272B38A6}" type="slidenum">
              <a:rPr lang="en-US" smtClean="0"/>
              <a:pPr/>
              <a:t>17</a:t>
            </a:fld>
            <a:endParaRPr lang="en-US"/>
          </a:p>
        </p:txBody>
      </p:sp>
      <p:sp>
        <p:nvSpPr>
          <p:cNvPr id="60" name="Footer Placeholder 5">
            <a:extLst>
              <a:ext uri="{FF2B5EF4-FFF2-40B4-BE49-F238E27FC236}">
                <a16:creationId xmlns:a16="http://schemas.microsoft.com/office/drawing/2014/main" id="{A4CAD3E8-8266-8EEE-89AD-7C7FA76813F8}"/>
              </a:ext>
            </a:extLst>
          </p:cNvPr>
          <p:cNvSpPr txBox="1">
            <a:spLocks/>
          </p:cNvSpPr>
          <p:nvPr/>
        </p:nvSpPr>
        <p:spPr bwMode="gray">
          <a:xfrm>
            <a:off x="1249680" y="6310083"/>
            <a:ext cx="1971694" cy="153888"/>
          </a:xfrm>
          <a:prstGeom prst="rect">
            <a:avLst/>
          </a:prstGeom>
        </p:spPr>
        <p:txBody>
          <a:bodyPr vert="horz" wrap="square" lIns="0" tIns="0" rIns="0" bIns="0" rtlCol="0" anchor="ctr">
            <a:spAutoFit/>
          </a:bodyPr>
          <a:lstStyle>
            <a:defPPr>
              <a:defRPr lang="de-DE"/>
            </a:defPPr>
            <a:lvl1pPr marL="0" algn="l" defTabSz="914400" rtl="0" eaLnBrk="1" latinLnBrk="0" hangingPunct="1">
              <a:lnSpc>
                <a:spcPct val="100000"/>
              </a:lnSpc>
              <a:defRPr sz="1000" kern="1200">
                <a:solidFill>
                  <a:schemeClr val="accent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t>© Copyright Sensirion, Switzerland</a:t>
            </a:r>
          </a:p>
        </p:txBody>
      </p:sp>
      <p:sp>
        <p:nvSpPr>
          <p:cNvPr id="2" name="TextBox 1">
            <a:extLst>
              <a:ext uri="{FF2B5EF4-FFF2-40B4-BE49-F238E27FC236}">
                <a16:creationId xmlns:a16="http://schemas.microsoft.com/office/drawing/2014/main" id="{EBCEAAB8-4F77-613B-D624-A089FE75CD79}"/>
              </a:ext>
            </a:extLst>
          </p:cNvPr>
          <p:cNvSpPr txBox="1"/>
          <p:nvPr/>
        </p:nvSpPr>
        <p:spPr bwMode="gray">
          <a:xfrm>
            <a:off x="515937" y="2676065"/>
            <a:ext cx="5048283" cy="360000"/>
          </a:xfrm>
          <a:prstGeom prst="rect">
            <a:avLst/>
          </a:prstGeom>
          <a:solidFill>
            <a:schemeClr val="bg1">
              <a:lumMod val="95000"/>
            </a:schemeClr>
          </a:solidFill>
        </p:spPr>
        <p:txBody>
          <a:bodyPr wrap="square" rtlCol="0" anchor="ctr">
            <a:no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lang="en-US" sz="1400" b="1">
                <a:solidFill>
                  <a:schemeClr val="tx2"/>
                </a:solidFill>
                <a:latin typeface="+mj-lt"/>
                <a:cs typeface="Segoe UI" panose="020B0502040204020203" pitchFamily="34" charset="0"/>
              </a:rPr>
              <a:t>SEN62 </a:t>
            </a:r>
            <a:r>
              <a:rPr lang="en-US" sz="1400">
                <a:solidFill>
                  <a:schemeClr val="tx2"/>
                </a:solidFill>
                <a:latin typeface="+mj-lt"/>
                <a:cs typeface="Segoe UI" panose="020B0502040204020203" pitchFamily="34" charset="0"/>
              </a:rPr>
              <a:t>– PM, RHT</a:t>
            </a:r>
          </a:p>
        </p:txBody>
      </p:sp>
      <p:sp>
        <p:nvSpPr>
          <p:cNvPr id="3" name="TextBox 2">
            <a:extLst>
              <a:ext uri="{FF2B5EF4-FFF2-40B4-BE49-F238E27FC236}">
                <a16:creationId xmlns:a16="http://schemas.microsoft.com/office/drawing/2014/main" id="{63591DA8-45A8-7307-8E51-839FB7237DBF}"/>
              </a:ext>
            </a:extLst>
          </p:cNvPr>
          <p:cNvSpPr txBox="1"/>
          <p:nvPr/>
        </p:nvSpPr>
        <p:spPr bwMode="gray">
          <a:xfrm>
            <a:off x="515934" y="4968887"/>
            <a:ext cx="5048283" cy="360000"/>
          </a:xfrm>
          <a:prstGeom prst="rect">
            <a:avLst/>
          </a:prstGeom>
          <a:solidFill>
            <a:schemeClr val="bg1">
              <a:lumMod val="95000"/>
            </a:schemeClr>
          </a:solidFill>
          <a:ln w="57150">
            <a:solidFill>
              <a:schemeClr val="accent1"/>
            </a:solidFill>
          </a:ln>
        </p:spPr>
        <p:txBody>
          <a:bodyPr wrap="square" rtlCol="0" anchor="ctr">
            <a:no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lang="en-US" sz="1400" b="1">
                <a:solidFill>
                  <a:schemeClr val="tx2"/>
                </a:solidFill>
                <a:latin typeface="+mj-lt"/>
                <a:cs typeface="Segoe UI" panose="020B0502040204020203" pitchFamily="34" charset="0"/>
              </a:rPr>
              <a:t>SEN69C </a:t>
            </a:r>
            <a:r>
              <a:rPr lang="en-US" sz="1400">
                <a:solidFill>
                  <a:schemeClr val="tx2"/>
                </a:solidFill>
                <a:latin typeface="+mj-lt"/>
                <a:cs typeface="Segoe UI" panose="020B0502040204020203" pitchFamily="34" charset="0"/>
              </a:rPr>
              <a:t>– PM, RH&amp;T, VOC &amp; NO</a:t>
            </a:r>
            <a:r>
              <a:rPr lang="en-US" sz="1400" baseline="-25000">
                <a:solidFill>
                  <a:schemeClr val="tx2"/>
                </a:solidFill>
                <a:latin typeface="+mj-lt"/>
                <a:cs typeface="Segoe UI" panose="020B0502040204020203" pitchFamily="34" charset="0"/>
              </a:rPr>
              <a:t>X</a:t>
            </a:r>
            <a:r>
              <a:rPr lang="en-US" sz="1400">
                <a:solidFill>
                  <a:schemeClr val="tx2"/>
                </a:solidFill>
                <a:latin typeface="+mj-lt"/>
                <a:cs typeface="Segoe UI" panose="020B0502040204020203" pitchFamily="34" charset="0"/>
              </a:rPr>
              <a:t>, HCHO, CO</a:t>
            </a:r>
            <a:r>
              <a:rPr lang="en-US" sz="1400" baseline="-25000">
                <a:solidFill>
                  <a:schemeClr val="tx2"/>
                </a:solidFill>
                <a:latin typeface="+mj-lt"/>
                <a:cs typeface="Segoe UI" panose="020B0502040204020203" pitchFamily="34" charset="0"/>
              </a:rPr>
              <a:t>2</a:t>
            </a:r>
            <a:endParaRPr lang="en-US" sz="1400">
              <a:solidFill>
                <a:schemeClr val="tx2"/>
              </a:solidFill>
              <a:latin typeface="+mj-lt"/>
              <a:cs typeface="Segoe UI" panose="020B0502040204020203" pitchFamily="34" charset="0"/>
            </a:endParaRPr>
          </a:p>
        </p:txBody>
      </p:sp>
      <p:sp>
        <p:nvSpPr>
          <p:cNvPr id="4" name="TextBox 3">
            <a:extLst>
              <a:ext uri="{FF2B5EF4-FFF2-40B4-BE49-F238E27FC236}">
                <a16:creationId xmlns:a16="http://schemas.microsoft.com/office/drawing/2014/main" id="{A044FB6E-2B2A-3CEB-C855-7363D44A9038}"/>
              </a:ext>
            </a:extLst>
          </p:cNvPr>
          <p:cNvSpPr txBox="1"/>
          <p:nvPr/>
        </p:nvSpPr>
        <p:spPr>
          <a:xfrm>
            <a:off x="5013541" y="3159013"/>
            <a:ext cx="587651" cy="314683"/>
          </a:xfrm>
          <a:prstGeom prst="rect">
            <a:avLst/>
          </a:prstGeom>
          <a:noFill/>
          <a:ln>
            <a:no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spAutoFit/>
          </a:bodyPr>
          <a:lstStyle/>
          <a:p>
            <a:pPr>
              <a:buClr>
                <a:schemeClr val="accent1"/>
              </a:buClr>
            </a:pPr>
            <a:r>
              <a:rPr lang="en-US" sz="1100" b="1">
                <a:solidFill>
                  <a:srgbClr val="66CC33"/>
                </a:solidFill>
                <a:cs typeface="Segoe UI"/>
              </a:rPr>
              <a:t>STCC4</a:t>
            </a:r>
          </a:p>
        </p:txBody>
      </p:sp>
      <p:sp>
        <p:nvSpPr>
          <p:cNvPr id="5" name="TextBox 4">
            <a:extLst>
              <a:ext uri="{FF2B5EF4-FFF2-40B4-BE49-F238E27FC236}">
                <a16:creationId xmlns:a16="http://schemas.microsoft.com/office/drawing/2014/main" id="{C88104B2-3E08-2BDB-56F9-E6C0A0F40BD1}"/>
              </a:ext>
            </a:extLst>
          </p:cNvPr>
          <p:cNvSpPr txBox="1"/>
          <p:nvPr/>
        </p:nvSpPr>
        <p:spPr>
          <a:xfrm>
            <a:off x="5041419" y="4538850"/>
            <a:ext cx="587651" cy="314683"/>
          </a:xfrm>
          <a:prstGeom prst="rect">
            <a:avLst/>
          </a:prstGeom>
          <a:noFill/>
          <a:ln>
            <a:no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spAutoFit/>
          </a:bodyPr>
          <a:lstStyle/>
          <a:p>
            <a:pPr>
              <a:buClr>
                <a:schemeClr val="accent1"/>
              </a:buClr>
            </a:pPr>
            <a:r>
              <a:rPr lang="en-US" sz="1100" b="1">
                <a:solidFill>
                  <a:srgbClr val="66CC33"/>
                </a:solidFill>
                <a:cs typeface="Segoe UI"/>
              </a:rPr>
              <a:t>SFA40</a:t>
            </a:r>
          </a:p>
        </p:txBody>
      </p:sp>
      <p:sp>
        <p:nvSpPr>
          <p:cNvPr id="6" name="TextBox 5">
            <a:extLst>
              <a:ext uri="{FF2B5EF4-FFF2-40B4-BE49-F238E27FC236}">
                <a16:creationId xmlns:a16="http://schemas.microsoft.com/office/drawing/2014/main" id="{16FFF2B8-9BB1-09B3-6B35-E290A30C95D1}"/>
              </a:ext>
            </a:extLst>
          </p:cNvPr>
          <p:cNvSpPr txBox="1"/>
          <p:nvPr/>
        </p:nvSpPr>
        <p:spPr>
          <a:xfrm>
            <a:off x="4417302" y="4991932"/>
            <a:ext cx="1174596" cy="314683"/>
          </a:xfrm>
          <a:prstGeom prst="rect">
            <a:avLst/>
          </a:prstGeom>
          <a:noFill/>
          <a:ln>
            <a:no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spAutoFit/>
          </a:bodyPr>
          <a:lstStyle/>
          <a:p>
            <a:pPr>
              <a:buClr>
                <a:schemeClr val="accent1"/>
              </a:buClr>
            </a:pPr>
            <a:r>
              <a:rPr lang="en-US" sz="1100" b="1">
                <a:solidFill>
                  <a:srgbClr val="66CC33"/>
                </a:solidFill>
                <a:cs typeface="Segoe UI"/>
              </a:rPr>
              <a:t>SFA40 + STCC4</a:t>
            </a:r>
          </a:p>
        </p:txBody>
      </p:sp>
      <p:sp>
        <p:nvSpPr>
          <p:cNvPr id="8" name="Title 24">
            <a:extLst>
              <a:ext uri="{FF2B5EF4-FFF2-40B4-BE49-F238E27FC236}">
                <a16:creationId xmlns:a16="http://schemas.microsoft.com/office/drawing/2014/main" id="{2925193C-B29F-9FFA-AD10-BE09DD54FB18}"/>
              </a:ext>
            </a:extLst>
          </p:cNvPr>
          <p:cNvSpPr>
            <a:spLocks noGrp="1"/>
          </p:cNvSpPr>
          <p:nvPr/>
        </p:nvSpPr>
        <p:spPr bwMode="gray">
          <a:xfrm>
            <a:off x="515937" y="908737"/>
            <a:ext cx="5219701" cy="215444"/>
          </a:xfrm>
          <a:prstGeom prst="rect">
            <a:avLst/>
          </a:prstGeom>
        </p:spPr>
        <p:txBody>
          <a:bodyPr vert="horz" wrap="square" lIns="0" tIns="0" rIns="0" bIns="0" rtlCol="0" anchor="t">
            <a:spAutoFit/>
          </a:bodyPr>
          <a:lstStyle>
            <a:lvl1pPr algn="l" defTabSz="914400" rtl="0" eaLnBrk="1" latinLnBrk="0" hangingPunct="1">
              <a:lnSpc>
                <a:spcPct val="100000"/>
              </a:lnSpc>
              <a:spcBef>
                <a:spcPct val="0"/>
              </a:spcBef>
              <a:buNone/>
              <a:defRPr sz="2800" b="1" kern="1200">
                <a:solidFill>
                  <a:schemeClr val="accent1"/>
                </a:solidFill>
                <a:latin typeface="+mj-lt"/>
                <a:ea typeface="+mj-ea"/>
                <a:cs typeface="+mj-cs"/>
              </a:defRPr>
            </a:lvl1pPr>
          </a:lstStyle>
          <a:p>
            <a:r>
              <a:rPr lang="en-US" sz="1400">
                <a:solidFill>
                  <a:srgbClr val="000000"/>
                </a:solidFill>
              </a:rPr>
              <a:t>A Modular Platform Tailored to Your Customer's Application</a:t>
            </a:r>
          </a:p>
        </p:txBody>
      </p:sp>
    </p:spTree>
    <p:extLst>
      <p:ext uri="{BB962C8B-B14F-4D97-AF65-F5344CB8AC3E}">
        <p14:creationId xmlns:p14="http://schemas.microsoft.com/office/powerpoint/2010/main" val="218849640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0" name="Content Placeholder 9">
            <a:extLst>
              <a:ext uri="{FF2B5EF4-FFF2-40B4-BE49-F238E27FC236}">
                <a16:creationId xmlns:a16="http://schemas.microsoft.com/office/drawing/2014/main" id="{FFBF8E7C-69B8-2E38-CBD2-C748A8AF3E49}"/>
              </a:ext>
            </a:extLst>
          </p:cNvPr>
          <p:cNvSpPr>
            <a:spLocks noGrp="1"/>
          </p:cNvSpPr>
          <p:nvPr>
            <p:ph sz="quarter" idx="15"/>
          </p:nvPr>
        </p:nvSpPr>
        <p:spPr bwMode="gray">
          <a:xfrm>
            <a:off x="515937" y="1281960"/>
            <a:ext cx="6312880" cy="4826962"/>
          </a:xfrm>
        </p:spPr>
        <p:txBody>
          <a:bodyPr wrap="square">
            <a:spAutoFit/>
          </a:bodyPr>
          <a:lstStyle/>
          <a:p>
            <a:pPr marL="0" indent="0">
              <a:buNone/>
            </a:pPr>
            <a:r>
              <a:rPr lang="en-US" b="1">
                <a:solidFill>
                  <a:schemeClr val="tx2"/>
                </a:solidFill>
              </a:rPr>
              <a:t>SEN62 – 	</a:t>
            </a:r>
            <a:r>
              <a:rPr lang="en-US">
                <a:solidFill>
                  <a:schemeClr val="tx2"/>
                </a:solidFill>
              </a:rPr>
              <a:t>PM, RH&amp;T</a:t>
            </a:r>
          </a:p>
          <a:p>
            <a:pPr marL="540000" indent="-720000">
              <a:buNone/>
            </a:pPr>
            <a:r>
              <a:rPr lang="en-US">
                <a:solidFill>
                  <a:schemeClr val="bg2">
                    <a:lumMod val="50000"/>
                  </a:schemeClr>
                </a:solidFill>
              </a:rPr>
              <a:t>		Our lowest cost PM sensor ever!</a:t>
            </a:r>
          </a:p>
          <a:p>
            <a:pPr marL="0" indent="0">
              <a:spcBef>
                <a:spcPts val="1600"/>
              </a:spcBef>
              <a:buNone/>
            </a:pPr>
            <a:r>
              <a:rPr lang="en-US" b="1">
                <a:solidFill>
                  <a:schemeClr val="tx2"/>
                </a:solidFill>
              </a:rPr>
              <a:t>SEN63C –</a:t>
            </a:r>
            <a:r>
              <a:rPr lang="en-US">
                <a:solidFill>
                  <a:schemeClr val="tx2"/>
                </a:solidFill>
              </a:rPr>
              <a:t>PM, RH&amp;T, CO</a:t>
            </a:r>
            <a:r>
              <a:rPr lang="en-US" baseline="-25000">
                <a:solidFill>
                  <a:schemeClr val="tx2"/>
                </a:solidFill>
              </a:rPr>
              <a:t>2</a:t>
            </a:r>
            <a:endParaRPr lang="en-US">
              <a:solidFill>
                <a:schemeClr val="tx2"/>
              </a:solidFill>
            </a:endParaRPr>
          </a:p>
          <a:p>
            <a:pPr marL="0" indent="0">
              <a:buNone/>
            </a:pPr>
            <a:r>
              <a:rPr lang="en-US">
                <a:solidFill>
                  <a:schemeClr val="bg2">
                    <a:lumMod val="50000"/>
                  </a:schemeClr>
                </a:solidFill>
              </a:rPr>
              <a:t>	All-in-one solution for entry level IAQ monitors</a:t>
            </a:r>
          </a:p>
          <a:p>
            <a:pPr marL="0" indent="0">
              <a:spcBef>
                <a:spcPts val="1600"/>
              </a:spcBef>
              <a:buNone/>
            </a:pPr>
            <a:r>
              <a:rPr lang="en-US" b="1">
                <a:solidFill>
                  <a:schemeClr val="tx2"/>
                </a:solidFill>
              </a:rPr>
              <a:t>SEN65 – 	</a:t>
            </a:r>
            <a:r>
              <a:rPr lang="en-US">
                <a:solidFill>
                  <a:schemeClr val="tx2"/>
                </a:solidFill>
              </a:rPr>
              <a:t>PM, RH&amp;T, VOC &amp; NO</a:t>
            </a:r>
            <a:r>
              <a:rPr lang="en-US" baseline="-25000">
                <a:solidFill>
                  <a:schemeClr val="tx2"/>
                </a:solidFill>
              </a:rPr>
              <a:t>x</a:t>
            </a:r>
          </a:p>
          <a:p>
            <a:pPr marL="0" indent="0">
              <a:buNone/>
            </a:pPr>
            <a:r>
              <a:rPr lang="en-US">
                <a:solidFill>
                  <a:schemeClr val="bg2">
                    <a:lumMod val="50000"/>
                  </a:schemeClr>
                </a:solidFill>
              </a:rPr>
              <a:t>	All-in-one solution for air purifiers</a:t>
            </a:r>
          </a:p>
          <a:p>
            <a:pPr marL="0" indent="0">
              <a:spcBef>
                <a:spcPts val="1600"/>
              </a:spcBef>
              <a:buNone/>
            </a:pPr>
            <a:r>
              <a:rPr lang="en-US" b="1">
                <a:solidFill>
                  <a:schemeClr val="tx2"/>
                </a:solidFill>
              </a:rPr>
              <a:t>SEN66 – 	</a:t>
            </a:r>
            <a:r>
              <a:rPr lang="en-US">
                <a:solidFill>
                  <a:schemeClr val="tx2"/>
                </a:solidFill>
              </a:rPr>
              <a:t>PM, RH&amp;T, VOC &amp; NO</a:t>
            </a:r>
            <a:r>
              <a:rPr lang="en-US" baseline="-25000">
                <a:solidFill>
                  <a:schemeClr val="tx2"/>
                </a:solidFill>
              </a:rPr>
              <a:t>x</a:t>
            </a:r>
            <a:r>
              <a:rPr lang="en-US">
                <a:solidFill>
                  <a:schemeClr val="tx2"/>
                </a:solidFill>
              </a:rPr>
              <a:t>, CO</a:t>
            </a:r>
            <a:r>
              <a:rPr lang="en-US" baseline="-25000">
                <a:solidFill>
                  <a:schemeClr val="tx2"/>
                </a:solidFill>
              </a:rPr>
              <a:t>2</a:t>
            </a:r>
            <a:endParaRPr lang="en-US">
              <a:solidFill>
                <a:schemeClr val="tx2"/>
              </a:solidFill>
            </a:endParaRPr>
          </a:p>
          <a:p>
            <a:pPr marL="0" indent="0">
              <a:buNone/>
            </a:pPr>
            <a:r>
              <a:rPr lang="en-US">
                <a:solidFill>
                  <a:schemeClr val="bg2">
                    <a:lumMod val="50000"/>
                  </a:schemeClr>
                </a:solidFill>
              </a:rPr>
              <a:t>	All-in-one solution for IAQ monitors and air exchangers</a:t>
            </a:r>
            <a:endParaRPr lang="en-US" baseline="-25000">
              <a:solidFill>
                <a:schemeClr val="bg2">
                  <a:lumMod val="50000"/>
                </a:schemeClr>
              </a:solidFill>
            </a:endParaRPr>
          </a:p>
          <a:p>
            <a:pPr marL="0" indent="0">
              <a:spcBef>
                <a:spcPts val="1600"/>
              </a:spcBef>
              <a:buNone/>
            </a:pPr>
            <a:r>
              <a:rPr lang="en-US" b="1">
                <a:solidFill>
                  <a:schemeClr val="tx2"/>
                </a:solidFill>
              </a:rPr>
              <a:t>SEN68 – 	</a:t>
            </a:r>
            <a:r>
              <a:rPr lang="en-US">
                <a:solidFill>
                  <a:schemeClr val="tx2"/>
                </a:solidFill>
              </a:rPr>
              <a:t>PM, RH&amp;T, VOC &amp; NO</a:t>
            </a:r>
            <a:r>
              <a:rPr lang="en-US" baseline="-25000">
                <a:solidFill>
                  <a:schemeClr val="tx2"/>
                </a:solidFill>
              </a:rPr>
              <a:t>x</a:t>
            </a:r>
            <a:r>
              <a:rPr lang="en-US">
                <a:solidFill>
                  <a:schemeClr val="tx2"/>
                </a:solidFill>
              </a:rPr>
              <a:t>, HCHO</a:t>
            </a:r>
          </a:p>
          <a:p>
            <a:pPr marL="0" indent="0">
              <a:buNone/>
            </a:pPr>
            <a:r>
              <a:rPr lang="en-US">
                <a:solidFill>
                  <a:schemeClr val="bg2">
                    <a:lumMod val="50000"/>
                  </a:schemeClr>
                </a:solidFill>
              </a:rPr>
              <a:t>	All-in-one solution for high end air purifiers</a:t>
            </a:r>
          </a:p>
          <a:p>
            <a:pPr marL="0" indent="0">
              <a:spcBef>
                <a:spcPts val="1600"/>
              </a:spcBef>
              <a:buNone/>
            </a:pPr>
            <a:r>
              <a:rPr lang="en-US" b="1">
                <a:solidFill>
                  <a:schemeClr val="tx2"/>
                </a:solidFill>
              </a:rPr>
              <a:t>SEN69C –</a:t>
            </a:r>
            <a:r>
              <a:rPr lang="en-US">
                <a:solidFill>
                  <a:schemeClr val="tx2"/>
                </a:solidFill>
              </a:rPr>
              <a:t>PM, RH&amp;T, VOC &amp; NO</a:t>
            </a:r>
            <a:r>
              <a:rPr lang="en-US" baseline="-25000">
                <a:solidFill>
                  <a:schemeClr val="tx2"/>
                </a:solidFill>
              </a:rPr>
              <a:t>x</a:t>
            </a:r>
            <a:r>
              <a:rPr lang="en-US">
                <a:solidFill>
                  <a:schemeClr val="tx2"/>
                </a:solidFill>
              </a:rPr>
              <a:t>, HCHO</a:t>
            </a:r>
          </a:p>
          <a:p>
            <a:pPr marL="0" indent="0">
              <a:buNone/>
            </a:pPr>
            <a:r>
              <a:rPr lang="en-US">
                <a:solidFill>
                  <a:schemeClr val="bg2">
                    <a:lumMod val="50000"/>
                  </a:schemeClr>
                </a:solidFill>
              </a:rPr>
              <a:t>	All-in-one solution for high end IAQ monitors</a:t>
            </a:r>
          </a:p>
        </p:txBody>
      </p:sp>
      <p:sp>
        <p:nvSpPr>
          <p:cNvPr id="2" name="Title 1">
            <a:extLst>
              <a:ext uri="{FF2B5EF4-FFF2-40B4-BE49-F238E27FC236}">
                <a16:creationId xmlns:a16="http://schemas.microsoft.com/office/drawing/2014/main" id="{F81ACA58-004C-DE68-96EB-804CC42304D5}"/>
              </a:ext>
            </a:extLst>
          </p:cNvPr>
          <p:cNvSpPr>
            <a:spLocks noGrp="1"/>
          </p:cNvSpPr>
          <p:nvPr>
            <p:ph type="title"/>
          </p:nvPr>
        </p:nvSpPr>
        <p:spPr bwMode="gray"/>
        <p:txBody>
          <a:bodyPr wrap="none" anchor="b">
            <a:normAutofit/>
          </a:bodyPr>
          <a:lstStyle/>
          <a:p>
            <a:r>
              <a:rPr lang="en-US"/>
              <a:t>SEN6x – Product Family</a:t>
            </a:r>
          </a:p>
        </p:txBody>
      </p:sp>
      <p:sp>
        <p:nvSpPr>
          <p:cNvPr id="11" name="TextBox 10">
            <a:extLst>
              <a:ext uri="{FF2B5EF4-FFF2-40B4-BE49-F238E27FC236}">
                <a16:creationId xmlns:a16="http://schemas.microsoft.com/office/drawing/2014/main" id="{62EC18A0-4F1D-E4FB-651C-20FAFAD37553}"/>
              </a:ext>
            </a:extLst>
          </p:cNvPr>
          <p:cNvSpPr txBox="1"/>
          <p:nvPr/>
        </p:nvSpPr>
        <p:spPr bwMode="gray">
          <a:xfrm>
            <a:off x="7133921" y="4321979"/>
            <a:ext cx="3864864" cy="584775"/>
          </a:xfrm>
          <a:prstGeom prst="rect">
            <a:avLst/>
          </a:prstGeom>
          <a:noFill/>
          <a:ln w="38100">
            <a:solidFill>
              <a:schemeClr val="accent1"/>
            </a:solidFill>
          </a:ln>
        </p:spPr>
        <p:txBody>
          <a:bodyPr wrap="square" rtlCol="0">
            <a:spAutoFit/>
          </a:bodyPr>
          <a:lstStyle/>
          <a:p>
            <a:pPr algn="ctr"/>
            <a:r>
              <a:rPr lang="en-US" sz="1600"/>
              <a:t>Same physical interface for all variants! </a:t>
            </a:r>
          </a:p>
          <a:p>
            <a:pPr algn="ctr"/>
            <a:r>
              <a:rPr lang="en-US" sz="1600">
                <a:sym typeface="Wingdings" panose="05000000000000000000" pitchFamily="2" charset="2"/>
              </a:rPr>
              <a:t> One Design-In</a:t>
            </a:r>
            <a:endParaRPr lang="en-US" sz="1600"/>
          </a:p>
        </p:txBody>
      </p:sp>
      <p:pic>
        <p:nvPicPr>
          <p:cNvPr id="12" name="Picture 11">
            <a:extLst>
              <a:ext uri="{FF2B5EF4-FFF2-40B4-BE49-F238E27FC236}">
                <a16:creationId xmlns:a16="http://schemas.microsoft.com/office/drawing/2014/main" id="{6464FCF1-7CB6-D16E-69E0-C58F1E551FD5}"/>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bwMode="gray">
          <a:xfrm>
            <a:off x="6764846" y="1918368"/>
            <a:ext cx="4232311" cy="2185972"/>
          </a:xfrm>
          <a:prstGeom prst="rect">
            <a:avLst/>
          </a:prstGeom>
        </p:spPr>
      </p:pic>
      <p:sp>
        <p:nvSpPr>
          <p:cNvPr id="14" name="Slide Number Placeholder 4">
            <a:extLst>
              <a:ext uri="{FF2B5EF4-FFF2-40B4-BE49-F238E27FC236}">
                <a16:creationId xmlns:a16="http://schemas.microsoft.com/office/drawing/2014/main" id="{4BC38FAA-8AE5-4EE5-3C94-64065B8850E9}"/>
              </a:ext>
            </a:extLst>
          </p:cNvPr>
          <p:cNvSpPr txBox="1">
            <a:spLocks/>
          </p:cNvSpPr>
          <p:nvPr/>
        </p:nvSpPr>
        <p:spPr bwMode="gray">
          <a:xfrm>
            <a:off x="515937" y="6310083"/>
            <a:ext cx="137858" cy="153888"/>
          </a:xfrm>
          <a:prstGeom prst="rect">
            <a:avLst/>
          </a:prstGeom>
        </p:spPr>
        <p:txBody>
          <a:bodyPr vert="horz" wrap="none" lIns="0" tIns="0" rIns="0" bIns="0" rtlCol="0" anchor="ctr">
            <a:spAutoFit/>
          </a:bodyPr>
          <a:lstStyle>
            <a:defPPr>
              <a:defRPr lang="de-DE"/>
            </a:defPPr>
            <a:lvl1pPr marL="0" algn="l" defTabSz="914400" rtl="0" eaLnBrk="1" latinLnBrk="0" hangingPunct="1">
              <a:lnSpc>
                <a:spcPct val="100000"/>
              </a:lnSpc>
              <a:defRPr sz="1000" kern="1200">
                <a:solidFill>
                  <a:schemeClr val="accent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1E691A1-F3A6-4574-B226-B412272B38A6}" type="slidenum">
              <a:rPr lang="en-US" smtClean="0"/>
              <a:pPr/>
              <a:t>18</a:t>
            </a:fld>
            <a:endParaRPr lang="en-US"/>
          </a:p>
        </p:txBody>
      </p:sp>
      <p:sp>
        <p:nvSpPr>
          <p:cNvPr id="15" name="Footer Placeholder 5">
            <a:extLst>
              <a:ext uri="{FF2B5EF4-FFF2-40B4-BE49-F238E27FC236}">
                <a16:creationId xmlns:a16="http://schemas.microsoft.com/office/drawing/2014/main" id="{D235771E-7AB3-4D0E-FEC3-67434BB4BD50}"/>
              </a:ext>
            </a:extLst>
          </p:cNvPr>
          <p:cNvSpPr txBox="1">
            <a:spLocks/>
          </p:cNvSpPr>
          <p:nvPr/>
        </p:nvSpPr>
        <p:spPr bwMode="gray">
          <a:xfrm>
            <a:off x="1249680" y="6310083"/>
            <a:ext cx="1971694" cy="153888"/>
          </a:xfrm>
          <a:prstGeom prst="rect">
            <a:avLst/>
          </a:prstGeom>
        </p:spPr>
        <p:txBody>
          <a:bodyPr vert="horz" wrap="square" lIns="0" tIns="0" rIns="0" bIns="0" rtlCol="0" anchor="ctr">
            <a:spAutoFit/>
          </a:bodyPr>
          <a:lstStyle>
            <a:defPPr>
              <a:defRPr lang="de-DE"/>
            </a:defPPr>
            <a:lvl1pPr marL="0" algn="l" defTabSz="914400" rtl="0" eaLnBrk="1" latinLnBrk="0" hangingPunct="1">
              <a:lnSpc>
                <a:spcPct val="100000"/>
              </a:lnSpc>
              <a:defRPr sz="1000" kern="1200">
                <a:solidFill>
                  <a:schemeClr val="accent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t>© Copyright Sensirion, Switzerland</a:t>
            </a:r>
          </a:p>
        </p:txBody>
      </p:sp>
    </p:spTree>
    <p:extLst>
      <p:ext uri="{BB962C8B-B14F-4D97-AF65-F5344CB8AC3E}">
        <p14:creationId xmlns:p14="http://schemas.microsoft.com/office/powerpoint/2010/main" val="388727181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9C209B7D-BD50-C398-7E6C-2CA419713233}"/>
              </a:ext>
            </a:extLst>
          </p:cNvPr>
          <p:cNvSpPr>
            <a:spLocks noGrp="1"/>
          </p:cNvSpPr>
          <p:nvPr>
            <p:ph type="title"/>
          </p:nvPr>
        </p:nvSpPr>
        <p:spPr>
          <a:xfrm>
            <a:off x="839787" y="358516"/>
            <a:ext cx="4506362" cy="430887"/>
          </a:xfrm>
        </p:spPr>
        <p:txBody>
          <a:bodyPr/>
          <a:lstStyle/>
          <a:p>
            <a:r>
              <a:rPr lang="en-US">
                <a:cs typeface="Segoe UI"/>
              </a:rPr>
              <a:t>SEN6x Roadmap Summary</a:t>
            </a:r>
            <a:endParaRPr lang="en-US"/>
          </a:p>
        </p:txBody>
      </p:sp>
      <p:sp>
        <p:nvSpPr>
          <p:cNvPr id="4" name="Slide Number Placeholder 3">
            <a:extLst>
              <a:ext uri="{FF2B5EF4-FFF2-40B4-BE49-F238E27FC236}">
                <a16:creationId xmlns:a16="http://schemas.microsoft.com/office/drawing/2014/main" id="{D908A1CB-851D-E2E8-998B-7A722D548663}"/>
              </a:ext>
            </a:extLst>
          </p:cNvPr>
          <p:cNvSpPr>
            <a:spLocks noGrp="1"/>
          </p:cNvSpPr>
          <p:nvPr>
            <p:ph type="sldNum" sz="quarter" idx="10"/>
          </p:nvPr>
        </p:nvSpPr>
        <p:spPr/>
        <p:txBody>
          <a:bodyPr/>
          <a:lstStyle/>
          <a:p>
            <a:fld id="{B1E691A1-F3A6-4574-B226-B412272B38A6}" type="slidenum">
              <a:rPr lang="de-DE" smtClean="0"/>
              <a:pPr/>
              <a:t>19</a:t>
            </a:fld>
            <a:endParaRPr lang="de-DE"/>
          </a:p>
        </p:txBody>
      </p:sp>
      <p:sp>
        <p:nvSpPr>
          <p:cNvPr id="3" name="Footer Placeholder 2">
            <a:extLst>
              <a:ext uri="{FF2B5EF4-FFF2-40B4-BE49-F238E27FC236}">
                <a16:creationId xmlns:a16="http://schemas.microsoft.com/office/drawing/2014/main" id="{9FBD3C2C-0224-5683-904D-2F037D70EE89}"/>
              </a:ext>
            </a:extLst>
          </p:cNvPr>
          <p:cNvSpPr>
            <a:spLocks noGrp="1"/>
          </p:cNvSpPr>
          <p:nvPr>
            <p:ph type="ftr" sz="quarter" idx="4294967295"/>
          </p:nvPr>
        </p:nvSpPr>
        <p:spPr>
          <a:xfrm>
            <a:off x="0" y="6310313"/>
            <a:ext cx="2746375" cy="153987"/>
          </a:xfrm>
        </p:spPr>
        <p:txBody>
          <a:bodyPr/>
          <a:lstStyle/>
          <a:p>
            <a:r>
              <a:rPr lang="de-DE"/>
              <a:t>© Copyright Sensirion, Switzerland</a:t>
            </a:r>
          </a:p>
        </p:txBody>
      </p:sp>
      <p:pic>
        <p:nvPicPr>
          <p:cNvPr id="8" name="Picture 7" descr="A chart with numbers and letters&#10;&#10;AI-generated content may be incorrect.">
            <a:extLst>
              <a:ext uri="{FF2B5EF4-FFF2-40B4-BE49-F238E27FC236}">
                <a16:creationId xmlns:a16="http://schemas.microsoft.com/office/drawing/2014/main" id="{609C4A7D-3979-4DCC-3578-A336F43DF0E1}"/>
              </a:ext>
            </a:extLst>
          </p:cNvPr>
          <p:cNvPicPr>
            <a:picLocks noChangeAspect="1"/>
          </p:cNvPicPr>
          <p:nvPr/>
        </p:nvPicPr>
        <p:blipFill>
          <a:blip r:embed="rId2"/>
          <a:stretch>
            <a:fillRect/>
          </a:stretch>
        </p:blipFill>
        <p:spPr>
          <a:xfrm>
            <a:off x="843851" y="778904"/>
            <a:ext cx="10613571" cy="5401932"/>
          </a:xfrm>
          <a:prstGeom prst="rect">
            <a:avLst/>
          </a:prstGeom>
        </p:spPr>
      </p:pic>
    </p:spTree>
    <p:extLst>
      <p:ext uri="{BB962C8B-B14F-4D97-AF65-F5344CB8AC3E}">
        <p14:creationId xmlns:p14="http://schemas.microsoft.com/office/powerpoint/2010/main" val="425412125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A0E0959C-FC32-4EA2-BD3B-C7F9BFF5E15C}"/>
              </a:ext>
            </a:extLst>
          </p:cNvPr>
          <p:cNvSpPr>
            <a:spLocks noGrp="1"/>
          </p:cNvSpPr>
          <p:nvPr>
            <p:ph sz="quarter" idx="15"/>
          </p:nvPr>
        </p:nvSpPr>
        <p:spPr>
          <a:xfrm>
            <a:off x="515937" y="1023031"/>
            <a:ext cx="11160126" cy="5034869"/>
          </a:xfrm>
        </p:spPr>
        <p:txBody>
          <a:bodyPr vert="horz" lIns="0" tIns="0" rIns="0" bIns="0" rtlCol="0" anchor="t">
            <a:noAutofit/>
          </a:bodyPr>
          <a:lstStyle/>
          <a:p>
            <a:pPr marL="179705" indent="-179705" fontAlgn="base">
              <a:lnSpc>
                <a:spcPct val="150000"/>
              </a:lnSpc>
              <a:buFont typeface="Wingdings,Sans-Serif" panose="020B0604020202020204" pitchFamily="34" charset="0"/>
              <a:buChar char="q"/>
            </a:pPr>
            <a:r>
              <a:rPr lang="en-US" sz="3200">
                <a:solidFill>
                  <a:srgbClr val="000000"/>
                </a:solidFill>
                <a:latin typeface="Arial"/>
                <a:cs typeface="Arial"/>
              </a:rPr>
              <a:t>Americas Channel Team Reorg</a:t>
            </a:r>
          </a:p>
          <a:p>
            <a:pPr marL="179705" indent="-179705">
              <a:lnSpc>
                <a:spcPct val="150000"/>
              </a:lnSpc>
              <a:buFont typeface="Wingdings,Sans-Serif" panose="020B0604020202020204" pitchFamily="34" charset="0"/>
              <a:buChar char="q"/>
            </a:pPr>
            <a:r>
              <a:rPr lang="en-US" sz="3200">
                <a:solidFill>
                  <a:srgbClr val="000000"/>
                </a:solidFill>
                <a:latin typeface="Arial"/>
                <a:cs typeface="Arial"/>
              </a:rPr>
              <a:t>RSM Updates</a:t>
            </a:r>
            <a:endParaRPr lang="en-US">
              <a:cs typeface="Segoe UI"/>
            </a:endParaRPr>
          </a:p>
          <a:p>
            <a:pPr marL="179705" indent="-179705">
              <a:lnSpc>
                <a:spcPct val="150000"/>
              </a:lnSpc>
              <a:buClr>
                <a:srgbClr val="66CC33"/>
              </a:buClr>
              <a:buFont typeface="Wingdings,Sans-Serif" panose="020B0604020202020204" pitchFamily="34" charset="0"/>
              <a:buChar char="q"/>
            </a:pPr>
            <a:r>
              <a:rPr lang="en-US" sz="3200">
                <a:latin typeface="Arial"/>
                <a:cs typeface="Arial"/>
              </a:rPr>
              <a:t>Distribution NPI</a:t>
            </a:r>
            <a:endParaRPr lang="en-US"/>
          </a:p>
          <a:p>
            <a:pPr marL="179705" indent="-179705">
              <a:lnSpc>
                <a:spcPct val="150000"/>
              </a:lnSpc>
              <a:buClr>
                <a:srgbClr val="66CC33"/>
              </a:buClr>
              <a:buFont typeface="Wingdings,Sans-Serif" panose="020B0604020202020204" pitchFamily="34" charset="0"/>
              <a:buChar char="q"/>
            </a:pPr>
            <a:r>
              <a:rPr lang="en-US" sz="3200">
                <a:latin typeface="Arial"/>
                <a:cs typeface="Arial"/>
              </a:rPr>
              <a:t>Marketing Updates</a:t>
            </a:r>
          </a:p>
          <a:p>
            <a:pPr marL="179705" indent="-179705">
              <a:lnSpc>
                <a:spcPct val="150000"/>
              </a:lnSpc>
              <a:buClr>
                <a:srgbClr val="66CC33"/>
              </a:buClr>
              <a:buFont typeface="Wingdings,Sans-Serif" panose="020B0604020202020204" pitchFamily="34" charset="0"/>
              <a:buChar char="q"/>
            </a:pPr>
            <a:r>
              <a:rPr lang="en-US" sz="3200">
                <a:latin typeface="Arial"/>
                <a:cs typeface="Arial"/>
              </a:rPr>
              <a:t>Inside Sales Updates</a:t>
            </a:r>
          </a:p>
          <a:p>
            <a:pPr marL="179705" indent="-179705">
              <a:lnSpc>
                <a:spcPct val="150000"/>
              </a:lnSpc>
              <a:buClr>
                <a:srgbClr val="66CC33"/>
              </a:buClr>
              <a:buFont typeface="Wingdings,Sans-Serif" panose="020B0604020202020204" pitchFamily="34" charset="0"/>
              <a:buChar char="q"/>
            </a:pPr>
            <a:r>
              <a:rPr lang="en-US" sz="3200">
                <a:latin typeface="Arial"/>
                <a:cs typeface="Arial"/>
              </a:rPr>
              <a:t>Team Activity to Win Something</a:t>
            </a:r>
            <a:endParaRPr lang="en-US">
              <a:cs typeface="Segoe UI"/>
            </a:endParaRPr>
          </a:p>
          <a:p>
            <a:pPr marL="359410" lvl="1" indent="-179705">
              <a:buClr>
                <a:srgbClr val="616161"/>
              </a:buClr>
            </a:pPr>
            <a:endParaRPr lang="en-US" sz="1800">
              <a:cs typeface="Segoe UI"/>
            </a:endParaRPr>
          </a:p>
          <a:p>
            <a:pPr marL="359410" lvl="1" indent="-179705">
              <a:buClr>
                <a:srgbClr val="616161"/>
              </a:buClr>
            </a:pPr>
            <a:endParaRPr lang="en-US" sz="1800">
              <a:cs typeface="Segoe UI"/>
            </a:endParaRPr>
          </a:p>
          <a:p>
            <a:pPr marL="359410" lvl="1" indent="-179705">
              <a:buClr>
                <a:srgbClr val="616161"/>
              </a:buClr>
            </a:pPr>
            <a:endParaRPr lang="en-US" sz="1800">
              <a:cs typeface="Segoe UI"/>
            </a:endParaRPr>
          </a:p>
          <a:p>
            <a:pPr marL="359410" lvl="1" indent="-179705">
              <a:buClr>
                <a:srgbClr val="616161"/>
              </a:buClr>
            </a:pPr>
            <a:endParaRPr lang="en-US" sz="1800">
              <a:cs typeface="Segoe UI"/>
            </a:endParaRPr>
          </a:p>
          <a:p>
            <a:pPr marL="179705" indent="-179705">
              <a:buClr>
                <a:srgbClr val="66CC33"/>
              </a:buClr>
            </a:pPr>
            <a:endParaRPr lang="en-US" sz="1800">
              <a:cs typeface="Segoe UI"/>
            </a:endParaRPr>
          </a:p>
          <a:p>
            <a:pPr marL="359410" lvl="1" indent="-179705">
              <a:buClr>
                <a:srgbClr val="616161"/>
              </a:buClr>
            </a:pPr>
            <a:endParaRPr lang="en-US" sz="1800">
              <a:cs typeface="Segoe UI"/>
            </a:endParaRPr>
          </a:p>
          <a:p>
            <a:pPr marL="359410" lvl="1" indent="-179705">
              <a:buClr>
                <a:srgbClr val="616161"/>
              </a:buClr>
            </a:pPr>
            <a:endParaRPr lang="en-US" sz="1800">
              <a:cs typeface="Segoe UI"/>
            </a:endParaRPr>
          </a:p>
          <a:p>
            <a:pPr marL="179705" indent="-179705">
              <a:buClr>
                <a:srgbClr val="66CC33"/>
              </a:buClr>
            </a:pPr>
            <a:endParaRPr lang="en-US">
              <a:cs typeface="Segoe UI"/>
            </a:endParaRPr>
          </a:p>
        </p:txBody>
      </p:sp>
      <p:sp>
        <p:nvSpPr>
          <p:cNvPr id="4" name="Title 3">
            <a:extLst>
              <a:ext uri="{FF2B5EF4-FFF2-40B4-BE49-F238E27FC236}">
                <a16:creationId xmlns:a16="http://schemas.microsoft.com/office/drawing/2014/main" id="{305049AC-9838-2018-5D61-830E12D623A7}"/>
              </a:ext>
            </a:extLst>
          </p:cNvPr>
          <p:cNvSpPr>
            <a:spLocks noGrp="1"/>
          </p:cNvSpPr>
          <p:nvPr>
            <p:ph type="title"/>
          </p:nvPr>
        </p:nvSpPr>
        <p:spPr/>
        <p:txBody>
          <a:bodyPr/>
          <a:lstStyle/>
          <a:p>
            <a:r>
              <a:rPr lang="en-US"/>
              <a:t>Agenda</a:t>
            </a:r>
          </a:p>
        </p:txBody>
      </p:sp>
      <p:sp>
        <p:nvSpPr>
          <p:cNvPr id="5" name="Footer Placeholder 4">
            <a:extLst>
              <a:ext uri="{FF2B5EF4-FFF2-40B4-BE49-F238E27FC236}">
                <a16:creationId xmlns:a16="http://schemas.microsoft.com/office/drawing/2014/main" id="{6E5B0518-7F1A-AD62-0E14-1D7ADD0D9636}"/>
              </a:ext>
            </a:extLst>
          </p:cNvPr>
          <p:cNvSpPr>
            <a:spLocks noGrp="1"/>
          </p:cNvSpPr>
          <p:nvPr>
            <p:ph type="ftr" sz="quarter" idx="16"/>
          </p:nvPr>
        </p:nvSpPr>
        <p:spPr/>
        <p:txBody>
          <a:bodyPr/>
          <a:lstStyle/>
          <a:p>
            <a:r>
              <a:rPr lang="de-DE"/>
              <a:t>© Copyright Sensirion, Switzerland</a:t>
            </a:r>
          </a:p>
        </p:txBody>
      </p:sp>
      <p:sp>
        <p:nvSpPr>
          <p:cNvPr id="6" name="Slide Number Placeholder 5">
            <a:extLst>
              <a:ext uri="{FF2B5EF4-FFF2-40B4-BE49-F238E27FC236}">
                <a16:creationId xmlns:a16="http://schemas.microsoft.com/office/drawing/2014/main" id="{A643FCC8-D02F-AEDA-E468-66FF2AEC2C52}"/>
              </a:ext>
            </a:extLst>
          </p:cNvPr>
          <p:cNvSpPr>
            <a:spLocks noGrp="1"/>
          </p:cNvSpPr>
          <p:nvPr>
            <p:ph type="sldNum" sz="quarter" idx="17"/>
          </p:nvPr>
        </p:nvSpPr>
        <p:spPr>
          <a:xfrm>
            <a:off x="515937" y="6310083"/>
            <a:ext cx="680403" cy="153888"/>
          </a:xfrm>
        </p:spPr>
        <p:txBody>
          <a:bodyPr/>
          <a:lstStyle/>
          <a:p>
            <a:fld id="{B1E691A1-F3A6-4574-B226-B412272B38A6}" type="slidenum">
              <a:rPr lang="de-DE" dirty="0" smtClean="0"/>
              <a:pPr/>
              <a:t>2</a:t>
            </a:fld>
            <a:endParaRPr lang="de-DE"/>
          </a:p>
        </p:txBody>
      </p:sp>
    </p:spTree>
    <p:extLst>
      <p:ext uri="{BB962C8B-B14F-4D97-AF65-F5344CB8AC3E}">
        <p14:creationId xmlns:p14="http://schemas.microsoft.com/office/powerpoint/2010/main" val="400123817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Placeholder 8" descr="Industrial worker welding">
            <a:extLst>
              <a:ext uri="{FF2B5EF4-FFF2-40B4-BE49-F238E27FC236}">
                <a16:creationId xmlns:a16="http://schemas.microsoft.com/office/drawing/2014/main" id="{BC428324-CB4A-8F38-3B29-CEA28E5FA7EC}"/>
              </a:ext>
            </a:extLst>
          </p:cNvPr>
          <p:cNvPicPr>
            <a:picLocks noGrp="1" noChangeAspect="1"/>
          </p:cNvPicPr>
          <p:nvPr>
            <p:ph type="pic" sz="quarter" idx="11"/>
          </p:nvPr>
        </p:nvPicPr>
        <p:blipFill>
          <a:blip r:embed="rId2">
            <a:extLst>
              <a:ext uri="{BEBA8EAE-BF5A-486C-A8C5-ECC9F3942E4B}">
                <a14:imgProps xmlns:a14="http://schemas.microsoft.com/office/drawing/2010/main">
                  <a14:imgLayer r:embed="rId3">
                    <a14:imgEffect>
                      <a14:brightnessContrast bright="-20000"/>
                    </a14:imgEffect>
                  </a14:imgLayer>
                </a14:imgProps>
              </a:ext>
              <a:ext uri="{28A0092B-C50C-407E-A947-70E740481C1C}">
                <a14:useLocalDpi xmlns:a14="http://schemas.microsoft.com/office/drawing/2010/main" val="0"/>
              </a:ext>
            </a:extLst>
          </a:blip>
          <a:srcRect/>
          <a:stretch>
            <a:fillRect/>
          </a:stretch>
        </p:blipFill>
        <p:spPr>
          <a:xfrm>
            <a:off x="0" y="0"/>
            <a:ext cx="12192000" cy="6858000"/>
          </a:xfrm>
        </p:spPr>
      </p:pic>
      <p:sp>
        <p:nvSpPr>
          <p:cNvPr id="3" name="Title 2">
            <a:extLst>
              <a:ext uri="{FF2B5EF4-FFF2-40B4-BE49-F238E27FC236}">
                <a16:creationId xmlns:a16="http://schemas.microsoft.com/office/drawing/2014/main" id="{73192923-108C-C1F5-12B3-F56F234E9C6A}"/>
              </a:ext>
            </a:extLst>
          </p:cNvPr>
          <p:cNvSpPr>
            <a:spLocks noGrp="1"/>
          </p:cNvSpPr>
          <p:nvPr>
            <p:ph type="ctrTitle"/>
          </p:nvPr>
        </p:nvSpPr>
        <p:spPr>
          <a:xfrm>
            <a:off x="1350401" y="1175784"/>
            <a:ext cx="9144000" cy="738664"/>
          </a:xfrm>
        </p:spPr>
        <p:txBody>
          <a:bodyPr/>
          <a:lstStyle/>
          <a:p>
            <a:r>
              <a:rPr lang="es-ES" err="1"/>
              <a:t>Welding</a:t>
            </a:r>
            <a:endParaRPr lang="es-ES">
              <a:cs typeface="Segoe UI"/>
            </a:endParaRPr>
          </a:p>
        </p:txBody>
      </p:sp>
      <p:sp>
        <p:nvSpPr>
          <p:cNvPr id="4" name="Text Placeholder 3">
            <a:extLst>
              <a:ext uri="{FF2B5EF4-FFF2-40B4-BE49-F238E27FC236}">
                <a16:creationId xmlns:a16="http://schemas.microsoft.com/office/drawing/2014/main" id="{2AF5021F-CE18-BAB5-B8D6-D87CD29021D1}"/>
              </a:ext>
            </a:extLst>
          </p:cNvPr>
          <p:cNvSpPr>
            <a:spLocks noGrp="1"/>
          </p:cNvSpPr>
          <p:nvPr>
            <p:ph type="body" sz="quarter" idx="10"/>
          </p:nvPr>
        </p:nvSpPr>
        <p:spPr>
          <a:xfrm>
            <a:off x="1350401" y="2990768"/>
            <a:ext cx="9144000" cy="569387"/>
          </a:xfrm>
        </p:spPr>
        <p:txBody>
          <a:bodyPr/>
          <a:lstStyle/>
          <a:p>
            <a:r>
              <a:rPr lang="es-ES">
                <a:solidFill>
                  <a:schemeClr val="bg1"/>
                </a:solidFill>
              </a:rPr>
              <a:t>Alejandro Cebria </a:t>
            </a:r>
          </a:p>
          <a:p>
            <a:r>
              <a:rPr lang="es-ES" err="1">
                <a:solidFill>
                  <a:schemeClr val="bg1"/>
                </a:solidFill>
              </a:rPr>
              <a:t>Market</a:t>
            </a:r>
            <a:r>
              <a:rPr lang="es-ES">
                <a:solidFill>
                  <a:schemeClr val="bg1"/>
                </a:solidFill>
              </a:rPr>
              <a:t> Manager </a:t>
            </a:r>
            <a:r>
              <a:rPr lang="es-ES" err="1">
                <a:solidFill>
                  <a:schemeClr val="bg1"/>
                </a:solidFill>
              </a:rPr>
              <a:t>Process</a:t>
            </a:r>
            <a:r>
              <a:rPr lang="es-ES">
                <a:solidFill>
                  <a:schemeClr val="bg1"/>
                </a:solidFill>
              </a:rPr>
              <a:t> Control</a:t>
            </a:r>
            <a:endParaRPr lang="de-CH">
              <a:solidFill>
                <a:schemeClr val="bg1"/>
              </a:solidFill>
            </a:endParaRPr>
          </a:p>
        </p:txBody>
      </p:sp>
      <p:sp>
        <p:nvSpPr>
          <p:cNvPr id="5" name="Text Placeholder 4">
            <a:extLst>
              <a:ext uri="{FF2B5EF4-FFF2-40B4-BE49-F238E27FC236}">
                <a16:creationId xmlns:a16="http://schemas.microsoft.com/office/drawing/2014/main" id="{B13E9C1F-55C8-B9E5-C313-91F2FD650D17}"/>
              </a:ext>
            </a:extLst>
          </p:cNvPr>
          <p:cNvSpPr>
            <a:spLocks noGrp="1"/>
          </p:cNvSpPr>
          <p:nvPr>
            <p:ph type="body" sz="quarter" idx="12"/>
          </p:nvPr>
        </p:nvSpPr>
        <p:spPr/>
        <p:txBody>
          <a:bodyPr/>
          <a:lstStyle/>
          <a:p>
            <a:endParaRPr lang="de-CH"/>
          </a:p>
        </p:txBody>
      </p:sp>
      <p:sp>
        <p:nvSpPr>
          <p:cNvPr id="6" name="Text Placeholder 5">
            <a:extLst>
              <a:ext uri="{FF2B5EF4-FFF2-40B4-BE49-F238E27FC236}">
                <a16:creationId xmlns:a16="http://schemas.microsoft.com/office/drawing/2014/main" id="{81C79D31-B7F6-0DE8-5950-DAE9DB3E9813}"/>
              </a:ext>
            </a:extLst>
          </p:cNvPr>
          <p:cNvSpPr>
            <a:spLocks noGrp="1"/>
          </p:cNvSpPr>
          <p:nvPr>
            <p:ph type="body" sz="quarter" idx="13"/>
          </p:nvPr>
        </p:nvSpPr>
        <p:spPr/>
        <p:txBody>
          <a:bodyPr/>
          <a:lstStyle/>
          <a:p>
            <a:endParaRPr lang="de-CH"/>
          </a:p>
        </p:txBody>
      </p:sp>
      <p:sp>
        <p:nvSpPr>
          <p:cNvPr id="7" name="Text Placeholder 6">
            <a:extLst>
              <a:ext uri="{FF2B5EF4-FFF2-40B4-BE49-F238E27FC236}">
                <a16:creationId xmlns:a16="http://schemas.microsoft.com/office/drawing/2014/main" id="{41433E63-2479-E9C1-3D52-D33E2DDC0E20}"/>
              </a:ext>
            </a:extLst>
          </p:cNvPr>
          <p:cNvSpPr>
            <a:spLocks noGrp="1"/>
          </p:cNvSpPr>
          <p:nvPr>
            <p:ph type="body" sz="quarter" idx="14"/>
          </p:nvPr>
        </p:nvSpPr>
        <p:spPr>
          <a:xfrm>
            <a:off x="1350401" y="2008423"/>
            <a:ext cx="7040564" cy="861774"/>
          </a:xfrm>
        </p:spPr>
        <p:txBody>
          <a:bodyPr/>
          <a:lstStyle/>
          <a:p>
            <a:r>
              <a:rPr lang="es-ES" sz="2800">
                <a:solidFill>
                  <a:srgbClr val="FFFFFF"/>
                </a:solidFill>
              </a:rPr>
              <a:t>UNLOCKING SUPERIOR VALUE TO WELDERS WITH DIGITAL GAS CONTROL</a:t>
            </a:r>
            <a:endParaRPr lang="de-CH" sz="2800">
              <a:solidFill>
                <a:srgbClr val="FFFFFF"/>
              </a:solidFill>
            </a:endParaRPr>
          </a:p>
        </p:txBody>
      </p:sp>
    </p:spTree>
    <p:extLst>
      <p:ext uri="{BB962C8B-B14F-4D97-AF65-F5344CB8AC3E}">
        <p14:creationId xmlns:p14="http://schemas.microsoft.com/office/powerpoint/2010/main" val="393348076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59FFD98-2704-9936-1A29-711D6E796E3C}"/>
            </a:ext>
          </a:extLst>
        </p:cNvPr>
        <p:cNvGrpSpPr/>
        <p:nvPr/>
      </p:nvGrpSpPr>
      <p:grpSpPr>
        <a:xfrm>
          <a:off x="0" y="0"/>
          <a:ext cx="0" cy="0"/>
          <a:chOff x="0" y="0"/>
          <a:chExt cx="0" cy="0"/>
        </a:xfrm>
      </p:grpSpPr>
      <p:pic>
        <p:nvPicPr>
          <p:cNvPr id="8" name="Picture 7" descr="A person welding a metal object&#10;&#10;Description automatically generated">
            <a:extLst>
              <a:ext uri="{FF2B5EF4-FFF2-40B4-BE49-F238E27FC236}">
                <a16:creationId xmlns:a16="http://schemas.microsoft.com/office/drawing/2014/main" id="{3A5D95D7-3BA9-C88D-5894-E265BD643E61}"/>
              </a:ext>
            </a:extLst>
          </p:cNvPr>
          <p:cNvPicPr>
            <a:picLocks noChangeAspect="1"/>
          </p:cNvPicPr>
          <p:nvPr/>
        </p:nvPicPr>
        <p:blipFill>
          <a:blip r:embed="rId3">
            <a:extLst>
              <a:ext uri="{BEBA8EAE-BF5A-486C-A8C5-ECC9F3942E4B}">
                <a14:imgProps xmlns:a14="http://schemas.microsoft.com/office/drawing/2010/main">
                  <a14:imgLayer r:embed="rId4">
                    <a14:imgEffect>
                      <a14:brightnessContrast bright="-40000"/>
                    </a14:imgEffect>
                  </a14:imgLayer>
                </a14:imgProps>
              </a:ext>
              <a:ext uri="{28A0092B-C50C-407E-A947-70E740481C1C}">
                <a14:useLocalDpi xmlns:a14="http://schemas.microsoft.com/office/drawing/2010/main" val="0"/>
              </a:ext>
            </a:extLst>
          </a:blip>
          <a:srcRect b="15414"/>
          <a:stretch>
            <a:fillRect/>
          </a:stretch>
        </p:blipFill>
        <p:spPr>
          <a:xfrm>
            <a:off x="20" y="10"/>
            <a:ext cx="12191980" cy="6857990"/>
          </a:xfrm>
          <a:prstGeom prst="rect">
            <a:avLst/>
          </a:prstGeom>
          <a:noFill/>
        </p:spPr>
      </p:pic>
      <p:sp>
        <p:nvSpPr>
          <p:cNvPr id="4" name="Text Placeholder 3">
            <a:extLst>
              <a:ext uri="{FF2B5EF4-FFF2-40B4-BE49-F238E27FC236}">
                <a16:creationId xmlns:a16="http://schemas.microsoft.com/office/drawing/2014/main" id="{8A1CD673-8ACF-3487-88FE-EBB8FE0C9C8D}"/>
              </a:ext>
            </a:extLst>
          </p:cNvPr>
          <p:cNvSpPr>
            <a:spLocks noGrp="1"/>
          </p:cNvSpPr>
          <p:nvPr>
            <p:ph type="body" sz="quarter" idx="10"/>
          </p:nvPr>
        </p:nvSpPr>
        <p:spPr>
          <a:xfrm>
            <a:off x="8755380" y="587469"/>
            <a:ext cx="2857500" cy="3108543"/>
          </a:xfrm>
        </p:spPr>
        <p:txBody>
          <a:bodyPr/>
          <a:lstStyle/>
          <a:p>
            <a:pPr marL="0" indent="0" algn="just">
              <a:buNone/>
            </a:pPr>
            <a:r>
              <a:rPr lang="es-ES" b="1" err="1">
                <a:solidFill>
                  <a:schemeClr val="accent1"/>
                </a:solidFill>
              </a:rPr>
              <a:t>During</a:t>
            </a:r>
            <a:r>
              <a:rPr lang="es-ES" b="1">
                <a:solidFill>
                  <a:schemeClr val="accent1"/>
                </a:solidFill>
              </a:rPr>
              <a:t> MIG/MAG, TIG and Plasma </a:t>
            </a:r>
            <a:r>
              <a:rPr lang="es-ES" b="1" err="1">
                <a:solidFill>
                  <a:schemeClr val="accent1"/>
                </a:solidFill>
              </a:rPr>
              <a:t>welding</a:t>
            </a:r>
            <a:r>
              <a:rPr lang="es-ES" b="1">
                <a:solidFill>
                  <a:schemeClr val="accent1"/>
                </a:solidFill>
              </a:rPr>
              <a:t>, a </a:t>
            </a:r>
            <a:r>
              <a:rPr lang="es-ES" b="1" err="1">
                <a:solidFill>
                  <a:schemeClr val="accent1"/>
                </a:solidFill>
              </a:rPr>
              <a:t>specific</a:t>
            </a:r>
            <a:r>
              <a:rPr lang="es-ES" b="1">
                <a:solidFill>
                  <a:schemeClr val="accent1"/>
                </a:solidFill>
              </a:rPr>
              <a:t> gas </a:t>
            </a:r>
            <a:r>
              <a:rPr lang="es-ES" b="1" err="1">
                <a:solidFill>
                  <a:schemeClr val="accent1"/>
                </a:solidFill>
              </a:rPr>
              <a:t>atmosphere</a:t>
            </a:r>
            <a:r>
              <a:rPr lang="es-ES" b="1">
                <a:solidFill>
                  <a:schemeClr val="accent1"/>
                </a:solidFill>
              </a:rPr>
              <a:t> </a:t>
            </a:r>
            <a:r>
              <a:rPr lang="es-ES" err="1">
                <a:solidFill>
                  <a:srgbClr val="FFFFFF"/>
                </a:solidFill>
              </a:rPr>
              <a:t>is</a:t>
            </a:r>
            <a:r>
              <a:rPr lang="es-ES">
                <a:solidFill>
                  <a:srgbClr val="FFFFFF"/>
                </a:solidFill>
              </a:rPr>
              <a:t> </a:t>
            </a:r>
            <a:r>
              <a:rPr lang="es-ES" err="1">
                <a:solidFill>
                  <a:srgbClr val="FFFFFF"/>
                </a:solidFill>
              </a:rPr>
              <a:t>needed</a:t>
            </a:r>
            <a:r>
              <a:rPr lang="es-ES">
                <a:solidFill>
                  <a:srgbClr val="FFFFFF"/>
                </a:solidFill>
              </a:rPr>
              <a:t> </a:t>
            </a:r>
            <a:r>
              <a:rPr lang="es-ES" err="1">
                <a:solidFill>
                  <a:srgbClr val="FFFFFF"/>
                </a:solidFill>
              </a:rPr>
              <a:t>to</a:t>
            </a:r>
            <a:r>
              <a:rPr lang="es-ES">
                <a:solidFill>
                  <a:srgbClr val="FFFFFF"/>
                </a:solidFill>
              </a:rPr>
              <a:t> displace </a:t>
            </a:r>
            <a:r>
              <a:rPr lang="es-ES" err="1">
                <a:solidFill>
                  <a:srgbClr val="FFFFFF"/>
                </a:solidFill>
              </a:rPr>
              <a:t>oxygen</a:t>
            </a:r>
            <a:r>
              <a:rPr lang="es-ES">
                <a:solidFill>
                  <a:srgbClr val="FFFFFF"/>
                </a:solidFill>
              </a:rPr>
              <a:t> and </a:t>
            </a:r>
            <a:r>
              <a:rPr lang="es-ES" err="1">
                <a:solidFill>
                  <a:srgbClr val="FFFFFF"/>
                </a:solidFill>
              </a:rPr>
              <a:t>other</a:t>
            </a:r>
            <a:r>
              <a:rPr lang="es-ES">
                <a:solidFill>
                  <a:srgbClr val="FFFFFF"/>
                </a:solidFill>
              </a:rPr>
              <a:t> </a:t>
            </a:r>
            <a:r>
              <a:rPr lang="es-ES" err="1">
                <a:solidFill>
                  <a:srgbClr val="FFFFFF"/>
                </a:solidFill>
              </a:rPr>
              <a:t>particles</a:t>
            </a:r>
            <a:r>
              <a:rPr lang="es-ES">
                <a:solidFill>
                  <a:srgbClr val="FFFFFF"/>
                </a:solidFill>
              </a:rPr>
              <a:t> </a:t>
            </a:r>
            <a:r>
              <a:rPr lang="es-ES" err="1">
                <a:solidFill>
                  <a:srgbClr val="FFFFFF"/>
                </a:solidFill>
              </a:rPr>
              <a:t>that</a:t>
            </a:r>
            <a:r>
              <a:rPr lang="es-ES">
                <a:solidFill>
                  <a:srgbClr val="FFFFFF"/>
                </a:solidFill>
              </a:rPr>
              <a:t> </a:t>
            </a:r>
            <a:r>
              <a:rPr lang="es-ES" err="1">
                <a:solidFill>
                  <a:srgbClr val="FFFFFF"/>
                </a:solidFill>
              </a:rPr>
              <a:t>create</a:t>
            </a:r>
            <a:r>
              <a:rPr lang="es-ES">
                <a:solidFill>
                  <a:srgbClr val="FFFFFF"/>
                </a:solidFill>
              </a:rPr>
              <a:t> </a:t>
            </a:r>
            <a:r>
              <a:rPr lang="es-ES" err="1">
                <a:solidFill>
                  <a:srgbClr val="FFFFFF"/>
                </a:solidFill>
              </a:rPr>
              <a:t>defects</a:t>
            </a:r>
            <a:r>
              <a:rPr lang="es-ES">
                <a:solidFill>
                  <a:srgbClr val="FFFFFF"/>
                </a:solidFill>
              </a:rPr>
              <a:t>. </a:t>
            </a:r>
            <a:r>
              <a:rPr lang="es-ES" err="1">
                <a:solidFill>
                  <a:srgbClr val="FFFFFF"/>
                </a:solidFill>
              </a:rPr>
              <a:t>To</a:t>
            </a:r>
            <a:r>
              <a:rPr lang="es-ES">
                <a:solidFill>
                  <a:srgbClr val="FFFFFF"/>
                </a:solidFill>
              </a:rPr>
              <a:t> </a:t>
            </a:r>
            <a:r>
              <a:rPr lang="es-ES" err="1">
                <a:solidFill>
                  <a:srgbClr val="FFFFFF"/>
                </a:solidFill>
              </a:rPr>
              <a:t>achieve</a:t>
            </a:r>
            <a:r>
              <a:rPr lang="es-ES">
                <a:solidFill>
                  <a:srgbClr val="FFFFFF"/>
                </a:solidFill>
              </a:rPr>
              <a:t> </a:t>
            </a:r>
            <a:r>
              <a:rPr lang="es-ES" err="1">
                <a:solidFill>
                  <a:srgbClr val="FFFFFF"/>
                </a:solidFill>
              </a:rPr>
              <a:t>this</a:t>
            </a:r>
            <a:r>
              <a:rPr lang="es-ES">
                <a:solidFill>
                  <a:srgbClr val="FFFFFF"/>
                </a:solidFill>
              </a:rPr>
              <a:t>, </a:t>
            </a:r>
            <a:r>
              <a:rPr lang="es-ES" err="1">
                <a:solidFill>
                  <a:srgbClr val="FFFFFF"/>
                </a:solidFill>
              </a:rPr>
              <a:t>inert</a:t>
            </a:r>
            <a:r>
              <a:rPr lang="es-ES">
                <a:solidFill>
                  <a:srgbClr val="FFFFFF"/>
                </a:solidFill>
              </a:rPr>
              <a:t> gases are </a:t>
            </a:r>
            <a:r>
              <a:rPr lang="es-ES" err="1">
                <a:solidFill>
                  <a:srgbClr val="FFFFFF"/>
                </a:solidFill>
              </a:rPr>
              <a:t>pumped</a:t>
            </a:r>
            <a:r>
              <a:rPr lang="es-ES">
                <a:solidFill>
                  <a:srgbClr val="FFFFFF"/>
                </a:solidFill>
              </a:rPr>
              <a:t> </a:t>
            </a:r>
            <a:r>
              <a:rPr lang="es-ES" err="1">
                <a:solidFill>
                  <a:srgbClr val="FFFFFF"/>
                </a:solidFill>
              </a:rPr>
              <a:t>into</a:t>
            </a:r>
            <a:r>
              <a:rPr lang="es-ES">
                <a:solidFill>
                  <a:srgbClr val="FFFFFF"/>
                </a:solidFill>
              </a:rPr>
              <a:t> </a:t>
            </a:r>
            <a:r>
              <a:rPr lang="es-ES" err="1">
                <a:solidFill>
                  <a:srgbClr val="FFFFFF"/>
                </a:solidFill>
              </a:rPr>
              <a:t>the</a:t>
            </a:r>
            <a:r>
              <a:rPr lang="es-ES">
                <a:solidFill>
                  <a:srgbClr val="FFFFFF"/>
                </a:solidFill>
              </a:rPr>
              <a:t> </a:t>
            </a:r>
            <a:r>
              <a:rPr lang="es-ES" err="1">
                <a:solidFill>
                  <a:srgbClr val="FFFFFF"/>
                </a:solidFill>
              </a:rPr>
              <a:t>welding</a:t>
            </a:r>
            <a:r>
              <a:rPr lang="es-ES">
                <a:solidFill>
                  <a:srgbClr val="FFFFFF"/>
                </a:solidFill>
              </a:rPr>
              <a:t> </a:t>
            </a:r>
            <a:r>
              <a:rPr lang="es-ES" err="1">
                <a:solidFill>
                  <a:srgbClr val="FFFFFF"/>
                </a:solidFill>
              </a:rPr>
              <a:t>area</a:t>
            </a:r>
            <a:r>
              <a:rPr lang="es-ES">
                <a:solidFill>
                  <a:srgbClr val="FFFFFF"/>
                </a:solidFill>
              </a:rPr>
              <a:t>.</a:t>
            </a:r>
          </a:p>
          <a:p>
            <a:pPr marL="0" indent="0" algn="just">
              <a:buNone/>
            </a:pPr>
            <a:endParaRPr lang="es-ES">
              <a:solidFill>
                <a:srgbClr val="FFFFFF"/>
              </a:solidFill>
            </a:endParaRPr>
          </a:p>
          <a:p>
            <a:pPr marL="0" indent="0" algn="just">
              <a:buNone/>
            </a:pPr>
            <a:r>
              <a:rPr lang="es-ES" b="1" err="1">
                <a:solidFill>
                  <a:srgbClr val="FFFFFF"/>
                </a:solidFill>
              </a:rPr>
              <a:t>Too</a:t>
            </a:r>
            <a:r>
              <a:rPr lang="es-ES" b="1">
                <a:solidFill>
                  <a:srgbClr val="FFFFFF"/>
                </a:solidFill>
              </a:rPr>
              <a:t> </a:t>
            </a:r>
            <a:r>
              <a:rPr lang="es-ES" b="1" err="1">
                <a:solidFill>
                  <a:srgbClr val="FFFFFF"/>
                </a:solidFill>
              </a:rPr>
              <a:t>little</a:t>
            </a:r>
            <a:r>
              <a:rPr lang="es-ES" b="1">
                <a:solidFill>
                  <a:srgbClr val="FFFFFF"/>
                </a:solidFill>
              </a:rPr>
              <a:t> </a:t>
            </a:r>
            <a:r>
              <a:rPr lang="es-ES" b="1" err="1">
                <a:solidFill>
                  <a:srgbClr val="FFFFFF"/>
                </a:solidFill>
              </a:rPr>
              <a:t>generates</a:t>
            </a:r>
            <a:r>
              <a:rPr lang="es-ES" b="1">
                <a:solidFill>
                  <a:srgbClr val="FFFFFF"/>
                </a:solidFill>
              </a:rPr>
              <a:t> </a:t>
            </a:r>
            <a:r>
              <a:rPr lang="es-ES" b="1" err="1">
                <a:solidFill>
                  <a:srgbClr val="FFFFFF"/>
                </a:solidFill>
              </a:rPr>
              <a:t>porosity</a:t>
            </a:r>
            <a:r>
              <a:rPr lang="es-ES" b="1">
                <a:solidFill>
                  <a:srgbClr val="FFFFFF"/>
                </a:solidFill>
              </a:rPr>
              <a:t>, </a:t>
            </a:r>
            <a:r>
              <a:rPr lang="es-ES" b="1" err="1">
                <a:solidFill>
                  <a:srgbClr val="FFFFFF"/>
                </a:solidFill>
              </a:rPr>
              <a:t>deffects</a:t>
            </a:r>
            <a:r>
              <a:rPr lang="es-ES" b="1">
                <a:solidFill>
                  <a:srgbClr val="FFFFFF"/>
                </a:solidFill>
              </a:rPr>
              <a:t> and </a:t>
            </a:r>
            <a:r>
              <a:rPr lang="es-ES" b="1" err="1">
                <a:solidFill>
                  <a:srgbClr val="FFFFFF"/>
                </a:solidFill>
              </a:rPr>
              <a:t>insuficient</a:t>
            </a:r>
            <a:r>
              <a:rPr lang="es-ES" b="1">
                <a:solidFill>
                  <a:srgbClr val="FFFFFF"/>
                </a:solidFill>
              </a:rPr>
              <a:t> </a:t>
            </a:r>
            <a:r>
              <a:rPr lang="es-ES" b="1" err="1">
                <a:solidFill>
                  <a:srgbClr val="FFFFFF"/>
                </a:solidFill>
              </a:rPr>
              <a:t>penetration</a:t>
            </a:r>
            <a:r>
              <a:rPr lang="es-ES" b="1">
                <a:solidFill>
                  <a:srgbClr val="FFFFFF"/>
                </a:solidFill>
              </a:rPr>
              <a:t>. </a:t>
            </a:r>
            <a:r>
              <a:rPr lang="es-ES" b="1" err="1">
                <a:solidFill>
                  <a:srgbClr val="FFFFFF"/>
                </a:solidFill>
              </a:rPr>
              <a:t>Too</a:t>
            </a:r>
            <a:r>
              <a:rPr lang="es-ES" b="1">
                <a:solidFill>
                  <a:srgbClr val="FFFFFF"/>
                </a:solidFill>
              </a:rPr>
              <a:t> </a:t>
            </a:r>
            <a:r>
              <a:rPr lang="es-ES" b="1" err="1">
                <a:solidFill>
                  <a:srgbClr val="FFFFFF"/>
                </a:solidFill>
              </a:rPr>
              <a:t>much</a:t>
            </a:r>
            <a:r>
              <a:rPr lang="es-ES" b="1">
                <a:solidFill>
                  <a:srgbClr val="FFFFFF"/>
                </a:solidFill>
              </a:rPr>
              <a:t> gas </a:t>
            </a:r>
            <a:r>
              <a:rPr lang="es-ES" b="1" err="1">
                <a:solidFill>
                  <a:srgbClr val="FFFFFF"/>
                </a:solidFill>
              </a:rPr>
              <a:t>is</a:t>
            </a:r>
            <a:r>
              <a:rPr lang="es-ES" b="1">
                <a:solidFill>
                  <a:srgbClr val="FFFFFF"/>
                </a:solidFill>
              </a:rPr>
              <a:t> </a:t>
            </a:r>
            <a:r>
              <a:rPr lang="es-ES" b="1" err="1">
                <a:solidFill>
                  <a:srgbClr val="FFFFFF"/>
                </a:solidFill>
              </a:rPr>
              <a:t>expensive</a:t>
            </a:r>
            <a:endParaRPr lang="es-ES" b="1">
              <a:solidFill>
                <a:srgbClr val="FFFFFF"/>
              </a:solidFill>
            </a:endParaRPr>
          </a:p>
        </p:txBody>
      </p:sp>
      <p:sp>
        <p:nvSpPr>
          <p:cNvPr id="6" name="Text Placeholder 5">
            <a:extLst>
              <a:ext uri="{FF2B5EF4-FFF2-40B4-BE49-F238E27FC236}">
                <a16:creationId xmlns:a16="http://schemas.microsoft.com/office/drawing/2014/main" id="{44F551DB-F9F1-36F2-BDA5-8959C6C1D53F}"/>
              </a:ext>
            </a:extLst>
          </p:cNvPr>
          <p:cNvSpPr>
            <a:spLocks noGrp="1"/>
          </p:cNvSpPr>
          <p:nvPr>
            <p:ph type="body" sz="quarter" idx="13"/>
          </p:nvPr>
        </p:nvSpPr>
        <p:spPr/>
        <p:txBody>
          <a:bodyPr/>
          <a:lstStyle/>
          <a:p>
            <a:endParaRPr lang="de-CH"/>
          </a:p>
        </p:txBody>
      </p:sp>
    </p:spTree>
    <p:extLst>
      <p:ext uri="{BB962C8B-B14F-4D97-AF65-F5344CB8AC3E}">
        <p14:creationId xmlns:p14="http://schemas.microsoft.com/office/powerpoint/2010/main" val="420258751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5B998DD-BB50-2388-DE2B-5DC11965AB51}"/>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0BAD7573-302B-D744-58A4-DC2338ACFDE7}"/>
              </a:ext>
            </a:extLst>
          </p:cNvPr>
          <p:cNvSpPr>
            <a:spLocks noGrp="1"/>
          </p:cNvSpPr>
          <p:nvPr>
            <p:ph type="body" sz="quarter" idx="13"/>
          </p:nvPr>
        </p:nvSpPr>
        <p:spPr/>
        <p:txBody>
          <a:bodyPr/>
          <a:lstStyle/>
          <a:p>
            <a:r>
              <a:rPr lang="es-ES" err="1"/>
              <a:t>Pressure</a:t>
            </a:r>
            <a:r>
              <a:rPr lang="es-ES"/>
              <a:t> </a:t>
            </a:r>
            <a:r>
              <a:rPr lang="es-ES" err="1"/>
              <a:t>regulators</a:t>
            </a:r>
            <a:r>
              <a:rPr lang="es-ES"/>
              <a:t> are </a:t>
            </a:r>
            <a:r>
              <a:rPr lang="es-ES" err="1"/>
              <a:t>the</a:t>
            </a:r>
            <a:r>
              <a:rPr lang="es-ES"/>
              <a:t> </a:t>
            </a:r>
            <a:r>
              <a:rPr lang="es-ES" err="1"/>
              <a:t>norm</a:t>
            </a:r>
            <a:endParaRPr lang="de-CH"/>
          </a:p>
        </p:txBody>
      </p:sp>
      <p:sp>
        <p:nvSpPr>
          <p:cNvPr id="4" name="Title 3">
            <a:extLst>
              <a:ext uri="{FF2B5EF4-FFF2-40B4-BE49-F238E27FC236}">
                <a16:creationId xmlns:a16="http://schemas.microsoft.com/office/drawing/2014/main" id="{9F37E804-3D16-66A9-6BC4-4B3F807A5A55}"/>
              </a:ext>
            </a:extLst>
          </p:cNvPr>
          <p:cNvSpPr>
            <a:spLocks noGrp="1"/>
          </p:cNvSpPr>
          <p:nvPr>
            <p:ph type="title"/>
          </p:nvPr>
        </p:nvSpPr>
        <p:spPr/>
        <p:txBody>
          <a:bodyPr/>
          <a:lstStyle/>
          <a:p>
            <a:r>
              <a:rPr lang="es-ES"/>
              <a:t>CURRENT SITUATION</a:t>
            </a:r>
            <a:endParaRPr lang="de-CH"/>
          </a:p>
        </p:txBody>
      </p:sp>
      <p:sp>
        <p:nvSpPr>
          <p:cNvPr id="5" name="Footer Placeholder 4">
            <a:extLst>
              <a:ext uri="{FF2B5EF4-FFF2-40B4-BE49-F238E27FC236}">
                <a16:creationId xmlns:a16="http://schemas.microsoft.com/office/drawing/2014/main" id="{2CA9A376-FB89-E430-9535-DC5A71E357FF}"/>
              </a:ext>
            </a:extLst>
          </p:cNvPr>
          <p:cNvSpPr>
            <a:spLocks noGrp="1"/>
          </p:cNvSpPr>
          <p:nvPr>
            <p:ph type="ftr" sz="quarter" idx="16"/>
          </p:nvPr>
        </p:nvSpPr>
        <p:spPr/>
        <p:txBody>
          <a:bodyPr/>
          <a:lstStyle/>
          <a:p>
            <a:r>
              <a:rPr lang="de-DE"/>
              <a:t>© Copyright Sensirion, Switzerland</a:t>
            </a:r>
          </a:p>
        </p:txBody>
      </p:sp>
      <p:sp>
        <p:nvSpPr>
          <p:cNvPr id="6" name="Slide Number Placeholder 5">
            <a:extLst>
              <a:ext uri="{FF2B5EF4-FFF2-40B4-BE49-F238E27FC236}">
                <a16:creationId xmlns:a16="http://schemas.microsoft.com/office/drawing/2014/main" id="{C650DE16-AB97-F23E-3927-20881F2BFEEC}"/>
              </a:ext>
            </a:extLst>
          </p:cNvPr>
          <p:cNvSpPr>
            <a:spLocks noGrp="1"/>
          </p:cNvSpPr>
          <p:nvPr>
            <p:ph type="sldNum" sz="quarter" idx="17"/>
          </p:nvPr>
        </p:nvSpPr>
        <p:spPr/>
        <p:txBody>
          <a:bodyPr/>
          <a:lstStyle/>
          <a:p>
            <a:fld id="{B1E691A1-F3A6-4574-B226-B412272B38A6}" type="slidenum">
              <a:rPr lang="de-DE" smtClean="0"/>
              <a:pPr/>
              <a:t>22</a:t>
            </a:fld>
            <a:endParaRPr lang="de-DE"/>
          </a:p>
        </p:txBody>
      </p:sp>
      <p:pic>
        <p:nvPicPr>
          <p:cNvPr id="7" name="Content Placeholder 6" descr="A welding machine in a garage&#10;&#10;Description automatically generated">
            <a:extLst>
              <a:ext uri="{FF2B5EF4-FFF2-40B4-BE49-F238E27FC236}">
                <a16:creationId xmlns:a16="http://schemas.microsoft.com/office/drawing/2014/main" id="{726151A1-9F25-3063-11C1-2C66F8FDFF06}"/>
              </a:ext>
            </a:extLst>
          </p:cNvPr>
          <p:cNvPicPr>
            <a:picLocks noGrp="1" noChangeAspect="1"/>
          </p:cNvPicPr>
          <p:nvPr>
            <p:ph sz="quarter" idx="15"/>
          </p:nvPr>
        </p:nvPicPr>
        <p:blipFill>
          <a:blip r:embed="rId2">
            <a:extLst>
              <a:ext uri="{28A0092B-C50C-407E-A947-70E740481C1C}">
                <a14:useLocalDpi xmlns:a14="http://schemas.microsoft.com/office/drawing/2010/main" val="0"/>
              </a:ext>
            </a:extLst>
          </a:blip>
          <a:srcRect t="2222"/>
          <a:stretch/>
        </p:blipFill>
        <p:spPr>
          <a:xfrm>
            <a:off x="515938" y="1449388"/>
            <a:ext cx="3121212" cy="4608512"/>
          </a:xfrm>
          <a:prstGeom prst="rect">
            <a:avLst/>
          </a:prstGeom>
        </p:spPr>
      </p:pic>
      <p:sp>
        <p:nvSpPr>
          <p:cNvPr id="8" name="Content Placeholder 2">
            <a:extLst>
              <a:ext uri="{FF2B5EF4-FFF2-40B4-BE49-F238E27FC236}">
                <a16:creationId xmlns:a16="http://schemas.microsoft.com/office/drawing/2014/main" id="{77E87738-2A26-BA96-EB53-9E573BB3AC3D}"/>
              </a:ext>
            </a:extLst>
          </p:cNvPr>
          <p:cNvSpPr txBox="1">
            <a:spLocks/>
          </p:cNvSpPr>
          <p:nvPr/>
        </p:nvSpPr>
        <p:spPr bwMode="gray">
          <a:xfrm>
            <a:off x="3996479" y="1449388"/>
            <a:ext cx="7679583" cy="4608512"/>
          </a:xfrm>
          <a:prstGeom prst="rect">
            <a:avLst/>
          </a:prstGeom>
        </p:spPr>
        <p:txBody>
          <a:bodyPr vert="horz" lIns="0" tIns="0" rIns="0" bIns="0" rtlCol="0">
            <a:noAutofit/>
          </a:bodyPr>
          <a:lstStyle>
            <a:lvl1pPr marL="180000" indent="-180000"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1600" kern="1200">
                <a:solidFill>
                  <a:schemeClr val="tx1"/>
                </a:solidFill>
                <a:latin typeface="+mn-lt"/>
                <a:ea typeface="+mn-ea"/>
                <a:cs typeface="+mn-cs"/>
              </a:defRPr>
            </a:lvl1pPr>
            <a:lvl2pPr marL="360000" indent="-18000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a:solidFill>
                  <a:schemeClr val="tx1"/>
                </a:solidFill>
                <a:latin typeface="+mn-lt"/>
                <a:ea typeface="+mn-ea"/>
                <a:cs typeface="+mn-cs"/>
              </a:defRPr>
            </a:lvl2pPr>
            <a:lvl3pPr marL="540000" indent="-180000" algn="l" defTabSz="914400" rtl="0" eaLnBrk="1" latinLnBrk="0" hangingPunct="1">
              <a:lnSpc>
                <a:spcPct val="100000"/>
              </a:lnSpc>
              <a:spcBef>
                <a:spcPts val="0"/>
              </a:spcBef>
              <a:spcAft>
                <a:spcPts val="600"/>
              </a:spcAft>
              <a:buClr>
                <a:srgbClr val="BDBDBD"/>
              </a:buClr>
              <a:buFont typeface="Arial" panose="020B0604020202020204" pitchFamily="34" charset="0"/>
              <a:buChar char="•"/>
              <a:defRPr sz="1600" kern="1200">
                <a:solidFill>
                  <a:schemeClr val="tx1"/>
                </a:solidFill>
                <a:latin typeface="+mn-lt"/>
                <a:ea typeface="+mn-ea"/>
                <a:cs typeface="+mn-cs"/>
              </a:defRPr>
            </a:lvl3pPr>
            <a:lvl4pPr marL="720000" indent="-180000" algn="l" defTabSz="914400" rtl="0" eaLnBrk="1" latinLnBrk="0" hangingPunct="1">
              <a:lnSpc>
                <a:spcPct val="100000"/>
              </a:lnSpc>
              <a:spcBef>
                <a:spcPts val="0"/>
              </a:spcBef>
              <a:spcAft>
                <a:spcPts val="600"/>
              </a:spcAft>
              <a:buClr>
                <a:srgbClr val="BDBDBD"/>
              </a:buClr>
              <a:buFont typeface="Arial" panose="020B0604020202020204" pitchFamily="34" charset="0"/>
              <a:buChar char="•"/>
              <a:defRPr sz="1600" kern="1200">
                <a:solidFill>
                  <a:schemeClr val="tx1"/>
                </a:solidFill>
                <a:latin typeface="+mn-lt"/>
                <a:ea typeface="+mn-ea"/>
                <a:cs typeface="+mn-cs"/>
              </a:defRPr>
            </a:lvl4pPr>
            <a:lvl5pPr marL="900000" indent="-180000" algn="l" defTabSz="914400" rtl="0" eaLnBrk="1" latinLnBrk="0" hangingPunct="1">
              <a:lnSpc>
                <a:spcPct val="100000"/>
              </a:lnSpc>
              <a:spcBef>
                <a:spcPts val="0"/>
              </a:spcBef>
              <a:spcAft>
                <a:spcPts val="600"/>
              </a:spcAft>
              <a:buClr>
                <a:srgbClr val="BDBDBD"/>
              </a:buClr>
              <a:buFont typeface="Arial" panose="020B0604020202020204" pitchFamily="34" charset="0"/>
              <a:buChar char="•"/>
              <a:defRPr sz="1600" kern="1200">
                <a:solidFill>
                  <a:schemeClr val="tx1"/>
                </a:solidFill>
                <a:latin typeface="+mn-lt"/>
                <a:ea typeface="+mn-ea"/>
                <a:cs typeface="+mn-cs"/>
              </a:defRPr>
            </a:lvl5pPr>
            <a:lvl6pPr marL="1080000" indent="-180000" algn="l" defTabSz="914400" rtl="0" eaLnBrk="1" latinLnBrk="0" hangingPunct="1">
              <a:lnSpc>
                <a:spcPct val="100000"/>
              </a:lnSpc>
              <a:spcBef>
                <a:spcPts val="0"/>
              </a:spcBef>
              <a:spcAft>
                <a:spcPts val="600"/>
              </a:spcAft>
              <a:buClr>
                <a:srgbClr val="BDBDBD"/>
              </a:buClr>
              <a:buFont typeface="Arial" panose="020B0604020202020204" pitchFamily="34" charset="0"/>
              <a:buChar char="•"/>
              <a:defRPr sz="1600" kern="1200">
                <a:solidFill>
                  <a:schemeClr val="tx1"/>
                </a:solidFill>
                <a:latin typeface="+mn-lt"/>
                <a:ea typeface="+mn-ea"/>
                <a:cs typeface="+mn-cs"/>
              </a:defRPr>
            </a:lvl6pPr>
            <a:lvl7pPr marL="1260000" indent="-180000" algn="l" defTabSz="914400" rtl="0" eaLnBrk="1" latinLnBrk="0" hangingPunct="1">
              <a:lnSpc>
                <a:spcPct val="100000"/>
              </a:lnSpc>
              <a:spcBef>
                <a:spcPts val="0"/>
              </a:spcBef>
              <a:spcAft>
                <a:spcPts val="600"/>
              </a:spcAft>
              <a:buClr>
                <a:srgbClr val="BDBDBD"/>
              </a:buClr>
              <a:buFont typeface="Arial" panose="020B0604020202020204" pitchFamily="34" charset="0"/>
              <a:buChar char="•"/>
              <a:defRPr sz="1600" kern="1200">
                <a:solidFill>
                  <a:schemeClr val="tx1"/>
                </a:solidFill>
                <a:latin typeface="+mn-lt"/>
                <a:ea typeface="+mn-ea"/>
                <a:cs typeface="+mn-cs"/>
              </a:defRPr>
            </a:lvl7pPr>
            <a:lvl8pPr marL="1440000" indent="-180000" algn="l" defTabSz="914400" rtl="0" eaLnBrk="1" latinLnBrk="0" hangingPunct="1">
              <a:lnSpc>
                <a:spcPct val="100000"/>
              </a:lnSpc>
              <a:spcBef>
                <a:spcPts val="0"/>
              </a:spcBef>
              <a:spcAft>
                <a:spcPts val="600"/>
              </a:spcAft>
              <a:buClr>
                <a:srgbClr val="BDBDBD"/>
              </a:buClr>
              <a:buFont typeface="Arial" panose="020B0604020202020204" pitchFamily="34" charset="0"/>
              <a:buChar char="•"/>
              <a:defRPr sz="1600" kern="1200">
                <a:solidFill>
                  <a:schemeClr val="tx1"/>
                </a:solidFill>
                <a:latin typeface="+mn-lt"/>
                <a:ea typeface="+mn-ea"/>
                <a:cs typeface="+mn-cs"/>
              </a:defRPr>
            </a:lvl8pPr>
            <a:lvl9pPr marL="1620000" indent="-180000" algn="l" defTabSz="914400" rtl="0" eaLnBrk="1" latinLnBrk="0" hangingPunct="1">
              <a:lnSpc>
                <a:spcPct val="100000"/>
              </a:lnSpc>
              <a:spcBef>
                <a:spcPts val="0"/>
              </a:spcBef>
              <a:spcAft>
                <a:spcPts val="600"/>
              </a:spcAft>
              <a:buClr>
                <a:srgbClr val="BDBDBD"/>
              </a:buClr>
              <a:buFont typeface="Arial" panose="020B0604020202020204" pitchFamily="34" charset="0"/>
              <a:buChar char="•"/>
              <a:defRPr sz="1600" kern="1200">
                <a:solidFill>
                  <a:schemeClr val="tx1"/>
                </a:solidFill>
                <a:latin typeface="+mn-lt"/>
                <a:ea typeface="+mn-ea"/>
                <a:cs typeface="+mn-cs"/>
              </a:defRPr>
            </a:lvl9pPr>
          </a:lstStyle>
          <a:p>
            <a:pPr marL="0" indent="0" algn="just">
              <a:buFont typeface="Arial" panose="020B0604020202020204" pitchFamily="34" charset="0"/>
              <a:buNone/>
            </a:pPr>
            <a:r>
              <a:rPr lang="en-US" b="1">
                <a:solidFill>
                  <a:schemeClr val="accent1"/>
                </a:solidFill>
              </a:rPr>
              <a:t>Limitations:</a:t>
            </a:r>
          </a:p>
          <a:p>
            <a:pPr marL="0" indent="0" algn="just">
              <a:buFont typeface="Arial" panose="020B0604020202020204" pitchFamily="34" charset="0"/>
              <a:buNone/>
            </a:pPr>
            <a:r>
              <a:rPr lang="en-US"/>
              <a:t>When the welder isn't running, shielding gas builds up pressure in the hose between the regulator and the torch. When you hit the trigger to start welding, that built-up pressure is released all at once, creating a </a:t>
            </a:r>
            <a:r>
              <a:rPr lang="en-US" b="1"/>
              <a:t>"surge"</a:t>
            </a:r>
            <a:r>
              <a:rPr lang="en-US"/>
              <a:t> of gas.</a:t>
            </a:r>
          </a:p>
          <a:p>
            <a:pPr marL="0" indent="0" algn="just">
              <a:buFont typeface="Arial" panose="020B0604020202020204" pitchFamily="34" charset="0"/>
              <a:buNone/>
            </a:pPr>
            <a:endParaRPr lang="en-US" b="1">
              <a:solidFill>
                <a:schemeClr val="accent1"/>
              </a:solidFill>
            </a:endParaRPr>
          </a:p>
          <a:p>
            <a:pPr marL="0" indent="0" algn="just">
              <a:buFont typeface="Arial" panose="020B0604020202020204" pitchFamily="34" charset="0"/>
              <a:buNone/>
            </a:pPr>
            <a:r>
              <a:rPr lang="en-US" b="1">
                <a:solidFill>
                  <a:schemeClr val="accent1"/>
                </a:solidFill>
              </a:rPr>
              <a:t>Why is it a problem?</a:t>
            </a:r>
          </a:p>
          <a:p>
            <a:pPr algn="just"/>
            <a:r>
              <a:rPr lang="en-US" b="1"/>
              <a:t>Turbulence at the weld start:</a:t>
            </a:r>
            <a:r>
              <a:rPr lang="en-US"/>
              <a:t> This surge disturbs the shielding gas coverage momentarily, sucking in air and leading to </a:t>
            </a:r>
            <a:r>
              <a:rPr lang="en-US" b="1"/>
              <a:t>porosity</a:t>
            </a:r>
            <a:r>
              <a:rPr lang="en-US"/>
              <a:t> in the weld. To try to fix this, often gas flow is increased as it may seem that there is not enough gas, but this only exacerbates the surge.</a:t>
            </a:r>
          </a:p>
          <a:p>
            <a:pPr algn="just"/>
            <a:r>
              <a:rPr lang="en-US" b="1"/>
              <a:t>Gas waste:</a:t>
            </a:r>
            <a:r>
              <a:rPr lang="en-US"/>
              <a:t> You end up using more shielding gas than necessary, which increases costs over time. The longer the gas hose, the greater the waste.</a:t>
            </a:r>
          </a:p>
          <a:p>
            <a:pPr algn="just"/>
            <a:r>
              <a:rPr lang="en-US" b="1"/>
              <a:t>Inconsistent weld starts:</a:t>
            </a:r>
            <a:r>
              <a:rPr lang="en-US"/>
              <a:t> Each start might behave a little differently, especially noticeable in precision work.</a:t>
            </a:r>
          </a:p>
          <a:p>
            <a:pPr marL="0" indent="0" algn="just">
              <a:buFont typeface="Arial" panose="020B0604020202020204" pitchFamily="34" charset="0"/>
              <a:buNone/>
            </a:pPr>
            <a:endParaRPr lang="en-US"/>
          </a:p>
          <a:p>
            <a:pPr marL="0" indent="0">
              <a:buFont typeface="Arial" panose="020B0604020202020204" pitchFamily="34" charset="0"/>
              <a:buNone/>
            </a:pPr>
            <a:endParaRPr lang="de-CH"/>
          </a:p>
        </p:txBody>
      </p:sp>
      <p:sp>
        <p:nvSpPr>
          <p:cNvPr id="9" name="Oval 8">
            <a:extLst>
              <a:ext uri="{FF2B5EF4-FFF2-40B4-BE49-F238E27FC236}">
                <a16:creationId xmlns:a16="http://schemas.microsoft.com/office/drawing/2014/main" id="{9EB9E06A-CDAA-79BD-4A10-FDB9639CECAB}"/>
              </a:ext>
            </a:extLst>
          </p:cNvPr>
          <p:cNvSpPr/>
          <p:nvPr/>
        </p:nvSpPr>
        <p:spPr>
          <a:xfrm>
            <a:off x="1196340" y="1752600"/>
            <a:ext cx="822960" cy="830580"/>
          </a:xfrm>
          <a:prstGeom prst="ellipse">
            <a:avLst/>
          </a:prstGeom>
          <a:noFill/>
          <a:ln w="38100">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de-CH" err="1"/>
          </a:p>
        </p:txBody>
      </p:sp>
    </p:spTree>
    <p:extLst>
      <p:ext uri="{BB962C8B-B14F-4D97-AF65-F5344CB8AC3E}">
        <p14:creationId xmlns:p14="http://schemas.microsoft.com/office/powerpoint/2010/main" val="370738641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8">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8">
                                            <p:txEl>
                                              <p:pRg st="1" end="1"/>
                                            </p:txEl>
                                          </p:spTgt>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8">
                                            <p:txEl>
                                              <p:pRg st="3" end="3"/>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8">
                                            <p:txEl>
                                              <p:pRg st="4" end="4"/>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8">
                                            <p:txEl>
                                              <p:pRg st="5" end="5"/>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8">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E7171AE1-7749-93D2-872E-F8A1D86E5924}"/>
              </a:ext>
            </a:extLst>
          </p:cNvPr>
          <p:cNvSpPr>
            <a:spLocks noGrp="1"/>
          </p:cNvSpPr>
          <p:nvPr>
            <p:ph type="title"/>
          </p:nvPr>
        </p:nvSpPr>
        <p:spPr>
          <a:xfrm>
            <a:off x="515937" y="529120"/>
            <a:ext cx="12344400" cy="861774"/>
          </a:xfrm>
        </p:spPr>
        <p:txBody>
          <a:bodyPr/>
          <a:lstStyle/>
          <a:p>
            <a:r>
              <a:rPr lang="es-ES"/>
              <a:t>UNLOCK SUPERIOR VALUE WITH SENSIRION’S MFCS</a:t>
            </a:r>
            <a:br>
              <a:rPr lang="de-CH"/>
            </a:br>
            <a:endParaRPr lang="de-CH"/>
          </a:p>
        </p:txBody>
      </p:sp>
      <p:sp>
        <p:nvSpPr>
          <p:cNvPr id="4" name="Footer Placeholder 3">
            <a:extLst>
              <a:ext uri="{FF2B5EF4-FFF2-40B4-BE49-F238E27FC236}">
                <a16:creationId xmlns:a16="http://schemas.microsoft.com/office/drawing/2014/main" id="{F9EA087B-06FC-927E-2E5C-537FDBC3D8A2}"/>
              </a:ext>
            </a:extLst>
          </p:cNvPr>
          <p:cNvSpPr>
            <a:spLocks noGrp="1"/>
          </p:cNvSpPr>
          <p:nvPr>
            <p:ph type="ftr" sz="quarter" idx="15"/>
          </p:nvPr>
        </p:nvSpPr>
        <p:spPr/>
        <p:txBody>
          <a:bodyPr/>
          <a:lstStyle/>
          <a:p>
            <a:r>
              <a:rPr lang="de-DE"/>
              <a:t>© Copyright Sensirion, Switzerland</a:t>
            </a:r>
          </a:p>
        </p:txBody>
      </p:sp>
      <p:sp>
        <p:nvSpPr>
          <p:cNvPr id="5" name="Slide Number Placeholder 4">
            <a:extLst>
              <a:ext uri="{FF2B5EF4-FFF2-40B4-BE49-F238E27FC236}">
                <a16:creationId xmlns:a16="http://schemas.microsoft.com/office/drawing/2014/main" id="{DF28D57E-2B1A-DC3C-E30A-4EF9F3FB4ECA}"/>
              </a:ext>
            </a:extLst>
          </p:cNvPr>
          <p:cNvSpPr>
            <a:spLocks noGrp="1"/>
          </p:cNvSpPr>
          <p:nvPr>
            <p:ph type="sldNum" sz="quarter" idx="16"/>
          </p:nvPr>
        </p:nvSpPr>
        <p:spPr/>
        <p:txBody>
          <a:bodyPr/>
          <a:lstStyle/>
          <a:p>
            <a:fld id="{B1E691A1-F3A6-4574-B226-B412272B38A6}" type="slidenum">
              <a:rPr lang="de-DE" smtClean="0"/>
              <a:pPr/>
              <a:t>23</a:t>
            </a:fld>
            <a:endParaRPr lang="de-DE"/>
          </a:p>
        </p:txBody>
      </p:sp>
      <p:pic>
        <p:nvPicPr>
          <p:cNvPr id="6" name="Picture 2">
            <a:extLst>
              <a:ext uri="{FF2B5EF4-FFF2-40B4-BE49-F238E27FC236}">
                <a16:creationId xmlns:a16="http://schemas.microsoft.com/office/drawing/2014/main" id="{E78A6976-7EB1-BB91-6623-AC492B976B68}"/>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l="3783" r="3783"/>
          <a:stretch/>
        </p:blipFill>
        <p:spPr bwMode="auto">
          <a:xfrm>
            <a:off x="7280568" y="2005803"/>
            <a:ext cx="4209665" cy="2846394"/>
          </a:xfrm>
          <a:prstGeom prst="rect">
            <a:avLst/>
          </a:prstGeom>
          <a:noFill/>
          <a:extLst>
            <a:ext uri="{909E8E84-426E-40DD-AFC4-6F175D3DCCD1}">
              <a14:hiddenFill xmlns:a14="http://schemas.microsoft.com/office/drawing/2010/main">
                <a:solidFill>
                  <a:srgbClr val="FFFFFF"/>
                </a:solidFill>
              </a14:hiddenFill>
            </a:ext>
          </a:extLst>
        </p:spPr>
      </p:pic>
      <p:sp>
        <p:nvSpPr>
          <p:cNvPr id="17" name="TextBox 16">
            <a:extLst>
              <a:ext uri="{FF2B5EF4-FFF2-40B4-BE49-F238E27FC236}">
                <a16:creationId xmlns:a16="http://schemas.microsoft.com/office/drawing/2014/main" id="{CFDF7F18-6920-D2E6-4CF6-610A44774D05}"/>
              </a:ext>
            </a:extLst>
          </p:cNvPr>
          <p:cNvSpPr txBox="1"/>
          <p:nvPr/>
        </p:nvSpPr>
        <p:spPr>
          <a:xfrm>
            <a:off x="8758347" y="4312249"/>
            <a:ext cx="1636987" cy="369332"/>
          </a:xfrm>
          <a:prstGeom prst="rect">
            <a:avLst/>
          </a:prstGeom>
          <a:noFill/>
        </p:spPr>
        <p:txBody>
          <a:bodyPr wrap="none" rtlCol="0">
            <a:spAutoFit/>
          </a:bodyPr>
          <a:lstStyle/>
          <a:p>
            <a:r>
              <a:rPr lang="en-GB">
                <a:latin typeface="Segoe UI" panose="020B0502040204020203" pitchFamily="34" charset="0"/>
                <a:cs typeface="Segoe UI" panose="020B0502040204020203" pitchFamily="34" charset="0"/>
              </a:rPr>
              <a:t>Sensirion MFC</a:t>
            </a:r>
          </a:p>
        </p:txBody>
      </p:sp>
      <p:pic>
        <p:nvPicPr>
          <p:cNvPr id="1028" name="Picture 4">
            <a:extLst>
              <a:ext uri="{FF2B5EF4-FFF2-40B4-BE49-F238E27FC236}">
                <a16:creationId xmlns:a16="http://schemas.microsoft.com/office/drawing/2014/main" id="{E87F2B91-BD40-AD51-D249-8545DB0A974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19455" y="1390894"/>
            <a:ext cx="6539789" cy="3678631"/>
          </a:xfrm>
          <a:prstGeom prst="rect">
            <a:avLst/>
          </a:prstGeom>
          <a:noFill/>
          <a:extLst>
            <a:ext uri="{909E8E84-426E-40DD-AFC4-6F175D3DCCD1}">
              <a14:hiddenFill xmlns:a14="http://schemas.microsoft.com/office/drawing/2010/main">
                <a:solidFill>
                  <a:srgbClr val="FFFFFF"/>
                </a:solidFill>
              </a14:hiddenFill>
            </a:ext>
          </a:extLst>
        </p:spPr>
      </p:pic>
      <p:sp>
        <p:nvSpPr>
          <p:cNvPr id="2" name="Plus Sign 1">
            <a:extLst>
              <a:ext uri="{FF2B5EF4-FFF2-40B4-BE49-F238E27FC236}">
                <a16:creationId xmlns:a16="http://schemas.microsoft.com/office/drawing/2014/main" id="{555D03C7-42DA-531B-0C9A-44801A5CF8FA}"/>
              </a:ext>
            </a:extLst>
          </p:cNvPr>
          <p:cNvSpPr/>
          <p:nvPr/>
        </p:nvSpPr>
        <p:spPr>
          <a:xfrm>
            <a:off x="6759244" y="3230209"/>
            <a:ext cx="579056" cy="570585"/>
          </a:xfrm>
          <a:prstGeom prst="mathPlus">
            <a:avLst/>
          </a:prstGeom>
          <a:solidFill>
            <a:srgbClr val="66CC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39454475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9C64780-514B-9006-681D-F3B988A0D171}"/>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ECB02EEE-4D50-326C-2F39-C8A5069E95CD}"/>
              </a:ext>
            </a:extLst>
          </p:cNvPr>
          <p:cNvSpPr>
            <a:spLocks noGrp="1"/>
          </p:cNvSpPr>
          <p:nvPr>
            <p:ph type="title"/>
          </p:nvPr>
        </p:nvSpPr>
        <p:spPr>
          <a:xfrm>
            <a:off x="515937" y="529120"/>
            <a:ext cx="12344400" cy="861774"/>
          </a:xfrm>
        </p:spPr>
        <p:txBody>
          <a:bodyPr/>
          <a:lstStyle/>
          <a:p>
            <a:r>
              <a:rPr lang="es-ES"/>
              <a:t>WHY SENSIRION’S MFC</a:t>
            </a:r>
            <a:br>
              <a:rPr lang="de-CH"/>
            </a:br>
            <a:endParaRPr lang="de-CH"/>
          </a:p>
        </p:txBody>
      </p:sp>
      <p:sp>
        <p:nvSpPr>
          <p:cNvPr id="4" name="Footer Placeholder 3">
            <a:extLst>
              <a:ext uri="{FF2B5EF4-FFF2-40B4-BE49-F238E27FC236}">
                <a16:creationId xmlns:a16="http://schemas.microsoft.com/office/drawing/2014/main" id="{4A3979C6-4DA6-AB67-F150-724DE9C43611}"/>
              </a:ext>
            </a:extLst>
          </p:cNvPr>
          <p:cNvSpPr>
            <a:spLocks noGrp="1"/>
          </p:cNvSpPr>
          <p:nvPr>
            <p:ph type="ftr" sz="quarter" idx="15"/>
          </p:nvPr>
        </p:nvSpPr>
        <p:spPr/>
        <p:txBody>
          <a:bodyPr/>
          <a:lstStyle/>
          <a:p>
            <a:r>
              <a:rPr lang="de-DE"/>
              <a:t>© Copyright Sensirion, Switzerland</a:t>
            </a:r>
          </a:p>
        </p:txBody>
      </p:sp>
      <p:sp>
        <p:nvSpPr>
          <p:cNvPr id="5" name="Slide Number Placeholder 4">
            <a:extLst>
              <a:ext uri="{FF2B5EF4-FFF2-40B4-BE49-F238E27FC236}">
                <a16:creationId xmlns:a16="http://schemas.microsoft.com/office/drawing/2014/main" id="{AB017F68-A712-4724-A78E-F7D8390EA6BB}"/>
              </a:ext>
            </a:extLst>
          </p:cNvPr>
          <p:cNvSpPr>
            <a:spLocks noGrp="1"/>
          </p:cNvSpPr>
          <p:nvPr>
            <p:ph type="sldNum" sz="quarter" idx="16"/>
          </p:nvPr>
        </p:nvSpPr>
        <p:spPr/>
        <p:txBody>
          <a:bodyPr/>
          <a:lstStyle/>
          <a:p>
            <a:fld id="{B1E691A1-F3A6-4574-B226-B412272B38A6}" type="slidenum">
              <a:rPr lang="de-DE" smtClean="0"/>
              <a:pPr/>
              <a:t>24</a:t>
            </a:fld>
            <a:endParaRPr lang="de-DE"/>
          </a:p>
        </p:txBody>
      </p:sp>
      <p:pic>
        <p:nvPicPr>
          <p:cNvPr id="6" name="Picture 2">
            <a:extLst>
              <a:ext uri="{FF2B5EF4-FFF2-40B4-BE49-F238E27FC236}">
                <a16:creationId xmlns:a16="http://schemas.microsoft.com/office/drawing/2014/main" id="{FE0714E2-EA40-2AC4-EA8D-C6756636B71F}"/>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l="3783" r="3783"/>
          <a:stretch/>
        </p:blipFill>
        <p:spPr bwMode="auto">
          <a:xfrm>
            <a:off x="7428116" y="2884726"/>
            <a:ext cx="4209665" cy="2846394"/>
          </a:xfrm>
          <a:prstGeom prst="rect">
            <a:avLst/>
          </a:prstGeom>
          <a:noFill/>
          <a:extLst>
            <a:ext uri="{909E8E84-426E-40DD-AFC4-6F175D3DCCD1}">
              <a14:hiddenFill xmlns:a14="http://schemas.microsoft.com/office/drawing/2010/main">
                <a:solidFill>
                  <a:srgbClr val="FFFFFF"/>
                </a:solidFill>
              </a14:hiddenFill>
            </a:ext>
          </a:extLst>
        </p:spPr>
      </p:pic>
      <p:grpSp>
        <p:nvGrpSpPr>
          <p:cNvPr id="7" name="Group 6">
            <a:extLst>
              <a:ext uri="{FF2B5EF4-FFF2-40B4-BE49-F238E27FC236}">
                <a16:creationId xmlns:a16="http://schemas.microsoft.com/office/drawing/2014/main" id="{AA81AE31-5E33-1E6E-FDB8-1C4E525E70BD}"/>
              </a:ext>
            </a:extLst>
          </p:cNvPr>
          <p:cNvGrpSpPr/>
          <p:nvPr/>
        </p:nvGrpSpPr>
        <p:grpSpPr>
          <a:xfrm>
            <a:off x="777709" y="3132444"/>
            <a:ext cx="4699250" cy="2782706"/>
            <a:chOff x="1343563" y="2340943"/>
            <a:chExt cx="5208207" cy="3025028"/>
          </a:xfrm>
        </p:grpSpPr>
        <p:pic>
          <p:nvPicPr>
            <p:cNvPr id="8" name="Picture 2">
              <a:extLst>
                <a:ext uri="{FF2B5EF4-FFF2-40B4-BE49-F238E27FC236}">
                  <a16:creationId xmlns:a16="http://schemas.microsoft.com/office/drawing/2014/main" id="{E4081E5C-2659-3130-31BE-EB611E230C70}"/>
                </a:ext>
              </a:extLst>
            </p:cNvPr>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21422" t="27099" r="23587" b="23287"/>
            <a:stretch/>
          </p:blipFill>
          <p:spPr bwMode="auto">
            <a:xfrm>
              <a:off x="1343563" y="2340943"/>
              <a:ext cx="2950531" cy="1661878"/>
            </a:xfrm>
            <a:prstGeom prst="rect">
              <a:avLst/>
            </a:prstGeom>
            <a:noFill/>
            <a:extLst>
              <a:ext uri="{909E8E84-426E-40DD-AFC4-6F175D3DCCD1}">
                <a14:hiddenFill xmlns:a14="http://schemas.microsoft.com/office/drawing/2010/main">
                  <a:solidFill>
                    <a:srgbClr val="FFFFFF"/>
                  </a:solidFill>
                </a14:hiddenFill>
              </a:ext>
            </a:extLst>
          </p:spPr>
        </p:pic>
        <p:sp>
          <p:nvSpPr>
            <p:cNvPr id="9" name="Plus Sign 8">
              <a:extLst>
                <a:ext uri="{FF2B5EF4-FFF2-40B4-BE49-F238E27FC236}">
                  <a16:creationId xmlns:a16="http://schemas.microsoft.com/office/drawing/2014/main" id="{5BD98CF7-7930-89D5-BCD0-2CED46B0E4C5}"/>
                </a:ext>
              </a:extLst>
            </p:cNvPr>
            <p:cNvSpPr/>
            <p:nvPr/>
          </p:nvSpPr>
          <p:spPr>
            <a:xfrm>
              <a:off x="3707168" y="3412476"/>
              <a:ext cx="309966" cy="315994"/>
            </a:xfrm>
            <a:prstGeom prst="mathPlus">
              <a:avLst/>
            </a:prstGeom>
            <a:solidFill>
              <a:srgbClr val="66CC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Segoe UI" panose="020B0502040204020203" pitchFamily="34" charset="0"/>
                <a:cs typeface="Segoe UI" panose="020B0502040204020203" pitchFamily="34" charset="0"/>
              </a:endParaRPr>
            </a:p>
          </p:txBody>
        </p:sp>
        <p:pic>
          <p:nvPicPr>
            <p:cNvPr id="10" name="Picture 2" descr="Direct-operated solenoid valve - PICOSOL MS - Norgren - 3-way / water / for  gas">
              <a:extLst>
                <a:ext uri="{FF2B5EF4-FFF2-40B4-BE49-F238E27FC236}">
                  <a16:creationId xmlns:a16="http://schemas.microsoft.com/office/drawing/2014/main" id="{FFA38682-CC4E-6602-B406-97D8DD62E1C0}"/>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32282" t="20535" r="33029"/>
            <a:stretch/>
          </p:blipFill>
          <p:spPr bwMode="auto">
            <a:xfrm>
              <a:off x="4092529" y="3229336"/>
              <a:ext cx="551602" cy="998269"/>
            </a:xfrm>
            <a:prstGeom prst="rect">
              <a:avLst/>
            </a:prstGeom>
            <a:noFill/>
            <a:extLst>
              <a:ext uri="{909E8E84-426E-40DD-AFC4-6F175D3DCCD1}">
                <a14:hiddenFill xmlns:a14="http://schemas.microsoft.com/office/drawing/2010/main">
                  <a:solidFill>
                    <a:srgbClr val="FFFFFF"/>
                  </a:solidFill>
                </a14:hiddenFill>
              </a:ext>
            </a:extLst>
          </p:spPr>
        </p:pic>
        <p:sp>
          <p:nvSpPr>
            <p:cNvPr id="11" name="Plus Sign 10">
              <a:extLst>
                <a:ext uri="{FF2B5EF4-FFF2-40B4-BE49-F238E27FC236}">
                  <a16:creationId xmlns:a16="http://schemas.microsoft.com/office/drawing/2014/main" id="{CBE5F52E-9B29-BD84-4715-B9F106E19CA7}"/>
                </a:ext>
              </a:extLst>
            </p:cNvPr>
            <p:cNvSpPr/>
            <p:nvPr/>
          </p:nvSpPr>
          <p:spPr>
            <a:xfrm>
              <a:off x="4748001" y="3959566"/>
              <a:ext cx="309966" cy="315994"/>
            </a:xfrm>
            <a:prstGeom prst="mathPlus">
              <a:avLst/>
            </a:prstGeom>
            <a:solidFill>
              <a:srgbClr val="66CC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Segoe UI" panose="020B0502040204020203" pitchFamily="34" charset="0"/>
                <a:cs typeface="Segoe UI" panose="020B0502040204020203" pitchFamily="34" charset="0"/>
              </a:endParaRPr>
            </a:p>
          </p:txBody>
        </p:sp>
        <p:pic>
          <p:nvPicPr>
            <p:cNvPr id="12" name="Picture 4" descr="Pcb Circuit Board Assembly">
              <a:extLst>
                <a:ext uri="{FF2B5EF4-FFF2-40B4-BE49-F238E27FC236}">
                  <a16:creationId xmlns:a16="http://schemas.microsoft.com/office/drawing/2014/main" id="{0C740E91-85A3-ADBF-24F8-DE8A89826D12}"/>
                </a:ext>
              </a:extLst>
            </p:cNvPr>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l="7816" t="21695" r="7816" b="25198"/>
            <a:stretch/>
          </p:blipFill>
          <p:spPr bwMode="auto">
            <a:xfrm>
              <a:off x="5161838" y="3937033"/>
              <a:ext cx="1255694" cy="790414"/>
            </a:xfrm>
            <a:prstGeom prst="rect">
              <a:avLst/>
            </a:prstGeom>
            <a:noFill/>
            <a:extLst>
              <a:ext uri="{909E8E84-426E-40DD-AFC4-6F175D3DCCD1}">
                <a14:hiddenFill xmlns:a14="http://schemas.microsoft.com/office/drawing/2010/main">
                  <a:solidFill>
                    <a:srgbClr val="FFFFFF"/>
                  </a:solidFill>
                </a14:hiddenFill>
              </a:ext>
            </a:extLst>
          </p:spPr>
        </p:pic>
        <p:sp>
          <p:nvSpPr>
            <p:cNvPr id="13" name="TextBox 12">
              <a:extLst>
                <a:ext uri="{FF2B5EF4-FFF2-40B4-BE49-F238E27FC236}">
                  <a16:creationId xmlns:a16="http://schemas.microsoft.com/office/drawing/2014/main" id="{0C3E13CA-5EA8-34F0-2701-E0C4E816BCDE}"/>
                </a:ext>
              </a:extLst>
            </p:cNvPr>
            <p:cNvSpPr txBox="1"/>
            <p:nvPr/>
          </p:nvSpPr>
          <p:spPr>
            <a:xfrm>
              <a:off x="2417909" y="3802757"/>
              <a:ext cx="1444242" cy="400110"/>
            </a:xfrm>
            <a:prstGeom prst="rect">
              <a:avLst/>
            </a:prstGeom>
            <a:noFill/>
          </p:spPr>
          <p:txBody>
            <a:bodyPr wrap="none" rtlCol="0">
              <a:spAutoFit/>
            </a:bodyPr>
            <a:lstStyle/>
            <a:p>
              <a:r>
                <a:rPr lang="en-GB">
                  <a:latin typeface="Segoe UI" panose="020B0502040204020203" pitchFamily="34" charset="0"/>
                  <a:cs typeface="Segoe UI" panose="020B0502040204020203" pitchFamily="34" charset="0"/>
                </a:rPr>
                <a:t>Flow meter</a:t>
              </a:r>
            </a:p>
          </p:txBody>
        </p:sp>
        <p:sp>
          <p:nvSpPr>
            <p:cNvPr id="14" name="TextBox 13">
              <a:extLst>
                <a:ext uri="{FF2B5EF4-FFF2-40B4-BE49-F238E27FC236}">
                  <a16:creationId xmlns:a16="http://schemas.microsoft.com/office/drawing/2014/main" id="{515D4946-CF6A-8842-4302-B119A4556F4D}"/>
                </a:ext>
              </a:extLst>
            </p:cNvPr>
            <p:cNvSpPr txBox="1"/>
            <p:nvPr/>
          </p:nvSpPr>
          <p:spPr>
            <a:xfrm>
              <a:off x="4092529" y="4369746"/>
              <a:ext cx="773930" cy="400110"/>
            </a:xfrm>
            <a:prstGeom prst="rect">
              <a:avLst/>
            </a:prstGeom>
            <a:noFill/>
          </p:spPr>
          <p:txBody>
            <a:bodyPr wrap="none" rtlCol="0">
              <a:spAutoFit/>
            </a:bodyPr>
            <a:lstStyle/>
            <a:p>
              <a:r>
                <a:rPr lang="en-GB">
                  <a:latin typeface="Segoe UI" panose="020B0502040204020203" pitchFamily="34" charset="0"/>
                  <a:cs typeface="Segoe UI" panose="020B0502040204020203" pitchFamily="34" charset="0"/>
                </a:rPr>
                <a:t>Valve</a:t>
              </a:r>
            </a:p>
          </p:txBody>
        </p:sp>
        <p:sp>
          <p:nvSpPr>
            <p:cNvPr id="15" name="TextBox 14">
              <a:extLst>
                <a:ext uri="{FF2B5EF4-FFF2-40B4-BE49-F238E27FC236}">
                  <a16:creationId xmlns:a16="http://schemas.microsoft.com/office/drawing/2014/main" id="{68F0DB10-DD81-CA5A-9839-90A3E8066CB5}"/>
                </a:ext>
              </a:extLst>
            </p:cNvPr>
            <p:cNvSpPr txBox="1"/>
            <p:nvPr/>
          </p:nvSpPr>
          <p:spPr>
            <a:xfrm>
              <a:off x="5161838" y="4965861"/>
              <a:ext cx="1389932" cy="400110"/>
            </a:xfrm>
            <a:prstGeom prst="rect">
              <a:avLst/>
            </a:prstGeom>
            <a:noFill/>
          </p:spPr>
          <p:txBody>
            <a:bodyPr wrap="none" rtlCol="0">
              <a:spAutoFit/>
            </a:bodyPr>
            <a:lstStyle/>
            <a:p>
              <a:r>
                <a:rPr lang="en-GB">
                  <a:latin typeface="Segoe UI" panose="020B0502040204020203" pitchFamily="34" charset="0"/>
                  <a:cs typeface="Segoe UI" panose="020B0502040204020203" pitchFamily="34" charset="0"/>
                </a:rPr>
                <a:t>Electronics</a:t>
              </a:r>
            </a:p>
          </p:txBody>
        </p:sp>
      </p:grpSp>
      <p:sp>
        <p:nvSpPr>
          <p:cNvPr id="16" name="Equals 15">
            <a:extLst>
              <a:ext uri="{FF2B5EF4-FFF2-40B4-BE49-F238E27FC236}">
                <a16:creationId xmlns:a16="http://schemas.microsoft.com/office/drawing/2014/main" id="{5B7B65AA-AE7F-5FFA-91E0-E159CE8D64C1}"/>
              </a:ext>
            </a:extLst>
          </p:cNvPr>
          <p:cNvSpPr/>
          <p:nvPr/>
        </p:nvSpPr>
        <p:spPr>
          <a:xfrm>
            <a:off x="6311430" y="4077851"/>
            <a:ext cx="474388" cy="371260"/>
          </a:xfrm>
          <a:prstGeom prst="mathEqual">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de-CH" err="1">
              <a:solidFill>
                <a:schemeClr val="tx1"/>
              </a:solidFill>
            </a:endParaRPr>
          </a:p>
        </p:txBody>
      </p:sp>
      <p:sp>
        <p:nvSpPr>
          <p:cNvPr id="17" name="TextBox 16">
            <a:extLst>
              <a:ext uri="{FF2B5EF4-FFF2-40B4-BE49-F238E27FC236}">
                <a16:creationId xmlns:a16="http://schemas.microsoft.com/office/drawing/2014/main" id="{2F3BA7BB-2868-DF7B-C5ED-D8D678940D48}"/>
              </a:ext>
            </a:extLst>
          </p:cNvPr>
          <p:cNvSpPr txBox="1"/>
          <p:nvPr/>
        </p:nvSpPr>
        <p:spPr>
          <a:xfrm>
            <a:off x="8714456" y="5182757"/>
            <a:ext cx="1636987" cy="369332"/>
          </a:xfrm>
          <a:prstGeom prst="rect">
            <a:avLst/>
          </a:prstGeom>
          <a:noFill/>
        </p:spPr>
        <p:txBody>
          <a:bodyPr wrap="none" rtlCol="0">
            <a:spAutoFit/>
          </a:bodyPr>
          <a:lstStyle/>
          <a:p>
            <a:r>
              <a:rPr lang="en-GB">
                <a:latin typeface="Segoe UI" panose="020B0502040204020203" pitchFamily="34" charset="0"/>
                <a:cs typeface="Segoe UI" panose="020B0502040204020203" pitchFamily="34" charset="0"/>
              </a:rPr>
              <a:t>Sensirion MFC</a:t>
            </a:r>
          </a:p>
        </p:txBody>
      </p:sp>
      <p:sp>
        <p:nvSpPr>
          <p:cNvPr id="18" name="Content Placeholder 2">
            <a:extLst>
              <a:ext uri="{FF2B5EF4-FFF2-40B4-BE49-F238E27FC236}">
                <a16:creationId xmlns:a16="http://schemas.microsoft.com/office/drawing/2014/main" id="{435BC9BF-2021-AFDE-C17E-9EC842DC05E0}"/>
              </a:ext>
            </a:extLst>
          </p:cNvPr>
          <p:cNvSpPr txBox="1">
            <a:spLocks/>
          </p:cNvSpPr>
          <p:nvPr/>
        </p:nvSpPr>
        <p:spPr bwMode="gray">
          <a:xfrm>
            <a:off x="413524" y="1447043"/>
            <a:ext cx="11160126" cy="830997"/>
          </a:xfrm>
          <a:prstGeom prst="rect">
            <a:avLst/>
          </a:prstGeom>
        </p:spPr>
        <p:txBody>
          <a:bodyPr vert="horz" lIns="0" tIns="0" rIns="0" bIns="0" rtlCol="0" anchor="ctr">
            <a:spAutoFit/>
          </a:bodyPr>
          <a:lstStyle>
            <a:defPPr>
              <a:defRPr lang="de-DE"/>
            </a:defPPr>
            <a:lvl1pPr marL="0" algn="l" defTabSz="914400" rtl="0" eaLnBrk="1" latinLnBrk="0" hangingPunct="1">
              <a:lnSpc>
                <a:spcPct val="100000"/>
              </a:lnSpc>
              <a:defRPr sz="1000" kern="1200">
                <a:solidFill>
                  <a:schemeClr val="accent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buFont typeface="Arial" panose="020B0604020202020204" pitchFamily="34" charset="0"/>
              <a:buChar char="•"/>
            </a:pPr>
            <a:endParaRPr lang="en-US" sz="1800" b="1"/>
          </a:p>
          <a:p>
            <a:endParaRPr lang="en-US" sz="1800"/>
          </a:p>
          <a:p>
            <a:endParaRPr lang="de-CH" sz="1800"/>
          </a:p>
        </p:txBody>
      </p:sp>
      <p:sp>
        <p:nvSpPr>
          <p:cNvPr id="19" name="TextBox 18">
            <a:extLst>
              <a:ext uri="{FF2B5EF4-FFF2-40B4-BE49-F238E27FC236}">
                <a16:creationId xmlns:a16="http://schemas.microsoft.com/office/drawing/2014/main" id="{DE06E07B-E2F4-5740-0E97-90CC1D7BFE31}"/>
              </a:ext>
            </a:extLst>
          </p:cNvPr>
          <p:cNvSpPr txBox="1"/>
          <p:nvPr/>
        </p:nvSpPr>
        <p:spPr>
          <a:xfrm>
            <a:off x="515937" y="1449388"/>
            <a:ext cx="10434917" cy="1745844"/>
          </a:xfrm>
          <a:prstGeom prst="rect">
            <a:avLst/>
          </a:prstGeom>
          <a:noFill/>
          <a:ln>
            <a:noFill/>
          </a:ln>
        </p:spPr>
        <p:txBody>
          <a:bodyPr wrap="square" lIns="72000" tIns="72000" rIns="72000" bIns="72000" rtlCol="0" anchor="t">
            <a:spAutoFit/>
          </a:bodyPr>
          <a:lstStyle/>
          <a:p>
            <a:pPr algn="just">
              <a:buClr>
                <a:schemeClr val="accent1"/>
              </a:buClr>
            </a:pPr>
            <a:r>
              <a:rPr lang="es-ES"/>
              <a:t>Flow can </a:t>
            </a:r>
            <a:r>
              <a:rPr lang="es-ES" err="1"/>
              <a:t>also</a:t>
            </a:r>
            <a:r>
              <a:rPr lang="es-ES"/>
              <a:t> be </a:t>
            </a:r>
            <a:r>
              <a:rPr lang="es-ES" err="1"/>
              <a:t>monitored</a:t>
            </a:r>
            <a:r>
              <a:rPr lang="es-ES"/>
              <a:t> </a:t>
            </a:r>
            <a:r>
              <a:rPr lang="es-ES" err="1"/>
              <a:t>by</a:t>
            </a:r>
            <a:r>
              <a:rPr lang="es-ES"/>
              <a:t> </a:t>
            </a:r>
            <a:r>
              <a:rPr lang="es-ES" err="1"/>
              <a:t>incorporating</a:t>
            </a:r>
            <a:r>
              <a:rPr lang="es-ES"/>
              <a:t> a </a:t>
            </a:r>
            <a:r>
              <a:rPr lang="es-ES" err="1"/>
              <a:t>separate</a:t>
            </a:r>
            <a:r>
              <a:rPr lang="es-ES"/>
              <a:t> </a:t>
            </a:r>
            <a:r>
              <a:rPr lang="es-ES" err="1"/>
              <a:t>flow</a:t>
            </a:r>
            <a:r>
              <a:rPr lang="es-ES"/>
              <a:t> meter, </a:t>
            </a:r>
            <a:r>
              <a:rPr lang="es-ES" err="1"/>
              <a:t>valve</a:t>
            </a:r>
            <a:r>
              <a:rPr lang="es-ES"/>
              <a:t> and control </a:t>
            </a:r>
            <a:r>
              <a:rPr lang="es-ES" err="1"/>
              <a:t>electronics</a:t>
            </a:r>
            <a:r>
              <a:rPr lang="es-ES"/>
              <a:t>. </a:t>
            </a:r>
            <a:endParaRPr lang="en-US"/>
          </a:p>
          <a:p>
            <a:pPr algn="just"/>
            <a:r>
              <a:rPr lang="es-ES" err="1"/>
              <a:t>This</a:t>
            </a:r>
            <a:r>
              <a:rPr lang="es-ES"/>
              <a:t> </a:t>
            </a:r>
            <a:r>
              <a:rPr lang="es-ES" err="1"/>
              <a:t>is</a:t>
            </a:r>
            <a:r>
              <a:rPr lang="es-ES"/>
              <a:t> </a:t>
            </a:r>
            <a:r>
              <a:rPr lang="es-ES" err="1"/>
              <a:t>complex</a:t>
            </a:r>
            <a:r>
              <a:rPr lang="es-ES"/>
              <a:t> and </a:t>
            </a:r>
            <a:r>
              <a:rPr lang="es-ES" err="1"/>
              <a:t>expensive</a:t>
            </a:r>
            <a:r>
              <a:rPr lang="es-ES"/>
              <a:t>, it </a:t>
            </a:r>
            <a:r>
              <a:rPr lang="es-ES" err="1"/>
              <a:t>requires</a:t>
            </a:r>
            <a:r>
              <a:rPr lang="es-ES"/>
              <a:t> </a:t>
            </a:r>
            <a:r>
              <a:rPr lang="es-ES" err="1"/>
              <a:t>demanding</a:t>
            </a:r>
            <a:r>
              <a:rPr lang="es-ES"/>
              <a:t> </a:t>
            </a:r>
            <a:r>
              <a:rPr lang="es-ES" err="1"/>
              <a:t>engineering</a:t>
            </a:r>
            <a:r>
              <a:rPr lang="es-ES"/>
              <a:t> </a:t>
            </a:r>
            <a:r>
              <a:rPr lang="es-ES" err="1"/>
              <a:t>efforts</a:t>
            </a:r>
            <a:r>
              <a:rPr lang="es-ES"/>
              <a:t> and </a:t>
            </a:r>
            <a:r>
              <a:rPr lang="es-ES" err="1"/>
              <a:t>complicated</a:t>
            </a:r>
            <a:r>
              <a:rPr lang="es-ES"/>
              <a:t> gas </a:t>
            </a:r>
            <a:r>
              <a:rPr lang="es-ES" err="1"/>
              <a:t>calibrations</a:t>
            </a:r>
            <a:r>
              <a:rPr lang="es-ES"/>
              <a:t>.</a:t>
            </a:r>
            <a:endParaRPr lang="es-ES">
              <a:cs typeface="Segoe UI"/>
            </a:endParaRPr>
          </a:p>
          <a:p>
            <a:pPr algn="just">
              <a:buClr>
                <a:schemeClr val="accent1"/>
              </a:buClr>
            </a:pPr>
            <a:endParaRPr lang="es-ES"/>
          </a:p>
          <a:p>
            <a:pPr algn="just">
              <a:buClr>
                <a:schemeClr val="accent1"/>
              </a:buClr>
            </a:pPr>
            <a:r>
              <a:rPr lang="es-ES" b="1" err="1"/>
              <a:t>Streamline</a:t>
            </a:r>
            <a:r>
              <a:rPr lang="es-ES" b="1"/>
              <a:t> </a:t>
            </a:r>
            <a:r>
              <a:rPr lang="es-ES" b="1" err="1"/>
              <a:t>the</a:t>
            </a:r>
            <a:r>
              <a:rPr lang="es-ES" b="1"/>
              <a:t> </a:t>
            </a:r>
            <a:r>
              <a:rPr lang="es-ES" b="1" err="1"/>
              <a:t>integration</a:t>
            </a:r>
            <a:r>
              <a:rPr lang="es-ES" b="1"/>
              <a:t> </a:t>
            </a:r>
            <a:r>
              <a:rPr lang="es-ES" b="1" err="1"/>
              <a:t>with</a:t>
            </a:r>
            <a:r>
              <a:rPr lang="es-ES" b="1"/>
              <a:t> </a:t>
            </a:r>
            <a:r>
              <a:rPr lang="es-ES" b="1" err="1"/>
              <a:t>Sensirion’s</a:t>
            </a:r>
            <a:r>
              <a:rPr lang="es-ES" b="1"/>
              <a:t> </a:t>
            </a:r>
            <a:r>
              <a:rPr lang="es-ES" b="1" err="1"/>
              <a:t>low</a:t>
            </a:r>
            <a:r>
              <a:rPr lang="es-ES" b="1"/>
              <a:t> </a:t>
            </a:r>
            <a:r>
              <a:rPr lang="es-ES" b="1" err="1"/>
              <a:t>cost</a:t>
            </a:r>
            <a:r>
              <a:rPr lang="es-ES" b="1"/>
              <a:t>, </a:t>
            </a:r>
            <a:r>
              <a:rPr lang="es-ES" b="1" err="1"/>
              <a:t>plug</a:t>
            </a:r>
            <a:r>
              <a:rPr lang="es-ES" b="1"/>
              <a:t> &amp; </a:t>
            </a:r>
            <a:r>
              <a:rPr lang="es-ES" b="1" err="1"/>
              <a:t>play</a:t>
            </a:r>
            <a:r>
              <a:rPr lang="es-ES" b="1"/>
              <a:t> SFC6000</a:t>
            </a:r>
          </a:p>
          <a:p>
            <a:pPr algn="just">
              <a:buClr>
                <a:schemeClr val="accent1"/>
              </a:buClr>
            </a:pPr>
            <a:endParaRPr lang="de-CH" sz="1400"/>
          </a:p>
        </p:txBody>
      </p:sp>
    </p:spTree>
    <p:extLst>
      <p:ext uri="{BB962C8B-B14F-4D97-AF65-F5344CB8AC3E}">
        <p14:creationId xmlns:p14="http://schemas.microsoft.com/office/powerpoint/2010/main" val="408758951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B9F262E-6EC0-2B9F-5F0B-5357515083B6}"/>
              </a:ext>
            </a:extLst>
          </p:cNvPr>
          <p:cNvSpPr>
            <a:spLocks noGrp="1"/>
          </p:cNvSpPr>
          <p:nvPr>
            <p:ph type="ftr" sz="quarter" idx="15"/>
          </p:nvPr>
        </p:nvSpPr>
        <p:spPr/>
        <p:txBody>
          <a:bodyPr/>
          <a:lstStyle/>
          <a:p>
            <a:r>
              <a:rPr lang="de-DE"/>
              <a:t>© Copyright Sensirion, Switzerland</a:t>
            </a:r>
          </a:p>
        </p:txBody>
      </p:sp>
      <p:sp>
        <p:nvSpPr>
          <p:cNvPr id="5" name="Slide Number Placeholder 4">
            <a:extLst>
              <a:ext uri="{FF2B5EF4-FFF2-40B4-BE49-F238E27FC236}">
                <a16:creationId xmlns:a16="http://schemas.microsoft.com/office/drawing/2014/main" id="{047B923A-D7DF-B104-090E-BA4D2F798B23}"/>
              </a:ext>
            </a:extLst>
          </p:cNvPr>
          <p:cNvSpPr>
            <a:spLocks noGrp="1"/>
          </p:cNvSpPr>
          <p:nvPr>
            <p:ph type="sldNum" sz="quarter" idx="16"/>
          </p:nvPr>
        </p:nvSpPr>
        <p:spPr/>
        <p:txBody>
          <a:bodyPr/>
          <a:lstStyle/>
          <a:p>
            <a:fld id="{B1E691A1-F3A6-4574-B226-B412272B38A6}" type="slidenum">
              <a:rPr lang="de-DE" smtClean="0"/>
              <a:pPr/>
              <a:t>25</a:t>
            </a:fld>
            <a:endParaRPr lang="de-DE"/>
          </a:p>
        </p:txBody>
      </p:sp>
      <p:pic>
        <p:nvPicPr>
          <p:cNvPr id="10" name="Bildplatzhalter 1">
            <a:extLst>
              <a:ext uri="{FF2B5EF4-FFF2-40B4-BE49-F238E27FC236}">
                <a16:creationId xmlns:a16="http://schemas.microsoft.com/office/drawing/2014/main" id="{9EE646B6-142E-971C-5F14-F284F0F44760}"/>
              </a:ext>
            </a:extLst>
          </p:cNvPr>
          <p:cNvPicPr>
            <a:picLocks noChangeAspect="1"/>
          </p:cNvPicPr>
          <p:nvPr/>
        </p:nvPicPr>
        <p:blipFill rotWithShape="1">
          <a:blip r:embed="rId2">
            <a:extLst>
              <a:ext uri="{28A0092B-C50C-407E-A947-70E740481C1C}">
                <a14:useLocalDpi xmlns:a14="http://schemas.microsoft.com/office/drawing/2010/main" val="0"/>
              </a:ext>
            </a:extLst>
          </a:blip>
          <a:srcRect t="15" b="54347"/>
          <a:stretch/>
        </p:blipFill>
        <p:spPr>
          <a:xfrm>
            <a:off x="0" y="0"/>
            <a:ext cx="12192000" cy="3130826"/>
          </a:xfrm>
          <a:prstGeom prst="rect">
            <a:avLst/>
          </a:prstGeom>
        </p:spPr>
      </p:pic>
      <p:pic>
        <p:nvPicPr>
          <p:cNvPr id="9" name="Bildplatzhalter 1">
            <a:extLst>
              <a:ext uri="{FF2B5EF4-FFF2-40B4-BE49-F238E27FC236}">
                <a16:creationId xmlns:a16="http://schemas.microsoft.com/office/drawing/2014/main" id="{42998857-D6EA-6054-02D7-3296EC09A933}"/>
              </a:ext>
            </a:extLst>
          </p:cNvPr>
          <p:cNvPicPr>
            <a:picLocks noChangeAspect="1"/>
          </p:cNvPicPr>
          <p:nvPr/>
        </p:nvPicPr>
        <p:blipFill rotWithShape="1">
          <a:blip r:embed="rId2">
            <a:extLst>
              <a:ext uri="{28A0092B-C50C-407E-A947-70E740481C1C}">
                <a14:useLocalDpi xmlns:a14="http://schemas.microsoft.com/office/drawing/2010/main" val="0"/>
              </a:ext>
            </a:extLst>
          </a:blip>
          <a:srcRect t="15" r="83614" b="15"/>
          <a:stretch/>
        </p:blipFill>
        <p:spPr>
          <a:xfrm>
            <a:off x="0" y="0"/>
            <a:ext cx="12192000" cy="6858000"/>
          </a:xfrm>
          <a:prstGeom prst="rect">
            <a:avLst/>
          </a:prstGeom>
        </p:spPr>
      </p:pic>
      <p:pic>
        <p:nvPicPr>
          <p:cNvPr id="8" name="Picture 7" descr="A black electronic device with a black background&#10;&#10;Description automatically generated">
            <a:extLst>
              <a:ext uri="{FF2B5EF4-FFF2-40B4-BE49-F238E27FC236}">
                <a16:creationId xmlns:a16="http://schemas.microsoft.com/office/drawing/2014/main" id="{464DF6A8-209D-3F79-E712-5CC5684D58B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308187" y="775982"/>
            <a:ext cx="7575623" cy="4734765"/>
          </a:xfrm>
          <a:prstGeom prst="rect">
            <a:avLst/>
          </a:prstGeom>
          <a:effectLst>
            <a:outerShdw blurRad="76200" dir="13500000" sy="23000" kx="1200000" algn="br" rotWithShape="0">
              <a:prstClr val="black">
                <a:alpha val="20000"/>
              </a:prstClr>
            </a:outerShdw>
          </a:effectLst>
        </p:spPr>
      </p:pic>
      <p:sp>
        <p:nvSpPr>
          <p:cNvPr id="13" name="Titel 4">
            <a:extLst>
              <a:ext uri="{FF2B5EF4-FFF2-40B4-BE49-F238E27FC236}">
                <a16:creationId xmlns:a16="http://schemas.microsoft.com/office/drawing/2014/main" id="{686AF997-4E23-1438-D4F7-32732017ECC7}"/>
              </a:ext>
            </a:extLst>
          </p:cNvPr>
          <p:cNvSpPr txBox="1">
            <a:spLocks/>
          </p:cNvSpPr>
          <p:nvPr/>
        </p:nvSpPr>
        <p:spPr bwMode="gray">
          <a:xfrm>
            <a:off x="515937" y="476250"/>
            <a:ext cx="11160125" cy="369332"/>
          </a:xfrm>
          <a:prstGeom prst="rect">
            <a:avLst/>
          </a:prstGeom>
        </p:spPr>
        <p:txBody>
          <a:bodyPr vert="horz" wrap="square" lIns="0" tIns="0" rIns="0" bIns="0" rtlCol="0" anchor="t">
            <a:spAutoFit/>
          </a:bodyPr>
          <a:lstStyle>
            <a:lvl1pPr algn="l" defTabSz="914400" rtl="0" eaLnBrk="1" latinLnBrk="0" hangingPunct="1">
              <a:lnSpc>
                <a:spcPct val="100000"/>
              </a:lnSpc>
              <a:spcBef>
                <a:spcPct val="0"/>
              </a:spcBef>
              <a:buNone/>
              <a:defRPr sz="2800" b="1" kern="1200">
                <a:solidFill>
                  <a:schemeClr val="accent1"/>
                </a:solidFill>
                <a:latin typeface="+mj-lt"/>
                <a:ea typeface="+mj-ea"/>
                <a:cs typeface="+mj-cs"/>
              </a:defRPr>
            </a:lvl1pPr>
          </a:lstStyle>
          <a:p>
            <a:r>
              <a:rPr lang="en-GB" sz="2400"/>
              <a:t>A2L Refrigerant Leak Detection Solutions</a:t>
            </a:r>
          </a:p>
        </p:txBody>
      </p:sp>
      <p:sp>
        <p:nvSpPr>
          <p:cNvPr id="16" name="Foliennummernplatzhalter 3">
            <a:extLst>
              <a:ext uri="{FF2B5EF4-FFF2-40B4-BE49-F238E27FC236}">
                <a16:creationId xmlns:a16="http://schemas.microsoft.com/office/drawing/2014/main" id="{484D6768-8071-5E27-46D3-4985964EBE94}"/>
              </a:ext>
            </a:extLst>
          </p:cNvPr>
          <p:cNvSpPr txBox="1">
            <a:spLocks/>
          </p:cNvSpPr>
          <p:nvPr/>
        </p:nvSpPr>
        <p:spPr>
          <a:xfrm>
            <a:off x="701105" y="6260942"/>
            <a:ext cx="680403" cy="547917"/>
          </a:xfrm>
          <a:prstGeom prst="rect">
            <a:avLst/>
          </a:prstGeom>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de-DE" sz="1000">
                <a:solidFill>
                  <a:schemeClr val="bg1"/>
                </a:solidFill>
              </a:rPr>
              <a:t>1</a:t>
            </a:r>
          </a:p>
        </p:txBody>
      </p:sp>
    </p:spTree>
    <p:extLst>
      <p:ext uri="{BB962C8B-B14F-4D97-AF65-F5344CB8AC3E}">
        <p14:creationId xmlns:p14="http://schemas.microsoft.com/office/powerpoint/2010/main" val="47433442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2EACD15E-5415-B55D-0948-2D9FE00A18A7}"/>
            </a:ext>
          </a:extLst>
        </p:cNvPr>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31BB8A2-2BA0-6F48-17EE-D7B9187C95A0}"/>
              </a:ext>
            </a:extLst>
          </p:cNvPr>
          <p:cNvSpPr>
            <a:spLocks noGrp="1"/>
          </p:cNvSpPr>
          <p:nvPr>
            <p:ph sz="quarter" idx="15"/>
          </p:nvPr>
        </p:nvSpPr>
        <p:spPr>
          <a:xfrm>
            <a:off x="515937" y="1449388"/>
            <a:ext cx="11160126" cy="4930483"/>
          </a:xfrm>
        </p:spPr>
        <p:txBody>
          <a:bodyPr vert="horz" lIns="0" tIns="0" rIns="0" bIns="0" rtlCol="0" anchor="t">
            <a:noAutofit/>
          </a:bodyPr>
          <a:lstStyle/>
          <a:p>
            <a:pPr marL="179705" indent="-179705"/>
            <a:r>
              <a:rPr lang="en-US" sz="1800">
                <a:solidFill>
                  <a:srgbClr val="000000"/>
                </a:solidFill>
              </a:rPr>
              <a:t>A2L Update</a:t>
            </a:r>
            <a:endParaRPr lang="en-US"/>
          </a:p>
          <a:p>
            <a:pPr marL="179705" indent="-179705">
              <a:buClr>
                <a:srgbClr val="66CC33"/>
              </a:buClr>
            </a:pPr>
            <a:endParaRPr lang="en-US" sz="1800">
              <a:solidFill>
                <a:srgbClr val="000000"/>
              </a:solidFill>
              <a:cs typeface="Segoe UI"/>
            </a:endParaRPr>
          </a:p>
          <a:p>
            <a:pPr marL="359410" lvl="1" indent="-179705">
              <a:buClr>
                <a:srgbClr val="616161"/>
              </a:buClr>
            </a:pPr>
            <a:r>
              <a:rPr lang="en-US" sz="1800">
                <a:solidFill>
                  <a:srgbClr val="000000"/>
                </a:solidFill>
                <a:cs typeface="Segoe UI"/>
              </a:rPr>
              <a:t>SGD43S-M3-S5 and –S7 have been released to the broad line distributors - Arrow, Avnet, </a:t>
            </a:r>
            <a:r>
              <a:rPr lang="en-US" sz="1800" err="1">
                <a:solidFill>
                  <a:srgbClr val="000000"/>
                </a:solidFill>
                <a:cs typeface="Segoe UI"/>
              </a:rPr>
              <a:t>Braemac</a:t>
            </a:r>
            <a:r>
              <a:rPr lang="en-US" sz="1800">
                <a:solidFill>
                  <a:srgbClr val="000000"/>
                </a:solidFill>
                <a:cs typeface="Segoe UI"/>
              </a:rPr>
              <a:t> and Future.  Registrations available.</a:t>
            </a:r>
          </a:p>
          <a:p>
            <a:pPr marL="359410" lvl="1" indent="-179705">
              <a:buClr>
                <a:srgbClr val="616161"/>
              </a:buClr>
            </a:pPr>
            <a:r>
              <a:rPr lang="en-US" sz="1800">
                <a:solidFill>
                  <a:srgbClr val="000000"/>
                </a:solidFill>
              </a:rPr>
              <a:t>One-Pagers A2L to be released (see below) </a:t>
            </a:r>
            <a:endParaRPr lang="en-US" sz="1800">
              <a:solidFill>
                <a:srgbClr val="000000"/>
              </a:solidFill>
              <a:cs typeface="Segoe UI"/>
            </a:endParaRPr>
          </a:p>
          <a:p>
            <a:pPr marL="539750" lvl="2" indent="-179705">
              <a:buFont typeface="Calibri" panose="020B0604020202020204" pitchFamily="34" charset="0"/>
              <a:buChar char="-"/>
            </a:pPr>
            <a:r>
              <a:rPr lang="en-US" sz="1800">
                <a:solidFill>
                  <a:srgbClr val="000000"/>
                </a:solidFill>
                <a:cs typeface="Segoe UI"/>
              </a:rPr>
              <a:t>HVAC Applications –S5</a:t>
            </a:r>
          </a:p>
          <a:p>
            <a:pPr marL="539750" lvl="2" indent="-179705">
              <a:buFont typeface="Calibri" panose="020B0604020202020204" pitchFamily="34" charset="0"/>
              <a:buChar char="-"/>
            </a:pPr>
            <a:r>
              <a:rPr lang="en-US" sz="1800">
                <a:solidFill>
                  <a:srgbClr val="000000"/>
                </a:solidFill>
              </a:rPr>
              <a:t>Commercial Refrigeration - S7</a:t>
            </a:r>
            <a:endParaRPr lang="en-US" sz="1800">
              <a:solidFill>
                <a:srgbClr val="000000"/>
              </a:solidFill>
              <a:cs typeface="Segoe UI"/>
            </a:endParaRPr>
          </a:p>
          <a:p>
            <a:pPr marL="359410" lvl="1" indent="-179705">
              <a:buClr>
                <a:srgbClr val="616161"/>
              </a:buClr>
            </a:pPr>
            <a:r>
              <a:rPr lang="en-US" sz="1800">
                <a:solidFill>
                  <a:srgbClr val="000000"/>
                </a:solidFill>
              </a:rPr>
              <a:t>A2L Success-Story </a:t>
            </a:r>
            <a:endParaRPr lang="en-US" sz="1800">
              <a:solidFill>
                <a:srgbClr val="000000"/>
              </a:solidFill>
              <a:cs typeface="Segoe UI"/>
            </a:endParaRPr>
          </a:p>
          <a:p>
            <a:pPr marL="539750" lvl="2" indent="-179705">
              <a:buFont typeface="Calibri" panose="020B0604020202020204" pitchFamily="34" charset="0"/>
              <a:buChar char="-"/>
            </a:pPr>
            <a:r>
              <a:rPr lang="en-US" sz="1800">
                <a:solidFill>
                  <a:srgbClr val="000000"/>
                </a:solidFill>
              </a:rPr>
              <a:t>Success-Story: Keep Right</a:t>
            </a:r>
            <a:endParaRPr lang="en-US" sz="1800" b="0" i="0">
              <a:solidFill>
                <a:srgbClr val="000000"/>
              </a:solidFill>
              <a:effectLst/>
              <a:cs typeface="Segoe UI"/>
            </a:endParaRPr>
          </a:p>
          <a:p>
            <a:pPr marL="539750" lvl="2" indent="-179705">
              <a:buFont typeface="Calibri" panose="020B0604020202020204" pitchFamily="34" charset="0"/>
              <a:buChar char="-"/>
            </a:pPr>
            <a:r>
              <a:rPr lang="en-US" sz="1800">
                <a:solidFill>
                  <a:srgbClr val="000000"/>
                </a:solidFill>
              </a:rPr>
              <a:t>Success-Story: Bergstrom</a:t>
            </a:r>
            <a:endParaRPr lang="en-US">
              <a:cs typeface="Segoe UI"/>
            </a:endParaRPr>
          </a:p>
          <a:p>
            <a:pPr marL="359410" lvl="1" indent="-179705">
              <a:buClr>
                <a:srgbClr val="616161"/>
              </a:buClr>
            </a:pPr>
            <a:r>
              <a:rPr lang="en-US" sz="1800">
                <a:cs typeface="Segoe UI"/>
              </a:rPr>
              <a:t>Next step is to reduce the thickness and cost of the standard A2L device and switch manufacturing location to a CM facility in Mexico to get closer to our customers - Q3 2026 with UL approval.  We will keep you updated and NOTE: there are no current plans to obsolete the current device coming in from Hungary.</a:t>
            </a:r>
          </a:p>
          <a:p>
            <a:pPr marL="359410" lvl="1" indent="-179705">
              <a:buClr>
                <a:srgbClr val="616161"/>
              </a:buClr>
            </a:pPr>
            <a:r>
              <a:rPr lang="en-US" sz="1800">
                <a:cs typeface="Segoe UI"/>
              </a:rPr>
              <a:t>Tariffs out of Hungary for our A2L devices are based on the EU tariff rate and NOT Switzerland.</a:t>
            </a:r>
          </a:p>
          <a:p>
            <a:pPr marL="539750" lvl="2" indent="-179705">
              <a:buFont typeface="Calibri" panose="020B0604020202020204" pitchFamily="34" charset="0"/>
              <a:buChar char="-"/>
            </a:pPr>
            <a:endParaRPr lang="en-US" sz="1800">
              <a:cs typeface="Segoe UI"/>
            </a:endParaRPr>
          </a:p>
          <a:p>
            <a:pPr marL="539750" lvl="2" indent="-179705">
              <a:buFont typeface="Calibri" panose="020B0604020202020204" pitchFamily="34" charset="0"/>
              <a:buChar char="-"/>
            </a:pPr>
            <a:endParaRPr lang="en-US" sz="1800">
              <a:cs typeface="Segoe UI"/>
            </a:endParaRPr>
          </a:p>
          <a:p>
            <a:pPr marL="539750" lvl="2" indent="-179705">
              <a:buFont typeface="Calibri" panose="020B0604020202020204" pitchFamily="34" charset="0"/>
              <a:buChar char="-"/>
            </a:pPr>
            <a:endParaRPr lang="en-US" sz="1800">
              <a:highlight>
                <a:srgbClr val="FFFF00"/>
              </a:highlight>
              <a:cs typeface="Segoe UI"/>
            </a:endParaRPr>
          </a:p>
          <a:p>
            <a:pPr marL="0" indent="0">
              <a:buNone/>
            </a:pPr>
            <a:endParaRPr lang="en-US">
              <a:cs typeface="Segoe UI"/>
            </a:endParaRPr>
          </a:p>
        </p:txBody>
      </p:sp>
      <p:sp>
        <p:nvSpPr>
          <p:cNvPr id="4" name="Title 3">
            <a:extLst>
              <a:ext uri="{FF2B5EF4-FFF2-40B4-BE49-F238E27FC236}">
                <a16:creationId xmlns:a16="http://schemas.microsoft.com/office/drawing/2014/main" id="{E36B2B36-A22C-1873-A23E-571931F61B4D}"/>
              </a:ext>
            </a:extLst>
          </p:cNvPr>
          <p:cNvSpPr>
            <a:spLocks noGrp="1"/>
          </p:cNvSpPr>
          <p:nvPr>
            <p:ph type="title"/>
          </p:nvPr>
        </p:nvSpPr>
        <p:spPr/>
        <p:txBody>
          <a:bodyPr/>
          <a:lstStyle/>
          <a:p>
            <a:r>
              <a:rPr lang="en-US"/>
              <a:t>A2L Updates</a:t>
            </a:r>
          </a:p>
        </p:txBody>
      </p:sp>
      <p:sp>
        <p:nvSpPr>
          <p:cNvPr id="5" name="Footer Placeholder 4">
            <a:extLst>
              <a:ext uri="{FF2B5EF4-FFF2-40B4-BE49-F238E27FC236}">
                <a16:creationId xmlns:a16="http://schemas.microsoft.com/office/drawing/2014/main" id="{A457E8FF-3DC5-C5B8-2751-F3E9D0EC389A}"/>
              </a:ext>
            </a:extLst>
          </p:cNvPr>
          <p:cNvSpPr>
            <a:spLocks noGrp="1"/>
          </p:cNvSpPr>
          <p:nvPr>
            <p:ph type="ftr" sz="quarter" idx="16"/>
          </p:nvPr>
        </p:nvSpPr>
        <p:spPr/>
        <p:txBody>
          <a:bodyPr/>
          <a:lstStyle/>
          <a:p>
            <a:r>
              <a:rPr lang="de-DE"/>
              <a:t>© Copyright Sensirion, Switzerland</a:t>
            </a:r>
          </a:p>
        </p:txBody>
      </p:sp>
      <p:sp>
        <p:nvSpPr>
          <p:cNvPr id="6" name="Slide Number Placeholder 5">
            <a:extLst>
              <a:ext uri="{FF2B5EF4-FFF2-40B4-BE49-F238E27FC236}">
                <a16:creationId xmlns:a16="http://schemas.microsoft.com/office/drawing/2014/main" id="{39ACCA9E-BD0A-19FB-F849-41652C4C4B98}"/>
              </a:ext>
            </a:extLst>
          </p:cNvPr>
          <p:cNvSpPr>
            <a:spLocks noGrp="1"/>
          </p:cNvSpPr>
          <p:nvPr>
            <p:ph type="sldNum" sz="quarter" idx="17"/>
          </p:nvPr>
        </p:nvSpPr>
        <p:spPr/>
        <p:txBody>
          <a:bodyPr/>
          <a:lstStyle/>
          <a:p>
            <a:fld id="{B1E691A1-F3A6-4574-B226-B412272B38A6}" type="slidenum">
              <a:rPr lang="de-DE" smtClean="0"/>
              <a:pPr/>
              <a:t>26</a:t>
            </a:fld>
            <a:endParaRPr lang="de-DE"/>
          </a:p>
        </p:txBody>
      </p:sp>
      <p:pic>
        <p:nvPicPr>
          <p:cNvPr id="7" name="Picture 6" descr="A black electronic device with green lights&#10;&#10;AI-generated content may be incorrect.">
            <a:extLst>
              <a:ext uri="{FF2B5EF4-FFF2-40B4-BE49-F238E27FC236}">
                <a16:creationId xmlns:a16="http://schemas.microsoft.com/office/drawing/2014/main" id="{2AC3F9C2-9CB0-B895-D7BA-906D57694EA6}"/>
              </a:ext>
            </a:extLst>
          </p:cNvPr>
          <p:cNvPicPr>
            <a:picLocks noChangeAspect="1"/>
          </p:cNvPicPr>
          <p:nvPr/>
        </p:nvPicPr>
        <p:blipFill>
          <a:blip r:embed="rId2"/>
          <a:stretch>
            <a:fillRect/>
          </a:stretch>
        </p:blipFill>
        <p:spPr>
          <a:xfrm>
            <a:off x="7452106" y="2726363"/>
            <a:ext cx="2739846" cy="1770174"/>
          </a:xfrm>
          <a:prstGeom prst="rect">
            <a:avLst/>
          </a:prstGeom>
        </p:spPr>
      </p:pic>
    </p:spTree>
    <p:extLst>
      <p:ext uri="{BB962C8B-B14F-4D97-AF65-F5344CB8AC3E}">
        <p14:creationId xmlns:p14="http://schemas.microsoft.com/office/powerpoint/2010/main" val="86235319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3959029C-96B7-2EC3-F5A1-98E58FAFD2CB}"/>
              </a:ext>
            </a:extLst>
          </p:cNvPr>
          <p:cNvSpPr>
            <a:spLocks noGrp="1"/>
          </p:cNvSpPr>
          <p:nvPr>
            <p:ph type="ftr" sz="quarter" idx="16"/>
          </p:nvPr>
        </p:nvSpPr>
        <p:spPr/>
        <p:txBody>
          <a:bodyPr/>
          <a:lstStyle/>
          <a:p>
            <a:r>
              <a:rPr lang="en-US"/>
              <a:t>© Copyright Sensirion, Switzerland</a:t>
            </a:r>
          </a:p>
        </p:txBody>
      </p:sp>
      <p:sp>
        <p:nvSpPr>
          <p:cNvPr id="6" name="Slide Number Placeholder 5">
            <a:extLst>
              <a:ext uri="{FF2B5EF4-FFF2-40B4-BE49-F238E27FC236}">
                <a16:creationId xmlns:a16="http://schemas.microsoft.com/office/drawing/2014/main" id="{83722D1C-CDCF-AED9-6114-697EAF18A7F2}"/>
              </a:ext>
            </a:extLst>
          </p:cNvPr>
          <p:cNvSpPr>
            <a:spLocks noGrp="1"/>
          </p:cNvSpPr>
          <p:nvPr>
            <p:ph type="sldNum" sz="quarter" idx="17"/>
          </p:nvPr>
        </p:nvSpPr>
        <p:spPr/>
        <p:txBody>
          <a:bodyPr/>
          <a:lstStyle/>
          <a:p>
            <a:fld id="{B1E691A1-F3A6-4574-B226-B412272B38A6}" type="slidenum">
              <a:rPr lang="en-US" smtClean="0"/>
              <a:pPr/>
              <a:t>27</a:t>
            </a:fld>
            <a:endParaRPr lang="en-US"/>
          </a:p>
        </p:txBody>
      </p:sp>
      <p:pic>
        <p:nvPicPr>
          <p:cNvPr id="13" name="Picture 12" descr="A black background with a black square&#10;&#10;Description automatically generated with medium confidence">
            <a:extLst>
              <a:ext uri="{FF2B5EF4-FFF2-40B4-BE49-F238E27FC236}">
                <a16:creationId xmlns:a16="http://schemas.microsoft.com/office/drawing/2014/main" id="{4C97EE0D-FC86-A971-C22F-DCDACA00EACE}"/>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7061358" y="1484050"/>
            <a:ext cx="365462" cy="365462"/>
          </a:xfrm>
          <a:prstGeom prst="rect">
            <a:avLst/>
          </a:prstGeom>
        </p:spPr>
      </p:pic>
      <p:pic>
        <p:nvPicPr>
          <p:cNvPr id="14" name="Picture 13" descr="A black background with a black square&#10;&#10;Description automatically generated with medium confidence">
            <a:extLst>
              <a:ext uri="{FF2B5EF4-FFF2-40B4-BE49-F238E27FC236}">
                <a16:creationId xmlns:a16="http://schemas.microsoft.com/office/drawing/2014/main" id="{714A88E4-E20D-5264-6001-1FF19943E9BF}"/>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7767434" y="1485472"/>
            <a:ext cx="365462" cy="365462"/>
          </a:xfrm>
          <a:prstGeom prst="rect">
            <a:avLst/>
          </a:prstGeom>
        </p:spPr>
      </p:pic>
      <p:pic>
        <p:nvPicPr>
          <p:cNvPr id="8" name="Picture Placeholder 18" descr="A green light in a dark room&#10;&#10;AI-generated content may be incorrect.">
            <a:extLst>
              <a:ext uri="{FF2B5EF4-FFF2-40B4-BE49-F238E27FC236}">
                <a16:creationId xmlns:a16="http://schemas.microsoft.com/office/drawing/2014/main" id="{429C7870-204D-9951-004C-C33DFD575B14}"/>
              </a:ext>
            </a:extLst>
          </p:cNvPr>
          <p:cNvPicPr>
            <a:picLocks noChangeAspect="1"/>
          </p:cNvPicPr>
          <p:nvPr/>
        </p:nvPicPr>
        <p:blipFill>
          <a:blip r:embed="rId3" cstate="email">
            <a:extLst>
              <a:ext uri="{28A0092B-C50C-407E-A947-70E740481C1C}">
                <a14:useLocalDpi xmlns:a14="http://schemas.microsoft.com/office/drawing/2010/main"/>
              </a:ext>
            </a:extLst>
          </a:blip>
          <a:srcRect/>
          <a:stretch>
            <a:fillRect/>
          </a:stretch>
        </p:blipFill>
        <p:spPr>
          <a:xfrm>
            <a:off x="7986268" y="2755854"/>
            <a:ext cx="3869142" cy="4352785"/>
          </a:xfrm>
          <a:prstGeom prst="rect">
            <a:avLst/>
          </a:prstGeom>
          <a:noFill/>
        </p:spPr>
      </p:pic>
      <p:sp>
        <p:nvSpPr>
          <p:cNvPr id="9" name="Oval 8">
            <a:extLst>
              <a:ext uri="{FF2B5EF4-FFF2-40B4-BE49-F238E27FC236}">
                <a16:creationId xmlns:a16="http://schemas.microsoft.com/office/drawing/2014/main" id="{27905E7E-5809-6D47-0EE1-EE08D2B8DF72}"/>
              </a:ext>
            </a:extLst>
          </p:cNvPr>
          <p:cNvSpPr/>
          <p:nvPr/>
        </p:nvSpPr>
        <p:spPr>
          <a:xfrm>
            <a:off x="9687822" y="5423606"/>
            <a:ext cx="503236" cy="471705"/>
          </a:xfrm>
          <a:prstGeom prst="ellipse">
            <a:avLst/>
          </a:prstGeom>
          <a:noFill/>
          <a:ln w="28575">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en-US" err="1"/>
          </a:p>
        </p:txBody>
      </p:sp>
      <p:cxnSp>
        <p:nvCxnSpPr>
          <p:cNvPr id="12" name="Straight Arrow Connector 11">
            <a:extLst>
              <a:ext uri="{FF2B5EF4-FFF2-40B4-BE49-F238E27FC236}">
                <a16:creationId xmlns:a16="http://schemas.microsoft.com/office/drawing/2014/main" id="{AF1FC291-48CE-D050-A10B-ABC7487A537B}"/>
              </a:ext>
            </a:extLst>
          </p:cNvPr>
          <p:cNvCxnSpPr>
            <a:cxnSpLocks/>
          </p:cNvCxnSpPr>
          <p:nvPr/>
        </p:nvCxnSpPr>
        <p:spPr>
          <a:xfrm flipH="1">
            <a:off x="10362896" y="5648258"/>
            <a:ext cx="674236" cy="1421"/>
          </a:xfrm>
          <a:prstGeom prst="straightConnector1">
            <a:avLst/>
          </a:prstGeom>
          <a:ln w="2857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pic>
        <p:nvPicPr>
          <p:cNvPr id="16" name="Picture 2">
            <a:extLst>
              <a:ext uri="{FF2B5EF4-FFF2-40B4-BE49-F238E27FC236}">
                <a16:creationId xmlns:a16="http://schemas.microsoft.com/office/drawing/2014/main" id="{951D1C94-6CC4-D93C-AD40-054B1E8EE6B6}"/>
              </a:ext>
            </a:extLst>
          </p:cNvPr>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11037132" y="5485723"/>
            <a:ext cx="997626" cy="325070"/>
          </a:xfrm>
          <a:prstGeom prst="rect">
            <a:avLst/>
          </a:prstGeom>
          <a:noFill/>
          <a:extLst>
            <a:ext uri="{909E8E84-426E-40DD-AFC4-6F175D3DCCD1}">
              <a14:hiddenFill xmlns:a14="http://schemas.microsoft.com/office/drawing/2010/main">
                <a:solidFill>
                  <a:srgbClr val="FFFFFF"/>
                </a:solidFill>
              </a14:hiddenFill>
            </a:ext>
          </a:extLst>
        </p:spPr>
      </p:pic>
      <p:sp>
        <p:nvSpPr>
          <p:cNvPr id="23" name="Text Placeholder 1">
            <a:extLst>
              <a:ext uri="{FF2B5EF4-FFF2-40B4-BE49-F238E27FC236}">
                <a16:creationId xmlns:a16="http://schemas.microsoft.com/office/drawing/2014/main" id="{3EFFA9EA-2C06-ED1C-EC7D-D4BAB866B787}"/>
              </a:ext>
            </a:extLst>
          </p:cNvPr>
          <p:cNvSpPr>
            <a:spLocks noGrp="1"/>
          </p:cNvSpPr>
          <p:nvPr>
            <p:ph type="body" sz="quarter" idx="13"/>
          </p:nvPr>
        </p:nvSpPr>
        <p:spPr>
          <a:xfrm>
            <a:off x="515938" y="921522"/>
            <a:ext cx="11160125" cy="276999"/>
          </a:xfrm>
        </p:spPr>
        <p:txBody>
          <a:bodyPr vert="horz" lIns="0" tIns="0" rIns="0" bIns="0" rtlCol="0" anchor="t">
            <a:spAutoFit/>
          </a:bodyPr>
          <a:lstStyle/>
          <a:p>
            <a:r>
              <a:rPr lang="en-US"/>
              <a:t>UL Listing as a </a:t>
            </a:r>
            <a:r>
              <a:rPr lang="en-US" b="1"/>
              <a:t>R</a:t>
            </a:r>
            <a:r>
              <a:rPr lang="en-US"/>
              <a:t>efrigerant </a:t>
            </a:r>
            <a:r>
              <a:rPr lang="en-US" b="1"/>
              <a:t>D</a:t>
            </a:r>
            <a:r>
              <a:rPr lang="en-US"/>
              <a:t>etection </a:t>
            </a:r>
            <a:r>
              <a:rPr lang="en-US" b="1"/>
              <a:t>S</a:t>
            </a:r>
            <a:r>
              <a:rPr lang="en-US"/>
              <a:t>ystem for easy compliance</a:t>
            </a:r>
          </a:p>
        </p:txBody>
      </p:sp>
      <p:sp>
        <p:nvSpPr>
          <p:cNvPr id="24" name="Title 3">
            <a:extLst>
              <a:ext uri="{FF2B5EF4-FFF2-40B4-BE49-F238E27FC236}">
                <a16:creationId xmlns:a16="http://schemas.microsoft.com/office/drawing/2014/main" id="{047ACBAB-4FF5-F0A4-9B1D-40A7DD910416}"/>
              </a:ext>
            </a:extLst>
          </p:cNvPr>
          <p:cNvSpPr>
            <a:spLocks noGrp="1"/>
          </p:cNvSpPr>
          <p:nvPr>
            <p:ph type="title"/>
          </p:nvPr>
        </p:nvSpPr>
        <p:spPr>
          <a:xfrm>
            <a:off x="515937" y="476250"/>
            <a:ext cx="11160125" cy="430887"/>
          </a:xfrm>
        </p:spPr>
        <p:txBody>
          <a:bodyPr/>
          <a:lstStyle/>
          <a:p>
            <a:r>
              <a:rPr lang="en-US"/>
              <a:t>A2L Product Strategy: SGD43S-M3-S</a:t>
            </a:r>
            <a:r>
              <a:rPr lang="en-US">
                <a:solidFill>
                  <a:srgbClr val="FF0000"/>
                </a:solidFill>
              </a:rPr>
              <a:t>x</a:t>
            </a:r>
          </a:p>
        </p:txBody>
      </p:sp>
      <p:sp>
        <p:nvSpPr>
          <p:cNvPr id="25" name="Content Placeholder 24">
            <a:extLst>
              <a:ext uri="{FF2B5EF4-FFF2-40B4-BE49-F238E27FC236}">
                <a16:creationId xmlns:a16="http://schemas.microsoft.com/office/drawing/2014/main" id="{DBA2D0BB-BD1D-D4FC-7B27-92F893FA5DC1}"/>
              </a:ext>
            </a:extLst>
          </p:cNvPr>
          <p:cNvSpPr>
            <a:spLocks noGrp="1"/>
          </p:cNvSpPr>
          <p:nvPr>
            <p:ph sz="quarter" idx="15"/>
          </p:nvPr>
        </p:nvSpPr>
        <p:spPr>
          <a:xfrm>
            <a:off x="496398" y="1527314"/>
            <a:ext cx="11677895" cy="4608512"/>
          </a:xfrm>
        </p:spPr>
        <p:txBody>
          <a:bodyPr/>
          <a:lstStyle/>
          <a:p>
            <a:pPr marL="342900" indent="-342900">
              <a:buFont typeface="+mj-lt"/>
              <a:buAutoNum type="arabicParenR"/>
            </a:pPr>
            <a:r>
              <a:rPr lang="en-US" b="1"/>
              <a:t>SGD43S-M3-S</a:t>
            </a:r>
            <a:r>
              <a:rPr lang="en-US" b="1">
                <a:solidFill>
                  <a:srgbClr val="FF0000"/>
                </a:solidFill>
              </a:rPr>
              <a:t>5</a:t>
            </a:r>
            <a:r>
              <a:rPr lang="en-US" b="1"/>
              <a:t>  HVAC</a:t>
            </a:r>
            <a:r>
              <a:rPr lang="en-US"/>
              <a:t>		Dual calibration R-32 / R-454B </a:t>
            </a:r>
          </a:p>
          <a:p>
            <a:pPr marL="742950" lvl="1" indent="-285750">
              <a:buClr>
                <a:schemeClr val="accent1"/>
              </a:buClr>
            </a:pPr>
            <a:r>
              <a:rPr lang="en-US"/>
              <a:t>For UL 60335-2-40 ed. 4.0 and ed. 4.1</a:t>
            </a:r>
          </a:p>
          <a:p>
            <a:pPr marL="742950" lvl="1" indent="-285750">
              <a:buClr>
                <a:schemeClr val="accent1"/>
              </a:buClr>
              <a:buFont typeface="Wingdings" panose="05000000000000000000" pitchFamily="2" charset="2"/>
              <a:buChar char="ü"/>
            </a:pPr>
            <a:r>
              <a:rPr lang="en-US"/>
              <a:t>Dual calibration (R-32/R-454B) approved</a:t>
            </a:r>
          </a:p>
          <a:p>
            <a:pPr marL="342900" indent="-342900">
              <a:buFont typeface="+mj-lt"/>
              <a:buAutoNum type="arabicParenR" startAt="2"/>
            </a:pPr>
            <a:r>
              <a:rPr lang="en-US" b="1"/>
              <a:t>SGD43S-M3-S</a:t>
            </a:r>
            <a:r>
              <a:rPr lang="en-US" b="1">
                <a:solidFill>
                  <a:srgbClr val="FF0000"/>
                </a:solidFill>
              </a:rPr>
              <a:t>7</a:t>
            </a:r>
            <a:r>
              <a:rPr lang="en-US" b="1"/>
              <a:t>  REFRIGERATION</a:t>
            </a:r>
            <a:r>
              <a:rPr lang="en-US"/>
              <a:t>	Triple calibration R-454A / R-454C / R-455A</a:t>
            </a:r>
          </a:p>
          <a:p>
            <a:pPr marL="742950" lvl="1" indent="-285750">
              <a:buClr>
                <a:schemeClr val="accent1"/>
              </a:buClr>
            </a:pPr>
            <a:r>
              <a:rPr lang="en-US"/>
              <a:t>For UL 60335-2-89</a:t>
            </a:r>
            <a:endParaRPr lang="en-US">
              <a:highlight>
                <a:srgbClr val="FFFF00"/>
              </a:highlight>
            </a:endParaRPr>
          </a:p>
          <a:p>
            <a:pPr marL="742950" lvl="1" indent="-285750">
              <a:buClr>
                <a:schemeClr val="accent1"/>
              </a:buClr>
            </a:pPr>
            <a:r>
              <a:rPr lang="en-US"/>
              <a:t>Triple calibration (R-454A/R-454C/R-455A) approved</a:t>
            </a:r>
          </a:p>
          <a:p>
            <a:pPr lvl="1">
              <a:buClr>
                <a:schemeClr val="accent1"/>
              </a:buClr>
            </a:pPr>
            <a:endParaRPr lang="en-US">
              <a:highlight>
                <a:srgbClr val="FFFF00"/>
              </a:highlight>
            </a:endParaRPr>
          </a:p>
          <a:p>
            <a:pPr>
              <a:buClr>
                <a:schemeClr val="accent1"/>
              </a:buClr>
            </a:pPr>
            <a:r>
              <a:rPr lang="en-US" b="1"/>
              <a:t>BENEFITS to Customer:</a:t>
            </a:r>
          </a:p>
          <a:p>
            <a:pPr marL="285750" indent="-285750">
              <a:buClr>
                <a:schemeClr val="accent1"/>
              </a:buClr>
              <a:buFont typeface="Wingdings" panose="05000000000000000000" pitchFamily="2" charset="2"/>
              <a:buChar char="ü"/>
            </a:pPr>
            <a:r>
              <a:rPr lang="en-US"/>
              <a:t>Plug-n-Play full RDS Solution</a:t>
            </a:r>
          </a:p>
          <a:p>
            <a:pPr marL="742950" lvl="1" indent="-285750">
              <a:buClr>
                <a:schemeClr val="accent1"/>
              </a:buClr>
              <a:buFont typeface="Wingdings" panose="05000000000000000000" pitchFamily="2" charset="2"/>
              <a:buChar char="§"/>
            </a:pPr>
            <a:r>
              <a:rPr lang="en-US"/>
              <a:t>OEM does not need a separate mitigation board</a:t>
            </a:r>
          </a:p>
          <a:p>
            <a:pPr marL="742950" lvl="1" indent="-285750">
              <a:buClr>
                <a:schemeClr val="accent1"/>
              </a:buClr>
              <a:buFont typeface="Wingdings" panose="05000000000000000000" pitchFamily="2" charset="2"/>
              <a:buChar char="§"/>
            </a:pPr>
            <a:r>
              <a:rPr lang="en-US"/>
              <a:t>Eliminates need to certify sensor with a separate mitigation board</a:t>
            </a:r>
          </a:p>
          <a:p>
            <a:pPr marL="285750" indent="-285750">
              <a:buClr>
                <a:schemeClr val="accent1"/>
              </a:buClr>
              <a:buFont typeface="Wingdings" panose="05000000000000000000" pitchFamily="2" charset="2"/>
              <a:buChar char="ü"/>
            </a:pPr>
            <a:r>
              <a:rPr lang="en-US"/>
              <a:t>Meets all the safety and performance requirements</a:t>
            </a:r>
          </a:p>
          <a:p>
            <a:endParaRPr lang="en-US"/>
          </a:p>
        </p:txBody>
      </p:sp>
      <p:pic>
        <p:nvPicPr>
          <p:cNvPr id="26" name="Picture 25" descr="A black background with a black square&#10;&#10;Description automatically generated with medium confidence">
            <a:extLst>
              <a:ext uri="{FF2B5EF4-FFF2-40B4-BE49-F238E27FC236}">
                <a16:creationId xmlns:a16="http://schemas.microsoft.com/office/drawing/2014/main" id="{009B4AAB-3B99-84EE-F286-E26527C9775A}"/>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8212485" y="2441122"/>
            <a:ext cx="365462" cy="365462"/>
          </a:xfrm>
          <a:prstGeom prst="rect">
            <a:avLst/>
          </a:prstGeom>
        </p:spPr>
      </p:pic>
      <p:pic>
        <p:nvPicPr>
          <p:cNvPr id="27" name="Picture 26" descr="A black background with a black square&#10;&#10;Description automatically generated with medium confidence">
            <a:extLst>
              <a:ext uri="{FF2B5EF4-FFF2-40B4-BE49-F238E27FC236}">
                <a16:creationId xmlns:a16="http://schemas.microsoft.com/office/drawing/2014/main" id="{8319C983-6C86-9789-8162-B9D186D9A240}"/>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8918561" y="2442544"/>
            <a:ext cx="365462" cy="365462"/>
          </a:xfrm>
          <a:prstGeom prst="rect">
            <a:avLst/>
          </a:prstGeom>
        </p:spPr>
      </p:pic>
      <p:pic>
        <p:nvPicPr>
          <p:cNvPr id="28" name="Picture 27" descr="A black background with a black square&#10;&#10;Description automatically generated with medium confidence">
            <a:extLst>
              <a:ext uri="{FF2B5EF4-FFF2-40B4-BE49-F238E27FC236}">
                <a16:creationId xmlns:a16="http://schemas.microsoft.com/office/drawing/2014/main" id="{6721EC99-08C4-4FDC-9B9F-25D9A32F953B}"/>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9624637" y="2441122"/>
            <a:ext cx="365462" cy="365462"/>
          </a:xfrm>
          <a:prstGeom prst="rect">
            <a:avLst/>
          </a:prstGeom>
        </p:spPr>
      </p:pic>
    </p:spTree>
    <p:extLst>
      <p:ext uri="{BB962C8B-B14F-4D97-AF65-F5344CB8AC3E}">
        <p14:creationId xmlns:p14="http://schemas.microsoft.com/office/powerpoint/2010/main" val="409022103"/>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Content Placeholder 1" descr="KeepRite Refrigeration - 80 years">
            <a:extLst>
              <a:ext uri="{FF2B5EF4-FFF2-40B4-BE49-F238E27FC236}">
                <a16:creationId xmlns:a16="http://schemas.microsoft.com/office/drawing/2014/main" id="{C7B9F51F-AE06-3A48-3567-FA5D7A9CDEE6}"/>
              </a:ext>
            </a:extLst>
          </p:cNvPr>
          <p:cNvPicPr>
            <a:picLocks noGrp="1" noChangeAspect="1"/>
          </p:cNvPicPr>
          <p:nvPr>
            <p:ph sz="quarter" idx="15"/>
          </p:nvPr>
        </p:nvPicPr>
        <p:blipFill>
          <a:blip r:embed="rId2">
            <a:extLst>
              <a:ext uri="{96DAC541-7B7A-43D3-8B79-37D633B846F1}">
                <asvg:svgBlip xmlns:asvg="http://schemas.microsoft.com/office/drawing/2016/SVG/main" r:embed="rId3"/>
              </a:ext>
            </a:extLst>
          </a:blip>
          <a:stretch>
            <a:fillRect/>
          </a:stretch>
        </p:blipFill>
        <p:spPr bwMode="gray">
          <a:xfrm>
            <a:off x="7620967" y="1148556"/>
            <a:ext cx="3907458" cy="1124088"/>
          </a:xfrm>
          <a:prstGeom prst="rect">
            <a:avLst/>
          </a:prstGeom>
        </p:spPr>
      </p:pic>
      <p:sp>
        <p:nvSpPr>
          <p:cNvPr id="4" name="Title 3">
            <a:extLst>
              <a:ext uri="{FF2B5EF4-FFF2-40B4-BE49-F238E27FC236}">
                <a16:creationId xmlns:a16="http://schemas.microsoft.com/office/drawing/2014/main" id="{77A43E9D-4E46-D56D-0B66-603E5DA09111}"/>
              </a:ext>
            </a:extLst>
          </p:cNvPr>
          <p:cNvSpPr>
            <a:spLocks noGrp="1"/>
          </p:cNvSpPr>
          <p:nvPr>
            <p:ph type="title"/>
          </p:nvPr>
        </p:nvSpPr>
        <p:spPr/>
        <p:txBody>
          <a:bodyPr/>
          <a:lstStyle/>
          <a:p>
            <a:r>
              <a:rPr lang="en-US">
                <a:cs typeface="Segoe UI"/>
              </a:rPr>
              <a:t>A2L Success Story </a:t>
            </a:r>
            <a:r>
              <a:rPr lang="en-US" err="1">
                <a:cs typeface="Segoe UI"/>
              </a:rPr>
              <a:t>KeepRite</a:t>
            </a:r>
            <a:r>
              <a:rPr lang="en-US">
                <a:cs typeface="Segoe UI"/>
              </a:rPr>
              <a:t> </a:t>
            </a:r>
            <a:endParaRPr lang="en-US"/>
          </a:p>
        </p:txBody>
      </p:sp>
      <p:sp>
        <p:nvSpPr>
          <p:cNvPr id="5" name="Footer Placeholder 4">
            <a:extLst>
              <a:ext uri="{FF2B5EF4-FFF2-40B4-BE49-F238E27FC236}">
                <a16:creationId xmlns:a16="http://schemas.microsoft.com/office/drawing/2014/main" id="{9D3F99DA-D4B3-E2D1-1FA4-26763A5D1AD0}"/>
              </a:ext>
            </a:extLst>
          </p:cNvPr>
          <p:cNvSpPr>
            <a:spLocks noGrp="1"/>
          </p:cNvSpPr>
          <p:nvPr>
            <p:ph type="ftr" sz="quarter" idx="16"/>
          </p:nvPr>
        </p:nvSpPr>
        <p:spPr/>
        <p:txBody>
          <a:bodyPr/>
          <a:lstStyle/>
          <a:p>
            <a:r>
              <a:rPr lang="de-DE"/>
              <a:t>© Copyright Sensirion, Switzerland</a:t>
            </a:r>
          </a:p>
        </p:txBody>
      </p:sp>
      <p:sp>
        <p:nvSpPr>
          <p:cNvPr id="6" name="Slide Number Placeholder 5">
            <a:extLst>
              <a:ext uri="{FF2B5EF4-FFF2-40B4-BE49-F238E27FC236}">
                <a16:creationId xmlns:a16="http://schemas.microsoft.com/office/drawing/2014/main" id="{046BFA78-B9BA-29E4-4FB6-CD0C35CFA080}"/>
              </a:ext>
            </a:extLst>
          </p:cNvPr>
          <p:cNvSpPr>
            <a:spLocks noGrp="1"/>
          </p:cNvSpPr>
          <p:nvPr>
            <p:ph type="sldNum" sz="quarter" idx="17"/>
          </p:nvPr>
        </p:nvSpPr>
        <p:spPr/>
        <p:txBody>
          <a:bodyPr/>
          <a:lstStyle/>
          <a:p>
            <a:fld id="{B1E691A1-F3A6-4574-B226-B412272B38A6}" type="slidenum">
              <a:rPr lang="de-DE" smtClean="0"/>
              <a:pPr/>
              <a:t>28</a:t>
            </a:fld>
            <a:endParaRPr lang="de-DE"/>
          </a:p>
        </p:txBody>
      </p:sp>
      <p:pic>
        <p:nvPicPr>
          <p:cNvPr id="7" name="Picture 6">
            <a:extLst>
              <a:ext uri="{FF2B5EF4-FFF2-40B4-BE49-F238E27FC236}">
                <a16:creationId xmlns:a16="http://schemas.microsoft.com/office/drawing/2014/main" id="{1752B3A4-3956-2EC3-A1FA-BFE4CDBF9D7D}"/>
              </a:ext>
            </a:extLst>
          </p:cNvPr>
          <p:cNvPicPr>
            <a:picLocks noChangeAspect="1"/>
          </p:cNvPicPr>
          <p:nvPr/>
        </p:nvPicPr>
        <p:blipFill>
          <a:blip r:embed="rId4"/>
          <a:stretch>
            <a:fillRect/>
          </a:stretch>
        </p:blipFill>
        <p:spPr>
          <a:xfrm>
            <a:off x="7065065" y="2586245"/>
            <a:ext cx="5030304" cy="3165338"/>
          </a:xfrm>
          <a:prstGeom prst="rect">
            <a:avLst/>
          </a:prstGeom>
        </p:spPr>
      </p:pic>
      <p:sp>
        <p:nvSpPr>
          <p:cNvPr id="8" name="TextBox 7">
            <a:extLst>
              <a:ext uri="{FF2B5EF4-FFF2-40B4-BE49-F238E27FC236}">
                <a16:creationId xmlns:a16="http://schemas.microsoft.com/office/drawing/2014/main" id="{D3087DD1-D259-550E-4958-CAF88482EC0E}"/>
              </a:ext>
            </a:extLst>
          </p:cNvPr>
          <p:cNvSpPr txBox="1"/>
          <p:nvPr/>
        </p:nvSpPr>
        <p:spPr>
          <a:xfrm>
            <a:off x="514178" y="1291153"/>
            <a:ext cx="6199346" cy="4792832"/>
          </a:xfrm>
          <a:prstGeom prst="rect">
            <a:avLst/>
          </a:prstGeom>
          <a:noFill/>
          <a:ln>
            <a:no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spAutoFit/>
          </a:bodyPr>
          <a:lstStyle/>
          <a:p>
            <a:pPr>
              <a:buClr>
                <a:schemeClr val="accent1"/>
              </a:buClr>
            </a:pPr>
            <a:r>
              <a:rPr lang="en-US" b="1">
                <a:cs typeface="Segoe UI"/>
              </a:rPr>
              <a:t>Customer :</a:t>
            </a:r>
            <a:r>
              <a:rPr lang="en-US">
                <a:cs typeface="Segoe UI"/>
              </a:rPr>
              <a:t> </a:t>
            </a:r>
            <a:r>
              <a:rPr lang="en-US" err="1">
                <a:cs typeface="Segoe UI"/>
              </a:rPr>
              <a:t>KeepRite</a:t>
            </a:r>
            <a:r>
              <a:rPr lang="en-US">
                <a:cs typeface="Segoe UI"/>
              </a:rPr>
              <a:t> Refrigeration</a:t>
            </a:r>
          </a:p>
          <a:p>
            <a:r>
              <a:rPr lang="en-US" b="1">
                <a:cs typeface="Segoe UI"/>
              </a:rPr>
              <a:t>Location:</a:t>
            </a:r>
            <a:r>
              <a:rPr lang="en-US">
                <a:cs typeface="Segoe UI"/>
              </a:rPr>
              <a:t> Longview TX</a:t>
            </a:r>
          </a:p>
          <a:p>
            <a:r>
              <a:rPr lang="en-US" b="1">
                <a:cs typeface="Segoe UI"/>
              </a:rPr>
              <a:t>Rep Company: </a:t>
            </a:r>
            <a:r>
              <a:rPr lang="en-US">
                <a:cs typeface="Segoe UI"/>
              </a:rPr>
              <a:t>MRB</a:t>
            </a:r>
          </a:p>
          <a:p>
            <a:endParaRPr lang="en-US">
              <a:cs typeface="Segoe UI"/>
            </a:endParaRPr>
          </a:p>
          <a:p>
            <a:r>
              <a:rPr lang="en-US" b="1">
                <a:cs typeface="Segoe UI"/>
              </a:rPr>
              <a:t>Product:</a:t>
            </a:r>
            <a:r>
              <a:rPr lang="en-US">
                <a:cs typeface="Segoe UI"/>
              </a:rPr>
              <a:t> SDG43S-M3-S7</a:t>
            </a:r>
          </a:p>
          <a:p>
            <a:r>
              <a:rPr lang="en-US" b="1">
                <a:cs typeface="Segoe UI"/>
              </a:rPr>
              <a:t>EAU:</a:t>
            </a:r>
            <a:r>
              <a:rPr lang="en-US">
                <a:cs typeface="Segoe UI"/>
              </a:rPr>
              <a:t> 30K to 50K </a:t>
            </a:r>
          </a:p>
          <a:p>
            <a:r>
              <a:rPr lang="en-US" b="1">
                <a:cs typeface="Segoe UI"/>
              </a:rPr>
              <a:t>5 year Value:</a:t>
            </a:r>
            <a:r>
              <a:rPr lang="en-US">
                <a:cs typeface="Segoe UI"/>
              </a:rPr>
              <a:t> $5M+</a:t>
            </a:r>
          </a:p>
          <a:p>
            <a:endParaRPr lang="en-US">
              <a:cs typeface="Segoe UI"/>
            </a:endParaRPr>
          </a:p>
          <a:p>
            <a:r>
              <a:rPr lang="en-US" b="1">
                <a:cs typeface="Segoe UI"/>
              </a:rPr>
              <a:t>Value proposition:</a:t>
            </a:r>
            <a:r>
              <a:rPr lang="en-US">
                <a:cs typeface="Segoe UI"/>
              </a:rPr>
              <a:t> Single device for three different A2L refrigerants that is UL approved RDS solution.  Ease of implementation and design with minimum additional UL system approvals. </a:t>
            </a:r>
          </a:p>
          <a:p>
            <a:endParaRPr lang="en-US">
              <a:cs typeface="Segoe UI"/>
            </a:endParaRPr>
          </a:p>
          <a:p>
            <a:r>
              <a:rPr lang="en-US" b="1">
                <a:cs typeface="Segoe UI"/>
              </a:rPr>
              <a:t>Other factors:</a:t>
            </a:r>
            <a:r>
              <a:rPr lang="en-US">
                <a:cs typeface="Segoe UI"/>
              </a:rPr>
              <a:t> Rep support and follow up on lead and help generate interest and need.  Liked software interface for Annex MM position testing.</a:t>
            </a:r>
          </a:p>
          <a:p>
            <a:endParaRPr lang="en-US" sz="1400">
              <a:cs typeface="Segoe UI"/>
            </a:endParaRPr>
          </a:p>
        </p:txBody>
      </p:sp>
    </p:spTree>
    <p:extLst>
      <p:ext uri="{BB962C8B-B14F-4D97-AF65-F5344CB8AC3E}">
        <p14:creationId xmlns:p14="http://schemas.microsoft.com/office/powerpoint/2010/main" val="2745731834"/>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0F5B25D2-88DC-BFFF-F8DC-3B4BB47512B5}"/>
              </a:ext>
            </a:extLst>
          </p:cNvPr>
          <p:cNvSpPr>
            <a:spLocks noGrp="1"/>
          </p:cNvSpPr>
          <p:nvPr>
            <p:ph sz="quarter" idx="15"/>
          </p:nvPr>
        </p:nvSpPr>
        <p:spPr>
          <a:xfrm>
            <a:off x="505353" y="1311805"/>
            <a:ext cx="6418794" cy="4608512"/>
          </a:xfrm>
        </p:spPr>
        <p:txBody>
          <a:bodyPr vert="horz" lIns="0" tIns="0" rIns="0" bIns="0" rtlCol="0" anchor="t">
            <a:noAutofit/>
          </a:bodyPr>
          <a:lstStyle/>
          <a:p>
            <a:pPr marL="179705" indent="-179705">
              <a:spcAft>
                <a:spcPts val="0"/>
              </a:spcAft>
            </a:pPr>
            <a:r>
              <a:rPr lang="en-US" sz="2000" b="1">
                <a:cs typeface="Segoe UI"/>
              </a:rPr>
              <a:t>Customer :</a:t>
            </a:r>
            <a:r>
              <a:rPr lang="en-US" sz="2000">
                <a:cs typeface="Segoe UI"/>
              </a:rPr>
              <a:t> Bergstrom</a:t>
            </a:r>
          </a:p>
          <a:p>
            <a:pPr marL="179705" indent="-179705">
              <a:spcAft>
                <a:spcPts val="0"/>
              </a:spcAft>
            </a:pPr>
            <a:r>
              <a:rPr lang="en-US" sz="2000" b="1">
                <a:cs typeface="Segoe UI"/>
              </a:rPr>
              <a:t>Location:</a:t>
            </a:r>
            <a:r>
              <a:rPr lang="en-US" sz="2000">
                <a:cs typeface="Segoe UI"/>
              </a:rPr>
              <a:t> Rockford, IL</a:t>
            </a:r>
          </a:p>
          <a:p>
            <a:pPr marL="179705" indent="-179705">
              <a:spcAft>
                <a:spcPts val="0"/>
              </a:spcAft>
            </a:pPr>
            <a:endParaRPr lang="en-US" sz="2000">
              <a:cs typeface="Segoe UI"/>
            </a:endParaRPr>
          </a:p>
          <a:p>
            <a:pPr marL="179705" indent="-179705">
              <a:spcAft>
                <a:spcPts val="0"/>
              </a:spcAft>
            </a:pPr>
            <a:r>
              <a:rPr lang="en-US" sz="2000" b="1">
                <a:cs typeface="Segoe UI"/>
              </a:rPr>
              <a:t>Product:</a:t>
            </a:r>
            <a:r>
              <a:rPr lang="en-US" sz="2000">
                <a:cs typeface="Segoe UI"/>
              </a:rPr>
              <a:t> SDG43S-M3-S7</a:t>
            </a:r>
          </a:p>
          <a:p>
            <a:pPr marL="179705" indent="-179705">
              <a:spcAft>
                <a:spcPts val="0"/>
              </a:spcAft>
            </a:pPr>
            <a:r>
              <a:rPr lang="en-US" sz="2000" b="1">
                <a:cs typeface="Segoe UI"/>
              </a:rPr>
              <a:t>EAU:</a:t>
            </a:r>
            <a:r>
              <a:rPr lang="en-US" sz="2000">
                <a:cs typeface="Segoe UI"/>
              </a:rPr>
              <a:t> 15K</a:t>
            </a:r>
          </a:p>
          <a:p>
            <a:pPr marL="179705" indent="-179705">
              <a:spcAft>
                <a:spcPts val="0"/>
              </a:spcAft>
            </a:pPr>
            <a:r>
              <a:rPr lang="en-US" sz="2000" b="1">
                <a:cs typeface="Segoe UI"/>
              </a:rPr>
              <a:t>5 year Value:</a:t>
            </a:r>
            <a:r>
              <a:rPr lang="en-US" sz="2000">
                <a:cs typeface="Segoe UI"/>
              </a:rPr>
              <a:t> $2.5M+</a:t>
            </a:r>
          </a:p>
          <a:p>
            <a:pPr marL="179705" indent="-179705">
              <a:spcAft>
                <a:spcPts val="0"/>
              </a:spcAft>
            </a:pPr>
            <a:endParaRPr lang="en-US" sz="2000">
              <a:cs typeface="Segoe UI"/>
            </a:endParaRPr>
          </a:p>
          <a:p>
            <a:pPr marL="179705" indent="-179705">
              <a:spcAft>
                <a:spcPts val="0"/>
              </a:spcAft>
            </a:pPr>
            <a:r>
              <a:rPr lang="en-US" sz="2000" b="1">
                <a:cs typeface="Segoe UI"/>
              </a:rPr>
              <a:t>Value proposition:</a:t>
            </a:r>
            <a:r>
              <a:rPr lang="en-US" sz="2000">
                <a:cs typeface="Segoe UI"/>
              </a:rPr>
              <a:t> Single device for three different A2L refrigerants that is UL approved RDS solution.  Ease of implementation and design with minimum additional UL system approvals. </a:t>
            </a:r>
          </a:p>
          <a:p>
            <a:pPr marL="179705" indent="-179705">
              <a:spcAft>
                <a:spcPts val="0"/>
              </a:spcAft>
            </a:pPr>
            <a:endParaRPr lang="en-US" sz="2000">
              <a:cs typeface="Segoe UI"/>
            </a:endParaRPr>
          </a:p>
          <a:p>
            <a:pPr marL="179705" indent="-179705">
              <a:spcAft>
                <a:spcPts val="0"/>
              </a:spcAft>
            </a:pPr>
            <a:r>
              <a:rPr lang="en-US" sz="2000" b="1">
                <a:cs typeface="Segoe UI"/>
              </a:rPr>
              <a:t>Other factors:</a:t>
            </a:r>
            <a:r>
              <a:rPr lang="en-US" sz="2000">
                <a:cs typeface="Segoe UI"/>
              </a:rPr>
              <a:t> Lead follow from AHR trade show, samples and software testing environment.</a:t>
            </a:r>
          </a:p>
        </p:txBody>
      </p:sp>
      <p:sp>
        <p:nvSpPr>
          <p:cNvPr id="4" name="Title 3">
            <a:extLst>
              <a:ext uri="{FF2B5EF4-FFF2-40B4-BE49-F238E27FC236}">
                <a16:creationId xmlns:a16="http://schemas.microsoft.com/office/drawing/2014/main" id="{0E620590-1F7B-67E7-D6E6-9E36805D3FBF}"/>
              </a:ext>
            </a:extLst>
          </p:cNvPr>
          <p:cNvSpPr>
            <a:spLocks noGrp="1"/>
          </p:cNvSpPr>
          <p:nvPr>
            <p:ph type="title"/>
          </p:nvPr>
        </p:nvSpPr>
        <p:spPr/>
        <p:txBody>
          <a:bodyPr/>
          <a:lstStyle/>
          <a:p>
            <a:r>
              <a:rPr lang="en-US">
                <a:cs typeface="Segoe UI"/>
              </a:rPr>
              <a:t>A2L Success Story Bergstrom </a:t>
            </a:r>
            <a:endParaRPr lang="en-US"/>
          </a:p>
        </p:txBody>
      </p:sp>
      <p:sp>
        <p:nvSpPr>
          <p:cNvPr id="5" name="Footer Placeholder 4">
            <a:extLst>
              <a:ext uri="{FF2B5EF4-FFF2-40B4-BE49-F238E27FC236}">
                <a16:creationId xmlns:a16="http://schemas.microsoft.com/office/drawing/2014/main" id="{D4D2282B-A273-2CCE-BDCE-664F7D28089E}"/>
              </a:ext>
            </a:extLst>
          </p:cNvPr>
          <p:cNvSpPr>
            <a:spLocks noGrp="1"/>
          </p:cNvSpPr>
          <p:nvPr>
            <p:ph type="ftr" sz="quarter" idx="16"/>
          </p:nvPr>
        </p:nvSpPr>
        <p:spPr/>
        <p:txBody>
          <a:bodyPr/>
          <a:lstStyle/>
          <a:p>
            <a:r>
              <a:rPr lang="de-DE"/>
              <a:t>© Copyright Sensirion, Switzerland</a:t>
            </a:r>
          </a:p>
        </p:txBody>
      </p:sp>
      <p:sp>
        <p:nvSpPr>
          <p:cNvPr id="6" name="Slide Number Placeholder 5">
            <a:extLst>
              <a:ext uri="{FF2B5EF4-FFF2-40B4-BE49-F238E27FC236}">
                <a16:creationId xmlns:a16="http://schemas.microsoft.com/office/drawing/2014/main" id="{08D6C187-A554-EA92-F31F-DD256ACD4AE7}"/>
              </a:ext>
            </a:extLst>
          </p:cNvPr>
          <p:cNvSpPr>
            <a:spLocks noGrp="1"/>
          </p:cNvSpPr>
          <p:nvPr>
            <p:ph type="sldNum" sz="quarter" idx="17"/>
          </p:nvPr>
        </p:nvSpPr>
        <p:spPr/>
        <p:txBody>
          <a:bodyPr/>
          <a:lstStyle/>
          <a:p>
            <a:fld id="{B1E691A1-F3A6-4574-B226-B412272B38A6}" type="slidenum">
              <a:rPr lang="de-DE" smtClean="0"/>
              <a:pPr/>
              <a:t>29</a:t>
            </a:fld>
            <a:endParaRPr lang="de-DE"/>
          </a:p>
        </p:txBody>
      </p:sp>
      <p:pic>
        <p:nvPicPr>
          <p:cNvPr id="2" name="Picture 1" descr="A white rectangular object with orange fans&#10;&#10;AI-generated content may be incorrect.">
            <a:extLst>
              <a:ext uri="{FF2B5EF4-FFF2-40B4-BE49-F238E27FC236}">
                <a16:creationId xmlns:a16="http://schemas.microsoft.com/office/drawing/2014/main" id="{A019F744-C33E-BF5F-9FA1-F28299447FD0}"/>
              </a:ext>
            </a:extLst>
          </p:cNvPr>
          <p:cNvPicPr>
            <a:picLocks noChangeAspect="1"/>
          </p:cNvPicPr>
          <p:nvPr/>
        </p:nvPicPr>
        <p:blipFill>
          <a:blip r:embed="rId2"/>
          <a:stretch>
            <a:fillRect/>
          </a:stretch>
        </p:blipFill>
        <p:spPr>
          <a:xfrm>
            <a:off x="7086185" y="2348327"/>
            <a:ext cx="4734064" cy="3729521"/>
          </a:xfrm>
          <a:prstGeom prst="rect">
            <a:avLst/>
          </a:prstGeom>
        </p:spPr>
      </p:pic>
      <p:pic>
        <p:nvPicPr>
          <p:cNvPr id="7" name="Picture 6" descr="logotipo-bergstrom">
            <a:extLst>
              <a:ext uri="{FF2B5EF4-FFF2-40B4-BE49-F238E27FC236}">
                <a16:creationId xmlns:a16="http://schemas.microsoft.com/office/drawing/2014/main" id="{FF042F50-BCFC-C7FC-4C7E-361D86955FEA}"/>
              </a:ext>
            </a:extLst>
          </p:cNvPr>
          <p:cNvPicPr>
            <a:picLocks noChangeAspect="1"/>
          </p:cNvPicPr>
          <p:nvPr/>
        </p:nvPicPr>
        <p:blipFill>
          <a:blip r:embed="rId3"/>
          <a:stretch>
            <a:fillRect/>
          </a:stretch>
        </p:blipFill>
        <p:spPr>
          <a:xfrm>
            <a:off x="7786342" y="1075359"/>
            <a:ext cx="3333750" cy="952500"/>
          </a:xfrm>
          <a:prstGeom prst="rect">
            <a:avLst/>
          </a:prstGeom>
        </p:spPr>
      </p:pic>
    </p:spTree>
    <p:extLst>
      <p:ext uri="{BB962C8B-B14F-4D97-AF65-F5344CB8AC3E}">
        <p14:creationId xmlns:p14="http://schemas.microsoft.com/office/powerpoint/2010/main" val="92947486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CB672451-E7D6-AB69-D5AD-5A4766871CF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80" imgH="481" progId="TCLayout.ActiveDocument.1">
                  <p:embed/>
                </p:oleObj>
              </mc:Choice>
              <mc:Fallback>
                <p:oleObj name="think-cell Folie" r:id="rId3" imgW="480" imgH="481" progId="TCLayout.ActiveDocument.1">
                  <p:embed/>
                  <p:pic>
                    <p:nvPicPr>
                      <p:cNvPr id="8" name="Object 7" hidden="1">
                        <a:extLst>
                          <a:ext uri="{FF2B5EF4-FFF2-40B4-BE49-F238E27FC236}">
                            <a16:creationId xmlns:a16="http://schemas.microsoft.com/office/drawing/2014/main" id="{CB672451-E7D6-AB69-D5AD-5A4766871CF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1" name="Grafik 1" descr="Ein Bild, das Luftfotografie, draußen, Himmel, Wasser enthält.&#10;&#10;Automatisch generierte Beschreibung">
            <a:extLst>
              <a:ext uri="{FF2B5EF4-FFF2-40B4-BE49-F238E27FC236}">
                <a16:creationId xmlns:a16="http://schemas.microsoft.com/office/drawing/2014/main" id="{AB787FB6-E16C-A63C-E42F-37D754BDDB61}"/>
              </a:ext>
            </a:extLst>
          </p:cNvPr>
          <p:cNvPicPr>
            <a:picLocks noGrp="1" noChangeAspect="1"/>
          </p:cNvPicPr>
          <p:nvPr>
            <p:ph type="pic" sz="quarter" idx="11"/>
          </p:nvPr>
        </p:nvPicPr>
        <p:blipFill rotWithShape="1">
          <a:blip r:embed="rId5" cstate="email">
            <a:extLst>
              <a:ext uri="{28A0092B-C50C-407E-A947-70E740481C1C}">
                <a14:useLocalDpi xmlns:a14="http://schemas.microsoft.com/office/drawing/2010/main"/>
              </a:ext>
            </a:extLst>
          </a:blip>
          <a:srcRect/>
          <a:stretch/>
        </p:blipFill>
        <p:spPr>
          <a:xfrm>
            <a:off x="0" y="11373"/>
            <a:ext cx="12192000" cy="6858000"/>
          </a:xfrm>
        </p:spPr>
      </p:pic>
      <p:sp>
        <p:nvSpPr>
          <p:cNvPr id="3" name="Title 2">
            <a:extLst>
              <a:ext uri="{FF2B5EF4-FFF2-40B4-BE49-F238E27FC236}">
                <a16:creationId xmlns:a16="http://schemas.microsoft.com/office/drawing/2014/main" id="{5BD29A49-70AB-93F5-0625-BCB95E8A6253}"/>
              </a:ext>
            </a:extLst>
          </p:cNvPr>
          <p:cNvSpPr>
            <a:spLocks noGrp="1"/>
          </p:cNvSpPr>
          <p:nvPr>
            <p:ph type="ctrTitle"/>
          </p:nvPr>
        </p:nvSpPr>
        <p:spPr>
          <a:xfrm>
            <a:off x="1189036" y="964959"/>
            <a:ext cx="9144000" cy="738664"/>
          </a:xfrm>
        </p:spPr>
        <p:txBody>
          <a:bodyPr vert="horz"/>
          <a:lstStyle/>
          <a:p>
            <a:r>
              <a:rPr lang="en-US"/>
              <a:t>Channel team changes</a:t>
            </a:r>
          </a:p>
        </p:txBody>
      </p:sp>
      <p:sp>
        <p:nvSpPr>
          <p:cNvPr id="15" name="Textplatzhalter 14">
            <a:extLst>
              <a:ext uri="{FF2B5EF4-FFF2-40B4-BE49-F238E27FC236}">
                <a16:creationId xmlns:a16="http://schemas.microsoft.com/office/drawing/2014/main" id="{70EA2A46-80F1-B3A1-DA9B-901975949AEE}"/>
              </a:ext>
            </a:extLst>
          </p:cNvPr>
          <p:cNvSpPr>
            <a:spLocks noGrp="1"/>
          </p:cNvSpPr>
          <p:nvPr>
            <p:ph type="body" sz="quarter" idx="12"/>
          </p:nvPr>
        </p:nvSpPr>
        <p:spPr/>
        <p:txBody>
          <a:bodyPr/>
          <a:lstStyle/>
          <a:p>
            <a:endParaRPr lang="en-US"/>
          </a:p>
        </p:txBody>
      </p:sp>
      <p:sp>
        <p:nvSpPr>
          <p:cNvPr id="16" name="Textplatzhalter 15">
            <a:extLst>
              <a:ext uri="{FF2B5EF4-FFF2-40B4-BE49-F238E27FC236}">
                <a16:creationId xmlns:a16="http://schemas.microsoft.com/office/drawing/2014/main" id="{C5E65B0D-92DF-8CB0-2512-C3D174FB68D2}"/>
              </a:ext>
            </a:extLst>
          </p:cNvPr>
          <p:cNvSpPr>
            <a:spLocks noGrp="1"/>
          </p:cNvSpPr>
          <p:nvPr>
            <p:ph type="body" sz="quarter" idx="13"/>
          </p:nvPr>
        </p:nvSpPr>
        <p:spPr/>
        <p:txBody>
          <a:bodyPr/>
          <a:lstStyle/>
          <a:p>
            <a:endParaRPr lang="en-US"/>
          </a:p>
        </p:txBody>
      </p:sp>
      <p:sp>
        <p:nvSpPr>
          <p:cNvPr id="17" name="Textplatzhalter 16">
            <a:extLst>
              <a:ext uri="{FF2B5EF4-FFF2-40B4-BE49-F238E27FC236}">
                <a16:creationId xmlns:a16="http://schemas.microsoft.com/office/drawing/2014/main" id="{B32F0BE8-6D12-51B2-B0DE-E4089A1F29E5}"/>
              </a:ext>
            </a:extLst>
          </p:cNvPr>
          <p:cNvSpPr>
            <a:spLocks noGrp="1"/>
          </p:cNvSpPr>
          <p:nvPr>
            <p:ph type="body" sz="quarter" idx="14"/>
          </p:nvPr>
        </p:nvSpPr>
        <p:spPr>
          <a:xfrm>
            <a:off x="1189036" y="1703623"/>
            <a:ext cx="9144000" cy="1846659"/>
          </a:xfrm>
        </p:spPr>
        <p:txBody>
          <a:bodyPr/>
          <a:lstStyle/>
          <a:p>
            <a:r>
              <a:rPr lang="en-US"/>
              <a:t>Reorg to support &gt;20% CAGR initiatives</a:t>
            </a:r>
          </a:p>
          <a:p>
            <a:r>
              <a:rPr lang="en-US"/>
              <a:t>Increase Demand Creation &amp;</a:t>
            </a:r>
          </a:p>
          <a:p>
            <a:r>
              <a:rPr lang="en-US"/>
              <a:t>Close-Win %</a:t>
            </a:r>
          </a:p>
        </p:txBody>
      </p:sp>
    </p:spTree>
    <p:extLst>
      <p:ext uri="{BB962C8B-B14F-4D97-AF65-F5344CB8AC3E}">
        <p14:creationId xmlns:p14="http://schemas.microsoft.com/office/powerpoint/2010/main" val="3221050036"/>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B863CDD-B3FE-C950-43FD-47C93FBAD3FE}"/>
            </a:ext>
          </a:extLst>
        </p:cNvPr>
        <p:cNvGrpSpPr/>
        <p:nvPr/>
      </p:nvGrpSpPr>
      <p:grpSpPr>
        <a:xfrm>
          <a:off x="0" y="0"/>
          <a:ext cx="0" cy="0"/>
          <a:chOff x="0" y="0"/>
          <a:chExt cx="0" cy="0"/>
        </a:xfrm>
      </p:grpSpPr>
      <p:pic>
        <p:nvPicPr>
          <p:cNvPr id="2" name="Content Placeholder 1" descr="A person in orange and blue hardhats standing in front of a person in a building&#10;&#10;AI-generated content may be incorrect.">
            <a:extLst>
              <a:ext uri="{FF2B5EF4-FFF2-40B4-BE49-F238E27FC236}">
                <a16:creationId xmlns:a16="http://schemas.microsoft.com/office/drawing/2014/main" id="{9D724C25-D088-3D3C-3081-FBD306994A61}"/>
              </a:ext>
            </a:extLst>
          </p:cNvPr>
          <p:cNvPicPr>
            <a:picLocks noGrp="1" noChangeAspect="1"/>
          </p:cNvPicPr>
          <p:nvPr>
            <p:ph sz="quarter" idx="15"/>
          </p:nvPr>
        </p:nvPicPr>
        <p:blipFill>
          <a:blip r:embed="rId2"/>
          <a:stretch>
            <a:fillRect/>
          </a:stretch>
        </p:blipFill>
        <p:spPr bwMode="gray">
          <a:xfrm>
            <a:off x="1448575" y="911772"/>
            <a:ext cx="4232919" cy="5266601"/>
          </a:xfrm>
          <a:prstGeom prst="rect">
            <a:avLst/>
          </a:prstGeom>
        </p:spPr>
      </p:pic>
      <p:sp>
        <p:nvSpPr>
          <p:cNvPr id="4" name="Title 3">
            <a:extLst>
              <a:ext uri="{FF2B5EF4-FFF2-40B4-BE49-F238E27FC236}">
                <a16:creationId xmlns:a16="http://schemas.microsoft.com/office/drawing/2014/main" id="{DDB15DBF-F13C-2D1B-58C9-CC2F89787907}"/>
              </a:ext>
            </a:extLst>
          </p:cNvPr>
          <p:cNvSpPr>
            <a:spLocks noGrp="1"/>
          </p:cNvSpPr>
          <p:nvPr>
            <p:ph type="title"/>
          </p:nvPr>
        </p:nvSpPr>
        <p:spPr/>
        <p:txBody>
          <a:bodyPr/>
          <a:lstStyle/>
          <a:p>
            <a:r>
              <a:rPr lang="en-US">
                <a:cs typeface="Segoe UI"/>
              </a:rPr>
              <a:t>One Pager for </a:t>
            </a:r>
            <a:r>
              <a:rPr lang="en-US">
                <a:solidFill>
                  <a:srgbClr val="FF0000"/>
                </a:solidFill>
                <a:cs typeface="Segoe UI"/>
              </a:rPr>
              <a:t>HVAC</a:t>
            </a:r>
            <a:r>
              <a:rPr lang="en-US">
                <a:cs typeface="Segoe UI"/>
              </a:rPr>
              <a:t> – R32 &amp; R454-B</a:t>
            </a:r>
            <a:endParaRPr lang="en-US"/>
          </a:p>
        </p:txBody>
      </p:sp>
      <p:sp>
        <p:nvSpPr>
          <p:cNvPr id="5" name="Footer Placeholder 4">
            <a:extLst>
              <a:ext uri="{FF2B5EF4-FFF2-40B4-BE49-F238E27FC236}">
                <a16:creationId xmlns:a16="http://schemas.microsoft.com/office/drawing/2014/main" id="{9FC52450-5BDB-EE22-9812-344050A9B354}"/>
              </a:ext>
            </a:extLst>
          </p:cNvPr>
          <p:cNvSpPr>
            <a:spLocks noGrp="1"/>
          </p:cNvSpPr>
          <p:nvPr>
            <p:ph type="ftr" sz="quarter" idx="16"/>
          </p:nvPr>
        </p:nvSpPr>
        <p:spPr/>
        <p:txBody>
          <a:bodyPr/>
          <a:lstStyle/>
          <a:p>
            <a:r>
              <a:rPr lang="de-DE"/>
              <a:t>© Copyright Sensirion, Switzerland</a:t>
            </a:r>
          </a:p>
        </p:txBody>
      </p:sp>
      <p:sp>
        <p:nvSpPr>
          <p:cNvPr id="6" name="Slide Number Placeholder 5">
            <a:extLst>
              <a:ext uri="{FF2B5EF4-FFF2-40B4-BE49-F238E27FC236}">
                <a16:creationId xmlns:a16="http://schemas.microsoft.com/office/drawing/2014/main" id="{15ABDA9A-A9C6-057C-9B55-32A9039B0D88}"/>
              </a:ext>
            </a:extLst>
          </p:cNvPr>
          <p:cNvSpPr>
            <a:spLocks noGrp="1"/>
          </p:cNvSpPr>
          <p:nvPr>
            <p:ph type="sldNum" sz="quarter" idx="17"/>
          </p:nvPr>
        </p:nvSpPr>
        <p:spPr/>
        <p:txBody>
          <a:bodyPr/>
          <a:lstStyle/>
          <a:p>
            <a:fld id="{B1E691A1-F3A6-4574-B226-B412272B38A6}" type="slidenum">
              <a:rPr lang="de-DE" smtClean="0"/>
              <a:pPr/>
              <a:t>30</a:t>
            </a:fld>
            <a:endParaRPr lang="de-DE"/>
          </a:p>
        </p:txBody>
      </p:sp>
      <p:pic>
        <p:nvPicPr>
          <p:cNvPr id="7" name="Picture 6" descr="A screenshot of a device&#10;&#10;AI-generated content may be incorrect.">
            <a:extLst>
              <a:ext uri="{FF2B5EF4-FFF2-40B4-BE49-F238E27FC236}">
                <a16:creationId xmlns:a16="http://schemas.microsoft.com/office/drawing/2014/main" id="{B87845F0-B5DE-DFF5-28CA-A0D51530E96A}"/>
              </a:ext>
            </a:extLst>
          </p:cNvPr>
          <p:cNvPicPr>
            <a:picLocks noChangeAspect="1"/>
          </p:cNvPicPr>
          <p:nvPr/>
        </p:nvPicPr>
        <p:blipFill>
          <a:blip r:embed="rId3"/>
          <a:stretch>
            <a:fillRect/>
          </a:stretch>
        </p:blipFill>
        <p:spPr>
          <a:xfrm>
            <a:off x="6249086" y="912091"/>
            <a:ext cx="3933017" cy="5264728"/>
          </a:xfrm>
          <a:prstGeom prst="rect">
            <a:avLst/>
          </a:prstGeom>
        </p:spPr>
      </p:pic>
    </p:spTree>
    <p:extLst>
      <p:ext uri="{BB962C8B-B14F-4D97-AF65-F5344CB8AC3E}">
        <p14:creationId xmlns:p14="http://schemas.microsoft.com/office/powerpoint/2010/main" val="977994764"/>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Content Placeholder 6" descr="A person in an apron in a store&#10;&#10;AI-generated content may be incorrect.">
            <a:extLst>
              <a:ext uri="{FF2B5EF4-FFF2-40B4-BE49-F238E27FC236}">
                <a16:creationId xmlns:a16="http://schemas.microsoft.com/office/drawing/2014/main" id="{29CFBCA6-F332-88E8-2805-C31749ED02A1}"/>
              </a:ext>
            </a:extLst>
          </p:cNvPr>
          <p:cNvPicPr>
            <a:picLocks noGrp="1" noChangeAspect="1"/>
          </p:cNvPicPr>
          <p:nvPr>
            <p:ph sz="quarter" idx="15"/>
          </p:nvPr>
        </p:nvPicPr>
        <p:blipFill>
          <a:blip r:embed="rId2"/>
          <a:stretch>
            <a:fillRect/>
          </a:stretch>
        </p:blipFill>
        <p:spPr bwMode="gray">
          <a:xfrm>
            <a:off x="1258283" y="1086962"/>
            <a:ext cx="4162730" cy="4906685"/>
          </a:xfrm>
          <a:prstGeom prst="rect">
            <a:avLst/>
          </a:prstGeom>
        </p:spPr>
      </p:pic>
      <p:sp>
        <p:nvSpPr>
          <p:cNvPr id="4" name="Title 3">
            <a:extLst>
              <a:ext uri="{FF2B5EF4-FFF2-40B4-BE49-F238E27FC236}">
                <a16:creationId xmlns:a16="http://schemas.microsoft.com/office/drawing/2014/main" id="{5F872F22-2E39-1925-B50A-666ACCD7CAED}"/>
              </a:ext>
            </a:extLst>
          </p:cNvPr>
          <p:cNvSpPr>
            <a:spLocks noGrp="1"/>
          </p:cNvSpPr>
          <p:nvPr>
            <p:ph type="title"/>
          </p:nvPr>
        </p:nvSpPr>
        <p:spPr/>
        <p:txBody>
          <a:bodyPr/>
          <a:lstStyle/>
          <a:p>
            <a:r>
              <a:rPr lang="en-US">
                <a:cs typeface="Segoe UI"/>
              </a:rPr>
              <a:t>One Pager for </a:t>
            </a:r>
            <a:r>
              <a:rPr lang="en-US">
                <a:solidFill>
                  <a:srgbClr val="FF0000"/>
                </a:solidFill>
                <a:cs typeface="Segoe UI"/>
              </a:rPr>
              <a:t>Refrigeration</a:t>
            </a:r>
            <a:r>
              <a:rPr lang="en-US">
                <a:cs typeface="Segoe UI"/>
              </a:rPr>
              <a:t> – R-454A, R-454C &amp; R-455A</a:t>
            </a:r>
            <a:endParaRPr lang="en-US"/>
          </a:p>
        </p:txBody>
      </p:sp>
      <p:sp>
        <p:nvSpPr>
          <p:cNvPr id="5" name="Footer Placeholder 4">
            <a:extLst>
              <a:ext uri="{FF2B5EF4-FFF2-40B4-BE49-F238E27FC236}">
                <a16:creationId xmlns:a16="http://schemas.microsoft.com/office/drawing/2014/main" id="{4F604B59-6561-BC3B-90AF-AD5426049AE0}"/>
              </a:ext>
            </a:extLst>
          </p:cNvPr>
          <p:cNvSpPr>
            <a:spLocks noGrp="1"/>
          </p:cNvSpPr>
          <p:nvPr>
            <p:ph type="ftr" sz="quarter" idx="16"/>
          </p:nvPr>
        </p:nvSpPr>
        <p:spPr/>
        <p:txBody>
          <a:bodyPr/>
          <a:lstStyle/>
          <a:p>
            <a:r>
              <a:rPr lang="de-DE"/>
              <a:t>© Copyright Sensirion, Switzerland</a:t>
            </a:r>
          </a:p>
        </p:txBody>
      </p:sp>
      <p:sp>
        <p:nvSpPr>
          <p:cNvPr id="6" name="Slide Number Placeholder 5">
            <a:extLst>
              <a:ext uri="{FF2B5EF4-FFF2-40B4-BE49-F238E27FC236}">
                <a16:creationId xmlns:a16="http://schemas.microsoft.com/office/drawing/2014/main" id="{A62FBB67-AD82-8A16-896B-1005068A1A07}"/>
              </a:ext>
            </a:extLst>
          </p:cNvPr>
          <p:cNvSpPr>
            <a:spLocks noGrp="1"/>
          </p:cNvSpPr>
          <p:nvPr>
            <p:ph type="sldNum" sz="quarter" idx="17"/>
          </p:nvPr>
        </p:nvSpPr>
        <p:spPr/>
        <p:txBody>
          <a:bodyPr/>
          <a:lstStyle/>
          <a:p>
            <a:fld id="{B1E691A1-F3A6-4574-B226-B412272B38A6}" type="slidenum">
              <a:rPr lang="de-DE" smtClean="0"/>
              <a:pPr/>
              <a:t>31</a:t>
            </a:fld>
            <a:endParaRPr lang="de-DE"/>
          </a:p>
        </p:txBody>
      </p:sp>
      <p:pic>
        <p:nvPicPr>
          <p:cNvPr id="8" name="Picture 7" descr="A screenshot of a device&#10;&#10;AI-generated content may be incorrect.">
            <a:extLst>
              <a:ext uri="{FF2B5EF4-FFF2-40B4-BE49-F238E27FC236}">
                <a16:creationId xmlns:a16="http://schemas.microsoft.com/office/drawing/2014/main" id="{EAD05DB3-AC09-9C9B-EC6D-7549FF6A5F6B}"/>
              </a:ext>
            </a:extLst>
          </p:cNvPr>
          <p:cNvPicPr>
            <a:picLocks noChangeAspect="1"/>
          </p:cNvPicPr>
          <p:nvPr/>
        </p:nvPicPr>
        <p:blipFill>
          <a:blip r:embed="rId3"/>
          <a:stretch>
            <a:fillRect/>
          </a:stretch>
        </p:blipFill>
        <p:spPr>
          <a:xfrm>
            <a:off x="5905795" y="1087281"/>
            <a:ext cx="4168823" cy="4904811"/>
          </a:xfrm>
          <a:prstGeom prst="rect">
            <a:avLst/>
          </a:prstGeom>
        </p:spPr>
      </p:pic>
    </p:spTree>
    <p:extLst>
      <p:ext uri="{BB962C8B-B14F-4D97-AF65-F5344CB8AC3E}">
        <p14:creationId xmlns:p14="http://schemas.microsoft.com/office/powerpoint/2010/main" val="3921081350"/>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FC44C465-46B0-956B-E8D6-AFD274C845F1}"/>
              </a:ext>
            </a:extLst>
          </p:cNvPr>
          <p:cNvSpPr>
            <a:spLocks noGrp="1"/>
          </p:cNvSpPr>
          <p:nvPr>
            <p:ph type="body" sz="quarter" idx="13"/>
          </p:nvPr>
        </p:nvSpPr>
        <p:spPr>
          <a:xfrm>
            <a:off x="544692" y="907145"/>
            <a:ext cx="5854881" cy="276999"/>
          </a:xfrm>
        </p:spPr>
        <p:txBody>
          <a:bodyPr vert="horz" wrap="square" lIns="0" tIns="0" rIns="0" bIns="0" rtlCol="0" anchor="t">
            <a:spAutoFit/>
          </a:bodyPr>
          <a:lstStyle/>
          <a:p>
            <a:r>
              <a:rPr lang="en-US">
                <a:cs typeface="Segoe UI"/>
              </a:rPr>
              <a:t>A2L or A3 Commercial </a:t>
            </a:r>
            <a:r>
              <a:rPr lang="en-US" b="1">
                <a:solidFill>
                  <a:srgbClr val="FF0000"/>
                </a:solidFill>
                <a:cs typeface="Segoe UI"/>
              </a:rPr>
              <a:t>Refrigeration</a:t>
            </a:r>
            <a:endParaRPr lang="en-US" b="1">
              <a:solidFill>
                <a:srgbClr val="FF0000"/>
              </a:solidFill>
            </a:endParaRPr>
          </a:p>
        </p:txBody>
      </p:sp>
      <p:sp>
        <p:nvSpPr>
          <p:cNvPr id="3" name="Title 2">
            <a:extLst>
              <a:ext uri="{FF2B5EF4-FFF2-40B4-BE49-F238E27FC236}">
                <a16:creationId xmlns:a16="http://schemas.microsoft.com/office/drawing/2014/main" id="{BE32602E-C20A-E7D9-CE22-07BA1DEFB59C}"/>
              </a:ext>
            </a:extLst>
          </p:cNvPr>
          <p:cNvSpPr>
            <a:spLocks noGrp="1"/>
          </p:cNvSpPr>
          <p:nvPr>
            <p:ph type="title"/>
          </p:nvPr>
        </p:nvSpPr>
        <p:spPr/>
        <p:txBody>
          <a:bodyPr/>
          <a:lstStyle/>
          <a:p>
            <a:r>
              <a:rPr lang="en-US"/>
              <a:t>Call to Action </a:t>
            </a:r>
          </a:p>
        </p:txBody>
      </p:sp>
      <p:sp>
        <p:nvSpPr>
          <p:cNvPr id="4" name="Footer Placeholder 3">
            <a:extLst>
              <a:ext uri="{FF2B5EF4-FFF2-40B4-BE49-F238E27FC236}">
                <a16:creationId xmlns:a16="http://schemas.microsoft.com/office/drawing/2014/main" id="{54976EA1-64C6-F509-8032-75D4505AB691}"/>
              </a:ext>
            </a:extLst>
          </p:cNvPr>
          <p:cNvSpPr>
            <a:spLocks noGrp="1"/>
          </p:cNvSpPr>
          <p:nvPr>
            <p:ph type="ftr" sz="quarter" idx="15"/>
          </p:nvPr>
        </p:nvSpPr>
        <p:spPr/>
        <p:txBody>
          <a:bodyPr/>
          <a:lstStyle/>
          <a:p>
            <a:r>
              <a:rPr lang="de-DE"/>
              <a:t>© Copyright Sensirion, Switzerland</a:t>
            </a:r>
          </a:p>
        </p:txBody>
      </p:sp>
      <p:sp>
        <p:nvSpPr>
          <p:cNvPr id="5" name="Slide Number Placeholder 4">
            <a:extLst>
              <a:ext uri="{FF2B5EF4-FFF2-40B4-BE49-F238E27FC236}">
                <a16:creationId xmlns:a16="http://schemas.microsoft.com/office/drawing/2014/main" id="{AD2A577D-52BB-88EC-6B87-008FCBC84E26}"/>
              </a:ext>
            </a:extLst>
          </p:cNvPr>
          <p:cNvSpPr>
            <a:spLocks noGrp="1"/>
          </p:cNvSpPr>
          <p:nvPr>
            <p:ph type="sldNum" sz="quarter" idx="16"/>
          </p:nvPr>
        </p:nvSpPr>
        <p:spPr/>
        <p:txBody>
          <a:bodyPr/>
          <a:lstStyle/>
          <a:p>
            <a:fld id="{B1E691A1-F3A6-4574-B226-B412272B38A6}" type="slidenum">
              <a:rPr lang="de-DE" smtClean="0"/>
              <a:pPr/>
              <a:t>32</a:t>
            </a:fld>
            <a:endParaRPr lang="de-DE"/>
          </a:p>
        </p:txBody>
      </p:sp>
      <p:pic>
        <p:nvPicPr>
          <p:cNvPr id="9" name="Picture 8">
            <a:extLst>
              <a:ext uri="{FF2B5EF4-FFF2-40B4-BE49-F238E27FC236}">
                <a16:creationId xmlns:a16="http://schemas.microsoft.com/office/drawing/2014/main" id="{D82EFD6F-4414-B366-3A09-B3E0DA743B88}"/>
              </a:ext>
            </a:extLst>
          </p:cNvPr>
          <p:cNvPicPr>
            <a:picLocks noChangeAspect="1"/>
          </p:cNvPicPr>
          <p:nvPr/>
        </p:nvPicPr>
        <p:blipFill>
          <a:blip r:embed="rId2"/>
          <a:stretch>
            <a:fillRect/>
          </a:stretch>
        </p:blipFill>
        <p:spPr>
          <a:xfrm>
            <a:off x="551675" y="1386665"/>
            <a:ext cx="6099126" cy="4254717"/>
          </a:xfrm>
          <a:prstGeom prst="rect">
            <a:avLst/>
          </a:prstGeom>
        </p:spPr>
      </p:pic>
      <p:sp>
        <p:nvSpPr>
          <p:cNvPr id="6" name="TextBox 5">
            <a:extLst>
              <a:ext uri="{FF2B5EF4-FFF2-40B4-BE49-F238E27FC236}">
                <a16:creationId xmlns:a16="http://schemas.microsoft.com/office/drawing/2014/main" id="{A2397265-6326-ABE1-2120-5FCE0E6D249C}"/>
              </a:ext>
            </a:extLst>
          </p:cNvPr>
          <p:cNvSpPr txBox="1"/>
          <p:nvPr/>
        </p:nvSpPr>
        <p:spPr>
          <a:xfrm>
            <a:off x="7114032" y="1387071"/>
            <a:ext cx="4720180" cy="4192989"/>
          </a:xfrm>
          <a:prstGeom prst="rect">
            <a:avLst/>
          </a:prstGeom>
          <a:noFill/>
          <a:ln>
            <a:noFill/>
          </a:ln>
        </p:spPr>
        <p:txBody>
          <a:bodyPr wrap="square" lIns="72000" tIns="72000" rIns="72000" bIns="72000" rtlCol="0" anchor="t">
            <a:spAutoFit/>
          </a:bodyPr>
          <a:lstStyle/>
          <a:p>
            <a:pPr>
              <a:buClr>
                <a:schemeClr val="accent1"/>
              </a:buClr>
            </a:pPr>
            <a:r>
              <a:rPr lang="en-US" b="1" u="sng">
                <a:cs typeface="Segoe UI"/>
              </a:rPr>
              <a:t>Call to Action:</a:t>
            </a:r>
            <a:endParaRPr lang="en-US" b="1" u="sng"/>
          </a:p>
          <a:p>
            <a:pPr marL="342900" indent="-342900">
              <a:buAutoNum type="arabicPeriod"/>
            </a:pPr>
            <a:r>
              <a:rPr lang="en-US">
                <a:solidFill>
                  <a:srgbClr val="616161"/>
                </a:solidFill>
                <a:cs typeface="Segoe UI"/>
              </a:rPr>
              <a:t>Investigate </a:t>
            </a:r>
            <a:r>
              <a:rPr lang="en-US" b="1">
                <a:solidFill>
                  <a:srgbClr val="FF0000"/>
                </a:solidFill>
                <a:cs typeface="Segoe UI"/>
              </a:rPr>
              <a:t>Refrigeration </a:t>
            </a:r>
            <a:r>
              <a:rPr lang="en-US">
                <a:solidFill>
                  <a:srgbClr val="616161"/>
                </a:solidFill>
                <a:cs typeface="Segoe UI"/>
              </a:rPr>
              <a:t>OEMs</a:t>
            </a:r>
            <a:endParaRPr lang="en-US">
              <a:cs typeface="Segoe UI"/>
            </a:endParaRPr>
          </a:p>
          <a:p>
            <a:pPr marL="342900" indent="-342900">
              <a:buAutoNum type="arabicPeriod"/>
            </a:pPr>
            <a:endParaRPr lang="en-US">
              <a:cs typeface="Segoe UI"/>
            </a:endParaRPr>
          </a:p>
          <a:p>
            <a:pPr marL="342900" indent="-342900">
              <a:buAutoNum type="arabicPeriod"/>
            </a:pPr>
            <a:r>
              <a:rPr lang="en-US">
                <a:solidFill>
                  <a:srgbClr val="616161"/>
                </a:solidFill>
                <a:cs typeface="Segoe UI"/>
              </a:rPr>
              <a:t>Mouser and </a:t>
            </a:r>
            <a:r>
              <a:rPr lang="en-US" err="1">
                <a:solidFill>
                  <a:srgbClr val="616161"/>
                </a:solidFill>
                <a:cs typeface="Segoe UI"/>
              </a:rPr>
              <a:t>Digikey</a:t>
            </a:r>
            <a:r>
              <a:rPr lang="en-US">
                <a:solidFill>
                  <a:srgbClr val="616161"/>
                </a:solidFill>
                <a:cs typeface="Segoe UI"/>
              </a:rPr>
              <a:t> first time buys.  </a:t>
            </a:r>
            <a:endParaRPr lang="en-US" sz="2400"/>
          </a:p>
          <a:p>
            <a:endParaRPr lang="en-US" b="1" u="sng"/>
          </a:p>
          <a:p>
            <a:pPr algn="l"/>
            <a:r>
              <a:rPr lang="en-US" b="1" u="sng"/>
              <a:t>Questions to Ask:</a:t>
            </a:r>
            <a:endParaRPr lang="en-US" sz="2400">
              <a:cs typeface="Segoe UI"/>
            </a:endParaRPr>
          </a:p>
          <a:p>
            <a:pPr marL="285750" indent="-285750" algn="l">
              <a:lnSpc>
                <a:spcPct val="200000"/>
              </a:lnSpc>
              <a:buClr>
                <a:schemeClr val="accent1"/>
              </a:buClr>
              <a:buFont typeface="Arial" panose="020B0604020202020204" pitchFamily="34" charset="0"/>
              <a:buChar char="•"/>
            </a:pPr>
            <a:r>
              <a:rPr lang="en-US" sz="1600"/>
              <a:t>Are you required to comply to UL 60335-2-89?</a:t>
            </a:r>
            <a:endParaRPr lang="en-US" sz="1600">
              <a:cs typeface="Segoe UI"/>
            </a:endParaRPr>
          </a:p>
          <a:p>
            <a:pPr marL="285750" indent="-285750" algn="l">
              <a:lnSpc>
                <a:spcPct val="200000"/>
              </a:lnSpc>
              <a:buClr>
                <a:schemeClr val="accent1"/>
              </a:buClr>
              <a:buFont typeface="Arial" panose="020B0604020202020204" pitchFamily="34" charset="0"/>
              <a:buChar char="•"/>
            </a:pPr>
            <a:r>
              <a:rPr lang="en-US" sz="1600"/>
              <a:t>Do you use A2L or A3 (Propane) for your refrigerant?</a:t>
            </a:r>
            <a:endParaRPr lang="en-US" sz="1600">
              <a:cs typeface="Segoe UI"/>
            </a:endParaRPr>
          </a:p>
          <a:p>
            <a:pPr marL="285750" indent="-285750" algn="l">
              <a:lnSpc>
                <a:spcPct val="200000"/>
              </a:lnSpc>
              <a:buClr>
                <a:schemeClr val="accent1"/>
              </a:buClr>
              <a:buFont typeface="Arial" panose="020B0604020202020204" pitchFamily="34" charset="0"/>
              <a:buChar char="•"/>
            </a:pPr>
            <a:r>
              <a:rPr lang="en-US" sz="1600"/>
              <a:t>Would you like a full RDS (Refrigerant Detection System) that is already UL Listed?</a:t>
            </a:r>
            <a:endParaRPr lang="en-US" sz="1600">
              <a:cs typeface="Segoe UI"/>
            </a:endParaRPr>
          </a:p>
        </p:txBody>
      </p:sp>
    </p:spTree>
    <p:extLst>
      <p:ext uri="{BB962C8B-B14F-4D97-AF65-F5344CB8AC3E}">
        <p14:creationId xmlns:p14="http://schemas.microsoft.com/office/powerpoint/2010/main" val="3324282301"/>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F18ACB2-5391-C794-A17B-8BDC4233B167}"/>
            </a:ext>
          </a:extLst>
        </p:cNvPr>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1D712B58-64BD-4C9B-88B4-0D34412826D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80" imgH="481" progId="TCLayout.ActiveDocument.1">
                  <p:embed/>
                </p:oleObj>
              </mc:Choice>
              <mc:Fallback>
                <p:oleObj name="think-cell Folie" r:id="rId3" imgW="480" imgH="481" progId="TCLayout.ActiveDocument.1">
                  <p:embed/>
                  <p:pic>
                    <p:nvPicPr>
                      <p:cNvPr id="8" name="Object 7" hidden="1">
                        <a:extLst>
                          <a:ext uri="{FF2B5EF4-FFF2-40B4-BE49-F238E27FC236}">
                            <a16:creationId xmlns:a16="http://schemas.microsoft.com/office/drawing/2014/main" id="{1D712B58-64BD-4C9B-88B4-0D34412826D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1" name="Grafik 1" descr="Ein Bild, das Luftfotografie, draußen, Himmel, Wasser enthält.&#10;&#10;Automatisch generierte Beschreibung">
            <a:extLst>
              <a:ext uri="{FF2B5EF4-FFF2-40B4-BE49-F238E27FC236}">
                <a16:creationId xmlns:a16="http://schemas.microsoft.com/office/drawing/2014/main" id="{2A358752-7166-592D-E3FD-FE71C59ED993}"/>
              </a:ext>
            </a:extLst>
          </p:cNvPr>
          <p:cNvPicPr>
            <a:picLocks noGrp="1" noChangeAspect="1"/>
          </p:cNvPicPr>
          <p:nvPr>
            <p:ph type="pic" sz="quarter" idx="11"/>
          </p:nvPr>
        </p:nvPicPr>
        <p:blipFill rotWithShape="1">
          <a:blip r:embed="rId5" cstate="screen">
            <a:extLst>
              <a:ext uri="{28A0092B-C50C-407E-A947-70E740481C1C}">
                <a14:useLocalDpi xmlns:a14="http://schemas.microsoft.com/office/drawing/2010/main"/>
              </a:ext>
            </a:extLst>
          </a:blip>
          <a:srcRect t="14" b="14"/>
          <a:stretch/>
        </p:blipFill>
        <p:spPr/>
      </p:pic>
      <p:sp>
        <p:nvSpPr>
          <p:cNvPr id="3" name="Title 2">
            <a:extLst>
              <a:ext uri="{FF2B5EF4-FFF2-40B4-BE49-F238E27FC236}">
                <a16:creationId xmlns:a16="http://schemas.microsoft.com/office/drawing/2014/main" id="{2DA23506-2B8B-7E1E-DA9F-2A6258A02A5F}"/>
              </a:ext>
            </a:extLst>
          </p:cNvPr>
          <p:cNvSpPr>
            <a:spLocks noGrp="1"/>
          </p:cNvSpPr>
          <p:nvPr>
            <p:ph type="ctrTitle"/>
          </p:nvPr>
        </p:nvSpPr>
        <p:spPr>
          <a:xfrm>
            <a:off x="1197425" y="1334075"/>
            <a:ext cx="9144000" cy="738664"/>
          </a:xfrm>
        </p:spPr>
        <p:txBody>
          <a:bodyPr vert="horz"/>
          <a:lstStyle/>
          <a:p>
            <a:r>
              <a:rPr lang="en-US"/>
              <a:t>Distribution updates</a:t>
            </a:r>
          </a:p>
        </p:txBody>
      </p:sp>
      <p:sp>
        <p:nvSpPr>
          <p:cNvPr id="15" name="Textplatzhalter 14">
            <a:extLst>
              <a:ext uri="{FF2B5EF4-FFF2-40B4-BE49-F238E27FC236}">
                <a16:creationId xmlns:a16="http://schemas.microsoft.com/office/drawing/2014/main" id="{4A5A098D-C49B-6582-5923-324E1E7482A4}"/>
              </a:ext>
            </a:extLst>
          </p:cNvPr>
          <p:cNvSpPr>
            <a:spLocks noGrp="1"/>
          </p:cNvSpPr>
          <p:nvPr>
            <p:ph type="body" sz="quarter" idx="12"/>
          </p:nvPr>
        </p:nvSpPr>
        <p:spPr/>
        <p:txBody>
          <a:bodyPr/>
          <a:lstStyle/>
          <a:p>
            <a:endParaRPr lang="en-US"/>
          </a:p>
        </p:txBody>
      </p:sp>
      <p:sp>
        <p:nvSpPr>
          <p:cNvPr id="16" name="Textplatzhalter 15">
            <a:extLst>
              <a:ext uri="{FF2B5EF4-FFF2-40B4-BE49-F238E27FC236}">
                <a16:creationId xmlns:a16="http://schemas.microsoft.com/office/drawing/2014/main" id="{9DF12417-4C1A-F8CB-3730-25C1532BEB70}"/>
              </a:ext>
            </a:extLst>
          </p:cNvPr>
          <p:cNvSpPr>
            <a:spLocks noGrp="1"/>
          </p:cNvSpPr>
          <p:nvPr>
            <p:ph type="body" sz="quarter" idx="13"/>
          </p:nvPr>
        </p:nvSpPr>
        <p:spPr/>
        <p:txBody>
          <a:bodyPr/>
          <a:lstStyle/>
          <a:p>
            <a:endParaRPr lang="en-US"/>
          </a:p>
        </p:txBody>
      </p:sp>
    </p:spTree>
    <p:extLst>
      <p:ext uri="{BB962C8B-B14F-4D97-AF65-F5344CB8AC3E}">
        <p14:creationId xmlns:p14="http://schemas.microsoft.com/office/powerpoint/2010/main" val="2629326832"/>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0131987-D3BD-4397-17C7-3FAA58BB5918}"/>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3D8731C2-6F91-9143-89F7-D9DF91E78959}"/>
              </a:ext>
            </a:extLst>
          </p:cNvPr>
          <p:cNvSpPr>
            <a:spLocks noGrp="1"/>
          </p:cNvSpPr>
          <p:nvPr>
            <p:ph type="body" sz="quarter" idx="13"/>
          </p:nvPr>
        </p:nvSpPr>
        <p:spPr/>
        <p:txBody>
          <a:bodyPr/>
          <a:lstStyle/>
          <a:p>
            <a:endParaRPr lang="en-US"/>
          </a:p>
        </p:txBody>
      </p:sp>
      <p:sp>
        <p:nvSpPr>
          <p:cNvPr id="3" name="Content Placeholder 2">
            <a:extLst>
              <a:ext uri="{FF2B5EF4-FFF2-40B4-BE49-F238E27FC236}">
                <a16:creationId xmlns:a16="http://schemas.microsoft.com/office/drawing/2014/main" id="{65F51398-780D-D0F9-EFE9-24EC2C666A04}"/>
              </a:ext>
            </a:extLst>
          </p:cNvPr>
          <p:cNvSpPr>
            <a:spLocks noGrp="1"/>
          </p:cNvSpPr>
          <p:nvPr>
            <p:ph sz="quarter" idx="15"/>
          </p:nvPr>
        </p:nvSpPr>
        <p:spPr/>
        <p:txBody>
          <a:bodyPr vert="horz" lIns="0" tIns="0" rIns="0" bIns="0" rtlCol="0" anchor="t">
            <a:noAutofit/>
          </a:bodyPr>
          <a:lstStyle/>
          <a:p>
            <a:pPr marL="179705" indent="-179705" fontAlgn="ctr"/>
            <a:r>
              <a:rPr lang="en-US"/>
              <a:t>NPI: STS41A </a:t>
            </a:r>
            <a:r>
              <a:rPr lang="en-US" b="1"/>
              <a:t>mid of September</a:t>
            </a:r>
          </a:p>
          <a:p>
            <a:pPr marL="179705" indent="-179705"/>
            <a:endParaRPr lang="de-CH"/>
          </a:p>
          <a:p>
            <a:pPr marL="179705" indent="-179705"/>
            <a:endParaRPr lang="de-CH">
              <a:cs typeface="Segoe UI"/>
            </a:endParaRPr>
          </a:p>
          <a:p>
            <a:pPr marL="179705" indent="-179705"/>
            <a:endParaRPr lang="de-CH">
              <a:cs typeface="Segoe UI"/>
            </a:endParaRPr>
          </a:p>
          <a:p>
            <a:pPr marL="179705" indent="-179705"/>
            <a:endParaRPr lang="de-CH"/>
          </a:p>
          <a:p>
            <a:pPr marL="179705" indent="-179705"/>
            <a:endParaRPr lang="de-CH"/>
          </a:p>
          <a:p>
            <a:pPr marL="179705" indent="-179705"/>
            <a:r>
              <a:rPr lang="de-CH"/>
              <a:t>NPI: SEN65, SEN63C and SEK-SEN63X </a:t>
            </a:r>
            <a:r>
              <a:rPr lang="de-CH" b="1"/>
              <a:t>end </a:t>
            </a:r>
            <a:r>
              <a:rPr lang="de-CH" b="1" err="1"/>
              <a:t>of</a:t>
            </a:r>
            <a:r>
              <a:rPr lang="de-CH" b="1"/>
              <a:t> September</a:t>
            </a:r>
            <a:endParaRPr lang="en-US" b="1">
              <a:cs typeface="Segoe UI"/>
            </a:endParaRPr>
          </a:p>
          <a:p>
            <a:pPr marL="179705" indent="-179705"/>
            <a:endParaRPr lang="en-US" sz="1800">
              <a:cs typeface="Segoe UI"/>
            </a:endParaRPr>
          </a:p>
          <a:p>
            <a:pPr marL="179705" indent="-179705"/>
            <a:endParaRPr lang="en-US">
              <a:cs typeface="Segoe UI"/>
            </a:endParaRPr>
          </a:p>
        </p:txBody>
      </p:sp>
      <p:sp>
        <p:nvSpPr>
          <p:cNvPr id="4" name="Title 3">
            <a:extLst>
              <a:ext uri="{FF2B5EF4-FFF2-40B4-BE49-F238E27FC236}">
                <a16:creationId xmlns:a16="http://schemas.microsoft.com/office/drawing/2014/main" id="{6A86557D-38AD-0F38-BE66-B720CB28D7D8}"/>
              </a:ext>
            </a:extLst>
          </p:cNvPr>
          <p:cNvSpPr>
            <a:spLocks noGrp="1"/>
          </p:cNvSpPr>
          <p:nvPr>
            <p:ph type="title"/>
          </p:nvPr>
        </p:nvSpPr>
        <p:spPr/>
        <p:txBody>
          <a:bodyPr/>
          <a:lstStyle/>
          <a:p>
            <a:r>
              <a:rPr lang="en-US"/>
              <a:t>Upcoming NPIs</a:t>
            </a:r>
          </a:p>
        </p:txBody>
      </p:sp>
      <p:sp>
        <p:nvSpPr>
          <p:cNvPr id="5" name="Footer Placeholder 4">
            <a:extLst>
              <a:ext uri="{FF2B5EF4-FFF2-40B4-BE49-F238E27FC236}">
                <a16:creationId xmlns:a16="http://schemas.microsoft.com/office/drawing/2014/main" id="{05AAAFEB-9295-C888-3929-A3BE589F6CDA}"/>
              </a:ext>
            </a:extLst>
          </p:cNvPr>
          <p:cNvSpPr>
            <a:spLocks noGrp="1"/>
          </p:cNvSpPr>
          <p:nvPr>
            <p:ph type="ftr" sz="quarter" idx="16"/>
          </p:nvPr>
        </p:nvSpPr>
        <p:spPr/>
        <p:txBody>
          <a:bodyPr/>
          <a:lstStyle/>
          <a:p>
            <a:r>
              <a:rPr lang="de-DE"/>
              <a:t>© Copyright Sensirion, Switzerland</a:t>
            </a:r>
          </a:p>
        </p:txBody>
      </p:sp>
      <p:sp>
        <p:nvSpPr>
          <p:cNvPr id="6" name="Slide Number Placeholder 5">
            <a:extLst>
              <a:ext uri="{FF2B5EF4-FFF2-40B4-BE49-F238E27FC236}">
                <a16:creationId xmlns:a16="http://schemas.microsoft.com/office/drawing/2014/main" id="{4C1B1957-112C-300F-4C07-C9686C366BD5}"/>
              </a:ext>
            </a:extLst>
          </p:cNvPr>
          <p:cNvSpPr>
            <a:spLocks noGrp="1"/>
          </p:cNvSpPr>
          <p:nvPr>
            <p:ph type="sldNum" sz="quarter" idx="17"/>
          </p:nvPr>
        </p:nvSpPr>
        <p:spPr/>
        <p:txBody>
          <a:bodyPr/>
          <a:lstStyle/>
          <a:p>
            <a:fld id="{B1E691A1-F3A6-4574-B226-B412272B38A6}" type="slidenum">
              <a:rPr lang="de-DE" smtClean="0"/>
              <a:pPr/>
              <a:t>34</a:t>
            </a:fld>
            <a:endParaRPr lang="de-DE"/>
          </a:p>
        </p:txBody>
      </p:sp>
      <p:pic>
        <p:nvPicPr>
          <p:cNvPr id="10" name="Picture 9" descr="A black device with text on it&#10;&#10;AI-generated content may be incorrect.">
            <a:extLst>
              <a:ext uri="{FF2B5EF4-FFF2-40B4-BE49-F238E27FC236}">
                <a16:creationId xmlns:a16="http://schemas.microsoft.com/office/drawing/2014/main" id="{BE872F92-B68E-02C9-24A6-9F8A2BF391FA}"/>
              </a:ext>
            </a:extLst>
          </p:cNvPr>
          <p:cNvPicPr>
            <a:picLocks noChangeAspect="1"/>
          </p:cNvPicPr>
          <p:nvPr/>
        </p:nvPicPr>
        <p:blipFill>
          <a:blip r:embed="rId2">
            <a:extLst>
              <a:ext uri="{BEBA8EAE-BF5A-486C-A8C5-ECC9F3942E4B}">
                <a14:imgProps xmlns:a14="http://schemas.microsoft.com/office/drawing/2010/main">
                  <a14:imgLayer r:embed="rId3">
                    <a14:imgEffect>
                      <a14:backgroundRemoval t="10000" b="90000" l="10000" r="90000"/>
                    </a14:imgEffect>
                  </a14:imgLayer>
                </a14:imgProps>
              </a:ext>
            </a:extLst>
          </a:blip>
          <a:stretch>
            <a:fillRect/>
          </a:stretch>
        </p:blipFill>
        <p:spPr>
          <a:xfrm>
            <a:off x="4040690" y="3837762"/>
            <a:ext cx="3181350" cy="1914525"/>
          </a:xfrm>
          <a:prstGeom prst="rect">
            <a:avLst/>
          </a:prstGeom>
        </p:spPr>
      </p:pic>
      <p:pic>
        <p:nvPicPr>
          <p:cNvPr id="13" name="Picture 12" descr="A black square object with text&#10;&#10;AI-generated content may be incorrect.">
            <a:extLst>
              <a:ext uri="{FF2B5EF4-FFF2-40B4-BE49-F238E27FC236}">
                <a16:creationId xmlns:a16="http://schemas.microsoft.com/office/drawing/2014/main" id="{6DC47897-2811-9CD8-9588-7C080A8A88F5}"/>
              </a:ext>
            </a:extLst>
          </p:cNvPr>
          <p:cNvPicPr>
            <a:picLocks noChangeAspect="1"/>
          </p:cNvPicPr>
          <p:nvPr/>
        </p:nvPicPr>
        <p:blipFill>
          <a:blip r:embed="rId4">
            <a:extLst>
              <a:ext uri="{BEBA8EAE-BF5A-486C-A8C5-ECC9F3942E4B}">
                <a14:imgProps xmlns:a14="http://schemas.microsoft.com/office/drawing/2010/main">
                  <a14:imgLayer r:embed="rId5">
                    <a14:imgEffect>
                      <a14:backgroundRemoval t="10000" b="90000" l="10000" r="90000"/>
                    </a14:imgEffect>
                  </a14:imgLayer>
                </a14:imgProps>
              </a:ext>
            </a:extLst>
          </a:blip>
          <a:stretch>
            <a:fillRect/>
          </a:stretch>
        </p:blipFill>
        <p:spPr>
          <a:xfrm>
            <a:off x="4154992" y="1600084"/>
            <a:ext cx="2952750" cy="1762125"/>
          </a:xfrm>
          <a:prstGeom prst="rect">
            <a:avLst/>
          </a:prstGeom>
        </p:spPr>
      </p:pic>
    </p:spTree>
    <p:extLst>
      <p:ext uri="{BB962C8B-B14F-4D97-AF65-F5344CB8AC3E}">
        <p14:creationId xmlns:p14="http://schemas.microsoft.com/office/powerpoint/2010/main" val="599990803"/>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FDBA8FF-1E3F-17D5-84D9-C1870115F2AC}"/>
            </a:ext>
          </a:extLst>
        </p:cNvPr>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FC307266-E4A2-6886-DD15-EA7E586748B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80" imgH="481" progId="TCLayout.ActiveDocument.1">
                  <p:embed/>
                </p:oleObj>
              </mc:Choice>
              <mc:Fallback>
                <p:oleObj name="think-cell Folie" r:id="rId3" imgW="480" imgH="481" progId="TCLayout.ActiveDocument.1">
                  <p:embed/>
                  <p:pic>
                    <p:nvPicPr>
                      <p:cNvPr id="8" name="Object 7" hidden="1">
                        <a:extLst>
                          <a:ext uri="{FF2B5EF4-FFF2-40B4-BE49-F238E27FC236}">
                            <a16:creationId xmlns:a16="http://schemas.microsoft.com/office/drawing/2014/main" id="{FC307266-E4A2-6886-DD15-EA7E586748B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1" name="Grafik 1" descr="Ein Bild, das Luftfotografie, draußen, Himmel, Wasser enthält.&#10;&#10;Automatisch generierte Beschreibung">
            <a:extLst>
              <a:ext uri="{FF2B5EF4-FFF2-40B4-BE49-F238E27FC236}">
                <a16:creationId xmlns:a16="http://schemas.microsoft.com/office/drawing/2014/main" id="{2A8B6954-0DCB-C39D-B3CF-1BE03CAFBE61}"/>
              </a:ext>
            </a:extLst>
          </p:cNvPr>
          <p:cNvPicPr>
            <a:picLocks noGrp="1" noChangeAspect="1"/>
          </p:cNvPicPr>
          <p:nvPr>
            <p:ph type="pic" sz="quarter" idx="11"/>
          </p:nvPr>
        </p:nvPicPr>
        <p:blipFill rotWithShape="1">
          <a:blip r:embed="rId5" cstate="screen">
            <a:extLst>
              <a:ext uri="{28A0092B-C50C-407E-A947-70E740481C1C}">
                <a14:useLocalDpi xmlns:a14="http://schemas.microsoft.com/office/drawing/2010/main"/>
              </a:ext>
            </a:extLst>
          </a:blip>
          <a:srcRect t="14" b="14"/>
          <a:stretch/>
        </p:blipFill>
        <p:spPr/>
      </p:pic>
      <p:sp>
        <p:nvSpPr>
          <p:cNvPr id="3" name="Title 2">
            <a:extLst>
              <a:ext uri="{FF2B5EF4-FFF2-40B4-BE49-F238E27FC236}">
                <a16:creationId xmlns:a16="http://schemas.microsoft.com/office/drawing/2014/main" id="{0FC661EB-7EE5-A9F7-8B58-D1DD615B5985}"/>
              </a:ext>
            </a:extLst>
          </p:cNvPr>
          <p:cNvSpPr>
            <a:spLocks noGrp="1"/>
          </p:cNvSpPr>
          <p:nvPr>
            <p:ph type="ctrTitle"/>
          </p:nvPr>
        </p:nvSpPr>
        <p:spPr>
          <a:xfrm>
            <a:off x="1197425" y="1334075"/>
            <a:ext cx="9144000" cy="738664"/>
          </a:xfrm>
        </p:spPr>
        <p:txBody>
          <a:bodyPr vert="horz"/>
          <a:lstStyle/>
          <a:p>
            <a:r>
              <a:rPr lang="en-US"/>
              <a:t>Marketing updates</a:t>
            </a:r>
          </a:p>
        </p:txBody>
      </p:sp>
      <p:sp>
        <p:nvSpPr>
          <p:cNvPr id="15" name="Textplatzhalter 14">
            <a:extLst>
              <a:ext uri="{FF2B5EF4-FFF2-40B4-BE49-F238E27FC236}">
                <a16:creationId xmlns:a16="http://schemas.microsoft.com/office/drawing/2014/main" id="{2777E2CF-4D98-D069-982E-F76973354EDF}"/>
              </a:ext>
            </a:extLst>
          </p:cNvPr>
          <p:cNvSpPr>
            <a:spLocks noGrp="1"/>
          </p:cNvSpPr>
          <p:nvPr>
            <p:ph type="body" sz="quarter" idx="12"/>
          </p:nvPr>
        </p:nvSpPr>
        <p:spPr/>
        <p:txBody>
          <a:bodyPr/>
          <a:lstStyle/>
          <a:p>
            <a:endParaRPr lang="en-US"/>
          </a:p>
        </p:txBody>
      </p:sp>
      <p:sp>
        <p:nvSpPr>
          <p:cNvPr id="16" name="Textplatzhalter 15">
            <a:extLst>
              <a:ext uri="{FF2B5EF4-FFF2-40B4-BE49-F238E27FC236}">
                <a16:creationId xmlns:a16="http://schemas.microsoft.com/office/drawing/2014/main" id="{FCA75182-996C-6AC4-BA1F-8BBA59EB1C92}"/>
              </a:ext>
            </a:extLst>
          </p:cNvPr>
          <p:cNvSpPr>
            <a:spLocks noGrp="1"/>
          </p:cNvSpPr>
          <p:nvPr>
            <p:ph type="body" sz="quarter" idx="13"/>
          </p:nvPr>
        </p:nvSpPr>
        <p:spPr/>
        <p:txBody>
          <a:bodyPr/>
          <a:lstStyle/>
          <a:p>
            <a:endParaRPr lang="en-US"/>
          </a:p>
        </p:txBody>
      </p:sp>
    </p:spTree>
    <p:extLst>
      <p:ext uri="{BB962C8B-B14F-4D97-AF65-F5344CB8AC3E}">
        <p14:creationId xmlns:p14="http://schemas.microsoft.com/office/powerpoint/2010/main" val="2102179786"/>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CB987C38-E7E1-3571-4337-4DDCC3AEFC89}"/>
              </a:ext>
            </a:extLst>
          </p:cNvPr>
          <p:cNvSpPr>
            <a:spLocks noGrp="1"/>
          </p:cNvSpPr>
          <p:nvPr>
            <p:ph type="title"/>
          </p:nvPr>
        </p:nvSpPr>
        <p:spPr>
          <a:xfrm>
            <a:off x="515937" y="327567"/>
            <a:ext cx="11160125" cy="430887"/>
          </a:xfrm>
        </p:spPr>
        <p:txBody>
          <a:bodyPr/>
          <a:lstStyle/>
          <a:p>
            <a:r>
              <a:rPr lang="en-US">
                <a:cs typeface="Segoe UI"/>
              </a:rPr>
              <a:t>One-pager overview</a:t>
            </a:r>
            <a:endParaRPr lang="en-US"/>
          </a:p>
        </p:txBody>
      </p:sp>
      <p:sp>
        <p:nvSpPr>
          <p:cNvPr id="5" name="Footer Placeholder 4">
            <a:extLst>
              <a:ext uri="{FF2B5EF4-FFF2-40B4-BE49-F238E27FC236}">
                <a16:creationId xmlns:a16="http://schemas.microsoft.com/office/drawing/2014/main" id="{4355D12A-F971-99D9-63CC-1751F6E22E3F}"/>
              </a:ext>
            </a:extLst>
          </p:cNvPr>
          <p:cNvSpPr>
            <a:spLocks noGrp="1"/>
          </p:cNvSpPr>
          <p:nvPr>
            <p:ph type="ftr" sz="quarter" idx="16"/>
          </p:nvPr>
        </p:nvSpPr>
        <p:spPr/>
        <p:txBody>
          <a:bodyPr/>
          <a:lstStyle/>
          <a:p>
            <a:r>
              <a:rPr lang="de-DE"/>
              <a:t>© Copyright Sensirion, Switzerland</a:t>
            </a:r>
          </a:p>
        </p:txBody>
      </p:sp>
      <p:sp>
        <p:nvSpPr>
          <p:cNvPr id="6" name="Slide Number Placeholder 5">
            <a:extLst>
              <a:ext uri="{FF2B5EF4-FFF2-40B4-BE49-F238E27FC236}">
                <a16:creationId xmlns:a16="http://schemas.microsoft.com/office/drawing/2014/main" id="{26F311B1-0286-BA5A-BD30-973393174C0F}"/>
              </a:ext>
            </a:extLst>
          </p:cNvPr>
          <p:cNvSpPr>
            <a:spLocks noGrp="1"/>
          </p:cNvSpPr>
          <p:nvPr>
            <p:ph type="sldNum" sz="quarter" idx="17"/>
          </p:nvPr>
        </p:nvSpPr>
        <p:spPr/>
        <p:txBody>
          <a:bodyPr/>
          <a:lstStyle/>
          <a:p>
            <a:fld id="{B1E691A1-F3A6-4574-B226-B412272B38A6}" type="slidenum">
              <a:rPr lang="de-DE" smtClean="0"/>
              <a:pPr/>
              <a:t>36</a:t>
            </a:fld>
            <a:endParaRPr lang="de-DE"/>
          </a:p>
        </p:txBody>
      </p:sp>
      <p:sp>
        <p:nvSpPr>
          <p:cNvPr id="8" name="TextBox 7">
            <a:extLst>
              <a:ext uri="{FF2B5EF4-FFF2-40B4-BE49-F238E27FC236}">
                <a16:creationId xmlns:a16="http://schemas.microsoft.com/office/drawing/2014/main" id="{523DFA26-008D-4CCC-8DF9-2E2A9F936AA5}"/>
              </a:ext>
            </a:extLst>
          </p:cNvPr>
          <p:cNvSpPr txBox="1"/>
          <p:nvPr/>
        </p:nvSpPr>
        <p:spPr>
          <a:xfrm>
            <a:off x="3572093" y="3330700"/>
            <a:ext cx="1420418" cy="253128"/>
          </a:xfrm>
          <a:prstGeom prst="rect">
            <a:avLst/>
          </a:prstGeom>
          <a:noFill/>
          <a:ln>
            <a:noFill/>
          </a:ln>
        </p:spPr>
        <p:txBody>
          <a:bodyPr wrap="square" lIns="72000" tIns="72000" rIns="72000" bIns="72000" rtlCol="0">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buClr>
                <a:schemeClr val="accent1"/>
              </a:buClr>
            </a:pPr>
            <a:r>
              <a:rPr lang="de-CH" sz="700">
                <a:hlinkClick r:id="rId2"/>
              </a:rPr>
              <a:t>Building </a:t>
            </a:r>
            <a:r>
              <a:rPr lang="de-CH" sz="700" err="1">
                <a:hlinkClick r:id="rId2"/>
              </a:rPr>
              <a:t>automation</a:t>
            </a:r>
            <a:r>
              <a:rPr lang="de-CH" sz="700">
                <a:hlinkClick r:id="rId2"/>
              </a:rPr>
              <a:t> SEN6x</a:t>
            </a:r>
            <a:endParaRPr lang="de-CH" sz="700"/>
          </a:p>
        </p:txBody>
      </p:sp>
      <p:sp>
        <p:nvSpPr>
          <p:cNvPr id="9" name="TextBox 8">
            <a:extLst>
              <a:ext uri="{FF2B5EF4-FFF2-40B4-BE49-F238E27FC236}">
                <a16:creationId xmlns:a16="http://schemas.microsoft.com/office/drawing/2014/main" id="{4FC032EB-85D7-5922-E7A3-69162DD01C35}"/>
              </a:ext>
            </a:extLst>
          </p:cNvPr>
          <p:cNvSpPr txBox="1"/>
          <p:nvPr/>
        </p:nvSpPr>
        <p:spPr>
          <a:xfrm>
            <a:off x="1865467" y="3339993"/>
            <a:ext cx="1903638" cy="253128"/>
          </a:xfrm>
          <a:prstGeom prst="rect">
            <a:avLst/>
          </a:prstGeom>
          <a:noFill/>
          <a:ln>
            <a:noFill/>
          </a:ln>
        </p:spPr>
        <p:txBody>
          <a:bodyPr wrap="square" lIns="72000" tIns="72000" rIns="72000" bIns="72000" rtlCol="0">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buClr>
                <a:schemeClr val="accent1"/>
              </a:buClr>
            </a:pPr>
            <a:r>
              <a:rPr lang="de-CH" sz="700">
                <a:hlinkClick r:id="rId3"/>
              </a:rPr>
              <a:t>Demand </a:t>
            </a:r>
            <a:r>
              <a:rPr lang="de-CH" sz="700" err="1">
                <a:hlinkClick r:id="rId3"/>
              </a:rPr>
              <a:t>controlled</a:t>
            </a:r>
            <a:r>
              <a:rPr lang="de-CH" sz="700">
                <a:hlinkClick r:id="rId3"/>
              </a:rPr>
              <a:t> </a:t>
            </a:r>
            <a:r>
              <a:rPr lang="de-CH" sz="700" err="1">
                <a:hlinkClick r:id="rId3"/>
              </a:rPr>
              <a:t>ventilation</a:t>
            </a:r>
            <a:r>
              <a:rPr lang="de-CH" sz="700">
                <a:hlinkClick r:id="rId3"/>
              </a:rPr>
              <a:t> (DCV)</a:t>
            </a:r>
            <a:endParaRPr lang="de-CH" sz="700"/>
          </a:p>
        </p:txBody>
      </p:sp>
      <p:sp>
        <p:nvSpPr>
          <p:cNvPr id="10" name="TextBox 10">
            <a:extLst>
              <a:ext uri="{FF2B5EF4-FFF2-40B4-BE49-F238E27FC236}">
                <a16:creationId xmlns:a16="http://schemas.microsoft.com/office/drawing/2014/main" id="{4D8750B1-4E46-3C42-7B44-261084C58F9C}"/>
              </a:ext>
            </a:extLst>
          </p:cNvPr>
          <p:cNvSpPr txBox="1"/>
          <p:nvPr/>
        </p:nvSpPr>
        <p:spPr>
          <a:xfrm>
            <a:off x="40165" y="3317599"/>
            <a:ext cx="1728440" cy="307777"/>
          </a:xfrm>
          <a:prstGeom prst="rect">
            <a:avLst/>
          </a:prstGeom>
          <a:noFill/>
          <a:ln>
            <a:noFill/>
          </a:ln>
        </p:spPr>
        <p:txBody>
          <a:bodyPr wrap="square">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de-CH" sz="700">
                <a:hlinkClick r:id="rId4"/>
              </a:rPr>
              <a:t>Commercial </a:t>
            </a:r>
            <a:r>
              <a:rPr lang="de-CH" sz="700" err="1">
                <a:hlinkClick r:id="rId4"/>
              </a:rPr>
              <a:t>ventilation</a:t>
            </a:r>
            <a:r>
              <a:rPr lang="de-CH" sz="700">
                <a:hlinkClick r:id="rId4"/>
              </a:rPr>
              <a:t> </a:t>
            </a:r>
            <a:r>
              <a:rPr lang="de-CH" sz="700" err="1">
                <a:hlinkClick r:id="rId4"/>
              </a:rPr>
              <a:t>with</a:t>
            </a:r>
            <a:r>
              <a:rPr lang="de-CH" sz="700">
                <a:hlinkClick r:id="rId4"/>
              </a:rPr>
              <a:t> variable </a:t>
            </a:r>
          </a:p>
          <a:p>
            <a:r>
              <a:rPr lang="de-CH" sz="700" err="1">
                <a:hlinkClick r:id="rId4"/>
              </a:rPr>
              <a:t>air</a:t>
            </a:r>
            <a:r>
              <a:rPr lang="de-CH" sz="700">
                <a:hlinkClick r:id="rId4"/>
              </a:rPr>
              <a:t> </a:t>
            </a:r>
            <a:r>
              <a:rPr lang="de-CH" sz="700" err="1">
                <a:hlinkClick r:id="rId4"/>
              </a:rPr>
              <a:t>volume</a:t>
            </a:r>
            <a:r>
              <a:rPr lang="de-CH" sz="700">
                <a:hlinkClick r:id="rId4"/>
              </a:rPr>
              <a:t> </a:t>
            </a:r>
            <a:r>
              <a:rPr lang="de-CH" sz="700" err="1">
                <a:hlinkClick r:id="rId4"/>
              </a:rPr>
              <a:t>controller</a:t>
            </a:r>
            <a:r>
              <a:rPr lang="de-CH" sz="700">
                <a:hlinkClick r:id="rId4"/>
              </a:rPr>
              <a:t> (VAV)</a:t>
            </a:r>
            <a:endParaRPr lang="de-CH" sz="700"/>
          </a:p>
        </p:txBody>
      </p:sp>
      <p:pic>
        <p:nvPicPr>
          <p:cNvPr id="11" name="Picture 10">
            <a:hlinkClick r:id="rId4"/>
            <a:extLst>
              <a:ext uri="{FF2B5EF4-FFF2-40B4-BE49-F238E27FC236}">
                <a16:creationId xmlns:a16="http://schemas.microsoft.com/office/drawing/2014/main" id="{D3CF373E-0707-069E-A807-88631B21E12B}"/>
              </a:ext>
            </a:extLst>
          </p:cNvPr>
          <p:cNvPicPr>
            <a:picLocks noChangeAspect="1"/>
          </p:cNvPicPr>
          <p:nvPr/>
        </p:nvPicPr>
        <p:blipFill>
          <a:blip r:embed="rId5"/>
          <a:stretch>
            <a:fillRect/>
          </a:stretch>
        </p:blipFill>
        <p:spPr>
          <a:xfrm>
            <a:off x="159345" y="866895"/>
            <a:ext cx="1610883" cy="2447916"/>
          </a:xfrm>
          <a:prstGeom prst="rect">
            <a:avLst/>
          </a:prstGeom>
        </p:spPr>
      </p:pic>
      <p:pic>
        <p:nvPicPr>
          <p:cNvPr id="12" name="Picture 11">
            <a:hlinkClick r:id="rId2"/>
            <a:extLst>
              <a:ext uri="{FF2B5EF4-FFF2-40B4-BE49-F238E27FC236}">
                <a16:creationId xmlns:a16="http://schemas.microsoft.com/office/drawing/2014/main" id="{7C7AD1E4-6F94-24B9-46D8-D696394C6D84}"/>
              </a:ext>
            </a:extLst>
          </p:cNvPr>
          <p:cNvPicPr>
            <a:picLocks noChangeAspect="1"/>
          </p:cNvPicPr>
          <p:nvPr/>
        </p:nvPicPr>
        <p:blipFill>
          <a:blip r:embed="rId6"/>
          <a:stretch>
            <a:fillRect/>
          </a:stretch>
        </p:blipFill>
        <p:spPr>
          <a:xfrm>
            <a:off x="3572093" y="899439"/>
            <a:ext cx="1600069" cy="2452543"/>
          </a:xfrm>
          <a:prstGeom prst="rect">
            <a:avLst/>
          </a:prstGeom>
        </p:spPr>
      </p:pic>
      <p:pic>
        <p:nvPicPr>
          <p:cNvPr id="13" name="Picture 12">
            <a:hlinkClick r:id="rId3"/>
            <a:extLst>
              <a:ext uri="{FF2B5EF4-FFF2-40B4-BE49-F238E27FC236}">
                <a16:creationId xmlns:a16="http://schemas.microsoft.com/office/drawing/2014/main" id="{659FFBA1-3321-7D92-A1B5-AA2C01C23C26}"/>
              </a:ext>
            </a:extLst>
          </p:cNvPr>
          <p:cNvPicPr>
            <a:picLocks noChangeAspect="1"/>
          </p:cNvPicPr>
          <p:nvPr/>
        </p:nvPicPr>
        <p:blipFill>
          <a:blip r:embed="rId7"/>
          <a:stretch>
            <a:fillRect/>
          </a:stretch>
        </p:blipFill>
        <p:spPr>
          <a:xfrm>
            <a:off x="1865467" y="883166"/>
            <a:ext cx="1611788" cy="2456826"/>
          </a:xfrm>
          <a:prstGeom prst="rect">
            <a:avLst/>
          </a:prstGeom>
        </p:spPr>
      </p:pic>
      <p:sp>
        <p:nvSpPr>
          <p:cNvPr id="14" name="TextBox 5">
            <a:extLst>
              <a:ext uri="{FF2B5EF4-FFF2-40B4-BE49-F238E27FC236}">
                <a16:creationId xmlns:a16="http://schemas.microsoft.com/office/drawing/2014/main" id="{449758E2-3D89-C3ED-3EFF-4F61C028FF45}"/>
              </a:ext>
            </a:extLst>
          </p:cNvPr>
          <p:cNvSpPr txBox="1"/>
          <p:nvPr/>
        </p:nvSpPr>
        <p:spPr>
          <a:xfrm>
            <a:off x="6902577" y="3346389"/>
            <a:ext cx="1606271" cy="360850"/>
          </a:xfrm>
          <a:prstGeom prst="rect">
            <a:avLst/>
          </a:prstGeom>
          <a:noFill/>
          <a:ln>
            <a:noFill/>
          </a:ln>
        </p:spPr>
        <p:txBody>
          <a:bodyPr wrap="square" lIns="72000" tIns="72000" rIns="72000" bIns="72000" rtlCol="0">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buClr>
                <a:schemeClr val="accent1"/>
              </a:buClr>
            </a:pPr>
            <a:r>
              <a:rPr lang="de-CH" sz="700">
                <a:hlinkClick r:id="rId8"/>
              </a:rPr>
              <a:t>A2L </a:t>
            </a:r>
            <a:r>
              <a:rPr lang="de-CH" sz="700" err="1">
                <a:hlinkClick r:id="rId8"/>
              </a:rPr>
              <a:t>refrigerant</a:t>
            </a:r>
            <a:r>
              <a:rPr lang="de-CH" sz="700">
                <a:hlinkClick r:id="rId8"/>
              </a:rPr>
              <a:t> leak </a:t>
            </a:r>
            <a:r>
              <a:rPr lang="de-CH" sz="700" err="1">
                <a:hlinkClick r:id="rId8"/>
              </a:rPr>
              <a:t>detection</a:t>
            </a:r>
            <a:r>
              <a:rPr lang="de-CH" sz="700">
                <a:hlinkClick r:id="rId8"/>
              </a:rPr>
              <a:t> </a:t>
            </a:r>
            <a:r>
              <a:rPr lang="de-CH" sz="700" err="1">
                <a:hlinkClick r:id="rId8"/>
              </a:rPr>
              <a:t>for</a:t>
            </a:r>
            <a:r>
              <a:rPr lang="de-CH" sz="700">
                <a:hlinkClick r:id="rId8"/>
              </a:rPr>
              <a:t> </a:t>
            </a:r>
          </a:p>
          <a:p>
            <a:pPr algn="l">
              <a:buClr>
                <a:schemeClr val="accent1"/>
              </a:buClr>
            </a:pPr>
            <a:r>
              <a:rPr lang="de-CH" sz="700">
                <a:hlinkClick r:id="rId8"/>
              </a:rPr>
              <a:t>HVAC</a:t>
            </a:r>
            <a:endParaRPr lang="de-CH" sz="700"/>
          </a:p>
        </p:txBody>
      </p:sp>
      <p:sp>
        <p:nvSpPr>
          <p:cNvPr id="15" name="TextBox 6">
            <a:extLst>
              <a:ext uri="{FF2B5EF4-FFF2-40B4-BE49-F238E27FC236}">
                <a16:creationId xmlns:a16="http://schemas.microsoft.com/office/drawing/2014/main" id="{22748110-190E-56C5-7477-7758B2EC0ECE}"/>
              </a:ext>
            </a:extLst>
          </p:cNvPr>
          <p:cNvSpPr txBox="1"/>
          <p:nvPr/>
        </p:nvSpPr>
        <p:spPr>
          <a:xfrm>
            <a:off x="5171570" y="3318511"/>
            <a:ext cx="1736369" cy="360850"/>
          </a:xfrm>
          <a:prstGeom prst="rect">
            <a:avLst/>
          </a:prstGeom>
          <a:noFill/>
          <a:ln>
            <a:noFill/>
          </a:ln>
        </p:spPr>
        <p:txBody>
          <a:bodyPr wrap="square" lIns="72000" tIns="72000" rIns="72000" bIns="72000" rtlCol="0">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buClr>
                <a:schemeClr val="accent1"/>
              </a:buClr>
            </a:pPr>
            <a:r>
              <a:rPr lang="de-CH" sz="700">
                <a:hlinkClick r:id="rId9"/>
              </a:rPr>
              <a:t>A2L </a:t>
            </a:r>
            <a:r>
              <a:rPr lang="de-CH" sz="700" err="1">
                <a:hlinkClick r:id="rId9"/>
              </a:rPr>
              <a:t>refrigerant</a:t>
            </a:r>
            <a:r>
              <a:rPr lang="de-CH" sz="700">
                <a:hlinkClick r:id="rId9"/>
              </a:rPr>
              <a:t> leak </a:t>
            </a:r>
            <a:r>
              <a:rPr lang="de-CH" sz="700" err="1">
                <a:hlinkClick r:id="rId9"/>
              </a:rPr>
              <a:t>detection</a:t>
            </a:r>
            <a:r>
              <a:rPr lang="de-CH" sz="700">
                <a:hlinkClick r:id="rId9"/>
              </a:rPr>
              <a:t> </a:t>
            </a:r>
            <a:r>
              <a:rPr lang="de-CH" sz="700" err="1">
                <a:hlinkClick r:id="rId9"/>
              </a:rPr>
              <a:t>for</a:t>
            </a:r>
            <a:r>
              <a:rPr lang="de-CH" sz="700">
                <a:hlinkClick r:id="rId9"/>
              </a:rPr>
              <a:t> </a:t>
            </a:r>
            <a:r>
              <a:rPr lang="de-CH" sz="700" err="1">
                <a:hlinkClick r:id="rId9"/>
              </a:rPr>
              <a:t>refrigeration</a:t>
            </a:r>
            <a:endParaRPr lang="de-CH" sz="700"/>
          </a:p>
        </p:txBody>
      </p:sp>
      <p:pic>
        <p:nvPicPr>
          <p:cNvPr id="16" name="Picture 15">
            <a:hlinkClick r:id="rId9"/>
            <a:extLst>
              <a:ext uri="{FF2B5EF4-FFF2-40B4-BE49-F238E27FC236}">
                <a16:creationId xmlns:a16="http://schemas.microsoft.com/office/drawing/2014/main" id="{2658F00B-73F8-B3B0-82C8-409216343D2B}"/>
              </a:ext>
            </a:extLst>
          </p:cNvPr>
          <p:cNvPicPr>
            <a:picLocks noChangeAspect="1"/>
          </p:cNvPicPr>
          <p:nvPr/>
        </p:nvPicPr>
        <p:blipFill>
          <a:blip r:embed="rId10"/>
          <a:stretch>
            <a:fillRect/>
          </a:stretch>
        </p:blipFill>
        <p:spPr>
          <a:xfrm>
            <a:off x="5236619" y="890726"/>
            <a:ext cx="1610417" cy="2455663"/>
          </a:xfrm>
          <a:prstGeom prst="rect">
            <a:avLst/>
          </a:prstGeom>
        </p:spPr>
      </p:pic>
      <p:pic>
        <p:nvPicPr>
          <p:cNvPr id="17" name="Picture 16">
            <a:hlinkClick r:id="rId8"/>
            <a:extLst>
              <a:ext uri="{FF2B5EF4-FFF2-40B4-BE49-F238E27FC236}">
                <a16:creationId xmlns:a16="http://schemas.microsoft.com/office/drawing/2014/main" id="{E333251C-FD7A-0686-FB2B-DD92E69D45C6}"/>
              </a:ext>
            </a:extLst>
          </p:cNvPr>
          <p:cNvPicPr>
            <a:picLocks noChangeAspect="1"/>
          </p:cNvPicPr>
          <p:nvPr/>
        </p:nvPicPr>
        <p:blipFill>
          <a:blip r:embed="rId11"/>
          <a:stretch>
            <a:fillRect/>
          </a:stretch>
        </p:blipFill>
        <p:spPr>
          <a:xfrm>
            <a:off x="6939748" y="890727"/>
            <a:ext cx="1610417" cy="2455663"/>
          </a:xfrm>
          <a:prstGeom prst="rect">
            <a:avLst/>
          </a:prstGeom>
        </p:spPr>
      </p:pic>
      <p:sp>
        <p:nvSpPr>
          <p:cNvPr id="18" name="TextBox 5">
            <a:extLst>
              <a:ext uri="{FF2B5EF4-FFF2-40B4-BE49-F238E27FC236}">
                <a16:creationId xmlns:a16="http://schemas.microsoft.com/office/drawing/2014/main" id="{ED1D0C31-A360-AFC4-FE80-53D376393586}"/>
              </a:ext>
            </a:extLst>
          </p:cNvPr>
          <p:cNvSpPr txBox="1"/>
          <p:nvPr/>
        </p:nvSpPr>
        <p:spPr>
          <a:xfrm>
            <a:off x="10331576" y="3327803"/>
            <a:ext cx="1820003" cy="253128"/>
          </a:xfrm>
          <a:prstGeom prst="rect">
            <a:avLst/>
          </a:prstGeom>
          <a:noFill/>
          <a:ln>
            <a:noFill/>
          </a:ln>
        </p:spPr>
        <p:txBody>
          <a:bodyPr wrap="square" lIns="72000" tIns="72000" rIns="72000" bIns="72000" rtlCol="0">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buClr>
                <a:schemeClr val="accent1"/>
              </a:buClr>
            </a:pPr>
            <a:r>
              <a:rPr lang="de-CH" sz="700" err="1">
                <a:hlinkClick r:id="rId12"/>
              </a:rPr>
              <a:t>Condition</a:t>
            </a:r>
            <a:r>
              <a:rPr lang="de-CH" sz="700">
                <a:hlinkClick r:id="rId12"/>
              </a:rPr>
              <a:t> </a:t>
            </a:r>
            <a:r>
              <a:rPr lang="de-CH" sz="700" err="1">
                <a:hlinkClick r:id="rId12"/>
              </a:rPr>
              <a:t>monitoring</a:t>
            </a:r>
            <a:r>
              <a:rPr lang="de-CH" sz="700">
                <a:hlinkClick r:id="rId12"/>
              </a:rPr>
              <a:t> </a:t>
            </a:r>
            <a:r>
              <a:rPr lang="de-CH" sz="700" err="1">
                <a:hlinkClick r:id="rId12"/>
              </a:rPr>
              <a:t>for</a:t>
            </a:r>
            <a:r>
              <a:rPr lang="de-CH" sz="700">
                <a:hlinkClick r:id="rId12"/>
              </a:rPr>
              <a:t> EV-Charger</a:t>
            </a:r>
            <a:endParaRPr lang="de-CH" sz="700"/>
          </a:p>
        </p:txBody>
      </p:sp>
      <p:sp>
        <p:nvSpPr>
          <p:cNvPr id="19" name="TextBox 6">
            <a:extLst>
              <a:ext uri="{FF2B5EF4-FFF2-40B4-BE49-F238E27FC236}">
                <a16:creationId xmlns:a16="http://schemas.microsoft.com/office/drawing/2014/main" id="{CE384A52-ADC0-DDE2-5495-B11C2B104E25}"/>
              </a:ext>
            </a:extLst>
          </p:cNvPr>
          <p:cNvSpPr txBox="1"/>
          <p:nvPr/>
        </p:nvSpPr>
        <p:spPr>
          <a:xfrm>
            <a:off x="8637742" y="3337096"/>
            <a:ext cx="2902099" cy="253128"/>
          </a:xfrm>
          <a:prstGeom prst="rect">
            <a:avLst/>
          </a:prstGeom>
          <a:noFill/>
          <a:ln>
            <a:noFill/>
          </a:ln>
        </p:spPr>
        <p:txBody>
          <a:bodyPr wrap="square" lIns="72000" tIns="72000" rIns="72000" bIns="72000" rtlCol="0">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buClr>
                <a:schemeClr val="accent1"/>
              </a:buClr>
            </a:pPr>
            <a:r>
              <a:rPr lang="de-CH" sz="700">
                <a:hlinkClick r:id="rId13"/>
              </a:rPr>
              <a:t>LiDAR </a:t>
            </a:r>
            <a:r>
              <a:rPr lang="de-CH" sz="700" err="1">
                <a:hlinkClick r:id="rId13"/>
              </a:rPr>
              <a:t>systems</a:t>
            </a:r>
            <a:endParaRPr lang="de-CH" sz="700"/>
          </a:p>
        </p:txBody>
      </p:sp>
      <p:pic>
        <p:nvPicPr>
          <p:cNvPr id="20" name="Picture 19">
            <a:hlinkClick r:id="rId13"/>
            <a:extLst>
              <a:ext uri="{FF2B5EF4-FFF2-40B4-BE49-F238E27FC236}">
                <a16:creationId xmlns:a16="http://schemas.microsoft.com/office/drawing/2014/main" id="{AA2E15CC-2EFB-7B7E-44CF-0F37943EBC48}"/>
              </a:ext>
            </a:extLst>
          </p:cNvPr>
          <p:cNvPicPr>
            <a:picLocks noChangeAspect="1"/>
          </p:cNvPicPr>
          <p:nvPr/>
        </p:nvPicPr>
        <p:blipFill>
          <a:blip r:embed="rId14"/>
          <a:stretch>
            <a:fillRect/>
          </a:stretch>
        </p:blipFill>
        <p:spPr>
          <a:xfrm>
            <a:off x="8637742" y="885455"/>
            <a:ext cx="1610416" cy="2451641"/>
          </a:xfrm>
          <a:prstGeom prst="rect">
            <a:avLst/>
          </a:prstGeom>
        </p:spPr>
      </p:pic>
      <p:pic>
        <p:nvPicPr>
          <p:cNvPr id="21" name="Picture 20">
            <a:hlinkClick r:id="rId12"/>
            <a:extLst>
              <a:ext uri="{FF2B5EF4-FFF2-40B4-BE49-F238E27FC236}">
                <a16:creationId xmlns:a16="http://schemas.microsoft.com/office/drawing/2014/main" id="{7F33F36E-961E-640E-564B-476D52DF08D9}"/>
              </a:ext>
            </a:extLst>
          </p:cNvPr>
          <p:cNvPicPr>
            <a:picLocks noChangeAspect="1"/>
          </p:cNvPicPr>
          <p:nvPr/>
        </p:nvPicPr>
        <p:blipFill>
          <a:blip r:embed="rId15"/>
          <a:stretch>
            <a:fillRect/>
          </a:stretch>
        </p:blipFill>
        <p:spPr>
          <a:xfrm>
            <a:off x="10331576" y="885455"/>
            <a:ext cx="1612269" cy="2451641"/>
          </a:xfrm>
          <a:prstGeom prst="rect">
            <a:avLst/>
          </a:prstGeom>
        </p:spPr>
      </p:pic>
      <p:pic>
        <p:nvPicPr>
          <p:cNvPr id="22" name="Picture 21">
            <a:hlinkClick r:id="rId16"/>
            <a:extLst>
              <a:ext uri="{FF2B5EF4-FFF2-40B4-BE49-F238E27FC236}">
                <a16:creationId xmlns:a16="http://schemas.microsoft.com/office/drawing/2014/main" id="{669BFEEA-5972-8349-E3DB-83C0CC8C53F1}"/>
              </a:ext>
            </a:extLst>
          </p:cNvPr>
          <p:cNvPicPr>
            <a:picLocks noChangeAspect="1"/>
          </p:cNvPicPr>
          <p:nvPr/>
        </p:nvPicPr>
        <p:blipFill>
          <a:blip r:embed="rId17"/>
          <a:stretch>
            <a:fillRect/>
          </a:stretch>
        </p:blipFill>
        <p:spPr>
          <a:xfrm>
            <a:off x="158655" y="3710430"/>
            <a:ext cx="1609344" cy="2470226"/>
          </a:xfrm>
          <a:prstGeom prst="rect">
            <a:avLst/>
          </a:prstGeom>
        </p:spPr>
      </p:pic>
      <p:sp>
        <p:nvSpPr>
          <p:cNvPr id="23" name="TextBox 14">
            <a:extLst>
              <a:ext uri="{FF2B5EF4-FFF2-40B4-BE49-F238E27FC236}">
                <a16:creationId xmlns:a16="http://schemas.microsoft.com/office/drawing/2014/main" id="{80AC0DA4-F35E-160E-113D-4D4D73723E0B}"/>
              </a:ext>
            </a:extLst>
          </p:cNvPr>
          <p:cNvSpPr txBox="1"/>
          <p:nvPr/>
        </p:nvSpPr>
        <p:spPr>
          <a:xfrm>
            <a:off x="158655" y="6134194"/>
            <a:ext cx="3576320" cy="253128"/>
          </a:xfrm>
          <a:prstGeom prst="rect">
            <a:avLst/>
          </a:prstGeom>
          <a:noFill/>
          <a:ln>
            <a:noFill/>
          </a:ln>
        </p:spPr>
        <p:txBody>
          <a:bodyPr wrap="square" lIns="72000" tIns="72000" rIns="72000" bIns="72000" rtlCol="0">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buClr>
                <a:schemeClr val="accent1"/>
              </a:buClr>
            </a:pPr>
            <a:r>
              <a:rPr lang="de-CH" sz="700">
                <a:hlinkClick r:id="rId16"/>
              </a:rPr>
              <a:t>Thermal </a:t>
            </a:r>
            <a:r>
              <a:rPr lang="de-CH" sz="700" err="1">
                <a:hlinkClick r:id="rId16"/>
              </a:rPr>
              <a:t>runaway</a:t>
            </a:r>
            <a:r>
              <a:rPr lang="de-CH" sz="700">
                <a:hlinkClick r:id="rId16"/>
              </a:rPr>
              <a:t> </a:t>
            </a:r>
            <a:r>
              <a:rPr lang="de-CH" sz="700" err="1">
                <a:hlinkClick r:id="rId16"/>
              </a:rPr>
              <a:t>detection</a:t>
            </a:r>
            <a:endParaRPr lang="de-CH" sz="700"/>
          </a:p>
        </p:txBody>
      </p:sp>
      <p:sp>
        <p:nvSpPr>
          <p:cNvPr id="24" name="TextBox 5">
            <a:extLst>
              <a:ext uri="{FF2B5EF4-FFF2-40B4-BE49-F238E27FC236}">
                <a16:creationId xmlns:a16="http://schemas.microsoft.com/office/drawing/2014/main" id="{048807D4-627F-CE0B-B162-B24EC2F9722A}"/>
              </a:ext>
            </a:extLst>
          </p:cNvPr>
          <p:cNvSpPr txBox="1"/>
          <p:nvPr/>
        </p:nvSpPr>
        <p:spPr>
          <a:xfrm>
            <a:off x="3566503" y="6134194"/>
            <a:ext cx="3576320" cy="253128"/>
          </a:xfrm>
          <a:prstGeom prst="rect">
            <a:avLst/>
          </a:prstGeom>
          <a:noFill/>
          <a:ln>
            <a:noFill/>
          </a:ln>
        </p:spPr>
        <p:txBody>
          <a:bodyPr wrap="square" lIns="72000" tIns="72000" rIns="72000" bIns="72000" rtlCol="0">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buClr>
                <a:schemeClr val="accent1"/>
              </a:buClr>
            </a:pPr>
            <a:r>
              <a:rPr lang="de-CH" sz="700" err="1">
                <a:hlinkClick r:id="rId18"/>
              </a:rPr>
              <a:t>Mechanical</a:t>
            </a:r>
            <a:r>
              <a:rPr lang="de-CH" sz="700">
                <a:hlinkClick r:id="rId18"/>
              </a:rPr>
              <a:t> </a:t>
            </a:r>
            <a:r>
              <a:rPr lang="de-CH" sz="700" err="1">
                <a:hlinkClick r:id="rId18"/>
              </a:rPr>
              <a:t>ventilation</a:t>
            </a:r>
            <a:endParaRPr lang="de-CH" sz="700"/>
          </a:p>
        </p:txBody>
      </p:sp>
      <p:sp>
        <p:nvSpPr>
          <p:cNvPr id="25" name="TextBox 6">
            <a:extLst>
              <a:ext uri="{FF2B5EF4-FFF2-40B4-BE49-F238E27FC236}">
                <a16:creationId xmlns:a16="http://schemas.microsoft.com/office/drawing/2014/main" id="{22F12DE3-CE44-C77F-F54A-0A8B32EB4BD4}"/>
              </a:ext>
            </a:extLst>
          </p:cNvPr>
          <p:cNvSpPr txBox="1"/>
          <p:nvPr/>
        </p:nvSpPr>
        <p:spPr>
          <a:xfrm>
            <a:off x="1863376" y="6134194"/>
            <a:ext cx="3576320" cy="253128"/>
          </a:xfrm>
          <a:prstGeom prst="rect">
            <a:avLst/>
          </a:prstGeom>
          <a:noFill/>
          <a:ln>
            <a:noFill/>
          </a:ln>
        </p:spPr>
        <p:txBody>
          <a:bodyPr wrap="square" lIns="72000" tIns="72000" rIns="72000" bIns="72000" rtlCol="0">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buClr>
                <a:schemeClr val="accent1"/>
              </a:buClr>
            </a:pPr>
            <a:r>
              <a:rPr lang="de-CH" sz="700" err="1">
                <a:hlinkClick r:id="rId19"/>
              </a:rPr>
              <a:t>Anesthesia</a:t>
            </a:r>
            <a:r>
              <a:rPr lang="de-CH" sz="700">
                <a:hlinkClick r:id="rId19"/>
              </a:rPr>
              <a:t> </a:t>
            </a:r>
            <a:r>
              <a:rPr lang="de-CH" sz="700" err="1">
                <a:hlinkClick r:id="rId19"/>
              </a:rPr>
              <a:t>machines</a:t>
            </a:r>
            <a:endParaRPr lang="de-CH" sz="700"/>
          </a:p>
        </p:txBody>
      </p:sp>
      <p:sp>
        <p:nvSpPr>
          <p:cNvPr id="26" name="TextBox 14">
            <a:extLst>
              <a:ext uri="{FF2B5EF4-FFF2-40B4-BE49-F238E27FC236}">
                <a16:creationId xmlns:a16="http://schemas.microsoft.com/office/drawing/2014/main" id="{3A6837DE-2BDA-AD61-7F23-A5091312168C}"/>
              </a:ext>
            </a:extLst>
          </p:cNvPr>
          <p:cNvSpPr txBox="1"/>
          <p:nvPr/>
        </p:nvSpPr>
        <p:spPr>
          <a:xfrm>
            <a:off x="5232459" y="6180658"/>
            <a:ext cx="3576320" cy="253128"/>
          </a:xfrm>
          <a:prstGeom prst="rect">
            <a:avLst/>
          </a:prstGeom>
          <a:noFill/>
          <a:ln>
            <a:noFill/>
          </a:ln>
        </p:spPr>
        <p:txBody>
          <a:bodyPr wrap="square" lIns="72000" tIns="72000" rIns="72000" bIns="72000" rtlCol="0">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buClr>
                <a:schemeClr val="accent1"/>
              </a:buClr>
            </a:pPr>
            <a:r>
              <a:rPr lang="de-CH" sz="700">
                <a:hlinkClick r:id="rId20"/>
              </a:rPr>
              <a:t>CPAP</a:t>
            </a:r>
            <a:endParaRPr lang="de-CH" sz="700"/>
          </a:p>
        </p:txBody>
      </p:sp>
      <p:pic>
        <p:nvPicPr>
          <p:cNvPr id="27" name="Picture 26">
            <a:hlinkClick r:id="rId19"/>
            <a:extLst>
              <a:ext uri="{FF2B5EF4-FFF2-40B4-BE49-F238E27FC236}">
                <a16:creationId xmlns:a16="http://schemas.microsoft.com/office/drawing/2014/main" id="{E09D4D41-ED8F-5960-E582-1FF3CAFD00CE}"/>
              </a:ext>
            </a:extLst>
          </p:cNvPr>
          <p:cNvPicPr>
            <a:picLocks noChangeAspect="1"/>
          </p:cNvPicPr>
          <p:nvPr/>
        </p:nvPicPr>
        <p:blipFill>
          <a:blip r:embed="rId21"/>
          <a:stretch>
            <a:fillRect/>
          </a:stretch>
        </p:blipFill>
        <p:spPr>
          <a:xfrm>
            <a:off x="1863376" y="3710432"/>
            <a:ext cx="1608208" cy="2470227"/>
          </a:xfrm>
          <a:prstGeom prst="rect">
            <a:avLst/>
          </a:prstGeom>
        </p:spPr>
      </p:pic>
      <p:pic>
        <p:nvPicPr>
          <p:cNvPr id="28" name="Picture 27">
            <a:hlinkClick r:id="rId18"/>
            <a:extLst>
              <a:ext uri="{FF2B5EF4-FFF2-40B4-BE49-F238E27FC236}">
                <a16:creationId xmlns:a16="http://schemas.microsoft.com/office/drawing/2014/main" id="{EA9F8A30-E58E-0EA7-A06E-FD3B45158B3D}"/>
              </a:ext>
            </a:extLst>
          </p:cNvPr>
          <p:cNvPicPr>
            <a:picLocks noChangeAspect="1"/>
          </p:cNvPicPr>
          <p:nvPr/>
        </p:nvPicPr>
        <p:blipFill>
          <a:blip r:embed="rId22"/>
          <a:stretch>
            <a:fillRect/>
          </a:stretch>
        </p:blipFill>
        <p:spPr>
          <a:xfrm>
            <a:off x="3566502" y="3732962"/>
            <a:ext cx="1608209" cy="2456989"/>
          </a:xfrm>
          <a:prstGeom prst="rect">
            <a:avLst/>
          </a:prstGeom>
        </p:spPr>
      </p:pic>
      <p:pic>
        <p:nvPicPr>
          <p:cNvPr id="29" name="Picture 28">
            <a:hlinkClick r:id="rId20"/>
            <a:extLst>
              <a:ext uri="{FF2B5EF4-FFF2-40B4-BE49-F238E27FC236}">
                <a16:creationId xmlns:a16="http://schemas.microsoft.com/office/drawing/2014/main" id="{D576C72C-79C3-1BCC-825D-675685FC0391}"/>
              </a:ext>
            </a:extLst>
          </p:cNvPr>
          <p:cNvPicPr>
            <a:picLocks noChangeAspect="1"/>
          </p:cNvPicPr>
          <p:nvPr/>
        </p:nvPicPr>
        <p:blipFill>
          <a:blip r:embed="rId23"/>
          <a:stretch>
            <a:fillRect/>
          </a:stretch>
        </p:blipFill>
        <p:spPr>
          <a:xfrm>
            <a:off x="5235169" y="3732963"/>
            <a:ext cx="1607047" cy="2475573"/>
          </a:xfrm>
          <a:prstGeom prst="rect">
            <a:avLst/>
          </a:prstGeom>
        </p:spPr>
      </p:pic>
      <p:sp>
        <p:nvSpPr>
          <p:cNvPr id="30" name="TextBox 6">
            <a:extLst>
              <a:ext uri="{FF2B5EF4-FFF2-40B4-BE49-F238E27FC236}">
                <a16:creationId xmlns:a16="http://schemas.microsoft.com/office/drawing/2014/main" id="{45BF20A9-DEBC-C025-B825-999305E51221}"/>
              </a:ext>
            </a:extLst>
          </p:cNvPr>
          <p:cNvSpPr txBox="1"/>
          <p:nvPr/>
        </p:nvSpPr>
        <p:spPr>
          <a:xfrm>
            <a:off x="6937181" y="6180657"/>
            <a:ext cx="1104467" cy="253128"/>
          </a:xfrm>
          <a:prstGeom prst="rect">
            <a:avLst/>
          </a:prstGeom>
          <a:noFill/>
          <a:ln>
            <a:noFill/>
          </a:ln>
        </p:spPr>
        <p:txBody>
          <a:bodyPr wrap="square" lIns="72000" tIns="72000" rIns="72000" bIns="72000" rtlCol="0">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buClr>
                <a:schemeClr val="accent1"/>
              </a:buClr>
            </a:pPr>
            <a:r>
              <a:rPr lang="de-CH" sz="700">
                <a:hlinkClick r:id="rId24"/>
              </a:rPr>
              <a:t>Smart </a:t>
            </a:r>
            <a:r>
              <a:rPr lang="de-CH" sz="700" err="1">
                <a:hlinkClick r:id="rId24"/>
              </a:rPr>
              <a:t>inhaler</a:t>
            </a:r>
            <a:endParaRPr lang="de-CH" sz="700"/>
          </a:p>
        </p:txBody>
      </p:sp>
      <p:pic>
        <p:nvPicPr>
          <p:cNvPr id="31" name="Picture 30">
            <a:hlinkClick r:id="rId24"/>
            <a:extLst>
              <a:ext uri="{FF2B5EF4-FFF2-40B4-BE49-F238E27FC236}">
                <a16:creationId xmlns:a16="http://schemas.microsoft.com/office/drawing/2014/main" id="{B2386C08-ED82-4C25-402A-6D3916A95EE1}"/>
              </a:ext>
            </a:extLst>
          </p:cNvPr>
          <p:cNvPicPr>
            <a:picLocks noChangeAspect="1"/>
          </p:cNvPicPr>
          <p:nvPr/>
        </p:nvPicPr>
        <p:blipFill>
          <a:blip r:embed="rId25"/>
          <a:stretch>
            <a:fillRect/>
          </a:stretch>
        </p:blipFill>
        <p:spPr>
          <a:xfrm>
            <a:off x="6937181" y="3747601"/>
            <a:ext cx="1610282" cy="2451642"/>
          </a:xfrm>
          <a:prstGeom prst="rect">
            <a:avLst/>
          </a:prstGeom>
        </p:spPr>
      </p:pic>
      <p:sp>
        <p:nvSpPr>
          <p:cNvPr id="32" name="TextBox 31">
            <a:extLst>
              <a:ext uri="{FF2B5EF4-FFF2-40B4-BE49-F238E27FC236}">
                <a16:creationId xmlns:a16="http://schemas.microsoft.com/office/drawing/2014/main" id="{CDD4520B-A066-09BC-E714-DE9C333E4CC5}"/>
              </a:ext>
            </a:extLst>
          </p:cNvPr>
          <p:cNvSpPr txBox="1"/>
          <p:nvPr/>
        </p:nvSpPr>
        <p:spPr>
          <a:xfrm>
            <a:off x="355782" y="2869893"/>
            <a:ext cx="7292594" cy="365074"/>
          </a:xfrm>
          <a:prstGeom prst="rect">
            <a:avLst/>
          </a:prstGeom>
          <a:solidFill>
            <a:schemeClr val="accent1"/>
          </a:solidFill>
          <a:ln>
            <a:solidFill>
              <a:schemeClr val="accent1"/>
            </a:solid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spAutoFit/>
          </a:bodyPr>
          <a:lstStyle/>
          <a:p>
            <a:pPr algn="l">
              <a:buClr>
                <a:schemeClr val="accent1"/>
              </a:buClr>
            </a:pPr>
            <a:endParaRPr lang="en-US" sz="1400"/>
          </a:p>
        </p:txBody>
      </p:sp>
      <p:sp>
        <p:nvSpPr>
          <p:cNvPr id="33" name="TextBox 32">
            <a:extLst>
              <a:ext uri="{FF2B5EF4-FFF2-40B4-BE49-F238E27FC236}">
                <a16:creationId xmlns:a16="http://schemas.microsoft.com/office/drawing/2014/main" id="{9638B2E1-E450-42F7-807B-AEB886B67C4A}"/>
              </a:ext>
            </a:extLst>
          </p:cNvPr>
          <p:cNvSpPr txBox="1"/>
          <p:nvPr/>
        </p:nvSpPr>
        <p:spPr>
          <a:xfrm>
            <a:off x="410050" y="2865620"/>
            <a:ext cx="7291742" cy="360850"/>
          </a:xfrm>
          <a:prstGeom prst="rect">
            <a:avLst/>
          </a:prstGeom>
          <a:noFill/>
          <a:ln>
            <a:no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spAutoFit/>
          </a:bodyPr>
          <a:lstStyle/>
          <a:p>
            <a:pPr algn="ctr">
              <a:buClr>
                <a:schemeClr val="accent1"/>
              </a:buClr>
            </a:pPr>
            <a:r>
              <a:rPr lang="en-US" sz="1400" b="1">
                <a:solidFill>
                  <a:srgbClr val="FFFFFF"/>
                </a:solidFill>
                <a:cs typeface="Segoe UI"/>
              </a:rPr>
              <a:t>HVAC</a:t>
            </a:r>
            <a:endParaRPr lang="en-US" sz="1400" b="1">
              <a:solidFill>
                <a:srgbClr val="FFFFFF"/>
              </a:solidFill>
            </a:endParaRPr>
          </a:p>
        </p:txBody>
      </p:sp>
      <p:sp>
        <p:nvSpPr>
          <p:cNvPr id="34" name="TextBox 33">
            <a:extLst>
              <a:ext uri="{FF2B5EF4-FFF2-40B4-BE49-F238E27FC236}">
                <a16:creationId xmlns:a16="http://schemas.microsoft.com/office/drawing/2014/main" id="{8DC407D8-0ABE-763A-54C5-9E382CB74CE6}"/>
              </a:ext>
            </a:extLst>
          </p:cNvPr>
          <p:cNvSpPr txBox="1"/>
          <p:nvPr/>
        </p:nvSpPr>
        <p:spPr>
          <a:xfrm>
            <a:off x="8960805" y="2869893"/>
            <a:ext cx="2980790" cy="365074"/>
          </a:xfrm>
          <a:prstGeom prst="rect">
            <a:avLst/>
          </a:prstGeom>
          <a:solidFill>
            <a:schemeClr val="accent1"/>
          </a:solidFill>
          <a:ln>
            <a:solidFill>
              <a:schemeClr val="accent1"/>
            </a:solid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spAutoFit/>
          </a:bodyPr>
          <a:lstStyle/>
          <a:p>
            <a:pPr algn="l">
              <a:buClr>
                <a:schemeClr val="accent1"/>
              </a:buClr>
            </a:pPr>
            <a:endParaRPr lang="en-US" sz="1400"/>
          </a:p>
        </p:txBody>
      </p:sp>
      <p:sp>
        <p:nvSpPr>
          <p:cNvPr id="35" name="TextBox 34">
            <a:extLst>
              <a:ext uri="{FF2B5EF4-FFF2-40B4-BE49-F238E27FC236}">
                <a16:creationId xmlns:a16="http://schemas.microsoft.com/office/drawing/2014/main" id="{2906A998-4921-793C-41BC-E509E02E0EFE}"/>
              </a:ext>
            </a:extLst>
          </p:cNvPr>
          <p:cNvSpPr txBox="1"/>
          <p:nvPr/>
        </p:nvSpPr>
        <p:spPr>
          <a:xfrm>
            <a:off x="8961863" y="2865863"/>
            <a:ext cx="2975517" cy="360850"/>
          </a:xfrm>
          <a:prstGeom prst="rect">
            <a:avLst/>
          </a:prstGeom>
          <a:noFill/>
          <a:ln>
            <a:no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spAutoFit/>
          </a:bodyPr>
          <a:lstStyle/>
          <a:p>
            <a:pPr algn="ctr"/>
            <a:r>
              <a:rPr lang="en-US" sz="1400" b="1">
                <a:solidFill>
                  <a:srgbClr val="FFFFFF"/>
                </a:solidFill>
              </a:rPr>
              <a:t>MOBILITY</a:t>
            </a:r>
            <a:endParaRPr lang="en-US"/>
          </a:p>
        </p:txBody>
      </p:sp>
      <p:sp>
        <p:nvSpPr>
          <p:cNvPr id="36" name="TextBox 35">
            <a:extLst>
              <a:ext uri="{FF2B5EF4-FFF2-40B4-BE49-F238E27FC236}">
                <a16:creationId xmlns:a16="http://schemas.microsoft.com/office/drawing/2014/main" id="{B1FBE401-AE66-0B4E-58FB-91DF3C4ED729}"/>
              </a:ext>
            </a:extLst>
          </p:cNvPr>
          <p:cNvSpPr txBox="1"/>
          <p:nvPr/>
        </p:nvSpPr>
        <p:spPr>
          <a:xfrm>
            <a:off x="2074927" y="5694868"/>
            <a:ext cx="5954448" cy="365074"/>
          </a:xfrm>
          <a:prstGeom prst="rect">
            <a:avLst/>
          </a:prstGeom>
          <a:solidFill>
            <a:schemeClr val="accent1"/>
          </a:solidFill>
          <a:ln>
            <a:solidFill>
              <a:schemeClr val="accent1"/>
            </a:solid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spAutoFit/>
          </a:bodyPr>
          <a:lstStyle/>
          <a:p>
            <a:pPr algn="l">
              <a:buClr>
                <a:schemeClr val="accent1"/>
              </a:buClr>
            </a:pPr>
            <a:endParaRPr lang="en-US" sz="1400"/>
          </a:p>
        </p:txBody>
      </p:sp>
      <p:sp>
        <p:nvSpPr>
          <p:cNvPr id="39" name="TextBox 38">
            <a:extLst>
              <a:ext uri="{FF2B5EF4-FFF2-40B4-BE49-F238E27FC236}">
                <a16:creationId xmlns:a16="http://schemas.microsoft.com/office/drawing/2014/main" id="{4BD143CB-1A39-2321-0C9A-7260A97C21B1}"/>
              </a:ext>
            </a:extLst>
          </p:cNvPr>
          <p:cNvSpPr txBox="1"/>
          <p:nvPr/>
        </p:nvSpPr>
        <p:spPr>
          <a:xfrm>
            <a:off x="2075986" y="5690839"/>
            <a:ext cx="5949174" cy="360850"/>
          </a:xfrm>
          <a:prstGeom prst="rect">
            <a:avLst/>
          </a:prstGeom>
          <a:noFill/>
          <a:ln>
            <a:no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spAutoFit/>
          </a:bodyPr>
          <a:lstStyle/>
          <a:p>
            <a:pPr algn="ctr"/>
            <a:r>
              <a:rPr lang="en-US" sz="1400" b="1">
                <a:solidFill>
                  <a:srgbClr val="FFFFFF"/>
                </a:solidFill>
              </a:rPr>
              <a:t>MEDICAL</a:t>
            </a:r>
            <a:endParaRPr lang="en-US"/>
          </a:p>
        </p:txBody>
      </p:sp>
    </p:spTree>
    <p:extLst>
      <p:ext uri="{BB962C8B-B14F-4D97-AF65-F5344CB8AC3E}">
        <p14:creationId xmlns:p14="http://schemas.microsoft.com/office/powerpoint/2010/main" val="2667869995"/>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B152674B-5505-B621-4508-5FF0FBB0A8D6}"/>
              </a:ext>
            </a:extLst>
          </p:cNvPr>
          <p:cNvSpPr>
            <a:spLocks noGrp="1"/>
          </p:cNvSpPr>
          <p:nvPr>
            <p:ph type="title"/>
          </p:nvPr>
        </p:nvSpPr>
        <p:spPr/>
        <p:txBody>
          <a:bodyPr/>
          <a:lstStyle/>
          <a:p>
            <a:r>
              <a:rPr lang="en-US">
                <a:cs typeface="Segoe UI"/>
              </a:rPr>
              <a:t>One-pager overview</a:t>
            </a:r>
            <a:endParaRPr lang="en-US"/>
          </a:p>
        </p:txBody>
      </p:sp>
      <p:sp>
        <p:nvSpPr>
          <p:cNvPr id="5" name="Footer Placeholder 4">
            <a:extLst>
              <a:ext uri="{FF2B5EF4-FFF2-40B4-BE49-F238E27FC236}">
                <a16:creationId xmlns:a16="http://schemas.microsoft.com/office/drawing/2014/main" id="{E00E37CE-453E-EE5F-4634-35CB73581057}"/>
              </a:ext>
            </a:extLst>
          </p:cNvPr>
          <p:cNvSpPr>
            <a:spLocks noGrp="1"/>
          </p:cNvSpPr>
          <p:nvPr>
            <p:ph type="ftr" sz="quarter" idx="16"/>
          </p:nvPr>
        </p:nvSpPr>
        <p:spPr/>
        <p:txBody>
          <a:bodyPr/>
          <a:lstStyle/>
          <a:p>
            <a:r>
              <a:rPr lang="de-DE"/>
              <a:t>© Copyright Sensirion, Switzerland</a:t>
            </a:r>
          </a:p>
        </p:txBody>
      </p:sp>
      <p:sp>
        <p:nvSpPr>
          <p:cNvPr id="6" name="Slide Number Placeholder 5">
            <a:extLst>
              <a:ext uri="{FF2B5EF4-FFF2-40B4-BE49-F238E27FC236}">
                <a16:creationId xmlns:a16="http://schemas.microsoft.com/office/drawing/2014/main" id="{3FD0FF6C-4080-D29B-D3B4-27A47616AC14}"/>
              </a:ext>
            </a:extLst>
          </p:cNvPr>
          <p:cNvSpPr>
            <a:spLocks noGrp="1"/>
          </p:cNvSpPr>
          <p:nvPr>
            <p:ph type="sldNum" sz="quarter" idx="17"/>
          </p:nvPr>
        </p:nvSpPr>
        <p:spPr/>
        <p:txBody>
          <a:bodyPr/>
          <a:lstStyle/>
          <a:p>
            <a:fld id="{B1E691A1-F3A6-4574-B226-B412272B38A6}" type="slidenum">
              <a:rPr lang="de-DE" smtClean="0"/>
              <a:pPr/>
              <a:t>37</a:t>
            </a:fld>
            <a:endParaRPr lang="de-DE"/>
          </a:p>
        </p:txBody>
      </p:sp>
      <p:sp>
        <p:nvSpPr>
          <p:cNvPr id="7" name="TextBox 5">
            <a:extLst>
              <a:ext uri="{FF2B5EF4-FFF2-40B4-BE49-F238E27FC236}">
                <a16:creationId xmlns:a16="http://schemas.microsoft.com/office/drawing/2014/main" id="{D0515778-2125-BBF5-3034-75B8FFF15891}"/>
              </a:ext>
            </a:extLst>
          </p:cNvPr>
          <p:cNvSpPr txBox="1"/>
          <p:nvPr/>
        </p:nvSpPr>
        <p:spPr>
          <a:xfrm>
            <a:off x="1847357" y="3476487"/>
            <a:ext cx="1197394" cy="253128"/>
          </a:xfrm>
          <a:prstGeom prst="rect">
            <a:avLst/>
          </a:prstGeom>
          <a:noFill/>
          <a:ln>
            <a:noFill/>
          </a:ln>
        </p:spPr>
        <p:txBody>
          <a:bodyPr wrap="square" lIns="72000" tIns="72000" rIns="72000" bIns="72000" rtlCol="0">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buClr>
                <a:schemeClr val="accent1"/>
              </a:buClr>
            </a:pPr>
            <a:r>
              <a:rPr lang="de-CH" sz="700" err="1">
                <a:hlinkClick r:id="rId2"/>
              </a:rPr>
              <a:t>Thin</a:t>
            </a:r>
            <a:r>
              <a:rPr lang="de-CH" sz="700">
                <a:hlinkClick r:id="rId2"/>
              </a:rPr>
              <a:t> film </a:t>
            </a:r>
            <a:r>
              <a:rPr lang="de-CH" sz="700" err="1">
                <a:hlinkClick r:id="rId2"/>
              </a:rPr>
              <a:t>deposition</a:t>
            </a:r>
            <a:endParaRPr lang="de-CH" sz="700"/>
          </a:p>
        </p:txBody>
      </p:sp>
      <p:sp>
        <p:nvSpPr>
          <p:cNvPr id="8" name="TextBox 6">
            <a:extLst>
              <a:ext uri="{FF2B5EF4-FFF2-40B4-BE49-F238E27FC236}">
                <a16:creationId xmlns:a16="http://schemas.microsoft.com/office/drawing/2014/main" id="{349D4D4D-89CE-355B-6E3C-C35A9F900682}"/>
              </a:ext>
            </a:extLst>
          </p:cNvPr>
          <p:cNvSpPr txBox="1"/>
          <p:nvPr/>
        </p:nvSpPr>
        <p:spPr>
          <a:xfrm>
            <a:off x="255742" y="3476487"/>
            <a:ext cx="1448296" cy="253128"/>
          </a:xfrm>
          <a:prstGeom prst="rect">
            <a:avLst/>
          </a:prstGeom>
          <a:noFill/>
          <a:ln>
            <a:noFill/>
          </a:ln>
        </p:spPr>
        <p:txBody>
          <a:bodyPr wrap="square" lIns="72000" tIns="72000" rIns="72000" bIns="72000" rtlCol="0">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buClr>
                <a:schemeClr val="accent1"/>
              </a:buClr>
            </a:pPr>
            <a:r>
              <a:rPr lang="de-CH" sz="700">
                <a:hlinkClick r:id="rId3"/>
              </a:rPr>
              <a:t>Gas </a:t>
            </a:r>
            <a:r>
              <a:rPr lang="de-CH" sz="700" err="1">
                <a:hlinkClick r:id="rId3"/>
              </a:rPr>
              <a:t>control</a:t>
            </a:r>
            <a:r>
              <a:rPr lang="de-CH" sz="700">
                <a:hlinkClick r:id="rId3"/>
              </a:rPr>
              <a:t> in Arc </a:t>
            </a:r>
            <a:r>
              <a:rPr lang="de-CH" sz="700" err="1">
                <a:hlinkClick r:id="rId3"/>
              </a:rPr>
              <a:t>welding</a:t>
            </a:r>
            <a:endParaRPr lang="de-CH" sz="700"/>
          </a:p>
        </p:txBody>
      </p:sp>
      <p:sp>
        <p:nvSpPr>
          <p:cNvPr id="9" name="TextBox 14">
            <a:extLst>
              <a:ext uri="{FF2B5EF4-FFF2-40B4-BE49-F238E27FC236}">
                <a16:creationId xmlns:a16="http://schemas.microsoft.com/office/drawing/2014/main" id="{CA5BAB20-9275-EC8F-CB58-525FD6116E5F}"/>
              </a:ext>
            </a:extLst>
          </p:cNvPr>
          <p:cNvSpPr txBox="1"/>
          <p:nvPr/>
        </p:nvSpPr>
        <p:spPr>
          <a:xfrm>
            <a:off x="3466850" y="3476487"/>
            <a:ext cx="1429711" cy="253128"/>
          </a:xfrm>
          <a:prstGeom prst="rect">
            <a:avLst/>
          </a:prstGeom>
          <a:noFill/>
          <a:ln>
            <a:noFill/>
          </a:ln>
        </p:spPr>
        <p:txBody>
          <a:bodyPr wrap="square" lIns="72000" tIns="72000" rIns="72000" bIns="72000" rtlCol="0">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buClr>
                <a:schemeClr val="accent1"/>
              </a:buClr>
            </a:pPr>
            <a:r>
              <a:rPr lang="de-CH" sz="700">
                <a:hlinkClick r:id="rId4"/>
              </a:rPr>
              <a:t>Pump </a:t>
            </a:r>
            <a:r>
              <a:rPr lang="de-CH" sz="700" err="1">
                <a:hlinkClick r:id="rId4"/>
              </a:rPr>
              <a:t>control</a:t>
            </a:r>
            <a:r>
              <a:rPr lang="de-CH" sz="700">
                <a:hlinkClick r:id="rId4"/>
              </a:rPr>
              <a:t> liquid </a:t>
            </a:r>
            <a:r>
              <a:rPr lang="de-CH" sz="700" err="1">
                <a:hlinkClick r:id="rId4"/>
              </a:rPr>
              <a:t>flow</a:t>
            </a:r>
            <a:endParaRPr lang="de-CH" sz="700"/>
          </a:p>
        </p:txBody>
      </p:sp>
      <p:pic>
        <p:nvPicPr>
          <p:cNvPr id="10" name="Picture 9">
            <a:hlinkClick r:id="rId3"/>
            <a:extLst>
              <a:ext uri="{FF2B5EF4-FFF2-40B4-BE49-F238E27FC236}">
                <a16:creationId xmlns:a16="http://schemas.microsoft.com/office/drawing/2014/main" id="{FD8B48B2-70B1-4362-8E30-02D5B3136C3E}"/>
              </a:ext>
            </a:extLst>
          </p:cNvPr>
          <p:cNvPicPr>
            <a:picLocks noChangeAspect="1"/>
          </p:cNvPicPr>
          <p:nvPr/>
        </p:nvPicPr>
        <p:blipFill>
          <a:blip r:embed="rId5"/>
          <a:stretch>
            <a:fillRect/>
          </a:stretch>
        </p:blipFill>
        <p:spPr>
          <a:xfrm>
            <a:off x="255742" y="1102596"/>
            <a:ext cx="1566896" cy="2373892"/>
          </a:xfrm>
          <a:prstGeom prst="rect">
            <a:avLst/>
          </a:prstGeom>
        </p:spPr>
      </p:pic>
      <p:pic>
        <p:nvPicPr>
          <p:cNvPr id="11" name="Picture 10">
            <a:hlinkClick r:id="rId2"/>
            <a:extLst>
              <a:ext uri="{FF2B5EF4-FFF2-40B4-BE49-F238E27FC236}">
                <a16:creationId xmlns:a16="http://schemas.microsoft.com/office/drawing/2014/main" id="{F0B02A74-693C-5F68-2AF8-14A90878534F}"/>
              </a:ext>
            </a:extLst>
          </p:cNvPr>
          <p:cNvPicPr>
            <a:picLocks noChangeAspect="1"/>
          </p:cNvPicPr>
          <p:nvPr/>
        </p:nvPicPr>
        <p:blipFill>
          <a:blip r:embed="rId6"/>
          <a:stretch>
            <a:fillRect/>
          </a:stretch>
        </p:blipFill>
        <p:spPr>
          <a:xfrm>
            <a:off x="1844182" y="1102595"/>
            <a:ext cx="1555077" cy="2373893"/>
          </a:xfrm>
          <a:prstGeom prst="rect">
            <a:avLst/>
          </a:prstGeom>
        </p:spPr>
      </p:pic>
      <p:pic>
        <p:nvPicPr>
          <p:cNvPr id="12" name="Picture 11">
            <a:hlinkClick r:id="rId4"/>
            <a:extLst>
              <a:ext uri="{FF2B5EF4-FFF2-40B4-BE49-F238E27FC236}">
                <a16:creationId xmlns:a16="http://schemas.microsoft.com/office/drawing/2014/main" id="{6A8EC713-C33F-E22A-600B-387A3EAF1799}"/>
              </a:ext>
            </a:extLst>
          </p:cNvPr>
          <p:cNvPicPr>
            <a:picLocks noChangeAspect="1"/>
          </p:cNvPicPr>
          <p:nvPr/>
        </p:nvPicPr>
        <p:blipFill>
          <a:blip r:embed="rId7"/>
          <a:stretch>
            <a:fillRect/>
          </a:stretch>
        </p:blipFill>
        <p:spPr>
          <a:xfrm>
            <a:off x="3470455" y="1102595"/>
            <a:ext cx="1559256" cy="2375497"/>
          </a:xfrm>
          <a:prstGeom prst="rect">
            <a:avLst/>
          </a:prstGeom>
        </p:spPr>
      </p:pic>
      <p:sp>
        <p:nvSpPr>
          <p:cNvPr id="14" name="TextBox 5">
            <a:extLst>
              <a:ext uri="{FF2B5EF4-FFF2-40B4-BE49-F238E27FC236}">
                <a16:creationId xmlns:a16="http://schemas.microsoft.com/office/drawing/2014/main" id="{50E3DBE9-7DF3-7023-677C-7FF47ABB988C}"/>
              </a:ext>
            </a:extLst>
          </p:cNvPr>
          <p:cNvSpPr txBox="1"/>
          <p:nvPr/>
        </p:nvSpPr>
        <p:spPr>
          <a:xfrm>
            <a:off x="6800357" y="3476487"/>
            <a:ext cx="816394" cy="253128"/>
          </a:xfrm>
          <a:prstGeom prst="rect">
            <a:avLst/>
          </a:prstGeom>
          <a:noFill/>
          <a:ln>
            <a:noFill/>
          </a:ln>
        </p:spPr>
        <p:txBody>
          <a:bodyPr wrap="square" lIns="72000" tIns="72000" rIns="72000" bIns="72000" rtlCol="0">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buClr>
                <a:schemeClr val="accent1"/>
              </a:buClr>
            </a:pPr>
            <a:r>
              <a:rPr lang="de-CH" sz="700">
                <a:hlinkClick r:id="rId8"/>
              </a:rPr>
              <a:t>HPLC</a:t>
            </a:r>
            <a:endParaRPr lang="de-CH" sz="700"/>
          </a:p>
        </p:txBody>
      </p:sp>
      <p:sp>
        <p:nvSpPr>
          <p:cNvPr id="15" name="TextBox 6">
            <a:extLst>
              <a:ext uri="{FF2B5EF4-FFF2-40B4-BE49-F238E27FC236}">
                <a16:creationId xmlns:a16="http://schemas.microsoft.com/office/drawing/2014/main" id="{3C1A761B-6AC5-F7C8-86D1-E1B8748DDB5B}"/>
              </a:ext>
            </a:extLst>
          </p:cNvPr>
          <p:cNvSpPr txBox="1"/>
          <p:nvPr/>
        </p:nvSpPr>
        <p:spPr>
          <a:xfrm>
            <a:off x="5106522" y="3476487"/>
            <a:ext cx="1504052" cy="360850"/>
          </a:xfrm>
          <a:prstGeom prst="rect">
            <a:avLst/>
          </a:prstGeom>
          <a:noFill/>
          <a:ln>
            <a:noFill/>
          </a:ln>
        </p:spPr>
        <p:txBody>
          <a:bodyPr wrap="square" lIns="72000" tIns="72000" rIns="72000" bIns="72000" rtlCol="0">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buClr>
                <a:schemeClr val="accent1"/>
              </a:buClr>
            </a:pPr>
            <a:r>
              <a:rPr lang="de-CH" sz="700">
                <a:hlinkClick r:id="rId9"/>
              </a:rPr>
              <a:t>Inert gas </a:t>
            </a:r>
            <a:r>
              <a:rPr lang="de-CH" sz="700" err="1">
                <a:hlinkClick r:id="rId9"/>
              </a:rPr>
              <a:t>purging</a:t>
            </a:r>
            <a:r>
              <a:rPr lang="de-CH" sz="700">
                <a:hlinkClick r:id="rId9"/>
              </a:rPr>
              <a:t> in </a:t>
            </a:r>
            <a:r>
              <a:rPr lang="de-CH" sz="700" err="1">
                <a:hlinkClick r:id="rId9"/>
              </a:rPr>
              <a:t>process</a:t>
            </a:r>
            <a:r>
              <a:rPr lang="de-CH" sz="700">
                <a:hlinkClick r:id="rId9"/>
              </a:rPr>
              <a:t> </a:t>
            </a:r>
          </a:p>
          <a:p>
            <a:pPr algn="l">
              <a:buClr>
                <a:schemeClr val="accent1"/>
              </a:buClr>
            </a:pPr>
            <a:r>
              <a:rPr lang="de-CH" sz="700" err="1">
                <a:hlinkClick r:id="rId9"/>
              </a:rPr>
              <a:t>industries</a:t>
            </a:r>
            <a:endParaRPr lang="de-CH" sz="700"/>
          </a:p>
        </p:txBody>
      </p:sp>
      <p:sp>
        <p:nvSpPr>
          <p:cNvPr id="16" name="TextBox 14">
            <a:extLst>
              <a:ext uri="{FF2B5EF4-FFF2-40B4-BE49-F238E27FC236}">
                <a16:creationId xmlns:a16="http://schemas.microsoft.com/office/drawing/2014/main" id="{8E8D3BDA-3079-AF90-5DAC-74173D0AD0EF}"/>
              </a:ext>
            </a:extLst>
          </p:cNvPr>
          <p:cNvSpPr txBox="1">
            <a:spLocks/>
          </p:cNvSpPr>
          <p:nvPr/>
        </p:nvSpPr>
        <p:spPr>
          <a:xfrm>
            <a:off x="8326923" y="3476487"/>
            <a:ext cx="1225272" cy="253128"/>
          </a:xfrm>
          <a:prstGeom prst="rect">
            <a:avLst/>
          </a:prstGeom>
          <a:noFill/>
          <a:ln>
            <a:noFill/>
          </a:ln>
        </p:spPr>
        <p:txBody>
          <a:bodyPr wrap="square" lIns="72000" tIns="72000" rIns="72000" bIns="72000" rtlCol="0">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buClr>
                <a:schemeClr val="accent1"/>
              </a:buClr>
            </a:pPr>
            <a:r>
              <a:rPr lang="de-CH" sz="700">
                <a:hlinkClick r:id="rId10"/>
              </a:rPr>
              <a:t>Gas </a:t>
            </a:r>
            <a:r>
              <a:rPr lang="de-CH" sz="700" err="1">
                <a:hlinkClick r:id="rId10"/>
              </a:rPr>
              <a:t>chromatography</a:t>
            </a:r>
            <a:endParaRPr lang="de-CH" sz="700"/>
          </a:p>
        </p:txBody>
      </p:sp>
      <p:pic>
        <p:nvPicPr>
          <p:cNvPr id="17" name="Picture 16">
            <a:hlinkClick r:id="rId9"/>
            <a:extLst>
              <a:ext uri="{FF2B5EF4-FFF2-40B4-BE49-F238E27FC236}">
                <a16:creationId xmlns:a16="http://schemas.microsoft.com/office/drawing/2014/main" id="{06834947-F9C3-D2FE-4C7D-35F9E58913E3}"/>
              </a:ext>
            </a:extLst>
          </p:cNvPr>
          <p:cNvPicPr>
            <a:picLocks noChangeAspect="1"/>
          </p:cNvPicPr>
          <p:nvPr/>
        </p:nvPicPr>
        <p:blipFill>
          <a:blip r:embed="rId11"/>
          <a:stretch>
            <a:fillRect/>
          </a:stretch>
        </p:blipFill>
        <p:spPr>
          <a:xfrm>
            <a:off x="5106522" y="1102290"/>
            <a:ext cx="1633598" cy="2374198"/>
          </a:xfrm>
          <a:prstGeom prst="rect">
            <a:avLst/>
          </a:prstGeom>
        </p:spPr>
      </p:pic>
      <p:pic>
        <p:nvPicPr>
          <p:cNvPr id="18" name="Picture 17">
            <a:hlinkClick r:id="rId8"/>
            <a:extLst>
              <a:ext uri="{FF2B5EF4-FFF2-40B4-BE49-F238E27FC236}">
                <a16:creationId xmlns:a16="http://schemas.microsoft.com/office/drawing/2014/main" id="{6A8E6B29-E21B-A18C-4652-B7CE637F4852}"/>
              </a:ext>
            </a:extLst>
          </p:cNvPr>
          <p:cNvPicPr>
            <a:picLocks noChangeAspect="1"/>
          </p:cNvPicPr>
          <p:nvPr/>
        </p:nvPicPr>
        <p:blipFill>
          <a:blip r:embed="rId12"/>
          <a:stretch>
            <a:fillRect/>
          </a:stretch>
        </p:blipFill>
        <p:spPr>
          <a:xfrm>
            <a:off x="6800357" y="1102289"/>
            <a:ext cx="1525916" cy="2374199"/>
          </a:xfrm>
          <a:prstGeom prst="rect">
            <a:avLst/>
          </a:prstGeom>
        </p:spPr>
      </p:pic>
      <p:pic>
        <p:nvPicPr>
          <p:cNvPr id="19" name="Picture 18">
            <a:hlinkClick r:id="rId10"/>
            <a:extLst>
              <a:ext uri="{FF2B5EF4-FFF2-40B4-BE49-F238E27FC236}">
                <a16:creationId xmlns:a16="http://schemas.microsoft.com/office/drawing/2014/main" id="{F0F3729B-C073-BCCB-367B-142A811C88F1}"/>
              </a:ext>
            </a:extLst>
          </p:cNvPr>
          <p:cNvPicPr>
            <a:picLocks noChangeAspect="1"/>
          </p:cNvPicPr>
          <p:nvPr/>
        </p:nvPicPr>
        <p:blipFill>
          <a:blip r:embed="rId13"/>
          <a:stretch>
            <a:fillRect/>
          </a:stretch>
        </p:blipFill>
        <p:spPr>
          <a:xfrm>
            <a:off x="8395803" y="1102289"/>
            <a:ext cx="1520285" cy="2374198"/>
          </a:xfrm>
          <a:prstGeom prst="rect">
            <a:avLst/>
          </a:prstGeom>
        </p:spPr>
      </p:pic>
      <p:sp>
        <p:nvSpPr>
          <p:cNvPr id="20" name="TextBox 5">
            <a:extLst>
              <a:ext uri="{FF2B5EF4-FFF2-40B4-BE49-F238E27FC236}">
                <a16:creationId xmlns:a16="http://schemas.microsoft.com/office/drawing/2014/main" id="{D4F24571-CC2E-AFAD-5E43-A541D4C73381}"/>
              </a:ext>
            </a:extLst>
          </p:cNvPr>
          <p:cNvSpPr txBox="1"/>
          <p:nvPr/>
        </p:nvSpPr>
        <p:spPr>
          <a:xfrm>
            <a:off x="258308" y="6180657"/>
            <a:ext cx="3576320" cy="253128"/>
          </a:xfrm>
          <a:prstGeom prst="rect">
            <a:avLst/>
          </a:prstGeom>
          <a:noFill/>
          <a:ln>
            <a:noFill/>
          </a:ln>
        </p:spPr>
        <p:txBody>
          <a:bodyPr wrap="square" lIns="72000" tIns="72000" rIns="72000" bIns="72000" rtlCol="0">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buClr>
                <a:schemeClr val="accent1"/>
              </a:buClr>
            </a:pPr>
            <a:r>
              <a:rPr lang="de-CH" sz="700">
                <a:hlinkClick r:id="rId14"/>
              </a:rPr>
              <a:t>Chemical </a:t>
            </a:r>
            <a:r>
              <a:rPr lang="de-CH" sz="700" err="1">
                <a:hlinkClick r:id="rId14"/>
              </a:rPr>
              <a:t>dosing</a:t>
            </a:r>
            <a:r>
              <a:rPr lang="de-CH" sz="700">
                <a:hlinkClick r:id="rId14"/>
              </a:rPr>
              <a:t> and </a:t>
            </a:r>
            <a:r>
              <a:rPr lang="de-CH" sz="700" err="1">
                <a:hlinkClick r:id="rId14"/>
              </a:rPr>
              <a:t>dispensing</a:t>
            </a:r>
            <a:endParaRPr lang="de-CH" sz="700"/>
          </a:p>
        </p:txBody>
      </p:sp>
      <p:sp>
        <p:nvSpPr>
          <p:cNvPr id="21" name="TextBox 6">
            <a:extLst>
              <a:ext uri="{FF2B5EF4-FFF2-40B4-BE49-F238E27FC236}">
                <a16:creationId xmlns:a16="http://schemas.microsoft.com/office/drawing/2014/main" id="{E3682179-D52C-412F-4282-458ED7F7D08F}"/>
              </a:ext>
            </a:extLst>
          </p:cNvPr>
          <p:cNvSpPr txBox="1"/>
          <p:nvPr/>
        </p:nvSpPr>
        <p:spPr>
          <a:xfrm>
            <a:off x="9985181" y="3476487"/>
            <a:ext cx="1113760" cy="253128"/>
          </a:xfrm>
          <a:prstGeom prst="rect">
            <a:avLst/>
          </a:prstGeom>
          <a:noFill/>
          <a:ln>
            <a:noFill/>
          </a:ln>
        </p:spPr>
        <p:txBody>
          <a:bodyPr wrap="square" lIns="72000" tIns="72000" rIns="72000" bIns="72000" rtlCol="0">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buClr>
                <a:schemeClr val="accent1"/>
              </a:buClr>
            </a:pPr>
            <a:r>
              <a:rPr lang="de-CH" sz="700">
                <a:hlinkClick r:id="rId15"/>
              </a:rPr>
              <a:t>FOUP</a:t>
            </a:r>
            <a:endParaRPr lang="de-CH" sz="700"/>
          </a:p>
        </p:txBody>
      </p:sp>
      <p:pic>
        <p:nvPicPr>
          <p:cNvPr id="22" name="Picture 21">
            <a:hlinkClick r:id="rId15"/>
            <a:extLst>
              <a:ext uri="{FF2B5EF4-FFF2-40B4-BE49-F238E27FC236}">
                <a16:creationId xmlns:a16="http://schemas.microsoft.com/office/drawing/2014/main" id="{403257FF-1E1F-A529-0243-1ED9E29CBEBF}"/>
              </a:ext>
            </a:extLst>
          </p:cNvPr>
          <p:cNvPicPr>
            <a:picLocks noChangeAspect="1"/>
          </p:cNvPicPr>
          <p:nvPr/>
        </p:nvPicPr>
        <p:blipFill>
          <a:blip r:embed="rId16"/>
          <a:stretch>
            <a:fillRect/>
          </a:stretch>
        </p:blipFill>
        <p:spPr>
          <a:xfrm>
            <a:off x="9985181" y="1102289"/>
            <a:ext cx="1532465" cy="2374199"/>
          </a:xfrm>
          <a:prstGeom prst="rect">
            <a:avLst/>
          </a:prstGeom>
        </p:spPr>
      </p:pic>
      <p:pic>
        <p:nvPicPr>
          <p:cNvPr id="23" name="Picture 22">
            <a:hlinkClick r:id="rId14"/>
            <a:extLst>
              <a:ext uri="{FF2B5EF4-FFF2-40B4-BE49-F238E27FC236}">
                <a16:creationId xmlns:a16="http://schemas.microsoft.com/office/drawing/2014/main" id="{C5155069-1DC2-3F99-3496-B380A2D35EC0}"/>
              </a:ext>
            </a:extLst>
          </p:cNvPr>
          <p:cNvPicPr>
            <a:picLocks noChangeAspect="1"/>
          </p:cNvPicPr>
          <p:nvPr/>
        </p:nvPicPr>
        <p:blipFill>
          <a:blip r:embed="rId17"/>
          <a:stretch>
            <a:fillRect/>
          </a:stretch>
        </p:blipFill>
        <p:spPr>
          <a:xfrm>
            <a:off x="258308" y="3834339"/>
            <a:ext cx="1560958" cy="2374198"/>
          </a:xfrm>
          <a:prstGeom prst="rect">
            <a:avLst/>
          </a:prstGeom>
        </p:spPr>
      </p:pic>
      <p:sp>
        <p:nvSpPr>
          <p:cNvPr id="24" name="TextBox 5">
            <a:extLst>
              <a:ext uri="{FF2B5EF4-FFF2-40B4-BE49-F238E27FC236}">
                <a16:creationId xmlns:a16="http://schemas.microsoft.com/office/drawing/2014/main" id="{BEB2E378-C94C-A512-3392-A8E36D9C4797}"/>
              </a:ext>
            </a:extLst>
          </p:cNvPr>
          <p:cNvSpPr txBox="1"/>
          <p:nvPr/>
        </p:nvSpPr>
        <p:spPr>
          <a:xfrm>
            <a:off x="3464284" y="6208535"/>
            <a:ext cx="1299613" cy="253128"/>
          </a:xfrm>
          <a:prstGeom prst="rect">
            <a:avLst/>
          </a:prstGeom>
          <a:noFill/>
          <a:ln>
            <a:noFill/>
          </a:ln>
        </p:spPr>
        <p:txBody>
          <a:bodyPr wrap="square" lIns="72000" tIns="72000" rIns="72000" bIns="72000" rtlCol="0">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buClr>
                <a:schemeClr val="accent1"/>
              </a:buClr>
            </a:pPr>
            <a:r>
              <a:rPr lang="de-CH" sz="700">
                <a:hlinkClick r:id="rId18"/>
              </a:rPr>
              <a:t>BESS SGP40</a:t>
            </a:r>
            <a:endParaRPr lang="de-CH" sz="700"/>
          </a:p>
        </p:txBody>
      </p:sp>
      <p:sp>
        <p:nvSpPr>
          <p:cNvPr id="25" name="TextBox 6">
            <a:extLst>
              <a:ext uri="{FF2B5EF4-FFF2-40B4-BE49-F238E27FC236}">
                <a16:creationId xmlns:a16="http://schemas.microsoft.com/office/drawing/2014/main" id="{1DC4B37C-9292-C95E-6ACE-7A811F4DC844}"/>
              </a:ext>
            </a:extLst>
          </p:cNvPr>
          <p:cNvSpPr txBox="1"/>
          <p:nvPr/>
        </p:nvSpPr>
        <p:spPr>
          <a:xfrm>
            <a:off x="1844791" y="6208535"/>
            <a:ext cx="1373955" cy="253128"/>
          </a:xfrm>
          <a:prstGeom prst="rect">
            <a:avLst/>
          </a:prstGeom>
          <a:noFill/>
          <a:ln>
            <a:noFill/>
          </a:ln>
        </p:spPr>
        <p:txBody>
          <a:bodyPr wrap="square" lIns="72000" tIns="72000" rIns="72000" bIns="72000" rtlCol="0">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buClr>
                <a:schemeClr val="accent1"/>
              </a:buClr>
            </a:pPr>
            <a:r>
              <a:rPr lang="de-CH" sz="700">
                <a:hlinkClick r:id="rId19"/>
              </a:rPr>
              <a:t>BESS SEN66</a:t>
            </a:r>
            <a:endParaRPr lang="de-CH" sz="700"/>
          </a:p>
        </p:txBody>
      </p:sp>
      <p:sp>
        <p:nvSpPr>
          <p:cNvPr id="26" name="TextBox 14">
            <a:extLst>
              <a:ext uri="{FF2B5EF4-FFF2-40B4-BE49-F238E27FC236}">
                <a16:creationId xmlns:a16="http://schemas.microsoft.com/office/drawing/2014/main" id="{E13F05A2-6B30-7DE0-63B7-47DF421FEDF7}"/>
              </a:ext>
            </a:extLst>
          </p:cNvPr>
          <p:cNvSpPr txBox="1"/>
          <p:nvPr/>
        </p:nvSpPr>
        <p:spPr>
          <a:xfrm>
            <a:off x="5102362" y="6180657"/>
            <a:ext cx="3576320" cy="253128"/>
          </a:xfrm>
          <a:prstGeom prst="rect">
            <a:avLst/>
          </a:prstGeom>
          <a:noFill/>
          <a:ln>
            <a:noFill/>
          </a:ln>
        </p:spPr>
        <p:txBody>
          <a:bodyPr wrap="square" lIns="72000" tIns="72000" rIns="72000" bIns="72000" rtlCol="0">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buClr>
                <a:schemeClr val="accent1"/>
              </a:buClr>
            </a:pPr>
            <a:r>
              <a:rPr lang="de-CH" sz="700">
                <a:hlinkClick r:id="rId20"/>
              </a:rPr>
              <a:t>BESS STC42A</a:t>
            </a:r>
            <a:endParaRPr lang="de-CH" sz="700"/>
          </a:p>
        </p:txBody>
      </p:sp>
      <p:pic>
        <p:nvPicPr>
          <p:cNvPr id="27" name="Picture 26">
            <a:hlinkClick r:id="rId19"/>
            <a:extLst>
              <a:ext uri="{FF2B5EF4-FFF2-40B4-BE49-F238E27FC236}">
                <a16:creationId xmlns:a16="http://schemas.microsoft.com/office/drawing/2014/main" id="{4A093090-87BD-A155-1E3D-91E40B3C4AD0}"/>
              </a:ext>
            </a:extLst>
          </p:cNvPr>
          <p:cNvPicPr>
            <a:picLocks noChangeAspect="1"/>
          </p:cNvPicPr>
          <p:nvPr/>
        </p:nvPicPr>
        <p:blipFill>
          <a:blip r:embed="rId21"/>
          <a:stretch>
            <a:fillRect/>
          </a:stretch>
        </p:blipFill>
        <p:spPr>
          <a:xfrm>
            <a:off x="1844791" y="3834338"/>
            <a:ext cx="1561867" cy="2374197"/>
          </a:xfrm>
          <a:prstGeom prst="rect">
            <a:avLst/>
          </a:prstGeom>
        </p:spPr>
      </p:pic>
      <p:pic>
        <p:nvPicPr>
          <p:cNvPr id="28" name="Picture 27">
            <a:hlinkClick r:id="rId18"/>
            <a:extLst>
              <a:ext uri="{FF2B5EF4-FFF2-40B4-BE49-F238E27FC236}">
                <a16:creationId xmlns:a16="http://schemas.microsoft.com/office/drawing/2014/main" id="{361E1A20-7CA2-55AB-A796-ECDFB26D16E1}"/>
              </a:ext>
            </a:extLst>
          </p:cNvPr>
          <p:cNvPicPr>
            <a:picLocks noChangeAspect="1"/>
          </p:cNvPicPr>
          <p:nvPr/>
        </p:nvPicPr>
        <p:blipFill>
          <a:blip r:embed="rId22"/>
          <a:stretch>
            <a:fillRect/>
          </a:stretch>
        </p:blipFill>
        <p:spPr>
          <a:xfrm>
            <a:off x="3473576" y="3834336"/>
            <a:ext cx="1565620" cy="2374200"/>
          </a:xfrm>
          <a:prstGeom prst="rect">
            <a:avLst/>
          </a:prstGeom>
        </p:spPr>
      </p:pic>
      <p:pic>
        <p:nvPicPr>
          <p:cNvPr id="29" name="Picture 28">
            <a:hlinkClick r:id="rId20"/>
            <a:extLst>
              <a:ext uri="{FF2B5EF4-FFF2-40B4-BE49-F238E27FC236}">
                <a16:creationId xmlns:a16="http://schemas.microsoft.com/office/drawing/2014/main" id="{961C967F-B3B2-E839-6EB8-DC1C8518DC3E}"/>
              </a:ext>
            </a:extLst>
          </p:cNvPr>
          <p:cNvPicPr>
            <a:picLocks noChangeAspect="1"/>
          </p:cNvPicPr>
          <p:nvPr/>
        </p:nvPicPr>
        <p:blipFill>
          <a:blip r:embed="rId23"/>
          <a:stretch>
            <a:fillRect/>
          </a:stretch>
        </p:blipFill>
        <p:spPr>
          <a:xfrm>
            <a:off x="5102362" y="3834336"/>
            <a:ext cx="1629703" cy="2374199"/>
          </a:xfrm>
          <a:prstGeom prst="rect">
            <a:avLst/>
          </a:prstGeom>
        </p:spPr>
      </p:pic>
      <p:sp>
        <p:nvSpPr>
          <p:cNvPr id="31" name="TextBox 30">
            <a:extLst>
              <a:ext uri="{FF2B5EF4-FFF2-40B4-BE49-F238E27FC236}">
                <a16:creationId xmlns:a16="http://schemas.microsoft.com/office/drawing/2014/main" id="{849E54D7-5C66-4310-7A24-3B316803FD4B}"/>
              </a:ext>
            </a:extLst>
          </p:cNvPr>
          <p:cNvSpPr txBox="1"/>
          <p:nvPr/>
        </p:nvSpPr>
        <p:spPr>
          <a:xfrm>
            <a:off x="643853" y="2944234"/>
            <a:ext cx="10545033" cy="365074"/>
          </a:xfrm>
          <a:prstGeom prst="rect">
            <a:avLst/>
          </a:prstGeom>
          <a:solidFill>
            <a:schemeClr val="accent1"/>
          </a:solidFill>
          <a:ln>
            <a:solidFill>
              <a:schemeClr val="accent1"/>
            </a:solid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spAutoFit/>
          </a:bodyPr>
          <a:lstStyle/>
          <a:p>
            <a:pPr algn="l">
              <a:buClr>
                <a:schemeClr val="accent1"/>
              </a:buClr>
            </a:pPr>
            <a:endParaRPr lang="en-US" sz="1400"/>
          </a:p>
        </p:txBody>
      </p:sp>
      <p:sp>
        <p:nvSpPr>
          <p:cNvPr id="32" name="TextBox 31">
            <a:extLst>
              <a:ext uri="{FF2B5EF4-FFF2-40B4-BE49-F238E27FC236}">
                <a16:creationId xmlns:a16="http://schemas.microsoft.com/office/drawing/2014/main" id="{00997514-BB49-F4D3-D319-4CE9A035392F}"/>
              </a:ext>
            </a:extLst>
          </p:cNvPr>
          <p:cNvSpPr txBox="1"/>
          <p:nvPr/>
        </p:nvSpPr>
        <p:spPr>
          <a:xfrm>
            <a:off x="682083" y="2940205"/>
            <a:ext cx="10502590" cy="360850"/>
          </a:xfrm>
          <a:prstGeom prst="rect">
            <a:avLst/>
          </a:prstGeom>
          <a:noFill/>
          <a:ln>
            <a:no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spAutoFit/>
          </a:bodyPr>
          <a:lstStyle/>
          <a:p>
            <a:pPr algn="ctr">
              <a:buClr>
                <a:schemeClr val="accent1"/>
              </a:buClr>
            </a:pPr>
            <a:r>
              <a:rPr lang="en-US" sz="1400" b="1">
                <a:solidFill>
                  <a:srgbClr val="FFFFFF"/>
                </a:solidFill>
                <a:cs typeface="Segoe UI"/>
              </a:rPr>
              <a:t>INDUSTRIAL</a:t>
            </a:r>
            <a:endParaRPr lang="en-US" sz="1400">
              <a:cs typeface="Segoe UI"/>
            </a:endParaRPr>
          </a:p>
        </p:txBody>
      </p:sp>
    </p:spTree>
    <p:extLst>
      <p:ext uri="{BB962C8B-B14F-4D97-AF65-F5344CB8AC3E}">
        <p14:creationId xmlns:p14="http://schemas.microsoft.com/office/powerpoint/2010/main" val="805875931"/>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EF458DF-AB69-E5FE-2BBF-018285A814B5}"/>
              </a:ext>
            </a:extLst>
          </p:cNvPr>
          <p:cNvSpPr>
            <a:spLocks noGrp="1"/>
          </p:cNvSpPr>
          <p:nvPr>
            <p:ph type="title"/>
          </p:nvPr>
        </p:nvSpPr>
        <p:spPr>
          <a:xfrm>
            <a:off x="515937" y="476250"/>
            <a:ext cx="11160125" cy="861774"/>
          </a:xfrm>
        </p:spPr>
        <p:txBody>
          <a:bodyPr/>
          <a:lstStyle/>
          <a:p>
            <a:r>
              <a:rPr lang="en-US">
                <a:cs typeface="Segoe UI"/>
              </a:rPr>
              <a:t>One-pager overview</a:t>
            </a:r>
            <a:endParaRPr lang="en-US" b="0">
              <a:solidFill>
                <a:srgbClr val="000000"/>
              </a:solidFill>
              <a:cs typeface="Segoe UI"/>
            </a:endParaRPr>
          </a:p>
          <a:p>
            <a:endParaRPr lang="en-US">
              <a:cs typeface="Segoe UI"/>
            </a:endParaRPr>
          </a:p>
        </p:txBody>
      </p:sp>
      <p:sp>
        <p:nvSpPr>
          <p:cNvPr id="5" name="Footer Placeholder 4">
            <a:extLst>
              <a:ext uri="{FF2B5EF4-FFF2-40B4-BE49-F238E27FC236}">
                <a16:creationId xmlns:a16="http://schemas.microsoft.com/office/drawing/2014/main" id="{72F2574D-A616-7A67-6C05-7D7587C5CF17}"/>
              </a:ext>
            </a:extLst>
          </p:cNvPr>
          <p:cNvSpPr>
            <a:spLocks noGrp="1"/>
          </p:cNvSpPr>
          <p:nvPr>
            <p:ph type="ftr" sz="quarter" idx="16"/>
          </p:nvPr>
        </p:nvSpPr>
        <p:spPr/>
        <p:txBody>
          <a:bodyPr/>
          <a:lstStyle/>
          <a:p>
            <a:r>
              <a:rPr lang="de-DE"/>
              <a:t>© Copyright Sensirion, Switzerland</a:t>
            </a:r>
          </a:p>
        </p:txBody>
      </p:sp>
      <p:sp>
        <p:nvSpPr>
          <p:cNvPr id="6" name="Slide Number Placeholder 5">
            <a:extLst>
              <a:ext uri="{FF2B5EF4-FFF2-40B4-BE49-F238E27FC236}">
                <a16:creationId xmlns:a16="http://schemas.microsoft.com/office/drawing/2014/main" id="{11B51E19-9DD1-F64A-59F8-F84E454A740B}"/>
              </a:ext>
            </a:extLst>
          </p:cNvPr>
          <p:cNvSpPr>
            <a:spLocks noGrp="1"/>
          </p:cNvSpPr>
          <p:nvPr>
            <p:ph type="sldNum" sz="quarter" idx="17"/>
          </p:nvPr>
        </p:nvSpPr>
        <p:spPr/>
        <p:txBody>
          <a:bodyPr/>
          <a:lstStyle/>
          <a:p>
            <a:fld id="{B1E691A1-F3A6-4574-B226-B412272B38A6}" type="slidenum">
              <a:rPr lang="de-DE" smtClean="0"/>
              <a:pPr/>
              <a:t>38</a:t>
            </a:fld>
            <a:endParaRPr lang="de-DE"/>
          </a:p>
        </p:txBody>
      </p:sp>
      <p:sp>
        <p:nvSpPr>
          <p:cNvPr id="13" name="TextBox 5">
            <a:extLst>
              <a:ext uri="{FF2B5EF4-FFF2-40B4-BE49-F238E27FC236}">
                <a16:creationId xmlns:a16="http://schemas.microsoft.com/office/drawing/2014/main" id="{3C918F47-E78B-F8F7-58F9-767ED76B273E}"/>
              </a:ext>
            </a:extLst>
          </p:cNvPr>
          <p:cNvSpPr txBox="1"/>
          <p:nvPr/>
        </p:nvSpPr>
        <p:spPr>
          <a:xfrm>
            <a:off x="1838065" y="3467193"/>
            <a:ext cx="1439003" cy="253128"/>
          </a:xfrm>
          <a:prstGeom prst="rect">
            <a:avLst/>
          </a:prstGeom>
          <a:noFill/>
          <a:ln>
            <a:noFill/>
          </a:ln>
        </p:spPr>
        <p:txBody>
          <a:bodyPr wrap="square" lIns="72000" tIns="72000" rIns="72000" bIns="72000" rtlCol="0">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buClr>
                <a:schemeClr val="accent1"/>
              </a:buClr>
            </a:pPr>
            <a:r>
              <a:rPr lang="de-CH" sz="700" err="1">
                <a:hlinkClick r:id="rId2"/>
              </a:rPr>
              <a:t>Humidity</a:t>
            </a:r>
            <a:r>
              <a:rPr lang="de-CH" sz="700">
                <a:hlinkClick r:id="rId2"/>
              </a:rPr>
              <a:t> </a:t>
            </a:r>
            <a:r>
              <a:rPr lang="de-CH" sz="700" err="1">
                <a:hlinkClick r:id="rId2"/>
              </a:rPr>
              <a:t>control</a:t>
            </a:r>
            <a:r>
              <a:rPr lang="de-CH" sz="700">
                <a:hlinkClick r:id="rId2"/>
              </a:rPr>
              <a:t> </a:t>
            </a:r>
            <a:r>
              <a:rPr lang="de-CH" sz="700" err="1">
                <a:hlinkClick r:id="rId2"/>
              </a:rPr>
              <a:t>for</a:t>
            </a:r>
            <a:r>
              <a:rPr lang="de-CH" sz="700">
                <a:hlinkClick r:id="rId2"/>
              </a:rPr>
              <a:t> </a:t>
            </a:r>
            <a:r>
              <a:rPr lang="de-CH" sz="700" err="1">
                <a:hlinkClick r:id="rId2"/>
              </a:rPr>
              <a:t>fridges</a:t>
            </a:r>
            <a:endParaRPr lang="de-CH" sz="700"/>
          </a:p>
        </p:txBody>
      </p:sp>
      <p:sp>
        <p:nvSpPr>
          <p:cNvPr id="14" name="TextBox 6">
            <a:extLst>
              <a:ext uri="{FF2B5EF4-FFF2-40B4-BE49-F238E27FC236}">
                <a16:creationId xmlns:a16="http://schemas.microsoft.com/office/drawing/2014/main" id="{8C1225AD-AE06-EEB2-847D-95274E7908A9}"/>
              </a:ext>
            </a:extLst>
          </p:cNvPr>
          <p:cNvSpPr txBox="1"/>
          <p:nvPr/>
        </p:nvSpPr>
        <p:spPr>
          <a:xfrm>
            <a:off x="116352" y="3467193"/>
            <a:ext cx="1234564" cy="253128"/>
          </a:xfrm>
          <a:prstGeom prst="rect">
            <a:avLst/>
          </a:prstGeom>
          <a:noFill/>
          <a:ln>
            <a:noFill/>
          </a:ln>
        </p:spPr>
        <p:txBody>
          <a:bodyPr wrap="square" lIns="72000" tIns="72000" rIns="72000" bIns="72000" rtlCol="0">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buClr>
                <a:schemeClr val="accent1"/>
              </a:buClr>
            </a:pPr>
            <a:r>
              <a:rPr lang="de-CH" sz="700">
                <a:hlinkClick r:id="rId3"/>
              </a:rPr>
              <a:t>Smoke </a:t>
            </a:r>
            <a:r>
              <a:rPr lang="de-CH" sz="700" err="1">
                <a:hlinkClick r:id="rId3"/>
              </a:rPr>
              <a:t>detectors</a:t>
            </a:r>
            <a:endParaRPr lang="de-CH" sz="700"/>
          </a:p>
        </p:txBody>
      </p:sp>
      <p:sp>
        <p:nvSpPr>
          <p:cNvPr id="15" name="TextBox 14">
            <a:extLst>
              <a:ext uri="{FF2B5EF4-FFF2-40B4-BE49-F238E27FC236}">
                <a16:creationId xmlns:a16="http://schemas.microsoft.com/office/drawing/2014/main" id="{7DCE9110-4442-5C91-87E5-7021EA5CFA75}"/>
              </a:ext>
            </a:extLst>
          </p:cNvPr>
          <p:cNvSpPr txBox="1"/>
          <p:nvPr/>
        </p:nvSpPr>
        <p:spPr>
          <a:xfrm>
            <a:off x="3531899" y="3467193"/>
            <a:ext cx="1346077" cy="253128"/>
          </a:xfrm>
          <a:prstGeom prst="rect">
            <a:avLst/>
          </a:prstGeom>
          <a:noFill/>
          <a:ln>
            <a:noFill/>
          </a:ln>
        </p:spPr>
        <p:txBody>
          <a:bodyPr wrap="square" lIns="72000" tIns="72000" rIns="72000" bIns="72000" rtlCol="0">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buClr>
                <a:schemeClr val="accent1"/>
              </a:buClr>
            </a:pPr>
            <a:r>
              <a:rPr lang="de-CH" sz="700">
                <a:hlinkClick r:id="rId4"/>
              </a:rPr>
              <a:t>Vape </a:t>
            </a:r>
            <a:r>
              <a:rPr lang="de-CH" sz="700" err="1">
                <a:hlinkClick r:id="rId4"/>
              </a:rPr>
              <a:t>detection</a:t>
            </a:r>
            <a:endParaRPr lang="de-CH" sz="700"/>
          </a:p>
        </p:txBody>
      </p:sp>
      <p:pic>
        <p:nvPicPr>
          <p:cNvPr id="16" name="Picture 15">
            <a:hlinkClick r:id="rId3"/>
            <a:extLst>
              <a:ext uri="{FF2B5EF4-FFF2-40B4-BE49-F238E27FC236}">
                <a16:creationId xmlns:a16="http://schemas.microsoft.com/office/drawing/2014/main" id="{A5BC1FFA-D60D-8924-0128-0B59DA38E88C}"/>
              </a:ext>
            </a:extLst>
          </p:cNvPr>
          <p:cNvPicPr>
            <a:picLocks noChangeAspect="1"/>
          </p:cNvPicPr>
          <p:nvPr/>
        </p:nvPicPr>
        <p:blipFill>
          <a:blip r:embed="rId5"/>
          <a:stretch>
            <a:fillRect/>
          </a:stretch>
        </p:blipFill>
        <p:spPr>
          <a:xfrm>
            <a:off x="116352" y="1042789"/>
            <a:ext cx="1601124" cy="2424406"/>
          </a:xfrm>
          <a:prstGeom prst="rect">
            <a:avLst/>
          </a:prstGeom>
        </p:spPr>
      </p:pic>
      <p:pic>
        <p:nvPicPr>
          <p:cNvPr id="17" name="Picture 16">
            <a:hlinkClick r:id="rId2"/>
            <a:extLst>
              <a:ext uri="{FF2B5EF4-FFF2-40B4-BE49-F238E27FC236}">
                <a16:creationId xmlns:a16="http://schemas.microsoft.com/office/drawing/2014/main" id="{75AB67B5-EC77-B19F-BEBE-01307C816107}"/>
              </a:ext>
            </a:extLst>
          </p:cNvPr>
          <p:cNvPicPr>
            <a:picLocks noChangeAspect="1"/>
          </p:cNvPicPr>
          <p:nvPr/>
        </p:nvPicPr>
        <p:blipFill>
          <a:blip r:embed="rId6"/>
          <a:stretch>
            <a:fillRect/>
          </a:stretch>
        </p:blipFill>
        <p:spPr>
          <a:xfrm>
            <a:off x="1838064" y="1042789"/>
            <a:ext cx="1601939" cy="2424405"/>
          </a:xfrm>
          <a:prstGeom prst="rect">
            <a:avLst/>
          </a:prstGeom>
        </p:spPr>
      </p:pic>
      <p:pic>
        <p:nvPicPr>
          <p:cNvPr id="18" name="Picture 17">
            <a:hlinkClick r:id="rId4"/>
            <a:extLst>
              <a:ext uri="{FF2B5EF4-FFF2-40B4-BE49-F238E27FC236}">
                <a16:creationId xmlns:a16="http://schemas.microsoft.com/office/drawing/2014/main" id="{1F153F0C-BE22-14C1-01D0-EB9AB50ECF1E}"/>
              </a:ext>
            </a:extLst>
          </p:cNvPr>
          <p:cNvPicPr>
            <a:picLocks noChangeAspect="1"/>
          </p:cNvPicPr>
          <p:nvPr/>
        </p:nvPicPr>
        <p:blipFill>
          <a:blip r:embed="rId7"/>
          <a:stretch>
            <a:fillRect/>
          </a:stretch>
        </p:blipFill>
        <p:spPr>
          <a:xfrm>
            <a:off x="3531898" y="1042788"/>
            <a:ext cx="1597719" cy="2424405"/>
          </a:xfrm>
          <a:prstGeom prst="rect">
            <a:avLst/>
          </a:prstGeom>
        </p:spPr>
      </p:pic>
      <p:sp>
        <p:nvSpPr>
          <p:cNvPr id="19" name="TextBox 5">
            <a:extLst>
              <a:ext uri="{FF2B5EF4-FFF2-40B4-BE49-F238E27FC236}">
                <a16:creationId xmlns:a16="http://schemas.microsoft.com/office/drawing/2014/main" id="{C712854D-AC73-DE48-7611-4E4A3D37C090}"/>
              </a:ext>
            </a:extLst>
          </p:cNvPr>
          <p:cNvSpPr txBox="1"/>
          <p:nvPr/>
        </p:nvSpPr>
        <p:spPr>
          <a:xfrm>
            <a:off x="6911869" y="3467193"/>
            <a:ext cx="1085881" cy="253128"/>
          </a:xfrm>
          <a:prstGeom prst="rect">
            <a:avLst/>
          </a:prstGeom>
          <a:noFill/>
          <a:ln>
            <a:noFill/>
          </a:ln>
        </p:spPr>
        <p:txBody>
          <a:bodyPr wrap="square" lIns="72000" tIns="72000" rIns="72000" bIns="72000" rtlCol="0">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buClr>
                <a:schemeClr val="accent1"/>
              </a:buClr>
            </a:pPr>
            <a:r>
              <a:rPr lang="de-CH" sz="700">
                <a:hlinkClick r:id="rId8"/>
              </a:rPr>
              <a:t>IAQ </a:t>
            </a:r>
            <a:r>
              <a:rPr lang="de-CH" sz="700" err="1">
                <a:hlinkClick r:id="rId8"/>
              </a:rPr>
              <a:t>monitors</a:t>
            </a:r>
            <a:endParaRPr lang="de-CH" sz="700"/>
          </a:p>
        </p:txBody>
      </p:sp>
      <p:sp>
        <p:nvSpPr>
          <p:cNvPr id="20" name="TextBox 6">
            <a:extLst>
              <a:ext uri="{FF2B5EF4-FFF2-40B4-BE49-F238E27FC236}">
                <a16:creationId xmlns:a16="http://schemas.microsoft.com/office/drawing/2014/main" id="{BA306ABB-3B79-9530-A1A0-2AC8664539B9}"/>
              </a:ext>
            </a:extLst>
          </p:cNvPr>
          <p:cNvSpPr txBox="1"/>
          <p:nvPr/>
        </p:nvSpPr>
        <p:spPr>
          <a:xfrm>
            <a:off x="5227327" y="3476487"/>
            <a:ext cx="1299613" cy="253128"/>
          </a:xfrm>
          <a:prstGeom prst="rect">
            <a:avLst/>
          </a:prstGeom>
          <a:noFill/>
          <a:ln>
            <a:noFill/>
          </a:ln>
        </p:spPr>
        <p:txBody>
          <a:bodyPr wrap="square" lIns="72000" tIns="72000" rIns="72000" bIns="72000" rtlCol="0">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buClr>
                <a:schemeClr val="accent1"/>
              </a:buClr>
            </a:pPr>
            <a:r>
              <a:rPr lang="de-CH" sz="700">
                <a:hlinkClick r:id="rId9"/>
              </a:rPr>
              <a:t>Air </a:t>
            </a:r>
            <a:r>
              <a:rPr lang="de-CH" sz="700" err="1">
                <a:hlinkClick r:id="rId9"/>
              </a:rPr>
              <a:t>purifiers</a:t>
            </a:r>
            <a:endParaRPr lang="de-CH" sz="700"/>
          </a:p>
        </p:txBody>
      </p:sp>
      <p:sp>
        <p:nvSpPr>
          <p:cNvPr id="21" name="TextBox 14">
            <a:extLst>
              <a:ext uri="{FF2B5EF4-FFF2-40B4-BE49-F238E27FC236}">
                <a16:creationId xmlns:a16="http://schemas.microsoft.com/office/drawing/2014/main" id="{424A1AE2-A525-CDA9-C87B-34A82B2152DC}"/>
              </a:ext>
            </a:extLst>
          </p:cNvPr>
          <p:cNvSpPr txBox="1"/>
          <p:nvPr/>
        </p:nvSpPr>
        <p:spPr>
          <a:xfrm>
            <a:off x="8596411" y="3467193"/>
            <a:ext cx="1067296" cy="253128"/>
          </a:xfrm>
          <a:prstGeom prst="rect">
            <a:avLst/>
          </a:prstGeom>
          <a:noFill/>
          <a:ln>
            <a:noFill/>
          </a:ln>
        </p:spPr>
        <p:txBody>
          <a:bodyPr wrap="square" lIns="72000" tIns="72000" rIns="72000" bIns="72000" rtlCol="0">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buClr>
                <a:schemeClr val="accent1"/>
              </a:buClr>
            </a:pPr>
            <a:r>
              <a:rPr lang="de-CH" sz="700">
                <a:hlinkClick r:id="rId10"/>
              </a:rPr>
              <a:t>Smart </a:t>
            </a:r>
            <a:r>
              <a:rPr lang="de-CH" sz="700" err="1">
                <a:hlinkClick r:id="rId10"/>
              </a:rPr>
              <a:t>thermostats</a:t>
            </a:r>
            <a:endParaRPr lang="de-CH" sz="700"/>
          </a:p>
        </p:txBody>
      </p:sp>
      <p:pic>
        <p:nvPicPr>
          <p:cNvPr id="22" name="Picture 21">
            <a:hlinkClick r:id="rId9"/>
            <a:extLst>
              <a:ext uri="{FF2B5EF4-FFF2-40B4-BE49-F238E27FC236}">
                <a16:creationId xmlns:a16="http://schemas.microsoft.com/office/drawing/2014/main" id="{18A3348E-10F3-92D4-527E-BBC53FDBB867}"/>
              </a:ext>
            </a:extLst>
          </p:cNvPr>
          <p:cNvPicPr>
            <a:picLocks noChangeAspect="1"/>
          </p:cNvPicPr>
          <p:nvPr/>
        </p:nvPicPr>
        <p:blipFill>
          <a:blip r:embed="rId11"/>
          <a:stretch>
            <a:fillRect/>
          </a:stretch>
        </p:blipFill>
        <p:spPr>
          <a:xfrm>
            <a:off x="5227328" y="1052724"/>
            <a:ext cx="1599215" cy="2423763"/>
          </a:xfrm>
          <a:prstGeom prst="rect">
            <a:avLst/>
          </a:prstGeom>
        </p:spPr>
      </p:pic>
      <p:pic>
        <p:nvPicPr>
          <p:cNvPr id="23" name="Picture 22">
            <a:hlinkClick r:id="rId8"/>
            <a:extLst>
              <a:ext uri="{FF2B5EF4-FFF2-40B4-BE49-F238E27FC236}">
                <a16:creationId xmlns:a16="http://schemas.microsoft.com/office/drawing/2014/main" id="{0C829A95-3F79-F7E3-C4AE-5899BA741F53}"/>
              </a:ext>
            </a:extLst>
          </p:cNvPr>
          <p:cNvPicPr>
            <a:picLocks noChangeAspect="1"/>
          </p:cNvPicPr>
          <p:nvPr/>
        </p:nvPicPr>
        <p:blipFill>
          <a:blip r:embed="rId12"/>
          <a:stretch>
            <a:fillRect/>
          </a:stretch>
        </p:blipFill>
        <p:spPr>
          <a:xfrm>
            <a:off x="6911868" y="1052724"/>
            <a:ext cx="1596856" cy="2423762"/>
          </a:xfrm>
          <a:prstGeom prst="rect">
            <a:avLst/>
          </a:prstGeom>
        </p:spPr>
      </p:pic>
      <p:pic>
        <p:nvPicPr>
          <p:cNvPr id="24" name="Picture 23">
            <a:hlinkClick r:id="rId10"/>
            <a:extLst>
              <a:ext uri="{FF2B5EF4-FFF2-40B4-BE49-F238E27FC236}">
                <a16:creationId xmlns:a16="http://schemas.microsoft.com/office/drawing/2014/main" id="{46D06C94-6582-5BA4-98AA-3821B0A77EAE}"/>
              </a:ext>
            </a:extLst>
          </p:cNvPr>
          <p:cNvPicPr>
            <a:picLocks noChangeAspect="1"/>
          </p:cNvPicPr>
          <p:nvPr/>
        </p:nvPicPr>
        <p:blipFill>
          <a:blip r:embed="rId13"/>
          <a:stretch>
            <a:fillRect/>
          </a:stretch>
        </p:blipFill>
        <p:spPr>
          <a:xfrm>
            <a:off x="8594053" y="1054562"/>
            <a:ext cx="1602248" cy="2421925"/>
          </a:xfrm>
          <a:prstGeom prst="rect">
            <a:avLst/>
          </a:prstGeom>
        </p:spPr>
      </p:pic>
      <p:sp>
        <p:nvSpPr>
          <p:cNvPr id="25" name="TextBox 6">
            <a:extLst>
              <a:ext uri="{FF2B5EF4-FFF2-40B4-BE49-F238E27FC236}">
                <a16:creationId xmlns:a16="http://schemas.microsoft.com/office/drawing/2014/main" id="{75244CAA-F8EE-C1EB-6003-D29ED1FA9516}"/>
              </a:ext>
            </a:extLst>
          </p:cNvPr>
          <p:cNvSpPr txBox="1"/>
          <p:nvPr/>
        </p:nvSpPr>
        <p:spPr>
          <a:xfrm>
            <a:off x="10310425" y="3467194"/>
            <a:ext cx="1531930" cy="360850"/>
          </a:xfrm>
          <a:prstGeom prst="rect">
            <a:avLst/>
          </a:prstGeom>
          <a:noFill/>
          <a:ln>
            <a:noFill/>
          </a:ln>
        </p:spPr>
        <p:txBody>
          <a:bodyPr wrap="square" lIns="72000" tIns="72000" rIns="72000" bIns="72000" rtlCol="0" anchor="t">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buClr>
                <a:schemeClr val="accent1"/>
              </a:buClr>
            </a:pPr>
            <a:r>
              <a:rPr lang="de-CH" sz="700">
                <a:hlinkClick r:id="rId14"/>
              </a:rPr>
              <a:t>Cold chain monitoring for pharmaceuticals</a:t>
            </a:r>
            <a:endParaRPr lang="de-CH" sz="700"/>
          </a:p>
        </p:txBody>
      </p:sp>
      <p:pic>
        <p:nvPicPr>
          <p:cNvPr id="26" name="Picture 25">
            <a:hlinkClick r:id="rId14"/>
            <a:extLst>
              <a:ext uri="{FF2B5EF4-FFF2-40B4-BE49-F238E27FC236}">
                <a16:creationId xmlns:a16="http://schemas.microsoft.com/office/drawing/2014/main" id="{217F051C-4F9E-76D5-730B-005B506CB15D}"/>
              </a:ext>
            </a:extLst>
          </p:cNvPr>
          <p:cNvPicPr>
            <a:picLocks noChangeAspect="1"/>
          </p:cNvPicPr>
          <p:nvPr/>
        </p:nvPicPr>
        <p:blipFill>
          <a:blip r:embed="rId15"/>
          <a:stretch>
            <a:fillRect/>
          </a:stretch>
        </p:blipFill>
        <p:spPr>
          <a:xfrm>
            <a:off x="10310425" y="1052724"/>
            <a:ext cx="1531563" cy="2423764"/>
          </a:xfrm>
          <a:prstGeom prst="rect">
            <a:avLst/>
          </a:prstGeom>
        </p:spPr>
      </p:pic>
      <p:sp>
        <p:nvSpPr>
          <p:cNvPr id="28" name="TextBox 27">
            <a:extLst>
              <a:ext uri="{FF2B5EF4-FFF2-40B4-BE49-F238E27FC236}">
                <a16:creationId xmlns:a16="http://schemas.microsoft.com/office/drawing/2014/main" id="{5E036BEC-27DC-EC49-0B4D-0E06ED2674F3}"/>
              </a:ext>
            </a:extLst>
          </p:cNvPr>
          <p:cNvSpPr txBox="1"/>
          <p:nvPr/>
        </p:nvSpPr>
        <p:spPr>
          <a:xfrm>
            <a:off x="643853" y="2944234"/>
            <a:ext cx="10545033" cy="365074"/>
          </a:xfrm>
          <a:prstGeom prst="rect">
            <a:avLst/>
          </a:prstGeom>
          <a:solidFill>
            <a:schemeClr val="accent1"/>
          </a:solidFill>
          <a:ln>
            <a:solidFill>
              <a:schemeClr val="accent1"/>
            </a:solid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spAutoFit/>
          </a:bodyPr>
          <a:lstStyle/>
          <a:p>
            <a:pPr algn="l">
              <a:buClr>
                <a:schemeClr val="accent1"/>
              </a:buClr>
            </a:pPr>
            <a:endParaRPr lang="en-US" sz="1400"/>
          </a:p>
        </p:txBody>
      </p:sp>
      <p:sp>
        <p:nvSpPr>
          <p:cNvPr id="29" name="TextBox 28">
            <a:extLst>
              <a:ext uri="{FF2B5EF4-FFF2-40B4-BE49-F238E27FC236}">
                <a16:creationId xmlns:a16="http://schemas.microsoft.com/office/drawing/2014/main" id="{A66E72C5-B67E-AD22-4C1C-EFAA94BF390A}"/>
              </a:ext>
            </a:extLst>
          </p:cNvPr>
          <p:cNvSpPr txBox="1"/>
          <p:nvPr/>
        </p:nvSpPr>
        <p:spPr>
          <a:xfrm>
            <a:off x="644913" y="2940205"/>
            <a:ext cx="10539760" cy="360850"/>
          </a:xfrm>
          <a:prstGeom prst="rect">
            <a:avLst/>
          </a:prstGeom>
          <a:noFill/>
          <a:ln>
            <a:no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spAutoFit/>
          </a:bodyPr>
          <a:lstStyle/>
          <a:p>
            <a:pPr algn="ctr"/>
            <a:r>
              <a:rPr lang="en-US" sz="1400" b="1">
                <a:solidFill>
                  <a:srgbClr val="FFFFFF"/>
                </a:solidFill>
                <a:cs typeface="Segoe UI"/>
              </a:rPr>
              <a:t>MCE</a:t>
            </a:r>
          </a:p>
        </p:txBody>
      </p:sp>
    </p:spTree>
    <p:extLst>
      <p:ext uri="{BB962C8B-B14F-4D97-AF65-F5344CB8AC3E}">
        <p14:creationId xmlns:p14="http://schemas.microsoft.com/office/powerpoint/2010/main" val="4140712670"/>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960EB039-6E4E-70FD-B200-97F9D6DD8469}"/>
              </a:ext>
            </a:extLst>
          </p:cNvPr>
          <p:cNvSpPr>
            <a:spLocks noGrp="1"/>
          </p:cNvSpPr>
          <p:nvPr>
            <p:ph type="body" sz="quarter" idx="13"/>
          </p:nvPr>
        </p:nvSpPr>
        <p:spPr/>
        <p:txBody>
          <a:bodyPr vert="horz" lIns="0" tIns="0" rIns="0" bIns="0" rtlCol="0" anchor="t">
            <a:spAutoFit/>
          </a:bodyPr>
          <a:lstStyle/>
          <a:p>
            <a:r>
              <a:rPr lang="en-US">
                <a:cs typeface="Segoe UI"/>
              </a:rPr>
              <a:t>Reminders</a:t>
            </a:r>
            <a:endParaRPr lang="en-US"/>
          </a:p>
        </p:txBody>
      </p:sp>
      <p:sp>
        <p:nvSpPr>
          <p:cNvPr id="4" name="Title 3">
            <a:extLst>
              <a:ext uri="{FF2B5EF4-FFF2-40B4-BE49-F238E27FC236}">
                <a16:creationId xmlns:a16="http://schemas.microsoft.com/office/drawing/2014/main" id="{E4D7BA5B-9FEF-881E-F258-0FDC48CC2F2A}"/>
              </a:ext>
            </a:extLst>
          </p:cNvPr>
          <p:cNvSpPr>
            <a:spLocks noGrp="1"/>
          </p:cNvSpPr>
          <p:nvPr>
            <p:ph type="title"/>
          </p:nvPr>
        </p:nvSpPr>
        <p:spPr/>
        <p:txBody>
          <a:bodyPr/>
          <a:lstStyle/>
          <a:p>
            <a:r>
              <a:rPr lang="en-US">
                <a:cs typeface="Segoe UI"/>
              </a:rPr>
              <a:t>Partner's Portal</a:t>
            </a:r>
            <a:endParaRPr lang="en-US"/>
          </a:p>
        </p:txBody>
      </p:sp>
      <p:sp>
        <p:nvSpPr>
          <p:cNvPr id="5" name="Footer Placeholder 4">
            <a:extLst>
              <a:ext uri="{FF2B5EF4-FFF2-40B4-BE49-F238E27FC236}">
                <a16:creationId xmlns:a16="http://schemas.microsoft.com/office/drawing/2014/main" id="{48E15229-DB9D-E03C-32C0-F2C85A2C797E}"/>
              </a:ext>
            </a:extLst>
          </p:cNvPr>
          <p:cNvSpPr>
            <a:spLocks noGrp="1"/>
          </p:cNvSpPr>
          <p:nvPr>
            <p:ph type="ftr" sz="quarter" idx="16"/>
          </p:nvPr>
        </p:nvSpPr>
        <p:spPr/>
        <p:txBody>
          <a:bodyPr/>
          <a:lstStyle/>
          <a:p>
            <a:r>
              <a:rPr lang="de-DE"/>
              <a:t>© Copyright Sensirion, Switzerland</a:t>
            </a:r>
          </a:p>
        </p:txBody>
      </p:sp>
      <p:sp>
        <p:nvSpPr>
          <p:cNvPr id="6" name="Slide Number Placeholder 5">
            <a:extLst>
              <a:ext uri="{FF2B5EF4-FFF2-40B4-BE49-F238E27FC236}">
                <a16:creationId xmlns:a16="http://schemas.microsoft.com/office/drawing/2014/main" id="{510E1541-4652-54E3-8634-9ADDD7E018ED}"/>
              </a:ext>
            </a:extLst>
          </p:cNvPr>
          <p:cNvSpPr>
            <a:spLocks noGrp="1"/>
          </p:cNvSpPr>
          <p:nvPr>
            <p:ph type="sldNum" sz="quarter" idx="17"/>
          </p:nvPr>
        </p:nvSpPr>
        <p:spPr/>
        <p:txBody>
          <a:bodyPr/>
          <a:lstStyle/>
          <a:p>
            <a:fld id="{B1E691A1-F3A6-4574-B226-B412272B38A6}" type="slidenum">
              <a:rPr lang="de-DE" smtClean="0"/>
              <a:pPr/>
              <a:t>39</a:t>
            </a:fld>
            <a:endParaRPr lang="de-DE"/>
          </a:p>
        </p:txBody>
      </p:sp>
      <p:pic>
        <p:nvPicPr>
          <p:cNvPr id="7" name="Picture 6">
            <a:extLst>
              <a:ext uri="{FF2B5EF4-FFF2-40B4-BE49-F238E27FC236}">
                <a16:creationId xmlns:a16="http://schemas.microsoft.com/office/drawing/2014/main" id="{B523E20C-D894-807F-5410-F64A93770C9C}"/>
              </a:ext>
            </a:extLst>
          </p:cNvPr>
          <p:cNvPicPr>
            <a:picLocks noChangeAspect="1"/>
          </p:cNvPicPr>
          <p:nvPr/>
        </p:nvPicPr>
        <p:blipFill>
          <a:blip r:embed="rId2"/>
          <a:stretch>
            <a:fillRect/>
          </a:stretch>
        </p:blipFill>
        <p:spPr>
          <a:xfrm>
            <a:off x="520390" y="1799683"/>
            <a:ext cx="7489903" cy="3723268"/>
          </a:xfrm>
          <a:prstGeom prst="rect">
            <a:avLst/>
          </a:prstGeom>
        </p:spPr>
      </p:pic>
      <p:sp>
        <p:nvSpPr>
          <p:cNvPr id="8" name="TextBox 7">
            <a:extLst>
              <a:ext uri="{FF2B5EF4-FFF2-40B4-BE49-F238E27FC236}">
                <a16:creationId xmlns:a16="http://schemas.microsoft.com/office/drawing/2014/main" id="{A85F6EF2-FA48-E1F1-D95A-1660D22739E0}"/>
              </a:ext>
            </a:extLst>
          </p:cNvPr>
          <p:cNvSpPr txBox="1"/>
          <p:nvPr/>
        </p:nvSpPr>
        <p:spPr>
          <a:xfrm>
            <a:off x="8389989" y="1796361"/>
            <a:ext cx="3281023" cy="1478137"/>
          </a:xfrm>
          <a:prstGeom prst="rect">
            <a:avLst/>
          </a:prstGeom>
          <a:noFill/>
          <a:ln>
            <a:no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spAutoFit/>
          </a:bodyPr>
          <a:lstStyle/>
          <a:p>
            <a:pPr marL="285750" indent="-285750">
              <a:buClr>
                <a:schemeClr val="accent1"/>
              </a:buClr>
              <a:buFont typeface="Arial"/>
              <a:buChar char="•"/>
            </a:pPr>
            <a:r>
              <a:rPr lang="en-US">
                <a:cs typeface="Segoe UI"/>
              </a:rPr>
              <a:t>New Product Introductions</a:t>
            </a:r>
          </a:p>
          <a:p>
            <a:pPr marL="285750" indent="-285750">
              <a:buClr>
                <a:schemeClr val="accent1"/>
              </a:buClr>
              <a:buFont typeface="Arial"/>
              <a:buChar char="•"/>
            </a:pPr>
            <a:r>
              <a:rPr lang="en-US">
                <a:cs typeface="Segoe UI"/>
              </a:rPr>
              <a:t>Newsletters</a:t>
            </a:r>
          </a:p>
          <a:p>
            <a:pPr marL="285750" indent="-285750">
              <a:buClr>
                <a:schemeClr val="accent1"/>
              </a:buClr>
              <a:buFont typeface="Arial"/>
              <a:buChar char="•"/>
            </a:pPr>
            <a:r>
              <a:rPr lang="en-US">
                <a:cs typeface="Segoe UI"/>
              </a:rPr>
              <a:t>One-pager downloads</a:t>
            </a:r>
          </a:p>
          <a:p>
            <a:pPr marL="285750" indent="-285750">
              <a:buClr>
                <a:schemeClr val="accent1"/>
              </a:buClr>
              <a:buFont typeface="Arial"/>
              <a:buChar char="•"/>
            </a:pPr>
            <a:r>
              <a:rPr lang="en-US">
                <a:cs typeface="Segoe UI"/>
              </a:rPr>
              <a:t>Trainings</a:t>
            </a:r>
          </a:p>
          <a:p>
            <a:pPr marL="285750" indent="-285750">
              <a:buClr>
                <a:schemeClr val="accent1"/>
              </a:buClr>
              <a:buFont typeface="Arial"/>
              <a:buChar char="•"/>
            </a:pPr>
            <a:endParaRPr lang="en-US" sz="1400">
              <a:cs typeface="Segoe UI"/>
            </a:endParaRPr>
          </a:p>
        </p:txBody>
      </p:sp>
    </p:spTree>
    <p:extLst>
      <p:ext uri="{BB962C8B-B14F-4D97-AF65-F5344CB8AC3E}">
        <p14:creationId xmlns:p14="http://schemas.microsoft.com/office/powerpoint/2010/main" val="332606625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Placeholder 7">
            <a:extLst>
              <a:ext uri="{FF2B5EF4-FFF2-40B4-BE49-F238E27FC236}">
                <a16:creationId xmlns:a16="http://schemas.microsoft.com/office/drawing/2014/main" id="{B726EF9D-6444-3F27-EBC4-6DBC5EF562F8}"/>
              </a:ext>
            </a:extLst>
          </p:cNvPr>
          <p:cNvPicPr>
            <a:picLocks noGrp="1" noChangeAspect="1"/>
          </p:cNvPicPr>
          <p:nvPr>
            <p:ph type="pic" sz="quarter" idx="11"/>
          </p:nvPr>
        </p:nvPicPr>
        <p:blipFill>
          <a:blip r:embed="rId3" cstate="email">
            <a:extLst>
              <a:ext uri="{28A0092B-C50C-407E-A947-70E740481C1C}">
                <a14:useLocalDpi xmlns:a14="http://schemas.microsoft.com/office/drawing/2010/main"/>
              </a:ext>
            </a:extLst>
          </a:blip>
          <a:srcRect/>
          <a:stretch>
            <a:fillRect/>
          </a:stretch>
        </p:blipFill>
        <p:spPr>
          <a:prstGeom prst="rect">
            <a:avLst/>
          </a:prstGeom>
        </p:spPr>
      </p:pic>
      <p:sp>
        <p:nvSpPr>
          <p:cNvPr id="3" name="Footer Placeholder 2">
            <a:extLst>
              <a:ext uri="{FF2B5EF4-FFF2-40B4-BE49-F238E27FC236}">
                <a16:creationId xmlns:a16="http://schemas.microsoft.com/office/drawing/2014/main" id="{2C5E3283-C34D-3C40-6872-788A7AA4B65F}"/>
              </a:ext>
            </a:extLst>
          </p:cNvPr>
          <p:cNvSpPr>
            <a:spLocks noGrp="1"/>
          </p:cNvSpPr>
          <p:nvPr>
            <p:ph type="ftr" sz="quarter" idx="16"/>
          </p:nvPr>
        </p:nvSpPr>
        <p:spPr/>
        <p:txBody>
          <a:bodyPr/>
          <a:lstStyle/>
          <a:p>
            <a:r>
              <a:rPr lang="de-DE"/>
              <a:t>© Copyright Sensirion, Switzerland</a:t>
            </a:r>
          </a:p>
        </p:txBody>
      </p:sp>
      <p:sp>
        <p:nvSpPr>
          <p:cNvPr id="4" name="Slide Number Placeholder 3">
            <a:extLst>
              <a:ext uri="{FF2B5EF4-FFF2-40B4-BE49-F238E27FC236}">
                <a16:creationId xmlns:a16="http://schemas.microsoft.com/office/drawing/2014/main" id="{0A6E5E6C-AEE1-7512-CB02-E27428FD7D19}"/>
              </a:ext>
            </a:extLst>
          </p:cNvPr>
          <p:cNvSpPr>
            <a:spLocks noGrp="1"/>
          </p:cNvSpPr>
          <p:nvPr>
            <p:ph type="sldNum" sz="quarter" idx="17"/>
          </p:nvPr>
        </p:nvSpPr>
        <p:spPr/>
        <p:txBody>
          <a:bodyPr/>
          <a:lstStyle/>
          <a:p>
            <a:fld id="{B1E691A1-F3A6-4574-B226-B412272B38A6}" type="slidenum">
              <a:rPr lang="de-DE" smtClean="0"/>
              <a:pPr/>
              <a:t>4</a:t>
            </a:fld>
            <a:endParaRPr lang="de-DE"/>
          </a:p>
        </p:txBody>
      </p:sp>
      <p:sp>
        <p:nvSpPr>
          <p:cNvPr id="5" name="Text Placeholder 4">
            <a:extLst>
              <a:ext uri="{FF2B5EF4-FFF2-40B4-BE49-F238E27FC236}">
                <a16:creationId xmlns:a16="http://schemas.microsoft.com/office/drawing/2014/main" id="{042498EB-3D90-4AC5-638D-89FE879D6C09}"/>
              </a:ext>
            </a:extLst>
          </p:cNvPr>
          <p:cNvSpPr>
            <a:spLocks noGrp="1"/>
          </p:cNvSpPr>
          <p:nvPr>
            <p:ph type="body" sz="quarter" idx="13"/>
          </p:nvPr>
        </p:nvSpPr>
        <p:spPr/>
        <p:txBody>
          <a:bodyPr vert="horz" wrap="square" lIns="0" tIns="0" rIns="0" bIns="0" rtlCol="0" anchor="t">
            <a:spAutoFit/>
          </a:bodyPr>
          <a:lstStyle/>
          <a:p>
            <a:r>
              <a:rPr lang="en-US"/>
              <a:t>US Channel Team Reorg for &gt;20% CAGR Initiatives</a:t>
            </a:r>
          </a:p>
        </p:txBody>
      </p:sp>
      <p:sp>
        <p:nvSpPr>
          <p:cNvPr id="6" name="Content Placeholder 5">
            <a:extLst>
              <a:ext uri="{FF2B5EF4-FFF2-40B4-BE49-F238E27FC236}">
                <a16:creationId xmlns:a16="http://schemas.microsoft.com/office/drawing/2014/main" id="{B276241F-CCE5-8D3E-D6AF-BC98B08E0D10}"/>
              </a:ext>
            </a:extLst>
          </p:cNvPr>
          <p:cNvSpPr>
            <a:spLocks noGrp="1"/>
          </p:cNvSpPr>
          <p:nvPr>
            <p:ph sz="quarter" idx="15"/>
          </p:nvPr>
        </p:nvSpPr>
        <p:spPr/>
        <p:txBody>
          <a:bodyPr/>
          <a:lstStyle/>
          <a:p>
            <a:r>
              <a:rPr lang="en-US" b="1"/>
              <a:t>Added 2</a:t>
            </a:r>
            <a:r>
              <a:rPr lang="en-US" b="1" baseline="30000"/>
              <a:t>nd</a:t>
            </a:r>
            <a:r>
              <a:rPr lang="en-US" b="1"/>
              <a:t> Distribution Manager Role</a:t>
            </a:r>
          </a:p>
          <a:p>
            <a:pPr lvl="1"/>
            <a:r>
              <a:rPr lang="en-US"/>
              <a:t>Promoted Theresa Tesch to Distribution Mgr.</a:t>
            </a:r>
          </a:p>
          <a:p>
            <a:pPr lvl="1"/>
            <a:r>
              <a:rPr lang="en-US"/>
              <a:t>Hired Inside Sales focused on Distribution (next slide)</a:t>
            </a:r>
          </a:p>
          <a:p>
            <a:pPr marL="180000" lvl="1" indent="0">
              <a:buNone/>
            </a:pPr>
            <a:endParaRPr lang="en-US" b="1"/>
          </a:p>
          <a:p>
            <a:r>
              <a:rPr lang="en-US" b="1"/>
              <a:t>Created Technical Sales Manager Role</a:t>
            </a:r>
          </a:p>
          <a:p>
            <a:pPr lvl="1"/>
            <a:r>
              <a:rPr lang="en-US"/>
              <a:t>Transitioned Frank to help expand Demand Creation</a:t>
            </a:r>
          </a:p>
          <a:p>
            <a:pPr marL="0" indent="0">
              <a:buNone/>
            </a:pPr>
            <a:endParaRPr lang="en-US" b="1"/>
          </a:p>
          <a:p>
            <a:r>
              <a:rPr lang="en-US" b="1"/>
              <a:t>Split North America into Two (2) Regions</a:t>
            </a:r>
          </a:p>
          <a:p>
            <a:pPr lvl="1"/>
            <a:r>
              <a:rPr lang="en-US"/>
              <a:t>Rick handles East</a:t>
            </a:r>
          </a:p>
          <a:p>
            <a:pPr lvl="1"/>
            <a:r>
              <a:rPr lang="en-US"/>
              <a:t>Gary handles West &amp; Central</a:t>
            </a:r>
          </a:p>
        </p:txBody>
      </p:sp>
      <p:sp>
        <p:nvSpPr>
          <p:cNvPr id="7" name="Title 6">
            <a:extLst>
              <a:ext uri="{FF2B5EF4-FFF2-40B4-BE49-F238E27FC236}">
                <a16:creationId xmlns:a16="http://schemas.microsoft.com/office/drawing/2014/main" id="{312E7112-4BBE-800C-7992-B7698CEE648F}"/>
              </a:ext>
            </a:extLst>
          </p:cNvPr>
          <p:cNvSpPr>
            <a:spLocks noGrp="1"/>
          </p:cNvSpPr>
          <p:nvPr>
            <p:ph type="title"/>
          </p:nvPr>
        </p:nvSpPr>
        <p:spPr/>
        <p:txBody>
          <a:bodyPr/>
          <a:lstStyle/>
          <a:p>
            <a:r>
              <a:rPr lang="en-US"/>
              <a:t>Summary of Org Changes</a:t>
            </a:r>
          </a:p>
        </p:txBody>
      </p:sp>
    </p:spTree>
    <p:extLst>
      <p:ext uri="{BB962C8B-B14F-4D97-AF65-F5344CB8AC3E}">
        <p14:creationId xmlns:p14="http://schemas.microsoft.com/office/powerpoint/2010/main" val="3848458262"/>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A6A2416-3F90-3A0B-6323-EB67C628E593}"/>
            </a:ext>
          </a:extLst>
        </p:cNvPr>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1171FBAB-85A1-2247-9C02-B2211567CDA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80" imgH="481" progId="TCLayout.ActiveDocument.1">
                  <p:embed/>
                </p:oleObj>
              </mc:Choice>
              <mc:Fallback>
                <p:oleObj name="think-cell Folie" r:id="rId3" imgW="480" imgH="481" progId="TCLayout.ActiveDocument.1">
                  <p:embed/>
                  <p:pic>
                    <p:nvPicPr>
                      <p:cNvPr id="8" name="Object 7" hidden="1">
                        <a:extLst>
                          <a:ext uri="{FF2B5EF4-FFF2-40B4-BE49-F238E27FC236}">
                            <a16:creationId xmlns:a16="http://schemas.microsoft.com/office/drawing/2014/main" id="{1171FBAB-85A1-2247-9C02-B2211567CDA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1" name="Grafik 1" descr="Ein Bild, das Luftfotografie, draußen, Himmel, Wasser enthält.&#10;&#10;Automatisch generierte Beschreibung">
            <a:extLst>
              <a:ext uri="{FF2B5EF4-FFF2-40B4-BE49-F238E27FC236}">
                <a16:creationId xmlns:a16="http://schemas.microsoft.com/office/drawing/2014/main" id="{236AB869-B113-83E7-5A5F-3D70CC4BFBAF}"/>
              </a:ext>
            </a:extLst>
          </p:cNvPr>
          <p:cNvPicPr>
            <a:picLocks noGrp="1" noChangeAspect="1"/>
          </p:cNvPicPr>
          <p:nvPr>
            <p:ph type="pic" sz="quarter" idx="11"/>
          </p:nvPr>
        </p:nvPicPr>
        <p:blipFill rotWithShape="1">
          <a:blip r:embed="rId5" cstate="screen">
            <a:extLst>
              <a:ext uri="{28A0092B-C50C-407E-A947-70E740481C1C}">
                <a14:useLocalDpi xmlns:a14="http://schemas.microsoft.com/office/drawing/2010/main"/>
              </a:ext>
            </a:extLst>
          </a:blip>
          <a:srcRect t="14" b="14"/>
          <a:stretch/>
        </p:blipFill>
        <p:spPr/>
      </p:pic>
      <p:sp>
        <p:nvSpPr>
          <p:cNvPr id="3" name="Title 2">
            <a:extLst>
              <a:ext uri="{FF2B5EF4-FFF2-40B4-BE49-F238E27FC236}">
                <a16:creationId xmlns:a16="http://schemas.microsoft.com/office/drawing/2014/main" id="{5B8C60CE-7211-7696-19DF-22712CA988A2}"/>
              </a:ext>
            </a:extLst>
          </p:cNvPr>
          <p:cNvSpPr>
            <a:spLocks noGrp="1"/>
          </p:cNvSpPr>
          <p:nvPr>
            <p:ph type="ctrTitle"/>
          </p:nvPr>
        </p:nvSpPr>
        <p:spPr>
          <a:xfrm>
            <a:off x="1197425" y="1334075"/>
            <a:ext cx="9144000" cy="738664"/>
          </a:xfrm>
        </p:spPr>
        <p:txBody>
          <a:bodyPr vert="horz"/>
          <a:lstStyle/>
          <a:p>
            <a:r>
              <a:rPr lang="en-US"/>
              <a:t>Inside sales updates</a:t>
            </a:r>
          </a:p>
        </p:txBody>
      </p:sp>
      <p:sp>
        <p:nvSpPr>
          <p:cNvPr id="15" name="Textplatzhalter 14">
            <a:extLst>
              <a:ext uri="{FF2B5EF4-FFF2-40B4-BE49-F238E27FC236}">
                <a16:creationId xmlns:a16="http://schemas.microsoft.com/office/drawing/2014/main" id="{03F4FF27-7255-A3D0-E417-ADA98BAAE4AA}"/>
              </a:ext>
            </a:extLst>
          </p:cNvPr>
          <p:cNvSpPr>
            <a:spLocks noGrp="1"/>
          </p:cNvSpPr>
          <p:nvPr>
            <p:ph type="body" sz="quarter" idx="12"/>
          </p:nvPr>
        </p:nvSpPr>
        <p:spPr/>
        <p:txBody>
          <a:bodyPr/>
          <a:lstStyle/>
          <a:p>
            <a:endParaRPr lang="en-US"/>
          </a:p>
        </p:txBody>
      </p:sp>
      <p:sp>
        <p:nvSpPr>
          <p:cNvPr id="16" name="Textplatzhalter 15">
            <a:extLst>
              <a:ext uri="{FF2B5EF4-FFF2-40B4-BE49-F238E27FC236}">
                <a16:creationId xmlns:a16="http://schemas.microsoft.com/office/drawing/2014/main" id="{C76A0FA7-904C-BBF2-EA4D-3A65FEAD85C2}"/>
              </a:ext>
            </a:extLst>
          </p:cNvPr>
          <p:cNvSpPr>
            <a:spLocks noGrp="1"/>
          </p:cNvSpPr>
          <p:nvPr>
            <p:ph type="body" sz="quarter" idx="13"/>
          </p:nvPr>
        </p:nvSpPr>
        <p:spPr/>
        <p:txBody>
          <a:bodyPr/>
          <a:lstStyle/>
          <a:p>
            <a:endParaRPr lang="en-US"/>
          </a:p>
        </p:txBody>
      </p:sp>
    </p:spTree>
    <p:extLst>
      <p:ext uri="{BB962C8B-B14F-4D97-AF65-F5344CB8AC3E}">
        <p14:creationId xmlns:p14="http://schemas.microsoft.com/office/powerpoint/2010/main" val="810978949"/>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ECB68D42-AA55-68E5-8C2F-301E1DE1AC07}"/>
              </a:ext>
            </a:extLst>
          </p:cNvPr>
          <p:cNvSpPr>
            <a:spLocks noGrp="1"/>
          </p:cNvSpPr>
          <p:nvPr>
            <p:ph sz="quarter" idx="15"/>
          </p:nvPr>
        </p:nvSpPr>
        <p:spPr/>
        <p:txBody>
          <a:bodyPr vert="horz" lIns="0" tIns="0" rIns="0" bIns="0" rtlCol="0" anchor="t">
            <a:noAutofit/>
          </a:bodyPr>
          <a:lstStyle/>
          <a:p>
            <a:pPr marL="179705" indent="-179705"/>
            <a:r>
              <a:rPr lang="en-US" sz="1800">
                <a:cs typeface="Segoe UI"/>
              </a:rPr>
              <a:t>Merging duplicate rep accounts </a:t>
            </a:r>
          </a:p>
          <a:p>
            <a:pPr marL="179705" indent="-179705"/>
            <a:endParaRPr lang="en-US" sz="1800">
              <a:cs typeface="Segoe UI"/>
            </a:endParaRPr>
          </a:p>
          <a:p>
            <a:pPr marL="179705" indent="-179705"/>
            <a:r>
              <a:rPr lang="en-US" sz="1800">
                <a:cs typeface="Segoe UI"/>
              </a:rPr>
              <a:t>Merging duplicate rep contacts</a:t>
            </a:r>
          </a:p>
          <a:p>
            <a:pPr marL="179705" indent="-179705"/>
            <a:endParaRPr lang="en-US" sz="1800">
              <a:cs typeface="Segoe UI"/>
            </a:endParaRPr>
          </a:p>
          <a:p>
            <a:pPr marL="179705" indent="-179705"/>
            <a:r>
              <a:rPr lang="en-US" sz="1800">
                <a:cs typeface="Segoe UI"/>
              </a:rPr>
              <a:t>Updating contacts to inactive </a:t>
            </a:r>
          </a:p>
          <a:p>
            <a:pPr marL="0" indent="0">
              <a:buNone/>
            </a:pPr>
            <a:endParaRPr lang="en-US" sz="1800">
              <a:cs typeface="Segoe UI"/>
            </a:endParaRPr>
          </a:p>
          <a:p>
            <a:pPr marL="179705" indent="-179705"/>
            <a:r>
              <a:rPr lang="en-US" sz="1800">
                <a:cs typeface="Segoe UI"/>
              </a:rPr>
              <a:t>Updating Sales rep as the contact in accounts and opportunities </a:t>
            </a:r>
          </a:p>
        </p:txBody>
      </p:sp>
      <p:sp>
        <p:nvSpPr>
          <p:cNvPr id="4" name="Title 3">
            <a:extLst>
              <a:ext uri="{FF2B5EF4-FFF2-40B4-BE49-F238E27FC236}">
                <a16:creationId xmlns:a16="http://schemas.microsoft.com/office/drawing/2014/main" id="{81FD6FAB-9091-CF0C-A14E-254C15550098}"/>
              </a:ext>
            </a:extLst>
          </p:cNvPr>
          <p:cNvSpPr>
            <a:spLocks noGrp="1"/>
          </p:cNvSpPr>
          <p:nvPr>
            <p:ph type="title"/>
          </p:nvPr>
        </p:nvSpPr>
        <p:spPr/>
        <p:txBody>
          <a:bodyPr/>
          <a:lstStyle/>
          <a:p>
            <a:r>
              <a:rPr lang="en-US">
                <a:cs typeface="Segoe UI"/>
              </a:rPr>
              <a:t>Salesforce Cleanup Project </a:t>
            </a:r>
            <a:endParaRPr lang="en-US"/>
          </a:p>
        </p:txBody>
      </p:sp>
      <p:sp>
        <p:nvSpPr>
          <p:cNvPr id="5" name="Footer Placeholder 4">
            <a:extLst>
              <a:ext uri="{FF2B5EF4-FFF2-40B4-BE49-F238E27FC236}">
                <a16:creationId xmlns:a16="http://schemas.microsoft.com/office/drawing/2014/main" id="{11407851-B2FB-C78A-C123-24FB3182C9FE}"/>
              </a:ext>
            </a:extLst>
          </p:cNvPr>
          <p:cNvSpPr>
            <a:spLocks noGrp="1"/>
          </p:cNvSpPr>
          <p:nvPr>
            <p:ph type="ftr" sz="quarter" idx="16"/>
          </p:nvPr>
        </p:nvSpPr>
        <p:spPr/>
        <p:txBody>
          <a:bodyPr/>
          <a:lstStyle/>
          <a:p>
            <a:r>
              <a:rPr lang="de-DE"/>
              <a:t>© Copyright Sensirion, Switzerland</a:t>
            </a:r>
          </a:p>
        </p:txBody>
      </p:sp>
      <p:sp>
        <p:nvSpPr>
          <p:cNvPr id="6" name="Slide Number Placeholder 5">
            <a:extLst>
              <a:ext uri="{FF2B5EF4-FFF2-40B4-BE49-F238E27FC236}">
                <a16:creationId xmlns:a16="http://schemas.microsoft.com/office/drawing/2014/main" id="{8730DD76-7A3F-8BBB-ACAB-200C1CB92295}"/>
              </a:ext>
            </a:extLst>
          </p:cNvPr>
          <p:cNvSpPr>
            <a:spLocks noGrp="1"/>
          </p:cNvSpPr>
          <p:nvPr>
            <p:ph type="sldNum" sz="quarter" idx="17"/>
          </p:nvPr>
        </p:nvSpPr>
        <p:spPr/>
        <p:txBody>
          <a:bodyPr/>
          <a:lstStyle/>
          <a:p>
            <a:fld id="{B1E691A1-F3A6-4574-B226-B412272B38A6}" type="slidenum">
              <a:rPr lang="de-DE" smtClean="0"/>
              <a:pPr/>
              <a:t>41</a:t>
            </a:fld>
            <a:endParaRPr lang="de-DE"/>
          </a:p>
        </p:txBody>
      </p:sp>
    </p:spTree>
    <p:extLst>
      <p:ext uri="{BB962C8B-B14F-4D97-AF65-F5344CB8AC3E}">
        <p14:creationId xmlns:p14="http://schemas.microsoft.com/office/powerpoint/2010/main" val="734946971"/>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9F6F4A0-FC10-21D6-91FD-4D1F1132C665}"/>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EBA7CBE3-1A85-D608-CD3A-84DD3DB005C6}"/>
              </a:ext>
            </a:extLst>
          </p:cNvPr>
          <p:cNvSpPr>
            <a:spLocks noGrp="1"/>
          </p:cNvSpPr>
          <p:nvPr>
            <p:ph type="title"/>
          </p:nvPr>
        </p:nvSpPr>
        <p:spPr>
          <a:xfrm>
            <a:off x="701791" y="383323"/>
            <a:ext cx="11160125" cy="430887"/>
          </a:xfrm>
        </p:spPr>
        <p:txBody>
          <a:bodyPr/>
          <a:lstStyle/>
          <a:p>
            <a:r>
              <a:rPr lang="en-US"/>
              <a:t>FAE support</a:t>
            </a:r>
          </a:p>
        </p:txBody>
      </p:sp>
      <p:sp>
        <p:nvSpPr>
          <p:cNvPr id="4" name="Footer Placeholder 3">
            <a:extLst>
              <a:ext uri="{FF2B5EF4-FFF2-40B4-BE49-F238E27FC236}">
                <a16:creationId xmlns:a16="http://schemas.microsoft.com/office/drawing/2014/main" id="{32507AC2-DBFC-9E47-90E2-2F56BDFFC12A}"/>
              </a:ext>
            </a:extLst>
          </p:cNvPr>
          <p:cNvSpPr>
            <a:spLocks noGrp="1"/>
          </p:cNvSpPr>
          <p:nvPr>
            <p:ph type="ftr" sz="quarter" idx="15"/>
          </p:nvPr>
        </p:nvSpPr>
        <p:spPr>
          <a:xfrm>
            <a:off x="698536" y="6310083"/>
            <a:ext cx="2746800" cy="153888"/>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000" b="0" i="0" u="none" strike="noStrike" kern="1200" cap="none" spc="0" normalizeH="0" baseline="0" noProof="0">
                <a:ln>
                  <a:noFill/>
                </a:ln>
                <a:solidFill>
                  <a:srgbClr val="616161"/>
                </a:solidFill>
                <a:effectLst/>
                <a:uLnTx/>
                <a:uFillTx/>
                <a:latin typeface="Segoe UI"/>
                <a:ea typeface="+mn-ea"/>
                <a:cs typeface="+mn-cs"/>
              </a:rPr>
              <a:t>© Copyright </a:t>
            </a:r>
            <a:r>
              <a:rPr kumimoji="0" lang="de-DE" sz="1000" b="0" i="0" u="none" strike="noStrike" kern="1200" cap="none" spc="0" normalizeH="0" baseline="0" noProof="0" err="1">
                <a:ln>
                  <a:noFill/>
                </a:ln>
                <a:solidFill>
                  <a:srgbClr val="616161"/>
                </a:solidFill>
                <a:effectLst/>
                <a:uLnTx/>
                <a:uFillTx/>
                <a:latin typeface="Segoe UI"/>
                <a:ea typeface="+mn-ea"/>
                <a:cs typeface="+mn-cs"/>
              </a:rPr>
              <a:t>Sensirion</a:t>
            </a:r>
            <a:r>
              <a:rPr kumimoji="0" lang="de-DE" sz="1000" b="0" i="0" u="none" strike="noStrike" kern="1200" cap="none" spc="0" normalizeH="0" baseline="0" noProof="0">
                <a:ln>
                  <a:noFill/>
                </a:ln>
                <a:solidFill>
                  <a:srgbClr val="616161"/>
                </a:solidFill>
                <a:effectLst/>
                <a:uLnTx/>
                <a:uFillTx/>
                <a:latin typeface="Segoe UI"/>
                <a:ea typeface="+mn-ea"/>
                <a:cs typeface="+mn-cs"/>
              </a:rPr>
              <a:t>, </a:t>
            </a:r>
            <a:r>
              <a:rPr kumimoji="0" lang="de-DE" sz="1000" b="0" i="0" u="none" strike="noStrike" kern="1200" cap="none" spc="0" normalizeH="0" baseline="0" noProof="0" err="1">
                <a:ln>
                  <a:noFill/>
                </a:ln>
                <a:solidFill>
                  <a:srgbClr val="616161"/>
                </a:solidFill>
                <a:effectLst/>
                <a:uLnTx/>
                <a:uFillTx/>
                <a:latin typeface="Segoe UI"/>
                <a:ea typeface="+mn-ea"/>
                <a:cs typeface="+mn-cs"/>
              </a:rPr>
              <a:t>Switzerland</a:t>
            </a:r>
          </a:p>
        </p:txBody>
      </p:sp>
      <p:sp>
        <p:nvSpPr>
          <p:cNvPr id="6" name="Content Placeholder 2">
            <a:extLst>
              <a:ext uri="{FF2B5EF4-FFF2-40B4-BE49-F238E27FC236}">
                <a16:creationId xmlns:a16="http://schemas.microsoft.com/office/drawing/2014/main" id="{09E0909A-BF2D-A492-6823-4041CA4F5BF9}"/>
              </a:ext>
            </a:extLst>
          </p:cNvPr>
          <p:cNvSpPr txBox="1">
            <a:spLocks/>
          </p:cNvSpPr>
          <p:nvPr/>
        </p:nvSpPr>
        <p:spPr bwMode="gray">
          <a:xfrm>
            <a:off x="696933" y="821426"/>
            <a:ext cx="9851970" cy="2092881"/>
          </a:xfrm>
          <a:prstGeom prst="rect">
            <a:avLst/>
          </a:prstGeom>
        </p:spPr>
        <p:txBody>
          <a:bodyPr vert="horz" wrap="square" lIns="0" tIns="0" rIns="0" bIns="0" rtlCol="0" anchor="ctr">
            <a:spAutoFit/>
          </a:bodyPr>
          <a:lstStyle>
            <a:defPPr>
              <a:defRPr lang="de-DE"/>
            </a:defPPr>
            <a:lvl1pPr marL="0" algn="l" defTabSz="914400" rtl="0" eaLnBrk="1" latinLnBrk="0" hangingPunct="1">
              <a:lnSpc>
                <a:spcPct val="100000"/>
              </a:lnSpc>
              <a:defRPr sz="1000" kern="1200">
                <a:solidFill>
                  <a:schemeClr val="accent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800">
                <a:solidFill>
                  <a:srgbClr val="000000"/>
                </a:solidFill>
                <a:cs typeface="Segoe UI"/>
              </a:rPr>
              <a:t>Reminder: Please utilize the FAE support for technical inquiry use:</a:t>
            </a:r>
            <a:r>
              <a:rPr lang="en-US" sz="1400">
                <a:solidFill>
                  <a:schemeClr val="tx1">
                    <a:lumMod val="95000"/>
                    <a:lumOff val="5000"/>
                  </a:schemeClr>
                </a:solidFill>
                <a:cs typeface="Segoe UI"/>
              </a:rPr>
              <a:t> </a:t>
            </a:r>
            <a:r>
              <a:rPr lang="en-US" sz="1400" b="1">
                <a:solidFill>
                  <a:schemeClr val="tx1">
                    <a:lumMod val="95000"/>
                    <a:lumOff val="5000"/>
                  </a:schemeClr>
                </a:solidFill>
                <a:cs typeface="Segoe UI"/>
              </a:rPr>
              <a:t> </a:t>
            </a:r>
            <a:r>
              <a:rPr lang="en-US" sz="1800" b="1">
                <a:solidFill>
                  <a:srgbClr val="FF0000"/>
                </a:solidFill>
                <a:cs typeface="Segoe UI"/>
                <a:hlinkClick r:id="rId2">
                  <a:extLst>
                    <a:ext uri="{A12FA001-AC4F-418D-AE19-62706E023703}">
                      <ahyp:hlinkClr xmlns:ahyp="http://schemas.microsoft.com/office/drawing/2018/hyperlinkcolor" val="tx"/>
                    </a:ext>
                  </a:extLst>
                </a:hlinkClick>
              </a:rPr>
              <a:t>info.us@sensiron.</a:t>
            </a:r>
            <a:r>
              <a:rPr lang="en-US" sz="1800" b="1" u="sng">
                <a:solidFill>
                  <a:srgbClr val="FF0000"/>
                </a:solidFill>
                <a:cs typeface="Segoe UI"/>
                <a:hlinkClick r:id="rId2">
                  <a:extLst>
                    <a:ext uri="{A12FA001-AC4F-418D-AE19-62706E023703}">
                      <ahyp:hlinkClr xmlns:ahyp="http://schemas.microsoft.com/office/drawing/2018/hyperlinkcolor" val="tx"/>
                    </a:ext>
                  </a:extLst>
                </a:hlinkClick>
              </a:rPr>
              <a:t>com</a:t>
            </a:r>
            <a:r>
              <a:rPr lang="en-US" sz="1800">
                <a:solidFill>
                  <a:srgbClr val="FF0000"/>
                </a:solidFill>
                <a:cs typeface="Segoe UI"/>
              </a:rPr>
              <a:t> </a:t>
            </a:r>
            <a:r>
              <a:rPr lang="en-US" sz="1800">
                <a:solidFill>
                  <a:schemeClr val="tx1"/>
                </a:solidFill>
                <a:cs typeface="Segoe UI"/>
              </a:rPr>
              <a:t>!!!</a:t>
            </a:r>
            <a:br>
              <a:rPr lang="en-US" sz="1400">
                <a:cs typeface="Segoe UI"/>
              </a:rPr>
            </a:br>
            <a:br>
              <a:rPr lang="en-US" sz="1400">
                <a:cs typeface="Segoe UI"/>
              </a:rPr>
            </a:br>
            <a:r>
              <a:rPr lang="en-US" sz="1800">
                <a:solidFill>
                  <a:schemeClr val="tx1">
                    <a:lumMod val="95000"/>
                    <a:lumOff val="5000"/>
                  </a:schemeClr>
                </a:solidFill>
                <a:cs typeface="Segoe UI"/>
              </a:rPr>
              <a:t>Subject line:</a:t>
            </a:r>
            <a:r>
              <a:rPr lang="en-US" sz="1800" b="1">
                <a:solidFill>
                  <a:schemeClr val="tx1">
                    <a:lumMod val="95000"/>
                    <a:lumOff val="5000"/>
                  </a:schemeClr>
                </a:solidFill>
                <a:cs typeface="Segoe UI"/>
              </a:rPr>
              <a:t> Customer Name – Part Number – Application </a:t>
            </a:r>
            <a:endParaRPr lang="en-US" sz="1800">
              <a:solidFill>
                <a:schemeClr val="tx1">
                  <a:lumMod val="95000"/>
                  <a:lumOff val="5000"/>
                </a:schemeClr>
              </a:solidFill>
              <a:cs typeface="Segoe UI"/>
            </a:endParaRPr>
          </a:p>
          <a:p>
            <a:endParaRPr lang="en-US" sz="1400">
              <a:cs typeface="Segoe UI"/>
            </a:endParaRPr>
          </a:p>
          <a:p>
            <a:r>
              <a:rPr lang="en-US" sz="1800">
                <a:solidFill>
                  <a:schemeClr val="tx1">
                    <a:lumMod val="95000"/>
                    <a:lumOff val="5000"/>
                  </a:schemeClr>
                </a:solidFill>
                <a:cs typeface="Segoe UI"/>
              </a:rPr>
              <a:t>Please CC: </a:t>
            </a:r>
            <a:r>
              <a:rPr lang="en-US" sz="1400" b="1" err="1">
                <a:solidFill>
                  <a:schemeClr val="tx1">
                    <a:lumMod val="95000"/>
                    <a:lumOff val="5000"/>
                  </a:schemeClr>
                </a:solidFill>
                <a:cs typeface="Segoe UI"/>
              </a:rPr>
              <a:t>Sensirion</a:t>
            </a:r>
            <a:r>
              <a:rPr lang="en-US" sz="1400" b="1">
                <a:solidFill>
                  <a:schemeClr val="tx1">
                    <a:lumMod val="95000"/>
                    <a:lumOff val="5000"/>
                  </a:schemeClr>
                </a:solidFill>
                <a:cs typeface="Segoe UI"/>
              </a:rPr>
              <a:t> RSM &amp; Inside Sales</a:t>
            </a:r>
          </a:p>
          <a:p>
            <a:br>
              <a:rPr lang="en-US" sz="1400">
                <a:cs typeface="Segoe UI"/>
              </a:rPr>
            </a:br>
            <a:r>
              <a:rPr lang="en-US" sz="1400">
                <a:solidFill>
                  <a:schemeClr val="tx1">
                    <a:lumMod val="95000"/>
                    <a:lumOff val="5000"/>
                  </a:schemeClr>
                </a:solidFill>
                <a:cs typeface="Segoe UI"/>
              </a:rPr>
              <a:t>Please add the </a:t>
            </a:r>
            <a:r>
              <a:rPr lang="en-US" sz="1400" b="1">
                <a:solidFill>
                  <a:schemeClr val="tx1">
                    <a:lumMod val="95000"/>
                    <a:lumOff val="5000"/>
                  </a:schemeClr>
                </a:solidFill>
                <a:cs typeface="Segoe UI"/>
              </a:rPr>
              <a:t>Application</a:t>
            </a:r>
            <a:r>
              <a:rPr lang="en-US" sz="1400">
                <a:solidFill>
                  <a:schemeClr val="tx1">
                    <a:lumMod val="95000"/>
                    <a:lumOff val="5000"/>
                  </a:schemeClr>
                </a:solidFill>
                <a:cs typeface="Segoe UI"/>
              </a:rPr>
              <a:t>. This ensures the fastest FAE response.</a:t>
            </a:r>
            <a:br>
              <a:rPr lang="en-US" sz="1400">
                <a:cs typeface="Segoe UI"/>
              </a:rPr>
            </a:br>
            <a:endParaRPr lang="en-US" sz="1400">
              <a:solidFill>
                <a:srgbClr val="000000"/>
              </a:solidFill>
              <a:cs typeface="Segoe UI"/>
            </a:endParaRPr>
          </a:p>
          <a:p>
            <a:endParaRPr lang="de-CH" sz="1200">
              <a:solidFill>
                <a:schemeClr val="tx1">
                  <a:lumMod val="95000"/>
                  <a:lumOff val="5000"/>
                </a:schemeClr>
              </a:solidFill>
              <a:cs typeface="Segoe UI"/>
            </a:endParaRPr>
          </a:p>
        </p:txBody>
      </p:sp>
      <p:pic>
        <p:nvPicPr>
          <p:cNvPr id="2" name="Picture 1" descr="A screenshot of a computer&#10;&#10;AI-generated content may be incorrect.">
            <a:extLst>
              <a:ext uri="{FF2B5EF4-FFF2-40B4-BE49-F238E27FC236}">
                <a16:creationId xmlns:a16="http://schemas.microsoft.com/office/drawing/2014/main" id="{9538A59E-0C78-9AB3-E704-C80A644E1491}"/>
              </a:ext>
            </a:extLst>
          </p:cNvPr>
          <p:cNvPicPr>
            <a:picLocks noChangeAspect="1"/>
          </p:cNvPicPr>
          <p:nvPr/>
        </p:nvPicPr>
        <p:blipFill>
          <a:blip r:embed="rId3"/>
          <a:stretch>
            <a:fillRect/>
          </a:stretch>
        </p:blipFill>
        <p:spPr>
          <a:xfrm>
            <a:off x="518160" y="2615657"/>
            <a:ext cx="11165840" cy="3597725"/>
          </a:xfrm>
          <a:prstGeom prst="rect">
            <a:avLst/>
          </a:prstGeom>
        </p:spPr>
      </p:pic>
    </p:spTree>
    <p:extLst>
      <p:ext uri="{BB962C8B-B14F-4D97-AF65-F5344CB8AC3E}">
        <p14:creationId xmlns:p14="http://schemas.microsoft.com/office/powerpoint/2010/main" val="3588711046"/>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383029B-2342-30EC-22C8-DC1501B87C9D}"/>
            </a:ext>
          </a:extLst>
        </p:cNvPr>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05E2B3F4-F7D0-4811-6785-01B068DEAF9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80" imgH="481" progId="TCLayout.ActiveDocument.1">
                  <p:embed/>
                </p:oleObj>
              </mc:Choice>
              <mc:Fallback>
                <p:oleObj name="think-cell Folie" r:id="rId3" imgW="480" imgH="481" progId="TCLayout.ActiveDocument.1">
                  <p:embed/>
                  <p:pic>
                    <p:nvPicPr>
                      <p:cNvPr id="8" name="Object 7" hidden="1">
                        <a:extLst>
                          <a:ext uri="{FF2B5EF4-FFF2-40B4-BE49-F238E27FC236}">
                            <a16:creationId xmlns:a16="http://schemas.microsoft.com/office/drawing/2014/main" id="{05E2B3F4-F7D0-4811-6785-01B068DEAF9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1" name="Grafik 1" descr="Ein Bild, das Luftfotografie, draußen, Himmel, Wasser enthält.&#10;&#10;Automatisch generierte Beschreibung">
            <a:extLst>
              <a:ext uri="{FF2B5EF4-FFF2-40B4-BE49-F238E27FC236}">
                <a16:creationId xmlns:a16="http://schemas.microsoft.com/office/drawing/2014/main" id="{9AA45D71-13D8-4028-E254-A17CDBEC7F47}"/>
              </a:ext>
            </a:extLst>
          </p:cNvPr>
          <p:cNvPicPr>
            <a:picLocks noGrp="1" noChangeAspect="1"/>
          </p:cNvPicPr>
          <p:nvPr>
            <p:ph type="pic" sz="quarter" idx="11"/>
          </p:nvPr>
        </p:nvPicPr>
        <p:blipFill rotWithShape="1">
          <a:blip r:embed="rId5" cstate="screen">
            <a:extLst>
              <a:ext uri="{28A0092B-C50C-407E-A947-70E740481C1C}">
                <a14:useLocalDpi xmlns:a14="http://schemas.microsoft.com/office/drawing/2010/main"/>
              </a:ext>
            </a:extLst>
          </a:blip>
          <a:srcRect t="14" b="14"/>
          <a:stretch/>
        </p:blipFill>
        <p:spPr/>
      </p:pic>
      <p:sp>
        <p:nvSpPr>
          <p:cNvPr id="3" name="Title 2">
            <a:extLst>
              <a:ext uri="{FF2B5EF4-FFF2-40B4-BE49-F238E27FC236}">
                <a16:creationId xmlns:a16="http://schemas.microsoft.com/office/drawing/2014/main" id="{30230B69-D07D-1ECF-612B-05A93D5666EA}"/>
              </a:ext>
            </a:extLst>
          </p:cNvPr>
          <p:cNvSpPr>
            <a:spLocks noGrp="1"/>
          </p:cNvSpPr>
          <p:nvPr>
            <p:ph type="ctrTitle"/>
          </p:nvPr>
        </p:nvSpPr>
        <p:spPr>
          <a:xfrm>
            <a:off x="768063" y="1557811"/>
            <a:ext cx="9144000" cy="738664"/>
          </a:xfrm>
        </p:spPr>
        <p:txBody>
          <a:bodyPr vert="horz"/>
          <a:lstStyle/>
          <a:p>
            <a:r>
              <a:rPr lang="en-US" b="1" i="0" u="none" strike="noStrike" cap="all">
                <a:solidFill>
                  <a:srgbClr val="66CC33"/>
                </a:solidFill>
                <a:effectLst/>
                <a:latin typeface="Segoe UI" panose="020B0502040204020203" pitchFamily="34" charset="0"/>
              </a:rPr>
              <a:t>quiz</a:t>
            </a:r>
            <a:endParaRPr lang="en-US" sz="11500"/>
          </a:p>
        </p:txBody>
      </p:sp>
      <p:sp>
        <p:nvSpPr>
          <p:cNvPr id="15" name="Textplatzhalter 14">
            <a:extLst>
              <a:ext uri="{FF2B5EF4-FFF2-40B4-BE49-F238E27FC236}">
                <a16:creationId xmlns:a16="http://schemas.microsoft.com/office/drawing/2014/main" id="{095601A1-58A1-2DE1-6CA3-9BA57893EAD7}"/>
              </a:ext>
            </a:extLst>
          </p:cNvPr>
          <p:cNvSpPr>
            <a:spLocks noGrp="1"/>
          </p:cNvSpPr>
          <p:nvPr>
            <p:ph type="body" sz="quarter" idx="12"/>
          </p:nvPr>
        </p:nvSpPr>
        <p:spPr/>
        <p:txBody>
          <a:bodyPr/>
          <a:lstStyle/>
          <a:p>
            <a:endParaRPr lang="en-US"/>
          </a:p>
        </p:txBody>
      </p:sp>
      <p:sp>
        <p:nvSpPr>
          <p:cNvPr id="16" name="Textplatzhalter 15">
            <a:extLst>
              <a:ext uri="{FF2B5EF4-FFF2-40B4-BE49-F238E27FC236}">
                <a16:creationId xmlns:a16="http://schemas.microsoft.com/office/drawing/2014/main" id="{16115E4D-AD68-E5E7-D2E0-A0FBE2F539E3}"/>
              </a:ext>
            </a:extLst>
          </p:cNvPr>
          <p:cNvSpPr>
            <a:spLocks noGrp="1"/>
          </p:cNvSpPr>
          <p:nvPr>
            <p:ph type="body" sz="quarter" idx="13"/>
          </p:nvPr>
        </p:nvSpPr>
        <p:spPr/>
        <p:txBody>
          <a:bodyPr/>
          <a:lstStyle/>
          <a:p>
            <a:endParaRPr lang="en-US"/>
          </a:p>
        </p:txBody>
      </p:sp>
    </p:spTree>
    <p:extLst>
      <p:ext uri="{BB962C8B-B14F-4D97-AF65-F5344CB8AC3E}">
        <p14:creationId xmlns:p14="http://schemas.microsoft.com/office/powerpoint/2010/main" val="2493069002"/>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A8E712C-88C7-81B4-4809-9BFD54C913C5}"/>
            </a:ext>
          </a:extLst>
        </p:cNvPr>
        <p:cNvGrpSpPr/>
        <p:nvPr/>
      </p:nvGrpSpPr>
      <p:grpSpPr>
        <a:xfrm>
          <a:off x="0" y="0"/>
          <a:ext cx="0" cy="0"/>
          <a:chOff x="0" y="0"/>
          <a:chExt cx="0" cy="0"/>
        </a:xfrm>
      </p:grpSpPr>
      <p:sp>
        <p:nvSpPr>
          <p:cNvPr id="3" name="Content Placeholder 2">
            <a:extLst>
              <a:ext uri="{FF2B5EF4-FFF2-40B4-BE49-F238E27FC236}">
                <a16:creationId xmlns:a16="http://schemas.microsoft.com/office/drawing/2014/main" id="{BEEE16FD-B7EF-88E2-7FE5-2A2BE6420243}"/>
              </a:ext>
            </a:extLst>
          </p:cNvPr>
          <p:cNvSpPr>
            <a:spLocks noGrp="1"/>
          </p:cNvSpPr>
          <p:nvPr>
            <p:ph sz="quarter" idx="15"/>
          </p:nvPr>
        </p:nvSpPr>
        <p:spPr>
          <a:xfrm>
            <a:off x="515937" y="1667102"/>
            <a:ext cx="11160126" cy="4799011"/>
          </a:xfrm>
        </p:spPr>
        <p:txBody>
          <a:bodyPr vert="horz" lIns="0" tIns="0" rIns="0" bIns="0" rtlCol="0" anchor="t">
            <a:noAutofit/>
          </a:bodyPr>
          <a:lstStyle/>
          <a:p>
            <a:pPr marL="179705" indent="-179705" fontAlgn="base"/>
            <a:r>
              <a:rPr lang="en-US" sz="1800" b="0" i="0" u="none" strike="noStrike">
                <a:solidFill>
                  <a:srgbClr val="000000"/>
                </a:solidFill>
                <a:effectLst/>
              </a:rPr>
              <a:t>We </a:t>
            </a:r>
            <a:r>
              <a:rPr lang="en-US" sz="1800">
                <a:solidFill>
                  <a:srgbClr val="000000"/>
                </a:solidFill>
              </a:rPr>
              <a:t>play with Kahoot</a:t>
            </a:r>
            <a:r>
              <a:rPr lang="en-US" sz="1800" b="0" i="0" u="none" strike="noStrike">
                <a:solidFill>
                  <a:srgbClr val="000000"/>
                </a:solidFill>
                <a:effectLst/>
              </a:rPr>
              <a:t> …..</a:t>
            </a:r>
            <a:r>
              <a:rPr lang="en-US" sz="1800" b="0" i="0">
                <a:solidFill>
                  <a:srgbClr val="000000"/>
                </a:solidFill>
                <a:effectLst/>
              </a:rPr>
              <a:t>​</a:t>
            </a:r>
            <a:endParaRPr lang="en-US" b="0" i="0">
              <a:solidFill>
                <a:srgbClr val="000000"/>
              </a:solidFill>
              <a:effectLst/>
              <a:cs typeface="Segoe UI"/>
            </a:endParaRPr>
          </a:p>
          <a:p>
            <a:pPr marL="0" indent="0" algn="l" rtl="0" fontAlgn="base">
              <a:buNone/>
            </a:pPr>
            <a:endParaRPr lang="en-US" b="0" i="0">
              <a:solidFill>
                <a:srgbClr val="000000"/>
              </a:solidFill>
              <a:effectLst/>
            </a:endParaRPr>
          </a:p>
          <a:p>
            <a:pPr marL="179705" indent="-179705" algn="l" rtl="0" fontAlgn="base"/>
            <a:r>
              <a:rPr lang="en-US" sz="1800" b="0" i="0" u="none" strike="noStrike">
                <a:solidFill>
                  <a:srgbClr val="000000"/>
                </a:solidFill>
                <a:effectLst/>
              </a:rPr>
              <a:t>How to join</a:t>
            </a:r>
            <a:r>
              <a:rPr lang="en-US" sz="1800" b="0" i="0">
                <a:solidFill>
                  <a:srgbClr val="000000"/>
                </a:solidFill>
                <a:effectLst/>
              </a:rPr>
              <a:t>​</a:t>
            </a:r>
            <a:endParaRPr lang="en-US" b="0" i="0">
              <a:solidFill>
                <a:srgbClr val="000000"/>
              </a:solidFill>
              <a:effectLst/>
              <a:cs typeface="Segoe UI"/>
            </a:endParaRPr>
          </a:p>
          <a:p>
            <a:pPr marL="359410" lvl="1" indent="-179705" fontAlgn="base"/>
            <a:endParaRPr lang="en-US" sz="1800">
              <a:solidFill>
                <a:srgbClr val="000000"/>
              </a:solidFill>
            </a:endParaRPr>
          </a:p>
          <a:p>
            <a:pPr marL="359410" lvl="1" indent="-179705"/>
            <a:r>
              <a:rPr lang="en-US" sz="1800">
                <a:solidFill>
                  <a:srgbClr val="000000"/>
                </a:solidFill>
              </a:rPr>
              <a:t>Scan QR</a:t>
            </a:r>
            <a:r>
              <a:rPr lang="en-US" sz="1800" b="0" i="0" u="none" strike="noStrike">
                <a:solidFill>
                  <a:srgbClr val="000000"/>
                </a:solidFill>
                <a:effectLst/>
              </a:rPr>
              <a:t> Code</a:t>
            </a:r>
            <a:r>
              <a:rPr lang="en-US" sz="1800" b="0" i="0">
                <a:solidFill>
                  <a:srgbClr val="000000"/>
                </a:solidFill>
                <a:effectLst/>
              </a:rPr>
              <a:t>​</a:t>
            </a:r>
            <a:r>
              <a:rPr lang="en-US" sz="1800">
                <a:solidFill>
                  <a:srgbClr val="000000"/>
                </a:solidFill>
              </a:rPr>
              <a:t> with your cell phone</a:t>
            </a:r>
            <a:endParaRPr lang="en-US" b="0" i="0">
              <a:solidFill>
                <a:srgbClr val="000000"/>
              </a:solidFill>
              <a:effectLst/>
              <a:cs typeface="Segoe UI"/>
            </a:endParaRPr>
          </a:p>
          <a:p>
            <a:pPr marL="179705" lvl="1" indent="0">
              <a:buNone/>
            </a:pPr>
            <a:endParaRPr lang="en-US" sz="1800">
              <a:solidFill>
                <a:srgbClr val="000000"/>
              </a:solidFill>
              <a:cs typeface="Segoe UI"/>
            </a:endParaRPr>
          </a:p>
          <a:p>
            <a:pPr marL="179705" lvl="1" indent="0">
              <a:buNone/>
            </a:pPr>
            <a:r>
              <a:rPr lang="en-US" sz="1800">
                <a:solidFill>
                  <a:srgbClr val="000000"/>
                </a:solidFill>
                <a:cs typeface="Segoe UI"/>
              </a:rPr>
              <a:t>    Or</a:t>
            </a:r>
          </a:p>
          <a:p>
            <a:pPr marL="179705" lvl="1" indent="0">
              <a:buNone/>
            </a:pPr>
            <a:endParaRPr lang="en-US" sz="1800">
              <a:solidFill>
                <a:srgbClr val="000000"/>
              </a:solidFill>
              <a:cs typeface="Segoe UI"/>
            </a:endParaRPr>
          </a:p>
          <a:p>
            <a:pPr marL="359410" lvl="1" indent="-179705" fontAlgn="base"/>
            <a:r>
              <a:rPr lang="en-US" sz="2400" b="0" i="0" u="sng" strike="noStrike">
                <a:solidFill>
                  <a:srgbClr val="000000"/>
                </a:solidFill>
                <a:effectLst/>
                <a:hlinkClick r:id="rId2">
                  <a:extLst>
                    <a:ext uri="{A12FA001-AC4F-418D-AE19-62706E023703}">
                      <ahyp:hlinkClr xmlns:ahyp="http://schemas.microsoft.com/office/drawing/2018/hyperlinkcolor" val="tx"/>
                    </a:ext>
                  </a:extLst>
                </a:hlinkClick>
              </a:rPr>
              <a:t>www.kahoot.com</a:t>
            </a:r>
            <a:r>
              <a:rPr lang="en-US" sz="1800" b="0" i="0" u="none" strike="noStrike">
                <a:solidFill>
                  <a:srgbClr val="000000"/>
                </a:solidFill>
                <a:effectLst/>
              </a:rPr>
              <a:t> and enter pin</a:t>
            </a:r>
            <a:r>
              <a:rPr lang="en-US" sz="1800" b="0" i="0">
                <a:solidFill>
                  <a:srgbClr val="000000"/>
                </a:solidFill>
                <a:effectLst/>
              </a:rPr>
              <a:t>​</a:t>
            </a:r>
            <a:endParaRPr lang="en-US" b="0" i="0">
              <a:solidFill>
                <a:srgbClr val="000000"/>
              </a:solidFill>
              <a:effectLst/>
              <a:cs typeface="Segoe UI"/>
            </a:endParaRPr>
          </a:p>
          <a:p>
            <a:pPr marL="359410" lvl="1" indent="-179705" fontAlgn="base"/>
            <a:endParaRPr lang="en-US" sz="1800">
              <a:solidFill>
                <a:srgbClr val="000000"/>
              </a:solidFill>
            </a:endParaRPr>
          </a:p>
          <a:p>
            <a:pPr marL="359410" lvl="1" indent="-179705"/>
            <a:r>
              <a:rPr lang="en-US" sz="1800">
                <a:solidFill>
                  <a:srgbClr val="000000"/>
                </a:solidFill>
              </a:rPr>
              <a:t>Login: first</a:t>
            </a:r>
            <a:r>
              <a:rPr lang="en-US" sz="1800" b="0" i="0" u="none" strike="noStrike">
                <a:solidFill>
                  <a:srgbClr val="000000"/>
                </a:solidFill>
                <a:effectLst/>
              </a:rPr>
              <a:t> </a:t>
            </a:r>
            <a:r>
              <a:rPr lang="en-US" sz="1800">
                <a:solidFill>
                  <a:srgbClr val="000000"/>
                </a:solidFill>
              </a:rPr>
              <a:t>name &amp;</a:t>
            </a:r>
            <a:r>
              <a:rPr lang="en-US" sz="1800" b="0" i="0" u="none" strike="noStrike">
                <a:solidFill>
                  <a:srgbClr val="000000"/>
                </a:solidFill>
                <a:effectLst/>
              </a:rPr>
              <a:t> last name</a:t>
            </a:r>
            <a:r>
              <a:rPr lang="en-US" sz="1800" b="0" i="0">
                <a:solidFill>
                  <a:srgbClr val="000000"/>
                </a:solidFill>
                <a:effectLst/>
              </a:rPr>
              <a:t>​</a:t>
            </a:r>
            <a:endParaRPr lang="en-US">
              <a:solidFill>
                <a:srgbClr val="000000"/>
              </a:solidFill>
              <a:cs typeface="Segoe UI"/>
            </a:endParaRPr>
          </a:p>
          <a:p>
            <a:pPr marL="179705" lvl="1" indent="0">
              <a:buNone/>
            </a:pPr>
            <a:endParaRPr lang="en-US" sz="2000" b="1">
              <a:solidFill>
                <a:schemeClr val="accent1"/>
              </a:solidFill>
              <a:latin typeface="+mj-lt"/>
              <a:ea typeface="+mj-ea"/>
              <a:cs typeface="Segoe UI"/>
            </a:endParaRPr>
          </a:p>
        </p:txBody>
      </p:sp>
      <p:sp>
        <p:nvSpPr>
          <p:cNvPr id="4" name="Title 3">
            <a:extLst>
              <a:ext uri="{FF2B5EF4-FFF2-40B4-BE49-F238E27FC236}">
                <a16:creationId xmlns:a16="http://schemas.microsoft.com/office/drawing/2014/main" id="{574A9BB8-5CA8-E515-93F9-6C3136740BEB}"/>
              </a:ext>
            </a:extLst>
          </p:cNvPr>
          <p:cNvSpPr>
            <a:spLocks noGrp="1"/>
          </p:cNvSpPr>
          <p:nvPr>
            <p:ph type="title"/>
          </p:nvPr>
        </p:nvSpPr>
        <p:spPr>
          <a:xfrm>
            <a:off x="515937" y="476250"/>
            <a:ext cx="11160125" cy="1031051"/>
          </a:xfrm>
        </p:spPr>
        <p:txBody>
          <a:bodyPr/>
          <a:lstStyle/>
          <a:p>
            <a:r>
              <a:rPr lang="en-US"/>
              <a:t>And now … win something :) </a:t>
            </a:r>
            <a:br>
              <a:rPr lang="en-US">
                <a:cs typeface="Segoe UI"/>
              </a:rPr>
            </a:br>
            <a:r>
              <a:rPr lang="en-US" sz="1100">
                <a:solidFill>
                  <a:srgbClr val="FFFFFF"/>
                </a:solidFill>
                <a:cs typeface="Segoe UI"/>
              </a:rPr>
              <a:t>j</a:t>
            </a:r>
            <a:br>
              <a:rPr lang="en-US"/>
            </a:br>
            <a:r>
              <a:rPr lang="en-US"/>
              <a:t>        TOP 3 participants will win an Amazon Gift Card</a:t>
            </a:r>
          </a:p>
        </p:txBody>
      </p:sp>
      <p:sp>
        <p:nvSpPr>
          <p:cNvPr id="5" name="Footer Placeholder 4">
            <a:extLst>
              <a:ext uri="{FF2B5EF4-FFF2-40B4-BE49-F238E27FC236}">
                <a16:creationId xmlns:a16="http://schemas.microsoft.com/office/drawing/2014/main" id="{BCA76A8D-177B-AE08-DE15-B2B951753519}"/>
              </a:ext>
            </a:extLst>
          </p:cNvPr>
          <p:cNvSpPr>
            <a:spLocks noGrp="1"/>
          </p:cNvSpPr>
          <p:nvPr>
            <p:ph type="ftr" sz="quarter" idx="16"/>
          </p:nvPr>
        </p:nvSpPr>
        <p:spPr/>
        <p:txBody>
          <a:bodyPr/>
          <a:lstStyle/>
          <a:p>
            <a:r>
              <a:rPr lang="de-DE"/>
              <a:t>© Copyright Sensirion, Switzerland</a:t>
            </a:r>
          </a:p>
        </p:txBody>
      </p:sp>
      <p:sp>
        <p:nvSpPr>
          <p:cNvPr id="6" name="Slide Number Placeholder 5">
            <a:extLst>
              <a:ext uri="{FF2B5EF4-FFF2-40B4-BE49-F238E27FC236}">
                <a16:creationId xmlns:a16="http://schemas.microsoft.com/office/drawing/2014/main" id="{6E3A8065-736F-A89C-CAA2-3F29921F3AA1}"/>
              </a:ext>
            </a:extLst>
          </p:cNvPr>
          <p:cNvSpPr>
            <a:spLocks noGrp="1"/>
          </p:cNvSpPr>
          <p:nvPr>
            <p:ph type="sldNum" sz="quarter" idx="17"/>
          </p:nvPr>
        </p:nvSpPr>
        <p:spPr/>
        <p:txBody>
          <a:bodyPr/>
          <a:lstStyle/>
          <a:p>
            <a:fld id="{B1E691A1-F3A6-4574-B226-B412272B38A6}" type="slidenum">
              <a:rPr lang="de-DE" smtClean="0"/>
              <a:pPr/>
              <a:t>44</a:t>
            </a:fld>
            <a:endParaRPr lang="de-DE"/>
          </a:p>
        </p:txBody>
      </p:sp>
      <p:pic>
        <p:nvPicPr>
          <p:cNvPr id="1026" name="Picture 2" descr="A hand holding a phone&#10;&#10;Description automatically generated">
            <a:extLst>
              <a:ext uri="{FF2B5EF4-FFF2-40B4-BE49-F238E27FC236}">
                <a16:creationId xmlns:a16="http://schemas.microsoft.com/office/drawing/2014/main" id="{43CF605E-BA7B-B59A-91CE-0729BB2AAB8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996732" y="1822321"/>
            <a:ext cx="6420546" cy="360927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31422531"/>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72095155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A2A98B0-BEDB-3B7D-82B1-5D636273560F}"/>
            </a:ext>
          </a:extLst>
        </p:cNvPr>
        <p:cNvGrpSpPr/>
        <p:nvPr/>
      </p:nvGrpSpPr>
      <p:grpSpPr>
        <a:xfrm>
          <a:off x="0" y="0"/>
          <a:ext cx="0" cy="0"/>
          <a:chOff x="0" y="0"/>
          <a:chExt cx="0" cy="0"/>
        </a:xfrm>
      </p:grpSpPr>
      <p:sp>
        <p:nvSpPr>
          <p:cNvPr id="3" name="Content Placeholder 2">
            <a:extLst>
              <a:ext uri="{FF2B5EF4-FFF2-40B4-BE49-F238E27FC236}">
                <a16:creationId xmlns:a16="http://schemas.microsoft.com/office/drawing/2014/main" id="{9B076291-C646-6F39-DC78-623F507153DA}"/>
              </a:ext>
            </a:extLst>
          </p:cNvPr>
          <p:cNvSpPr>
            <a:spLocks noGrp="1"/>
          </p:cNvSpPr>
          <p:nvPr>
            <p:ph sz="quarter" idx="15"/>
          </p:nvPr>
        </p:nvSpPr>
        <p:spPr>
          <a:xfrm>
            <a:off x="515937" y="1118800"/>
            <a:ext cx="10972679" cy="5345171"/>
          </a:xfrm>
        </p:spPr>
        <p:txBody>
          <a:bodyPr vert="horz" lIns="0" tIns="0" rIns="0" bIns="0" rtlCol="0" anchor="t">
            <a:noAutofit/>
          </a:bodyPr>
          <a:lstStyle/>
          <a:p>
            <a:pPr marL="179705" indent="-179705">
              <a:buClrTx/>
            </a:pPr>
            <a:endParaRPr lang="en-US" sz="500">
              <a:cs typeface="Segoe UI"/>
            </a:endParaRPr>
          </a:p>
          <a:p>
            <a:pPr marL="285115" indent="-285750">
              <a:buClrTx/>
            </a:pPr>
            <a:r>
              <a:rPr lang="en-US" b="1">
                <a:cs typeface="Segoe UI"/>
              </a:rPr>
              <a:t>Katie Pflanz – New Inside Sales Account Manager, Distribution</a:t>
            </a:r>
          </a:p>
          <a:p>
            <a:pPr marL="465455" lvl="1" indent="-285750">
              <a:buClrTx/>
              <a:buFont typeface="Wingdings" panose="05000000000000000000" pitchFamily="2" charset="2"/>
              <a:buChar char="Ø"/>
            </a:pPr>
            <a:r>
              <a:rPr lang="en-US">
                <a:cs typeface="Segoe UI"/>
              </a:rPr>
              <a:t>Support for distribution managers and distributors </a:t>
            </a:r>
          </a:p>
          <a:p>
            <a:pPr marL="465455" lvl="1" indent="-285750">
              <a:buClrTx/>
              <a:buFont typeface="Wingdings" panose="05000000000000000000" pitchFamily="2" charset="2"/>
              <a:buChar char="Ø"/>
            </a:pPr>
            <a:r>
              <a:rPr lang="en-US">
                <a:cs typeface="Segoe UI"/>
              </a:rPr>
              <a:t>Salesforce support alongside Holger </a:t>
            </a:r>
          </a:p>
          <a:p>
            <a:pPr marL="465455" lvl="1" indent="-285750">
              <a:buClrTx/>
              <a:buFont typeface="Wingdings" panose="05000000000000000000" pitchFamily="2" charset="2"/>
              <a:buChar char="Ø"/>
            </a:pPr>
            <a:r>
              <a:rPr lang="en-US">
                <a:cs typeface="Segoe UI"/>
              </a:rPr>
              <a:t>Located in Chicagoland area </a:t>
            </a:r>
          </a:p>
          <a:p>
            <a:pPr marL="351155" lvl="1" indent="-171450">
              <a:buClr>
                <a:srgbClr val="616161"/>
              </a:buClr>
            </a:pPr>
            <a:endParaRPr lang="en-US" sz="500">
              <a:cs typeface="Segoe UI"/>
            </a:endParaRPr>
          </a:p>
          <a:p>
            <a:pPr marL="285115" indent="-285750">
              <a:buClrTx/>
            </a:pPr>
            <a:endParaRPr lang="en-US" b="1">
              <a:cs typeface="Segoe UI"/>
            </a:endParaRPr>
          </a:p>
          <a:p>
            <a:pPr marL="179705" indent="-179705">
              <a:buClr>
                <a:srgbClr val="66CC33"/>
              </a:buClr>
            </a:pPr>
            <a:r>
              <a:rPr lang="en-US" b="1">
                <a:cs typeface="Segoe UI"/>
              </a:rPr>
              <a:t>Frank D'Aliesio appointed newly created TSM role for North America</a:t>
            </a:r>
            <a:endParaRPr lang="en-US">
              <a:cs typeface="Segoe UI"/>
            </a:endParaRPr>
          </a:p>
          <a:p>
            <a:pPr marL="465455" lvl="1" indent="-285750">
              <a:buClr>
                <a:srgbClr val="616161"/>
              </a:buClr>
              <a:buFont typeface="Wingdings" panose="05000000000000000000" pitchFamily="2" charset="2"/>
              <a:buChar char="Ø"/>
            </a:pPr>
            <a:r>
              <a:rPr lang="en-US">
                <a:cs typeface="Segoe UI"/>
              </a:rPr>
              <a:t>Focus on </a:t>
            </a:r>
            <a:r>
              <a:rPr lang="en-US" b="1" i="1">
                <a:cs typeface="Segoe UI"/>
              </a:rPr>
              <a:t>Increasing Demand Creation </a:t>
            </a:r>
            <a:r>
              <a:rPr lang="en-US">
                <a:cs typeface="Segoe UI"/>
              </a:rPr>
              <a:t>&amp; </a:t>
            </a:r>
            <a:r>
              <a:rPr lang="en-US" b="1" i="1">
                <a:cs typeface="Segoe UI"/>
              </a:rPr>
              <a:t>Closed-Win %</a:t>
            </a:r>
            <a:r>
              <a:rPr lang="en-US">
                <a:cs typeface="Segoe UI"/>
              </a:rPr>
              <a:t> through:</a:t>
            </a:r>
          </a:p>
          <a:p>
            <a:pPr marL="645455" lvl="2" indent="-285750">
              <a:buClr>
                <a:srgbClr val="616161"/>
              </a:buClr>
              <a:buFont typeface="Wingdings" panose="05000000000000000000" pitchFamily="2" charset="2"/>
              <a:buChar char="q"/>
            </a:pPr>
            <a:r>
              <a:rPr lang="en-US">
                <a:cs typeface="Segoe UI"/>
              </a:rPr>
              <a:t>Scaling knowledge by training Manufacturers' Representatives and Distributors </a:t>
            </a:r>
          </a:p>
          <a:p>
            <a:pPr marL="645455" lvl="2" indent="-285750">
              <a:buClr>
                <a:srgbClr val="616161"/>
              </a:buClr>
              <a:buFont typeface="Wingdings" panose="05000000000000000000" pitchFamily="2" charset="2"/>
              <a:buChar char="q"/>
            </a:pPr>
            <a:r>
              <a:rPr lang="en-US" u="sng">
                <a:cs typeface="Segoe UI"/>
              </a:rPr>
              <a:t>Increasing more buddy calls (after trainings)</a:t>
            </a:r>
          </a:p>
          <a:p>
            <a:pPr marL="465455" lvl="1" indent="-285750">
              <a:buFont typeface="Wingdings,Sans-Serif" panose="020B0604020202020204" pitchFamily="34" charset="0"/>
              <a:buChar char="v"/>
            </a:pPr>
            <a:endParaRPr lang="en-US">
              <a:cs typeface="Segoe UI"/>
            </a:endParaRPr>
          </a:p>
          <a:p>
            <a:pPr marL="179705" lvl="1" indent="0">
              <a:buClr>
                <a:srgbClr val="616161"/>
              </a:buClr>
              <a:buNone/>
            </a:pPr>
            <a:endParaRPr lang="en-US" sz="500">
              <a:cs typeface="Segoe UI"/>
            </a:endParaRPr>
          </a:p>
          <a:p>
            <a:pPr marL="179705" indent="-179705">
              <a:buClrTx/>
            </a:pPr>
            <a:r>
              <a:rPr lang="en-US" b="1">
                <a:cs typeface="Segoe UI"/>
              </a:rPr>
              <a:t>Distributor trainings so far in 2025 (Luscombe, Mel Foster, MRB, Norris)</a:t>
            </a:r>
          </a:p>
          <a:p>
            <a:pPr marL="465455" lvl="1" indent="-285750">
              <a:buClrTx/>
              <a:buFont typeface="Wingdings" panose="05000000000000000000" pitchFamily="2" charset="2"/>
              <a:buChar char="Ø"/>
            </a:pPr>
            <a:r>
              <a:rPr lang="en-US">
                <a:cs typeface="Segoe UI"/>
              </a:rPr>
              <a:t>Think about Prioritizing trainings in Q3 and Q4 – schedule now!</a:t>
            </a:r>
          </a:p>
          <a:p>
            <a:pPr marL="645455" lvl="2" indent="-285750">
              <a:buClr>
                <a:srgbClr val="616161"/>
              </a:buClr>
              <a:buFont typeface="Wingdings" panose="05000000000000000000" pitchFamily="2" charset="2"/>
              <a:buChar char="q"/>
            </a:pPr>
            <a:r>
              <a:rPr lang="en-US">
                <a:cs typeface="Segoe UI"/>
              </a:rPr>
              <a:t>Please help us prep for trainings by providing primary markets and applications for your territories</a:t>
            </a:r>
          </a:p>
          <a:p>
            <a:pPr marL="645455" lvl="2" indent="-285750">
              <a:buClr>
                <a:srgbClr val="616161"/>
              </a:buClr>
              <a:buFont typeface="Wingdings" panose="05000000000000000000" pitchFamily="2" charset="2"/>
              <a:buChar char="q"/>
            </a:pPr>
            <a:r>
              <a:rPr lang="en-US">
                <a:cs typeface="Segoe UI"/>
              </a:rPr>
              <a:t>For </a:t>
            </a:r>
            <a:r>
              <a:rPr lang="en-US" u="sng">
                <a:cs typeface="Segoe UI"/>
              </a:rPr>
              <a:t>distributor trainings</a:t>
            </a:r>
            <a:r>
              <a:rPr lang="en-US">
                <a:cs typeface="Segoe UI"/>
              </a:rPr>
              <a:t>, please </a:t>
            </a:r>
            <a:r>
              <a:rPr lang="en-US" u="sng">
                <a:cs typeface="Segoe UI"/>
              </a:rPr>
              <a:t>contact the Distribution Manager</a:t>
            </a:r>
            <a:r>
              <a:rPr lang="en-US">
                <a:cs typeface="Segoe UI"/>
              </a:rPr>
              <a:t> and they will get Frank involved as needed</a:t>
            </a:r>
            <a:endParaRPr lang="en-US"/>
          </a:p>
          <a:p>
            <a:pPr marL="465455" lvl="1" indent="-285750">
              <a:buClrTx/>
            </a:pPr>
            <a:endParaRPr lang="en-US" sz="1800">
              <a:cs typeface="Segoe UI"/>
            </a:endParaRPr>
          </a:p>
          <a:p>
            <a:pPr marL="179705" indent="-179705">
              <a:buClr>
                <a:srgbClr val="66CC33"/>
              </a:buClr>
            </a:pPr>
            <a:endParaRPr lang="en-US">
              <a:cs typeface="Segoe UI"/>
            </a:endParaRPr>
          </a:p>
        </p:txBody>
      </p:sp>
      <p:sp>
        <p:nvSpPr>
          <p:cNvPr id="4" name="Title 3">
            <a:extLst>
              <a:ext uri="{FF2B5EF4-FFF2-40B4-BE49-F238E27FC236}">
                <a16:creationId xmlns:a16="http://schemas.microsoft.com/office/drawing/2014/main" id="{43A5BEEB-14A9-B72B-328C-2F4CBABB8A23}"/>
              </a:ext>
            </a:extLst>
          </p:cNvPr>
          <p:cNvSpPr>
            <a:spLocks noGrp="1"/>
          </p:cNvSpPr>
          <p:nvPr>
            <p:ph type="title"/>
          </p:nvPr>
        </p:nvSpPr>
        <p:spPr/>
        <p:txBody>
          <a:bodyPr/>
          <a:lstStyle/>
          <a:p>
            <a:r>
              <a:rPr lang="en-US"/>
              <a:t>Distribution Updates</a:t>
            </a:r>
          </a:p>
        </p:txBody>
      </p:sp>
      <p:sp>
        <p:nvSpPr>
          <p:cNvPr id="5" name="Footer Placeholder 4">
            <a:extLst>
              <a:ext uri="{FF2B5EF4-FFF2-40B4-BE49-F238E27FC236}">
                <a16:creationId xmlns:a16="http://schemas.microsoft.com/office/drawing/2014/main" id="{0B4D9A5B-9A21-2FA0-A318-AE905F9BC2B3}"/>
              </a:ext>
            </a:extLst>
          </p:cNvPr>
          <p:cNvSpPr>
            <a:spLocks noGrp="1"/>
          </p:cNvSpPr>
          <p:nvPr>
            <p:ph type="ftr" sz="quarter" idx="16"/>
          </p:nvPr>
        </p:nvSpPr>
        <p:spPr/>
        <p:txBody>
          <a:bodyPr/>
          <a:lstStyle/>
          <a:p>
            <a:r>
              <a:rPr lang="de-DE"/>
              <a:t>© Copyright Sensirion, Switzerland</a:t>
            </a:r>
          </a:p>
        </p:txBody>
      </p:sp>
      <p:sp>
        <p:nvSpPr>
          <p:cNvPr id="6" name="Slide Number Placeholder 5">
            <a:extLst>
              <a:ext uri="{FF2B5EF4-FFF2-40B4-BE49-F238E27FC236}">
                <a16:creationId xmlns:a16="http://schemas.microsoft.com/office/drawing/2014/main" id="{1FA52B31-3DAD-EEDD-2B47-0EB3F81FEC48}"/>
              </a:ext>
            </a:extLst>
          </p:cNvPr>
          <p:cNvSpPr>
            <a:spLocks noGrp="1"/>
          </p:cNvSpPr>
          <p:nvPr>
            <p:ph type="sldNum" sz="quarter" idx="17"/>
          </p:nvPr>
        </p:nvSpPr>
        <p:spPr/>
        <p:txBody>
          <a:bodyPr/>
          <a:lstStyle/>
          <a:p>
            <a:fld id="{B1E691A1-F3A6-4574-B226-B412272B38A6}" type="slidenum">
              <a:rPr lang="de-DE" smtClean="0"/>
              <a:pPr/>
              <a:t>5</a:t>
            </a:fld>
            <a:endParaRPr lang="de-DE"/>
          </a:p>
        </p:txBody>
      </p:sp>
      <p:pic>
        <p:nvPicPr>
          <p:cNvPr id="2" name="Picture 1" descr="Katie Pflanz">
            <a:extLst>
              <a:ext uri="{FF2B5EF4-FFF2-40B4-BE49-F238E27FC236}">
                <a16:creationId xmlns:a16="http://schemas.microsoft.com/office/drawing/2014/main" id="{455B56DC-478A-8216-84EF-990522FCFC41}"/>
              </a:ext>
            </a:extLst>
          </p:cNvPr>
          <p:cNvPicPr>
            <a:picLocks noChangeAspect="1"/>
          </p:cNvPicPr>
          <p:nvPr/>
        </p:nvPicPr>
        <p:blipFill>
          <a:blip r:embed="rId2"/>
          <a:stretch>
            <a:fillRect/>
          </a:stretch>
        </p:blipFill>
        <p:spPr>
          <a:xfrm>
            <a:off x="8755356" y="1303739"/>
            <a:ext cx="1295276" cy="1295276"/>
          </a:xfrm>
          <a:prstGeom prst="rect">
            <a:avLst/>
          </a:prstGeom>
          <a:effectLst>
            <a:outerShdw blurRad="50800" dist="38100" dir="2700000">
              <a:srgbClr val="000000">
                <a:alpha val="40000"/>
              </a:srgbClr>
            </a:outerShdw>
          </a:effectLst>
        </p:spPr>
      </p:pic>
      <p:pic>
        <p:nvPicPr>
          <p:cNvPr id="8" name="Picture 7" descr="Frank D'Aliesio">
            <a:extLst>
              <a:ext uri="{FF2B5EF4-FFF2-40B4-BE49-F238E27FC236}">
                <a16:creationId xmlns:a16="http://schemas.microsoft.com/office/drawing/2014/main" id="{32C52011-E6A9-0A5B-D438-812DEEBC40FF}"/>
              </a:ext>
            </a:extLst>
          </p:cNvPr>
          <p:cNvPicPr>
            <a:picLocks noChangeAspect="1"/>
          </p:cNvPicPr>
          <p:nvPr/>
        </p:nvPicPr>
        <p:blipFill>
          <a:blip r:embed="rId3"/>
          <a:stretch>
            <a:fillRect/>
          </a:stretch>
        </p:blipFill>
        <p:spPr>
          <a:xfrm>
            <a:off x="8770327" y="3184672"/>
            <a:ext cx="1272540" cy="1221740"/>
          </a:xfrm>
          <a:prstGeom prst="rect">
            <a:avLst/>
          </a:prstGeom>
          <a:effectLst>
            <a:outerShdw blurRad="50800" dist="38100" dir="2700000">
              <a:srgbClr val="000000">
                <a:alpha val="40000"/>
              </a:srgbClr>
            </a:outerShdw>
          </a:effectLst>
        </p:spPr>
      </p:pic>
    </p:spTree>
    <p:extLst>
      <p:ext uri="{BB962C8B-B14F-4D97-AF65-F5344CB8AC3E}">
        <p14:creationId xmlns:p14="http://schemas.microsoft.com/office/powerpoint/2010/main" val="326281471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Placeholder 7">
            <a:extLst>
              <a:ext uri="{FF2B5EF4-FFF2-40B4-BE49-F238E27FC236}">
                <a16:creationId xmlns:a16="http://schemas.microsoft.com/office/drawing/2014/main" id="{A47D72F5-47D0-C3AA-A6A2-A2216F4F6F49}"/>
              </a:ext>
            </a:extLst>
          </p:cNvPr>
          <p:cNvPicPr>
            <a:picLocks noGrp="1" noChangeAspect="1"/>
          </p:cNvPicPr>
          <p:nvPr>
            <p:ph type="pic" sz="quarter" idx="11"/>
          </p:nvPr>
        </p:nvPicPr>
        <p:blipFill>
          <a:blip r:embed="rId2" cstate="email">
            <a:extLst>
              <a:ext uri="{28A0092B-C50C-407E-A947-70E740481C1C}">
                <a14:useLocalDpi xmlns:a14="http://schemas.microsoft.com/office/drawing/2010/main"/>
              </a:ext>
            </a:extLst>
          </a:blip>
          <a:srcRect/>
          <a:stretch/>
        </p:blipFill>
        <p:spPr>
          <a:xfrm>
            <a:off x="6096000" y="0"/>
            <a:ext cx="6096000" cy="6057882"/>
          </a:xfrm>
          <a:prstGeom prst="rect">
            <a:avLst/>
          </a:prstGeom>
          <a:noFill/>
        </p:spPr>
      </p:pic>
      <p:sp>
        <p:nvSpPr>
          <p:cNvPr id="6" name="Footer Placeholder 5">
            <a:extLst>
              <a:ext uri="{FF2B5EF4-FFF2-40B4-BE49-F238E27FC236}">
                <a16:creationId xmlns:a16="http://schemas.microsoft.com/office/drawing/2014/main" id="{40778EF0-4F3B-4064-5421-FC911D6A3079}"/>
              </a:ext>
            </a:extLst>
          </p:cNvPr>
          <p:cNvSpPr>
            <a:spLocks noGrp="1"/>
          </p:cNvSpPr>
          <p:nvPr>
            <p:ph type="ftr" sz="quarter" idx="16"/>
          </p:nvPr>
        </p:nvSpPr>
        <p:spPr>
          <a:xfrm>
            <a:off x="1249680" y="6310083"/>
            <a:ext cx="2746800" cy="153888"/>
          </a:xfrm>
        </p:spPr>
        <p:txBody>
          <a:bodyPr anchor="ctr">
            <a:normAutofit/>
          </a:bodyPr>
          <a:lstStyle/>
          <a:p>
            <a:pPr>
              <a:spcAft>
                <a:spcPts val="600"/>
              </a:spcAft>
            </a:pPr>
            <a:r>
              <a:rPr lang="de-DE"/>
              <a:t>© Copyright Sensirion, Switzerland</a:t>
            </a:r>
          </a:p>
        </p:txBody>
      </p:sp>
      <p:sp>
        <p:nvSpPr>
          <p:cNvPr id="7" name="Slide Number Placeholder 6">
            <a:extLst>
              <a:ext uri="{FF2B5EF4-FFF2-40B4-BE49-F238E27FC236}">
                <a16:creationId xmlns:a16="http://schemas.microsoft.com/office/drawing/2014/main" id="{0F2D56D8-D39F-A57F-0ACA-2794229EB397}"/>
              </a:ext>
            </a:extLst>
          </p:cNvPr>
          <p:cNvSpPr>
            <a:spLocks noGrp="1"/>
          </p:cNvSpPr>
          <p:nvPr>
            <p:ph type="sldNum" sz="quarter" idx="17"/>
          </p:nvPr>
        </p:nvSpPr>
        <p:spPr>
          <a:xfrm>
            <a:off x="515937" y="6310083"/>
            <a:ext cx="680403" cy="153888"/>
          </a:xfrm>
        </p:spPr>
        <p:txBody>
          <a:bodyPr wrap="square" anchor="ctr">
            <a:normAutofit/>
          </a:bodyPr>
          <a:lstStyle/>
          <a:p>
            <a:pPr>
              <a:spcAft>
                <a:spcPts val="600"/>
              </a:spcAft>
            </a:pPr>
            <a:fld id="{B1E691A1-F3A6-4574-B226-B412272B38A6}" type="slidenum">
              <a:rPr lang="de-DE" smtClean="0"/>
              <a:pPr>
                <a:spcAft>
                  <a:spcPts val="600"/>
                </a:spcAft>
              </a:pPr>
              <a:t>6</a:t>
            </a:fld>
            <a:endParaRPr lang="de-DE"/>
          </a:p>
        </p:txBody>
      </p:sp>
      <p:sp>
        <p:nvSpPr>
          <p:cNvPr id="3" name="Text Placeholder 2">
            <a:extLst>
              <a:ext uri="{FF2B5EF4-FFF2-40B4-BE49-F238E27FC236}">
                <a16:creationId xmlns:a16="http://schemas.microsoft.com/office/drawing/2014/main" id="{E14ADBAE-80E0-CDFF-6461-0FF5098E2BA7}"/>
              </a:ext>
            </a:extLst>
          </p:cNvPr>
          <p:cNvSpPr>
            <a:spLocks noGrp="1"/>
          </p:cNvSpPr>
          <p:nvPr>
            <p:ph type="body" sz="quarter" idx="13"/>
          </p:nvPr>
        </p:nvSpPr>
        <p:spPr>
          <a:xfrm>
            <a:off x="515938" y="921522"/>
            <a:ext cx="5219701" cy="276999"/>
          </a:xfrm>
        </p:spPr>
        <p:txBody>
          <a:bodyPr wrap="square">
            <a:normAutofit/>
          </a:bodyPr>
          <a:lstStyle/>
          <a:p>
            <a:r>
              <a:rPr lang="en-US" sz="1800" b="1"/>
              <a:t>Of Distribution Relationship to drive growth:</a:t>
            </a:r>
          </a:p>
        </p:txBody>
      </p:sp>
      <p:sp>
        <p:nvSpPr>
          <p:cNvPr id="4" name="Content Placeholder 3">
            <a:extLst>
              <a:ext uri="{FF2B5EF4-FFF2-40B4-BE49-F238E27FC236}">
                <a16:creationId xmlns:a16="http://schemas.microsoft.com/office/drawing/2014/main" id="{5FC2298A-8F1F-2F87-550E-C88FA50BF1A0}"/>
              </a:ext>
            </a:extLst>
          </p:cNvPr>
          <p:cNvSpPr>
            <a:spLocks noGrp="1"/>
          </p:cNvSpPr>
          <p:nvPr>
            <p:ph sz="quarter" idx="15"/>
          </p:nvPr>
        </p:nvSpPr>
        <p:spPr>
          <a:xfrm>
            <a:off x="515937" y="1449388"/>
            <a:ext cx="5219701" cy="4608512"/>
          </a:xfrm>
        </p:spPr>
        <p:txBody>
          <a:bodyPr>
            <a:normAutofit/>
          </a:bodyPr>
          <a:lstStyle/>
          <a:p>
            <a:r>
              <a:rPr lang="en-US"/>
              <a:t>Adding 2</a:t>
            </a:r>
            <a:r>
              <a:rPr lang="en-US" baseline="30000"/>
              <a:t>nd</a:t>
            </a:r>
            <a:r>
              <a:rPr lang="en-US"/>
              <a:t> Distri </a:t>
            </a:r>
            <a:r>
              <a:rPr lang="en-US" err="1"/>
              <a:t>Mgr</a:t>
            </a:r>
            <a:r>
              <a:rPr lang="en-US"/>
              <a:t> enables complete ownership:</a:t>
            </a:r>
          </a:p>
          <a:p>
            <a:pPr lvl="1"/>
            <a:r>
              <a:rPr lang="en-US" b="1"/>
              <a:t>HQ Global Relationship</a:t>
            </a:r>
            <a:r>
              <a:rPr lang="en-US" sz="1200"/>
              <a:t> (if HQ in Americas)</a:t>
            </a:r>
            <a:endParaRPr lang="en-US" b="1"/>
          </a:p>
          <a:p>
            <a:pPr lvl="2"/>
            <a:r>
              <a:rPr lang="en-US"/>
              <a:t>Global Performance </a:t>
            </a:r>
            <a:r>
              <a:rPr lang="en-US" sz="1200"/>
              <a:t>(Americas, EMEA, APAC)</a:t>
            </a:r>
          </a:p>
          <a:p>
            <a:pPr lvl="2"/>
            <a:r>
              <a:rPr lang="en-US"/>
              <a:t>Ease of doing business</a:t>
            </a:r>
          </a:p>
          <a:p>
            <a:pPr lvl="1"/>
            <a:endParaRPr lang="en-US" b="1"/>
          </a:p>
          <a:p>
            <a:pPr lvl="1"/>
            <a:r>
              <a:rPr lang="en-US" b="1"/>
              <a:t>Marketing Initiatives</a:t>
            </a:r>
          </a:p>
          <a:p>
            <a:pPr lvl="2"/>
            <a:r>
              <a:rPr lang="en-US"/>
              <a:t>Aligned to Focus Products &amp; Target Applications</a:t>
            </a:r>
          </a:p>
          <a:p>
            <a:pPr lvl="2"/>
            <a:r>
              <a:rPr lang="en-US"/>
              <a:t>Driving Campaigns &amp; Solutions</a:t>
            </a:r>
          </a:p>
          <a:p>
            <a:pPr lvl="1"/>
            <a:endParaRPr lang="en-US" b="1"/>
          </a:p>
          <a:p>
            <a:pPr lvl="1"/>
            <a:r>
              <a:rPr lang="en-US" b="1"/>
              <a:t>Field Engagement</a:t>
            </a:r>
          </a:p>
          <a:p>
            <a:pPr lvl="2"/>
            <a:r>
              <a:rPr lang="en-US"/>
              <a:t>More Buddy Calls </a:t>
            </a:r>
            <a:r>
              <a:rPr lang="en-US" sz="1200"/>
              <a:t>(TSM, Distri </a:t>
            </a:r>
            <a:r>
              <a:rPr lang="en-US" sz="1200" err="1"/>
              <a:t>Mgrs</a:t>
            </a:r>
            <a:r>
              <a:rPr lang="en-US" sz="1200"/>
              <a:t>, DKEN, RSMs)</a:t>
            </a:r>
            <a:endParaRPr lang="en-US"/>
          </a:p>
          <a:p>
            <a:pPr lvl="2"/>
            <a:r>
              <a:rPr lang="en-US"/>
              <a:t>Focused FAE Training </a:t>
            </a:r>
            <a:r>
              <a:rPr lang="en-US" sz="1200"/>
              <a:t>(&amp; other trainings)</a:t>
            </a:r>
          </a:p>
          <a:p>
            <a:pPr lvl="2"/>
            <a:r>
              <a:rPr lang="en-US"/>
              <a:t>Campaign Leads closed Loop </a:t>
            </a:r>
            <a:r>
              <a:rPr lang="en-US" sz="1200"/>
              <a:t>(drive through SFDC)</a:t>
            </a:r>
          </a:p>
          <a:p>
            <a:pPr lvl="2"/>
            <a:r>
              <a:rPr lang="en-US"/>
              <a:t>Rep Distri </a:t>
            </a:r>
            <a:r>
              <a:rPr lang="en-US" err="1"/>
              <a:t>Mgr</a:t>
            </a:r>
            <a:r>
              <a:rPr lang="en-US"/>
              <a:t> Oppty Funnel Review </a:t>
            </a:r>
            <a:r>
              <a:rPr lang="en-US" sz="1200"/>
              <a:t>(By Distri </a:t>
            </a:r>
            <a:r>
              <a:rPr lang="en-US" sz="1200" err="1"/>
              <a:t>Mgr</a:t>
            </a:r>
            <a:r>
              <a:rPr lang="en-US" sz="1200"/>
              <a:t>)</a:t>
            </a:r>
            <a:endParaRPr lang="en-US"/>
          </a:p>
        </p:txBody>
      </p:sp>
      <p:sp>
        <p:nvSpPr>
          <p:cNvPr id="5" name="Title 4">
            <a:extLst>
              <a:ext uri="{FF2B5EF4-FFF2-40B4-BE49-F238E27FC236}">
                <a16:creationId xmlns:a16="http://schemas.microsoft.com/office/drawing/2014/main" id="{71FD72A8-4DE1-2E3B-0E13-4F86FD48319C}"/>
              </a:ext>
            </a:extLst>
          </p:cNvPr>
          <p:cNvSpPr>
            <a:spLocks noGrp="1"/>
          </p:cNvSpPr>
          <p:nvPr>
            <p:ph type="title"/>
          </p:nvPr>
        </p:nvSpPr>
        <p:spPr>
          <a:xfrm>
            <a:off x="515937" y="476250"/>
            <a:ext cx="5219701" cy="430887"/>
          </a:xfrm>
        </p:spPr>
        <p:txBody>
          <a:bodyPr wrap="square" anchor="t">
            <a:normAutofit/>
          </a:bodyPr>
          <a:lstStyle/>
          <a:p>
            <a:r>
              <a:rPr lang="en-US"/>
              <a:t>Wholistic Ownership</a:t>
            </a:r>
          </a:p>
        </p:txBody>
      </p:sp>
      <p:sp>
        <p:nvSpPr>
          <p:cNvPr id="9" name="TextBox 8">
            <a:extLst>
              <a:ext uri="{FF2B5EF4-FFF2-40B4-BE49-F238E27FC236}">
                <a16:creationId xmlns:a16="http://schemas.microsoft.com/office/drawing/2014/main" id="{66FDE77A-7B78-9EF2-E8A3-DA1DDD0614B0}"/>
              </a:ext>
            </a:extLst>
          </p:cNvPr>
          <p:cNvSpPr txBox="1"/>
          <p:nvPr/>
        </p:nvSpPr>
        <p:spPr>
          <a:xfrm rot="20307097">
            <a:off x="6872461" y="3465497"/>
            <a:ext cx="1208198" cy="576293"/>
          </a:xfrm>
          <a:prstGeom prst="rect">
            <a:avLst/>
          </a:prstGeom>
          <a:noFill/>
          <a:ln>
            <a:noFill/>
          </a:ln>
        </p:spPr>
        <p:txBody>
          <a:bodyPr wrap="none" lIns="72000" tIns="72000" rIns="72000" bIns="72000" rtlCol="0">
            <a:spAutoFit/>
          </a:bodyPr>
          <a:lstStyle/>
          <a:p>
            <a:pPr algn="ctr">
              <a:buClr>
                <a:schemeClr val="accent1"/>
              </a:buClr>
            </a:pPr>
            <a:r>
              <a:rPr lang="en-US" sz="1400" b="1"/>
              <a:t>Field</a:t>
            </a:r>
          </a:p>
          <a:p>
            <a:pPr algn="ctr">
              <a:buClr>
                <a:schemeClr val="accent1"/>
              </a:buClr>
            </a:pPr>
            <a:r>
              <a:rPr lang="en-US" sz="1400" b="1"/>
              <a:t>Engagement</a:t>
            </a:r>
          </a:p>
        </p:txBody>
      </p:sp>
      <p:sp>
        <p:nvSpPr>
          <p:cNvPr id="10" name="TextBox 9">
            <a:extLst>
              <a:ext uri="{FF2B5EF4-FFF2-40B4-BE49-F238E27FC236}">
                <a16:creationId xmlns:a16="http://schemas.microsoft.com/office/drawing/2014/main" id="{7F9B26C7-496A-45BC-C3AB-782CA48E8E02}"/>
              </a:ext>
            </a:extLst>
          </p:cNvPr>
          <p:cNvSpPr txBox="1"/>
          <p:nvPr/>
        </p:nvSpPr>
        <p:spPr>
          <a:xfrm>
            <a:off x="8798312" y="802652"/>
            <a:ext cx="1190884" cy="791737"/>
          </a:xfrm>
          <a:prstGeom prst="rect">
            <a:avLst/>
          </a:prstGeom>
          <a:noFill/>
          <a:ln>
            <a:noFill/>
          </a:ln>
        </p:spPr>
        <p:txBody>
          <a:bodyPr wrap="none" lIns="72000" tIns="72000" rIns="72000" bIns="72000" rtlCol="0">
            <a:spAutoFit/>
          </a:bodyPr>
          <a:lstStyle/>
          <a:p>
            <a:pPr algn="ctr">
              <a:buClr>
                <a:schemeClr val="accent1"/>
              </a:buClr>
            </a:pPr>
            <a:r>
              <a:rPr lang="en-US" sz="1400" b="1"/>
              <a:t>HQ</a:t>
            </a:r>
          </a:p>
          <a:p>
            <a:pPr algn="ctr">
              <a:buClr>
                <a:schemeClr val="accent1"/>
              </a:buClr>
            </a:pPr>
            <a:r>
              <a:rPr lang="en-US" sz="1400" b="1"/>
              <a:t>Global</a:t>
            </a:r>
          </a:p>
          <a:p>
            <a:pPr algn="ctr">
              <a:buClr>
                <a:schemeClr val="accent1"/>
              </a:buClr>
            </a:pPr>
            <a:r>
              <a:rPr lang="en-US" sz="1400" b="1"/>
              <a:t>Relationship</a:t>
            </a:r>
          </a:p>
        </p:txBody>
      </p:sp>
      <p:sp>
        <p:nvSpPr>
          <p:cNvPr id="11" name="TextBox 10">
            <a:extLst>
              <a:ext uri="{FF2B5EF4-FFF2-40B4-BE49-F238E27FC236}">
                <a16:creationId xmlns:a16="http://schemas.microsoft.com/office/drawing/2014/main" id="{D7E9AFB3-AD77-4F5C-B828-B2C27489E30D}"/>
              </a:ext>
            </a:extLst>
          </p:cNvPr>
          <p:cNvSpPr txBox="1"/>
          <p:nvPr/>
        </p:nvSpPr>
        <p:spPr>
          <a:xfrm rot="1510740">
            <a:off x="10662342" y="3724106"/>
            <a:ext cx="1022891" cy="576293"/>
          </a:xfrm>
          <a:prstGeom prst="rect">
            <a:avLst/>
          </a:prstGeom>
          <a:noFill/>
          <a:ln>
            <a:noFill/>
          </a:ln>
        </p:spPr>
        <p:txBody>
          <a:bodyPr wrap="none" lIns="72000" tIns="72000" rIns="72000" bIns="72000" rtlCol="0">
            <a:spAutoFit/>
          </a:bodyPr>
          <a:lstStyle/>
          <a:p>
            <a:pPr algn="ctr">
              <a:buClr>
                <a:schemeClr val="accent1"/>
              </a:buClr>
            </a:pPr>
            <a:r>
              <a:rPr lang="en-US" sz="1400" b="1"/>
              <a:t>Marketing</a:t>
            </a:r>
          </a:p>
          <a:p>
            <a:pPr algn="ctr">
              <a:buClr>
                <a:schemeClr val="accent1"/>
              </a:buClr>
            </a:pPr>
            <a:r>
              <a:rPr lang="en-US" sz="1400" b="1"/>
              <a:t>Initiatives</a:t>
            </a:r>
          </a:p>
        </p:txBody>
      </p:sp>
    </p:spTree>
    <p:extLst>
      <p:ext uri="{BB962C8B-B14F-4D97-AF65-F5344CB8AC3E}">
        <p14:creationId xmlns:p14="http://schemas.microsoft.com/office/powerpoint/2010/main" val="100330718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4D36B7-E29B-475C-DF39-D052A1E412E7}"/>
            </a:ext>
          </a:extLst>
        </p:cNvPr>
        <p:cNvGrpSpPr/>
        <p:nvPr/>
      </p:nvGrpSpPr>
      <p:grpSpPr>
        <a:xfrm>
          <a:off x="0" y="0"/>
          <a:ext cx="0" cy="0"/>
          <a:chOff x="0" y="0"/>
          <a:chExt cx="0" cy="0"/>
        </a:xfrm>
      </p:grpSpPr>
      <p:sp>
        <p:nvSpPr>
          <p:cNvPr id="5" name="Rectangle 4">
            <a:extLst>
              <a:ext uri="{FF2B5EF4-FFF2-40B4-BE49-F238E27FC236}">
                <a16:creationId xmlns:a16="http://schemas.microsoft.com/office/drawing/2014/main" id="{45086598-7000-C6F8-28D2-5395BAD720C7}"/>
              </a:ext>
            </a:extLst>
          </p:cNvPr>
          <p:cNvSpPr/>
          <p:nvPr/>
        </p:nvSpPr>
        <p:spPr>
          <a:xfrm>
            <a:off x="655093" y="2617725"/>
            <a:ext cx="10972800" cy="1365545"/>
          </a:xfrm>
          <a:prstGeom prst="rect">
            <a:avLst/>
          </a:prstGeom>
          <a:solidFill>
            <a:schemeClr val="bg1">
              <a:lumMod val="8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en-US" err="1"/>
          </a:p>
        </p:txBody>
      </p:sp>
      <p:sp>
        <p:nvSpPr>
          <p:cNvPr id="4" name="Rectangle 3">
            <a:extLst>
              <a:ext uri="{FF2B5EF4-FFF2-40B4-BE49-F238E27FC236}">
                <a16:creationId xmlns:a16="http://schemas.microsoft.com/office/drawing/2014/main" id="{845005B4-9603-FAD4-7C1C-FBCDF2EE1D78}"/>
              </a:ext>
            </a:extLst>
          </p:cNvPr>
          <p:cNvSpPr/>
          <p:nvPr/>
        </p:nvSpPr>
        <p:spPr>
          <a:xfrm>
            <a:off x="655093" y="844835"/>
            <a:ext cx="10972800" cy="1689856"/>
          </a:xfrm>
          <a:prstGeom prst="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en-US" err="1"/>
          </a:p>
        </p:txBody>
      </p:sp>
      <p:sp>
        <p:nvSpPr>
          <p:cNvPr id="2" name="Title 1">
            <a:extLst>
              <a:ext uri="{FF2B5EF4-FFF2-40B4-BE49-F238E27FC236}">
                <a16:creationId xmlns:a16="http://schemas.microsoft.com/office/drawing/2014/main" id="{ABB724CC-5ED8-BD97-9499-6571BC93AF97}"/>
              </a:ext>
            </a:extLst>
          </p:cNvPr>
          <p:cNvSpPr>
            <a:spLocks noGrp="1"/>
          </p:cNvSpPr>
          <p:nvPr>
            <p:ph type="title"/>
          </p:nvPr>
        </p:nvSpPr>
        <p:spPr>
          <a:xfrm>
            <a:off x="839787" y="358516"/>
            <a:ext cx="8029249" cy="430887"/>
          </a:xfrm>
        </p:spPr>
        <p:txBody>
          <a:bodyPr/>
          <a:lstStyle/>
          <a:p>
            <a:r>
              <a:rPr lang="en-US">
                <a:latin typeface="Arial Narrow"/>
              </a:rPr>
              <a:t>Sensirion AMERICAS Distribution Partners &amp; Team 2025</a:t>
            </a:r>
            <a:endParaRPr lang="en-US"/>
          </a:p>
        </p:txBody>
      </p:sp>
      <p:sp>
        <p:nvSpPr>
          <p:cNvPr id="3" name="Slide Number Placeholder 2">
            <a:extLst>
              <a:ext uri="{FF2B5EF4-FFF2-40B4-BE49-F238E27FC236}">
                <a16:creationId xmlns:a16="http://schemas.microsoft.com/office/drawing/2014/main" id="{CA272420-916F-34CE-5696-E0540D9ECE0C}"/>
              </a:ext>
            </a:extLst>
          </p:cNvPr>
          <p:cNvSpPr>
            <a:spLocks noGrp="1"/>
          </p:cNvSpPr>
          <p:nvPr>
            <p:ph type="sldNum" sz="quarter" idx="10"/>
          </p:nvPr>
        </p:nvSpPr>
        <p:spPr/>
        <p:txBody>
          <a:bodyPr/>
          <a:lstStyle/>
          <a:p>
            <a:fld id="{B82950B1-C7CF-425D-9A48-9AE722F4F236}" type="slidenum">
              <a:rPr lang="de-CH" smtClean="0"/>
              <a:pPr/>
              <a:t>7</a:t>
            </a:fld>
            <a:endParaRPr lang="de-CH"/>
          </a:p>
        </p:txBody>
      </p:sp>
      <p:pic>
        <p:nvPicPr>
          <p:cNvPr id="6" name="Picture 5" descr="A black letter with a white background&#10;&#10;Description automatically generated">
            <a:extLst>
              <a:ext uri="{FF2B5EF4-FFF2-40B4-BE49-F238E27FC236}">
                <a16:creationId xmlns:a16="http://schemas.microsoft.com/office/drawing/2014/main" id="{8F3F464B-0944-7994-0C68-4F7099115DD4}"/>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3649418" y="2057171"/>
            <a:ext cx="1657480" cy="336563"/>
          </a:xfrm>
          <a:prstGeom prst="rect">
            <a:avLst/>
          </a:prstGeom>
        </p:spPr>
      </p:pic>
      <p:pic>
        <p:nvPicPr>
          <p:cNvPr id="7" name="Picture 6" descr="A green line on a black background&#10;&#10;Description automatically generated">
            <a:extLst>
              <a:ext uri="{FF2B5EF4-FFF2-40B4-BE49-F238E27FC236}">
                <a16:creationId xmlns:a16="http://schemas.microsoft.com/office/drawing/2014/main" id="{8BDAF13C-0D7D-03F8-05A2-B062500426C7}"/>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7681592" y="2013091"/>
            <a:ext cx="1657480" cy="380643"/>
          </a:xfrm>
          <a:prstGeom prst="rect">
            <a:avLst/>
          </a:prstGeom>
        </p:spPr>
      </p:pic>
      <p:pic>
        <p:nvPicPr>
          <p:cNvPr id="10" name="Picture 9" descr="A blue and white logo&#10;&#10;Description automatically generated">
            <a:extLst>
              <a:ext uri="{FF2B5EF4-FFF2-40B4-BE49-F238E27FC236}">
                <a16:creationId xmlns:a16="http://schemas.microsoft.com/office/drawing/2014/main" id="{A135E3AB-4871-F8CF-6C2E-7BFB25DD3246}"/>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9579466" y="1979083"/>
            <a:ext cx="1657480" cy="436313"/>
          </a:xfrm>
          <a:prstGeom prst="rect">
            <a:avLst/>
          </a:prstGeom>
        </p:spPr>
      </p:pic>
      <p:pic>
        <p:nvPicPr>
          <p:cNvPr id="11" name="Picture 10" descr="A red text on a white background&#10;&#10;Description automatically generated">
            <a:extLst>
              <a:ext uri="{FF2B5EF4-FFF2-40B4-BE49-F238E27FC236}">
                <a16:creationId xmlns:a16="http://schemas.microsoft.com/office/drawing/2014/main" id="{6C2B3C5B-D0AA-672B-27BC-7AFCBA920F61}"/>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3649596" y="2911758"/>
            <a:ext cx="1657481" cy="856337"/>
          </a:xfrm>
          <a:prstGeom prst="rect">
            <a:avLst/>
          </a:prstGeom>
        </p:spPr>
      </p:pic>
      <p:pic>
        <p:nvPicPr>
          <p:cNvPr id="12" name="Picture 11" descr="A blue and white logo&#10;&#10;Description automatically generated">
            <a:extLst>
              <a:ext uri="{FF2B5EF4-FFF2-40B4-BE49-F238E27FC236}">
                <a16:creationId xmlns:a16="http://schemas.microsoft.com/office/drawing/2014/main" id="{377EE3E8-5721-3BC6-08BF-890265AD5A2D}"/>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9590765" y="2938199"/>
            <a:ext cx="1654924" cy="553724"/>
          </a:xfrm>
          <a:prstGeom prst="rect">
            <a:avLst/>
          </a:prstGeom>
        </p:spPr>
      </p:pic>
      <p:pic>
        <p:nvPicPr>
          <p:cNvPr id="13" name="Picture 12" descr="A black and white logo&#10;&#10;Description automatically generated">
            <a:extLst>
              <a:ext uri="{FF2B5EF4-FFF2-40B4-BE49-F238E27FC236}">
                <a16:creationId xmlns:a16="http://schemas.microsoft.com/office/drawing/2014/main" id="{40A15F58-EFCF-7DF3-8048-BDD4085169D0}"/>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5470596" y="3407001"/>
            <a:ext cx="1732030" cy="553724"/>
          </a:xfrm>
          <a:prstGeom prst="rect">
            <a:avLst/>
          </a:prstGeom>
        </p:spPr>
      </p:pic>
      <p:sp>
        <p:nvSpPr>
          <p:cNvPr id="15" name="Rectangle: Rounded Corners 14">
            <a:extLst>
              <a:ext uri="{FF2B5EF4-FFF2-40B4-BE49-F238E27FC236}">
                <a16:creationId xmlns:a16="http://schemas.microsoft.com/office/drawing/2014/main" id="{482B40DE-59D0-1C2A-6E5B-99252A2691DF}"/>
              </a:ext>
            </a:extLst>
          </p:cNvPr>
          <p:cNvSpPr/>
          <p:nvPr/>
        </p:nvSpPr>
        <p:spPr>
          <a:xfrm>
            <a:off x="837968" y="975913"/>
            <a:ext cx="2014960" cy="496230"/>
          </a:xfrm>
          <a:prstGeom prst="roundRect">
            <a:avLst/>
          </a:prstGeom>
          <a:solidFill>
            <a:srgbClr val="66CC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a:t>BROADLINE</a:t>
            </a:r>
          </a:p>
        </p:txBody>
      </p:sp>
      <p:sp>
        <p:nvSpPr>
          <p:cNvPr id="17" name="Rectangle: Rounded Corners 16">
            <a:extLst>
              <a:ext uri="{FF2B5EF4-FFF2-40B4-BE49-F238E27FC236}">
                <a16:creationId xmlns:a16="http://schemas.microsoft.com/office/drawing/2014/main" id="{E14E2DDD-1A4D-6B27-8CF6-080B53445175}"/>
              </a:ext>
            </a:extLst>
          </p:cNvPr>
          <p:cNvSpPr/>
          <p:nvPr/>
        </p:nvSpPr>
        <p:spPr>
          <a:xfrm>
            <a:off x="837968" y="2650466"/>
            <a:ext cx="2014960" cy="496230"/>
          </a:xfrm>
          <a:prstGeom prst="roundRect">
            <a:avLst/>
          </a:prstGeom>
          <a:solidFill>
            <a:srgbClr val="66CC33"/>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2000"/>
              <a:t>HIGH-SERVICE</a:t>
            </a:r>
          </a:p>
        </p:txBody>
      </p:sp>
      <p:sp>
        <p:nvSpPr>
          <p:cNvPr id="8" name="Rectangle 7">
            <a:extLst>
              <a:ext uri="{FF2B5EF4-FFF2-40B4-BE49-F238E27FC236}">
                <a16:creationId xmlns:a16="http://schemas.microsoft.com/office/drawing/2014/main" id="{60CA6381-3B36-43C3-B64B-BC0777DEE285}"/>
              </a:ext>
            </a:extLst>
          </p:cNvPr>
          <p:cNvSpPr/>
          <p:nvPr/>
        </p:nvSpPr>
        <p:spPr>
          <a:xfrm>
            <a:off x="661603" y="4081097"/>
            <a:ext cx="10972800" cy="891736"/>
          </a:xfrm>
          <a:prstGeom prst="rect">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en-US" err="1"/>
          </a:p>
        </p:txBody>
      </p:sp>
      <p:sp>
        <p:nvSpPr>
          <p:cNvPr id="18" name="Rectangle: Rounded Corners 17">
            <a:extLst>
              <a:ext uri="{FF2B5EF4-FFF2-40B4-BE49-F238E27FC236}">
                <a16:creationId xmlns:a16="http://schemas.microsoft.com/office/drawing/2014/main" id="{5B00B08A-DD31-FAEC-4AAF-366048401CE4}"/>
              </a:ext>
            </a:extLst>
          </p:cNvPr>
          <p:cNvSpPr/>
          <p:nvPr/>
        </p:nvSpPr>
        <p:spPr>
          <a:xfrm>
            <a:off x="844478" y="4113838"/>
            <a:ext cx="2014960" cy="496230"/>
          </a:xfrm>
          <a:prstGeom prst="roundRect">
            <a:avLst/>
          </a:prstGeom>
          <a:solidFill>
            <a:srgbClr val="66CC33"/>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2000"/>
              <a:t>SPECIALTY</a:t>
            </a:r>
            <a:endParaRPr lang="en-US" sz="1200"/>
          </a:p>
        </p:txBody>
      </p:sp>
      <p:sp>
        <p:nvSpPr>
          <p:cNvPr id="19" name="TextBox 18">
            <a:extLst>
              <a:ext uri="{FF2B5EF4-FFF2-40B4-BE49-F238E27FC236}">
                <a16:creationId xmlns:a16="http://schemas.microsoft.com/office/drawing/2014/main" id="{2888542C-040C-FE39-A6A2-10CF1EB1FADD}"/>
              </a:ext>
            </a:extLst>
          </p:cNvPr>
          <p:cNvSpPr txBox="1"/>
          <p:nvPr/>
        </p:nvSpPr>
        <p:spPr>
          <a:xfrm>
            <a:off x="4517550" y="1049747"/>
            <a:ext cx="2222065" cy="360850"/>
          </a:xfrm>
          <a:prstGeom prst="rect">
            <a:avLst/>
          </a:prstGeom>
          <a:noFill/>
          <a:ln>
            <a:noFill/>
          </a:ln>
        </p:spPr>
        <p:txBody>
          <a:bodyPr wrap="none" lIns="72000" tIns="72000" rIns="72000" bIns="72000" rtlCol="0">
            <a:spAutoFit/>
          </a:bodyPr>
          <a:lstStyle/>
          <a:p>
            <a:pPr algn="l">
              <a:buClr>
                <a:schemeClr val="accent1"/>
              </a:buClr>
            </a:pPr>
            <a:r>
              <a:rPr lang="en-US" sz="1400" b="1"/>
              <a:t>Sr. Distribution Manager</a:t>
            </a:r>
          </a:p>
        </p:txBody>
      </p:sp>
      <p:pic>
        <p:nvPicPr>
          <p:cNvPr id="1026" name="Picture 2" descr="Braemac | LinkedIn">
            <a:extLst>
              <a:ext uri="{FF2B5EF4-FFF2-40B4-BE49-F238E27FC236}">
                <a16:creationId xmlns:a16="http://schemas.microsoft.com/office/drawing/2014/main" id="{D0A4B450-7369-5E12-E35D-0BC9E20AD72B}"/>
              </a:ext>
            </a:extLst>
          </p:cNvPr>
          <p:cNvPicPr>
            <a:picLocks noChangeAspect="1" noChangeArrowheads="1"/>
          </p:cNvPicPr>
          <p:nvPr/>
        </p:nvPicPr>
        <p:blipFill rotWithShape="1">
          <a:blip r:embed="rId9" cstate="email">
            <a:extLst>
              <a:ext uri="{28A0092B-C50C-407E-A947-70E740481C1C}">
                <a14:useLocalDpi xmlns:a14="http://schemas.microsoft.com/office/drawing/2010/main"/>
              </a:ext>
            </a:extLst>
          </a:blip>
          <a:srcRect/>
          <a:stretch/>
        </p:blipFill>
        <p:spPr bwMode="auto">
          <a:xfrm>
            <a:off x="9579466" y="1560551"/>
            <a:ext cx="1657480" cy="413900"/>
          </a:xfrm>
          <a:prstGeom prst="rect">
            <a:avLst/>
          </a:prstGeom>
          <a:noFill/>
          <a:extLst>
            <a:ext uri="{909E8E84-426E-40DD-AFC4-6F175D3DCCD1}">
              <a14:hiddenFill xmlns:a14="http://schemas.microsoft.com/office/drawing/2010/main">
                <a:solidFill>
                  <a:srgbClr val="FFFFFF"/>
                </a:solidFill>
              </a14:hiddenFill>
            </a:ext>
          </a:extLst>
        </p:spPr>
      </p:pic>
      <p:sp>
        <p:nvSpPr>
          <p:cNvPr id="21" name="TextBox 20">
            <a:extLst>
              <a:ext uri="{FF2B5EF4-FFF2-40B4-BE49-F238E27FC236}">
                <a16:creationId xmlns:a16="http://schemas.microsoft.com/office/drawing/2014/main" id="{B091C4F6-8799-16A9-6BC8-663B1B679E10}"/>
              </a:ext>
            </a:extLst>
          </p:cNvPr>
          <p:cNvSpPr txBox="1"/>
          <p:nvPr/>
        </p:nvSpPr>
        <p:spPr>
          <a:xfrm>
            <a:off x="8638446" y="1049747"/>
            <a:ext cx="1965520" cy="360850"/>
          </a:xfrm>
          <a:prstGeom prst="rect">
            <a:avLst/>
          </a:prstGeom>
          <a:noFill/>
          <a:ln>
            <a:noFill/>
          </a:ln>
        </p:spPr>
        <p:txBody>
          <a:bodyPr wrap="none" lIns="72000" tIns="72000" rIns="72000" bIns="72000" rtlCol="0">
            <a:spAutoFit/>
          </a:bodyPr>
          <a:lstStyle/>
          <a:p>
            <a:pPr algn="l">
              <a:buClr>
                <a:schemeClr val="accent1"/>
              </a:buClr>
            </a:pPr>
            <a:r>
              <a:rPr lang="en-US" sz="1400" b="1"/>
              <a:t>Distribution Manager</a:t>
            </a:r>
          </a:p>
        </p:txBody>
      </p:sp>
      <p:sp>
        <p:nvSpPr>
          <p:cNvPr id="23" name="Rectangle 22">
            <a:extLst>
              <a:ext uri="{FF2B5EF4-FFF2-40B4-BE49-F238E27FC236}">
                <a16:creationId xmlns:a16="http://schemas.microsoft.com/office/drawing/2014/main" id="{3B1A1454-5369-6C1C-5495-DE7885484311}"/>
              </a:ext>
            </a:extLst>
          </p:cNvPr>
          <p:cNvSpPr/>
          <p:nvPr/>
        </p:nvSpPr>
        <p:spPr>
          <a:xfrm>
            <a:off x="3611207" y="864211"/>
            <a:ext cx="3679438" cy="3119059"/>
          </a:xfrm>
          <a:prstGeom prst="rect">
            <a:avLst/>
          </a:prstGeom>
          <a:noFill/>
          <a:ln w="38100">
            <a:solidFill>
              <a:schemeClr val="accent6">
                <a:lumMod val="40000"/>
                <a:lumOff val="60000"/>
              </a:schemeClr>
            </a:solid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en-US" err="1"/>
          </a:p>
        </p:txBody>
      </p:sp>
      <p:sp>
        <p:nvSpPr>
          <p:cNvPr id="24" name="Rectangle 23">
            <a:extLst>
              <a:ext uri="{FF2B5EF4-FFF2-40B4-BE49-F238E27FC236}">
                <a16:creationId xmlns:a16="http://schemas.microsoft.com/office/drawing/2014/main" id="{30B6762E-C9F9-832B-6242-56EFDC872C8C}"/>
              </a:ext>
            </a:extLst>
          </p:cNvPr>
          <p:cNvSpPr/>
          <p:nvPr/>
        </p:nvSpPr>
        <p:spPr>
          <a:xfrm>
            <a:off x="7595719" y="864211"/>
            <a:ext cx="4038684" cy="4108622"/>
          </a:xfrm>
          <a:prstGeom prst="rect">
            <a:avLst/>
          </a:prstGeom>
          <a:noFill/>
          <a:ln w="38100">
            <a:solidFill>
              <a:srgbClr val="FFC000"/>
            </a:solid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en-US" err="1"/>
          </a:p>
        </p:txBody>
      </p:sp>
      <p:pic>
        <p:nvPicPr>
          <p:cNvPr id="22" name="Picture 21">
            <a:extLst>
              <a:ext uri="{FF2B5EF4-FFF2-40B4-BE49-F238E27FC236}">
                <a16:creationId xmlns:a16="http://schemas.microsoft.com/office/drawing/2014/main" id="{29167F9B-BAB3-DA77-0315-8FAC821F5308}"/>
              </a:ext>
            </a:extLst>
          </p:cNvPr>
          <p:cNvPicPr>
            <a:picLocks noChangeAspect="1"/>
          </p:cNvPicPr>
          <p:nvPr/>
        </p:nvPicPr>
        <p:blipFill>
          <a:blip r:embed="rId10" cstate="email">
            <a:extLst>
              <a:ext uri="{28A0092B-C50C-407E-A947-70E740481C1C}">
                <a14:useLocalDpi xmlns:a14="http://schemas.microsoft.com/office/drawing/2010/main"/>
              </a:ext>
            </a:extLst>
          </a:blip>
          <a:stretch>
            <a:fillRect/>
          </a:stretch>
        </p:blipFill>
        <p:spPr>
          <a:xfrm>
            <a:off x="5536384" y="2041754"/>
            <a:ext cx="1676021" cy="367395"/>
          </a:xfrm>
          <a:prstGeom prst="rect">
            <a:avLst/>
          </a:prstGeom>
        </p:spPr>
      </p:pic>
      <p:pic>
        <p:nvPicPr>
          <p:cNvPr id="25" name="Picture 24">
            <a:extLst>
              <a:ext uri="{FF2B5EF4-FFF2-40B4-BE49-F238E27FC236}">
                <a16:creationId xmlns:a16="http://schemas.microsoft.com/office/drawing/2014/main" id="{3F4F52F8-C5E9-E776-D7B5-4EDC3E258319}"/>
              </a:ext>
            </a:extLst>
          </p:cNvPr>
          <p:cNvPicPr>
            <a:picLocks noChangeAspect="1"/>
          </p:cNvPicPr>
          <p:nvPr/>
        </p:nvPicPr>
        <p:blipFill>
          <a:blip r:embed="rId11" cstate="email">
            <a:extLst>
              <a:ext uri="{28A0092B-C50C-407E-A947-70E740481C1C}">
                <a14:useLocalDpi xmlns:a14="http://schemas.microsoft.com/office/drawing/2010/main"/>
              </a:ext>
            </a:extLst>
          </a:blip>
          <a:srcRect l="-51"/>
          <a:stretch/>
        </p:blipFill>
        <p:spPr>
          <a:xfrm>
            <a:off x="5476565" y="2648131"/>
            <a:ext cx="1735840" cy="778337"/>
          </a:xfrm>
          <a:prstGeom prst="rect">
            <a:avLst/>
          </a:prstGeom>
        </p:spPr>
      </p:pic>
      <p:pic>
        <p:nvPicPr>
          <p:cNvPr id="27" name="Picture 26">
            <a:extLst>
              <a:ext uri="{FF2B5EF4-FFF2-40B4-BE49-F238E27FC236}">
                <a16:creationId xmlns:a16="http://schemas.microsoft.com/office/drawing/2014/main" id="{3C3A8081-3F49-F6BE-91BA-5611CF939068}"/>
              </a:ext>
            </a:extLst>
          </p:cNvPr>
          <p:cNvPicPr>
            <a:picLocks noChangeAspect="1"/>
          </p:cNvPicPr>
          <p:nvPr/>
        </p:nvPicPr>
        <p:blipFill>
          <a:blip r:embed="rId12" cstate="email">
            <a:extLst>
              <a:ext uri="{28A0092B-C50C-407E-A947-70E740481C1C}">
                <a14:useLocalDpi xmlns:a14="http://schemas.microsoft.com/office/drawing/2010/main"/>
              </a:ext>
            </a:extLst>
          </a:blip>
          <a:srcRect/>
          <a:stretch/>
        </p:blipFill>
        <p:spPr>
          <a:xfrm>
            <a:off x="10198849" y="4342210"/>
            <a:ext cx="489133" cy="559618"/>
          </a:xfrm>
          <a:prstGeom prst="rect">
            <a:avLst/>
          </a:prstGeom>
        </p:spPr>
      </p:pic>
      <p:sp>
        <p:nvSpPr>
          <p:cNvPr id="28" name="TextBox 27">
            <a:extLst>
              <a:ext uri="{FF2B5EF4-FFF2-40B4-BE49-F238E27FC236}">
                <a16:creationId xmlns:a16="http://schemas.microsoft.com/office/drawing/2014/main" id="{FB727998-50FE-2F61-F4C7-A1AEA7F660BD}"/>
              </a:ext>
            </a:extLst>
          </p:cNvPr>
          <p:cNvSpPr txBox="1"/>
          <p:nvPr/>
        </p:nvSpPr>
        <p:spPr>
          <a:xfrm>
            <a:off x="7903713" y="4325535"/>
            <a:ext cx="2181220" cy="576293"/>
          </a:xfrm>
          <a:prstGeom prst="rect">
            <a:avLst/>
          </a:prstGeom>
          <a:noFill/>
          <a:ln>
            <a:noFill/>
          </a:ln>
        </p:spPr>
        <p:txBody>
          <a:bodyPr wrap="none" lIns="72000" tIns="72000" rIns="72000" bIns="72000" rtlCol="0">
            <a:spAutoFit/>
          </a:bodyPr>
          <a:lstStyle/>
          <a:p>
            <a:pPr marL="285750" indent="-285750" algn="l">
              <a:buClr>
                <a:schemeClr val="accent1"/>
              </a:buClr>
              <a:buFont typeface="Arial" panose="020B0604020202020204" pitchFamily="34" charset="0"/>
              <a:buChar char="•"/>
            </a:pPr>
            <a:r>
              <a:rPr lang="en-US" sz="1400"/>
              <a:t>TX, OK, LA, AR Only</a:t>
            </a:r>
          </a:p>
          <a:p>
            <a:pPr marL="285750" indent="-285750" algn="l">
              <a:buClr>
                <a:schemeClr val="accent1"/>
              </a:buClr>
              <a:buFont typeface="Arial" panose="020B0604020202020204" pitchFamily="34" charset="0"/>
              <a:buChar char="•"/>
            </a:pPr>
            <a:r>
              <a:rPr lang="en-US" sz="1400"/>
              <a:t>A2L Fulfillment option</a:t>
            </a:r>
          </a:p>
        </p:txBody>
      </p:sp>
      <p:pic>
        <p:nvPicPr>
          <p:cNvPr id="1024" name="Picture 1023">
            <a:extLst>
              <a:ext uri="{FF2B5EF4-FFF2-40B4-BE49-F238E27FC236}">
                <a16:creationId xmlns:a16="http://schemas.microsoft.com/office/drawing/2014/main" id="{822CB101-7180-8229-1132-FA7C2B0C65C3}"/>
              </a:ext>
            </a:extLst>
          </p:cNvPr>
          <p:cNvPicPr>
            <a:picLocks noChangeAspect="1"/>
          </p:cNvPicPr>
          <p:nvPr/>
        </p:nvPicPr>
        <p:blipFill>
          <a:blip r:embed="rId13" cstate="email">
            <a:extLst>
              <a:ext uri="{28A0092B-C50C-407E-A947-70E740481C1C}">
                <a14:useLocalDpi xmlns:a14="http://schemas.microsoft.com/office/drawing/2010/main"/>
              </a:ext>
            </a:extLst>
          </a:blip>
          <a:stretch>
            <a:fillRect/>
          </a:stretch>
        </p:blipFill>
        <p:spPr>
          <a:xfrm>
            <a:off x="5355918" y="1601552"/>
            <a:ext cx="512108" cy="457239"/>
          </a:xfrm>
          <a:prstGeom prst="rect">
            <a:avLst/>
          </a:prstGeom>
        </p:spPr>
      </p:pic>
      <p:pic>
        <p:nvPicPr>
          <p:cNvPr id="1025" name="Picture 1024">
            <a:extLst>
              <a:ext uri="{FF2B5EF4-FFF2-40B4-BE49-F238E27FC236}">
                <a16:creationId xmlns:a16="http://schemas.microsoft.com/office/drawing/2014/main" id="{A9362BA5-C334-FB40-5942-5C953901C0D5}"/>
              </a:ext>
            </a:extLst>
          </p:cNvPr>
          <p:cNvPicPr>
            <a:picLocks noChangeAspect="1"/>
          </p:cNvPicPr>
          <p:nvPr/>
        </p:nvPicPr>
        <p:blipFill>
          <a:blip r:embed="rId13" cstate="email">
            <a:extLst>
              <a:ext uri="{28A0092B-C50C-407E-A947-70E740481C1C}">
                <a14:useLocalDpi xmlns:a14="http://schemas.microsoft.com/office/drawing/2010/main"/>
              </a:ext>
            </a:extLst>
          </a:blip>
          <a:stretch>
            <a:fillRect/>
          </a:stretch>
        </p:blipFill>
        <p:spPr>
          <a:xfrm>
            <a:off x="9789981" y="4061107"/>
            <a:ext cx="512108" cy="457239"/>
          </a:xfrm>
          <a:prstGeom prst="rect">
            <a:avLst/>
          </a:prstGeom>
        </p:spPr>
      </p:pic>
      <p:sp>
        <p:nvSpPr>
          <p:cNvPr id="1027" name="TextBox 1026">
            <a:extLst>
              <a:ext uri="{FF2B5EF4-FFF2-40B4-BE49-F238E27FC236}">
                <a16:creationId xmlns:a16="http://schemas.microsoft.com/office/drawing/2014/main" id="{72604E93-DFC9-A331-8393-4E70806323BB}"/>
              </a:ext>
            </a:extLst>
          </p:cNvPr>
          <p:cNvSpPr txBox="1"/>
          <p:nvPr/>
        </p:nvSpPr>
        <p:spPr>
          <a:xfrm>
            <a:off x="5678924" y="2286119"/>
            <a:ext cx="1390940" cy="360850"/>
          </a:xfrm>
          <a:prstGeom prst="rect">
            <a:avLst/>
          </a:prstGeom>
          <a:noFill/>
          <a:ln>
            <a:noFill/>
          </a:ln>
        </p:spPr>
        <p:txBody>
          <a:bodyPr wrap="none" lIns="72000" tIns="72000" rIns="72000" bIns="72000" rtlCol="0">
            <a:spAutoFit/>
          </a:bodyPr>
          <a:lstStyle/>
          <a:p>
            <a:pPr algn="l">
              <a:buClr>
                <a:schemeClr val="accent1"/>
              </a:buClr>
            </a:pPr>
            <a:r>
              <a:rPr lang="en-US" sz="1400"/>
              <a:t>(Americas Only)</a:t>
            </a:r>
          </a:p>
        </p:txBody>
      </p:sp>
      <p:pic>
        <p:nvPicPr>
          <p:cNvPr id="20" name="Picture 19" descr="Theresa Tesch">
            <a:extLst>
              <a:ext uri="{FF2B5EF4-FFF2-40B4-BE49-F238E27FC236}">
                <a16:creationId xmlns:a16="http://schemas.microsoft.com/office/drawing/2014/main" id="{FD1D656E-9516-71A2-1D46-281F332EDC94}"/>
              </a:ext>
            </a:extLst>
          </p:cNvPr>
          <p:cNvPicPr>
            <a:picLocks noChangeAspect="1"/>
          </p:cNvPicPr>
          <p:nvPr/>
        </p:nvPicPr>
        <p:blipFill>
          <a:blip r:embed="rId14"/>
          <a:stretch>
            <a:fillRect/>
          </a:stretch>
        </p:blipFill>
        <p:spPr>
          <a:xfrm>
            <a:off x="7684770" y="943610"/>
            <a:ext cx="896620" cy="825500"/>
          </a:xfrm>
          <a:prstGeom prst="rect">
            <a:avLst/>
          </a:prstGeom>
          <a:effectLst>
            <a:outerShdw blurRad="50800" dist="38100" dir="2700000">
              <a:srgbClr val="000000">
                <a:alpha val="40000"/>
              </a:srgbClr>
            </a:outerShdw>
          </a:effectLst>
        </p:spPr>
      </p:pic>
      <p:pic>
        <p:nvPicPr>
          <p:cNvPr id="29" name="Picture 28" descr="Diane Haynes">
            <a:extLst>
              <a:ext uri="{FF2B5EF4-FFF2-40B4-BE49-F238E27FC236}">
                <a16:creationId xmlns:a16="http://schemas.microsoft.com/office/drawing/2014/main" id="{0A619AB4-72E5-D624-605D-9106D2893A88}"/>
              </a:ext>
            </a:extLst>
          </p:cNvPr>
          <p:cNvPicPr>
            <a:picLocks noChangeAspect="1"/>
          </p:cNvPicPr>
          <p:nvPr/>
        </p:nvPicPr>
        <p:blipFill>
          <a:blip r:embed="rId15"/>
          <a:stretch>
            <a:fillRect/>
          </a:stretch>
        </p:blipFill>
        <p:spPr>
          <a:xfrm>
            <a:off x="3677920" y="939800"/>
            <a:ext cx="833120" cy="812800"/>
          </a:xfrm>
          <a:prstGeom prst="rect">
            <a:avLst/>
          </a:prstGeom>
          <a:effectLst>
            <a:outerShdw blurRad="50800" dist="38100" dir="2700000">
              <a:srgbClr val="000000">
                <a:alpha val="40000"/>
              </a:srgbClr>
            </a:outerShdw>
          </a:effectLst>
        </p:spPr>
      </p:pic>
      <p:sp>
        <p:nvSpPr>
          <p:cNvPr id="9" name="Rectangle: Rounded Corners 8">
            <a:extLst>
              <a:ext uri="{FF2B5EF4-FFF2-40B4-BE49-F238E27FC236}">
                <a16:creationId xmlns:a16="http://schemas.microsoft.com/office/drawing/2014/main" id="{B6B8D849-A9B6-7B0E-3146-D28E7D3CA08F}"/>
              </a:ext>
            </a:extLst>
          </p:cNvPr>
          <p:cNvSpPr/>
          <p:nvPr/>
        </p:nvSpPr>
        <p:spPr>
          <a:xfrm>
            <a:off x="661603" y="5103911"/>
            <a:ext cx="10972800" cy="1135167"/>
          </a:xfrm>
          <a:prstGeom prst="round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r>
              <a:rPr lang="en-US" b="1"/>
              <a:t>Inside Sales for Distribution</a:t>
            </a:r>
          </a:p>
        </p:txBody>
      </p:sp>
      <p:pic>
        <p:nvPicPr>
          <p:cNvPr id="14" name="Picture 13" descr="Katie Pflanz">
            <a:extLst>
              <a:ext uri="{FF2B5EF4-FFF2-40B4-BE49-F238E27FC236}">
                <a16:creationId xmlns:a16="http://schemas.microsoft.com/office/drawing/2014/main" id="{E44F3147-24EF-679D-A03E-4815794A09F3}"/>
              </a:ext>
            </a:extLst>
          </p:cNvPr>
          <p:cNvPicPr>
            <a:picLocks noChangeAspect="1"/>
          </p:cNvPicPr>
          <p:nvPr/>
        </p:nvPicPr>
        <p:blipFill>
          <a:blip r:embed="rId16"/>
          <a:stretch>
            <a:fillRect/>
          </a:stretch>
        </p:blipFill>
        <p:spPr>
          <a:xfrm>
            <a:off x="3454702" y="5140070"/>
            <a:ext cx="1062848" cy="1062848"/>
          </a:xfrm>
          <a:prstGeom prst="rect">
            <a:avLst/>
          </a:prstGeom>
          <a:effectLst>
            <a:outerShdw blurRad="50800" dist="38100" dir="2700000">
              <a:srgbClr val="000000">
                <a:alpha val="40000"/>
              </a:srgbClr>
            </a:outerShdw>
          </a:effectLst>
        </p:spPr>
      </p:pic>
    </p:spTree>
    <p:extLst>
      <p:ext uri="{BB962C8B-B14F-4D97-AF65-F5344CB8AC3E}">
        <p14:creationId xmlns:p14="http://schemas.microsoft.com/office/powerpoint/2010/main" val="1509104501"/>
      </p:ext>
    </p:extLst>
  </p:cSld>
  <p:clrMapOvr>
    <a:masterClrMapping/>
  </p:clrMapOvr>
  <p:extLst>
    <p:ext uri="{6950BFC3-D8DA-4A85-94F7-54DA5524770B}">
      <p188:commentRel xmlns:p188="http://schemas.microsoft.com/office/powerpoint/2018/8/main" r:id="rId2"/>
    </p:ext>
  </p:extLs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F0EA47B-90B7-E440-DEE1-BE4B4C6D4A44}"/>
            </a:ext>
          </a:extLst>
        </p:cNvPr>
        <p:cNvGrpSpPr/>
        <p:nvPr/>
      </p:nvGrpSpPr>
      <p:grpSpPr>
        <a:xfrm>
          <a:off x="0" y="0"/>
          <a:ext cx="0" cy="0"/>
          <a:chOff x="0" y="0"/>
          <a:chExt cx="0" cy="0"/>
        </a:xfrm>
      </p:grpSpPr>
      <p:grpSp>
        <p:nvGrpSpPr>
          <p:cNvPr id="2" name="组合 258">
            <a:extLst>
              <a:ext uri="{FF2B5EF4-FFF2-40B4-BE49-F238E27FC236}">
                <a16:creationId xmlns:a16="http://schemas.microsoft.com/office/drawing/2014/main" id="{C8588AE7-932E-0193-55E5-82BC26F511A6}"/>
              </a:ext>
            </a:extLst>
          </p:cNvPr>
          <p:cNvGrpSpPr/>
          <p:nvPr/>
        </p:nvGrpSpPr>
        <p:grpSpPr>
          <a:xfrm rot="-120000">
            <a:off x="3371118" y="2955258"/>
            <a:ext cx="5570068" cy="3402710"/>
            <a:chOff x="3492500" y="2141538"/>
            <a:chExt cx="4557713" cy="2622550"/>
          </a:xfrm>
          <a:solidFill>
            <a:srgbClr val="4BAFC8"/>
          </a:solidFill>
        </p:grpSpPr>
        <p:sp>
          <p:nvSpPr>
            <p:cNvPr id="3" name="Freeform 1103">
              <a:extLst>
                <a:ext uri="{FF2B5EF4-FFF2-40B4-BE49-F238E27FC236}">
                  <a16:creationId xmlns:a16="http://schemas.microsoft.com/office/drawing/2014/main" id="{75BC44DC-3A43-BC78-9897-096FDC67EAFD}"/>
                </a:ext>
              </a:extLst>
            </p:cNvPr>
            <p:cNvSpPr>
              <a:spLocks/>
            </p:cNvSpPr>
            <p:nvPr/>
          </p:nvSpPr>
          <p:spPr bwMode="auto">
            <a:xfrm>
              <a:off x="3836988" y="3265487"/>
              <a:ext cx="514350" cy="582613"/>
            </a:xfrm>
            <a:custGeom>
              <a:avLst/>
              <a:gdLst>
                <a:gd name="T0" fmla="*/ 282 w 324"/>
                <a:gd name="T1" fmla="*/ 56 h 367"/>
                <a:gd name="T2" fmla="*/ 300 w 324"/>
                <a:gd name="T3" fmla="*/ 60 h 367"/>
                <a:gd name="T4" fmla="*/ 324 w 324"/>
                <a:gd name="T5" fmla="*/ 68 h 367"/>
                <a:gd name="T6" fmla="*/ 314 w 324"/>
                <a:gd name="T7" fmla="*/ 96 h 367"/>
                <a:gd name="T8" fmla="*/ 310 w 324"/>
                <a:gd name="T9" fmla="*/ 112 h 367"/>
                <a:gd name="T10" fmla="*/ 304 w 324"/>
                <a:gd name="T11" fmla="*/ 132 h 367"/>
                <a:gd name="T12" fmla="*/ 300 w 324"/>
                <a:gd name="T13" fmla="*/ 150 h 367"/>
                <a:gd name="T14" fmla="*/ 294 w 324"/>
                <a:gd name="T15" fmla="*/ 172 h 367"/>
                <a:gd name="T16" fmla="*/ 288 w 324"/>
                <a:gd name="T17" fmla="*/ 189 h 367"/>
                <a:gd name="T18" fmla="*/ 282 w 324"/>
                <a:gd name="T19" fmla="*/ 211 h 367"/>
                <a:gd name="T20" fmla="*/ 276 w 324"/>
                <a:gd name="T21" fmla="*/ 229 h 367"/>
                <a:gd name="T22" fmla="*/ 272 w 324"/>
                <a:gd name="T23" fmla="*/ 249 h 367"/>
                <a:gd name="T24" fmla="*/ 268 w 324"/>
                <a:gd name="T25" fmla="*/ 269 h 367"/>
                <a:gd name="T26" fmla="*/ 260 w 324"/>
                <a:gd name="T27" fmla="*/ 293 h 367"/>
                <a:gd name="T28" fmla="*/ 254 w 324"/>
                <a:gd name="T29" fmla="*/ 313 h 367"/>
                <a:gd name="T30" fmla="*/ 248 w 324"/>
                <a:gd name="T31" fmla="*/ 333 h 367"/>
                <a:gd name="T32" fmla="*/ 244 w 324"/>
                <a:gd name="T33" fmla="*/ 349 h 367"/>
                <a:gd name="T34" fmla="*/ 240 w 324"/>
                <a:gd name="T35" fmla="*/ 365 h 367"/>
                <a:gd name="T36" fmla="*/ 226 w 324"/>
                <a:gd name="T37" fmla="*/ 361 h 367"/>
                <a:gd name="T38" fmla="*/ 206 w 324"/>
                <a:gd name="T39" fmla="*/ 357 h 367"/>
                <a:gd name="T40" fmla="*/ 186 w 324"/>
                <a:gd name="T41" fmla="*/ 351 h 367"/>
                <a:gd name="T42" fmla="*/ 160 w 324"/>
                <a:gd name="T43" fmla="*/ 341 h 367"/>
                <a:gd name="T44" fmla="*/ 140 w 324"/>
                <a:gd name="T45" fmla="*/ 333 h 367"/>
                <a:gd name="T46" fmla="*/ 130 w 324"/>
                <a:gd name="T47" fmla="*/ 325 h 367"/>
                <a:gd name="T48" fmla="*/ 116 w 324"/>
                <a:gd name="T49" fmla="*/ 315 h 367"/>
                <a:gd name="T50" fmla="*/ 100 w 324"/>
                <a:gd name="T51" fmla="*/ 301 h 367"/>
                <a:gd name="T52" fmla="*/ 82 w 324"/>
                <a:gd name="T53" fmla="*/ 287 h 367"/>
                <a:gd name="T54" fmla="*/ 62 w 324"/>
                <a:gd name="T55" fmla="*/ 273 h 367"/>
                <a:gd name="T56" fmla="*/ 44 w 324"/>
                <a:gd name="T57" fmla="*/ 257 h 367"/>
                <a:gd name="T58" fmla="*/ 32 w 324"/>
                <a:gd name="T59" fmla="*/ 245 h 367"/>
                <a:gd name="T60" fmla="*/ 20 w 324"/>
                <a:gd name="T61" fmla="*/ 237 h 367"/>
                <a:gd name="T62" fmla="*/ 0 w 324"/>
                <a:gd name="T63" fmla="*/ 219 h 367"/>
                <a:gd name="T64" fmla="*/ 10 w 324"/>
                <a:gd name="T65" fmla="*/ 209 h 367"/>
                <a:gd name="T66" fmla="*/ 24 w 324"/>
                <a:gd name="T67" fmla="*/ 205 h 367"/>
                <a:gd name="T68" fmla="*/ 20 w 324"/>
                <a:gd name="T69" fmla="*/ 193 h 367"/>
                <a:gd name="T70" fmla="*/ 20 w 324"/>
                <a:gd name="T71" fmla="*/ 187 h 367"/>
                <a:gd name="T72" fmla="*/ 22 w 324"/>
                <a:gd name="T73" fmla="*/ 174 h 367"/>
                <a:gd name="T74" fmla="*/ 34 w 324"/>
                <a:gd name="T75" fmla="*/ 170 h 367"/>
                <a:gd name="T76" fmla="*/ 38 w 324"/>
                <a:gd name="T77" fmla="*/ 156 h 367"/>
                <a:gd name="T78" fmla="*/ 42 w 324"/>
                <a:gd name="T79" fmla="*/ 148 h 367"/>
                <a:gd name="T80" fmla="*/ 54 w 324"/>
                <a:gd name="T81" fmla="*/ 140 h 367"/>
                <a:gd name="T82" fmla="*/ 62 w 324"/>
                <a:gd name="T83" fmla="*/ 134 h 367"/>
                <a:gd name="T84" fmla="*/ 58 w 324"/>
                <a:gd name="T85" fmla="*/ 122 h 367"/>
                <a:gd name="T86" fmla="*/ 56 w 324"/>
                <a:gd name="T87" fmla="*/ 108 h 367"/>
                <a:gd name="T88" fmla="*/ 56 w 324"/>
                <a:gd name="T89" fmla="*/ 96 h 367"/>
                <a:gd name="T90" fmla="*/ 62 w 324"/>
                <a:gd name="T91" fmla="*/ 84 h 367"/>
                <a:gd name="T92" fmla="*/ 66 w 324"/>
                <a:gd name="T93" fmla="*/ 66 h 367"/>
                <a:gd name="T94" fmla="*/ 68 w 324"/>
                <a:gd name="T95" fmla="*/ 52 h 367"/>
                <a:gd name="T96" fmla="*/ 70 w 324"/>
                <a:gd name="T97" fmla="*/ 44 h 367"/>
                <a:gd name="T98" fmla="*/ 78 w 324"/>
                <a:gd name="T99" fmla="*/ 38 h 367"/>
                <a:gd name="T100" fmla="*/ 86 w 324"/>
                <a:gd name="T101" fmla="*/ 40 h 367"/>
                <a:gd name="T102" fmla="*/ 94 w 324"/>
                <a:gd name="T103" fmla="*/ 48 h 367"/>
                <a:gd name="T104" fmla="*/ 104 w 324"/>
                <a:gd name="T105" fmla="*/ 38 h 367"/>
                <a:gd name="T106" fmla="*/ 110 w 324"/>
                <a:gd name="T107" fmla="*/ 22 h 367"/>
                <a:gd name="T108" fmla="*/ 118 w 324"/>
                <a:gd name="T109" fmla="*/ 2 h 367"/>
                <a:gd name="T110" fmla="*/ 170 w 324"/>
                <a:gd name="T111" fmla="*/ 20 h 367"/>
                <a:gd name="T112" fmla="*/ 196 w 324"/>
                <a:gd name="T113" fmla="*/ 28 h 367"/>
                <a:gd name="T114" fmla="*/ 226 w 324"/>
                <a:gd name="T115" fmla="*/ 38 h 367"/>
                <a:gd name="T116" fmla="*/ 240 w 324"/>
                <a:gd name="T117" fmla="*/ 44 h 367"/>
                <a:gd name="T118" fmla="*/ 258 w 324"/>
                <a:gd name="T119" fmla="*/ 46 h 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24" h="367">
                  <a:moveTo>
                    <a:pt x="264" y="48"/>
                  </a:moveTo>
                  <a:lnTo>
                    <a:pt x="266" y="50"/>
                  </a:lnTo>
                  <a:lnTo>
                    <a:pt x="268" y="50"/>
                  </a:lnTo>
                  <a:lnTo>
                    <a:pt x="270" y="52"/>
                  </a:lnTo>
                  <a:lnTo>
                    <a:pt x="272" y="52"/>
                  </a:lnTo>
                  <a:lnTo>
                    <a:pt x="276" y="52"/>
                  </a:lnTo>
                  <a:lnTo>
                    <a:pt x="276" y="54"/>
                  </a:lnTo>
                  <a:lnTo>
                    <a:pt x="280" y="54"/>
                  </a:lnTo>
                  <a:lnTo>
                    <a:pt x="282" y="54"/>
                  </a:lnTo>
                  <a:lnTo>
                    <a:pt x="282" y="56"/>
                  </a:lnTo>
                  <a:lnTo>
                    <a:pt x="284" y="56"/>
                  </a:lnTo>
                  <a:lnTo>
                    <a:pt x="286" y="56"/>
                  </a:lnTo>
                  <a:lnTo>
                    <a:pt x="288" y="56"/>
                  </a:lnTo>
                  <a:lnTo>
                    <a:pt x="290" y="58"/>
                  </a:lnTo>
                  <a:lnTo>
                    <a:pt x="292" y="58"/>
                  </a:lnTo>
                  <a:lnTo>
                    <a:pt x="294" y="58"/>
                  </a:lnTo>
                  <a:lnTo>
                    <a:pt x="296" y="58"/>
                  </a:lnTo>
                  <a:lnTo>
                    <a:pt x="296" y="60"/>
                  </a:lnTo>
                  <a:lnTo>
                    <a:pt x="298" y="60"/>
                  </a:lnTo>
                  <a:lnTo>
                    <a:pt x="300" y="60"/>
                  </a:lnTo>
                  <a:lnTo>
                    <a:pt x="302" y="60"/>
                  </a:lnTo>
                  <a:lnTo>
                    <a:pt x="304" y="62"/>
                  </a:lnTo>
                  <a:lnTo>
                    <a:pt x="310" y="62"/>
                  </a:lnTo>
                  <a:lnTo>
                    <a:pt x="314" y="64"/>
                  </a:lnTo>
                  <a:lnTo>
                    <a:pt x="316" y="64"/>
                  </a:lnTo>
                  <a:lnTo>
                    <a:pt x="318" y="64"/>
                  </a:lnTo>
                  <a:lnTo>
                    <a:pt x="318" y="66"/>
                  </a:lnTo>
                  <a:lnTo>
                    <a:pt x="320" y="66"/>
                  </a:lnTo>
                  <a:lnTo>
                    <a:pt x="324" y="66"/>
                  </a:lnTo>
                  <a:lnTo>
                    <a:pt x="324" y="68"/>
                  </a:lnTo>
                  <a:lnTo>
                    <a:pt x="322" y="68"/>
                  </a:lnTo>
                  <a:lnTo>
                    <a:pt x="322" y="74"/>
                  </a:lnTo>
                  <a:lnTo>
                    <a:pt x="320" y="76"/>
                  </a:lnTo>
                  <a:lnTo>
                    <a:pt x="320" y="78"/>
                  </a:lnTo>
                  <a:lnTo>
                    <a:pt x="318" y="84"/>
                  </a:lnTo>
                  <a:lnTo>
                    <a:pt x="318" y="86"/>
                  </a:lnTo>
                  <a:lnTo>
                    <a:pt x="316" y="92"/>
                  </a:lnTo>
                  <a:lnTo>
                    <a:pt x="316" y="92"/>
                  </a:lnTo>
                  <a:lnTo>
                    <a:pt x="316" y="94"/>
                  </a:lnTo>
                  <a:lnTo>
                    <a:pt x="314" y="96"/>
                  </a:lnTo>
                  <a:lnTo>
                    <a:pt x="314" y="98"/>
                  </a:lnTo>
                  <a:lnTo>
                    <a:pt x="314" y="100"/>
                  </a:lnTo>
                  <a:lnTo>
                    <a:pt x="314" y="102"/>
                  </a:lnTo>
                  <a:lnTo>
                    <a:pt x="312" y="102"/>
                  </a:lnTo>
                  <a:lnTo>
                    <a:pt x="312" y="104"/>
                  </a:lnTo>
                  <a:lnTo>
                    <a:pt x="312" y="106"/>
                  </a:lnTo>
                  <a:lnTo>
                    <a:pt x="312" y="108"/>
                  </a:lnTo>
                  <a:lnTo>
                    <a:pt x="312" y="110"/>
                  </a:lnTo>
                  <a:lnTo>
                    <a:pt x="310" y="110"/>
                  </a:lnTo>
                  <a:lnTo>
                    <a:pt x="310" y="112"/>
                  </a:lnTo>
                  <a:lnTo>
                    <a:pt x="310" y="114"/>
                  </a:lnTo>
                  <a:lnTo>
                    <a:pt x="308" y="118"/>
                  </a:lnTo>
                  <a:lnTo>
                    <a:pt x="308" y="120"/>
                  </a:lnTo>
                  <a:lnTo>
                    <a:pt x="308" y="122"/>
                  </a:lnTo>
                  <a:lnTo>
                    <a:pt x="308" y="124"/>
                  </a:lnTo>
                  <a:lnTo>
                    <a:pt x="306" y="124"/>
                  </a:lnTo>
                  <a:lnTo>
                    <a:pt x="306" y="126"/>
                  </a:lnTo>
                  <a:lnTo>
                    <a:pt x="306" y="128"/>
                  </a:lnTo>
                  <a:lnTo>
                    <a:pt x="306" y="130"/>
                  </a:lnTo>
                  <a:lnTo>
                    <a:pt x="304" y="132"/>
                  </a:lnTo>
                  <a:lnTo>
                    <a:pt x="304" y="134"/>
                  </a:lnTo>
                  <a:lnTo>
                    <a:pt x="304" y="136"/>
                  </a:lnTo>
                  <a:lnTo>
                    <a:pt x="304" y="138"/>
                  </a:lnTo>
                  <a:lnTo>
                    <a:pt x="302" y="138"/>
                  </a:lnTo>
                  <a:lnTo>
                    <a:pt x="302" y="140"/>
                  </a:lnTo>
                  <a:lnTo>
                    <a:pt x="302" y="140"/>
                  </a:lnTo>
                  <a:lnTo>
                    <a:pt x="300" y="144"/>
                  </a:lnTo>
                  <a:lnTo>
                    <a:pt x="300" y="146"/>
                  </a:lnTo>
                  <a:lnTo>
                    <a:pt x="300" y="148"/>
                  </a:lnTo>
                  <a:lnTo>
                    <a:pt x="300" y="150"/>
                  </a:lnTo>
                  <a:lnTo>
                    <a:pt x="298" y="152"/>
                  </a:lnTo>
                  <a:lnTo>
                    <a:pt x="298" y="154"/>
                  </a:lnTo>
                  <a:lnTo>
                    <a:pt x="298" y="156"/>
                  </a:lnTo>
                  <a:lnTo>
                    <a:pt x="298" y="158"/>
                  </a:lnTo>
                  <a:lnTo>
                    <a:pt x="296" y="162"/>
                  </a:lnTo>
                  <a:lnTo>
                    <a:pt x="296" y="164"/>
                  </a:lnTo>
                  <a:lnTo>
                    <a:pt x="294" y="166"/>
                  </a:lnTo>
                  <a:lnTo>
                    <a:pt x="294" y="168"/>
                  </a:lnTo>
                  <a:lnTo>
                    <a:pt x="294" y="170"/>
                  </a:lnTo>
                  <a:lnTo>
                    <a:pt x="294" y="172"/>
                  </a:lnTo>
                  <a:lnTo>
                    <a:pt x="292" y="172"/>
                  </a:lnTo>
                  <a:lnTo>
                    <a:pt x="292" y="174"/>
                  </a:lnTo>
                  <a:lnTo>
                    <a:pt x="292" y="176"/>
                  </a:lnTo>
                  <a:lnTo>
                    <a:pt x="292" y="179"/>
                  </a:lnTo>
                  <a:lnTo>
                    <a:pt x="292" y="181"/>
                  </a:lnTo>
                  <a:lnTo>
                    <a:pt x="290" y="181"/>
                  </a:lnTo>
                  <a:lnTo>
                    <a:pt x="290" y="183"/>
                  </a:lnTo>
                  <a:lnTo>
                    <a:pt x="290" y="185"/>
                  </a:lnTo>
                  <a:lnTo>
                    <a:pt x="290" y="187"/>
                  </a:lnTo>
                  <a:lnTo>
                    <a:pt x="288" y="189"/>
                  </a:lnTo>
                  <a:lnTo>
                    <a:pt x="288" y="189"/>
                  </a:lnTo>
                  <a:lnTo>
                    <a:pt x="288" y="191"/>
                  </a:lnTo>
                  <a:lnTo>
                    <a:pt x="288" y="193"/>
                  </a:lnTo>
                  <a:lnTo>
                    <a:pt x="286" y="197"/>
                  </a:lnTo>
                  <a:lnTo>
                    <a:pt x="286" y="199"/>
                  </a:lnTo>
                  <a:lnTo>
                    <a:pt x="284" y="201"/>
                  </a:lnTo>
                  <a:lnTo>
                    <a:pt x="284" y="203"/>
                  </a:lnTo>
                  <a:lnTo>
                    <a:pt x="284" y="205"/>
                  </a:lnTo>
                  <a:lnTo>
                    <a:pt x="282" y="209"/>
                  </a:lnTo>
                  <a:lnTo>
                    <a:pt x="282" y="211"/>
                  </a:lnTo>
                  <a:lnTo>
                    <a:pt x="282" y="213"/>
                  </a:lnTo>
                  <a:lnTo>
                    <a:pt x="282" y="215"/>
                  </a:lnTo>
                  <a:lnTo>
                    <a:pt x="280" y="215"/>
                  </a:lnTo>
                  <a:lnTo>
                    <a:pt x="280" y="217"/>
                  </a:lnTo>
                  <a:lnTo>
                    <a:pt x="280" y="221"/>
                  </a:lnTo>
                  <a:lnTo>
                    <a:pt x="278" y="223"/>
                  </a:lnTo>
                  <a:lnTo>
                    <a:pt x="278" y="225"/>
                  </a:lnTo>
                  <a:lnTo>
                    <a:pt x="278" y="227"/>
                  </a:lnTo>
                  <a:lnTo>
                    <a:pt x="278" y="229"/>
                  </a:lnTo>
                  <a:lnTo>
                    <a:pt x="276" y="229"/>
                  </a:lnTo>
                  <a:lnTo>
                    <a:pt x="276" y="231"/>
                  </a:lnTo>
                  <a:lnTo>
                    <a:pt x="276" y="233"/>
                  </a:lnTo>
                  <a:lnTo>
                    <a:pt x="276" y="237"/>
                  </a:lnTo>
                  <a:lnTo>
                    <a:pt x="276" y="237"/>
                  </a:lnTo>
                  <a:lnTo>
                    <a:pt x="276" y="239"/>
                  </a:lnTo>
                  <a:lnTo>
                    <a:pt x="276" y="241"/>
                  </a:lnTo>
                  <a:lnTo>
                    <a:pt x="274" y="241"/>
                  </a:lnTo>
                  <a:lnTo>
                    <a:pt x="274" y="243"/>
                  </a:lnTo>
                  <a:lnTo>
                    <a:pt x="274" y="245"/>
                  </a:lnTo>
                  <a:lnTo>
                    <a:pt x="272" y="249"/>
                  </a:lnTo>
                  <a:lnTo>
                    <a:pt x="272" y="251"/>
                  </a:lnTo>
                  <a:lnTo>
                    <a:pt x="272" y="253"/>
                  </a:lnTo>
                  <a:lnTo>
                    <a:pt x="272" y="255"/>
                  </a:lnTo>
                  <a:lnTo>
                    <a:pt x="270" y="257"/>
                  </a:lnTo>
                  <a:lnTo>
                    <a:pt x="270" y="259"/>
                  </a:lnTo>
                  <a:lnTo>
                    <a:pt x="270" y="261"/>
                  </a:lnTo>
                  <a:lnTo>
                    <a:pt x="270" y="263"/>
                  </a:lnTo>
                  <a:lnTo>
                    <a:pt x="268" y="265"/>
                  </a:lnTo>
                  <a:lnTo>
                    <a:pt x="268" y="267"/>
                  </a:lnTo>
                  <a:lnTo>
                    <a:pt x="268" y="269"/>
                  </a:lnTo>
                  <a:lnTo>
                    <a:pt x="266" y="271"/>
                  </a:lnTo>
                  <a:lnTo>
                    <a:pt x="266" y="273"/>
                  </a:lnTo>
                  <a:lnTo>
                    <a:pt x="266" y="277"/>
                  </a:lnTo>
                  <a:lnTo>
                    <a:pt x="264" y="277"/>
                  </a:lnTo>
                  <a:lnTo>
                    <a:pt x="264" y="279"/>
                  </a:lnTo>
                  <a:lnTo>
                    <a:pt x="264" y="281"/>
                  </a:lnTo>
                  <a:lnTo>
                    <a:pt x="262" y="287"/>
                  </a:lnTo>
                  <a:lnTo>
                    <a:pt x="262" y="289"/>
                  </a:lnTo>
                  <a:lnTo>
                    <a:pt x="260" y="291"/>
                  </a:lnTo>
                  <a:lnTo>
                    <a:pt x="260" y="293"/>
                  </a:lnTo>
                  <a:lnTo>
                    <a:pt x="260" y="295"/>
                  </a:lnTo>
                  <a:lnTo>
                    <a:pt x="260" y="297"/>
                  </a:lnTo>
                  <a:lnTo>
                    <a:pt x="258" y="299"/>
                  </a:lnTo>
                  <a:lnTo>
                    <a:pt x="258" y="303"/>
                  </a:lnTo>
                  <a:lnTo>
                    <a:pt x="256" y="305"/>
                  </a:lnTo>
                  <a:lnTo>
                    <a:pt x="256" y="307"/>
                  </a:lnTo>
                  <a:lnTo>
                    <a:pt x="256" y="309"/>
                  </a:lnTo>
                  <a:lnTo>
                    <a:pt x="256" y="311"/>
                  </a:lnTo>
                  <a:lnTo>
                    <a:pt x="254" y="311"/>
                  </a:lnTo>
                  <a:lnTo>
                    <a:pt x="254" y="313"/>
                  </a:lnTo>
                  <a:lnTo>
                    <a:pt x="254" y="317"/>
                  </a:lnTo>
                  <a:lnTo>
                    <a:pt x="252" y="319"/>
                  </a:lnTo>
                  <a:lnTo>
                    <a:pt x="252" y="321"/>
                  </a:lnTo>
                  <a:lnTo>
                    <a:pt x="252" y="323"/>
                  </a:lnTo>
                  <a:lnTo>
                    <a:pt x="252" y="325"/>
                  </a:lnTo>
                  <a:lnTo>
                    <a:pt x="250" y="327"/>
                  </a:lnTo>
                  <a:lnTo>
                    <a:pt x="250" y="329"/>
                  </a:lnTo>
                  <a:lnTo>
                    <a:pt x="250" y="331"/>
                  </a:lnTo>
                  <a:lnTo>
                    <a:pt x="250" y="333"/>
                  </a:lnTo>
                  <a:lnTo>
                    <a:pt x="248" y="333"/>
                  </a:lnTo>
                  <a:lnTo>
                    <a:pt x="248" y="335"/>
                  </a:lnTo>
                  <a:lnTo>
                    <a:pt x="248" y="337"/>
                  </a:lnTo>
                  <a:lnTo>
                    <a:pt x="248" y="339"/>
                  </a:lnTo>
                  <a:lnTo>
                    <a:pt x="246" y="339"/>
                  </a:lnTo>
                  <a:lnTo>
                    <a:pt x="246" y="341"/>
                  </a:lnTo>
                  <a:lnTo>
                    <a:pt x="246" y="343"/>
                  </a:lnTo>
                  <a:lnTo>
                    <a:pt x="246" y="345"/>
                  </a:lnTo>
                  <a:lnTo>
                    <a:pt x="244" y="345"/>
                  </a:lnTo>
                  <a:lnTo>
                    <a:pt x="244" y="347"/>
                  </a:lnTo>
                  <a:lnTo>
                    <a:pt x="244" y="349"/>
                  </a:lnTo>
                  <a:lnTo>
                    <a:pt x="244" y="351"/>
                  </a:lnTo>
                  <a:lnTo>
                    <a:pt x="244" y="353"/>
                  </a:lnTo>
                  <a:lnTo>
                    <a:pt x="242" y="353"/>
                  </a:lnTo>
                  <a:lnTo>
                    <a:pt x="242" y="355"/>
                  </a:lnTo>
                  <a:lnTo>
                    <a:pt x="242" y="357"/>
                  </a:lnTo>
                  <a:lnTo>
                    <a:pt x="242" y="359"/>
                  </a:lnTo>
                  <a:lnTo>
                    <a:pt x="240" y="359"/>
                  </a:lnTo>
                  <a:lnTo>
                    <a:pt x="240" y="361"/>
                  </a:lnTo>
                  <a:lnTo>
                    <a:pt x="240" y="363"/>
                  </a:lnTo>
                  <a:lnTo>
                    <a:pt x="240" y="365"/>
                  </a:lnTo>
                  <a:lnTo>
                    <a:pt x="240" y="367"/>
                  </a:lnTo>
                  <a:lnTo>
                    <a:pt x="238" y="365"/>
                  </a:lnTo>
                  <a:lnTo>
                    <a:pt x="236" y="365"/>
                  </a:lnTo>
                  <a:lnTo>
                    <a:pt x="234" y="365"/>
                  </a:lnTo>
                  <a:lnTo>
                    <a:pt x="232" y="365"/>
                  </a:lnTo>
                  <a:lnTo>
                    <a:pt x="230" y="363"/>
                  </a:lnTo>
                  <a:lnTo>
                    <a:pt x="228" y="363"/>
                  </a:lnTo>
                  <a:lnTo>
                    <a:pt x="228" y="363"/>
                  </a:lnTo>
                  <a:lnTo>
                    <a:pt x="226" y="363"/>
                  </a:lnTo>
                  <a:lnTo>
                    <a:pt x="226" y="361"/>
                  </a:lnTo>
                  <a:lnTo>
                    <a:pt x="224" y="361"/>
                  </a:lnTo>
                  <a:lnTo>
                    <a:pt x="222" y="361"/>
                  </a:lnTo>
                  <a:lnTo>
                    <a:pt x="220" y="361"/>
                  </a:lnTo>
                  <a:lnTo>
                    <a:pt x="218" y="359"/>
                  </a:lnTo>
                  <a:lnTo>
                    <a:pt x="216" y="359"/>
                  </a:lnTo>
                  <a:lnTo>
                    <a:pt x="214" y="359"/>
                  </a:lnTo>
                  <a:lnTo>
                    <a:pt x="212" y="359"/>
                  </a:lnTo>
                  <a:lnTo>
                    <a:pt x="212" y="357"/>
                  </a:lnTo>
                  <a:lnTo>
                    <a:pt x="208" y="357"/>
                  </a:lnTo>
                  <a:lnTo>
                    <a:pt x="206" y="357"/>
                  </a:lnTo>
                  <a:lnTo>
                    <a:pt x="204" y="355"/>
                  </a:lnTo>
                  <a:lnTo>
                    <a:pt x="202" y="355"/>
                  </a:lnTo>
                  <a:lnTo>
                    <a:pt x="200" y="355"/>
                  </a:lnTo>
                  <a:lnTo>
                    <a:pt x="198" y="355"/>
                  </a:lnTo>
                  <a:lnTo>
                    <a:pt x="198" y="353"/>
                  </a:lnTo>
                  <a:lnTo>
                    <a:pt x="196" y="353"/>
                  </a:lnTo>
                  <a:lnTo>
                    <a:pt x="194" y="353"/>
                  </a:lnTo>
                  <a:lnTo>
                    <a:pt x="190" y="351"/>
                  </a:lnTo>
                  <a:lnTo>
                    <a:pt x="188" y="351"/>
                  </a:lnTo>
                  <a:lnTo>
                    <a:pt x="186" y="351"/>
                  </a:lnTo>
                  <a:lnTo>
                    <a:pt x="184" y="349"/>
                  </a:lnTo>
                  <a:lnTo>
                    <a:pt x="182" y="349"/>
                  </a:lnTo>
                  <a:lnTo>
                    <a:pt x="180" y="349"/>
                  </a:lnTo>
                  <a:lnTo>
                    <a:pt x="180" y="347"/>
                  </a:lnTo>
                  <a:lnTo>
                    <a:pt x="178" y="347"/>
                  </a:lnTo>
                  <a:lnTo>
                    <a:pt x="176" y="347"/>
                  </a:lnTo>
                  <a:lnTo>
                    <a:pt x="174" y="347"/>
                  </a:lnTo>
                  <a:lnTo>
                    <a:pt x="166" y="343"/>
                  </a:lnTo>
                  <a:lnTo>
                    <a:pt x="162" y="343"/>
                  </a:lnTo>
                  <a:lnTo>
                    <a:pt x="160" y="341"/>
                  </a:lnTo>
                  <a:lnTo>
                    <a:pt x="158" y="341"/>
                  </a:lnTo>
                  <a:lnTo>
                    <a:pt x="156" y="341"/>
                  </a:lnTo>
                  <a:lnTo>
                    <a:pt x="154" y="341"/>
                  </a:lnTo>
                  <a:lnTo>
                    <a:pt x="152" y="339"/>
                  </a:lnTo>
                  <a:lnTo>
                    <a:pt x="150" y="339"/>
                  </a:lnTo>
                  <a:lnTo>
                    <a:pt x="146" y="337"/>
                  </a:lnTo>
                  <a:lnTo>
                    <a:pt x="144" y="337"/>
                  </a:lnTo>
                  <a:lnTo>
                    <a:pt x="144" y="335"/>
                  </a:lnTo>
                  <a:lnTo>
                    <a:pt x="142" y="335"/>
                  </a:lnTo>
                  <a:lnTo>
                    <a:pt x="140" y="333"/>
                  </a:lnTo>
                  <a:lnTo>
                    <a:pt x="138" y="333"/>
                  </a:lnTo>
                  <a:lnTo>
                    <a:pt x="138" y="333"/>
                  </a:lnTo>
                  <a:lnTo>
                    <a:pt x="136" y="333"/>
                  </a:lnTo>
                  <a:lnTo>
                    <a:pt x="136" y="331"/>
                  </a:lnTo>
                  <a:lnTo>
                    <a:pt x="134" y="331"/>
                  </a:lnTo>
                  <a:lnTo>
                    <a:pt x="134" y="329"/>
                  </a:lnTo>
                  <a:lnTo>
                    <a:pt x="132" y="329"/>
                  </a:lnTo>
                  <a:lnTo>
                    <a:pt x="132" y="327"/>
                  </a:lnTo>
                  <a:lnTo>
                    <a:pt x="130" y="327"/>
                  </a:lnTo>
                  <a:lnTo>
                    <a:pt x="130" y="325"/>
                  </a:lnTo>
                  <a:lnTo>
                    <a:pt x="128" y="325"/>
                  </a:lnTo>
                  <a:lnTo>
                    <a:pt x="128" y="323"/>
                  </a:lnTo>
                  <a:lnTo>
                    <a:pt x="126" y="323"/>
                  </a:lnTo>
                  <a:lnTo>
                    <a:pt x="126" y="321"/>
                  </a:lnTo>
                  <a:lnTo>
                    <a:pt x="124" y="321"/>
                  </a:lnTo>
                  <a:lnTo>
                    <a:pt x="120" y="319"/>
                  </a:lnTo>
                  <a:lnTo>
                    <a:pt x="120" y="317"/>
                  </a:lnTo>
                  <a:lnTo>
                    <a:pt x="118" y="317"/>
                  </a:lnTo>
                  <a:lnTo>
                    <a:pt x="118" y="315"/>
                  </a:lnTo>
                  <a:lnTo>
                    <a:pt x="116" y="315"/>
                  </a:lnTo>
                  <a:lnTo>
                    <a:pt x="114" y="313"/>
                  </a:lnTo>
                  <a:lnTo>
                    <a:pt x="110" y="311"/>
                  </a:lnTo>
                  <a:lnTo>
                    <a:pt x="110" y="309"/>
                  </a:lnTo>
                  <a:lnTo>
                    <a:pt x="108" y="309"/>
                  </a:lnTo>
                  <a:lnTo>
                    <a:pt x="108" y="307"/>
                  </a:lnTo>
                  <a:lnTo>
                    <a:pt x="106" y="307"/>
                  </a:lnTo>
                  <a:lnTo>
                    <a:pt x="106" y="305"/>
                  </a:lnTo>
                  <a:lnTo>
                    <a:pt x="104" y="305"/>
                  </a:lnTo>
                  <a:lnTo>
                    <a:pt x="102" y="303"/>
                  </a:lnTo>
                  <a:lnTo>
                    <a:pt x="100" y="301"/>
                  </a:lnTo>
                  <a:lnTo>
                    <a:pt x="96" y="299"/>
                  </a:lnTo>
                  <a:lnTo>
                    <a:pt x="94" y="297"/>
                  </a:lnTo>
                  <a:lnTo>
                    <a:pt x="92" y="297"/>
                  </a:lnTo>
                  <a:lnTo>
                    <a:pt x="92" y="295"/>
                  </a:lnTo>
                  <a:lnTo>
                    <a:pt x="90" y="293"/>
                  </a:lnTo>
                  <a:lnTo>
                    <a:pt x="88" y="293"/>
                  </a:lnTo>
                  <a:lnTo>
                    <a:pt x="86" y="291"/>
                  </a:lnTo>
                  <a:lnTo>
                    <a:pt x="84" y="289"/>
                  </a:lnTo>
                  <a:lnTo>
                    <a:pt x="84" y="287"/>
                  </a:lnTo>
                  <a:lnTo>
                    <a:pt x="82" y="287"/>
                  </a:lnTo>
                  <a:lnTo>
                    <a:pt x="82" y="285"/>
                  </a:lnTo>
                  <a:lnTo>
                    <a:pt x="80" y="285"/>
                  </a:lnTo>
                  <a:lnTo>
                    <a:pt x="80" y="285"/>
                  </a:lnTo>
                  <a:lnTo>
                    <a:pt x="78" y="285"/>
                  </a:lnTo>
                  <a:lnTo>
                    <a:pt x="76" y="283"/>
                  </a:lnTo>
                  <a:lnTo>
                    <a:pt x="70" y="279"/>
                  </a:lnTo>
                  <a:lnTo>
                    <a:pt x="68" y="277"/>
                  </a:lnTo>
                  <a:lnTo>
                    <a:pt x="66" y="275"/>
                  </a:lnTo>
                  <a:lnTo>
                    <a:pt x="64" y="273"/>
                  </a:lnTo>
                  <a:lnTo>
                    <a:pt x="62" y="273"/>
                  </a:lnTo>
                  <a:lnTo>
                    <a:pt x="62" y="271"/>
                  </a:lnTo>
                  <a:lnTo>
                    <a:pt x="60" y="271"/>
                  </a:lnTo>
                  <a:lnTo>
                    <a:pt x="60" y="269"/>
                  </a:lnTo>
                  <a:lnTo>
                    <a:pt x="58" y="269"/>
                  </a:lnTo>
                  <a:lnTo>
                    <a:pt x="58" y="267"/>
                  </a:lnTo>
                  <a:lnTo>
                    <a:pt x="56" y="267"/>
                  </a:lnTo>
                  <a:lnTo>
                    <a:pt x="52" y="263"/>
                  </a:lnTo>
                  <a:lnTo>
                    <a:pt x="50" y="263"/>
                  </a:lnTo>
                  <a:lnTo>
                    <a:pt x="46" y="259"/>
                  </a:lnTo>
                  <a:lnTo>
                    <a:pt x="44" y="257"/>
                  </a:lnTo>
                  <a:lnTo>
                    <a:pt x="42" y="255"/>
                  </a:lnTo>
                  <a:lnTo>
                    <a:pt x="40" y="253"/>
                  </a:lnTo>
                  <a:lnTo>
                    <a:pt x="38" y="253"/>
                  </a:lnTo>
                  <a:lnTo>
                    <a:pt x="38" y="251"/>
                  </a:lnTo>
                  <a:lnTo>
                    <a:pt x="36" y="251"/>
                  </a:lnTo>
                  <a:lnTo>
                    <a:pt x="36" y="249"/>
                  </a:lnTo>
                  <a:lnTo>
                    <a:pt x="36" y="249"/>
                  </a:lnTo>
                  <a:lnTo>
                    <a:pt x="36" y="247"/>
                  </a:lnTo>
                  <a:lnTo>
                    <a:pt x="34" y="247"/>
                  </a:lnTo>
                  <a:lnTo>
                    <a:pt x="32" y="245"/>
                  </a:lnTo>
                  <a:lnTo>
                    <a:pt x="30" y="245"/>
                  </a:lnTo>
                  <a:lnTo>
                    <a:pt x="30" y="243"/>
                  </a:lnTo>
                  <a:lnTo>
                    <a:pt x="28" y="243"/>
                  </a:lnTo>
                  <a:lnTo>
                    <a:pt x="28" y="241"/>
                  </a:lnTo>
                  <a:lnTo>
                    <a:pt x="26" y="241"/>
                  </a:lnTo>
                  <a:lnTo>
                    <a:pt x="26" y="239"/>
                  </a:lnTo>
                  <a:lnTo>
                    <a:pt x="24" y="239"/>
                  </a:lnTo>
                  <a:lnTo>
                    <a:pt x="24" y="237"/>
                  </a:lnTo>
                  <a:lnTo>
                    <a:pt x="22" y="237"/>
                  </a:lnTo>
                  <a:lnTo>
                    <a:pt x="20" y="237"/>
                  </a:lnTo>
                  <a:lnTo>
                    <a:pt x="18" y="235"/>
                  </a:lnTo>
                  <a:lnTo>
                    <a:pt x="16" y="233"/>
                  </a:lnTo>
                  <a:lnTo>
                    <a:pt x="12" y="231"/>
                  </a:lnTo>
                  <a:lnTo>
                    <a:pt x="10" y="229"/>
                  </a:lnTo>
                  <a:lnTo>
                    <a:pt x="8" y="227"/>
                  </a:lnTo>
                  <a:lnTo>
                    <a:pt x="4" y="223"/>
                  </a:lnTo>
                  <a:lnTo>
                    <a:pt x="2" y="223"/>
                  </a:lnTo>
                  <a:lnTo>
                    <a:pt x="2" y="221"/>
                  </a:lnTo>
                  <a:lnTo>
                    <a:pt x="0" y="221"/>
                  </a:lnTo>
                  <a:lnTo>
                    <a:pt x="0" y="219"/>
                  </a:lnTo>
                  <a:lnTo>
                    <a:pt x="2" y="219"/>
                  </a:lnTo>
                  <a:lnTo>
                    <a:pt x="2" y="217"/>
                  </a:lnTo>
                  <a:lnTo>
                    <a:pt x="2" y="215"/>
                  </a:lnTo>
                  <a:lnTo>
                    <a:pt x="2" y="213"/>
                  </a:lnTo>
                  <a:lnTo>
                    <a:pt x="4" y="213"/>
                  </a:lnTo>
                  <a:lnTo>
                    <a:pt x="6" y="213"/>
                  </a:lnTo>
                  <a:lnTo>
                    <a:pt x="6" y="211"/>
                  </a:lnTo>
                  <a:lnTo>
                    <a:pt x="8" y="211"/>
                  </a:lnTo>
                  <a:lnTo>
                    <a:pt x="8" y="209"/>
                  </a:lnTo>
                  <a:lnTo>
                    <a:pt x="10" y="209"/>
                  </a:lnTo>
                  <a:lnTo>
                    <a:pt x="12" y="209"/>
                  </a:lnTo>
                  <a:lnTo>
                    <a:pt x="12" y="211"/>
                  </a:lnTo>
                  <a:lnTo>
                    <a:pt x="14" y="211"/>
                  </a:lnTo>
                  <a:lnTo>
                    <a:pt x="16" y="211"/>
                  </a:lnTo>
                  <a:lnTo>
                    <a:pt x="18" y="211"/>
                  </a:lnTo>
                  <a:lnTo>
                    <a:pt x="18" y="209"/>
                  </a:lnTo>
                  <a:lnTo>
                    <a:pt x="20" y="209"/>
                  </a:lnTo>
                  <a:lnTo>
                    <a:pt x="22" y="209"/>
                  </a:lnTo>
                  <a:lnTo>
                    <a:pt x="22" y="207"/>
                  </a:lnTo>
                  <a:lnTo>
                    <a:pt x="24" y="205"/>
                  </a:lnTo>
                  <a:lnTo>
                    <a:pt x="24" y="203"/>
                  </a:lnTo>
                  <a:lnTo>
                    <a:pt x="24" y="201"/>
                  </a:lnTo>
                  <a:lnTo>
                    <a:pt x="26" y="201"/>
                  </a:lnTo>
                  <a:lnTo>
                    <a:pt x="24" y="201"/>
                  </a:lnTo>
                  <a:lnTo>
                    <a:pt x="24" y="199"/>
                  </a:lnTo>
                  <a:lnTo>
                    <a:pt x="24" y="197"/>
                  </a:lnTo>
                  <a:lnTo>
                    <a:pt x="24" y="195"/>
                  </a:lnTo>
                  <a:lnTo>
                    <a:pt x="22" y="195"/>
                  </a:lnTo>
                  <a:lnTo>
                    <a:pt x="20" y="195"/>
                  </a:lnTo>
                  <a:lnTo>
                    <a:pt x="20" y="193"/>
                  </a:lnTo>
                  <a:lnTo>
                    <a:pt x="18" y="193"/>
                  </a:lnTo>
                  <a:lnTo>
                    <a:pt x="18" y="195"/>
                  </a:lnTo>
                  <a:lnTo>
                    <a:pt x="18" y="193"/>
                  </a:lnTo>
                  <a:lnTo>
                    <a:pt x="18" y="191"/>
                  </a:lnTo>
                  <a:lnTo>
                    <a:pt x="16" y="191"/>
                  </a:lnTo>
                  <a:lnTo>
                    <a:pt x="16" y="189"/>
                  </a:lnTo>
                  <a:lnTo>
                    <a:pt x="18" y="189"/>
                  </a:lnTo>
                  <a:lnTo>
                    <a:pt x="18" y="189"/>
                  </a:lnTo>
                  <a:lnTo>
                    <a:pt x="20" y="189"/>
                  </a:lnTo>
                  <a:lnTo>
                    <a:pt x="20" y="187"/>
                  </a:lnTo>
                  <a:lnTo>
                    <a:pt x="20" y="185"/>
                  </a:lnTo>
                  <a:lnTo>
                    <a:pt x="22" y="185"/>
                  </a:lnTo>
                  <a:lnTo>
                    <a:pt x="20" y="185"/>
                  </a:lnTo>
                  <a:lnTo>
                    <a:pt x="20" y="183"/>
                  </a:lnTo>
                  <a:lnTo>
                    <a:pt x="22" y="183"/>
                  </a:lnTo>
                  <a:lnTo>
                    <a:pt x="20" y="181"/>
                  </a:lnTo>
                  <a:lnTo>
                    <a:pt x="20" y="179"/>
                  </a:lnTo>
                  <a:lnTo>
                    <a:pt x="22" y="179"/>
                  </a:lnTo>
                  <a:lnTo>
                    <a:pt x="22" y="176"/>
                  </a:lnTo>
                  <a:lnTo>
                    <a:pt x="22" y="174"/>
                  </a:lnTo>
                  <a:lnTo>
                    <a:pt x="24" y="174"/>
                  </a:lnTo>
                  <a:lnTo>
                    <a:pt x="26" y="174"/>
                  </a:lnTo>
                  <a:lnTo>
                    <a:pt x="28" y="174"/>
                  </a:lnTo>
                  <a:lnTo>
                    <a:pt x="28" y="172"/>
                  </a:lnTo>
                  <a:lnTo>
                    <a:pt x="30" y="172"/>
                  </a:lnTo>
                  <a:lnTo>
                    <a:pt x="30" y="170"/>
                  </a:lnTo>
                  <a:lnTo>
                    <a:pt x="32" y="170"/>
                  </a:lnTo>
                  <a:lnTo>
                    <a:pt x="32" y="172"/>
                  </a:lnTo>
                  <a:lnTo>
                    <a:pt x="32" y="170"/>
                  </a:lnTo>
                  <a:lnTo>
                    <a:pt x="34" y="170"/>
                  </a:lnTo>
                  <a:lnTo>
                    <a:pt x="34" y="168"/>
                  </a:lnTo>
                  <a:lnTo>
                    <a:pt x="34" y="166"/>
                  </a:lnTo>
                  <a:lnTo>
                    <a:pt x="36" y="166"/>
                  </a:lnTo>
                  <a:lnTo>
                    <a:pt x="36" y="164"/>
                  </a:lnTo>
                  <a:lnTo>
                    <a:pt x="36" y="162"/>
                  </a:lnTo>
                  <a:lnTo>
                    <a:pt x="36" y="162"/>
                  </a:lnTo>
                  <a:lnTo>
                    <a:pt x="36" y="160"/>
                  </a:lnTo>
                  <a:lnTo>
                    <a:pt x="38" y="160"/>
                  </a:lnTo>
                  <a:lnTo>
                    <a:pt x="38" y="158"/>
                  </a:lnTo>
                  <a:lnTo>
                    <a:pt x="38" y="156"/>
                  </a:lnTo>
                  <a:lnTo>
                    <a:pt x="38" y="154"/>
                  </a:lnTo>
                  <a:lnTo>
                    <a:pt x="38" y="152"/>
                  </a:lnTo>
                  <a:lnTo>
                    <a:pt x="38" y="154"/>
                  </a:lnTo>
                  <a:lnTo>
                    <a:pt x="40" y="154"/>
                  </a:lnTo>
                  <a:lnTo>
                    <a:pt x="40" y="152"/>
                  </a:lnTo>
                  <a:lnTo>
                    <a:pt x="40" y="150"/>
                  </a:lnTo>
                  <a:lnTo>
                    <a:pt x="40" y="152"/>
                  </a:lnTo>
                  <a:lnTo>
                    <a:pt x="40" y="150"/>
                  </a:lnTo>
                  <a:lnTo>
                    <a:pt x="40" y="148"/>
                  </a:lnTo>
                  <a:lnTo>
                    <a:pt x="42" y="148"/>
                  </a:lnTo>
                  <a:lnTo>
                    <a:pt x="44" y="148"/>
                  </a:lnTo>
                  <a:lnTo>
                    <a:pt x="44" y="146"/>
                  </a:lnTo>
                  <a:lnTo>
                    <a:pt x="46" y="146"/>
                  </a:lnTo>
                  <a:lnTo>
                    <a:pt x="46" y="144"/>
                  </a:lnTo>
                  <a:lnTo>
                    <a:pt x="46" y="142"/>
                  </a:lnTo>
                  <a:lnTo>
                    <a:pt x="48" y="142"/>
                  </a:lnTo>
                  <a:lnTo>
                    <a:pt x="50" y="142"/>
                  </a:lnTo>
                  <a:lnTo>
                    <a:pt x="52" y="142"/>
                  </a:lnTo>
                  <a:lnTo>
                    <a:pt x="54" y="142"/>
                  </a:lnTo>
                  <a:lnTo>
                    <a:pt x="54" y="140"/>
                  </a:lnTo>
                  <a:lnTo>
                    <a:pt x="56" y="140"/>
                  </a:lnTo>
                  <a:lnTo>
                    <a:pt x="58" y="140"/>
                  </a:lnTo>
                  <a:lnTo>
                    <a:pt x="60" y="140"/>
                  </a:lnTo>
                  <a:lnTo>
                    <a:pt x="60" y="140"/>
                  </a:lnTo>
                  <a:lnTo>
                    <a:pt x="62" y="140"/>
                  </a:lnTo>
                  <a:lnTo>
                    <a:pt x="64" y="140"/>
                  </a:lnTo>
                  <a:lnTo>
                    <a:pt x="64" y="138"/>
                  </a:lnTo>
                  <a:lnTo>
                    <a:pt x="64" y="136"/>
                  </a:lnTo>
                  <a:lnTo>
                    <a:pt x="64" y="134"/>
                  </a:lnTo>
                  <a:lnTo>
                    <a:pt x="62" y="134"/>
                  </a:lnTo>
                  <a:lnTo>
                    <a:pt x="62" y="132"/>
                  </a:lnTo>
                  <a:lnTo>
                    <a:pt x="60" y="132"/>
                  </a:lnTo>
                  <a:lnTo>
                    <a:pt x="60" y="130"/>
                  </a:lnTo>
                  <a:lnTo>
                    <a:pt x="60" y="128"/>
                  </a:lnTo>
                  <a:lnTo>
                    <a:pt x="58" y="128"/>
                  </a:lnTo>
                  <a:lnTo>
                    <a:pt x="58" y="126"/>
                  </a:lnTo>
                  <a:lnTo>
                    <a:pt x="56" y="126"/>
                  </a:lnTo>
                  <a:lnTo>
                    <a:pt x="56" y="124"/>
                  </a:lnTo>
                  <a:lnTo>
                    <a:pt x="58" y="124"/>
                  </a:lnTo>
                  <a:lnTo>
                    <a:pt x="58" y="122"/>
                  </a:lnTo>
                  <a:lnTo>
                    <a:pt x="58" y="120"/>
                  </a:lnTo>
                  <a:lnTo>
                    <a:pt x="58" y="118"/>
                  </a:lnTo>
                  <a:lnTo>
                    <a:pt x="56" y="118"/>
                  </a:lnTo>
                  <a:lnTo>
                    <a:pt x="58" y="118"/>
                  </a:lnTo>
                  <a:lnTo>
                    <a:pt x="58" y="116"/>
                  </a:lnTo>
                  <a:lnTo>
                    <a:pt x="58" y="114"/>
                  </a:lnTo>
                  <a:lnTo>
                    <a:pt x="58" y="112"/>
                  </a:lnTo>
                  <a:lnTo>
                    <a:pt x="58" y="110"/>
                  </a:lnTo>
                  <a:lnTo>
                    <a:pt x="56" y="110"/>
                  </a:lnTo>
                  <a:lnTo>
                    <a:pt x="56" y="108"/>
                  </a:lnTo>
                  <a:lnTo>
                    <a:pt x="56" y="106"/>
                  </a:lnTo>
                  <a:lnTo>
                    <a:pt x="54" y="106"/>
                  </a:lnTo>
                  <a:lnTo>
                    <a:pt x="54" y="104"/>
                  </a:lnTo>
                  <a:lnTo>
                    <a:pt x="56" y="104"/>
                  </a:lnTo>
                  <a:lnTo>
                    <a:pt x="56" y="102"/>
                  </a:lnTo>
                  <a:lnTo>
                    <a:pt x="54" y="102"/>
                  </a:lnTo>
                  <a:lnTo>
                    <a:pt x="54" y="100"/>
                  </a:lnTo>
                  <a:lnTo>
                    <a:pt x="54" y="98"/>
                  </a:lnTo>
                  <a:lnTo>
                    <a:pt x="54" y="96"/>
                  </a:lnTo>
                  <a:lnTo>
                    <a:pt x="56" y="96"/>
                  </a:lnTo>
                  <a:lnTo>
                    <a:pt x="56" y="94"/>
                  </a:lnTo>
                  <a:lnTo>
                    <a:pt x="56" y="92"/>
                  </a:lnTo>
                  <a:lnTo>
                    <a:pt x="56" y="92"/>
                  </a:lnTo>
                  <a:lnTo>
                    <a:pt x="58" y="92"/>
                  </a:lnTo>
                  <a:lnTo>
                    <a:pt x="58" y="90"/>
                  </a:lnTo>
                  <a:lnTo>
                    <a:pt x="58" y="88"/>
                  </a:lnTo>
                  <a:lnTo>
                    <a:pt x="60" y="88"/>
                  </a:lnTo>
                  <a:lnTo>
                    <a:pt x="62" y="88"/>
                  </a:lnTo>
                  <a:lnTo>
                    <a:pt x="62" y="86"/>
                  </a:lnTo>
                  <a:lnTo>
                    <a:pt x="62" y="84"/>
                  </a:lnTo>
                  <a:lnTo>
                    <a:pt x="64" y="82"/>
                  </a:lnTo>
                  <a:lnTo>
                    <a:pt x="64" y="80"/>
                  </a:lnTo>
                  <a:lnTo>
                    <a:pt x="64" y="78"/>
                  </a:lnTo>
                  <a:lnTo>
                    <a:pt x="64" y="76"/>
                  </a:lnTo>
                  <a:lnTo>
                    <a:pt x="64" y="74"/>
                  </a:lnTo>
                  <a:lnTo>
                    <a:pt x="64" y="72"/>
                  </a:lnTo>
                  <a:lnTo>
                    <a:pt x="64" y="70"/>
                  </a:lnTo>
                  <a:lnTo>
                    <a:pt x="64" y="68"/>
                  </a:lnTo>
                  <a:lnTo>
                    <a:pt x="64" y="66"/>
                  </a:lnTo>
                  <a:lnTo>
                    <a:pt x="66" y="66"/>
                  </a:lnTo>
                  <a:lnTo>
                    <a:pt x="66" y="64"/>
                  </a:lnTo>
                  <a:lnTo>
                    <a:pt x="66" y="62"/>
                  </a:lnTo>
                  <a:lnTo>
                    <a:pt x="68" y="62"/>
                  </a:lnTo>
                  <a:lnTo>
                    <a:pt x="68" y="60"/>
                  </a:lnTo>
                  <a:lnTo>
                    <a:pt x="66" y="60"/>
                  </a:lnTo>
                  <a:lnTo>
                    <a:pt x="66" y="58"/>
                  </a:lnTo>
                  <a:lnTo>
                    <a:pt x="68" y="58"/>
                  </a:lnTo>
                  <a:lnTo>
                    <a:pt x="68" y="56"/>
                  </a:lnTo>
                  <a:lnTo>
                    <a:pt x="68" y="54"/>
                  </a:lnTo>
                  <a:lnTo>
                    <a:pt x="68" y="52"/>
                  </a:lnTo>
                  <a:lnTo>
                    <a:pt x="70" y="52"/>
                  </a:lnTo>
                  <a:lnTo>
                    <a:pt x="68" y="52"/>
                  </a:lnTo>
                  <a:lnTo>
                    <a:pt x="68" y="50"/>
                  </a:lnTo>
                  <a:lnTo>
                    <a:pt x="70" y="50"/>
                  </a:lnTo>
                  <a:lnTo>
                    <a:pt x="70" y="48"/>
                  </a:lnTo>
                  <a:lnTo>
                    <a:pt x="72" y="48"/>
                  </a:lnTo>
                  <a:lnTo>
                    <a:pt x="72" y="46"/>
                  </a:lnTo>
                  <a:lnTo>
                    <a:pt x="72" y="44"/>
                  </a:lnTo>
                  <a:lnTo>
                    <a:pt x="70" y="44"/>
                  </a:lnTo>
                  <a:lnTo>
                    <a:pt x="70" y="44"/>
                  </a:lnTo>
                  <a:lnTo>
                    <a:pt x="72" y="44"/>
                  </a:lnTo>
                  <a:lnTo>
                    <a:pt x="70" y="44"/>
                  </a:lnTo>
                  <a:lnTo>
                    <a:pt x="70" y="42"/>
                  </a:lnTo>
                  <a:lnTo>
                    <a:pt x="72" y="42"/>
                  </a:lnTo>
                  <a:lnTo>
                    <a:pt x="72" y="40"/>
                  </a:lnTo>
                  <a:lnTo>
                    <a:pt x="72" y="38"/>
                  </a:lnTo>
                  <a:lnTo>
                    <a:pt x="74" y="36"/>
                  </a:lnTo>
                  <a:lnTo>
                    <a:pt x="76" y="36"/>
                  </a:lnTo>
                  <a:lnTo>
                    <a:pt x="76" y="38"/>
                  </a:lnTo>
                  <a:lnTo>
                    <a:pt x="78" y="38"/>
                  </a:lnTo>
                  <a:lnTo>
                    <a:pt x="78" y="36"/>
                  </a:lnTo>
                  <a:lnTo>
                    <a:pt x="80" y="36"/>
                  </a:lnTo>
                  <a:lnTo>
                    <a:pt x="80" y="38"/>
                  </a:lnTo>
                  <a:lnTo>
                    <a:pt x="80" y="36"/>
                  </a:lnTo>
                  <a:lnTo>
                    <a:pt x="82" y="36"/>
                  </a:lnTo>
                  <a:lnTo>
                    <a:pt x="82" y="38"/>
                  </a:lnTo>
                  <a:lnTo>
                    <a:pt x="84" y="38"/>
                  </a:lnTo>
                  <a:lnTo>
                    <a:pt x="84" y="40"/>
                  </a:lnTo>
                  <a:lnTo>
                    <a:pt x="84" y="40"/>
                  </a:lnTo>
                  <a:lnTo>
                    <a:pt x="86" y="40"/>
                  </a:lnTo>
                  <a:lnTo>
                    <a:pt x="88" y="40"/>
                  </a:lnTo>
                  <a:lnTo>
                    <a:pt x="88" y="42"/>
                  </a:lnTo>
                  <a:lnTo>
                    <a:pt x="90" y="44"/>
                  </a:lnTo>
                  <a:lnTo>
                    <a:pt x="90" y="44"/>
                  </a:lnTo>
                  <a:lnTo>
                    <a:pt x="88" y="44"/>
                  </a:lnTo>
                  <a:lnTo>
                    <a:pt x="90" y="44"/>
                  </a:lnTo>
                  <a:lnTo>
                    <a:pt x="90" y="46"/>
                  </a:lnTo>
                  <a:lnTo>
                    <a:pt x="90" y="48"/>
                  </a:lnTo>
                  <a:lnTo>
                    <a:pt x="92" y="48"/>
                  </a:lnTo>
                  <a:lnTo>
                    <a:pt x="94" y="48"/>
                  </a:lnTo>
                  <a:lnTo>
                    <a:pt x="96" y="48"/>
                  </a:lnTo>
                  <a:lnTo>
                    <a:pt x="96" y="46"/>
                  </a:lnTo>
                  <a:lnTo>
                    <a:pt x="98" y="46"/>
                  </a:lnTo>
                  <a:lnTo>
                    <a:pt x="98" y="44"/>
                  </a:lnTo>
                  <a:lnTo>
                    <a:pt x="100" y="44"/>
                  </a:lnTo>
                  <a:lnTo>
                    <a:pt x="100" y="44"/>
                  </a:lnTo>
                  <a:lnTo>
                    <a:pt x="102" y="44"/>
                  </a:lnTo>
                  <a:lnTo>
                    <a:pt x="102" y="42"/>
                  </a:lnTo>
                  <a:lnTo>
                    <a:pt x="104" y="40"/>
                  </a:lnTo>
                  <a:lnTo>
                    <a:pt x="104" y="38"/>
                  </a:lnTo>
                  <a:lnTo>
                    <a:pt x="106" y="36"/>
                  </a:lnTo>
                  <a:lnTo>
                    <a:pt x="106" y="34"/>
                  </a:lnTo>
                  <a:lnTo>
                    <a:pt x="106" y="32"/>
                  </a:lnTo>
                  <a:lnTo>
                    <a:pt x="108" y="32"/>
                  </a:lnTo>
                  <a:lnTo>
                    <a:pt x="108" y="30"/>
                  </a:lnTo>
                  <a:lnTo>
                    <a:pt x="108" y="28"/>
                  </a:lnTo>
                  <a:lnTo>
                    <a:pt x="108" y="26"/>
                  </a:lnTo>
                  <a:lnTo>
                    <a:pt x="110" y="26"/>
                  </a:lnTo>
                  <a:lnTo>
                    <a:pt x="110" y="24"/>
                  </a:lnTo>
                  <a:lnTo>
                    <a:pt x="110" y="22"/>
                  </a:lnTo>
                  <a:lnTo>
                    <a:pt x="110" y="20"/>
                  </a:lnTo>
                  <a:lnTo>
                    <a:pt x="112" y="18"/>
                  </a:lnTo>
                  <a:lnTo>
                    <a:pt x="114" y="14"/>
                  </a:lnTo>
                  <a:lnTo>
                    <a:pt x="114" y="12"/>
                  </a:lnTo>
                  <a:lnTo>
                    <a:pt x="114" y="10"/>
                  </a:lnTo>
                  <a:lnTo>
                    <a:pt x="116" y="8"/>
                  </a:lnTo>
                  <a:lnTo>
                    <a:pt x="116" y="6"/>
                  </a:lnTo>
                  <a:lnTo>
                    <a:pt x="116" y="4"/>
                  </a:lnTo>
                  <a:lnTo>
                    <a:pt x="118" y="4"/>
                  </a:lnTo>
                  <a:lnTo>
                    <a:pt x="118" y="2"/>
                  </a:lnTo>
                  <a:lnTo>
                    <a:pt x="118" y="0"/>
                  </a:lnTo>
                  <a:lnTo>
                    <a:pt x="120" y="0"/>
                  </a:lnTo>
                  <a:lnTo>
                    <a:pt x="120" y="2"/>
                  </a:lnTo>
                  <a:lnTo>
                    <a:pt x="122" y="2"/>
                  </a:lnTo>
                  <a:lnTo>
                    <a:pt x="160" y="16"/>
                  </a:lnTo>
                  <a:lnTo>
                    <a:pt x="162" y="16"/>
                  </a:lnTo>
                  <a:lnTo>
                    <a:pt x="164" y="16"/>
                  </a:lnTo>
                  <a:lnTo>
                    <a:pt x="164" y="18"/>
                  </a:lnTo>
                  <a:lnTo>
                    <a:pt x="166" y="18"/>
                  </a:lnTo>
                  <a:lnTo>
                    <a:pt x="170" y="20"/>
                  </a:lnTo>
                  <a:lnTo>
                    <a:pt x="172" y="20"/>
                  </a:lnTo>
                  <a:lnTo>
                    <a:pt x="176" y="22"/>
                  </a:lnTo>
                  <a:lnTo>
                    <a:pt x="180" y="22"/>
                  </a:lnTo>
                  <a:lnTo>
                    <a:pt x="180" y="24"/>
                  </a:lnTo>
                  <a:lnTo>
                    <a:pt x="184" y="24"/>
                  </a:lnTo>
                  <a:lnTo>
                    <a:pt x="186" y="26"/>
                  </a:lnTo>
                  <a:lnTo>
                    <a:pt x="188" y="26"/>
                  </a:lnTo>
                  <a:lnTo>
                    <a:pt x="190" y="26"/>
                  </a:lnTo>
                  <a:lnTo>
                    <a:pt x="194" y="28"/>
                  </a:lnTo>
                  <a:lnTo>
                    <a:pt x="196" y="28"/>
                  </a:lnTo>
                  <a:lnTo>
                    <a:pt x="200" y="30"/>
                  </a:lnTo>
                  <a:lnTo>
                    <a:pt x="204" y="32"/>
                  </a:lnTo>
                  <a:lnTo>
                    <a:pt x="206" y="32"/>
                  </a:lnTo>
                  <a:lnTo>
                    <a:pt x="212" y="34"/>
                  </a:lnTo>
                  <a:lnTo>
                    <a:pt x="214" y="34"/>
                  </a:lnTo>
                  <a:lnTo>
                    <a:pt x="216" y="36"/>
                  </a:lnTo>
                  <a:lnTo>
                    <a:pt x="218" y="36"/>
                  </a:lnTo>
                  <a:lnTo>
                    <a:pt x="220" y="36"/>
                  </a:lnTo>
                  <a:lnTo>
                    <a:pt x="222" y="38"/>
                  </a:lnTo>
                  <a:lnTo>
                    <a:pt x="226" y="38"/>
                  </a:lnTo>
                  <a:lnTo>
                    <a:pt x="228" y="38"/>
                  </a:lnTo>
                  <a:lnTo>
                    <a:pt x="228" y="40"/>
                  </a:lnTo>
                  <a:lnTo>
                    <a:pt x="228" y="40"/>
                  </a:lnTo>
                  <a:lnTo>
                    <a:pt x="230" y="40"/>
                  </a:lnTo>
                  <a:lnTo>
                    <a:pt x="232" y="40"/>
                  </a:lnTo>
                  <a:lnTo>
                    <a:pt x="232" y="42"/>
                  </a:lnTo>
                  <a:lnTo>
                    <a:pt x="234" y="42"/>
                  </a:lnTo>
                  <a:lnTo>
                    <a:pt x="236" y="42"/>
                  </a:lnTo>
                  <a:lnTo>
                    <a:pt x="238" y="42"/>
                  </a:lnTo>
                  <a:lnTo>
                    <a:pt x="240" y="44"/>
                  </a:lnTo>
                  <a:lnTo>
                    <a:pt x="242" y="44"/>
                  </a:lnTo>
                  <a:lnTo>
                    <a:pt x="244" y="44"/>
                  </a:lnTo>
                  <a:lnTo>
                    <a:pt x="246" y="44"/>
                  </a:lnTo>
                  <a:lnTo>
                    <a:pt x="246" y="44"/>
                  </a:lnTo>
                  <a:lnTo>
                    <a:pt x="250" y="44"/>
                  </a:lnTo>
                  <a:lnTo>
                    <a:pt x="252" y="44"/>
                  </a:lnTo>
                  <a:lnTo>
                    <a:pt x="252" y="46"/>
                  </a:lnTo>
                  <a:lnTo>
                    <a:pt x="254" y="46"/>
                  </a:lnTo>
                  <a:lnTo>
                    <a:pt x="256" y="46"/>
                  </a:lnTo>
                  <a:lnTo>
                    <a:pt x="258" y="46"/>
                  </a:lnTo>
                  <a:lnTo>
                    <a:pt x="260" y="48"/>
                  </a:lnTo>
                  <a:lnTo>
                    <a:pt x="262" y="48"/>
                  </a:lnTo>
                  <a:lnTo>
                    <a:pt x="264" y="48"/>
                  </a:lnTo>
                  <a:close/>
                </a:path>
              </a:pathLst>
            </a:custGeom>
            <a:solidFill>
              <a:srgbClr val="816767"/>
            </a:solidFill>
            <a:ln w="3175">
              <a:solidFill>
                <a:sysClr val="window" lastClr="FFFF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black"/>
                </a:solidFill>
                <a:effectLst/>
                <a:uLnTx/>
                <a:uFillTx/>
                <a:ea typeface="宋体" panose="02010600030101010101" pitchFamily="2" charset="-122"/>
              </a:endParaRPr>
            </a:p>
          </p:txBody>
        </p:sp>
        <p:sp>
          <p:nvSpPr>
            <p:cNvPr id="4" name="Freeform 1104">
              <a:extLst>
                <a:ext uri="{FF2B5EF4-FFF2-40B4-BE49-F238E27FC236}">
                  <a16:creationId xmlns:a16="http://schemas.microsoft.com/office/drawing/2014/main" id="{DDF74A33-0E3E-BB81-DBE1-CE087D42A04E}"/>
                </a:ext>
              </a:extLst>
            </p:cNvPr>
            <p:cNvSpPr>
              <a:spLocks noEditPoints="1"/>
            </p:cNvSpPr>
            <p:nvPr/>
          </p:nvSpPr>
          <p:spPr bwMode="auto">
            <a:xfrm>
              <a:off x="3492500" y="2613025"/>
              <a:ext cx="446088" cy="987425"/>
            </a:xfrm>
            <a:custGeom>
              <a:avLst/>
              <a:gdLst>
                <a:gd name="T0" fmla="*/ 30 w 281"/>
                <a:gd name="T1" fmla="*/ 503 h 622"/>
                <a:gd name="T2" fmla="*/ 85 w 281"/>
                <a:gd name="T3" fmla="*/ 525 h 622"/>
                <a:gd name="T4" fmla="*/ 103 w 281"/>
                <a:gd name="T5" fmla="*/ 511 h 622"/>
                <a:gd name="T6" fmla="*/ 18 w 281"/>
                <a:gd name="T7" fmla="*/ 457 h 622"/>
                <a:gd name="T8" fmla="*/ 44 w 281"/>
                <a:gd name="T9" fmla="*/ 467 h 622"/>
                <a:gd name="T10" fmla="*/ 32 w 281"/>
                <a:gd name="T11" fmla="*/ 459 h 622"/>
                <a:gd name="T12" fmla="*/ 26 w 281"/>
                <a:gd name="T13" fmla="*/ 247 h 622"/>
                <a:gd name="T14" fmla="*/ 58 w 281"/>
                <a:gd name="T15" fmla="*/ 233 h 622"/>
                <a:gd name="T16" fmla="*/ 50 w 281"/>
                <a:gd name="T17" fmla="*/ 225 h 622"/>
                <a:gd name="T18" fmla="*/ 44 w 281"/>
                <a:gd name="T19" fmla="*/ 44 h 622"/>
                <a:gd name="T20" fmla="*/ 175 w 281"/>
                <a:gd name="T21" fmla="*/ 56 h 622"/>
                <a:gd name="T22" fmla="*/ 207 w 281"/>
                <a:gd name="T23" fmla="*/ 84 h 622"/>
                <a:gd name="T24" fmla="*/ 185 w 281"/>
                <a:gd name="T25" fmla="*/ 132 h 622"/>
                <a:gd name="T26" fmla="*/ 157 w 281"/>
                <a:gd name="T27" fmla="*/ 189 h 622"/>
                <a:gd name="T28" fmla="*/ 151 w 281"/>
                <a:gd name="T29" fmla="*/ 233 h 622"/>
                <a:gd name="T30" fmla="*/ 175 w 281"/>
                <a:gd name="T31" fmla="*/ 289 h 622"/>
                <a:gd name="T32" fmla="*/ 195 w 281"/>
                <a:gd name="T33" fmla="*/ 331 h 622"/>
                <a:gd name="T34" fmla="*/ 217 w 281"/>
                <a:gd name="T35" fmla="*/ 381 h 622"/>
                <a:gd name="T36" fmla="*/ 239 w 281"/>
                <a:gd name="T37" fmla="*/ 429 h 622"/>
                <a:gd name="T38" fmla="*/ 257 w 281"/>
                <a:gd name="T39" fmla="*/ 473 h 622"/>
                <a:gd name="T40" fmla="*/ 271 w 281"/>
                <a:gd name="T41" fmla="*/ 517 h 622"/>
                <a:gd name="T42" fmla="*/ 275 w 281"/>
                <a:gd name="T43" fmla="*/ 551 h 622"/>
                <a:gd name="T44" fmla="*/ 251 w 281"/>
                <a:gd name="T45" fmla="*/ 577 h 622"/>
                <a:gd name="T46" fmla="*/ 235 w 281"/>
                <a:gd name="T47" fmla="*/ 606 h 622"/>
                <a:gd name="T48" fmla="*/ 199 w 281"/>
                <a:gd name="T49" fmla="*/ 612 h 622"/>
                <a:gd name="T50" fmla="*/ 143 w 281"/>
                <a:gd name="T51" fmla="*/ 598 h 622"/>
                <a:gd name="T52" fmla="*/ 119 w 281"/>
                <a:gd name="T53" fmla="*/ 579 h 622"/>
                <a:gd name="T54" fmla="*/ 117 w 281"/>
                <a:gd name="T55" fmla="*/ 573 h 622"/>
                <a:gd name="T56" fmla="*/ 115 w 281"/>
                <a:gd name="T57" fmla="*/ 537 h 622"/>
                <a:gd name="T58" fmla="*/ 105 w 281"/>
                <a:gd name="T59" fmla="*/ 513 h 622"/>
                <a:gd name="T60" fmla="*/ 95 w 281"/>
                <a:gd name="T61" fmla="*/ 507 h 622"/>
                <a:gd name="T62" fmla="*/ 77 w 281"/>
                <a:gd name="T63" fmla="*/ 479 h 622"/>
                <a:gd name="T64" fmla="*/ 58 w 281"/>
                <a:gd name="T65" fmla="*/ 453 h 622"/>
                <a:gd name="T66" fmla="*/ 28 w 281"/>
                <a:gd name="T67" fmla="*/ 431 h 622"/>
                <a:gd name="T68" fmla="*/ 22 w 281"/>
                <a:gd name="T69" fmla="*/ 407 h 622"/>
                <a:gd name="T70" fmla="*/ 20 w 281"/>
                <a:gd name="T71" fmla="*/ 381 h 622"/>
                <a:gd name="T72" fmla="*/ 20 w 281"/>
                <a:gd name="T73" fmla="*/ 359 h 622"/>
                <a:gd name="T74" fmla="*/ 10 w 281"/>
                <a:gd name="T75" fmla="*/ 319 h 622"/>
                <a:gd name="T76" fmla="*/ 12 w 281"/>
                <a:gd name="T77" fmla="*/ 295 h 622"/>
                <a:gd name="T78" fmla="*/ 18 w 281"/>
                <a:gd name="T79" fmla="*/ 277 h 622"/>
                <a:gd name="T80" fmla="*/ 14 w 281"/>
                <a:gd name="T81" fmla="*/ 239 h 622"/>
                <a:gd name="T82" fmla="*/ 24 w 281"/>
                <a:gd name="T83" fmla="*/ 233 h 622"/>
                <a:gd name="T84" fmla="*/ 22 w 281"/>
                <a:gd name="T85" fmla="*/ 245 h 622"/>
                <a:gd name="T86" fmla="*/ 32 w 281"/>
                <a:gd name="T87" fmla="*/ 253 h 622"/>
                <a:gd name="T88" fmla="*/ 30 w 281"/>
                <a:gd name="T89" fmla="*/ 229 h 622"/>
                <a:gd name="T90" fmla="*/ 46 w 281"/>
                <a:gd name="T91" fmla="*/ 225 h 622"/>
                <a:gd name="T92" fmla="*/ 60 w 281"/>
                <a:gd name="T93" fmla="*/ 231 h 622"/>
                <a:gd name="T94" fmla="*/ 54 w 281"/>
                <a:gd name="T95" fmla="*/ 227 h 622"/>
                <a:gd name="T96" fmla="*/ 34 w 281"/>
                <a:gd name="T97" fmla="*/ 215 h 622"/>
                <a:gd name="T98" fmla="*/ 22 w 281"/>
                <a:gd name="T99" fmla="*/ 227 h 622"/>
                <a:gd name="T100" fmla="*/ 12 w 281"/>
                <a:gd name="T101" fmla="*/ 207 h 622"/>
                <a:gd name="T102" fmla="*/ 12 w 281"/>
                <a:gd name="T103" fmla="*/ 197 h 622"/>
                <a:gd name="T104" fmla="*/ 12 w 281"/>
                <a:gd name="T105" fmla="*/ 193 h 622"/>
                <a:gd name="T106" fmla="*/ 8 w 281"/>
                <a:gd name="T107" fmla="*/ 158 h 622"/>
                <a:gd name="T108" fmla="*/ 12 w 281"/>
                <a:gd name="T109" fmla="*/ 132 h 622"/>
                <a:gd name="T110" fmla="*/ 22 w 281"/>
                <a:gd name="T111" fmla="*/ 104 h 622"/>
                <a:gd name="T112" fmla="*/ 18 w 281"/>
                <a:gd name="T113" fmla="*/ 68 h 622"/>
                <a:gd name="T114" fmla="*/ 30 w 281"/>
                <a:gd name="T115" fmla="*/ 66 h 622"/>
                <a:gd name="T116" fmla="*/ 34 w 281"/>
                <a:gd name="T117" fmla="*/ 58 h 622"/>
                <a:gd name="T118" fmla="*/ 40 w 281"/>
                <a:gd name="T119" fmla="*/ 52 h 622"/>
                <a:gd name="T120" fmla="*/ 60 w 281"/>
                <a:gd name="T121" fmla="*/ 24 h 622"/>
                <a:gd name="T122" fmla="*/ 64 w 281"/>
                <a:gd name="T123" fmla="*/ 0 h 622"/>
                <a:gd name="T124" fmla="*/ 109 w 281"/>
                <a:gd name="T125" fmla="*/ 24 h 6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81" h="622">
                  <a:moveTo>
                    <a:pt x="64" y="535"/>
                  </a:moveTo>
                  <a:lnTo>
                    <a:pt x="64" y="537"/>
                  </a:lnTo>
                  <a:lnTo>
                    <a:pt x="66" y="537"/>
                  </a:lnTo>
                  <a:lnTo>
                    <a:pt x="66" y="539"/>
                  </a:lnTo>
                  <a:lnTo>
                    <a:pt x="66" y="541"/>
                  </a:lnTo>
                  <a:lnTo>
                    <a:pt x="66" y="543"/>
                  </a:lnTo>
                  <a:lnTo>
                    <a:pt x="66" y="545"/>
                  </a:lnTo>
                  <a:lnTo>
                    <a:pt x="68" y="545"/>
                  </a:lnTo>
                  <a:lnTo>
                    <a:pt x="68" y="547"/>
                  </a:lnTo>
                  <a:lnTo>
                    <a:pt x="68" y="549"/>
                  </a:lnTo>
                  <a:lnTo>
                    <a:pt x="70" y="549"/>
                  </a:lnTo>
                  <a:lnTo>
                    <a:pt x="70" y="551"/>
                  </a:lnTo>
                  <a:lnTo>
                    <a:pt x="68" y="551"/>
                  </a:lnTo>
                  <a:lnTo>
                    <a:pt x="66" y="551"/>
                  </a:lnTo>
                  <a:lnTo>
                    <a:pt x="66" y="549"/>
                  </a:lnTo>
                  <a:lnTo>
                    <a:pt x="66" y="551"/>
                  </a:lnTo>
                  <a:lnTo>
                    <a:pt x="66" y="549"/>
                  </a:lnTo>
                  <a:lnTo>
                    <a:pt x="64" y="549"/>
                  </a:lnTo>
                  <a:lnTo>
                    <a:pt x="64" y="547"/>
                  </a:lnTo>
                  <a:lnTo>
                    <a:pt x="64" y="545"/>
                  </a:lnTo>
                  <a:lnTo>
                    <a:pt x="64" y="543"/>
                  </a:lnTo>
                  <a:lnTo>
                    <a:pt x="64" y="541"/>
                  </a:lnTo>
                  <a:lnTo>
                    <a:pt x="64" y="539"/>
                  </a:lnTo>
                  <a:lnTo>
                    <a:pt x="64" y="537"/>
                  </a:lnTo>
                  <a:lnTo>
                    <a:pt x="62" y="537"/>
                  </a:lnTo>
                  <a:lnTo>
                    <a:pt x="64" y="537"/>
                  </a:lnTo>
                  <a:lnTo>
                    <a:pt x="64" y="535"/>
                  </a:lnTo>
                  <a:lnTo>
                    <a:pt x="62" y="535"/>
                  </a:lnTo>
                  <a:lnTo>
                    <a:pt x="64" y="535"/>
                  </a:lnTo>
                  <a:close/>
                  <a:moveTo>
                    <a:pt x="30" y="503"/>
                  </a:moveTo>
                  <a:lnTo>
                    <a:pt x="30" y="505"/>
                  </a:lnTo>
                  <a:lnTo>
                    <a:pt x="32" y="505"/>
                  </a:lnTo>
                  <a:lnTo>
                    <a:pt x="32" y="507"/>
                  </a:lnTo>
                  <a:lnTo>
                    <a:pt x="34" y="507"/>
                  </a:lnTo>
                  <a:lnTo>
                    <a:pt x="34" y="509"/>
                  </a:lnTo>
                  <a:lnTo>
                    <a:pt x="32" y="509"/>
                  </a:lnTo>
                  <a:lnTo>
                    <a:pt x="30" y="509"/>
                  </a:lnTo>
                  <a:lnTo>
                    <a:pt x="30" y="507"/>
                  </a:lnTo>
                  <a:lnTo>
                    <a:pt x="28" y="507"/>
                  </a:lnTo>
                  <a:lnTo>
                    <a:pt x="28" y="505"/>
                  </a:lnTo>
                  <a:lnTo>
                    <a:pt x="28" y="503"/>
                  </a:lnTo>
                  <a:lnTo>
                    <a:pt x="30" y="503"/>
                  </a:lnTo>
                  <a:lnTo>
                    <a:pt x="30" y="505"/>
                  </a:lnTo>
                  <a:lnTo>
                    <a:pt x="30" y="503"/>
                  </a:lnTo>
                  <a:lnTo>
                    <a:pt x="30" y="505"/>
                  </a:lnTo>
                  <a:lnTo>
                    <a:pt x="30" y="503"/>
                  </a:lnTo>
                  <a:close/>
                  <a:moveTo>
                    <a:pt x="74" y="513"/>
                  </a:moveTo>
                  <a:lnTo>
                    <a:pt x="77" y="513"/>
                  </a:lnTo>
                  <a:lnTo>
                    <a:pt x="77" y="515"/>
                  </a:lnTo>
                  <a:lnTo>
                    <a:pt x="79" y="515"/>
                  </a:lnTo>
                  <a:lnTo>
                    <a:pt x="77" y="515"/>
                  </a:lnTo>
                  <a:lnTo>
                    <a:pt x="79" y="515"/>
                  </a:lnTo>
                  <a:lnTo>
                    <a:pt x="79" y="517"/>
                  </a:lnTo>
                  <a:lnTo>
                    <a:pt x="81" y="517"/>
                  </a:lnTo>
                  <a:lnTo>
                    <a:pt x="81" y="519"/>
                  </a:lnTo>
                  <a:lnTo>
                    <a:pt x="83" y="519"/>
                  </a:lnTo>
                  <a:lnTo>
                    <a:pt x="83" y="521"/>
                  </a:lnTo>
                  <a:lnTo>
                    <a:pt x="83" y="523"/>
                  </a:lnTo>
                  <a:lnTo>
                    <a:pt x="85" y="523"/>
                  </a:lnTo>
                  <a:lnTo>
                    <a:pt x="85" y="525"/>
                  </a:lnTo>
                  <a:lnTo>
                    <a:pt x="85" y="527"/>
                  </a:lnTo>
                  <a:lnTo>
                    <a:pt x="83" y="527"/>
                  </a:lnTo>
                  <a:lnTo>
                    <a:pt x="83" y="525"/>
                  </a:lnTo>
                  <a:lnTo>
                    <a:pt x="81" y="525"/>
                  </a:lnTo>
                  <a:lnTo>
                    <a:pt x="79" y="525"/>
                  </a:lnTo>
                  <a:lnTo>
                    <a:pt x="79" y="523"/>
                  </a:lnTo>
                  <a:lnTo>
                    <a:pt x="77" y="523"/>
                  </a:lnTo>
                  <a:lnTo>
                    <a:pt x="77" y="521"/>
                  </a:lnTo>
                  <a:lnTo>
                    <a:pt x="79" y="521"/>
                  </a:lnTo>
                  <a:lnTo>
                    <a:pt x="79" y="519"/>
                  </a:lnTo>
                  <a:lnTo>
                    <a:pt x="79" y="521"/>
                  </a:lnTo>
                  <a:lnTo>
                    <a:pt x="79" y="519"/>
                  </a:lnTo>
                  <a:lnTo>
                    <a:pt x="79" y="517"/>
                  </a:lnTo>
                  <a:lnTo>
                    <a:pt x="77" y="517"/>
                  </a:lnTo>
                  <a:lnTo>
                    <a:pt x="77" y="515"/>
                  </a:lnTo>
                  <a:lnTo>
                    <a:pt x="74" y="515"/>
                  </a:lnTo>
                  <a:lnTo>
                    <a:pt x="74" y="513"/>
                  </a:lnTo>
                  <a:close/>
                  <a:moveTo>
                    <a:pt x="58" y="503"/>
                  </a:moveTo>
                  <a:lnTo>
                    <a:pt x="58" y="505"/>
                  </a:lnTo>
                  <a:lnTo>
                    <a:pt x="56" y="505"/>
                  </a:lnTo>
                  <a:lnTo>
                    <a:pt x="56" y="503"/>
                  </a:lnTo>
                  <a:lnTo>
                    <a:pt x="58" y="503"/>
                  </a:lnTo>
                  <a:close/>
                  <a:moveTo>
                    <a:pt x="107" y="519"/>
                  </a:moveTo>
                  <a:lnTo>
                    <a:pt x="107" y="519"/>
                  </a:lnTo>
                  <a:lnTo>
                    <a:pt x="107" y="519"/>
                  </a:lnTo>
                  <a:close/>
                  <a:moveTo>
                    <a:pt x="109" y="519"/>
                  </a:moveTo>
                  <a:lnTo>
                    <a:pt x="107" y="519"/>
                  </a:lnTo>
                  <a:lnTo>
                    <a:pt x="107" y="517"/>
                  </a:lnTo>
                  <a:lnTo>
                    <a:pt x="109" y="519"/>
                  </a:lnTo>
                  <a:close/>
                  <a:moveTo>
                    <a:pt x="103" y="511"/>
                  </a:moveTo>
                  <a:lnTo>
                    <a:pt x="103" y="509"/>
                  </a:lnTo>
                  <a:lnTo>
                    <a:pt x="103" y="511"/>
                  </a:lnTo>
                  <a:close/>
                  <a:moveTo>
                    <a:pt x="105" y="511"/>
                  </a:moveTo>
                  <a:lnTo>
                    <a:pt x="105" y="509"/>
                  </a:lnTo>
                  <a:lnTo>
                    <a:pt x="105" y="511"/>
                  </a:lnTo>
                  <a:close/>
                  <a:moveTo>
                    <a:pt x="99" y="505"/>
                  </a:moveTo>
                  <a:lnTo>
                    <a:pt x="101" y="505"/>
                  </a:lnTo>
                  <a:lnTo>
                    <a:pt x="99" y="505"/>
                  </a:lnTo>
                  <a:lnTo>
                    <a:pt x="101" y="505"/>
                  </a:lnTo>
                  <a:lnTo>
                    <a:pt x="99" y="505"/>
                  </a:lnTo>
                  <a:close/>
                  <a:moveTo>
                    <a:pt x="52" y="471"/>
                  </a:moveTo>
                  <a:lnTo>
                    <a:pt x="54" y="471"/>
                  </a:lnTo>
                  <a:lnTo>
                    <a:pt x="52" y="471"/>
                  </a:lnTo>
                  <a:close/>
                  <a:moveTo>
                    <a:pt x="26" y="457"/>
                  </a:moveTo>
                  <a:lnTo>
                    <a:pt x="28" y="457"/>
                  </a:lnTo>
                  <a:lnTo>
                    <a:pt x="26" y="457"/>
                  </a:lnTo>
                  <a:lnTo>
                    <a:pt x="26" y="459"/>
                  </a:lnTo>
                  <a:lnTo>
                    <a:pt x="26" y="461"/>
                  </a:lnTo>
                  <a:lnTo>
                    <a:pt x="28" y="461"/>
                  </a:lnTo>
                  <a:lnTo>
                    <a:pt x="26" y="461"/>
                  </a:lnTo>
                  <a:lnTo>
                    <a:pt x="28" y="461"/>
                  </a:lnTo>
                  <a:lnTo>
                    <a:pt x="28" y="463"/>
                  </a:lnTo>
                  <a:lnTo>
                    <a:pt x="26" y="463"/>
                  </a:lnTo>
                  <a:lnTo>
                    <a:pt x="24" y="463"/>
                  </a:lnTo>
                  <a:lnTo>
                    <a:pt x="22" y="463"/>
                  </a:lnTo>
                  <a:lnTo>
                    <a:pt x="20" y="463"/>
                  </a:lnTo>
                  <a:lnTo>
                    <a:pt x="20" y="461"/>
                  </a:lnTo>
                  <a:lnTo>
                    <a:pt x="18" y="461"/>
                  </a:lnTo>
                  <a:lnTo>
                    <a:pt x="18" y="459"/>
                  </a:lnTo>
                  <a:lnTo>
                    <a:pt x="18" y="457"/>
                  </a:lnTo>
                  <a:lnTo>
                    <a:pt x="18" y="455"/>
                  </a:lnTo>
                  <a:lnTo>
                    <a:pt x="20" y="455"/>
                  </a:lnTo>
                  <a:lnTo>
                    <a:pt x="22" y="455"/>
                  </a:lnTo>
                  <a:lnTo>
                    <a:pt x="24" y="455"/>
                  </a:lnTo>
                  <a:lnTo>
                    <a:pt x="24" y="457"/>
                  </a:lnTo>
                  <a:lnTo>
                    <a:pt x="26" y="457"/>
                  </a:lnTo>
                  <a:close/>
                  <a:moveTo>
                    <a:pt x="14" y="451"/>
                  </a:moveTo>
                  <a:lnTo>
                    <a:pt x="14" y="453"/>
                  </a:lnTo>
                  <a:lnTo>
                    <a:pt x="16" y="453"/>
                  </a:lnTo>
                  <a:lnTo>
                    <a:pt x="16" y="455"/>
                  </a:lnTo>
                  <a:lnTo>
                    <a:pt x="14" y="455"/>
                  </a:lnTo>
                  <a:lnTo>
                    <a:pt x="14" y="453"/>
                  </a:lnTo>
                  <a:lnTo>
                    <a:pt x="12" y="453"/>
                  </a:lnTo>
                  <a:lnTo>
                    <a:pt x="12" y="451"/>
                  </a:lnTo>
                  <a:lnTo>
                    <a:pt x="10" y="451"/>
                  </a:lnTo>
                  <a:lnTo>
                    <a:pt x="12" y="451"/>
                  </a:lnTo>
                  <a:lnTo>
                    <a:pt x="14" y="451"/>
                  </a:lnTo>
                  <a:close/>
                  <a:moveTo>
                    <a:pt x="34" y="457"/>
                  </a:moveTo>
                  <a:lnTo>
                    <a:pt x="34" y="459"/>
                  </a:lnTo>
                  <a:lnTo>
                    <a:pt x="36" y="459"/>
                  </a:lnTo>
                  <a:lnTo>
                    <a:pt x="36" y="461"/>
                  </a:lnTo>
                  <a:lnTo>
                    <a:pt x="38" y="461"/>
                  </a:lnTo>
                  <a:lnTo>
                    <a:pt x="40" y="461"/>
                  </a:lnTo>
                  <a:lnTo>
                    <a:pt x="40" y="463"/>
                  </a:lnTo>
                  <a:lnTo>
                    <a:pt x="42" y="463"/>
                  </a:lnTo>
                  <a:lnTo>
                    <a:pt x="40" y="463"/>
                  </a:lnTo>
                  <a:lnTo>
                    <a:pt x="42" y="463"/>
                  </a:lnTo>
                  <a:lnTo>
                    <a:pt x="42" y="465"/>
                  </a:lnTo>
                  <a:lnTo>
                    <a:pt x="44" y="465"/>
                  </a:lnTo>
                  <a:lnTo>
                    <a:pt x="44" y="467"/>
                  </a:lnTo>
                  <a:lnTo>
                    <a:pt x="46" y="467"/>
                  </a:lnTo>
                  <a:lnTo>
                    <a:pt x="46" y="465"/>
                  </a:lnTo>
                  <a:lnTo>
                    <a:pt x="48" y="465"/>
                  </a:lnTo>
                  <a:lnTo>
                    <a:pt x="48" y="467"/>
                  </a:lnTo>
                  <a:lnTo>
                    <a:pt x="50" y="467"/>
                  </a:lnTo>
                  <a:lnTo>
                    <a:pt x="48" y="467"/>
                  </a:lnTo>
                  <a:lnTo>
                    <a:pt x="48" y="469"/>
                  </a:lnTo>
                  <a:lnTo>
                    <a:pt x="46" y="469"/>
                  </a:lnTo>
                  <a:lnTo>
                    <a:pt x="44" y="469"/>
                  </a:lnTo>
                  <a:lnTo>
                    <a:pt x="44" y="467"/>
                  </a:lnTo>
                  <a:lnTo>
                    <a:pt x="42" y="467"/>
                  </a:lnTo>
                  <a:lnTo>
                    <a:pt x="40" y="467"/>
                  </a:lnTo>
                  <a:lnTo>
                    <a:pt x="38" y="467"/>
                  </a:lnTo>
                  <a:lnTo>
                    <a:pt x="36" y="467"/>
                  </a:lnTo>
                  <a:lnTo>
                    <a:pt x="36" y="465"/>
                  </a:lnTo>
                  <a:lnTo>
                    <a:pt x="36" y="467"/>
                  </a:lnTo>
                  <a:lnTo>
                    <a:pt x="36" y="465"/>
                  </a:lnTo>
                  <a:lnTo>
                    <a:pt x="34" y="465"/>
                  </a:lnTo>
                  <a:lnTo>
                    <a:pt x="34" y="463"/>
                  </a:lnTo>
                  <a:lnTo>
                    <a:pt x="32" y="463"/>
                  </a:lnTo>
                  <a:lnTo>
                    <a:pt x="34" y="463"/>
                  </a:lnTo>
                  <a:lnTo>
                    <a:pt x="32" y="463"/>
                  </a:lnTo>
                  <a:lnTo>
                    <a:pt x="34" y="463"/>
                  </a:lnTo>
                  <a:lnTo>
                    <a:pt x="32" y="463"/>
                  </a:lnTo>
                  <a:lnTo>
                    <a:pt x="34" y="463"/>
                  </a:lnTo>
                  <a:lnTo>
                    <a:pt x="34" y="461"/>
                  </a:lnTo>
                  <a:lnTo>
                    <a:pt x="34" y="459"/>
                  </a:lnTo>
                  <a:lnTo>
                    <a:pt x="34" y="461"/>
                  </a:lnTo>
                  <a:lnTo>
                    <a:pt x="34" y="459"/>
                  </a:lnTo>
                  <a:lnTo>
                    <a:pt x="32" y="459"/>
                  </a:lnTo>
                  <a:lnTo>
                    <a:pt x="32" y="457"/>
                  </a:lnTo>
                  <a:lnTo>
                    <a:pt x="32" y="459"/>
                  </a:lnTo>
                  <a:lnTo>
                    <a:pt x="32" y="457"/>
                  </a:lnTo>
                  <a:lnTo>
                    <a:pt x="32" y="459"/>
                  </a:lnTo>
                  <a:lnTo>
                    <a:pt x="34" y="459"/>
                  </a:lnTo>
                  <a:lnTo>
                    <a:pt x="34" y="457"/>
                  </a:lnTo>
                  <a:lnTo>
                    <a:pt x="32" y="457"/>
                  </a:lnTo>
                  <a:lnTo>
                    <a:pt x="34" y="457"/>
                  </a:lnTo>
                  <a:lnTo>
                    <a:pt x="32" y="457"/>
                  </a:lnTo>
                  <a:lnTo>
                    <a:pt x="34" y="457"/>
                  </a:lnTo>
                  <a:close/>
                  <a:moveTo>
                    <a:pt x="64" y="467"/>
                  </a:moveTo>
                  <a:lnTo>
                    <a:pt x="64" y="465"/>
                  </a:lnTo>
                  <a:lnTo>
                    <a:pt x="64" y="467"/>
                  </a:lnTo>
                  <a:close/>
                  <a:moveTo>
                    <a:pt x="64" y="465"/>
                  </a:moveTo>
                  <a:lnTo>
                    <a:pt x="64" y="467"/>
                  </a:lnTo>
                  <a:lnTo>
                    <a:pt x="64" y="465"/>
                  </a:lnTo>
                  <a:close/>
                  <a:moveTo>
                    <a:pt x="34" y="255"/>
                  </a:moveTo>
                  <a:lnTo>
                    <a:pt x="32" y="255"/>
                  </a:lnTo>
                  <a:lnTo>
                    <a:pt x="34" y="255"/>
                  </a:lnTo>
                  <a:close/>
                  <a:moveTo>
                    <a:pt x="24" y="247"/>
                  </a:moveTo>
                  <a:lnTo>
                    <a:pt x="26" y="247"/>
                  </a:lnTo>
                  <a:lnTo>
                    <a:pt x="24" y="247"/>
                  </a:lnTo>
                  <a:close/>
                  <a:moveTo>
                    <a:pt x="26" y="247"/>
                  </a:moveTo>
                  <a:lnTo>
                    <a:pt x="26" y="249"/>
                  </a:lnTo>
                  <a:lnTo>
                    <a:pt x="26" y="247"/>
                  </a:lnTo>
                  <a:close/>
                  <a:moveTo>
                    <a:pt x="24" y="247"/>
                  </a:moveTo>
                  <a:lnTo>
                    <a:pt x="26" y="247"/>
                  </a:lnTo>
                  <a:lnTo>
                    <a:pt x="24" y="247"/>
                  </a:lnTo>
                  <a:close/>
                  <a:moveTo>
                    <a:pt x="26" y="245"/>
                  </a:moveTo>
                  <a:lnTo>
                    <a:pt x="26" y="247"/>
                  </a:lnTo>
                  <a:lnTo>
                    <a:pt x="24" y="247"/>
                  </a:lnTo>
                  <a:lnTo>
                    <a:pt x="26" y="245"/>
                  </a:lnTo>
                  <a:close/>
                  <a:moveTo>
                    <a:pt x="24" y="245"/>
                  </a:moveTo>
                  <a:lnTo>
                    <a:pt x="26" y="245"/>
                  </a:lnTo>
                  <a:lnTo>
                    <a:pt x="24" y="245"/>
                  </a:lnTo>
                  <a:close/>
                  <a:moveTo>
                    <a:pt x="0" y="221"/>
                  </a:moveTo>
                  <a:lnTo>
                    <a:pt x="0" y="223"/>
                  </a:lnTo>
                  <a:lnTo>
                    <a:pt x="0" y="221"/>
                  </a:lnTo>
                  <a:lnTo>
                    <a:pt x="0" y="223"/>
                  </a:lnTo>
                  <a:lnTo>
                    <a:pt x="0" y="221"/>
                  </a:lnTo>
                  <a:close/>
                  <a:moveTo>
                    <a:pt x="28" y="233"/>
                  </a:moveTo>
                  <a:lnTo>
                    <a:pt x="30" y="233"/>
                  </a:lnTo>
                  <a:lnTo>
                    <a:pt x="30" y="235"/>
                  </a:lnTo>
                  <a:lnTo>
                    <a:pt x="28" y="235"/>
                  </a:lnTo>
                  <a:lnTo>
                    <a:pt x="28" y="233"/>
                  </a:lnTo>
                  <a:lnTo>
                    <a:pt x="28" y="231"/>
                  </a:lnTo>
                  <a:lnTo>
                    <a:pt x="26" y="231"/>
                  </a:lnTo>
                  <a:lnTo>
                    <a:pt x="28" y="231"/>
                  </a:lnTo>
                  <a:lnTo>
                    <a:pt x="28" y="233"/>
                  </a:lnTo>
                  <a:close/>
                  <a:moveTo>
                    <a:pt x="26" y="225"/>
                  </a:moveTo>
                  <a:lnTo>
                    <a:pt x="26" y="227"/>
                  </a:lnTo>
                  <a:lnTo>
                    <a:pt x="24" y="227"/>
                  </a:lnTo>
                  <a:lnTo>
                    <a:pt x="24" y="225"/>
                  </a:lnTo>
                  <a:lnTo>
                    <a:pt x="26" y="225"/>
                  </a:lnTo>
                  <a:close/>
                  <a:moveTo>
                    <a:pt x="28" y="225"/>
                  </a:moveTo>
                  <a:lnTo>
                    <a:pt x="30" y="225"/>
                  </a:lnTo>
                  <a:lnTo>
                    <a:pt x="28" y="225"/>
                  </a:lnTo>
                  <a:close/>
                  <a:moveTo>
                    <a:pt x="58" y="233"/>
                  </a:moveTo>
                  <a:lnTo>
                    <a:pt x="56" y="231"/>
                  </a:lnTo>
                  <a:lnTo>
                    <a:pt x="58" y="233"/>
                  </a:lnTo>
                  <a:close/>
                  <a:moveTo>
                    <a:pt x="54" y="231"/>
                  </a:moveTo>
                  <a:lnTo>
                    <a:pt x="56" y="231"/>
                  </a:lnTo>
                  <a:lnTo>
                    <a:pt x="54" y="231"/>
                  </a:lnTo>
                  <a:close/>
                  <a:moveTo>
                    <a:pt x="52" y="229"/>
                  </a:moveTo>
                  <a:lnTo>
                    <a:pt x="52" y="227"/>
                  </a:lnTo>
                  <a:lnTo>
                    <a:pt x="52" y="229"/>
                  </a:lnTo>
                  <a:close/>
                  <a:moveTo>
                    <a:pt x="52" y="227"/>
                  </a:moveTo>
                  <a:lnTo>
                    <a:pt x="52" y="229"/>
                  </a:lnTo>
                  <a:lnTo>
                    <a:pt x="52" y="227"/>
                  </a:lnTo>
                  <a:lnTo>
                    <a:pt x="52" y="229"/>
                  </a:lnTo>
                  <a:lnTo>
                    <a:pt x="52" y="227"/>
                  </a:lnTo>
                  <a:close/>
                  <a:moveTo>
                    <a:pt x="54" y="227"/>
                  </a:moveTo>
                  <a:lnTo>
                    <a:pt x="52" y="227"/>
                  </a:lnTo>
                  <a:lnTo>
                    <a:pt x="54" y="227"/>
                  </a:lnTo>
                  <a:close/>
                  <a:moveTo>
                    <a:pt x="50" y="227"/>
                  </a:moveTo>
                  <a:lnTo>
                    <a:pt x="50" y="225"/>
                  </a:lnTo>
                  <a:lnTo>
                    <a:pt x="50" y="227"/>
                  </a:lnTo>
                  <a:close/>
                  <a:moveTo>
                    <a:pt x="50" y="225"/>
                  </a:moveTo>
                  <a:lnTo>
                    <a:pt x="50" y="227"/>
                  </a:lnTo>
                  <a:lnTo>
                    <a:pt x="52" y="227"/>
                  </a:lnTo>
                  <a:lnTo>
                    <a:pt x="50" y="227"/>
                  </a:lnTo>
                  <a:lnTo>
                    <a:pt x="50" y="225"/>
                  </a:lnTo>
                  <a:close/>
                  <a:moveTo>
                    <a:pt x="50" y="225"/>
                  </a:moveTo>
                  <a:lnTo>
                    <a:pt x="50" y="227"/>
                  </a:lnTo>
                  <a:lnTo>
                    <a:pt x="50" y="225"/>
                  </a:lnTo>
                  <a:close/>
                  <a:moveTo>
                    <a:pt x="50" y="225"/>
                  </a:moveTo>
                  <a:lnTo>
                    <a:pt x="48" y="225"/>
                  </a:lnTo>
                  <a:lnTo>
                    <a:pt x="50" y="225"/>
                  </a:lnTo>
                  <a:lnTo>
                    <a:pt x="48" y="225"/>
                  </a:lnTo>
                  <a:lnTo>
                    <a:pt x="50" y="225"/>
                  </a:lnTo>
                  <a:close/>
                  <a:moveTo>
                    <a:pt x="52" y="225"/>
                  </a:moveTo>
                  <a:lnTo>
                    <a:pt x="50" y="225"/>
                  </a:lnTo>
                  <a:lnTo>
                    <a:pt x="52" y="225"/>
                  </a:lnTo>
                  <a:close/>
                  <a:moveTo>
                    <a:pt x="48" y="223"/>
                  </a:moveTo>
                  <a:lnTo>
                    <a:pt x="48" y="225"/>
                  </a:lnTo>
                  <a:lnTo>
                    <a:pt x="48" y="223"/>
                  </a:lnTo>
                  <a:close/>
                  <a:moveTo>
                    <a:pt x="46" y="223"/>
                  </a:moveTo>
                  <a:lnTo>
                    <a:pt x="48" y="223"/>
                  </a:lnTo>
                  <a:lnTo>
                    <a:pt x="46" y="223"/>
                  </a:lnTo>
                  <a:close/>
                  <a:moveTo>
                    <a:pt x="58" y="229"/>
                  </a:moveTo>
                  <a:lnTo>
                    <a:pt x="58" y="229"/>
                  </a:lnTo>
                  <a:lnTo>
                    <a:pt x="58" y="229"/>
                  </a:lnTo>
                  <a:close/>
                  <a:moveTo>
                    <a:pt x="26" y="60"/>
                  </a:moveTo>
                  <a:lnTo>
                    <a:pt x="28" y="60"/>
                  </a:lnTo>
                  <a:lnTo>
                    <a:pt x="26" y="60"/>
                  </a:lnTo>
                  <a:close/>
                  <a:moveTo>
                    <a:pt x="28" y="60"/>
                  </a:moveTo>
                  <a:lnTo>
                    <a:pt x="28" y="62"/>
                  </a:lnTo>
                  <a:lnTo>
                    <a:pt x="28" y="60"/>
                  </a:lnTo>
                  <a:close/>
                  <a:moveTo>
                    <a:pt x="28" y="60"/>
                  </a:moveTo>
                  <a:lnTo>
                    <a:pt x="28" y="62"/>
                  </a:lnTo>
                  <a:lnTo>
                    <a:pt x="28" y="60"/>
                  </a:lnTo>
                  <a:lnTo>
                    <a:pt x="26" y="60"/>
                  </a:lnTo>
                  <a:lnTo>
                    <a:pt x="28" y="60"/>
                  </a:lnTo>
                  <a:close/>
                  <a:moveTo>
                    <a:pt x="38" y="52"/>
                  </a:moveTo>
                  <a:lnTo>
                    <a:pt x="40" y="52"/>
                  </a:lnTo>
                  <a:lnTo>
                    <a:pt x="38" y="52"/>
                  </a:lnTo>
                  <a:close/>
                  <a:moveTo>
                    <a:pt x="44" y="42"/>
                  </a:moveTo>
                  <a:lnTo>
                    <a:pt x="44" y="44"/>
                  </a:lnTo>
                  <a:lnTo>
                    <a:pt x="44" y="42"/>
                  </a:lnTo>
                  <a:close/>
                  <a:moveTo>
                    <a:pt x="44" y="44"/>
                  </a:moveTo>
                  <a:lnTo>
                    <a:pt x="44" y="42"/>
                  </a:lnTo>
                  <a:lnTo>
                    <a:pt x="44" y="44"/>
                  </a:lnTo>
                  <a:close/>
                  <a:moveTo>
                    <a:pt x="133" y="34"/>
                  </a:moveTo>
                  <a:lnTo>
                    <a:pt x="137" y="36"/>
                  </a:lnTo>
                  <a:lnTo>
                    <a:pt x="139" y="36"/>
                  </a:lnTo>
                  <a:lnTo>
                    <a:pt x="139" y="38"/>
                  </a:lnTo>
                  <a:lnTo>
                    <a:pt x="141" y="38"/>
                  </a:lnTo>
                  <a:lnTo>
                    <a:pt x="141" y="40"/>
                  </a:lnTo>
                  <a:lnTo>
                    <a:pt x="143" y="40"/>
                  </a:lnTo>
                  <a:lnTo>
                    <a:pt x="145" y="40"/>
                  </a:lnTo>
                  <a:lnTo>
                    <a:pt x="147" y="42"/>
                  </a:lnTo>
                  <a:lnTo>
                    <a:pt x="149" y="42"/>
                  </a:lnTo>
                  <a:lnTo>
                    <a:pt x="151" y="44"/>
                  </a:lnTo>
                  <a:lnTo>
                    <a:pt x="153" y="44"/>
                  </a:lnTo>
                  <a:lnTo>
                    <a:pt x="153" y="46"/>
                  </a:lnTo>
                  <a:lnTo>
                    <a:pt x="155" y="46"/>
                  </a:lnTo>
                  <a:lnTo>
                    <a:pt x="155" y="46"/>
                  </a:lnTo>
                  <a:lnTo>
                    <a:pt x="155" y="48"/>
                  </a:lnTo>
                  <a:lnTo>
                    <a:pt x="157" y="48"/>
                  </a:lnTo>
                  <a:lnTo>
                    <a:pt x="159" y="48"/>
                  </a:lnTo>
                  <a:lnTo>
                    <a:pt x="159" y="50"/>
                  </a:lnTo>
                  <a:lnTo>
                    <a:pt x="161" y="50"/>
                  </a:lnTo>
                  <a:lnTo>
                    <a:pt x="163" y="52"/>
                  </a:lnTo>
                  <a:lnTo>
                    <a:pt x="165" y="52"/>
                  </a:lnTo>
                  <a:lnTo>
                    <a:pt x="167" y="54"/>
                  </a:lnTo>
                  <a:lnTo>
                    <a:pt x="169" y="54"/>
                  </a:lnTo>
                  <a:lnTo>
                    <a:pt x="171" y="54"/>
                  </a:lnTo>
                  <a:lnTo>
                    <a:pt x="171" y="56"/>
                  </a:lnTo>
                  <a:lnTo>
                    <a:pt x="173" y="56"/>
                  </a:lnTo>
                  <a:lnTo>
                    <a:pt x="175" y="56"/>
                  </a:lnTo>
                  <a:lnTo>
                    <a:pt x="175" y="58"/>
                  </a:lnTo>
                  <a:lnTo>
                    <a:pt x="177" y="58"/>
                  </a:lnTo>
                  <a:lnTo>
                    <a:pt x="179" y="58"/>
                  </a:lnTo>
                  <a:lnTo>
                    <a:pt x="179" y="60"/>
                  </a:lnTo>
                  <a:lnTo>
                    <a:pt x="181" y="60"/>
                  </a:lnTo>
                  <a:lnTo>
                    <a:pt x="183" y="60"/>
                  </a:lnTo>
                  <a:lnTo>
                    <a:pt x="183" y="62"/>
                  </a:lnTo>
                  <a:lnTo>
                    <a:pt x="185" y="62"/>
                  </a:lnTo>
                  <a:lnTo>
                    <a:pt x="187" y="64"/>
                  </a:lnTo>
                  <a:lnTo>
                    <a:pt x="189" y="64"/>
                  </a:lnTo>
                  <a:lnTo>
                    <a:pt x="191" y="66"/>
                  </a:lnTo>
                  <a:lnTo>
                    <a:pt x="193" y="66"/>
                  </a:lnTo>
                  <a:lnTo>
                    <a:pt x="195" y="66"/>
                  </a:lnTo>
                  <a:lnTo>
                    <a:pt x="195" y="68"/>
                  </a:lnTo>
                  <a:lnTo>
                    <a:pt x="197" y="68"/>
                  </a:lnTo>
                  <a:lnTo>
                    <a:pt x="199" y="70"/>
                  </a:lnTo>
                  <a:lnTo>
                    <a:pt x="201" y="70"/>
                  </a:lnTo>
                  <a:lnTo>
                    <a:pt x="203" y="70"/>
                  </a:lnTo>
                  <a:lnTo>
                    <a:pt x="203" y="72"/>
                  </a:lnTo>
                  <a:lnTo>
                    <a:pt x="205" y="72"/>
                  </a:lnTo>
                  <a:lnTo>
                    <a:pt x="205" y="72"/>
                  </a:lnTo>
                  <a:lnTo>
                    <a:pt x="207" y="72"/>
                  </a:lnTo>
                  <a:lnTo>
                    <a:pt x="209" y="72"/>
                  </a:lnTo>
                  <a:lnTo>
                    <a:pt x="211" y="74"/>
                  </a:lnTo>
                  <a:lnTo>
                    <a:pt x="211" y="76"/>
                  </a:lnTo>
                  <a:lnTo>
                    <a:pt x="209" y="78"/>
                  </a:lnTo>
                  <a:lnTo>
                    <a:pt x="209" y="80"/>
                  </a:lnTo>
                  <a:lnTo>
                    <a:pt x="207" y="80"/>
                  </a:lnTo>
                  <a:lnTo>
                    <a:pt x="207" y="82"/>
                  </a:lnTo>
                  <a:lnTo>
                    <a:pt x="207" y="84"/>
                  </a:lnTo>
                  <a:lnTo>
                    <a:pt x="205" y="84"/>
                  </a:lnTo>
                  <a:lnTo>
                    <a:pt x="205" y="86"/>
                  </a:lnTo>
                  <a:lnTo>
                    <a:pt x="205" y="88"/>
                  </a:lnTo>
                  <a:lnTo>
                    <a:pt x="205" y="88"/>
                  </a:lnTo>
                  <a:lnTo>
                    <a:pt x="205" y="90"/>
                  </a:lnTo>
                  <a:lnTo>
                    <a:pt x="205" y="92"/>
                  </a:lnTo>
                  <a:lnTo>
                    <a:pt x="203" y="94"/>
                  </a:lnTo>
                  <a:lnTo>
                    <a:pt x="203" y="96"/>
                  </a:lnTo>
                  <a:lnTo>
                    <a:pt x="201" y="98"/>
                  </a:lnTo>
                  <a:lnTo>
                    <a:pt x="201" y="100"/>
                  </a:lnTo>
                  <a:lnTo>
                    <a:pt x="199" y="102"/>
                  </a:lnTo>
                  <a:lnTo>
                    <a:pt x="199" y="104"/>
                  </a:lnTo>
                  <a:lnTo>
                    <a:pt x="197" y="106"/>
                  </a:lnTo>
                  <a:lnTo>
                    <a:pt x="197" y="108"/>
                  </a:lnTo>
                  <a:lnTo>
                    <a:pt x="197" y="110"/>
                  </a:lnTo>
                  <a:lnTo>
                    <a:pt x="195" y="110"/>
                  </a:lnTo>
                  <a:lnTo>
                    <a:pt x="195" y="112"/>
                  </a:lnTo>
                  <a:lnTo>
                    <a:pt x="195" y="114"/>
                  </a:lnTo>
                  <a:lnTo>
                    <a:pt x="193" y="114"/>
                  </a:lnTo>
                  <a:lnTo>
                    <a:pt x="193" y="116"/>
                  </a:lnTo>
                  <a:lnTo>
                    <a:pt x="193" y="118"/>
                  </a:lnTo>
                  <a:lnTo>
                    <a:pt x="191" y="120"/>
                  </a:lnTo>
                  <a:lnTo>
                    <a:pt x="189" y="120"/>
                  </a:lnTo>
                  <a:lnTo>
                    <a:pt x="189" y="122"/>
                  </a:lnTo>
                  <a:lnTo>
                    <a:pt x="187" y="124"/>
                  </a:lnTo>
                  <a:lnTo>
                    <a:pt x="187" y="126"/>
                  </a:lnTo>
                  <a:lnTo>
                    <a:pt x="187" y="128"/>
                  </a:lnTo>
                  <a:lnTo>
                    <a:pt x="185" y="128"/>
                  </a:lnTo>
                  <a:lnTo>
                    <a:pt x="185" y="130"/>
                  </a:lnTo>
                  <a:lnTo>
                    <a:pt x="185" y="132"/>
                  </a:lnTo>
                  <a:lnTo>
                    <a:pt x="183" y="134"/>
                  </a:lnTo>
                  <a:lnTo>
                    <a:pt x="183" y="136"/>
                  </a:lnTo>
                  <a:lnTo>
                    <a:pt x="181" y="138"/>
                  </a:lnTo>
                  <a:lnTo>
                    <a:pt x="181" y="140"/>
                  </a:lnTo>
                  <a:lnTo>
                    <a:pt x="181" y="142"/>
                  </a:lnTo>
                  <a:lnTo>
                    <a:pt x="179" y="142"/>
                  </a:lnTo>
                  <a:lnTo>
                    <a:pt x="179" y="144"/>
                  </a:lnTo>
                  <a:lnTo>
                    <a:pt x="179" y="146"/>
                  </a:lnTo>
                  <a:lnTo>
                    <a:pt x="177" y="148"/>
                  </a:lnTo>
                  <a:lnTo>
                    <a:pt x="175" y="154"/>
                  </a:lnTo>
                  <a:lnTo>
                    <a:pt x="173" y="156"/>
                  </a:lnTo>
                  <a:lnTo>
                    <a:pt x="173" y="158"/>
                  </a:lnTo>
                  <a:lnTo>
                    <a:pt x="171" y="160"/>
                  </a:lnTo>
                  <a:lnTo>
                    <a:pt x="171" y="162"/>
                  </a:lnTo>
                  <a:lnTo>
                    <a:pt x="169" y="164"/>
                  </a:lnTo>
                  <a:lnTo>
                    <a:pt x="169" y="167"/>
                  </a:lnTo>
                  <a:lnTo>
                    <a:pt x="167" y="169"/>
                  </a:lnTo>
                  <a:lnTo>
                    <a:pt x="167" y="169"/>
                  </a:lnTo>
                  <a:lnTo>
                    <a:pt x="165" y="171"/>
                  </a:lnTo>
                  <a:lnTo>
                    <a:pt x="165" y="173"/>
                  </a:lnTo>
                  <a:lnTo>
                    <a:pt x="163" y="175"/>
                  </a:lnTo>
                  <a:lnTo>
                    <a:pt x="163" y="177"/>
                  </a:lnTo>
                  <a:lnTo>
                    <a:pt x="163" y="179"/>
                  </a:lnTo>
                  <a:lnTo>
                    <a:pt x="161" y="179"/>
                  </a:lnTo>
                  <a:lnTo>
                    <a:pt x="161" y="181"/>
                  </a:lnTo>
                  <a:lnTo>
                    <a:pt x="159" y="183"/>
                  </a:lnTo>
                  <a:lnTo>
                    <a:pt x="159" y="185"/>
                  </a:lnTo>
                  <a:lnTo>
                    <a:pt x="159" y="187"/>
                  </a:lnTo>
                  <a:lnTo>
                    <a:pt x="157" y="187"/>
                  </a:lnTo>
                  <a:lnTo>
                    <a:pt x="157" y="189"/>
                  </a:lnTo>
                  <a:lnTo>
                    <a:pt x="155" y="191"/>
                  </a:lnTo>
                  <a:lnTo>
                    <a:pt x="155" y="193"/>
                  </a:lnTo>
                  <a:lnTo>
                    <a:pt x="155" y="195"/>
                  </a:lnTo>
                  <a:lnTo>
                    <a:pt x="155" y="195"/>
                  </a:lnTo>
                  <a:lnTo>
                    <a:pt x="155" y="197"/>
                  </a:lnTo>
                  <a:lnTo>
                    <a:pt x="155" y="199"/>
                  </a:lnTo>
                  <a:lnTo>
                    <a:pt x="153" y="199"/>
                  </a:lnTo>
                  <a:lnTo>
                    <a:pt x="153" y="201"/>
                  </a:lnTo>
                  <a:lnTo>
                    <a:pt x="153" y="203"/>
                  </a:lnTo>
                  <a:lnTo>
                    <a:pt x="151" y="203"/>
                  </a:lnTo>
                  <a:lnTo>
                    <a:pt x="151" y="205"/>
                  </a:lnTo>
                  <a:lnTo>
                    <a:pt x="151" y="207"/>
                  </a:lnTo>
                  <a:lnTo>
                    <a:pt x="149" y="207"/>
                  </a:lnTo>
                  <a:lnTo>
                    <a:pt x="149" y="209"/>
                  </a:lnTo>
                  <a:lnTo>
                    <a:pt x="149" y="211"/>
                  </a:lnTo>
                  <a:lnTo>
                    <a:pt x="147" y="211"/>
                  </a:lnTo>
                  <a:lnTo>
                    <a:pt x="147" y="213"/>
                  </a:lnTo>
                  <a:lnTo>
                    <a:pt x="147" y="215"/>
                  </a:lnTo>
                  <a:lnTo>
                    <a:pt x="145" y="217"/>
                  </a:lnTo>
                  <a:lnTo>
                    <a:pt x="145" y="217"/>
                  </a:lnTo>
                  <a:lnTo>
                    <a:pt x="145" y="219"/>
                  </a:lnTo>
                  <a:lnTo>
                    <a:pt x="147" y="219"/>
                  </a:lnTo>
                  <a:lnTo>
                    <a:pt x="147" y="221"/>
                  </a:lnTo>
                  <a:lnTo>
                    <a:pt x="147" y="223"/>
                  </a:lnTo>
                  <a:lnTo>
                    <a:pt x="149" y="225"/>
                  </a:lnTo>
                  <a:lnTo>
                    <a:pt x="149" y="227"/>
                  </a:lnTo>
                  <a:lnTo>
                    <a:pt x="149" y="229"/>
                  </a:lnTo>
                  <a:lnTo>
                    <a:pt x="151" y="229"/>
                  </a:lnTo>
                  <a:lnTo>
                    <a:pt x="151" y="231"/>
                  </a:lnTo>
                  <a:lnTo>
                    <a:pt x="151" y="233"/>
                  </a:lnTo>
                  <a:lnTo>
                    <a:pt x="153" y="233"/>
                  </a:lnTo>
                  <a:lnTo>
                    <a:pt x="153" y="235"/>
                  </a:lnTo>
                  <a:lnTo>
                    <a:pt x="153" y="237"/>
                  </a:lnTo>
                  <a:lnTo>
                    <a:pt x="155" y="239"/>
                  </a:lnTo>
                  <a:lnTo>
                    <a:pt x="155" y="241"/>
                  </a:lnTo>
                  <a:lnTo>
                    <a:pt x="155" y="243"/>
                  </a:lnTo>
                  <a:lnTo>
                    <a:pt x="155" y="245"/>
                  </a:lnTo>
                  <a:lnTo>
                    <a:pt x="155" y="247"/>
                  </a:lnTo>
                  <a:lnTo>
                    <a:pt x="157" y="249"/>
                  </a:lnTo>
                  <a:lnTo>
                    <a:pt x="157" y="251"/>
                  </a:lnTo>
                  <a:lnTo>
                    <a:pt x="159" y="251"/>
                  </a:lnTo>
                  <a:lnTo>
                    <a:pt x="159" y="253"/>
                  </a:lnTo>
                  <a:lnTo>
                    <a:pt x="159" y="255"/>
                  </a:lnTo>
                  <a:lnTo>
                    <a:pt x="161" y="257"/>
                  </a:lnTo>
                  <a:lnTo>
                    <a:pt x="161" y="259"/>
                  </a:lnTo>
                  <a:lnTo>
                    <a:pt x="163" y="261"/>
                  </a:lnTo>
                  <a:lnTo>
                    <a:pt x="163" y="263"/>
                  </a:lnTo>
                  <a:lnTo>
                    <a:pt x="163" y="263"/>
                  </a:lnTo>
                  <a:lnTo>
                    <a:pt x="165" y="263"/>
                  </a:lnTo>
                  <a:lnTo>
                    <a:pt x="165" y="267"/>
                  </a:lnTo>
                  <a:lnTo>
                    <a:pt x="167" y="271"/>
                  </a:lnTo>
                  <a:lnTo>
                    <a:pt x="169" y="273"/>
                  </a:lnTo>
                  <a:lnTo>
                    <a:pt x="169" y="275"/>
                  </a:lnTo>
                  <a:lnTo>
                    <a:pt x="171" y="279"/>
                  </a:lnTo>
                  <a:lnTo>
                    <a:pt x="171" y="281"/>
                  </a:lnTo>
                  <a:lnTo>
                    <a:pt x="173" y="281"/>
                  </a:lnTo>
                  <a:lnTo>
                    <a:pt x="173" y="283"/>
                  </a:lnTo>
                  <a:lnTo>
                    <a:pt x="173" y="285"/>
                  </a:lnTo>
                  <a:lnTo>
                    <a:pt x="175" y="287"/>
                  </a:lnTo>
                  <a:lnTo>
                    <a:pt x="175" y="289"/>
                  </a:lnTo>
                  <a:lnTo>
                    <a:pt x="177" y="291"/>
                  </a:lnTo>
                  <a:lnTo>
                    <a:pt x="177" y="293"/>
                  </a:lnTo>
                  <a:lnTo>
                    <a:pt x="177" y="295"/>
                  </a:lnTo>
                  <a:lnTo>
                    <a:pt x="179" y="295"/>
                  </a:lnTo>
                  <a:lnTo>
                    <a:pt x="179" y="297"/>
                  </a:lnTo>
                  <a:lnTo>
                    <a:pt x="179" y="299"/>
                  </a:lnTo>
                  <a:lnTo>
                    <a:pt x="181" y="299"/>
                  </a:lnTo>
                  <a:lnTo>
                    <a:pt x="181" y="301"/>
                  </a:lnTo>
                  <a:lnTo>
                    <a:pt x="181" y="303"/>
                  </a:lnTo>
                  <a:lnTo>
                    <a:pt x="183" y="303"/>
                  </a:lnTo>
                  <a:lnTo>
                    <a:pt x="183" y="305"/>
                  </a:lnTo>
                  <a:lnTo>
                    <a:pt x="183" y="307"/>
                  </a:lnTo>
                  <a:lnTo>
                    <a:pt x="183" y="309"/>
                  </a:lnTo>
                  <a:lnTo>
                    <a:pt x="185" y="309"/>
                  </a:lnTo>
                  <a:lnTo>
                    <a:pt x="185" y="311"/>
                  </a:lnTo>
                  <a:lnTo>
                    <a:pt x="185" y="311"/>
                  </a:lnTo>
                  <a:lnTo>
                    <a:pt x="187" y="311"/>
                  </a:lnTo>
                  <a:lnTo>
                    <a:pt x="187" y="313"/>
                  </a:lnTo>
                  <a:lnTo>
                    <a:pt x="187" y="315"/>
                  </a:lnTo>
                  <a:lnTo>
                    <a:pt x="189" y="315"/>
                  </a:lnTo>
                  <a:lnTo>
                    <a:pt x="189" y="317"/>
                  </a:lnTo>
                  <a:lnTo>
                    <a:pt x="189" y="319"/>
                  </a:lnTo>
                  <a:lnTo>
                    <a:pt x="191" y="321"/>
                  </a:lnTo>
                  <a:lnTo>
                    <a:pt x="191" y="323"/>
                  </a:lnTo>
                  <a:lnTo>
                    <a:pt x="191" y="325"/>
                  </a:lnTo>
                  <a:lnTo>
                    <a:pt x="193" y="325"/>
                  </a:lnTo>
                  <a:lnTo>
                    <a:pt x="193" y="327"/>
                  </a:lnTo>
                  <a:lnTo>
                    <a:pt x="193" y="329"/>
                  </a:lnTo>
                  <a:lnTo>
                    <a:pt x="195" y="329"/>
                  </a:lnTo>
                  <a:lnTo>
                    <a:pt x="195" y="331"/>
                  </a:lnTo>
                  <a:lnTo>
                    <a:pt x="197" y="333"/>
                  </a:lnTo>
                  <a:lnTo>
                    <a:pt x="197" y="335"/>
                  </a:lnTo>
                  <a:lnTo>
                    <a:pt x="197" y="337"/>
                  </a:lnTo>
                  <a:lnTo>
                    <a:pt x="199" y="337"/>
                  </a:lnTo>
                  <a:lnTo>
                    <a:pt x="199" y="339"/>
                  </a:lnTo>
                  <a:lnTo>
                    <a:pt x="199" y="341"/>
                  </a:lnTo>
                  <a:lnTo>
                    <a:pt x="201" y="343"/>
                  </a:lnTo>
                  <a:lnTo>
                    <a:pt x="201" y="345"/>
                  </a:lnTo>
                  <a:lnTo>
                    <a:pt x="201" y="347"/>
                  </a:lnTo>
                  <a:lnTo>
                    <a:pt x="203" y="347"/>
                  </a:lnTo>
                  <a:lnTo>
                    <a:pt x="203" y="349"/>
                  </a:lnTo>
                  <a:lnTo>
                    <a:pt x="203" y="351"/>
                  </a:lnTo>
                  <a:lnTo>
                    <a:pt x="205" y="353"/>
                  </a:lnTo>
                  <a:lnTo>
                    <a:pt x="205" y="355"/>
                  </a:lnTo>
                  <a:lnTo>
                    <a:pt x="205" y="357"/>
                  </a:lnTo>
                  <a:lnTo>
                    <a:pt x="205" y="359"/>
                  </a:lnTo>
                  <a:lnTo>
                    <a:pt x="207" y="359"/>
                  </a:lnTo>
                  <a:lnTo>
                    <a:pt x="207" y="361"/>
                  </a:lnTo>
                  <a:lnTo>
                    <a:pt x="209" y="363"/>
                  </a:lnTo>
                  <a:lnTo>
                    <a:pt x="209" y="365"/>
                  </a:lnTo>
                  <a:lnTo>
                    <a:pt x="209" y="367"/>
                  </a:lnTo>
                  <a:lnTo>
                    <a:pt x="211" y="369"/>
                  </a:lnTo>
                  <a:lnTo>
                    <a:pt x="211" y="371"/>
                  </a:lnTo>
                  <a:lnTo>
                    <a:pt x="213" y="371"/>
                  </a:lnTo>
                  <a:lnTo>
                    <a:pt x="213" y="373"/>
                  </a:lnTo>
                  <a:lnTo>
                    <a:pt x="213" y="375"/>
                  </a:lnTo>
                  <a:lnTo>
                    <a:pt x="215" y="377"/>
                  </a:lnTo>
                  <a:lnTo>
                    <a:pt x="215" y="379"/>
                  </a:lnTo>
                  <a:lnTo>
                    <a:pt x="215" y="381"/>
                  </a:lnTo>
                  <a:lnTo>
                    <a:pt x="217" y="381"/>
                  </a:lnTo>
                  <a:lnTo>
                    <a:pt x="217" y="383"/>
                  </a:lnTo>
                  <a:lnTo>
                    <a:pt x="219" y="385"/>
                  </a:lnTo>
                  <a:lnTo>
                    <a:pt x="219" y="387"/>
                  </a:lnTo>
                  <a:lnTo>
                    <a:pt x="219" y="389"/>
                  </a:lnTo>
                  <a:lnTo>
                    <a:pt x="221" y="389"/>
                  </a:lnTo>
                  <a:lnTo>
                    <a:pt x="221" y="391"/>
                  </a:lnTo>
                  <a:lnTo>
                    <a:pt x="221" y="393"/>
                  </a:lnTo>
                  <a:lnTo>
                    <a:pt x="223" y="395"/>
                  </a:lnTo>
                  <a:lnTo>
                    <a:pt x="223" y="397"/>
                  </a:lnTo>
                  <a:lnTo>
                    <a:pt x="223" y="399"/>
                  </a:lnTo>
                  <a:lnTo>
                    <a:pt x="225" y="399"/>
                  </a:lnTo>
                  <a:lnTo>
                    <a:pt x="225" y="401"/>
                  </a:lnTo>
                  <a:lnTo>
                    <a:pt x="225" y="403"/>
                  </a:lnTo>
                  <a:lnTo>
                    <a:pt x="227" y="405"/>
                  </a:lnTo>
                  <a:lnTo>
                    <a:pt x="227" y="407"/>
                  </a:lnTo>
                  <a:lnTo>
                    <a:pt x="229" y="407"/>
                  </a:lnTo>
                  <a:lnTo>
                    <a:pt x="229" y="409"/>
                  </a:lnTo>
                  <a:lnTo>
                    <a:pt x="231" y="409"/>
                  </a:lnTo>
                  <a:lnTo>
                    <a:pt x="231" y="413"/>
                  </a:lnTo>
                  <a:lnTo>
                    <a:pt x="233" y="413"/>
                  </a:lnTo>
                  <a:lnTo>
                    <a:pt x="233" y="415"/>
                  </a:lnTo>
                  <a:lnTo>
                    <a:pt x="233" y="417"/>
                  </a:lnTo>
                  <a:lnTo>
                    <a:pt x="235" y="419"/>
                  </a:lnTo>
                  <a:lnTo>
                    <a:pt x="235" y="421"/>
                  </a:lnTo>
                  <a:lnTo>
                    <a:pt x="235" y="423"/>
                  </a:lnTo>
                  <a:lnTo>
                    <a:pt x="237" y="423"/>
                  </a:lnTo>
                  <a:lnTo>
                    <a:pt x="237" y="425"/>
                  </a:lnTo>
                  <a:lnTo>
                    <a:pt x="237" y="427"/>
                  </a:lnTo>
                  <a:lnTo>
                    <a:pt x="239" y="427"/>
                  </a:lnTo>
                  <a:lnTo>
                    <a:pt x="239" y="429"/>
                  </a:lnTo>
                  <a:lnTo>
                    <a:pt x="239" y="431"/>
                  </a:lnTo>
                  <a:lnTo>
                    <a:pt x="241" y="431"/>
                  </a:lnTo>
                  <a:lnTo>
                    <a:pt x="241" y="433"/>
                  </a:lnTo>
                  <a:lnTo>
                    <a:pt x="241" y="435"/>
                  </a:lnTo>
                  <a:lnTo>
                    <a:pt x="243" y="435"/>
                  </a:lnTo>
                  <a:lnTo>
                    <a:pt x="243" y="437"/>
                  </a:lnTo>
                  <a:lnTo>
                    <a:pt x="243" y="439"/>
                  </a:lnTo>
                  <a:lnTo>
                    <a:pt x="245" y="441"/>
                  </a:lnTo>
                  <a:lnTo>
                    <a:pt x="245" y="443"/>
                  </a:lnTo>
                  <a:lnTo>
                    <a:pt x="247" y="445"/>
                  </a:lnTo>
                  <a:lnTo>
                    <a:pt x="247" y="447"/>
                  </a:lnTo>
                  <a:lnTo>
                    <a:pt x="247" y="449"/>
                  </a:lnTo>
                  <a:lnTo>
                    <a:pt x="249" y="449"/>
                  </a:lnTo>
                  <a:lnTo>
                    <a:pt x="249" y="451"/>
                  </a:lnTo>
                  <a:lnTo>
                    <a:pt x="249" y="453"/>
                  </a:lnTo>
                  <a:lnTo>
                    <a:pt x="251" y="453"/>
                  </a:lnTo>
                  <a:lnTo>
                    <a:pt x="251" y="455"/>
                  </a:lnTo>
                  <a:lnTo>
                    <a:pt x="251" y="455"/>
                  </a:lnTo>
                  <a:lnTo>
                    <a:pt x="253" y="455"/>
                  </a:lnTo>
                  <a:lnTo>
                    <a:pt x="253" y="457"/>
                  </a:lnTo>
                  <a:lnTo>
                    <a:pt x="253" y="459"/>
                  </a:lnTo>
                  <a:lnTo>
                    <a:pt x="253" y="459"/>
                  </a:lnTo>
                  <a:lnTo>
                    <a:pt x="253" y="461"/>
                  </a:lnTo>
                  <a:lnTo>
                    <a:pt x="253" y="463"/>
                  </a:lnTo>
                  <a:lnTo>
                    <a:pt x="255" y="465"/>
                  </a:lnTo>
                  <a:lnTo>
                    <a:pt x="255" y="467"/>
                  </a:lnTo>
                  <a:lnTo>
                    <a:pt x="255" y="469"/>
                  </a:lnTo>
                  <a:lnTo>
                    <a:pt x="257" y="469"/>
                  </a:lnTo>
                  <a:lnTo>
                    <a:pt x="257" y="471"/>
                  </a:lnTo>
                  <a:lnTo>
                    <a:pt x="257" y="473"/>
                  </a:lnTo>
                  <a:lnTo>
                    <a:pt x="259" y="473"/>
                  </a:lnTo>
                  <a:lnTo>
                    <a:pt x="259" y="475"/>
                  </a:lnTo>
                  <a:lnTo>
                    <a:pt x="259" y="477"/>
                  </a:lnTo>
                  <a:lnTo>
                    <a:pt x="261" y="477"/>
                  </a:lnTo>
                  <a:lnTo>
                    <a:pt x="261" y="479"/>
                  </a:lnTo>
                  <a:lnTo>
                    <a:pt x="263" y="481"/>
                  </a:lnTo>
                  <a:lnTo>
                    <a:pt x="263" y="483"/>
                  </a:lnTo>
                  <a:lnTo>
                    <a:pt x="265" y="485"/>
                  </a:lnTo>
                  <a:lnTo>
                    <a:pt x="265" y="487"/>
                  </a:lnTo>
                  <a:lnTo>
                    <a:pt x="265" y="489"/>
                  </a:lnTo>
                  <a:lnTo>
                    <a:pt x="267" y="489"/>
                  </a:lnTo>
                  <a:lnTo>
                    <a:pt x="267" y="491"/>
                  </a:lnTo>
                  <a:lnTo>
                    <a:pt x="267" y="493"/>
                  </a:lnTo>
                  <a:lnTo>
                    <a:pt x="269" y="495"/>
                  </a:lnTo>
                  <a:lnTo>
                    <a:pt x="269" y="497"/>
                  </a:lnTo>
                  <a:lnTo>
                    <a:pt x="271" y="499"/>
                  </a:lnTo>
                  <a:lnTo>
                    <a:pt x="271" y="501"/>
                  </a:lnTo>
                  <a:lnTo>
                    <a:pt x="271" y="503"/>
                  </a:lnTo>
                  <a:lnTo>
                    <a:pt x="273" y="503"/>
                  </a:lnTo>
                  <a:lnTo>
                    <a:pt x="273" y="503"/>
                  </a:lnTo>
                  <a:lnTo>
                    <a:pt x="273" y="505"/>
                  </a:lnTo>
                  <a:lnTo>
                    <a:pt x="273" y="507"/>
                  </a:lnTo>
                  <a:lnTo>
                    <a:pt x="271" y="507"/>
                  </a:lnTo>
                  <a:lnTo>
                    <a:pt x="271" y="509"/>
                  </a:lnTo>
                  <a:lnTo>
                    <a:pt x="271" y="511"/>
                  </a:lnTo>
                  <a:lnTo>
                    <a:pt x="271" y="513"/>
                  </a:lnTo>
                  <a:lnTo>
                    <a:pt x="273" y="513"/>
                  </a:lnTo>
                  <a:lnTo>
                    <a:pt x="273" y="515"/>
                  </a:lnTo>
                  <a:lnTo>
                    <a:pt x="271" y="515"/>
                  </a:lnTo>
                  <a:lnTo>
                    <a:pt x="271" y="517"/>
                  </a:lnTo>
                  <a:lnTo>
                    <a:pt x="273" y="517"/>
                  </a:lnTo>
                  <a:lnTo>
                    <a:pt x="273" y="519"/>
                  </a:lnTo>
                  <a:lnTo>
                    <a:pt x="273" y="521"/>
                  </a:lnTo>
                  <a:lnTo>
                    <a:pt x="275" y="521"/>
                  </a:lnTo>
                  <a:lnTo>
                    <a:pt x="275" y="523"/>
                  </a:lnTo>
                  <a:lnTo>
                    <a:pt x="275" y="525"/>
                  </a:lnTo>
                  <a:lnTo>
                    <a:pt x="275" y="527"/>
                  </a:lnTo>
                  <a:lnTo>
                    <a:pt x="275" y="529"/>
                  </a:lnTo>
                  <a:lnTo>
                    <a:pt x="273" y="529"/>
                  </a:lnTo>
                  <a:lnTo>
                    <a:pt x="275" y="529"/>
                  </a:lnTo>
                  <a:lnTo>
                    <a:pt x="275" y="531"/>
                  </a:lnTo>
                  <a:lnTo>
                    <a:pt x="275" y="533"/>
                  </a:lnTo>
                  <a:lnTo>
                    <a:pt x="275" y="535"/>
                  </a:lnTo>
                  <a:lnTo>
                    <a:pt x="273" y="535"/>
                  </a:lnTo>
                  <a:lnTo>
                    <a:pt x="273" y="537"/>
                  </a:lnTo>
                  <a:lnTo>
                    <a:pt x="275" y="537"/>
                  </a:lnTo>
                  <a:lnTo>
                    <a:pt x="275" y="539"/>
                  </a:lnTo>
                  <a:lnTo>
                    <a:pt x="277" y="539"/>
                  </a:lnTo>
                  <a:lnTo>
                    <a:pt x="277" y="541"/>
                  </a:lnTo>
                  <a:lnTo>
                    <a:pt x="277" y="543"/>
                  </a:lnTo>
                  <a:lnTo>
                    <a:pt x="279" y="543"/>
                  </a:lnTo>
                  <a:lnTo>
                    <a:pt x="279" y="545"/>
                  </a:lnTo>
                  <a:lnTo>
                    <a:pt x="281" y="545"/>
                  </a:lnTo>
                  <a:lnTo>
                    <a:pt x="281" y="547"/>
                  </a:lnTo>
                  <a:lnTo>
                    <a:pt x="281" y="549"/>
                  </a:lnTo>
                  <a:lnTo>
                    <a:pt x="281" y="551"/>
                  </a:lnTo>
                  <a:lnTo>
                    <a:pt x="279" y="551"/>
                  </a:lnTo>
                  <a:lnTo>
                    <a:pt x="277" y="551"/>
                  </a:lnTo>
                  <a:lnTo>
                    <a:pt x="277" y="551"/>
                  </a:lnTo>
                  <a:lnTo>
                    <a:pt x="275" y="551"/>
                  </a:lnTo>
                  <a:lnTo>
                    <a:pt x="273" y="551"/>
                  </a:lnTo>
                  <a:lnTo>
                    <a:pt x="271" y="551"/>
                  </a:lnTo>
                  <a:lnTo>
                    <a:pt x="271" y="553"/>
                  </a:lnTo>
                  <a:lnTo>
                    <a:pt x="269" y="553"/>
                  </a:lnTo>
                  <a:lnTo>
                    <a:pt x="267" y="553"/>
                  </a:lnTo>
                  <a:lnTo>
                    <a:pt x="265" y="553"/>
                  </a:lnTo>
                  <a:lnTo>
                    <a:pt x="263" y="553"/>
                  </a:lnTo>
                  <a:lnTo>
                    <a:pt x="263" y="555"/>
                  </a:lnTo>
                  <a:lnTo>
                    <a:pt x="263" y="557"/>
                  </a:lnTo>
                  <a:lnTo>
                    <a:pt x="261" y="557"/>
                  </a:lnTo>
                  <a:lnTo>
                    <a:pt x="261" y="559"/>
                  </a:lnTo>
                  <a:lnTo>
                    <a:pt x="259" y="559"/>
                  </a:lnTo>
                  <a:lnTo>
                    <a:pt x="257" y="559"/>
                  </a:lnTo>
                  <a:lnTo>
                    <a:pt x="257" y="561"/>
                  </a:lnTo>
                  <a:lnTo>
                    <a:pt x="257" y="563"/>
                  </a:lnTo>
                  <a:lnTo>
                    <a:pt x="257" y="561"/>
                  </a:lnTo>
                  <a:lnTo>
                    <a:pt x="257" y="563"/>
                  </a:lnTo>
                  <a:lnTo>
                    <a:pt x="257" y="565"/>
                  </a:lnTo>
                  <a:lnTo>
                    <a:pt x="255" y="565"/>
                  </a:lnTo>
                  <a:lnTo>
                    <a:pt x="255" y="563"/>
                  </a:lnTo>
                  <a:lnTo>
                    <a:pt x="255" y="565"/>
                  </a:lnTo>
                  <a:lnTo>
                    <a:pt x="255" y="567"/>
                  </a:lnTo>
                  <a:lnTo>
                    <a:pt x="255" y="569"/>
                  </a:lnTo>
                  <a:lnTo>
                    <a:pt x="255" y="571"/>
                  </a:lnTo>
                  <a:lnTo>
                    <a:pt x="253" y="571"/>
                  </a:lnTo>
                  <a:lnTo>
                    <a:pt x="253" y="573"/>
                  </a:lnTo>
                  <a:lnTo>
                    <a:pt x="253" y="573"/>
                  </a:lnTo>
                  <a:lnTo>
                    <a:pt x="253" y="575"/>
                  </a:lnTo>
                  <a:lnTo>
                    <a:pt x="253" y="577"/>
                  </a:lnTo>
                  <a:lnTo>
                    <a:pt x="251" y="577"/>
                  </a:lnTo>
                  <a:lnTo>
                    <a:pt x="251" y="579"/>
                  </a:lnTo>
                  <a:lnTo>
                    <a:pt x="251" y="581"/>
                  </a:lnTo>
                  <a:lnTo>
                    <a:pt x="249" y="581"/>
                  </a:lnTo>
                  <a:lnTo>
                    <a:pt x="249" y="583"/>
                  </a:lnTo>
                  <a:lnTo>
                    <a:pt x="249" y="581"/>
                  </a:lnTo>
                  <a:lnTo>
                    <a:pt x="247" y="581"/>
                  </a:lnTo>
                  <a:lnTo>
                    <a:pt x="247" y="583"/>
                  </a:lnTo>
                  <a:lnTo>
                    <a:pt x="245" y="583"/>
                  </a:lnTo>
                  <a:lnTo>
                    <a:pt x="245" y="585"/>
                  </a:lnTo>
                  <a:lnTo>
                    <a:pt x="243" y="585"/>
                  </a:lnTo>
                  <a:lnTo>
                    <a:pt x="241" y="585"/>
                  </a:lnTo>
                  <a:lnTo>
                    <a:pt x="239" y="585"/>
                  </a:lnTo>
                  <a:lnTo>
                    <a:pt x="239" y="587"/>
                  </a:lnTo>
                  <a:lnTo>
                    <a:pt x="239" y="590"/>
                  </a:lnTo>
                  <a:lnTo>
                    <a:pt x="237" y="590"/>
                  </a:lnTo>
                  <a:lnTo>
                    <a:pt x="237" y="592"/>
                  </a:lnTo>
                  <a:lnTo>
                    <a:pt x="239" y="594"/>
                  </a:lnTo>
                  <a:lnTo>
                    <a:pt x="237" y="594"/>
                  </a:lnTo>
                  <a:lnTo>
                    <a:pt x="237" y="596"/>
                  </a:lnTo>
                  <a:lnTo>
                    <a:pt x="239" y="596"/>
                  </a:lnTo>
                  <a:lnTo>
                    <a:pt x="237" y="596"/>
                  </a:lnTo>
                  <a:lnTo>
                    <a:pt x="237" y="598"/>
                  </a:lnTo>
                  <a:lnTo>
                    <a:pt x="237" y="600"/>
                  </a:lnTo>
                  <a:lnTo>
                    <a:pt x="235" y="600"/>
                  </a:lnTo>
                  <a:lnTo>
                    <a:pt x="235" y="600"/>
                  </a:lnTo>
                  <a:lnTo>
                    <a:pt x="233" y="600"/>
                  </a:lnTo>
                  <a:lnTo>
                    <a:pt x="233" y="602"/>
                  </a:lnTo>
                  <a:lnTo>
                    <a:pt x="235" y="602"/>
                  </a:lnTo>
                  <a:lnTo>
                    <a:pt x="235" y="604"/>
                  </a:lnTo>
                  <a:lnTo>
                    <a:pt x="235" y="606"/>
                  </a:lnTo>
                  <a:lnTo>
                    <a:pt x="235" y="604"/>
                  </a:lnTo>
                  <a:lnTo>
                    <a:pt x="237" y="604"/>
                  </a:lnTo>
                  <a:lnTo>
                    <a:pt x="237" y="606"/>
                  </a:lnTo>
                  <a:lnTo>
                    <a:pt x="239" y="606"/>
                  </a:lnTo>
                  <a:lnTo>
                    <a:pt x="241" y="606"/>
                  </a:lnTo>
                  <a:lnTo>
                    <a:pt x="241" y="608"/>
                  </a:lnTo>
                  <a:lnTo>
                    <a:pt x="241" y="610"/>
                  </a:lnTo>
                  <a:lnTo>
                    <a:pt x="241" y="612"/>
                  </a:lnTo>
                  <a:lnTo>
                    <a:pt x="243" y="612"/>
                  </a:lnTo>
                  <a:lnTo>
                    <a:pt x="241" y="612"/>
                  </a:lnTo>
                  <a:lnTo>
                    <a:pt x="241" y="614"/>
                  </a:lnTo>
                  <a:lnTo>
                    <a:pt x="241" y="616"/>
                  </a:lnTo>
                  <a:lnTo>
                    <a:pt x="239" y="618"/>
                  </a:lnTo>
                  <a:lnTo>
                    <a:pt x="239" y="620"/>
                  </a:lnTo>
                  <a:lnTo>
                    <a:pt x="237" y="620"/>
                  </a:lnTo>
                  <a:lnTo>
                    <a:pt x="235" y="620"/>
                  </a:lnTo>
                  <a:lnTo>
                    <a:pt x="235" y="622"/>
                  </a:lnTo>
                  <a:lnTo>
                    <a:pt x="233" y="622"/>
                  </a:lnTo>
                  <a:lnTo>
                    <a:pt x="231" y="622"/>
                  </a:lnTo>
                  <a:lnTo>
                    <a:pt x="229" y="622"/>
                  </a:lnTo>
                  <a:lnTo>
                    <a:pt x="229" y="620"/>
                  </a:lnTo>
                  <a:lnTo>
                    <a:pt x="227" y="620"/>
                  </a:lnTo>
                  <a:lnTo>
                    <a:pt x="225" y="620"/>
                  </a:lnTo>
                  <a:lnTo>
                    <a:pt x="219" y="618"/>
                  </a:lnTo>
                  <a:lnTo>
                    <a:pt x="217" y="618"/>
                  </a:lnTo>
                  <a:lnTo>
                    <a:pt x="215" y="618"/>
                  </a:lnTo>
                  <a:lnTo>
                    <a:pt x="213" y="618"/>
                  </a:lnTo>
                  <a:lnTo>
                    <a:pt x="207" y="616"/>
                  </a:lnTo>
                  <a:lnTo>
                    <a:pt x="203" y="614"/>
                  </a:lnTo>
                  <a:lnTo>
                    <a:pt x="199" y="612"/>
                  </a:lnTo>
                  <a:lnTo>
                    <a:pt x="197" y="612"/>
                  </a:lnTo>
                  <a:lnTo>
                    <a:pt x="195" y="612"/>
                  </a:lnTo>
                  <a:lnTo>
                    <a:pt x="193" y="610"/>
                  </a:lnTo>
                  <a:lnTo>
                    <a:pt x="191" y="610"/>
                  </a:lnTo>
                  <a:lnTo>
                    <a:pt x="189" y="610"/>
                  </a:lnTo>
                  <a:lnTo>
                    <a:pt x="185" y="608"/>
                  </a:lnTo>
                  <a:lnTo>
                    <a:pt x="183" y="608"/>
                  </a:lnTo>
                  <a:lnTo>
                    <a:pt x="179" y="606"/>
                  </a:lnTo>
                  <a:lnTo>
                    <a:pt x="177" y="606"/>
                  </a:lnTo>
                  <a:lnTo>
                    <a:pt x="175" y="606"/>
                  </a:lnTo>
                  <a:lnTo>
                    <a:pt x="173" y="606"/>
                  </a:lnTo>
                  <a:lnTo>
                    <a:pt x="173" y="604"/>
                  </a:lnTo>
                  <a:lnTo>
                    <a:pt x="169" y="604"/>
                  </a:lnTo>
                  <a:lnTo>
                    <a:pt x="167" y="604"/>
                  </a:lnTo>
                  <a:lnTo>
                    <a:pt x="167" y="602"/>
                  </a:lnTo>
                  <a:lnTo>
                    <a:pt x="165" y="602"/>
                  </a:lnTo>
                  <a:lnTo>
                    <a:pt x="163" y="602"/>
                  </a:lnTo>
                  <a:lnTo>
                    <a:pt x="161" y="602"/>
                  </a:lnTo>
                  <a:lnTo>
                    <a:pt x="159" y="600"/>
                  </a:lnTo>
                  <a:lnTo>
                    <a:pt x="157" y="600"/>
                  </a:lnTo>
                  <a:lnTo>
                    <a:pt x="155" y="600"/>
                  </a:lnTo>
                  <a:lnTo>
                    <a:pt x="155" y="600"/>
                  </a:lnTo>
                  <a:lnTo>
                    <a:pt x="155" y="600"/>
                  </a:lnTo>
                  <a:lnTo>
                    <a:pt x="153" y="600"/>
                  </a:lnTo>
                  <a:lnTo>
                    <a:pt x="151" y="600"/>
                  </a:lnTo>
                  <a:lnTo>
                    <a:pt x="149" y="600"/>
                  </a:lnTo>
                  <a:lnTo>
                    <a:pt x="149" y="598"/>
                  </a:lnTo>
                  <a:lnTo>
                    <a:pt x="147" y="598"/>
                  </a:lnTo>
                  <a:lnTo>
                    <a:pt x="145" y="598"/>
                  </a:lnTo>
                  <a:lnTo>
                    <a:pt x="143" y="598"/>
                  </a:lnTo>
                  <a:lnTo>
                    <a:pt x="141" y="596"/>
                  </a:lnTo>
                  <a:lnTo>
                    <a:pt x="139" y="596"/>
                  </a:lnTo>
                  <a:lnTo>
                    <a:pt x="137" y="596"/>
                  </a:lnTo>
                  <a:lnTo>
                    <a:pt x="135" y="596"/>
                  </a:lnTo>
                  <a:lnTo>
                    <a:pt x="135" y="594"/>
                  </a:lnTo>
                  <a:lnTo>
                    <a:pt x="133" y="594"/>
                  </a:lnTo>
                  <a:lnTo>
                    <a:pt x="131" y="594"/>
                  </a:lnTo>
                  <a:lnTo>
                    <a:pt x="129" y="594"/>
                  </a:lnTo>
                  <a:lnTo>
                    <a:pt x="129" y="592"/>
                  </a:lnTo>
                  <a:lnTo>
                    <a:pt x="127" y="592"/>
                  </a:lnTo>
                  <a:lnTo>
                    <a:pt x="125" y="592"/>
                  </a:lnTo>
                  <a:lnTo>
                    <a:pt x="123" y="592"/>
                  </a:lnTo>
                  <a:lnTo>
                    <a:pt x="121" y="590"/>
                  </a:lnTo>
                  <a:lnTo>
                    <a:pt x="117" y="590"/>
                  </a:lnTo>
                  <a:lnTo>
                    <a:pt x="117" y="587"/>
                  </a:lnTo>
                  <a:lnTo>
                    <a:pt x="119" y="587"/>
                  </a:lnTo>
                  <a:lnTo>
                    <a:pt x="117" y="587"/>
                  </a:lnTo>
                  <a:lnTo>
                    <a:pt x="117" y="585"/>
                  </a:lnTo>
                  <a:lnTo>
                    <a:pt x="119" y="585"/>
                  </a:lnTo>
                  <a:lnTo>
                    <a:pt x="119" y="583"/>
                  </a:lnTo>
                  <a:lnTo>
                    <a:pt x="119" y="581"/>
                  </a:lnTo>
                  <a:lnTo>
                    <a:pt x="117" y="579"/>
                  </a:lnTo>
                  <a:lnTo>
                    <a:pt x="115" y="579"/>
                  </a:lnTo>
                  <a:lnTo>
                    <a:pt x="117" y="579"/>
                  </a:lnTo>
                  <a:lnTo>
                    <a:pt x="115" y="579"/>
                  </a:lnTo>
                  <a:lnTo>
                    <a:pt x="117" y="577"/>
                  </a:lnTo>
                  <a:lnTo>
                    <a:pt x="119" y="577"/>
                  </a:lnTo>
                  <a:lnTo>
                    <a:pt x="119" y="579"/>
                  </a:lnTo>
                  <a:lnTo>
                    <a:pt x="119" y="577"/>
                  </a:lnTo>
                  <a:lnTo>
                    <a:pt x="119" y="579"/>
                  </a:lnTo>
                  <a:lnTo>
                    <a:pt x="117" y="579"/>
                  </a:lnTo>
                  <a:lnTo>
                    <a:pt x="119" y="579"/>
                  </a:lnTo>
                  <a:lnTo>
                    <a:pt x="119" y="581"/>
                  </a:lnTo>
                  <a:lnTo>
                    <a:pt x="119" y="579"/>
                  </a:lnTo>
                  <a:lnTo>
                    <a:pt x="119" y="581"/>
                  </a:lnTo>
                  <a:lnTo>
                    <a:pt x="119" y="583"/>
                  </a:lnTo>
                  <a:lnTo>
                    <a:pt x="119" y="585"/>
                  </a:lnTo>
                  <a:lnTo>
                    <a:pt x="119" y="583"/>
                  </a:lnTo>
                  <a:lnTo>
                    <a:pt x="119" y="581"/>
                  </a:lnTo>
                  <a:lnTo>
                    <a:pt x="121" y="581"/>
                  </a:lnTo>
                  <a:lnTo>
                    <a:pt x="119" y="581"/>
                  </a:lnTo>
                  <a:lnTo>
                    <a:pt x="121" y="581"/>
                  </a:lnTo>
                  <a:lnTo>
                    <a:pt x="119" y="581"/>
                  </a:lnTo>
                  <a:lnTo>
                    <a:pt x="121" y="581"/>
                  </a:lnTo>
                  <a:lnTo>
                    <a:pt x="119" y="581"/>
                  </a:lnTo>
                  <a:lnTo>
                    <a:pt x="119" y="579"/>
                  </a:lnTo>
                  <a:lnTo>
                    <a:pt x="119" y="577"/>
                  </a:lnTo>
                  <a:lnTo>
                    <a:pt x="119" y="579"/>
                  </a:lnTo>
                  <a:lnTo>
                    <a:pt x="119" y="577"/>
                  </a:lnTo>
                  <a:lnTo>
                    <a:pt x="117" y="577"/>
                  </a:lnTo>
                  <a:lnTo>
                    <a:pt x="119" y="577"/>
                  </a:lnTo>
                  <a:lnTo>
                    <a:pt x="117" y="577"/>
                  </a:lnTo>
                  <a:lnTo>
                    <a:pt x="115" y="577"/>
                  </a:lnTo>
                  <a:lnTo>
                    <a:pt x="115" y="579"/>
                  </a:lnTo>
                  <a:lnTo>
                    <a:pt x="115" y="577"/>
                  </a:lnTo>
                  <a:lnTo>
                    <a:pt x="115" y="575"/>
                  </a:lnTo>
                  <a:lnTo>
                    <a:pt x="117" y="575"/>
                  </a:lnTo>
                  <a:lnTo>
                    <a:pt x="117" y="573"/>
                  </a:lnTo>
                  <a:lnTo>
                    <a:pt x="117" y="575"/>
                  </a:lnTo>
                  <a:lnTo>
                    <a:pt x="117" y="573"/>
                  </a:lnTo>
                  <a:lnTo>
                    <a:pt x="117" y="575"/>
                  </a:lnTo>
                  <a:lnTo>
                    <a:pt x="117" y="573"/>
                  </a:lnTo>
                  <a:lnTo>
                    <a:pt x="117" y="571"/>
                  </a:lnTo>
                  <a:lnTo>
                    <a:pt x="117" y="569"/>
                  </a:lnTo>
                  <a:lnTo>
                    <a:pt x="119" y="569"/>
                  </a:lnTo>
                  <a:lnTo>
                    <a:pt x="119" y="567"/>
                  </a:lnTo>
                  <a:lnTo>
                    <a:pt x="119" y="565"/>
                  </a:lnTo>
                  <a:lnTo>
                    <a:pt x="121" y="565"/>
                  </a:lnTo>
                  <a:lnTo>
                    <a:pt x="121" y="563"/>
                  </a:lnTo>
                  <a:lnTo>
                    <a:pt x="121" y="561"/>
                  </a:lnTo>
                  <a:lnTo>
                    <a:pt x="121" y="559"/>
                  </a:lnTo>
                  <a:lnTo>
                    <a:pt x="121" y="557"/>
                  </a:lnTo>
                  <a:lnTo>
                    <a:pt x="121" y="555"/>
                  </a:lnTo>
                  <a:lnTo>
                    <a:pt x="121" y="553"/>
                  </a:lnTo>
                  <a:lnTo>
                    <a:pt x="121" y="551"/>
                  </a:lnTo>
                  <a:lnTo>
                    <a:pt x="121" y="551"/>
                  </a:lnTo>
                  <a:lnTo>
                    <a:pt x="121" y="549"/>
                  </a:lnTo>
                  <a:lnTo>
                    <a:pt x="121" y="551"/>
                  </a:lnTo>
                  <a:lnTo>
                    <a:pt x="121" y="549"/>
                  </a:lnTo>
                  <a:lnTo>
                    <a:pt x="119" y="549"/>
                  </a:lnTo>
                  <a:lnTo>
                    <a:pt x="121" y="549"/>
                  </a:lnTo>
                  <a:lnTo>
                    <a:pt x="119" y="549"/>
                  </a:lnTo>
                  <a:lnTo>
                    <a:pt x="119" y="547"/>
                  </a:lnTo>
                  <a:lnTo>
                    <a:pt x="119" y="545"/>
                  </a:lnTo>
                  <a:lnTo>
                    <a:pt x="119" y="543"/>
                  </a:lnTo>
                  <a:lnTo>
                    <a:pt x="119" y="541"/>
                  </a:lnTo>
                  <a:lnTo>
                    <a:pt x="117" y="541"/>
                  </a:lnTo>
                  <a:lnTo>
                    <a:pt x="117" y="539"/>
                  </a:lnTo>
                  <a:lnTo>
                    <a:pt x="117" y="537"/>
                  </a:lnTo>
                  <a:lnTo>
                    <a:pt x="115" y="537"/>
                  </a:lnTo>
                  <a:lnTo>
                    <a:pt x="115" y="535"/>
                  </a:lnTo>
                  <a:lnTo>
                    <a:pt x="115" y="533"/>
                  </a:lnTo>
                  <a:lnTo>
                    <a:pt x="113" y="531"/>
                  </a:lnTo>
                  <a:lnTo>
                    <a:pt x="111" y="531"/>
                  </a:lnTo>
                  <a:lnTo>
                    <a:pt x="111" y="529"/>
                  </a:lnTo>
                  <a:lnTo>
                    <a:pt x="111" y="527"/>
                  </a:lnTo>
                  <a:lnTo>
                    <a:pt x="111" y="525"/>
                  </a:lnTo>
                  <a:lnTo>
                    <a:pt x="109" y="525"/>
                  </a:lnTo>
                  <a:lnTo>
                    <a:pt x="109" y="523"/>
                  </a:lnTo>
                  <a:lnTo>
                    <a:pt x="109" y="521"/>
                  </a:lnTo>
                  <a:lnTo>
                    <a:pt x="107" y="521"/>
                  </a:lnTo>
                  <a:lnTo>
                    <a:pt x="107" y="519"/>
                  </a:lnTo>
                  <a:lnTo>
                    <a:pt x="109" y="519"/>
                  </a:lnTo>
                  <a:lnTo>
                    <a:pt x="109" y="517"/>
                  </a:lnTo>
                  <a:lnTo>
                    <a:pt x="107" y="517"/>
                  </a:lnTo>
                  <a:lnTo>
                    <a:pt x="107" y="519"/>
                  </a:lnTo>
                  <a:lnTo>
                    <a:pt x="107" y="519"/>
                  </a:lnTo>
                  <a:lnTo>
                    <a:pt x="107" y="519"/>
                  </a:lnTo>
                  <a:lnTo>
                    <a:pt x="107" y="521"/>
                  </a:lnTo>
                  <a:lnTo>
                    <a:pt x="107" y="519"/>
                  </a:lnTo>
                  <a:lnTo>
                    <a:pt x="107" y="519"/>
                  </a:lnTo>
                  <a:lnTo>
                    <a:pt x="107" y="517"/>
                  </a:lnTo>
                  <a:lnTo>
                    <a:pt x="105" y="515"/>
                  </a:lnTo>
                  <a:lnTo>
                    <a:pt x="105" y="513"/>
                  </a:lnTo>
                  <a:lnTo>
                    <a:pt x="105" y="511"/>
                  </a:lnTo>
                  <a:lnTo>
                    <a:pt x="103" y="511"/>
                  </a:lnTo>
                  <a:lnTo>
                    <a:pt x="103" y="509"/>
                  </a:lnTo>
                  <a:lnTo>
                    <a:pt x="103" y="511"/>
                  </a:lnTo>
                  <a:lnTo>
                    <a:pt x="105" y="511"/>
                  </a:lnTo>
                  <a:lnTo>
                    <a:pt x="105" y="513"/>
                  </a:lnTo>
                  <a:lnTo>
                    <a:pt x="105" y="511"/>
                  </a:lnTo>
                  <a:lnTo>
                    <a:pt x="105" y="509"/>
                  </a:lnTo>
                  <a:lnTo>
                    <a:pt x="105" y="511"/>
                  </a:lnTo>
                  <a:lnTo>
                    <a:pt x="105" y="509"/>
                  </a:lnTo>
                  <a:lnTo>
                    <a:pt x="103" y="509"/>
                  </a:lnTo>
                  <a:lnTo>
                    <a:pt x="105" y="509"/>
                  </a:lnTo>
                  <a:lnTo>
                    <a:pt x="103" y="509"/>
                  </a:lnTo>
                  <a:lnTo>
                    <a:pt x="103" y="507"/>
                  </a:lnTo>
                  <a:lnTo>
                    <a:pt x="101" y="507"/>
                  </a:lnTo>
                  <a:lnTo>
                    <a:pt x="101" y="505"/>
                  </a:lnTo>
                  <a:lnTo>
                    <a:pt x="99" y="505"/>
                  </a:lnTo>
                  <a:lnTo>
                    <a:pt x="99" y="507"/>
                  </a:lnTo>
                  <a:lnTo>
                    <a:pt x="99" y="509"/>
                  </a:lnTo>
                  <a:lnTo>
                    <a:pt x="97" y="507"/>
                  </a:lnTo>
                  <a:lnTo>
                    <a:pt x="95" y="507"/>
                  </a:lnTo>
                  <a:lnTo>
                    <a:pt x="97" y="507"/>
                  </a:lnTo>
                  <a:lnTo>
                    <a:pt x="97" y="505"/>
                  </a:lnTo>
                  <a:lnTo>
                    <a:pt x="95" y="505"/>
                  </a:lnTo>
                  <a:lnTo>
                    <a:pt x="95" y="507"/>
                  </a:lnTo>
                  <a:lnTo>
                    <a:pt x="95" y="505"/>
                  </a:lnTo>
                  <a:lnTo>
                    <a:pt x="97" y="505"/>
                  </a:lnTo>
                  <a:lnTo>
                    <a:pt x="97" y="503"/>
                  </a:lnTo>
                  <a:lnTo>
                    <a:pt x="97" y="505"/>
                  </a:lnTo>
                  <a:lnTo>
                    <a:pt x="95" y="505"/>
                  </a:lnTo>
                  <a:lnTo>
                    <a:pt x="97" y="503"/>
                  </a:lnTo>
                  <a:lnTo>
                    <a:pt x="95" y="503"/>
                  </a:lnTo>
                  <a:lnTo>
                    <a:pt x="95" y="505"/>
                  </a:lnTo>
                  <a:lnTo>
                    <a:pt x="95" y="507"/>
                  </a:lnTo>
                  <a:lnTo>
                    <a:pt x="95" y="505"/>
                  </a:lnTo>
                  <a:lnTo>
                    <a:pt x="95" y="507"/>
                  </a:lnTo>
                  <a:lnTo>
                    <a:pt x="93" y="507"/>
                  </a:lnTo>
                  <a:lnTo>
                    <a:pt x="93" y="505"/>
                  </a:lnTo>
                  <a:lnTo>
                    <a:pt x="91" y="505"/>
                  </a:lnTo>
                  <a:lnTo>
                    <a:pt x="91" y="503"/>
                  </a:lnTo>
                  <a:lnTo>
                    <a:pt x="89" y="503"/>
                  </a:lnTo>
                  <a:lnTo>
                    <a:pt x="89" y="503"/>
                  </a:lnTo>
                  <a:lnTo>
                    <a:pt x="91" y="501"/>
                  </a:lnTo>
                  <a:lnTo>
                    <a:pt x="93" y="501"/>
                  </a:lnTo>
                  <a:lnTo>
                    <a:pt x="93" y="499"/>
                  </a:lnTo>
                  <a:lnTo>
                    <a:pt x="93" y="497"/>
                  </a:lnTo>
                  <a:lnTo>
                    <a:pt x="93" y="495"/>
                  </a:lnTo>
                  <a:lnTo>
                    <a:pt x="93" y="493"/>
                  </a:lnTo>
                  <a:lnTo>
                    <a:pt x="93" y="491"/>
                  </a:lnTo>
                  <a:lnTo>
                    <a:pt x="93" y="489"/>
                  </a:lnTo>
                  <a:lnTo>
                    <a:pt x="91" y="489"/>
                  </a:lnTo>
                  <a:lnTo>
                    <a:pt x="93" y="489"/>
                  </a:lnTo>
                  <a:lnTo>
                    <a:pt x="91" y="489"/>
                  </a:lnTo>
                  <a:lnTo>
                    <a:pt x="91" y="487"/>
                  </a:lnTo>
                  <a:lnTo>
                    <a:pt x="89" y="485"/>
                  </a:lnTo>
                  <a:lnTo>
                    <a:pt x="87" y="485"/>
                  </a:lnTo>
                  <a:lnTo>
                    <a:pt x="85" y="485"/>
                  </a:lnTo>
                  <a:lnTo>
                    <a:pt x="85" y="483"/>
                  </a:lnTo>
                  <a:lnTo>
                    <a:pt x="85" y="485"/>
                  </a:lnTo>
                  <a:lnTo>
                    <a:pt x="85" y="483"/>
                  </a:lnTo>
                  <a:lnTo>
                    <a:pt x="83" y="483"/>
                  </a:lnTo>
                  <a:lnTo>
                    <a:pt x="81" y="483"/>
                  </a:lnTo>
                  <a:lnTo>
                    <a:pt x="79" y="483"/>
                  </a:lnTo>
                  <a:lnTo>
                    <a:pt x="77" y="483"/>
                  </a:lnTo>
                  <a:lnTo>
                    <a:pt x="77" y="481"/>
                  </a:lnTo>
                  <a:lnTo>
                    <a:pt x="77" y="479"/>
                  </a:lnTo>
                  <a:lnTo>
                    <a:pt x="74" y="479"/>
                  </a:lnTo>
                  <a:lnTo>
                    <a:pt x="72" y="479"/>
                  </a:lnTo>
                  <a:lnTo>
                    <a:pt x="72" y="477"/>
                  </a:lnTo>
                  <a:lnTo>
                    <a:pt x="70" y="477"/>
                  </a:lnTo>
                  <a:lnTo>
                    <a:pt x="70" y="475"/>
                  </a:lnTo>
                  <a:lnTo>
                    <a:pt x="68" y="475"/>
                  </a:lnTo>
                  <a:lnTo>
                    <a:pt x="68" y="473"/>
                  </a:lnTo>
                  <a:lnTo>
                    <a:pt x="66" y="473"/>
                  </a:lnTo>
                  <a:lnTo>
                    <a:pt x="68" y="473"/>
                  </a:lnTo>
                  <a:lnTo>
                    <a:pt x="66" y="473"/>
                  </a:lnTo>
                  <a:lnTo>
                    <a:pt x="66" y="471"/>
                  </a:lnTo>
                  <a:lnTo>
                    <a:pt x="64" y="471"/>
                  </a:lnTo>
                  <a:lnTo>
                    <a:pt x="64" y="469"/>
                  </a:lnTo>
                  <a:lnTo>
                    <a:pt x="64" y="467"/>
                  </a:lnTo>
                  <a:lnTo>
                    <a:pt x="64" y="465"/>
                  </a:lnTo>
                  <a:lnTo>
                    <a:pt x="64" y="467"/>
                  </a:lnTo>
                  <a:lnTo>
                    <a:pt x="64" y="465"/>
                  </a:lnTo>
                  <a:lnTo>
                    <a:pt x="64" y="467"/>
                  </a:lnTo>
                  <a:lnTo>
                    <a:pt x="62" y="465"/>
                  </a:lnTo>
                  <a:lnTo>
                    <a:pt x="64" y="465"/>
                  </a:lnTo>
                  <a:lnTo>
                    <a:pt x="64" y="463"/>
                  </a:lnTo>
                  <a:lnTo>
                    <a:pt x="64" y="461"/>
                  </a:lnTo>
                  <a:lnTo>
                    <a:pt x="64" y="459"/>
                  </a:lnTo>
                  <a:lnTo>
                    <a:pt x="62" y="459"/>
                  </a:lnTo>
                  <a:lnTo>
                    <a:pt x="62" y="457"/>
                  </a:lnTo>
                  <a:lnTo>
                    <a:pt x="60" y="457"/>
                  </a:lnTo>
                  <a:lnTo>
                    <a:pt x="60" y="455"/>
                  </a:lnTo>
                  <a:lnTo>
                    <a:pt x="60" y="455"/>
                  </a:lnTo>
                  <a:lnTo>
                    <a:pt x="58" y="455"/>
                  </a:lnTo>
                  <a:lnTo>
                    <a:pt x="58" y="453"/>
                  </a:lnTo>
                  <a:lnTo>
                    <a:pt x="58" y="453"/>
                  </a:lnTo>
                  <a:lnTo>
                    <a:pt x="58" y="451"/>
                  </a:lnTo>
                  <a:lnTo>
                    <a:pt x="58" y="449"/>
                  </a:lnTo>
                  <a:lnTo>
                    <a:pt x="56" y="449"/>
                  </a:lnTo>
                  <a:lnTo>
                    <a:pt x="56" y="447"/>
                  </a:lnTo>
                  <a:lnTo>
                    <a:pt x="54" y="447"/>
                  </a:lnTo>
                  <a:lnTo>
                    <a:pt x="52" y="447"/>
                  </a:lnTo>
                  <a:lnTo>
                    <a:pt x="50" y="447"/>
                  </a:lnTo>
                  <a:lnTo>
                    <a:pt x="52" y="447"/>
                  </a:lnTo>
                  <a:lnTo>
                    <a:pt x="50" y="447"/>
                  </a:lnTo>
                  <a:lnTo>
                    <a:pt x="48" y="447"/>
                  </a:lnTo>
                  <a:lnTo>
                    <a:pt x="48" y="445"/>
                  </a:lnTo>
                  <a:lnTo>
                    <a:pt x="46" y="445"/>
                  </a:lnTo>
                  <a:lnTo>
                    <a:pt x="46" y="443"/>
                  </a:lnTo>
                  <a:lnTo>
                    <a:pt x="44" y="443"/>
                  </a:lnTo>
                  <a:lnTo>
                    <a:pt x="42" y="441"/>
                  </a:lnTo>
                  <a:lnTo>
                    <a:pt x="40" y="441"/>
                  </a:lnTo>
                  <a:lnTo>
                    <a:pt x="40" y="439"/>
                  </a:lnTo>
                  <a:lnTo>
                    <a:pt x="40" y="437"/>
                  </a:lnTo>
                  <a:lnTo>
                    <a:pt x="38" y="437"/>
                  </a:lnTo>
                  <a:lnTo>
                    <a:pt x="36" y="437"/>
                  </a:lnTo>
                  <a:lnTo>
                    <a:pt x="36" y="435"/>
                  </a:lnTo>
                  <a:lnTo>
                    <a:pt x="34" y="435"/>
                  </a:lnTo>
                  <a:lnTo>
                    <a:pt x="32" y="435"/>
                  </a:lnTo>
                  <a:lnTo>
                    <a:pt x="32" y="433"/>
                  </a:lnTo>
                  <a:lnTo>
                    <a:pt x="30" y="433"/>
                  </a:lnTo>
                  <a:lnTo>
                    <a:pt x="28" y="433"/>
                  </a:lnTo>
                  <a:lnTo>
                    <a:pt x="28" y="431"/>
                  </a:lnTo>
                  <a:lnTo>
                    <a:pt x="28" y="433"/>
                  </a:lnTo>
                  <a:lnTo>
                    <a:pt x="28" y="431"/>
                  </a:lnTo>
                  <a:lnTo>
                    <a:pt x="28" y="433"/>
                  </a:lnTo>
                  <a:lnTo>
                    <a:pt x="28" y="431"/>
                  </a:lnTo>
                  <a:lnTo>
                    <a:pt x="26" y="431"/>
                  </a:lnTo>
                  <a:lnTo>
                    <a:pt x="24" y="431"/>
                  </a:lnTo>
                  <a:lnTo>
                    <a:pt x="22" y="431"/>
                  </a:lnTo>
                  <a:lnTo>
                    <a:pt x="22" y="429"/>
                  </a:lnTo>
                  <a:lnTo>
                    <a:pt x="20" y="429"/>
                  </a:lnTo>
                  <a:lnTo>
                    <a:pt x="18" y="429"/>
                  </a:lnTo>
                  <a:lnTo>
                    <a:pt x="20" y="429"/>
                  </a:lnTo>
                  <a:lnTo>
                    <a:pt x="20" y="427"/>
                  </a:lnTo>
                  <a:lnTo>
                    <a:pt x="20" y="425"/>
                  </a:lnTo>
                  <a:lnTo>
                    <a:pt x="18" y="425"/>
                  </a:lnTo>
                  <a:lnTo>
                    <a:pt x="18" y="423"/>
                  </a:lnTo>
                  <a:lnTo>
                    <a:pt x="18" y="421"/>
                  </a:lnTo>
                  <a:lnTo>
                    <a:pt x="16" y="421"/>
                  </a:lnTo>
                  <a:lnTo>
                    <a:pt x="14" y="421"/>
                  </a:lnTo>
                  <a:lnTo>
                    <a:pt x="14" y="419"/>
                  </a:lnTo>
                  <a:lnTo>
                    <a:pt x="16" y="419"/>
                  </a:lnTo>
                  <a:lnTo>
                    <a:pt x="16" y="417"/>
                  </a:lnTo>
                  <a:lnTo>
                    <a:pt x="18" y="417"/>
                  </a:lnTo>
                  <a:lnTo>
                    <a:pt x="18" y="415"/>
                  </a:lnTo>
                  <a:lnTo>
                    <a:pt x="20" y="415"/>
                  </a:lnTo>
                  <a:lnTo>
                    <a:pt x="20" y="413"/>
                  </a:lnTo>
                  <a:lnTo>
                    <a:pt x="20" y="415"/>
                  </a:lnTo>
                  <a:lnTo>
                    <a:pt x="20" y="413"/>
                  </a:lnTo>
                  <a:lnTo>
                    <a:pt x="20" y="411"/>
                  </a:lnTo>
                  <a:lnTo>
                    <a:pt x="20" y="409"/>
                  </a:lnTo>
                  <a:lnTo>
                    <a:pt x="22" y="409"/>
                  </a:lnTo>
                  <a:lnTo>
                    <a:pt x="22" y="407"/>
                  </a:lnTo>
                  <a:lnTo>
                    <a:pt x="22" y="407"/>
                  </a:lnTo>
                  <a:lnTo>
                    <a:pt x="24" y="407"/>
                  </a:lnTo>
                  <a:lnTo>
                    <a:pt x="22" y="407"/>
                  </a:lnTo>
                  <a:lnTo>
                    <a:pt x="22" y="405"/>
                  </a:lnTo>
                  <a:lnTo>
                    <a:pt x="22" y="403"/>
                  </a:lnTo>
                  <a:lnTo>
                    <a:pt x="22" y="405"/>
                  </a:lnTo>
                  <a:lnTo>
                    <a:pt x="22" y="403"/>
                  </a:lnTo>
                  <a:lnTo>
                    <a:pt x="24" y="403"/>
                  </a:lnTo>
                  <a:lnTo>
                    <a:pt x="24" y="401"/>
                  </a:lnTo>
                  <a:lnTo>
                    <a:pt x="24" y="399"/>
                  </a:lnTo>
                  <a:lnTo>
                    <a:pt x="26" y="399"/>
                  </a:lnTo>
                  <a:lnTo>
                    <a:pt x="26" y="397"/>
                  </a:lnTo>
                  <a:lnTo>
                    <a:pt x="28" y="397"/>
                  </a:lnTo>
                  <a:lnTo>
                    <a:pt x="28" y="395"/>
                  </a:lnTo>
                  <a:lnTo>
                    <a:pt x="28" y="393"/>
                  </a:lnTo>
                  <a:lnTo>
                    <a:pt x="28" y="391"/>
                  </a:lnTo>
                  <a:lnTo>
                    <a:pt x="28" y="389"/>
                  </a:lnTo>
                  <a:lnTo>
                    <a:pt x="26" y="389"/>
                  </a:lnTo>
                  <a:lnTo>
                    <a:pt x="24" y="389"/>
                  </a:lnTo>
                  <a:lnTo>
                    <a:pt x="24" y="387"/>
                  </a:lnTo>
                  <a:lnTo>
                    <a:pt x="22" y="387"/>
                  </a:lnTo>
                  <a:lnTo>
                    <a:pt x="22" y="385"/>
                  </a:lnTo>
                  <a:lnTo>
                    <a:pt x="22" y="383"/>
                  </a:lnTo>
                  <a:lnTo>
                    <a:pt x="20" y="383"/>
                  </a:lnTo>
                  <a:lnTo>
                    <a:pt x="22" y="383"/>
                  </a:lnTo>
                  <a:lnTo>
                    <a:pt x="20" y="383"/>
                  </a:lnTo>
                  <a:lnTo>
                    <a:pt x="20" y="381"/>
                  </a:lnTo>
                  <a:lnTo>
                    <a:pt x="22" y="381"/>
                  </a:lnTo>
                  <a:lnTo>
                    <a:pt x="20" y="381"/>
                  </a:lnTo>
                  <a:lnTo>
                    <a:pt x="22" y="381"/>
                  </a:lnTo>
                  <a:lnTo>
                    <a:pt x="20" y="381"/>
                  </a:lnTo>
                  <a:lnTo>
                    <a:pt x="22" y="381"/>
                  </a:lnTo>
                  <a:lnTo>
                    <a:pt x="22" y="379"/>
                  </a:lnTo>
                  <a:lnTo>
                    <a:pt x="24" y="379"/>
                  </a:lnTo>
                  <a:lnTo>
                    <a:pt x="24" y="377"/>
                  </a:lnTo>
                  <a:lnTo>
                    <a:pt x="26" y="377"/>
                  </a:lnTo>
                  <a:lnTo>
                    <a:pt x="24" y="377"/>
                  </a:lnTo>
                  <a:lnTo>
                    <a:pt x="24" y="379"/>
                  </a:lnTo>
                  <a:lnTo>
                    <a:pt x="26" y="379"/>
                  </a:lnTo>
                  <a:lnTo>
                    <a:pt x="26" y="377"/>
                  </a:lnTo>
                  <a:lnTo>
                    <a:pt x="24" y="377"/>
                  </a:lnTo>
                  <a:lnTo>
                    <a:pt x="26" y="377"/>
                  </a:lnTo>
                  <a:lnTo>
                    <a:pt x="26" y="375"/>
                  </a:lnTo>
                  <a:lnTo>
                    <a:pt x="26" y="377"/>
                  </a:lnTo>
                  <a:lnTo>
                    <a:pt x="26" y="375"/>
                  </a:lnTo>
                  <a:lnTo>
                    <a:pt x="26" y="377"/>
                  </a:lnTo>
                  <a:lnTo>
                    <a:pt x="26" y="375"/>
                  </a:lnTo>
                  <a:lnTo>
                    <a:pt x="26" y="373"/>
                  </a:lnTo>
                  <a:lnTo>
                    <a:pt x="26" y="371"/>
                  </a:lnTo>
                  <a:lnTo>
                    <a:pt x="24" y="371"/>
                  </a:lnTo>
                  <a:lnTo>
                    <a:pt x="24" y="369"/>
                  </a:lnTo>
                  <a:lnTo>
                    <a:pt x="22" y="369"/>
                  </a:lnTo>
                  <a:lnTo>
                    <a:pt x="22" y="367"/>
                  </a:lnTo>
                  <a:lnTo>
                    <a:pt x="22" y="365"/>
                  </a:lnTo>
                  <a:lnTo>
                    <a:pt x="20" y="365"/>
                  </a:lnTo>
                  <a:lnTo>
                    <a:pt x="22" y="365"/>
                  </a:lnTo>
                  <a:lnTo>
                    <a:pt x="20" y="365"/>
                  </a:lnTo>
                  <a:lnTo>
                    <a:pt x="20" y="363"/>
                  </a:lnTo>
                  <a:lnTo>
                    <a:pt x="20" y="361"/>
                  </a:lnTo>
                  <a:lnTo>
                    <a:pt x="20" y="359"/>
                  </a:lnTo>
                  <a:lnTo>
                    <a:pt x="20" y="359"/>
                  </a:lnTo>
                  <a:lnTo>
                    <a:pt x="18" y="357"/>
                  </a:lnTo>
                  <a:lnTo>
                    <a:pt x="18" y="359"/>
                  </a:lnTo>
                  <a:lnTo>
                    <a:pt x="18" y="357"/>
                  </a:lnTo>
                  <a:lnTo>
                    <a:pt x="18" y="359"/>
                  </a:lnTo>
                  <a:lnTo>
                    <a:pt x="18" y="357"/>
                  </a:lnTo>
                  <a:lnTo>
                    <a:pt x="16" y="357"/>
                  </a:lnTo>
                  <a:lnTo>
                    <a:pt x="16" y="355"/>
                  </a:lnTo>
                  <a:lnTo>
                    <a:pt x="16" y="353"/>
                  </a:lnTo>
                  <a:lnTo>
                    <a:pt x="16" y="351"/>
                  </a:lnTo>
                  <a:lnTo>
                    <a:pt x="16" y="349"/>
                  </a:lnTo>
                  <a:lnTo>
                    <a:pt x="16" y="347"/>
                  </a:lnTo>
                  <a:lnTo>
                    <a:pt x="16" y="345"/>
                  </a:lnTo>
                  <a:lnTo>
                    <a:pt x="14" y="345"/>
                  </a:lnTo>
                  <a:lnTo>
                    <a:pt x="16" y="345"/>
                  </a:lnTo>
                  <a:lnTo>
                    <a:pt x="14" y="345"/>
                  </a:lnTo>
                  <a:lnTo>
                    <a:pt x="14" y="343"/>
                  </a:lnTo>
                  <a:lnTo>
                    <a:pt x="14" y="341"/>
                  </a:lnTo>
                  <a:lnTo>
                    <a:pt x="14" y="339"/>
                  </a:lnTo>
                  <a:lnTo>
                    <a:pt x="14" y="337"/>
                  </a:lnTo>
                  <a:lnTo>
                    <a:pt x="14" y="335"/>
                  </a:lnTo>
                  <a:lnTo>
                    <a:pt x="14" y="333"/>
                  </a:lnTo>
                  <a:lnTo>
                    <a:pt x="14" y="331"/>
                  </a:lnTo>
                  <a:lnTo>
                    <a:pt x="12" y="331"/>
                  </a:lnTo>
                  <a:lnTo>
                    <a:pt x="12" y="329"/>
                  </a:lnTo>
                  <a:lnTo>
                    <a:pt x="12" y="327"/>
                  </a:lnTo>
                  <a:lnTo>
                    <a:pt x="12" y="325"/>
                  </a:lnTo>
                  <a:lnTo>
                    <a:pt x="12" y="323"/>
                  </a:lnTo>
                  <a:lnTo>
                    <a:pt x="12" y="321"/>
                  </a:lnTo>
                  <a:lnTo>
                    <a:pt x="12" y="319"/>
                  </a:lnTo>
                  <a:lnTo>
                    <a:pt x="10" y="319"/>
                  </a:lnTo>
                  <a:lnTo>
                    <a:pt x="10" y="317"/>
                  </a:lnTo>
                  <a:lnTo>
                    <a:pt x="10" y="315"/>
                  </a:lnTo>
                  <a:lnTo>
                    <a:pt x="10" y="315"/>
                  </a:lnTo>
                  <a:lnTo>
                    <a:pt x="10" y="313"/>
                  </a:lnTo>
                  <a:lnTo>
                    <a:pt x="10" y="311"/>
                  </a:lnTo>
                  <a:lnTo>
                    <a:pt x="8" y="311"/>
                  </a:lnTo>
                  <a:lnTo>
                    <a:pt x="10" y="311"/>
                  </a:lnTo>
                  <a:lnTo>
                    <a:pt x="8" y="311"/>
                  </a:lnTo>
                  <a:lnTo>
                    <a:pt x="8" y="311"/>
                  </a:lnTo>
                  <a:lnTo>
                    <a:pt x="10" y="311"/>
                  </a:lnTo>
                  <a:lnTo>
                    <a:pt x="10" y="309"/>
                  </a:lnTo>
                  <a:lnTo>
                    <a:pt x="10" y="307"/>
                  </a:lnTo>
                  <a:lnTo>
                    <a:pt x="10" y="305"/>
                  </a:lnTo>
                  <a:lnTo>
                    <a:pt x="10" y="303"/>
                  </a:lnTo>
                  <a:lnTo>
                    <a:pt x="10" y="303"/>
                  </a:lnTo>
                  <a:lnTo>
                    <a:pt x="10" y="301"/>
                  </a:lnTo>
                  <a:lnTo>
                    <a:pt x="10" y="299"/>
                  </a:lnTo>
                  <a:lnTo>
                    <a:pt x="10" y="301"/>
                  </a:lnTo>
                  <a:lnTo>
                    <a:pt x="10" y="299"/>
                  </a:lnTo>
                  <a:lnTo>
                    <a:pt x="10" y="301"/>
                  </a:lnTo>
                  <a:lnTo>
                    <a:pt x="10" y="299"/>
                  </a:lnTo>
                  <a:lnTo>
                    <a:pt x="10" y="301"/>
                  </a:lnTo>
                  <a:lnTo>
                    <a:pt x="12" y="301"/>
                  </a:lnTo>
                  <a:lnTo>
                    <a:pt x="12" y="299"/>
                  </a:lnTo>
                  <a:lnTo>
                    <a:pt x="12" y="297"/>
                  </a:lnTo>
                  <a:lnTo>
                    <a:pt x="10" y="297"/>
                  </a:lnTo>
                  <a:lnTo>
                    <a:pt x="10" y="299"/>
                  </a:lnTo>
                  <a:lnTo>
                    <a:pt x="10" y="297"/>
                  </a:lnTo>
                  <a:lnTo>
                    <a:pt x="12" y="297"/>
                  </a:lnTo>
                  <a:lnTo>
                    <a:pt x="12" y="295"/>
                  </a:lnTo>
                  <a:lnTo>
                    <a:pt x="14" y="295"/>
                  </a:lnTo>
                  <a:lnTo>
                    <a:pt x="14" y="297"/>
                  </a:lnTo>
                  <a:lnTo>
                    <a:pt x="16" y="297"/>
                  </a:lnTo>
                  <a:lnTo>
                    <a:pt x="18" y="297"/>
                  </a:lnTo>
                  <a:lnTo>
                    <a:pt x="18" y="295"/>
                  </a:lnTo>
                  <a:lnTo>
                    <a:pt x="20" y="295"/>
                  </a:lnTo>
                  <a:lnTo>
                    <a:pt x="20" y="293"/>
                  </a:lnTo>
                  <a:lnTo>
                    <a:pt x="22" y="293"/>
                  </a:lnTo>
                  <a:lnTo>
                    <a:pt x="22" y="291"/>
                  </a:lnTo>
                  <a:lnTo>
                    <a:pt x="22" y="289"/>
                  </a:lnTo>
                  <a:lnTo>
                    <a:pt x="24" y="289"/>
                  </a:lnTo>
                  <a:lnTo>
                    <a:pt x="26" y="289"/>
                  </a:lnTo>
                  <a:lnTo>
                    <a:pt x="26" y="287"/>
                  </a:lnTo>
                  <a:lnTo>
                    <a:pt x="26" y="289"/>
                  </a:lnTo>
                  <a:lnTo>
                    <a:pt x="24" y="289"/>
                  </a:lnTo>
                  <a:lnTo>
                    <a:pt x="24" y="287"/>
                  </a:lnTo>
                  <a:lnTo>
                    <a:pt x="24" y="285"/>
                  </a:lnTo>
                  <a:lnTo>
                    <a:pt x="26" y="285"/>
                  </a:lnTo>
                  <a:lnTo>
                    <a:pt x="24" y="285"/>
                  </a:lnTo>
                  <a:lnTo>
                    <a:pt x="24" y="287"/>
                  </a:lnTo>
                  <a:lnTo>
                    <a:pt x="24" y="285"/>
                  </a:lnTo>
                  <a:lnTo>
                    <a:pt x="24" y="283"/>
                  </a:lnTo>
                  <a:lnTo>
                    <a:pt x="24" y="281"/>
                  </a:lnTo>
                  <a:lnTo>
                    <a:pt x="24" y="279"/>
                  </a:lnTo>
                  <a:lnTo>
                    <a:pt x="22" y="279"/>
                  </a:lnTo>
                  <a:lnTo>
                    <a:pt x="22" y="277"/>
                  </a:lnTo>
                  <a:lnTo>
                    <a:pt x="20" y="277"/>
                  </a:lnTo>
                  <a:lnTo>
                    <a:pt x="20" y="279"/>
                  </a:lnTo>
                  <a:lnTo>
                    <a:pt x="20" y="277"/>
                  </a:lnTo>
                  <a:lnTo>
                    <a:pt x="18" y="277"/>
                  </a:lnTo>
                  <a:lnTo>
                    <a:pt x="16" y="277"/>
                  </a:lnTo>
                  <a:lnTo>
                    <a:pt x="16" y="275"/>
                  </a:lnTo>
                  <a:lnTo>
                    <a:pt x="14" y="275"/>
                  </a:lnTo>
                  <a:lnTo>
                    <a:pt x="14" y="273"/>
                  </a:lnTo>
                  <a:lnTo>
                    <a:pt x="14" y="271"/>
                  </a:lnTo>
                  <a:lnTo>
                    <a:pt x="12" y="271"/>
                  </a:lnTo>
                  <a:lnTo>
                    <a:pt x="12" y="269"/>
                  </a:lnTo>
                  <a:lnTo>
                    <a:pt x="12" y="267"/>
                  </a:lnTo>
                  <a:lnTo>
                    <a:pt x="12" y="265"/>
                  </a:lnTo>
                  <a:lnTo>
                    <a:pt x="12" y="263"/>
                  </a:lnTo>
                  <a:lnTo>
                    <a:pt x="10" y="263"/>
                  </a:lnTo>
                  <a:lnTo>
                    <a:pt x="10" y="263"/>
                  </a:lnTo>
                  <a:lnTo>
                    <a:pt x="10" y="261"/>
                  </a:lnTo>
                  <a:lnTo>
                    <a:pt x="10" y="259"/>
                  </a:lnTo>
                  <a:lnTo>
                    <a:pt x="10" y="257"/>
                  </a:lnTo>
                  <a:lnTo>
                    <a:pt x="10" y="255"/>
                  </a:lnTo>
                  <a:lnTo>
                    <a:pt x="10" y="257"/>
                  </a:lnTo>
                  <a:lnTo>
                    <a:pt x="10" y="255"/>
                  </a:lnTo>
                  <a:lnTo>
                    <a:pt x="12" y="255"/>
                  </a:lnTo>
                  <a:lnTo>
                    <a:pt x="12" y="253"/>
                  </a:lnTo>
                  <a:lnTo>
                    <a:pt x="12" y="251"/>
                  </a:lnTo>
                  <a:lnTo>
                    <a:pt x="14" y="251"/>
                  </a:lnTo>
                  <a:lnTo>
                    <a:pt x="14" y="249"/>
                  </a:lnTo>
                  <a:lnTo>
                    <a:pt x="14" y="247"/>
                  </a:lnTo>
                  <a:lnTo>
                    <a:pt x="14" y="245"/>
                  </a:lnTo>
                  <a:lnTo>
                    <a:pt x="14" y="243"/>
                  </a:lnTo>
                  <a:lnTo>
                    <a:pt x="14" y="241"/>
                  </a:lnTo>
                  <a:lnTo>
                    <a:pt x="14" y="239"/>
                  </a:lnTo>
                  <a:lnTo>
                    <a:pt x="14" y="241"/>
                  </a:lnTo>
                  <a:lnTo>
                    <a:pt x="14" y="239"/>
                  </a:lnTo>
                  <a:lnTo>
                    <a:pt x="14" y="237"/>
                  </a:lnTo>
                  <a:lnTo>
                    <a:pt x="16" y="237"/>
                  </a:lnTo>
                  <a:lnTo>
                    <a:pt x="16" y="235"/>
                  </a:lnTo>
                  <a:lnTo>
                    <a:pt x="18" y="235"/>
                  </a:lnTo>
                  <a:lnTo>
                    <a:pt x="18" y="233"/>
                  </a:lnTo>
                  <a:lnTo>
                    <a:pt x="18" y="231"/>
                  </a:lnTo>
                  <a:lnTo>
                    <a:pt x="20" y="231"/>
                  </a:lnTo>
                  <a:lnTo>
                    <a:pt x="20" y="229"/>
                  </a:lnTo>
                  <a:lnTo>
                    <a:pt x="20" y="227"/>
                  </a:lnTo>
                  <a:lnTo>
                    <a:pt x="20" y="229"/>
                  </a:lnTo>
                  <a:lnTo>
                    <a:pt x="22" y="229"/>
                  </a:lnTo>
                  <a:lnTo>
                    <a:pt x="22" y="227"/>
                  </a:lnTo>
                  <a:lnTo>
                    <a:pt x="22" y="229"/>
                  </a:lnTo>
                  <a:lnTo>
                    <a:pt x="24" y="229"/>
                  </a:lnTo>
                  <a:lnTo>
                    <a:pt x="26" y="229"/>
                  </a:lnTo>
                  <a:lnTo>
                    <a:pt x="24" y="229"/>
                  </a:lnTo>
                  <a:lnTo>
                    <a:pt x="24" y="231"/>
                  </a:lnTo>
                  <a:lnTo>
                    <a:pt x="26" y="231"/>
                  </a:lnTo>
                  <a:lnTo>
                    <a:pt x="24" y="231"/>
                  </a:lnTo>
                  <a:lnTo>
                    <a:pt x="26" y="231"/>
                  </a:lnTo>
                  <a:lnTo>
                    <a:pt x="24" y="231"/>
                  </a:lnTo>
                  <a:lnTo>
                    <a:pt x="26" y="231"/>
                  </a:lnTo>
                  <a:lnTo>
                    <a:pt x="24" y="231"/>
                  </a:lnTo>
                  <a:lnTo>
                    <a:pt x="26" y="231"/>
                  </a:lnTo>
                  <a:lnTo>
                    <a:pt x="24" y="231"/>
                  </a:lnTo>
                  <a:lnTo>
                    <a:pt x="26" y="231"/>
                  </a:lnTo>
                  <a:lnTo>
                    <a:pt x="24" y="231"/>
                  </a:lnTo>
                  <a:lnTo>
                    <a:pt x="24" y="233"/>
                  </a:lnTo>
                  <a:lnTo>
                    <a:pt x="24" y="235"/>
                  </a:lnTo>
                  <a:lnTo>
                    <a:pt x="24" y="233"/>
                  </a:lnTo>
                  <a:lnTo>
                    <a:pt x="24" y="235"/>
                  </a:lnTo>
                  <a:lnTo>
                    <a:pt x="22" y="235"/>
                  </a:lnTo>
                  <a:lnTo>
                    <a:pt x="22" y="237"/>
                  </a:lnTo>
                  <a:lnTo>
                    <a:pt x="20" y="237"/>
                  </a:lnTo>
                  <a:lnTo>
                    <a:pt x="22" y="237"/>
                  </a:lnTo>
                  <a:lnTo>
                    <a:pt x="20" y="237"/>
                  </a:lnTo>
                  <a:lnTo>
                    <a:pt x="22" y="237"/>
                  </a:lnTo>
                  <a:lnTo>
                    <a:pt x="20" y="237"/>
                  </a:lnTo>
                  <a:lnTo>
                    <a:pt x="22" y="237"/>
                  </a:lnTo>
                  <a:lnTo>
                    <a:pt x="20" y="237"/>
                  </a:lnTo>
                  <a:lnTo>
                    <a:pt x="20" y="239"/>
                  </a:lnTo>
                  <a:lnTo>
                    <a:pt x="22" y="239"/>
                  </a:lnTo>
                  <a:lnTo>
                    <a:pt x="20" y="239"/>
                  </a:lnTo>
                  <a:lnTo>
                    <a:pt x="20" y="241"/>
                  </a:lnTo>
                  <a:lnTo>
                    <a:pt x="22" y="241"/>
                  </a:lnTo>
                  <a:lnTo>
                    <a:pt x="22" y="243"/>
                  </a:lnTo>
                  <a:lnTo>
                    <a:pt x="24" y="243"/>
                  </a:lnTo>
                  <a:lnTo>
                    <a:pt x="22" y="243"/>
                  </a:lnTo>
                  <a:lnTo>
                    <a:pt x="24" y="243"/>
                  </a:lnTo>
                  <a:lnTo>
                    <a:pt x="22" y="243"/>
                  </a:lnTo>
                  <a:lnTo>
                    <a:pt x="24" y="243"/>
                  </a:lnTo>
                  <a:lnTo>
                    <a:pt x="22" y="243"/>
                  </a:lnTo>
                  <a:lnTo>
                    <a:pt x="22" y="245"/>
                  </a:lnTo>
                  <a:lnTo>
                    <a:pt x="24" y="245"/>
                  </a:lnTo>
                  <a:lnTo>
                    <a:pt x="22" y="243"/>
                  </a:lnTo>
                  <a:lnTo>
                    <a:pt x="22" y="245"/>
                  </a:lnTo>
                  <a:lnTo>
                    <a:pt x="22" y="243"/>
                  </a:lnTo>
                  <a:lnTo>
                    <a:pt x="24" y="243"/>
                  </a:lnTo>
                  <a:lnTo>
                    <a:pt x="24" y="245"/>
                  </a:lnTo>
                  <a:lnTo>
                    <a:pt x="22" y="245"/>
                  </a:lnTo>
                  <a:lnTo>
                    <a:pt x="24" y="245"/>
                  </a:lnTo>
                  <a:lnTo>
                    <a:pt x="26" y="245"/>
                  </a:lnTo>
                  <a:lnTo>
                    <a:pt x="24" y="247"/>
                  </a:lnTo>
                  <a:lnTo>
                    <a:pt x="24" y="245"/>
                  </a:lnTo>
                  <a:lnTo>
                    <a:pt x="24" y="247"/>
                  </a:lnTo>
                  <a:lnTo>
                    <a:pt x="24" y="249"/>
                  </a:lnTo>
                  <a:lnTo>
                    <a:pt x="24" y="247"/>
                  </a:lnTo>
                  <a:lnTo>
                    <a:pt x="24" y="249"/>
                  </a:lnTo>
                  <a:lnTo>
                    <a:pt x="24" y="247"/>
                  </a:lnTo>
                  <a:lnTo>
                    <a:pt x="26" y="247"/>
                  </a:lnTo>
                  <a:lnTo>
                    <a:pt x="26" y="249"/>
                  </a:lnTo>
                  <a:lnTo>
                    <a:pt x="26" y="251"/>
                  </a:lnTo>
                  <a:lnTo>
                    <a:pt x="26" y="249"/>
                  </a:lnTo>
                  <a:lnTo>
                    <a:pt x="26" y="251"/>
                  </a:lnTo>
                  <a:lnTo>
                    <a:pt x="26" y="249"/>
                  </a:lnTo>
                  <a:lnTo>
                    <a:pt x="28" y="249"/>
                  </a:lnTo>
                  <a:lnTo>
                    <a:pt x="28" y="251"/>
                  </a:lnTo>
                  <a:lnTo>
                    <a:pt x="28" y="253"/>
                  </a:lnTo>
                  <a:lnTo>
                    <a:pt x="28" y="251"/>
                  </a:lnTo>
                  <a:lnTo>
                    <a:pt x="30" y="251"/>
                  </a:lnTo>
                  <a:lnTo>
                    <a:pt x="30" y="253"/>
                  </a:lnTo>
                  <a:lnTo>
                    <a:pt x="32" y="253"/>
                  </a:lnTo>
                  <a:lnTo>
                    <a:pt x="32" y="255"/>
                  </a:lnTo>
                  <a:lnTo>
                    <a:pt x="34" y="255"/>
                  </a:lnTo>
                  <a:lnTo>
                    <a:pt x="32" y="255"/>
                  </a:lnTo>
                  <a:lnTo>
                    <a:pt x="32" y="253"/>
                  </a:lnTo>
                  <a:lnTo>
                    <a:pt x="30" y="253"/>
                  </a:lnTo>
                  <a:lnTo>
                    <a:pt x="30" y="251"/>
                  </a:lnTo>
                  <a:lnTo>
                    <a:pt x="32" y="251"/>
                  </a:lnTo>
                  <a:lnTo>
                    <a:pt x="32" y="253"/>
                  </a:lnTo>
                  <a:lnTo>
                    <a:pt x="32" y="251"/>
                  </a:lnTo>
                  <a:lnTo>
                    <a:pt x="30" y="251"/>
                  </a:lnTo>
                  <a:lnTo>
                    <a:pt x="28" y="251"/>
                  </a:lnTo>
                  <a:lnTo>
                    <a:pt x="28" y="249"/>
                  </a:lnTo>
                  <a:lnTo>
                    <a:pt x="30" y="249"/>
                  </a:lnTo>
                  <a:lnTo>
                    <a:pt x="30" y="247"/>
                  </a:lnTo>
                  <a:lnTo>
                    <a:pt x="30" y="245"/>
                  </a:lnTo>
                  <a:lnTo>
                    <a:pt x="30" y="243"/>
                  </a:lnTo>
                  <a:lnTo>
                    <a:pt x="30" y="241"/>
                  </a:lnTo>
                  <a:lnTo>
                    <a:pt x="30" y="239"/>
                  </a:lnTo>
                  <a:lnTo>
                    <a:pt x="30" y="237"/>
                  </a:lnTo>
                  <a:lnTo>
                    <a:pt x="30" y="239"/>
                  </a:lnTo>
                  <a:lnTo>
                    <a:pt x="28" y="237"/>
                  </a:lnTo>
                  <a:lnTo>
                    <a:pt x="28" y="235"/>
                  </a:lnTo>
                  <a:lnTo>
                    <a:pt x="30" y="235"/>
                  </a:lnTo>
                  <a:lnTo>
                    <a:pt x="30" y="237"/>
                  </a:lnTo>
                  <a:lnTo>
                    <a:pt x="30" y="235"/>
                  </a:lnTo>
                  <a:lnTo>
                    <a:pt x="30" y="237"/>
                  </a:lnTo>
                  <a:lnTo>
                    <a:pt x="30" y="235"/>
                  </a:lnTo>
                  <a:lnTo>
                    <a:pt x="32" y="235"/>
                  </a:lnTo>
                  <a:lnTo>
                    <a:pt x="30" y="235"/>
                  </a:lnTo>
                  <a:lnTo>
                    <a:pt x="32" y="235"/>
                  </a:lnTo>
                  <a:lnTo>
                    <a:pt x="30" y="235"/>
                  </a:lnTo>
                  <a:lnTo>
                    <a:pt x="32" y="235"/>
                  </a:lnTo>
                  <a:lnTo>
                    <a:pt x="30" y="235"/>
                  </a:lnTo>
                  <a:lnTo>
                    <a:pt x="30" y="233"/>
                  </a:lnTo>
                  <a:lnTo>
                    <a:pt x="30" y="231"/>
                  </a:lnTo>
                  <a:lnTo>
                    <a:pt x="28" y="231"/>
                  </a:lnTo>
                  <a:lnTo>
                    <a:pt x="28" y="229"/>
                  </a:lnTo>
                  <a:lnTo>
                    <a:pt x="30" y="229"/>
                  </a:lnTo>
                  <a:lnTo>
                    <a:pt x="30" y="231"/>
                  </a:lnTo>
                  <a:lnTo>
                    <a:pt x="30" y="229"/>
                  </a:lnTo>
                  <a:lnTo>
                    <a:pt x="30" y="227"/>
                  </a:lnTo>
                  <a:lnTo>
                    <a:pt x="30" y="229"/>
                  </a:lnTo>
                  <a:lnTo>
                    <a:pt x="30" y="227"/>
                  </a:lnTo>
                  <a:lnTo>
                    <a:pt x="30" y="225"/>
                  </a:lnTo>
                  <a:lnTo>
                    <a:pt x="30" y="227"/>
                  </a:lnTo>
                  <a:lnTo>
                    <a:pt x="30" y="225"/>
                  </a:lnTo>
                  <a:lnTo>
                    <a:pt x="30" y="223"/>
                  </a:lnTo>
                  <a:lnTo>
                    <a:pt x="28" y="223"/>
                  </a:lnTo>
                  <a:lnTo>
                    <a:pt x="28" y="225"/>
                  </a:lnTo>
                  <a:lnTo>
                    <a:pt x="30" y="225"/>
                  </a:lnTo>
                  <a:lnTo>
                    <a:pt x="28" y="225"/>
                  </a:lnTo>
                  <a:lnTo>
                    <a:pt x="28" y="223"/>
                  </a:lnTo>
                  <a:lnTo>
                    <a:pt x="28" y="221"/>
                  </a:lnTo>
                  <a:lnTo>
                    <a:pt x="30" y="221"/>
                  </a:lnTo>
                  <a:lnTo>
                    <a:pt x="32" y="221"/>
                  </a:lnTo>
                  <a:lnTo>
                    <a:pt x="32" y="219"/>
                  </a:lnTo>
                  <a:lnTo>
                    <a:pt x="32" y="221"/>
                  </a:lnTo>
                  <a:lnTo>
                    <a:pt x="34" y="221"/>
                  </a:lnTo>
                  <a:lnTo>
                    <a:pt x="36" y="221"/>
                  </a:lnTo>
                  <a:lnTo>
                    <a:pt x="36" y="219"/>
                  </a:lnTo>
                  <a:lnTo>
                    <a:pt x="38" y="219"/>
                  </a:lnTo>
                  <a:lnTo>
                    <a:pt x="38" y="221"/>
                  </a:lnTo>
                  <a:lnTo>
                    <a:pt x="40" y="221"/>
                  </a:lnTo>
                  <a:lnTo>
                    <a:pt x="40" y="223"/>
                  </a:lnTo>
                  <a:lnTo>
                    <a:pt x="42" y="223"/>
                  </a:lnTo>
                  <a:lnTo>
                    <a:pt x="44" y="223"/>
                  </a:lnTo>
                  <a:lnTo>
                    <a:pt x="44" y="225"/>
                  </a:lnTo>
                  <a:lnTo>
                    <a:pt x="46" y="225"/>
                  </a:lnTo>
                  <a:lnTo>
                    <a:pt x="48" y="225"/>
                  </a:lnTo>
                  <a:lnTo>
                    <a:pt x="48" y="227"/>
                  </a:lnTo>
                  <a:lnTo>
                    <a:pt x="50" y="227"/>
                  </a:lnTo>
                  <a:lnTo>
                    <a:pt x="52" y="227"/>
                  </a:lnTo>
                  <a:lnTo>
                    <a:pt x="50" y="227"/>
                  </a:lnTo>
                  <a:lnTo>
                    <a:pt x="50" y="229"/>
                  </a:lnTo>
                  <a:lnTo>
                    <a:pt x="52" y="229"/>
                  </a:lnTo>
                  <a:lnTo>
                    <a:pt x="50" y="229"/>
                  </a:lnTo>
                  <a:lnTo>
                    <a:pt x="52" y="229"/>
                  </a:lnTo>
                  <a:lnTo>
                    <a:pt x="50" y="229"/>
                  </a:lnTo>
                  <a:lnTo>
                    <a:pt x="52" y="229"/>
                  </a:lnTo>
                  <a:lnTo>
                    <a:pt x="52" y="231"/>
                  </a:lnTo>
                  <a:lnTo>
                    <a:pt x="54" y="231"/>
                  </a:lnTo>
                  <a:lnTo>
                    <a:pt x="56" y="231"/>
                  </a:lnTo>
                  <a:lnTo>
                    <a:pt x="56" y="233"/>
                  </a:lnTo>
                  <a:lnTo>
                    <a:pt x="56" y="231"/>
                  </a:lnTo>
                  <a:lnTo>
                    <a:pt x="56" y="233"/>
                  </a:lnTo>
                  <a:lnTo>
                    <a:pt x="56" y="231"/>
                  </a:lnTo>
                  <a:lnTo>
                    <a:pt x="56" y="233"/>
                  </a:lnTo>
                  <a:lnTo>
                    <a:pt x="58" y="233"/>
                  </a:lnTo>
                  <a:lnTo>
                    <a:pt x="56" y="231"/>
                  </a:lnTo>
                  <a:lnTo>
                    <a:pt x="58" y="231"/>
                  </a:lnTo>
                  <a:lnTo>
                    <a:pt x="58" y="231"/>
                  </a:lnTo>
                  <a:lnTo>
                    <a:pt x="58" y="229"/>
                  </a:lnTo>
                  <a:lnTo>
                    <a:pt x="60" y="229"/>
                  </a:lnTo>
                  <a:lnTo>
                    <a:pt x="60" y="231"/>
                  </a:lnTo>
                  <a:lnTo>
                    <a:pt x="62" y="231"/>
                  </a:lnTo>
                  <a:lnTo>
                    <a:pt x="62" y="229"/>
                  </a:lnTo>
                  <a:lnTo>
                    <a:pt x="62" y="231"/>
                  </a:lnTo>
                  <a:lnTo>
                    <a:pt x="60" y="231"/>
                  </a:lnTo>
                  <a:lnTo>
                    <a:pt x="60" y="229"/>
                  </a:lnTo>
                  <a:lnTo>
                    <a:pt x="60" y="231"/>
                  </a:lnTo>
                  <a:lnTo>
                    <a:pt x="60" y="229"/>
                  </a:lnTo>
                  <a:lnTo>
                    <a:pt x="58" y="229"/>
                  </a:lnTo>
                  <a:lnTo>
                    <a:pt x="58" y="231"/>
                  </a:lnTo>
                  <a:lnTo>
                    <a:pt x="58" y="231"/>
                  </a:lnTo>
                  <a:lnTo>
                    <a:pt x="56" y="231"/>
                  </a:lnTo>
                  <a:lnTo>
                    <a:pt x="54" y="231"/>
                  </a:lnTo>
                  <a:lnTo>
                    <a:pt x="54" y="229"/>
                  </a:lnTo>
                  <a:lnTo>
                    <a:pt x="54" y="227"/>
                  </a:lnTo>
                  <a:lnTo>
                    <a:pt x="54" y="229"/>
                  </a:lnTo>
                  <a:lnTo>
                    <a:pt x="54" y="231"/>
                  </a:lnTo>
                  <a:lnTo>
                    <a:pt x="54" y="229"/>
                  </a:lnTo>
                  <a:lnTo>
                    <a:pt x="54" y="231"/>
                  </a:lnTo>
                  <a:lnTo>
                    <a:pt x="54" y="229"/>
                  </a:lnTo>
                  <a:lnTo>
                    <a:pt x="56" y="229"/>
                  </a:lnTo>
                  <a:lnTo>
                    <a:pt x="58" y="229"/>
                  </a:lnTo>
                  <a:lnTo>
                    <a:pt x="58" y="229"/>
                  </a:lnTo>
                  <a:lnTo>
                    <a:pt x="58" y="227"/>
                  </a:lnTo>
                  <a:lnTo>
                    <a:pt x="60" y="227"/>
                  </a:lnTo>
                  <a:lnTo>
                    <a:pt x="60" y="225"/>
                  </a:lnTo>
                  <a:lnTo>
                    <a:pt x="60" y="227"/>
                  </a:lnTo>
                  <a:lnTo>
                    <a:pt x="58" y="227"/>
                  </a:lnTo>
                  <a:lnTo>
                    <a:pt x="58" y="227"/>
                  </a:lnTo>
                  <a:lnTo>
                    <a:pt x="58" y="229"/>
                  </a:lnTo>
                  <a:lnTo>
                    <a:pt x="58" y="227"/>
                  </a:lnTo>
                  <a:lnTo>
                    <a:pt x="58" y="229"/>
                  </a:lnTo>
                  <a:lnTo>
                    <a:pt x="56" y="229"/>
                  </a:lnTo>
                  <a:lnTo>
                    <a:pt x="54" y="229"/>
                  </a:lnTo>
                  <a:lnTo>
                    <a:pt x="54" y="227"/>
                  </a:lnTo>
                  <a:lnTo>
                    <a:pt x="52" y="227"/>
                  </a:lnTo>
                  <a:lnTo>
                    <a:pt x="50" y="227"/>
                  </a:lnTo>
                  <a:lnTo>
                    <a:pt x="50" y="225"/>
                  </a:lnTo>
                  <a:lnTo>
                    <a:pt x="52" y="225"/>
                  </a:lnTo>
                  <a:lnTo>
                    <a:pt x="50" y="225"/>
                  </a:lnTo>
                  <a:lnTo>
                    <a:pt x="48" y="225"/>
                  </a:lnTo>
                  <a:lnTo>
                    <a:pt x="48" y="223"/>
                  </a:lnTo>
                  <a:lnTo>
                    <a:pt x="50" y="223"/>
                  </a:lnTo>
                  <a:lnTo>
                    <a:pt x="50" y="221"/>
                  </a:lnTo>
                  <a:lnTo>
                    <a:pt x="48" y="221"/>
                  </a:lnTo>
                  <a:lnTo>
                    <a:pt x="46" y="221"/>
                  </a:lnTo>
                  <a:lnTo>
                    <a:pt x="46" y="219"/>
                  </a:lnTo>
                  <a:lnTo>
                    <a:pt x="46" y="221"/>
                  </a:lnTo>
                  <a:lnTo>
                    <a:pt x="44" y="221"/>
                  </a:lnTo>
                  <a:lnTo>
                    <a:pt x="42" y="223"/>
                  </a:lnTo>
                  <a:lnTo>
                    <a:pt x="40" y="223"/>
                  </a:lnTo>
                  <a:lnTo>
                    <a:pt x="40" y="221"/>
                  </a:lnTo>
                  <a:lnTo>
                    <a:pt x="38" y="221"/>
                  </a:lnTo>
                  <a:lnTo>
                    <a:pt x="38" y="219"/>
                  </a:lnTo>
                  <a:lnTo>
                    <a:pt x="38" y="217"/>
                  </a:lnTo>
                  <a:lnTo>
                    <a:pt x="38" y="217"/>
                  </a:lnTo>
                  <a:lnTo>
                    <a:pt x="38" y="217"/>
                  </a:lnTo>
                  <a:lnTo>
                    <a:pt x="38" y="219"/>
                  </a:lnTo>
                  <a:lnTo>
                    <a:pt x="36" y="219"/>
                  </a:lnTo>
                  <a:lnTo>
                    <a:pt x="36" y="217"/>
                  </a:lnTo>
                  <a:lnTo>
                    <a:pt x="36" y="217"/>
                  </a:lnTo>
                  <a:lnTo>
                    <a:pt x="36" y="215"/>
                  </a:lnTo>
                  <a:lnTo>
                    <a:pt x="34" y="215"/>
                  </a:lnTo>
                  <a:lnTo>
                    <a:pt x="34" y="213"/>
                  </a:lnTo>
                  <a:lnTo>
                    <a:pt x="34" y="215"/>
                  </a:lnTo>
                  <a:lnTo>
                    <a:pt x="32" y="215"/>
                  </a:lnTo>
                  <a:lnTo>
                    <a:pt x="30" y="215"/>
                  </a:lnTo>
                  <a:lnTo>
                    <a:pt x="28" y="217"/>
                  </a:lnTo>
                  <a:lnTo>
                    <a:pt x="26" y="217"/>
                  </a:lnTo>
                  <a:lnTo>
                    <a:pt x="26" y="217"/>
                  </a:lnTo>
                  <a:lnTo>
                    <a:pt x="28" y="217"/>
                  </a:lnTo>
                  <a:lnTo>
                    <a:pt x="28" y="219"/>
                  </a:lnTo>
                  <a:lnTo>
                    <a:pt x="26" y="219"/>
                  </a:lnTo>
                  <a:lnTo>
                    <a:pt x="24" y="219"/>
                  </a:lnTo>
                  <a:lnTo>
                    <a:pt x="26" y="219"/>
                  </a:lnTo>
                  <a:lnTo>
                    <a:pt x="26" y="221"/>
                  </a:lnTo>
                  <a:lnTo>
                    <a:pt x="24" y="221"/>
                  </a:lnTo>
                  <a:lnTo>
                    <a:pt x="24" y="219"/>
                  </a:lnTo>
                  <a:lnTo>
                    <a:pt x="22" y="219"/>
                  </a:lnTo>
                  <a:lnTo>
                    <a:pt x="24" y="219"/>
                  </a:lnTo>
                  <a:lnTo>
                    <a:pt x="24" y="221"/>
                  </a:lnTo>
                  <a:lnTo>
                    <a:pt x="24" y="223"/>
                  </a:lnTo>
                  <a:lnTo>
                    <a:pt x="26" y="223"/>
                  </a:lnTo>
                  <a:lnTo>
                    <a:pt x="26" y="225"/>
                  </a:lnTo>
                  <a:lnTo>
                    <a:pt x="24" y="225"/>
                  </a:lnTo>
                  <a:lnTo>
                    <a:pt x="24" y="223"/>
                  </a:lnTo>
                  <a:lnTo>
                    <a:pt x="22" y="223"/>
                  </a:lnTo>
                  <a:lnTo>
                    <a:pt x="24" y="223"/>
                  </a:lnTo>
                  <a:lnTo>
                    <a:pt x="22" y="223"/>
                  </a:lnTo>
                  <a:lnTo>
                    <a:pt x="22" y="225"/>
                  </a:lnTo>
                  <a:lnTo>
                    <a:pt x="24" y="225"/>
                  </a:lnTo>
                  <a:lnTo>
                    <a:pt x="22" y="225"/>
                  </a:lnTo>
                  <a:lnTo>
                    <a:pt x="24" y="225"/>
                  </a:lnTo>
                  <a:lnTo>
                    <a:pt x="22" y="225"/>
                  </a:lnTo>
                  <a:lnTo>
                    <a:pt x="22" y="227"/>
                  </a:lnTo>
                  <a:lnTo>
                    <a:pt x="22" y="225"/>
                  </a:lnTo>
                  <a:lnTo>
                    <a:pt x="20" y="225"/>
                  </a:lnTo>
                  <a:lnTo>
                    <a:pt x="20" y="227"/>
                  </a:lnTo>
                  <a:lnTo>
                    <a:pt x="20" y="225"/>
                  </a:lnTo>
                  <a:lnTo>
                    <a:pt x="20" y="223"/>
                  </a:lnTo>
                  <a:lnTo>
                    <a:pt x="18" y="223"/>
                  </a:lnTo>
                  <a:lnTo>
                    <a:pt x="20" y="223"/>
                  </a:lnTo>
                  <a:lnTo>
                    <a:pt x="18" y="223"/>
                  </a:lnTo>
                  <a:lnTo>
                    <a:pt x="18" y="221"/>
                  </a:lnTo>
                  <a:lnTo>
                    <a:pt x="18" y="219"/>
                  </a:lnTo>
                  <a:lnTo>
                    <a:pt x="16" y="219"/>
                  </a:lnTo>
                  <a:lnTo>
                    <a:pt x="18" y="219"/>
                  </a:lnTo>
                  <a:lnTo>
                    <a:pt x="18" y="217"/>
                  </a:lnTo>
                  <a:lnTo>
                    <a:pt x="16" y="217"/>
                  </a:lnTo>
                  <a:lnTo>
                    <a:pt x="16" y="219"/>
                  </a:lnTo>
                  <a:lnTo>
                    <a:pt x="14" y="217"/>
                  </a:lnTo>
                  <a:lnTo>
                    <a:pt x="14" y="217"/>
                  </a:lnTo>
                  <a:lnTo>
                    <a:pt x="14" y="215"/>
                  </a:lnTo>
                  <a:lnTo>
                    <a:pt x="14" y="213"/>
                  </a:lnTo>
                  <a:lnTo>
                    <a:pt x="12" y="213"/>
                  </a:lnTo>
                  <a:lnTo>
                    <a:pt x="12" y="211"/>
                  </a:lnTo>
                  <a:lnTo>
                    <a:pt x="12" y="209"/>
                  </a:lnTo>
                  <a:lnTo>
                    <a:pt x="10" y="209"/>
                  </a:lnTo>
                  <a:lnTo>
                    <a:pt x="12" y="209"/>
                  </a:lnTo>
                  <a:lnTo>
                    <a:pt x="12" y="211"/>
                  </a:lnTo>
                  <a:lnTo>
                    <a:pt x="12" y="209"/>
                  </a:lnTo>
                  <a:lnTo>
                    <a:pt x="10" y="209"/>
                  </a:lnTo>
                  <a:lnTo>
                    <a:pt x="12" y="207"/>
                  </a:lnTo>
                  <a:lnTo>
                    <a:pt x="12" y="209"/>
                  </a:lnTo>
                  <a:lnTo>
                    <a:pt x="12" y="207"/>
                  </a:lnTo>
                  <a:lnTo>
                    <a:pt x="10" y="207"/>
                  </a:lnTo>
                  <a:lnTo>
                    <a:pt x="12" y="207"/>
                  </a:lnTo>
                  <a:lnTo>
                    <a:pt x="10" y="207"/>
                  </a:lnTo>
                  <a:lnTo>
                    <a:pt x="10" y="209"/>
                  </a:lnTo>
                  <a:lnTo>
                    <a:pt x="10" y="207"/>
                  </a:lnTo>
                  <a:lnTo>
                    <a:pt x="10" y="209"/>
                  </a:lnTo>
                  <a:lnTo>
                    <a:pt x="10" y="209"/>
                  </a:lnTo>
                  <a:lnTo>
                    <a:pt x="10" y="211"/>
                  </a:lnTo>
                  <a:lnTo>
                    <a:pt x="8" y="211"/>
                  </a:lnTo>
                  <a:lnTo>
                    <a:pt x="8" y="209"/>
                  </a:lnTo>
                  <a:lnTo>
                    <a:pt x="10" y="209"/>
                  </a:lnTo>
                  <a:lnTo>
                    <a:pt x="10" y="207"/>
                  </a:lnTo>
                  <a:lnTo>
                    <a:pt x="10" y="207"/>
                  </a:lnTo>
                  <a:lnTo>
                    <a:pt x="10" y="205"/>
                  </a:lnTo>
                  <a:lnTo>
                    <a:pt x="12" y="205"/>
                  </a:lnTo>
                  <a:lnTo>
                    <a:pt x="12" y="203"/>
                  </a:lnTo>
                  <a:lnTo>
                    <a:pt x="12" y="201"/>
                  </a:lnTo>
                  <a:lnTo>
                    <a:pt x="14" y="201"/>
                  </a:lnTo>
                  <a:lnTo>
                    <a:pt x="14" y="199"/>
                  </a:lnTo>
                  <a:lnTo>
                    <a:pt x="12" y="199"/>
                  </a:lnTo>
                  <a:lnTo>
                    <a:pt x="14" y="199"/>
                  </a:lnTo>
                  <a:lnTo>
                    <a:pt x="12" y="199"/>
                  </a:lnTo>
                  <a:lnTo>
                    <a:pt x="14" y="199"/>
                  </a:lnTo>
                  <a:lnTo>
                    <a:pt x="12" y="199"/>
                  </a:lnTo>
                  <a:lnTo>
                    <a:pt x="14" y="199"/>
                  </a:lnTo>
                  <a:lnTo>
                    <a:pt x="12" y="199"/>
                  </a:lnTo>
                  <a:lnTo>
                    <a:pt x="14" y="199"/>
                  </a:lnTo>
                  <a:lnTo>
                    <a:pt x="12" y="197"/>
                  </a:lnTo>
                  <a:lnTo>
                    <a:pt x="14" y="197"/>
                  </a:lnTo>
                  <a:lnTo>
                    <a:pt x="12" y="197"/>
                  </a:lnTo>
                  <a:lnTo>
                    <a:pt x="14" y="197"/>
                  </a:lnTo>
                  <a:lnTo>
                    <a:pt x="14" y="199"/>
                  </a:lnTo>
                  <a:lnTo>
                    <a:pt x="14" y="201"/>
                  </a:lnTo>
                  <a:lnTo>
                    <a:pt x="14" y="203"/>
                  </a:lnTo>
                  <a:lnTo>
                    <a:pt x="14" y="205"/>
                  </a:lnTo>
                  <a:lnTo>
                    <a:pt x="14" y="207"/>
                  </a:lnTo>
                  <a:lnTo>
                    <a:pt x="14" y="209"/>
                  </a:lnTo>
                  <a:lnTo>
                    <a:pt x="16" y="209"/>
                  </a:lnTo>
                  <a:lnTo>
                    <a:pt x="16" y="207"/>
                  </a:lnTo>
                  <a:lnTo>
                    <a:pt x="14" y="207"/>
                  </a:lnTo>
                  <a:lnTo>
                    <a:pt x="16" y="207"/>
                  </a:lnTo>
                  <a:lnTo>
                    <a:pt x="16" y="205"/>
                  </a:lnTo>
                  <a:lnTo>
                    <a:pt x="14" y="205"/>
                  </a:lnTo>
                  <a:lnTo>
                    <a:pt x="14" y="203"/>
                  </a:lnTo>
                  <a:lnTo>
                    <a:pt x="14" y="201"/>
                  </a:lnTo>
                  <a:lnTo>
                    <a:pt x="16" y="201"/>
                  </a:lnTo>
                  <a:lnTo>
                    <a:pt x="14" y="201"/>
                  </a:lnTo>
                  <a:lnTo>
                    <a:pt x="14" y="199"/>
                  </a:lnTo>
                  <a:lnTo>
                    <a:pt x="14" y="197"/>
                  </a:lnTo>
                  <a:lnTo>
                    <a:pt x="16" y="197"/>
                  </a:lnTo>
                  <a:lnTo>
                    <a:pt x="14" y="197"/>
                  </a:lnTo>
                  <a:lnTo>
                    <a:pt x="14" y="195"/>
                  </a:lnTo>
                  <a:lnTo>
                    <a:pt x="14" y="193"/>
                  </a:lnTo>
                  <a:lnTo>
                    <a:pt x="12" y="193"/>
                  </a:lnTo>
                  <a:lnTo>
                    <a:pt x="14" y="193"/>
                  </a:lnTo>
                  <a:lnTo>
                    <a:pt x="14" y="191"/>
                  </a:lnTo>
                  <a:lnTo>
                    <a:pt x="12" y="191"/>
                  </a:lnTo>
                  <a:lnTo>
                    <a:pt x="12" y="193"/>
                  </a:lnTo>
                  <a:lnTo>
                    <a:pt x="12" y="191"/>
                  </a:lnTo>
                  <a:lnTo>
                    <a:pt x="12" y="193"/>
                  </a:lnTo>
                  <a:lnTo>
                    <a:pt x="12" y="191"/>
                  </a:lnTo>
                  <a:lnTo>
                    <a:pt x="14" y="191"/>
                  </a:lnTo>
                  <a:lnTo>
                    <a:pt x="14" y="189"/>
                  </a:lnTo>
                  <a:lnTo>
                    <a:pt x="14" y="187"/>
                  </a:lnTo>
                  <a:lnTo>
                    <a:pt x="14" y="185"/>
                  </a:lnTo>
                  <a:lnTo>
                    <a:pt x="12" y="185"/>
                  </a:lnTo>
                  <a:lnTo>
                    <a:pt x="14" y="185"/>
                  </a:lnTo>
                  <a:lnTo>
                    <a:pt x="12" y="183"/>
                  </a:lnTo>
                  <a:lnTo>
                    <a:pt x="12" y="181"/>
                  </a:lnTo>
                  <a:lnTo>
                    <a:pt x="10" y="181"/>
                  </a:lnTo>
                  <a:lnTo>
                    <a:pt x="10" y="179"/>
                  </a:lnTo>
                  <a:lnTo>
                    <a:pt x="10" y="177"/>
                  </a:lnTo>
                  <a:lnTo>
                    <a:pt x="10" y="175"/>
                  </a:lnTo>
                  <a:lnTo>
                    <a:pt x="10" y="175"/>
                  </a:lnTo>
                  <a:lnTo>
                    <a:pt x="10" y="175"/>
                  </a:lnTo>
                  <a:lnTo>
                    <a:pt x="10" y="175"/>
                  </a:lnTo>
                  <a:lnTo>
                    <a:pt x="10" y="173"/>
                  </a:lnTo>
                  <a:lnTo>
                    <a:pt x="10" y="171"/>
                  </a:lnTo>
                  <a:lnTo>
                    <a:pt x="10" y="169"/>
                  </a:lnTo>
                  <a:lnTo>
                    <a:pt x="10" y="169"/>
                  </a:lnTo>
                  <a:lnTo>
                    <a:pt x="10" y="167"/>
                  </a:lnTo>
                  <a:lnTo>
                    <a:pt x="10" y="164"/>
                  </a:lnTo>
                  <a:lnTo>
                    <a:pt x="8" y="164"/>
                  </a:lnTo>
                  <a:lnTo>
                    <a:pt x="8" y="162"/>
                  </a:lnTo>
                  <a:lnTo>
                    <a:pt x="10" y="162"/>
                  </a:lnTo>
                  <a:lnTo>
                    <a:pt x="8" y="162"/>
                  </a:lnTo>
                  <a:lnTo>
                    <a:pt x="8" y="160"/>
                  </a:lnTo>
                  <a:lnTo>
                    <a:pt x="8" y="158"/>
                  </a:lnTo>
                  <a:lnTo>
                    <a:pt x="6" y="158"/>
                  </a:lnTo>
                  <a:lnTo>
                    <a:pt x="8" y="158"/>
                  </a:lnTo>
                  <a:lnTo>
                    <a:pt x="6" y="158"/>
                  </a:lnTo>
                  <a:lnTo>
                    <a:pt x="6" y="156"/>
                  </a:lnTo>
                  <a:lnTo>
                    <a:pt x="6" y="154"/>
                  </a:lnTo>
                  <a:lnTo>
                    <a:pt x="6" y="152"/>
                  </a:lnTo>
                  <a:lnTo>
                    <a:pt x="6" y="150"/>
                  </a:lnTo>
                  <a:lnTo>
                    <a:pt x="4" y="150"/>
                  </a:lnTo>
                  <a:lnTo>
                    <a:pt x="6" y="150"/>
                  </a:lnTo>
                  <a:lnTo>
                    <a:pt x="6" y="148"/>
                  </a:lnTo>
                  <a:lnTo>
                    <a:pt x="8" y="148"/>
                  </a:lnTo>
                  <a:lnTo>
                    <a:pt x="8" y="146"/>
                  </a:lnTo>
                  <a:lnTo>
                    <a:pt x="10" y="146"/>
                  </a:lnTo>
                  <a:lnTo>
                    <a:pt x="10" y="144"/>
                  </a:lnTo>
                  <a:lnTo>
                    <a:pt x="10" y="142"/>
                  </a:lnTo>
                  <a:lnTo>
                    <a:pt x="10" y="140"/>
                  </a:lnTo>
                  <a:lnTo>
                    <a:pt x="10" y="138"/>
                  </a:lnTo>
                  <a:lnTo>
                    <a:pt x="10" y="140"/>
                  </a:lnTo>
                  <a:lnTo>
                    <a:pt x="10" y="138"/>
                  </a:lnTo>
                  <a:lnTo>
                    <a:pt x="10" y="136"/>
                  </a:lnTo>
                  <a:lnTo>
                    <a:pt x="10" y="136"/>
                  </a:lnTo>
                  <a:lnTo>
                    <a:pt x="10" y="138"/>
                  </a:lnTo>
                  <a:lnTo>
                    <a:pt x="10" y="136"/>
                  </a:lnTo>
                  <a:lnTo>
                    <a:pt x="10" y="136"/>
                  </a:lnTo>
                  <a:lnTo>
                    <a:pt x="10" y="136"/>
                  </a:lnTo>
                  <a:lnTo>
                    <a:pt x="10" y="134"/>
                  </a:lnTo>
                  <a:lnTo>
                    <a:pt x="10" y="132"/>
                  </a:lnTo>
                  <a:lnTo>
                    <a:pt x="10" y="130"/>
                  </a:lnTo>
                  <a:lnTo>
                    <a:pt x="10" y="132"/>
                  </a:lnTo>
                  <a:lnTo>
                    <a:pt x="10" y="130"/>
                  </a:lnTo>
                  <a:lnTo>
                    <a:pt x="12" y="130"/>
                  </a:lnTo>
                  <a:lnTo>
                    <a:pt x="12" y="132"/>
                  </a:lnTo>
                  <a:lnTo>
                    <a:pt x="12" y="130"/>
                  </a:lnTo>
                  <a:lnTo>
                    <a:pt x="10" y="130"/>
                  </a:lnTo>
                  <a:lnTo>
                    <a:pt x="10" y="128"/>
                  </a:lnTo>
                  <a:lnTo>
                    <a:pt x="10" y="130"/>
                  </a:lnTo>
                  <a:lnTo>
                    <a:pt x="10" y="128"/>
                  </a:lnTo>
                  <a:lnTo>
                    <a:pt x="10" y="130"/>
                  </a:lnTo>
                  <a:lnTo>
                    <a:pt x="10" y="128"/>
                  </a:lnTo>
                  <a:lnTo>
                    <a:pt x="12" y="128"/>
                  </a:lnTo>
                  <a:lnTo>
                    <a:pt x="12" y="126"/>
                  </a:lnTo>
                  <a:lnTo>
                    <a:pt x="12" y="124"/>
                  </a:lnTo>
                  <a:lnTo>
                    <a:pt x="14" y="124"/>
                  </a:lnTo>
                  <a:lnTo>
                    <a:pt x="14" y="122"/>
                  </a:lnTo>
                  <a:lnTo>
                    <a:pt x="14" y="124"/>
                  </a:lnTo>
                  <a:lnTo>
                    <a:pt x="14" y="122"/>
                  </a:lnTo>
                  <a:lnTo>
                    <a:pt x="14" y="124"/>
                  </a:lnTo>
                  <a:lnTo>
                    <a:pt x="14" y="122"/>
                  </a:lnTo>
                  <a:lnTo>
                    <a:pt x="16" y="122"/>
                  </a:lnTo>
                  <a:lnTo>
                    <a:pt x="16" y="120"/>
                  </a:lnTo>
                  <a:lnTo>
                    <a:pt x="18" y="120"/>
                  </a:lnTo>
                  <a:lnTo>
                    <a:pt x="18" y="120"/>
                  </a:lnTo>
                  <a:lnTo>
                    <a:pt x="18" y="118"/>
                  </a:lnTo>
                  <a:lnTo>
                    <a:pt x="20" y="118"/>
                  </a:lnTo>
                  <a:lnTo>
                    <a:pt x="20" y="116"/>
                  </a:lnTo>
                  <a:lnTo>
                    <a:pt x="20" y="114"/>
                  </a:lnTo>
                  <a:lnTo>
                    <a:pt x="20" y="112"/>
                  </a:lnTo>
                  <a:lnTo>
                    <a:pt x="20" y="110"/>
                  </a:lnTo>
                  <a:lnTo>
                    <a:pt x="22" y="110"/>
                  </a:lnTo>
                  <a:lnTo>
                    <a:pt x="22" y="108"/>
                  </a:lnTo>
                  <a:lnTo>
                    <a:pt x="22" y="106"/>
                  </a:lnTo>
                  <a:lnTo>
                    <a:pt x="22" y="104"/>
                  </a:lnTo>
                  <a:lnTo>
                    <a:pt x="22" y="102"/>
                  </a:lnTo>
                  <a:lnTo>
                    <a:pt x="22" y="100"/>
                  </a:lnTo>
                  <a:lnTo>
                    <a:pt x="20" y="100"/>
                  </a:lnTo>
                  <a:lnTo>
                    <a:pt x="22" y="100"/>
                  </a:lnTo>
                  <a:lnTo>
                    <a:pt x="20" y="100"/>
                  </a:lnTo>
                  <a:lnTo>
                    <a:pt x="22" y="100"/>
                  </a:lnTo>
                  <a:lnTo>
                    <a:pt x="22" y="98"/>
                  </a:lnTo>
                  <a:lnTo>
                    <a:pt x="22" y="96"/>
                  </a:lnTo>
                  <a:lnTo>
                    <a:pt x="20" y="96"/>
                  </a:lnTo>
                  <a:lnTo>
                    <a:pt x="20" y="94"/>
                  </a:lnTo>
                  <a:lnTo>
                    <a:pt x="20" y="92"/>
                  </a:lnTo>
                  <a:lnTo>
                    <a:pt x="20" y="90"/>
                  </a:lnTo>
                  <a:lnTo>
                    <a:pt x="20" y="88"/>
                  </a:lnTo>
                  <a:lnTo>
                    <a:pt x="20" y="86"/>
                  </a:lnTo>
                  <a:lnTo>
                    <a:pt x="18" y="86"/>
                  </a:lnTo>
                  <a:lnTo>
                    <a:pt x="18" y="84"/>
                  </a:lnTo>
                  <a:lnTo>
                    <a:pt x="18" y="82"/>
                  </a:lnTo>
                  <a:lnTo>
                    <a:pt x="16" y="82"/>
                  </a:lnTo>
                  <a:lnTo>
                    <a:pt x="16" y="80"/>
                  </a:lnTo>
                  <a:lnTo>
                    <a:pt x="16" y="78"/>
                  </a:lnTo>
                  <a:lnTo>
                    <a:pt x="16" y="76"/>
                  </a:lnTo>
                  <a:lnTo>
                    <a:pt x="14" y="76"/>
                  </a:lnTo>
                  <a:lnTo>
                    <a:pt x="16" y="76"/>
                  </a:lnTo>
                  <a:lnTo>
                    <a:pt x="14" y="76"/>
                  </a:lnTo>
                  <a:lnTo>
                    <a:pt x="16" y="74"/>
                  </a:lnTo>
                  <a:lnTo>
                    <a:pt x="16" y="72"/>
                  </a:lnTo>
                  <a:lnTo>
                    <a:pt x="18" y="72"/>
                  </a:lnTo>
                  <a:lnTo>
                    <a:pt x="18" y="72"/>
                  </a:lnTo>
                  <a:lnTo>
                    <a:pt x="18" y="70"/>
                  </a:lnTo>
                  <a:lnTo>
                    <a:pt x="18" y="68"/>
                  </a:lnTo>
                  <a:lnTo>
                    <a:pt x="18" y="66"/>
                  </a:lnTo>
                  <a:lnTo>
                    <a:pt x="20" y="66"/>
                  </a:lnTo>
                  <a:lnTo>
                    <a:pt x="20" y="64"/>
                  </a:lnTo>
                  <a:lnTo>
                    <a:pt x="22" y="64"/>
                  </a:lnTo>
                  <a:lnTo>
                    <a:pt x="24" y="62"/>
                  </a:lnTo>
                  <a:lnTo>
                    <a:pt x="26" y="62"/>
                  </a:lnTo>
                  <a:lnTo>
                    <a:pt x="26" y="60"/>
                  </a:lnTo>
                  <a:lnTo>
                    <a:pt x="28" y="60"/>
                  </a:lnTo>
                  <a:lnTo>
                    <a:pt x="26" y="60"/>
                  </a:lnTo>
                  <a:lnTo>
                    <a:pt x="28" y="60"/>
                  </a:lnTo>
                  <a:lnTo>
                    <a:pt x="26" y="60"/>
                  </a:lnTo>
                  <a:lnTo>
                    <a:pt x="26" y="62"/>
                  </a:lnTo>
                  <a:lnTo>
                    <a:pt x="28" y="62"/>
                  </a:lnTo>
                  <a:lnTo>
                    <a:pt x="30" y="62"/>
                  </a:lnTo>
                  <a:lnTo>
                    <a:pt x="30" y="64"/>
                  </a:lnTo>
                  <a:lnTo>
                    <a:pt x="30" y="62"/>
                  </a:lnTo>
                  <a:lnTo>
                    <a:pt x="30" y="64"/>
                  </a:lnTo>
                  <a:lnTo>
                    <a:pt x="32" y="64"/>
                  </a:lnTo>
                  <a:lnTo>
                    <a:pt x="32" y="66"/>
                  </a:lnTo>
                  <a:lnTo>
                    <a:pt x="30" y="66"/>
                  </a:lnTo>
                  <a:lnTo>
                    <a:pt x="32" y="66"/>
                  </a:lnTo>
                  <a:lnTo>
                    <a:pt x="30" y="66"/>
                  </a:lnTo>
                  <a:lnTo>
                    <a:pt x="32" y="66"/>
                  </a:lnTo>
                  <a:lnTo>
                    <a:pt x="30" y="66"/>
                  </a:lnTo>
                  <a:lnTo>
                    <a:pt x="30" y="68"/>
                  </a:lnTo>
                  <a:lnTo>
                    <a:pt x="30" y="70"/>
                  </a:lnTo>
                  <a:lnTo>
                    <a:pt x="30" y="68"/>
                  </a:lnTo>
                  <a:lnTo>
                    <a:pt x="30" y="66"/>
                  </a:lnTo>
                  <a:lnTo>
                    <a:pt x="32" y="66"/>
                  </a:lnTo>
                  <a:lnTo>
                    <a:pt x="30" y="66"/>
                  </a:lnTo>
                  <a:lnTo>
                    <a:pt x="32" y="66"/>
                  </a:lnTo>
                  <a:lnTo>
                    <a:pt x="32" y="64"/>
                  </a:lnTo>
                  <a:lnTo>
                    <a:pt x="30" y="64"/>
                  </a:lnTo>
                  <a:lnTo>
                    <a:pt x="30" y="62"/>
                  </a:lnTo>
                  <a:lnTo>
                    <a:pt x="28" y="62"/>
                  </a:lnTo>
                  <a:lnTo>
                    <a:pt x="28" y="60"/>
                  </a:lnTo>
                  <a:lnTo>
                    <a:pt x="28" y="58"/>
                  </a:lnTo>
                  <a:lnTo>
                    <a:pt x="30" y="58"/>
                  </a:lnTo>
                  <a:lnTo>
                    <a:pt x="28" y="58"/>
                  </a:lnTo>
                  <a:lnTo>
                    <a:pt x="28" y="60"/>
                  </a:lnTo>
                  <a:lnTo>
                    <a:pt x="28" y="58"/>
                  </a:lnTo>
                  <a:lnTo>
                    <a:pt x="28" y="60"/>
                  </a:lnTo>
                  <a:lnTo>
                    <a:pt x="28" y="58"/>
                  </a:lnTo>
                  <a:lnTo>
                    <a:pt x="28" y="60"/>
                  </a:lnTo>
                  <a:lnTo>
                    <a:pt x="28" y="58"/>
                  </a:lnTo>
                  <a:lnTo>
                    <a:pt x="30" y="58"/>
                  </a:lnTo>
                  <a:lnTo>
                    <a:pt x="32" y="58"/>
                  </a:lnTo>
                  <a:lnTo>
                    <a:pt x="32" y="56"/>
                  </a:lnTo>
                  <a:lnTo>
                    <a:pt x="34" y="56"/>
                  </a:lnTo>
                  <a:lnTo>
                    <a:pt x="32" y="56"/>
                  </a:lnTo>
                  <a:lnTo>
                    <a:pt x="32" y="58"/>
                  </a:lnTo>
                  <a:lnTo>
                    <a:pt x="30" y="58"/>
                  </a:lnTo>
                  <a:lnTo>
                    <a:pt x="32" y="58"/>
                  </a:lnTo>
                  <a:lnTo>
                    <a:pt x="32" y="60"/>
                  </a:lnTo>
                  <a:lnTo>
                    <a:pt x="32" y="58"/>
                  </a:lnTo>
                  <a:lnTo>
                    <a:pt x="32" y="60"/>
                  </a:lnTo>
                  <a:lnTo>
                    <a:pt x="32" y="58"/>
                  </a:lnTo>
                  <a:lnTo>
                    <a:pt x="32" y="56"/>
                  </a:lnTo>
                  <a:lnTo>
                    <a:pt x="34" y="56"/>
                  </a:lnTo>
                  <a:lnTo>
                    <a:pt x="34" y="58"/>
                  </a:lnTo>
                  <a:lnTo>
                    <a:pt x="34" y="56"/>
                  </a:lnTo>
                  <a:lnTo>
                    <a:pt x="36" y="56"/>
                  </a:lnTo>
                  <a:lnTo>
                    <a:pt x="36" y="54"/>
                  </a:lnTo>
                  <a:lnTo>
                    <a:pt x="36" y="56"/>
                  </a:lnTo>
                  <a:lnTo>
                    <a:pt x="38" y="56"/>
                  </a:lnTo>
                  <a:lnTo>
                    <a:pt x="40" y="56"/>
                  </a:lnTo>
                  <a:lnTo>
                    <a:pt x="40" y="54"/>
                  </a:lnTo>
                  <a:lnTo>
                    <a:pt x="40" y="52"/>
                  </a:lnTo>
                  <a:lnTo>
                    <a:pt x="38" y="52"/>
                  </a:lnTo>
                  <a:lnTo>
                    <a:pt x="40" y="52"/>
                  </a:lnTo>
                  <a:lnTo>
                    <a:pt x="38" y="52"/>
                  </a:lnTo>
                  <a:lnTo>
                    <a:pt x="40" y="52"/>
                  </a:lnTo>
                  <a:lnTo>
                    <a:pt x="38" y="52"/>
                  </a:lnTo>
                  <a:lnTo>
                    <a:pt x="38" y="54"/>
                  </a:lnTo>
                  <a:lnTo>
                    <a:pt x="36" y="54"/>
                  </a:lnTo>
                  <a:lnTo>
                    <a:pt x="38" y="54"/>
                  </a:lnTo>
                  <a:lnTo>
                    <a:pt x="38" y="56"/>
                  </a:lnTo>
                  <a:lnTo>
                    <a:pt x="38" y="54"/>
                  </a:lnTo>
                  <a:lnTo>
                    <a:pt x="38" y="56"/>
                  </a:lnTo>
                  <a:lnTo>
                    <a:pt x="36" y="56"/>
                  </a:lnTo>
                  <a:lnTo>
                    <a:pt x="36" y="54"/>
                  </a:lnTo>
                  <a:lnTo>
                    <a:pt x="38" y="54"/>
                  </a:lnTo>
                  <a:lnTo>
                    <a:pt x="36" y="54"/>
                  </a:lnTo>
                  <a:lnTo>
                    <a:pt x="36" y="56"/>
                  </a:lnTo>
                  <a:lnTo>
                    <a:pt x="34" y="56"/>
                  </a:lnTo>
                  <a:lnTo>
                    <a:pt x="34" y="54"/>
                  </a:lnTo>
                  <a:lnTo>
                    <a:pt x="36" y="54"/>
                  </a:lnTo>
                  <a:lnTo>
                    <a:pt x="38" y="54"/>
                  </a:lnTo>
                  <a:lnTo>
                    <a:pt x="38" y="52"/>
                  </a:lnTo>
                  <a:lnTo>
                    <a:pt x="40" y="52"/>
                  </a:lnTo>
                  <a:lnTo>
                    <a:pt x="40" y="50"/>
                  </a:lnTo>
                  <a:lnTo>
                    <a:pt x="42" y="50"/>
                  </a:lnTo>
                  <a:lnTo>
                    <a:pt x="42" y="48"/>
                  </a:lnTo>
                  <a:lnTo>
                    <a:pt x="44" y="48"/>
                  </a:lnTo>
                  <a:lnTo>
                    <a:pt x="44" y="46"/>
                  </a:lnTo>
                  <a:lnTo>
                    <a:pt x="44" y="44"/>
                  </a:lnTo>
                  <a:lnTo>
                    <a:pt x="44" y="42"/>
                  </a:lnTo>
                  <a:lnTo>
                    <a:pt x="44" y="40"/>
                  </a:lnTo>
                  <a:lnTo>
                    <a:pt x="46" y="40"/>
                  </a:lnTo>
                  <a:lnTo>
                    <a:pt x="46" y="38"/>
                  </a:lnTo>
                  <a:lnTo>
                    <a:pt x="48" y="38"/>
                  </a:lnTo>
                  <a:lnTo>
                    <a:pt x="50" y="36"/>
                  </a:lnTo>
                  <a:lnTo>
                    <a:pt x="50" y="34"/>
                  </a:lnTo>
                  <a:lnTo>
                    <a:pt x="52" y="34"/>
                  </a:lnTo>
                  <a:lnTo>
                    <a:pt x="52" y="32"/>
                  </a:lnTo>
                  <a:lnTo>
                    <a:pt x="54" y="32"/>
                  </a:lnTo>
                  <a:lnTo>
                    <a:pt x="54" y="30"/>
                  </a:lnTo>
                  <a:lnTo>
                    <a:pt x="56" y="30"/>
                  </a:lnTo>
                  <a:lnTo>
                    <a:pt x="56" y="28"/>
                  </a:lnTo>
                  <a:lnTo>
                    <a:pt x="58" y="28"/>
                  </a:lnTo>
                  <a:lnTo>
                    <a:pt x="58" y="26"/>
                  </a:lnTo>
                  <a:lnTo>
                    <a:pt x="58" y="24"/>
                  </a:lnTo>
                  <a:lnTo>
                    <a:pt x="58" y="24"/>
                  </a:lnTo>
                  <a:lnTo>
                    <a:pt x="58" y="24"/>
                  </a:lnTo>
                  <a:lnTo>
                    <a:pt x="58" y="24"/>
                  </a:lnTo>
                  <a:lnTo>
                    <a:pt x="60" y="24"/>
                  </a:lnTo>
                  <a:lnTo>
                    <a:pt x="60" y="26"/>
                  </a:lnTo>
                  <a:lnTo>
                    <a:pt x="60" y="28"/>
                  </a:lnTo>
                  <a:lnTo>
                    <a:pt x="60" y="26"/>
                  </a:lnTo>
                  <a:lnTo>
                    <a:pt x="60" y="24"/>
                  </a:lnTo>
                  <a:lnTo>
                    <a:pt x="58" y="24"/>
                  </a:lnTo>
                  <a:lnTo>
                    <a:pt x="58" y="24"/>
                  </a:lnTo>
                  <a:lnTo>
                    <a:pt x="58" y="22"/>
                  </a:lnTo>
                  <a:lnTo>
                    <a:pt x="58" y="20"/>
                  </a:lnTo>
                  <a:lnTo>
                    <a:pt x="58" y="18"/>
                  </a:lnTo>
                  <a:lnTo>
                    <a:pt x="58" y="16"/>
                  </a:lnTo>
                  <a:lnTo>
                    <a:pt x="60" y="16"/>
                  </a:lnTo>
                  <a:lnTo>
                    <a:pt x="60" y="14"/>
                  </a:lnTo>
                  <a:lnTo>
                    <a:pt x="60" y="12"/>
                  </a:lnTo>
                  <a:lnTo>
                    <a:pt x="58" y="12"/>
                  </a:lnTo>
                  <a:lnTo>
                    <a:pt x="60" y="12"/>
                  </a:lnTo>
                  <a:lnTo>
                    <a:pt x="58" y="12"/>
                  </a:lnTo>
                  <a:lnTo>
                    <a:pt x="60" y="12"/>
                  </a:lnTo>
                  <a:lnTo>
                    <a:pt x="58" y="12"/>
                  </a:lnTo>
                  <a:lnTo>
                    <a:pt x="58" y="10"/>
                  </a:lnTo>
                  <a:lnTo>
                    <a:pt x="58" y="8"/>
                  </a:lnTo>
                  <a:lnTo>
                    <a:pt x="60" y="8"/>
                  </a:lnTo>
                  <a:lnTo>
                    <a:pt x="60" y="6"/>
                  </a:lnTo>
                  <a:lnTo>
                    <a:pt x="62" y="6"/>
                  </a:lnTo>
                  <a:lnTo>
                    <a:pt x="62" y="4"/>
                  </a:lnTo>
                  <a:lnTo>
                    <a:pt x="64" y="2"/>
                  </a:lnTo>
                  <a:lnTo>
                    <a:pt x="64" y="4"/>
                  </a:lnTo>
                  <a:lnTo>
                    <a:pt x="62" y="4"/>
                  </a:lnTo>
                  <a:lnTo>
                    <a:pt x="64" y="4"/>
                  </a:lnTo>
                  <a:lnTo>
                    <a:pt x="62" y="4"/>
                  </a:lnTo>
                  <a:lnTo>
                    <a:pt x="64" y="4"/>
                  </a:lnTo>
                  <a:lnTo>
                    <a:pt x="64" y="2"/>
                  </a:lnTo>
                  <a:lnTo>
                    <a:pt x="64" y="4"/>
                  </a:lnTo>
                  <a:lnTo>
                    <a:pt x="64" y="2"/>
                  </a:lnTo>
                  <a:lnTo>
                    <a:pt x="64" y="0"/>
                  </a:lnTo>
                  <a:lnTo>
                    <a:pt x="66" y="0"/>
                  </a:lnTo>
                  <a:lnTo>
                    <a:pt x="68" y="0"/>
                  </a:lnTo>
                  <a:lnTo>
                    <a:pt x="68" y="2"/>
                  </a:lnTo>
                  <a:lnTo>
                    <a:pt x="70" y="2"/>
                  </a:lnTo>
                  <a:lnTo>
                    <a:pt x="70" y="4"/>
                  </a:lnTo>
                  <a:lnTo>
                    <a:pt x="72" y="4"/>
                  </a:lnTo>
                  <a:lnTo>
                    <a:pt x="74" y="4"/>
                  </a:lnTo>
                  <a:lnTo>
                    <a:pt x="77" y="6"/>
                  </a:lnTo>
                  <a:lnTo>
                    <a:pt x="79" y="6"/>
                  </a:lnTo>
                  <a:lnTo>
                    <a:pt x="79" y="8"/>
                  </a:lnTo>
                  <a:lnTo>
                    <a:pt x="81" y="8"/>
                  </a:lnTo>
                  <a:lnTo>
                    <a:pt x="83" y="8"/>
                  </a:lnTo>
                  <a:lnTo>
                    <a:pt x="83" y="10"/>
                  </a:lnTo>
                  <a:lnTo>
                    <a:pt x="85" y="10"/>
                  </a:lnTo>
                  <a:lnTo>
                    <a:pt x="87" y="10"/>
                  </a:lnTo>
                  <a:lnTo>
                    <a:pt x="87" y="12"/>
                  </a:lnTo>
                  <a:lnTo>
                    <a:pt x="89" y="12"/>
                  </a:lnTo>
                  <a:lnTo>
                    <a:pt x="91" y="12"/>
                  </a:lnTo>
                  <a:lnTo>
                    <a:pt x="91" y="14"/>
                  </a:lnTo>
                  <a:lnTo>
                    <a:pt x="93" y="14"/>
                  </a:lnTo>
                  <a:lnTo>
                    <a:pt x="95" y="14"/>
                  </a:lnTo>
                  <a:lnTo>
                    <a:pt x="95" y="16"/>
                  </a:lnTo>
                  <a:lnTo>
                    <a:pt x="97" y="16"/>
                  </a:lnTo>
                  <a:lnTo>
                    <a:pt x="99" y="18"/>
                  </a:lnTo>
                  <a:lnTo>
                    <a:pt x="101" y="18"/>
                  </a:lnTo>
                  <a:lnTo>
                    <a:pt x="103" y="18"/>
                  </a:lnTo>
                  <a:lnTo>
                    <a:pt x="103" y="20"/>
                  </a:lnTo>
                  <a:lnTo>
                    <a:pt x="105" y="20"/>
                  </a:lnTo>
                  <a:lnTo>
                    <a:pt x="107" y="22"/>
                  </a:lnTo>
                  <a:lnTo>
                    <a:pt x="109" y="24"/>
                  </a:lnTo>
                  <a:lnTo>
                    <a:pt x="111" y="24"/>
                  </a:lnTo>
                  <a:lnTo>
                    <a:pt x="111" y="24"/>
                  </a:lnTo>
                  <a:lnTo>
                    <a:pt x="113" y="24"/>
                  </a:lnTo>
                  <a:lnTo>
                    <a:pt x="115" y="24"/>
                  </a:lnTo>
                  <a:lnTo>
                    <a:pt x="115" y="26"/>
                  </a:lnTo>
                  <a:lnTo>
                    <a:pt x="117" y="26"/>
                  </a:lnTo>
                  <a:lnTo>
                    <a:pt x="119" y="26"/>
                  </a:lnTo>
                  <a:lnTo>
                    <a:pt x="119" y="28"/>
                  </a:lnTo>
                  <a:lnTo>
                    <a:pt x="121" y="28"/>
                  </a:lnTo>
                  <a:lnTo>
                    <a:pt x="123" y="28"/>
                  </a:lnTo>
                  <a:lnTo>
                    <a:pt x="123" y="30"/>
                  </a:lnTo>
                  <a:lnTo>
                    <a:pt x="125" y="30"/>
                  </a:lnTo>
                  <a:lnTo>
                    <a:pt x="127" y="30"/>
                  </a:lnTo>
                  <a:lnTo>
                    <a:pt x="127" y="32"/>
                  </a:lnTo>
                  <a:lnTo>
                    <a:pt x="129" y="32"/>
                  </a:lnTo>
                  <a:lnTo>
                    <a:pt x="131" y="32"/>
                  </a:lnTo>
                  <a:lnTo>
                    <a:pt x="131" y="34"/>
                  </a:lnTo>
                  <a:lnTo>
                    <a:pt x="133" y="34"/>
                  </a:lnTo>
                  <a:close/>
                </a:path>
              </a:pathLst>
            </a:custGeom>
            <a:solidFill>
              <a:srgbClr val="816767"/>
            </a:solidFill>
            <a:ln w="3175">
              <a:solidFill>
                <a:sysClr val="window" lastClr="FFFF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black"/>
                </a:solidFill>
                <a:effectLst/>
                <a:uLnTx/>
                <a:uFillTx/>
                <a:ea typeface="宋体" panose="02010600030101010101" pitchFamily="2" charset="-122"/>
              </a:endParaRPr>
            </a:p>
          </p:txBody>
        </p:sp>
        <p:sp>
          <p:nvSpPr>
            <p:cNvPr id="5" name="Freeform 1151">
              <a:extLst>
                <a:ext uri="{FF2B5EF4-FFF2-40B4-BE49-F238E27FC236}">
                  <a16:creationId xmlns:a16="http://schemas.microsoft.com/office/drawing/2014/main" id="{4E5346E3-041C-D8F7-0CE5-504E21FA6F36}"/>
                </a:ext>
              </a:extLst>
            </p:cNvPr>
            <p:cNvSpPr>
              <a:spLocks/>
            </p:cNvSpPr>
            <p:nvPr/>
          </p:nvSpPr>
          <p:spPr bwMode="auto">
            <a:xfrm>
              <a:off x="4351338" y="3046412"/>
              <a:ext cx="517525" cy="428625"/>
            </a:xfrm>
            <a:custGeom>
              <a:avLst/>
              <a:gdLst>
                <a:gd name="T0" fmla="*/ 156 w 326"/>
                <a:gd name="T1" fmla="*/ 28 h 270"/>
                <a:gd name="T2" fmla="*/ 172 w 326"/>
                <a:gd name="T3" fmla="*/ 30 h 270"/>
                <a:gd name="T4" fmla="*/ 190 w 326"/>
                <a:gd name="T5" fmla="*/ 34 h 270"/>
                <a:gd name="T6" fmla="*/ 206 w 326"/>
                <a:gd name="T7" fmla="*/ 38 h 270"/>
                <a:gd name="T8" fmla="*/ 226 w 326"/>
                <a:gd name="T9" fmla="*/ 40 h 270"/>
                <a:gd name="T10" fmla="*/ 244 w 326"/>
                <a:gd name="T11" fmla="*/ 44 h 270"/>
                <a:gd name="T12" fmla="*/ 260 w 326"/>
                <a:gd name="T13" fmla="*/ 48 h 270"/>
                <a:gd name="T14" fmla="*/ 276 w 326"/>
                <a:gd name="T15" fmla="*/ 50 h 270"/>
                <a:gd name="T16" fmla="*/ 290 w 326"/>
                <a:gd name="T17" fmla="*/ 54 h 270"/>
                <a:gd name="T18" fmla="*/ 308 w 326"/>
                <a:gd name="T19" fmla="*/ 56 h 270"/>
                <a:gd name="T20" fmla="*/ 324 w 326"/>
                <a:gd name="T21" fmla="*/ 60 h 270"/>
                <a:gd name="T22" fmla="*/ 324 w 326"/>
                <a:gd name="T23" fmla="*/ 74 h 270"/>
                <a:gd name="T24" fmla="*/ 322 w 326"/>
                <a:gd name="T25" fmla="*/ 88 h 270"/>
                <a:gd name="T26" fmla="*/ 318 w 326"/>
                <a:gd name="T27" fmla="*/ 104 h 270"/>
                <a:gd name="T28" fmla="*/ 316 w 326"/>
                <a:gd name="T29" fmla="*/ 122 h 270"/>
                <a:gd name="T30" fmla="*/ 314 w 326"/>
                <a:gd name="T31" fmla="*/ 136 h 270"/>
                <a:gd name="T32" fmla="*/ 312 w 326"/>
                <a:gd name="T33" fmla="*/ 152 h 270"/>
                <a:gd name="T34" fmla="*/ 308 w 326"/>
                <a:gd name="T35" fmla="*/ 166 h 270"/>
                <a:gd name="T36" fmla="*/ 306 w 326"/>
                <a:gd name="T37" fmla="*/ 182 h 270"/>
                <a:gd name="T38" fmla="*/ 304 w 326"/>
                <a:gd name="T39" fmla="*/ 198 h 270"/>
                <a:gd name="T40" fmla="*/ 300 w 326"/>
                <a:gd name="T41" fmla="*/ 216 h 270"/>
                <a:gd name="T42" fmla="*/ 298 w 326"/>
                <a:gd name="T43" fmla="*/ 232 h 270"/>
                <a:gd name="T44" fmla="*/ 294 w 326"/>
                <a:gd name="T45" fmla="*/ 248 h 270"/>
                <a:gd name="T46" fmla="*/ 292 w 326"/>
                <a:gd name="T47" fmla="*/ 268 h 270"/>
                <a:gd name="T48" fmla="*/ 280 w 326"/>
                <a:gd name="T49" fmla="*/ 268 h 270"/>
                <a:gd name="T50" fmla="*/ 264 w 326"/>
                <a:gd name="T51" fmla="*/ 264 h 270"/>
                <a:gd name="T52" fmla="*/ 246 w 326"/>
                <a:gd name="T53" fmla="*/ 262 h 270"/>
                <a:gd name="T54" fmla="*/ 232 w 326"/>
                <a:gd name="T55" fmla="*/ 258 h 270"/>
                <a:gd name="T56" fmla="*/ 216 w 326"/>
                <a:gd name="T57" fmla="*/ 256 h 270"/>
                <a:gd name="T58" fmla="*/ 200 w 326"/>
                <a:gd name="T59" fmla="*/ 252 h 270"/>
                <a:gd name="T60" fmla="*/ 186 w 326"/>
                <a:gd name="T61" fmla="*/ 250 h 270"/>
                <a:gd name="T62" fmla="*/ 168 w 326"/>
                <a:gd name="T63" fmla="*/ 246 h 270"/>
                <a:gd name="T64" fmla="*/ 148 w 326"/>
                <a:gd name="T65" fmla="*/ 242 h 270"/>
                <a:gd name="T66" fmla="*/ 132 w 326"/>
                <a:gd name="T67" fmla="*/ 238 h 270"/>
                <a:gd name="T68" fmla="*/ 114 w 326"/>
                <a:gd name="T69" fmla="*/ 234 h 270"/>
                <a:gd name="T70" fmla="*/ 98 w 326"/>
                <a:gd name="T71" fmla="*/ 230 h 270"/>
                <a:gd name="T72" fmla="*/ 64 w 326"/>
                <a:gd name="T73" fmla="*/ 222 h 270"/>
                <a:gd name="T74" fmla="*/ 28 w 326"/>
                <a:gd name="T75" fmla="*/ 214 h 270"/>
                <a:gd name="T76" fmla="*/ 10 w 326"/>
                <a:gd name="T77" fmla="*/ 208 h 270"/>
                <a:gd name="T78" fmla="*/ 0 w 326"/>
                <a:gd name="T79" fmla="*/ 200 h 270"/>
                <a:gd name="T80" fmla="*/ 2 w 326"/>
                <a:gd name="T81" fmla="*/ 184 h 270"/>
                <a:gd name="T82" fmla="*/ 8 w 326"/>
                <a:gd name="T83" fmla="*/ 172 h 270"/>
                <a:gd name="T84" fmla="*/ 12 w 326"/>
                <a:gd name="T85" fmla="*/ 156 h 270"/>
                <a:gd name="T86" fmla="*/ 16 w 326"/>
                <a:gd name="T87" fmla="*/ 138 h 270"/>
                <a:gd name="T88" fmla="*/ 20 w 326"/>
                <a:gd name="T89" fmla="*/ 122 h 270"/>
                <a:gd name="T90" fmla="*/ 26 w 326"/>
                <a:gd name="T91" fmla="*/ 108 h 270"/>
                <a:gd name="T92" fmla="*/ 30 w 326"/>
                <a:gd name="T93" fmla="*/ 94 h 270"/>
                <a:gd name="T94" fmla="*/ 34 w 326"/>
                <a:gd name="T95" fmla="*/ 78 h 270"/>
                <a:gd name="T96" fmla="*/ 38 w 326"/>
                <a:gd name="T97" fmla="*/ 60 h 270"/>
                <a:gd name="T98" fmla="*/ 44 w 326"/>
                <a:gd name="T99" fmla="*/ 44 h 270"/>
                <a:gd name="T100" fmla="*/ 48 w 326"/>
                <a:gd name="T101" fmla="*/ 28 h 270"/>
                <a:gd name="T102" fmla="*/ 50 w 326"/>
                <a:gd name="T103" fmla="*/ 12 h 270"/>
                <a:gd name="T104" fmla="*/ 58 w 326"/>
                <a:gd name="T105" fmla="*/ 2 h 270"/>
                <a:gd name="T106" fmla="*/ 82 w 326"/>
                <a:gd name="T107" fmla="*/ 8 h 270"/>
                <a:gd name="T108" fmla="*/ 96 w 326"/>
                <a:gd name="T109" fmla="*/ 12 h 270"/>
                <a:gd name="T110" fmla="*/ 114 w 326"/>
                <a:gd name="T111" fmla="*/ 16 h 270"/>
                <a:gd name="T112" fmla="*/ 128 w 326"/>
                <a:gd name="T113" fmla="*/ 20 h 2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26" h="270">
                  <a:moveTo>
                    <a:pt x="140" y="22"/>
                  </a:moveTo>
                  <a:lnTo>
                    <a:pt x="144" y="24"/>
                  </a:lnTo>
                  <a:lnTo>
                    <a:pt x="146" y="24"/>
                  </a:lnTo>
                  <a:lnTo>
                    <a:pt x="146" y="24"/>
                  </a:lnTo>
                  <a:lnTo>
                    <a:pt x="150" y="26"/>
                  </a:lnTo>
                  <a:lnTo>
                    <a:pt x="152" y="26"/>
                  </a:lnTo>
                  <a:lnTo>
                    <a:pt x="154" y="26"/>
                  </a:lnTo>
                  <a:lnTo>
                    <a:pt x="156" y="26"/>
                  </a:lnTo>
                  <a:lnTo>
                    <a:pt x="156" y="28"/>
                  </a:lnTo>
                  <a:lnTo>
                    <a:pt x="158" y="28"/>
                  </a:lnTo>
                  <a:lnTo>
                    <a:pt x="160" y="28"/>
                  </a:lnTo>
                  <a:lnTo>
                    <a:pt x="162" y="28"/>
                  </a:lnTo>
                  <a:lnTo>
                    <a:pt x="164" y="28"/>
                  </a:lnTo>
                  <a:lnTo>
                    <a:pt x="164" y="30"/>
                  </a:lnTo>
                  <a:lnTo>
                    <a:pt x="166" y="30"/>
                  </a:lnTo>
                  <a:lnTo>
                    <a:pt x="168" y="30"/>
                  </a:lnTo>
                  <a:lnTo>
                    <a:pt x="170" y="30"/>
                  </a:lnTo>
                  <a:lnTo>
                    <a:pt x="172" y="30"/>
                  </a:lnTo>
                  <a:lnTo>
                    <a:pt x="174" y="32"/>
                  </a:lnTo>
                  <a:lnTo>
                    <a:pt x="176" y="32"/>
                  </a:lnTo>
                  <a:lnTo>
                    <a:pt x="178" y="32"/>
                  </a:lnTo>
                  <a:lnTo>
                    <a:pt x="180" y="32"/>
                  </a:lnTo>
                  <a:lnTo>
                    <a:pt x="182" y="32"/>
                  </a:lnTo>
                  <a:lnTo>
                    <a:pt x="184" y="34"/>
                  </a:lnTo>
                  <a:lnTo>
                    <a:pt x="186" y="34"/>
                  </a:lnTo>
                  <a:lnTo>
                    <a:pt x="188" y="34"/>
                  </a:lnTo>
                  <a:lnTo>
                    <a:pt x="190" y="34"/>
                  </a:lnTo>
                  <a:lnTo>
                    <a:pt x="192" y="36"/>
                  </a:lnTo>
                  <a:lnTo>
                    <a:pt x="194" y="36"/>
                  </a:lnTo>
                  <a:lnTo>
                    <a:pt x="194" y="36"/>
                  </a:lnTo>
                  <a:lnTo>
                    <a:pt x="196" y="36"/>
                  </a:lnTo>
                  <a:lnTo>
                    <a:pt x="198" y="36"/>
                  </a:lnTo>
                  <a:lnTo>
                    <a:pt x="200" y="38"/>
                  </a:lnTo>
                  <a:lnTo>
                    <a:pt x="202" y="38"/>
                  </a:lnTo>
                  <a:lnTo>
                    <a:pt x="204" y="38"/>
                  </a:lnTo>
                  <a:lnTo>
                    <a:pt x="206" y="38"/>
                  </a:lnTo>
                  <a:lnTo>
                    <a:pt x="210" y="38"/>
                  </a:lnTo>
                  <a:lnTo>
                    <a:pt x="212" y="38"/>
                  </a:lnTo>
                  <a:lnTo>
                    <a:pt x="216" y="38"/>
                  </a:lnTo>
                  <a:lnTo>
                    <a:pt x="218" y="38"/>
                  </a:lnTo>
                  <a:lnTo>
                    <a:pt x="218" y="40"/>
                  </a:lnTo>
                  <a:lnTo>
                    <a:pt x="220" y="40"/>
                  </a:lnTo>
                  <a:lnTo>
                    <a:pt x="222" y="40"/>
                  </a:lnTo>
                  <a:lnTo>
                    <a:pt x="224" y="40"/>
                  </a:lnTo>
                  <a:lnTo>
                    <a:pt x="226" y="40"/>
                  </a:lnTo>
                  <a:lnTo>
                    <a:pt x="230" y="42"/>
                  </a:lnTo>
                  <a:lnTo>
                    <a:pt x="232" y="42"/>
                  </a:lnTo>
                  <a:lnTo>
                    <a:pt x="234" y="42"/>
                  </a:lnTo>
                  <a:lnTo>
                    <a:pt x="236" y="42"/>
                  </a:lnTo>
                  <a:lnTo>
                    <a:pt x="238" y="42"/>
                  </a:lnTo>
                  <a:lnTo>
                    <a:pt x="240" y="44"/>
                  </a:lnTo>
                  <a:lnTo>
                    <a:pt x="242" y="44"/>
                  </a:lnTo>
                  <a:lnTo>
                    <a:pt x="242" y="44"/>
                  </a:lnTo>
                  <a:lnTo>
                    <a:pt x="244" y="44"/>
                  </a:lnTo>
                  <a:lnTo>
                    <a:pt x="246" y="44"/>
                  </a:lnTo>
                  <a:lnTo>
                    <a:pt x="246" y="46"/>
                  </a:lnTo>
                  <a:lnTo>
                    <a:pt x="248" y="46"/>
                  </a:lnTo>
                  <a:lnTo>
                    <a:pt x="250" y="46"/>
                  </a:lnTo>
                  <a:lnTo>
                    <a:pt x="252" y="46"/>
                  </a:lnTo>
                  <a:lnTo>
                    <a:pt x="254" y="46"/>
                  </a:lnTo>
                  <a:lnTo>
                    <a:pt x="256" y="46"/>
                  </a:lnTo>
                  <a:lnTo>
                    <a:pt x="258" y="48"/>
                  </a:lnTo>
                  <a:lnTo>
                    <a:pt x="260" y="48"/>
                  </a:lnTo>
                  <a:lnTo>
                    <a:pt x="262" y="48"/>
                  </a:lnTo>
                  <a:lnTo>
                    <a:pt x="264" y="48"/>
                  </a:lnTo>
                  <a:lnTo>
                    <a:pt x="266" y="48"/>
                  </a:lnTo>
                  <a:lnTo>
                    <a:pt x="268" y="48"/>
                  </a:lnTo>
                  <a:lnTo>
                    <a:pt x="268" y="50"/>
                  </a:lnTo>
                  <a:lnTo>
                    <a:pt x="270" y="50"/>
                  </a:lnTo>
                  <a:lnTo>
                    <a:pt x="272" y="50"/>
                  </a:lnTo>
                  <a:lnTo>
                    <a:pt x="274" y="50"/>
                  </a:lnTo>
                  <a:lnTo>
                    <a:pt x="276" y="50"/>
                  </a:lnTo>
                  <a:lnTo>
                    <a:pt x="278" y="50"/>
                  </a:lnTo>
                  <a:lnTo>
                    <a:pt x="278" y="52"/>
                  </a:lnTo>
                  <a:lnTo>
                    <a:pt x="280" y="52"/>
                  </a:lnTo>
                  <a:lnTo>
                    <a:pt x="282" y="52"/>
                  </a:lnTo>
                  <a:lnTo>
                    <a:pt x="284" y="52"/>
                  </a:lnTo>
                  <a:lnTo>
                    <a:pt x="286" y="52"/>
                  </a:lnTo>
                  <a:lnTo>
                    <a:pt x="288" y="52"/>
                  </a:lnTo>
                  <a:lnTo>
                    <a:pt x="290" y="52"/>
                  </a:lnTo>
                  <a:lnTo>
                    <a:pt x="290" y="54"/>
                  </a:lnTo>
                  <a:lnTo>
                    <a:pt x="290" y="54"/>
                  </a:lnTo>
                  <a:lnTo>
                    <a:pt x="292" y="54"/>
                  </a:lnTo>
                  <a:lnTo>
                    <a:pt x="294" y="54"/>
                  </a:lnTo>
                  <a:lnTo>
                    <a:pt x="298" y="54"/>
                  </a:lnTo>
                  <a:lnTo>
                    <a:pt x="300" y="56"/>
                  </a:lnTo>
                  <a:lnTo>
                    <a:pt x="302" y="56"/>
                  </a:lnTo>
                  <a:lnTo>
                    <a:pt x="304" y="56"/>
                  </a:lnTo>
                  <a:lnTo>
                    <a:pt x="306" y="56"/>
                  </a:lnTo>
                  <a:lnTo>
                    <a:pt x="308" y="56"/>
                  </a:lnTo>
                  <a:lnTo>
                    <a:pt x="310" y="56"/>
                  </a:lnTo>
                  <a:lnTo>
                    <a:pt x="312" y="58"/>
                  </a:lnTo>
                  <a:lnTo>
                    <a:pt x="314" y="58"/>
                  </a:lnTo>
                  <a:lnTo>
                    <a:pt x="316" y="58"/>
                  </a:lnTo>
                  <a:lnTo>
                    <a:pt x="318" y="58"/>
                  </a:lnTo>
                  <a:lnTo>
                    <a:pt x="320" y="58"/>
                  </a:lnTo>
                  <a:lnTo>
                    <a:pt x="322" y="58"/>
                  </a:lnTo>
                  <a:lnTo>
                    <a:pt x="324" y="58"/>
                  </a:lnTo>
                  <a:lnTo>
                    <a:pt x="324" y="60"/>
                  </a:lnTo>
                  <a:lnTo>
                    <a:pt x="326" y="60"/>
                  </a:lnTo>
                  <a:lnTo>
                    <a:pt x="326" y="62"/>
                  </a:lnTo>
                  <a:lnTo>
                    <a:pt x="326" y="64"/>
                  </a:lnTo>
                  <a:lnTo>
                    <a:pt x="326" y="66"/>
                  </a:lnTo>
                  <a:lnTo>
                    <a:pt x="326" y="68"/>
                  </a:lnTo>
                  <a:lnTo>
                    <a:pt x="324" y="68"/>
                  </a:lnTo>
                  <a:lnTo>
                    <a:pt x="324" y="70"/>
                  </a:lnTo>
                  <a:lnTo>
                    <a:pt x="324" y="72"/>
                  </a:lnTo>
                  <a:lnTo>
                    <a:pt x="324" y="74"/>
                  </a:lnTo>
                  <a:lnTo>
                    <a:pt x="324" y="76"/>
                  </a:lnTo>
                  <a:lnTo>
                    <a:pt x="324" y="78"/>
                  </a:lnTo>
                  <a:lnTo>
                    <a:pt x="324" y="80"/>
                  </a:lnTo>
                  <a:lnTo>
                    <a:pt x="322" y="80"/>
                  </a:lnTo>
                  <a:lnTo>
                    <a:pt x="322" y="82"/>
                  </a:lnTo>
                  <a:lnTo>
                    <a:pt x="322" y="84"/>
                  </a:lnTo>
                  <a:lnTo>
                    <a:pt x="322" y="86"/>
                  </a:lnTo>
                  <a:lnTo>
                    <a:pt x="322" y="86"/>
                  </a:lnTo>
                  <a:lnTo>
                    <a:pt x="322" y="88"/>
                  </a:lnTo>
                  <a:lnTo>
                    <a:pt x="322" y="90"/>
                  </a:lnTo>
                  <a:lnTo>
                    <a:pt x="320" y="92"/>
                  </a:lnTo>
                  <a:lnTo>
                    <a:pt x="320" y="94"/>
                  </a:lnTo>
                  <a:lnTo>
                    <a:pt x="320" y="96"/>
                  </a:lnTo>
                  <a:lnTo>
                    <a:pt x="320" y="98"/>
                  </a:lnTo>
                  <a:lnTo>
                    <a:pt x="320" y="100"/>
                  </a:lnTo>
                  <a:lnTo>
                    <a:pt x="320" y="102"/>
                  </a:lnTo>
                  <a:lnTo>
                    <a:pt x="318" y="102"/>
                  </a:lnTo>
                  <a:lnTo>
                    <a:pt x="318" y="104"/>
                  </a:lnTo>
                  <a:lnTo>
                    <a:pt x="318" y="106"/>
                  </a:lnTo>
                  <a:lnTo>
                    <a:pt x="318" y="108"/>
                  </a:lnTo>
                  <a:lnTo>
                    <a:pt x="318" y="110"/>
                  </a:lnTo>
                  <a:lnTo>
                    <a:pt x="318" y="112"/>
                  </a:lnTo>
                  <a:lnTo>
                    <a:pt x="318" y="114"/>
                  </a:lnTo>
                  <a:lnTo>
                    <a:pt x="316" y="116"/>
                  </a:lnTo>
                  <a:lnTo>
                    <a:pt x="316" y="118"/>
                  </a:lnTo>
                  <a:lnTo>
                    <a:pt x="316" y="120"/>
                  </a:lnTo>
                  <a:lnTo>
                    <a:pt x="316" y="122"/>
                  </a:lnTo>
                  <a:lnTo>
                    <a:pt x="316" y="124"/>
                  </a:lnTo>
                  <a:lnTo>
                    <a:pt x="316" y="126"/>
                  </a:lnTo>
                  <a:lnTo>
                    <a:pt x="316" y="128"/>
                  </a:lnTo>
                  <a:lnTo>
                    <a:pt x="314" y="128"/>
                  </a:lnTo>
                  <a:lnTo>
                    <a:pt x="314" y="130"/>
                  </a:lnTo>
                  <a:lnTo>
                    <a:pt x="314" y="132"/>
                  </a:lnTo>
                  <a:lnTo>
                    <a:pt x="314" y="134"/>
                  </a:lnTo>
                  <a:lnTo>
                    <a:pt x="314" y="134"/>
                  </a:lnTo>
                  <a:lnTo>
                    <a:pt x="314" y="136"/>
                  </a:lnTo>
                  <a:lnTo>
                    <a:pt x="314" y="138"/>
                  </a:lnTo>
                  <a:lnTo>
                    <a:pt x="312" y="138"/>
                  </a:lnTo>
                  <a:lnTo>
                    <a:pt x="312" y="140"/>
                  </a:lnTo>
                  <a:lnTo>
                    <a:pt x="312" y="142"/>
                  </a:lnTo>
                  <a:lnTo>
                    <a:pt x="312" y="144"/>
                  </a:lnTo>
                  <a:lnTo>
                    <a:pt x="312" y="146"/>
                  </a:lnTo>
                  <a:lnTo>
                    <a:pt x="312" y="148"/>
                  </a:lnTo>
                  <a:lnTo>
                    <a:pt x="312" y="150"/>
                  </a:lnTo>
                  <a:lnTo>
                    <a:pt x="312" y="152"/>
                  </a:lnTo>
                  <a:lnTo>
                    <a:pt x="310" y="152"/>
                  </a:lnTo>
                  <a:lnTo>
                    <a:pt x="310" y="154"/>
                  </a:lnTo>
                  <a:lnTo>
                    <a:pt x="310" y="156"/>
                  </a:lnTo>
                  <a:lnTo>
                    <a:pt x="310" y="158"/>
                  </a:lnTo>
                  <a:lnTo>
                    <a:pt x="310" y="160"/>
                  </a:lnTo>
                  <a:lnTo>
                    <a:pt x="310" y="162"/>
                  </a:lnTo>
                  <a:lnTo>
                    <a:pt x="310" y="164"/>
                  </a:lnTo>
                  <a:lnTo>
                    <a:pt x="308" y="164"/>
                  </a:lnTo>
                  <a:lnTo>
                    <a:pt x="308" y="166"/>
                  </a:lnTo>
                  <a:lnTo>
                    <a:pt x="308" y="168"/>
                  </a:lnTo>
                  <a:lnTo>
                    <a:pt x="308" y="170"/>
                  </a:lnTo>
                  <a:lnTo>
                    <a:pt x="308" y="172"/>
                  </a:lnTo>
                  <a:lnTo>
                    <a:pt x="308" y="174"/>
                  </a:lnTo>
                  <a:lnTo>
                    <a:pt x="308" y="176"/>
                  </a:lnTo>
                  <a:lnTo>
                    <a:pt x="306" y="178"/>
                  </a:lnTo>
                  <a:lnTo>
                    <a:pt x="306" y="180"/>
                  </a:lnTo>
                  <a:lnTo>
                    <a:pt x="306" y="182"/>
                  </a:lnTo>
                  <a:lnTo>
                    <a:pt x="306" y="182"/>
                  </a:lnTo>
                  <a:lnTo>
                    <a:pt x="306" y="184"/>
                  </a:lnTo>
                  <a:lnTo>
                    <a:pt x="306" y="186"/>
                  </a:lnTo>
                  <a:lnTo>
                    <a:pt x="306" y="188"/>
                  </a:lnTo>
                  <a:lnTo>
                    <a:pt x="304" y="188"/>
                  </a:lnTo>
                  <a:lnTo>
                    <a:pt x="304" y="190"/>
                  </a:lnTo>
                  <a:lnTo>
                    <a:pt x="304" y="192"/>
                  </a:lnTo>
                  <a:lnTo>
                    <a:pt x="304" y="194"/>
                  </a:lnTo>
                  <a:lnTo>
                    <a:pt x="304" y="196"/>
                  </a:lnTo>
                  <a:lnTo>
                    <a:pt x="304" y="198"/>
                  </a:lnTo>
                  <a:lnTo>
                    <a:pt x="304" y="200"/>
                  </a:lnTo>
                  <a:lnTo>
                    <a:pt x="302" y="202"/>
                  </a:lnTo>
                  <a:lnTo>
                    <a:pt x="302" y="204"/>
                  </a:lnTo>
                  <a:lnTo>
                    <a:pt x="302" y="206"/>
                  </a:lnTo>
                  <a:lnTo>
                    <a:pt x="302" y="208"/>
                  </a:lnTo>
                  <a:lnTo>
                    <a:pt x="302" y="210"/>
                  </a:lnTo>
                  <a:lnTo>
                    <a:pt x="300" y="212"/>
                  </a:lnTo>
                  <a:lnTo>
                    <a:pt x="300" y="214"/>
                  </a:lnTo>
                  <a:lnTo>
                    <a:pt x="300" y="216"/>
                  </a:lnTo>
                  <a:lnTo>
                    <a:pt x="300" y="218"/>
                  </a:lnTo>
                  <a:lnTo>
                    <a:pt x="300" y="220"/>
                  </a:lnTo>
                  <a:lnTo>
                    <a:pt x="300" y="222"/>
                  </a:lnTo>
                  <a:lnTo>
                    <a:pt x="300" y="224"/>
                  </a:lnTo>
                  <a:lnTo>
                    <a:pt x="298" y="226"/>
                  </a:lnTo>
                  <a:lnTo>
                    <a:pt x="298" y="228"/>
                  </a:lnTo>
                  <a:lnTo>
                    <a:pt x="298" y="230"/>
                  </a:lnTo>
                  <a:lnTo>
                    <a:pt x="298" y="230"/>
                  </a:lnTo>
                  <a:lnTo>
                    <a:pt x="298" y="232"/>
                  </a:lnTo>
                  <a:lnTo>
                    <a:pt x="298" y="234"/>
                  </a:lnTo>
                  <a:lnTo>
                    <a:pt x="296" y="236"/>
                  </a:lnTo>
                  <a:lnTo>
                    <a:pt x="296" y="238"/>
                  </a:lnTo>
                  <a:lnTo>
                    <a:pt x="296" y="240"/>
                  </a:lnTo>
                  <a:lnTo>
                    <a:pt x="296" y="242"/>
                  </a:lnTo>
                  <a:lnTo>
                    <a:pt x="296" y="244"/>
                  </a:lnTo>
                  <a:lnTo>
                    <a:pt x="296" y="246"/>
                  </a:lnTo>
                  <a:lnTo>
                    <a:pt x="296" y="248"/>
                  </a:lnTo>
                  <a:lnTo>
                    <a:pt x="294" y="248"/>
                  </a:lnTo>
                  <a:lnTo>
                    <a:pt x="294" y="250"/>
                  </a:lnTo>
                  <a:lnTo>
                    <a:pt x="294" y="252"/>
                  </a:lnTo>
                  <a:lnTo>
                    <a:pt x="294" y="254"/>
                  </a:lnTo>
                  <a:lnTo>
                    <a:pt x="294" y="256"/>
                  </a:lnTo>
                  <a:lnTo>
                    <a:pt x="294" y="258"/>
                  </a:lnTo>
                  <a:lnTo>
                    <a:pt x="292" y="262"/>
                  </a:lnTo>
                  <a:lnTo>
                    <a:pt x="292" y="264"/>
                  </a:lnTo>
                  <a:lnTo>
                    <a:pt x="292" y="266"/>
                  </a:lnTo>
                  <a:lnTo>
                    <a:pt x="292" y="268"/>
                  </a:lnTo>
                  <a:lnTo>
                    <a:pt x="292" y="270"/>
                  </a:lnTo>
                  <a:lnTo>
                    <a:pt x="290" y="270"/>
                  </a:lnTo>
                  <a:lnTo>
                    <a:pt x="290" y="270"/>
                  </a:lnTo>
                  <a:lnTo>
                    <a:pt x="288" y="270"/>
                  </a:lnTo>
                  <a:lnTo>
                    <a:pt x="288" y="268"/>
                  </a:lnTo>
                  <a:lnTo>
                    <a:pt x="286" y="268"/>
                  </a:lnTo>
                  <a:lnTo>
                    <a:pt x="284" y="268"/>
                  </a:lnTo>
                  <a:lnTo>
                    <a:pt x="282" y="268"/>
                  </a:lnTo>
                  <a:lnTo>
                    <a:pt x="280" y="268"/>
                  </a:lnTo>
                  <a:lnTo>
                    <a:pt x="278" y="268"/>
                  </a:lnTo>
                  <a:lnTo>
                    <a:pt x="276" y="266"/>
                  </a:lnTo>
                  <a:lnTo>
                    <a:pt x="274" y="266"/>
                  </a:lnTo>
                  <a:lnTo>
                    <a:pt x="272" y="266"/>
                  </a:lnTo>
                  <a:lnTo>
                    <a:pt x="270" y="266"/>
                  </a:lnTo>
                  <a:lnTo>
                    <a:pt x="268" y="266"/>
                  </a:lnTo>
                  <a:lnTo>
                    <a:pt x="266" y="266"/>
                  </a:lnTo>
                  <a:lnTo>
                    <a:pt x="266" y="264"/>
                  </a:lnTo>
                  <a:lnTo>
                    <a:pt x="264" y="264"/>
                  </a:lnTo>
                  <a:lnTo>
                    <a:pt x="262" y="264"/>
                  </a:lnTo>
                  <a:lnTo>
                    <a:pt x="260" y="264"/>
                  </a:lnTo>
                  <a:lnTo>
                    <a:pt x="258" y="264"/>
                  </a:lnTo>
                  <a:lnTo>
                    <a:pt x="256" y="264"/>
                  </a:lnTo>
                  <a:lnTo>
                    <a:pt x="254" y="262"/>
                  </a:lnTo>
                  <a:lnTo>
                    <a:pt x="252" y="262"/>
                  </a:lnTo>
                  <a:lnTo>
                    <a:pt x="250" y="262"/>
                  </a:lnTo>
                  <a:lnTo>
                    <a:pt x="248" y="262"/>
                  </a:lnTo>
                  <a:lnTo>
                    <a:pt x="246" y="262"/>
                  </a:lnTo>
                  <a:lnTo>
                    <a:pt x="244" y="262"/>
                  </a:lnTo>
                  <a:lnTo>
                    <a:pt x="244" y="260"/>
                  </a:lnTo>
                  <a:lnTo>
                    <a:pt x="242" y="260"/>
                  </a:lnTo>
                  <a:lnTo>
                    <a:pt x="242" y="260"/>
                  </a:lnTo>
                  <a:lnTo>
                    <a:pt x="240" y="260"/>
                  </a:lnTo>
                  <a:lnTo>
                    <a:pt x="238" y="260"/>
                  </a:lnTo>
                  <a:lnTo>
                    <a:pt x="236" y="260"/>
                  </a:lnTo>
                  <a:lnTo>
                    <a:pt x="234" y="258"/>
                  </a:lnTo>
                  <a:lnTo>
                    <a:pt x="232" y="258"/>
                  </a:lnTo>
                  <a:lnTo>
                    <a:pt x="230" y="258"/>
                  </a:lnTo>
                  <a:lnTo>
                    <a:pt x="228" y="258"/>
                  </a:lnTo>
                  <a:lnTo>
                    <a:pt x="226" y="258"/>
                  </a:lnTo>
                  <a:lnTo>
                    <a:pt x="224" y="258"/>
                  </a:lnTo>
                  <a:lnTo>
                    <a:pt x="224" y="256"/>
                  </a:lnTo>
                  <a:lnTo>
                    <a:pt x="222" y="256"/>
                  </a:lnTo>
                  <a:lnTo>
                    <a:pt x="220" y="256"/>
                  </a:lnTo>
                  <a:lnTo>
                    <a:pt x="218" y="256"/>
                  </a:lnTo>
                  <a:lnTo>
                    <a:pt x="216" y="256"/>
                  </a:lnTo>
                  <a:lnTo>
                    <a:pt x="214" y="256"/>
                  </a:lnTo>
                  <a:lnTo>
                    <a:pt x="212" y="254"/>
                  </a:lnTo>
                  <a:lnTo>
                    <a:pt x="210" y="254"/>
                  </a:lnTo>
                  <a:lnTo>
                    <a:pt x="208" y="254"/>
                  </a:lnTo>
                  <a:lnTo>
                    <a:pt x="206" y="254"/>
                  </a:lnTo>
                  <a:lnTo>
                    <a:pt x="204" y="254"/>
                  </a:lnTo>
                  <a:lnTo>
                    <a:pt x="202" y="254"/>
                  </a:lnTo>
                  <a:lnTo>
                    <a:pt x="202" y="252"/>
                  </a:lnTo>
                  <a:lnTo>
                    <a:pt x="200" y="252"/>
                  </a:lnTo>
                  <a:lnTo>
                    <a:pt x="198" y="252"/>
                  </a:lnTo>
                  <a:lnTo>
                    <a:pt x="196" y="252"/>
                  </a:lnTo>
                  <a:lnTo>
                    <a:pt x="194" y="252"/>
                  </a:lnTo>
                  <a:lnTo>
                    <a:pt x="194" y="252"/>
                  </a:lnTo>
                  <a:lnTo>
                    <a:pt x="194" y="250"/>
                  </a:lnTo>
                  <a:lnTo>
                    <a:pt x="192" y="250"/>
                  </a:lnTo>
                  <a:lnTo>
                    <a:pt x="190" y="250"/>
                  </a:lnTo>
                  <a:lnTo>
                    <a:pt x="188" y="250"/>
                  </a:lnTo>
                  <a:lnTo>
                    <a:pt x="186" y="250"/>
                  </a:lnTo>
                  <a:lnTo>
                    <a:pt x="184" y="250"/>
                  </a:lnTo>
                  <a:lnTo>
                    <a:pt x="184" y="248"/>
                  </a:lnTo>
                  <a:lnTo>
                    <a:pt x="182" y="248"/>
                  </a:lnTo>
                  <a:lnTo>
                    <a:pt x="180" y="248"/>
                  </a:lnTo>
                  <a:lnTo>
                    <a:pt x="178" y="248"/>
                  </a:lnTo>
                  <a:lnTo>
                    <a:pt x="176" y="248"/>
                  </a:lnTo>
                  <a:lnTo>
                    <a:pt x="174" y="248"/>
                  </a:lnTo>
                  <a:lnTo>
                    <a:pt x="174" y="246"/>
                  </a:lnTo>
                  <a:lnTo>
                    <a:pt x="168" y="246"/>
                  </a:lnTo>
                  <a:lnTo>
                    <a:pt x="166" y="246"/>
                  </a:lnTo>
                  <a:lnTo>
                    <a:pt x="164" y="246"/>
                  </a:lnTo>
                  <a:lnTo>
                    <a:pt x="164" y="244"/>
                  </a:lnTo>
                  <a:lnTo>
                    <a:pt x="162" y="244"/>
                  </a:lnTo>
                  <a:lnTo>
                    <a:pt x="160" y="244"/>
                  </a:lnTo>
                  <a:lnTo>
                    <a:pt x="158" y="244"/>
                  </a:lnTo>
                  <a:lnTo>
                    <a:pt x="152" y="242"/>
                  </a:lnTo>
                  <a:lnTo>
                    <a:pt x="150" y="242"/>
                  </a:lnTo>
                  <a:lnTo>
                    <a:pt x="148" y="242"/>
                  </a:lnTo>
                  <a:lnTo>
                    <a:pt x="146" y="240"/>
                  </a:lnTo>
                  <a:lnTo>
                    <a:pt x="146" y="240"/>
                  </a:lnTo>
                  <a:lnTo>
                    <a:pt x="144" y="240"/>
                  </a:lnTo>
                  <a:lnTo>
                    <a:pt x="142" y="240"/>
                  </a:lnTo>
                  <a:lnTo>
                    <a:pt x="140" y="240"/>
                  </a:lnTo>
                  <a:lnTo>
                    <a:pt x="138" y="238"/>
                  </a:lnTo>
                  <a:lnTo>
                    <a:pt x="136" y="238"/>
                  </a:lnTo>
                  <a:lnTo>
                    <a:pt x="134" y="238"/>
                  </a:lnTo>
                  <a:lnTo>
                    <a:pt x="132" y="238"/>
                  </a:lnTo>
                  <a:lnTo>
                    <a:pt x="130" y="238"/>
                  </a:lnTo>
                  <a:lnTo>
                    <a:pt x="128" y="236"/>
                  </a:lnTo>
                  <a:lnTo>
                    <a:pt x="126" y="236"/>
                  </a:lnTo>
                  <a:lnTo>
                    <a:pt x="124" y="236"/>
                  </a:lnTo>
                  <a:lnTo>
                    <a:pt x="122" y="236"/>
                  </a:lnTo>
                  <a:lnTo>
                    <a:pt x="120" y="234"/>
                  </a:lnTo>
                  <a:lnTo>
                    <a:pt x="118" y="234"/>
                  </a:lnTo>
                  <a:lnTo>
                    <a:pt x="116" y="234"/>
                  </a:lnTo>
                  <a:lnTo>
                    <a:pt x="114" y="234"/>
                  </a:lnTo>
                  <a:lnTo>
                    <a:pt x="112" y="234"/>
                  </a:lnTo>
                  <a:lnTo>
                    <a:pt x="112" y="232"/>
                  </a:lnTo>
                  <a:lnTo>
                    <a:pt x="110" y="232"/>
                  </a:lnTo>
                  <a:lnTo>
                    <a:pt x="108" y="232"/>
                  </a:lnTo>
                  <a:lnTo>
                    <a:pt x="106" y="232"/>
                  </a:lnTo>
                  <a:lnTo>
                    <a:pt x="104" y="232"/>
                  </a:lnTo>
                  <a:lnTo>
                    <a:pt x="102" y="230"/>
                  </a:lnTo>
                  <a:lnTo>
                    <a:pt x="100" y="230"/>
                  </a:lnTo>
                  <a:lnTo>
                    <a:pt x="98" y="230"/>
                  </a:lnTo>
                  <a:lnTo>
                    <a:pt x="96" y="230"/>
                  </a:lnTo>
                  <a:lnTo>
                    <a:pt x="96" y="230"/>
                  </a:lnTo>
                  <a:lnTo>
                    <a:pt x="94" y="230"/>
                  </a:lnTo>
                  <a:lnTo>
                    <a:pt x="92" y="230"/>
                  </a:lnTo>
                  <a:lnTo>
                    <a:pt x="90" y="230"/>
                  </a:lnTo>
                  <a:lnTo>
                    <a:pt x="90" y="228"/>
                  </a:lnTo>
                  <a:lnTo>
                    <a:pt x="84" y="228"/>
                  </a:lnTo>
                  <a:lnTo>
                    <a:pt x="66" y="224"/>
                  </a:lnTo>
                  <a:lnTo>
                    <a:pt x="64" y="222"/>
                  </a:lnTo>
                  <a:lnTo>
                    <a:pt x="42" y="216"/>
                  </a:lnTo>
                  <a:lnTo>
                    <a:pt x="40" y="216"/>
                  </a:lnTo>
                  <a:lnTo>
                    <a:pt x="38" y="216"/>
                  </a:lnTo>
                  <a:lnTo>
                    <a:pt x="36" y="216"/>
                  </a:lnTo>
                  <a:lnTo>
                    <a:pt x="36" y="214"/>
                  </a:lnTo>
                  <a:lnTo>
                    <a:pt x="34" y="214"/>
                  </a:lnTo>
                  <a:lnTo>
                    <a:pt x="32" y="214"/>
                  </a:lnTo>
                  <a:lnTo>
                    <a:pt x="30" y="214"/>
                  </a:lnTo>
                  <a:lnTo>
                    <a:pt x="28" y="214"/>
                  </a:lnTo>
                  <a:lnTo>
                    <a:pt x="28" y="212"/>
                  </a:lnTo>
                  <a:lnTo>
                    <a:pt x="26" y="212"/>
                  </a:lnTo>
                  <a:lnTo>
                    <a:pt x="24" y="212"/>
                  </a:lnTo>
                  <a:lnTo>
                    <a:pt x="22" y="212"/>
                  </a:lnTo>
                  <a:lnTo>
                    <a:pt x="18" y="210"/>
                  </a:lnTo>
                  <a:lnTo>
                    <a:pt x="16" y="210"/>
                  </a:lnTo>
                  <a:lnTo>
                    <a:pt x="14" y="210"/>
                  </a:lnTo>
                  <a:lnTo>
                    <a:pt x="12" y="208"/>
                  </a:lnTo>
                  <a:lnTo>
                    <a:pt x="10" y="208"/>
                  </a:lnTo>
                  <a:lnTo>
                    <a:pt x="8" y="208"/>
                  </a:lnTo>
                  <a:lnTo>
                    <a:pt x="6" y="208"/>
                  </a:lnTo>
                  <a:lnTo>
                    <a:pt x="6" y="206"/>
                  </a:lnTo>
                  <a:lnTo>
                    <a:pt x="4" y="206"/>
                  </a:lnTo>
                  <a:lnTo>
                    <a:pt x="2" y="206"/>
                  </a:lnTo>
                  <a:lnTo>
                    <a:pt x="0" y="206"/>
                  </a:lnTo>
                  <a:lnTo>
                    <a:pt x="0" y="204"/>
                  </a:lnTo>
                  <a:lnTo>
                    <a:pt x="0" y="202"/>
                  </a:lnTo>
                  <a:lnTo>
                    <a:pt x="0" y="200"/>
                  </a:lnTo>
                  <a:lnTo>
                    <a:pt x="0" y="198"/>
                  </a:lnTo>
                  <a:lnTo>
                    <a:pt x="0" y="196"/>
                  </a:lnTo>
                  <a:lnTo>
                    <a:pt x="0" y="194"/>
                  </a:lnTo>
                  <a:lnTo>
                    <a:pt x="0" y="192"/>
                  </a:lnTo>
                  <a:lnTo>
                    <a:pt x="2" y="192"/>
                  </a:lnTo>
                  <a:lnTo>
                    <a:pt x="2" y="190"/>
                  </a:lnTo>
                  <a:lnTo>
                    <a:pt x="2" y="188"/>
                  </a:lnTo>
                  <a:lnTo>
                    <a:pt x="2" y="186"/>
                  </a:lnTo>
                  <a:lnTo>
                    <a:pt x="2" y="184"/>
                  </a:lnTo>
                  <a:lnTo>
                    <a:pt x="4" y="184"/>
                  </a:lnTo>
                  <a:lnTo>
                    <a:pt x="4" y="182"/>
                  </a:lnTo>
                  <a:lnTo>
                    <a:pt x="4" y="182"/>
                  </a:lnTo>
                  <a:lnTo>
                    <a:pt x="4" y="180"/>
                  </a:lnTo>
                  <a:lnTo>
                    <a:pt x="6" y="178"/>
                  </a:lnTo>
                  <a:lnTo>
                    <a:pt x="6" y="176"/>
                  </a:lnTo>
                  <a:lnTo>
                    <a:pt x="6" y="174"/>
                  </a:lnTo>
                  <a:lnTo>
                    <a:pt x="6" y="172"/>
                  </a:lnTo>
                  <a:lnTo>
                    <a:pt x="8" y="172"/>
                  </a:lnTo>
                  <a:lnTo>
                    <a:pt x="8" y="170"/>
                  </a:lnTo>
                  <a:lnTo>
                    <a:pt x="8" y="168"/>
                  </a:lnTo>
                  <a:lnTo>
                    <a:pt x="8" y="166"/>
                  </a:lnTo>
                  <a:lnTo>
                    <a:pt x="10" y="166"/>
                  </a:lnTo>
                  <a:lnTo>
                    <a:pt x="10" y="164"/>
                  </a:lnTo>
                  <a:lnTo>
                    <a:pt x="10" y="162"/>
                  </a:lnTo>
                  <a:lnTo>
                    <a:pt x="10" y="160"/>
                  </a:lnTo>
                  <a:lnTo>
                    <a:pt x="12" y="158"/>
                  </a:lnTo>
                  <a:lnTo>
                    <a:pt x="12" y="156"/>
                  </a:lnTo>
                  <a:lnTo>
                    <a:pt x="12" y="154"/>
                  </a:lnTo>
                  <a:lnTo>
                    <a:pt x="12" y="152"/>
                  </a:lnTo>
                  <a:lnTo>
                    <a:pt x="14" y="150"/>
                  </a:lnTo>
                  <a:lnTo>
                    <a:pt x="14" y="148"/>
                  </a:lnTo>
                  <a:lnTo>
                    <a:pt x="14" y="146"/>
                  </a:lnTo>
                  <a:lnTo>
                    <a:pt x="14" y="144"/>
                  </a:lnTo>
                  <a:lnTo>
                    <a:pt x="16" y="142"/>
                  </a:lnTo>
                  <a:lnTo>
                    <a:pt x="16" y="140"/>
                  </a:lnTo>
                  <a:lnTo>
                    <a:pt x="16" y="138"/>
                  </a:lnTo>
                  <a:lnTo>
                    <a:pt x="16" y="136"/>
                  </a:lnTo>
                  <a:lnTo>
                    <a:pt x="16" y="134"/>
                  </a:lnTo>
                  <a:lnTo>
                    <a:pt x="18" y="134"/>
                  </a:lnTo>
                  <a:lnTo>
                    <a:pt x="18" y="130"/>
                  </a:lnTo>
                  <a:lnTo>
                    <a:pt x="18" y="128"/>
                  </a:lnTo>
                  <a:lnTo>
                    <a:pt x="20" y="128"/>
                  </a:lnTo>
                  <a:lnTo>
                    <a:pt x="20" y="126"/>
                  </a:lnTo>
                  <a:lnTo>
                    <a:pt x="20" y="124"/>
                  </a:lnTo>
                  <a:lnTo>
                    <a:pt x="20" y="122"/>
                  </a:lnTo>
                  <a:lnTo>
                    <a:pt x="22" y="120"/>
                  </a:lnTo>
                  <a:lnTo>
                    <a:pt x="22" y="118"/>
                  </a:lnTo>
                  <a:lnTo>
                    <a:pt x="22" y="116"/>
                  </a:lnTo>
                  <a:lnTo>
                    <a:pt x="22" y="114"/>
                  </a:lnTo>
                  <a:lnTo>
                    <a:pt x="24" y="114"/>
                  </a:lnTo>
                  <a:lnTo>
                    <a:pt x="24" y="112"/>
                  </a:lnTo>
                  <a:lnTo>
                    <a:pt x="24" y="110"/>
                  </a:lnTo>
                  <a:lnTo>
                    <a:pt x="24" y="108"/>
                  </a:lnTo>
                  <a:lnTo>
                    <a:pt x="26" y="108"/>
                  </a:lnTo>
                  <a:lnTo>
                    <a:pt x="26" y="106"/>
                  </a:lnTo>
                  <a:lnTo>
                    <a:pt x="26" y="104"/>
                  </a:lnTo>
                  <a:lnTo>
                    <a:pt x="26" y="102"/>
                  </a:lnTo>
                  <a:lnTo>
                    <a:pt x="26" y="100"/>
                  </a:lnTo>
                  <a:lnTo>
                    <a:pt x="28" y="100"/>
                  </a:lnTo>
                  <a:lnTo>
                    <a:pt x="28" y="98"/>
                  </a:lnTo>
                  <a:lnTo>
                    <a:pt x="28" y="96"/>
                  </a:lnTo>
                  <a:lnTo>
                    <a:pt x="28" y="94"/>
                  </a:lnTo>
                  <a:lnTo>
                    <a:pt x="30" y="94"/>
                  </a:lnTo>
                  <a:lnTo>
                    <a:pt x="30" y="92"/>
                  </a:lnTo>
                  <a:lnTo>
                    <a:pt x="30" y="90"/>
                  </a:lnTo>
                  <a:lnTo>
                    <a:pt x="30" y="88"/>
                  </a:lnTo>
                  <a:lnTo>
                    <a:pt x="32" y="86"/>
                  </a:lnTo>
                  <a:lnTo>
                    <a:pt x="32" y="86"/>
                  </a:lnTo>
                  <a:lnTo>
                    <a:pt x="32" y="84"/>
                  </a:lnTo>
                  <a:lnTo>
                    <a:pt x="32" y="82"/>
                  </a:lnTo>
                  <a:lnTo>
                    <a:pt x="34" y="80"/>
                  </a:lnTo>
                  <a:lnTo>
                    <a:pt x="34" y="78"/>
                  </a:lnTo>
                  <a:lnTo>
                    <a:pt x="34" y="74"/>
                  </a:lnTo>
                  <a:lnTo>
                    <a:pt x="36" y="74"/>
                  </a:lnTo>
                  <a:lnTo>
                    <a:pt x="36" y="72"/>
                  </a:lnTo>
                  <a:lnTo>
                    <a:pt x="36" y="70"/>
                  </a:lnTo>
                  <a:lnTo>
                    <a:pt x="36" y="68"/>
                  </a:lnTo>
                  <a:lnTo>
                    <a:pt x="38" y="66"/>
                  </a:lnTo>
                  <a:lnTo>
                    <a:pt x="38" y="64"/>
                  </a:lnTo>
                  <a:lnTo>
                    <a:pt x="38" y="62"/>
                  </a:lnTo>
                  <a:lnTo>
                    <a:pt x="38" y="60"/>
                  </a:lnTo>
                  <a:lnTo>
                    <a:pt x="40" y="58"/>
                  </a:lnTo>
                  <a:lnTo>
                    <a:pt x="40" y="56"/>
                  </a:lnTo>
                  <a:lnTo>
                    <a:pt x="40" y="54"/>
                  </a:lnTo>
                  <a:lnTo>
                    <a:pt x="40" y="52"/>
                  </a:lnTo>
                  <a:lnTo>
                    <a:pt x="42" y="52"/>
                  </a:lnTo>
                  <a:lnTo>
                    <a:pt x="42" y="50"/>
                  </a:lnTo>
                  <a:lnTo>
                    <a:pt x="42" y="48"/>
                  </a:lnTo>
                  <a:lnTo>
                    <a:pt x="42" y="46"/>
                  </a:lnTo>
                  <a:lnTo>
                    <a:pt x="44" y="44"/>
                  </a:lnTo>
                  <a:lnTo>
                    <a:pt x="44" y="42"/>
                  </a:lnTo>
                  <a:lnTo>
                    <a:pt x="44" y="40"/>
                  </a:lnTo>
                  <a:lnTo>
                    <a:pt x="44" y="38"/>
                  </a:lnTo>
                  <a:lnTo>
                    <a:pt x="46" y="38"/>
                  </a:lnTo>
                  <a:lnTo>
                    <a:pt x="46" y="34"/>
                  </a:lnTo>
                  <a:lnTo>
                    <a:pt x="46" y="32"/>
                  </a:lnTo>
                  <a:lnTo>
                    <a:pt x="48" y="32"/>
                  </a:lnTo>
                  <a:lnTo>
                    <a:pt x="48" y="30"/>
                  </a:lnTo>
                  <a:lnTo>
                    <a:pt x="48" y="28"/>
                  </a:lnTo>
                  <a:lnTo>
                    <a:pt x="48" y="26"/>
                  </a:lnTo>
                  <a:lnTo>
                    <a:pt x="48" y="26"/>
                  </a:lnTo>
                  <a:lnTo>
                    <a:pt x="48" y="24"/>
                  </a:lnTo>
                  <a:lnTo>
                    <a:pt x="48" y="22"/>
                  </a:lnTo>
                  <a:lnTo>
                    <a:pt x="48" y="20"/>
                  </a:lnTo>
                  <a:lnTo>
                    <a:pt x="50" y="18"/>
                  </a:lnTo>
                  <a:lnTo>
                    <a:pt x="50" y="16"/>
                  </a:lnTo>
                  <a:lnTo>
                    <a:pt x="50" y="14"/>
                  </a:lnTo>
                  <a:lnTo>
                    <a:pt x="50" y="12"/>
                  </a:lnTo>
                  <a:lnTo>
                    <a:pt x="52" y="10"/>
                  </a:lnTo>
                  <a:lnTo>
                    <a:pt x="52" y="8"/>
                  </a:lnTo>
                  <a:lnTo>
                    <a:pt x="52" y="6"/>
                  </a:lnTo>
                  <a:lnTo>
                    <a:pt x="52" y="4"/>
                  </a:lnTo>
                  <a:lnTo>
                    <a:pt x="54" y="2"/>
                  </a:lnTo>
                  <a:lnTo>
                    <a:pt x="54" y="0"/>
                  </a:lnTo>
                  <a:lnTo>
                    <a:pt x="56" y="0"/>
                  </a:lnTo>
                  <a:lnTo>
                    <a:pt x="58" y="0"/>
                  </a:lnTo>
                  <a:lnTo>
                    <a:pt x="58" y="2"/>
                  </a:lnTo>
                  <a:lnTo>
                    <a:pt x="60" y="2"/>
                  </a:lnTo>
                  <a:lnTo>
                    <a:pt x="62" y="2"/>
                  </a:lnTo>
                  <a:lnTo>
                    <a:pt x="64" y="2"/>
                  </a:lnTo>
                  <a:lnTo>
                    <a:pt x="66" y="4"/>
                  </a:lnTo>
                  <a:lnTo>
                    <a:pt x="70" y="4"/>
                  </a:lnTo>
                  <a:lnTo>
                    <a:pt x="74" y="6"/>
                  </a:lnTo>
                  <a:lnTo>
                    <a:pt x="76" y="6"/>
                  </a:lnTo>
                  <a:lnTo>
                    <a:pt x="78" y="6"/>
                  </a:lnTo>
                  <a:lnTo>
                    <a:pt x="82" y="8"/>
                  </a:lnTo>
                  <a:lnTo>
                    <a:pt x="84" y="8"/>
                  </a:lnTo>
                  <a:lnTo>
                    <a:pt x="86" y="8"/>
                  </a:lnTo>
                  <a:lnTo>
                    <a:pt x="88" y="8"/>
                  </a:lnTo>
                  <a:lnTo>
                    <a:pt x="88" y="10"/>
                  </a:lnTo>
                  <a:lnTo>
                    <a:pt x="90" y="10"/>
                  </a:lnTo>
                  <a:lnTo>
                    <a:pt x="92" y="10"/>
                  </a:lnTo>
                  <a:lnTo>
                    <a:pt x="94" y="10"/>
                  </a:lnTo>
                  <a:lnTo>
                    <a:pt x="96" y="10"/>
                  </a:lnTo>
                  <a:lnTo>
                    <a:pt x="96" y="12"/>
                  </a:lnTo>
                  <a:lnTo>
                    <a:pt x="96" y="12"/>
                  </a:lnTo>
                  <a:lnTo>
                    <a:pt x="98" y="12"/>
                  </a:lnTo>
                  <a:lnTo>
                    <a:pt x="100" y="12"/>
                  </a:lnTo>
                  <a:lnTo>
                    <a:pt x="102" y="14"/>
                  </a:lnTo>
                  <a:lnTo>
                    <a:pt x="104" y="14"/>
                  </a:lnTo>
                  <a:lnTo>
                    <a:pt x="106" y="14"/>
                  </a:lnTo>
                  <a:lnTo>
                    <a:pt x="108" y="14"/>
                  </a:lnTo>
                  <a:lnTo>
                    <a:pt x="112" y="16"/>
                  </a:lnTo>
                  <a:lnTo>
                    <a:pt x="114" y="16"/>
                  </a:lnTo>
                  <a:lnTo>
                    <a:pt x="116" y="16"/>
                  </a:lnTo>
                  <a:lnTo>
                    <a:pt x="118" y="16"/>
                  </a:lnTo>
                  <a:lnTo>
                    <a:pt x="118" y="18"/>
                  </a:lnTo>
                  <a:lnTo>
                    <a:pt x="120" y="18"/>
                  </a:lnTo>
                  <a:lnTo>
                    <a:pt x="122" y="18"/>
                  </a:lnTo>
                  <a:lnTo>
                    <a:pt x="124" y="18"/>
                  </a:lnTo>
                  <a:lnTo>
                    <a:pt x="126" y="18"/>
                  </a:lnTo>
                  <a:lnTo>
                    <a:pt x="126" y="20"/>
                  </a:lnTo>
                  <a:lnTo>
                    <a:pt x="128" y="20"/>
                  </a:lnTo>
                  <a:lnTo>
                    <a:pt x="130" y="20"/>
                  </a:lnTo>
                  <a:lnTo>
                    <a:pt x="132" y="20"/>
                  </a:lnTo>
                  <a:lnTo>
                    <a:pt x="136" y="22"/>
                  </a:lnTo>
                  <a:lnTo>
                    <a:pt x="138" y="22"/>
                  </a:lnTo>
                  <a:lnTo>
                    <a:pt x="140" y="22"/>
                  </a:lnTo>
                  <a:close/>
                </a:path>
              </a:pathLst>
            </a:custGeom>
            <a:solidFill>
              <a:srgbClr val="F8BAEF"/>
            </a:solidFill>
            <a:ln w="3175">
              <a:solidFill>
                <a:schemeClr val="bg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black"/>
                </a:solidFill>
                <a:effectLst/>
                <a:uLnTx/>
                <a:uFillTx/>
                <a:ea typeface="宋体" panose="02010600030101010101" pitchFamily="2" charset="-122"/>
              </a:endParaRPr>
            </a:p>
          </p:txBody>
        </p:sp>
        <p:sp>
          <p:nvSpPr>
            <p:cNvPr id="6" name="Freeform 2798">
              <a:extLst>
                <a:ext uri="{FF2B5EF4-FFF2-40B4-BE49-F238E27FC236}">
                  <a16:creationId xmlns:a16="http://schemas.microsoft.com/office/drawing/2014/main" id="{5909A934-6E7C-28FE-03F1-964D8DA86EC2}"/>
                </a:ext>
              </a:extLst>
            </p:cNvPr>
            <p:cNvSpPr>
              <a:spLocks/>
            </p:cNvSpPr>
            <p:nvPr/>
          </p:nvSpPr>
          <p:spPr bwMode="auto">
            <a:xfrm>
              <a:off x="4230688" y="2298700"/>
              <a:ext cx="638175" cy="498475"/>
            </a:xfrm>
            <a:custGeom>
              <a:avLst/>
              <a:gdLst>
                <a:gd name="T0" fmla="*/ 92 w 402"/>
                <a:gd name="T1" fmla="*/ 30 h 314"/>
                <a:gd name="T2" fmla="*/ 112 w 402"/>
                <a:gd name="T3" fmla="*/ 34 h 314"/>
                <a:gd name="T4" fmla="*/ 140 w 402"/>
                <a:gd name="T5" fmla="*/ 44 h 314"/>
                <a:gd name="T6" fmla="*/ 160 w 402"/>
                <a:gd name="T7" fmla="*/ 50 h 314"/>
                <a:gd name="T8" fmla="*/ 182 w 402"/>
                <a:gd name="T9" fmla="*/ 58 h 314"/>
                <a:gd name="T10" fmla="*/ 204 w 402"/>
                <a:gd name="T11" fmla="*/ 64 h 314"/>
                <a:gd name="T12" fmla="*/ 224 w 402"/>
                <a:gd name="T13" fmla="*/ 72 h 314"/>
                <a:gd name="T14" fmla="*/ 248 w 402"/>
                <a:gd name="T15" fmla="*/ 78 h 314"/>
                <a:gd name="T16" fmla="*/ 278 w 402"/>
                <a:gd name="T17" fmla="*/ 84 h 314"/>
                <a:gd name="T18" fmla="*/ 316 w 402"/>
                <a:gd name="T19" fmla="*/ 94 h 314"/>
                <a:gd name="T20" fmla="*/ 342 w 402"/>
                <a:gd name="T21" fmla="*/ 100 h 314"/>
                <a:gd name="T22" fmla="*/ 364 w 402"/>
                <a:gd name="T23" fmla="*/ 106 h 314"/>
                <a:gd name="T24" fmla="*/ 384 w 402"/>
                <a:gd name="T25" fmla="*/ 110 h 314"/>
                <a:gd name="T26" fmla="*/ 402 w 402"/>
                <a:gd name="T27" fmla="*/ 118 h 314"/>
                <a:gd name="T28" fmla="*/ 398 w 402"/>
                <a:gd name="T29" fmla="*/ 140 h 314"/>
                <a:gd name="T30" fmla="*/ 392 w 402"/>
                <a:gd name="T31" fmla="*/ 162 h 314"/>
                <a:gd name="T32" fmla="*/ 388 w 402"/>
                <a:gd name="T33" fmla="*/ 184 h 314"/>
                <a:gd name="T34" fmla="*/ 384 w 402"/>
                <a:gd name="T35" fmla="*/ 208 h 314"/>
                <a:gd name="T36" fmla="*/ 380 w 402"/>
                <a:gd name="T37" fmla="*/ 228 h 314"/>
                <a:gd name="T38" fmla="*/ 374 w 402"/>
                <a:gd name="T39" fmla="*/ 252 h 314"/>
                <a:gd name="T40" fmla="*/ 370 w 402"/>
                <a:gd name="T41" fmla="*/ 276 h 314"/>
                <a:gd name="T42" fmla="*/ 366 w 402"/>
                <a:gd name="T43" fmla="*/ 300 h 314"/>
                <a:gd name="T44" fmla="*/ 352 w 402"/>
                <a:gd name="T45" fmla="*/ 312 h 314"/>
                <a:gd name="T46" fmla="*/ 326 w 402"/>
                <a:gd name="T47" fmla="*/ 306 h 314"/>
                <a:gd name="T48" fmla="*/ 296 w 402"/>
                <a:gd name="T49" fmla="*/ 300 h 314"/>
                <a:gd name="T50" fmla="*/ 272 w 402"/>
                <a:gd name="T51" fmla="*/ 294 h 314"/>
                <a:gd name="T52" fmla="*/ 254 w 402"/>
                <a:gd name="T53" fmla="*/ 288 h 314"/>
                <a:gd name="T54" fmla="*/ 226 w 402"/>
                <a:gd name="T55" fmla="*/ 282 h 314"/>
                <a:gd name="T56" fmla="*/ 206 w 402"/>
                <a:gd name="T57" fmla="*/ 276 h 314"/>
                <a:gd name="T58" fmla="*/ 178 w 402"/>
                <a:gd name="T59" fmla="*/ 270 h 314"/>
                <a:gd name="T60" fmla="*/ 158 w 402"/>
                <a:gd name="T61" fmla="*/ 264 h 314"/>
                <a:gd name="T62" fmla="*/ 132 w 402"/>
                <a:gd name="T63" fmla="*/ 256 h 314"/>
                <a:gd name="T64" fmla="*/ 114 w 402"/>
                <a:gd name="T65" fmla="*/ 260 h 314"/>
                <a:gd name="T66" fmla="*/ 104 w 402"/>
                <a:gd name="T67" fmla="*/ 266 h 314"/>
                <a:gd name="T68" fmla="*/ 96 w 402"/>
                <a:gd name="T69" fmla="*/ 264 h 314"/>
                <a:gd name="T70" fmla="*/ 84 w 402"/>
                <a:gd name="T71" fmla="*/ 266 h 314"/>
                <a:gd name="T72" fmla="*/ 74 w 402"/>
                <a:gd name="T73" fmla="*/ 262 h 314"/>
                <a:gd name="T74" fmla="*/ 64 w 402"/>
                <a:gd name="T75" fmla="*/ 260 h 314"/>
                <a:gd name="T76" fmla="*/ 50 w 402"/>
                <a:gd name="T77" fmla="*/ 256 h 314"/>
                <a:gd name="T78" fmla="*/ 38 w 402"/>
                <a:gd name="T79" fmla="*/ 254 h 314"/>
                <a:gd name="T80" fmla="*/ 40 w 402"/>
                <a:gd name="T81" fmla="*/ 238 h 314"/>
                <a:gd name="T82" fmla="*/ 32 w 402"/>
                <a:gd name="T83" fmla="*/ 224 h 314"/>
                <a:gd name="T84" fmla="*/ 30 w 402"/>
                <a:gd name="T85" fmla="*/ 208 h 314"/>
                <a:gd name="T86" fmla="*/ 30 w 402"/>
                <a:gd name="T87" fmla="*/ 198 h 314"/>
                <a:gd name="T88" fmla="*/ 28 w 402"/>
                <a:gd name="T89" fmla="*/ 188 h 314"/>
                <a:gd name="T90" fmla="*/ 18 w 402"/>
                <a:gd name="T91" fmla="*/ 186 h 314"/>
                <a:gd name="T92" fmla="*/ 10 w 402"/>
                <a:gd name="T93" fmla="*/ 188 h 314"/>
                <a:gd name="T94" fmla="*/ 10 w 402"/>
                <a:gd name="T95" fmla="*/ 176 h 314"/>
                <a:gd name="T96" fmla="*/ 18 w 402"/>
                <a:gd name="T97" fmla="*/ 164 h 314"/>
                <a:gd name="T98" fmla="*/ 22 w 402"/>
                <a:gd name="T99" fmla="*/ 154 h 314"/>
                <a:gd name="T100" fmla="*/ 28 w 402"/>
                <a:gd name="T101" fmla="*/ 140 h 314"/>
                <a:gd name="T102" fmla="*/ 28 w 402"/>
                <a:gd name="T103" fmla="*/ 132 h 314"/>
                <a:gd name="T104" fmla="*/ 18 w 402"/>
                <a:gd name="T105" fmla="*/ 118 h 314"/>
                <a:gd name="T106" fmla="*/ 16 w 402"/>
                <a:gd name="T107" fmla="*/ 106 h 314"/>
                <a:gd name="T108" fmla="*/ 10 w 402"/>
                <a:gd name="T109" fmla="*/ 90 h 314"/>
                <a:gd name="T110" fmla="*/ 2 w 402"/>
                <a:gd name="T111" fmla="*/ 78 h 314"/>
                <a:gd name="T112" fmla="*/ 6 w 402"/>
                <a:gd name="T113" fmla="*/ 68 h 314"/>
                <a:gd name="T114" fmla="*/ 2 w 402"/>
                <a:gd name="T115" fmla="*/ 54 h 314"/>
                <a:gd name="T116" fmla="*/ 8 w 402"/>
                <a:gd name="T117" fmla="*/ 34 h 314"/>
                <a:gd name="T118" fmla="*/ 16 w 402"/>
                <a:gd name="T119" fmla="*/ 12 h 314"/>
                <a:gd name="T120" fmla="*/ 28 w 402"/>
                <a:gd name="T121" fmla="*/ 4 h 314"/>
                <a:gd name="T122" fmla="*/ 50 w 402"/>
                <a:gd name="T123" fmla="*/ 12 h 314"/>
                <a:gd name="T124" fmla="*/ 74 w 402"/>
                <a:gd name="T125" fmla="*/ 22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02" h="314">
                  <a:moveTo>
                    <a:pt x="74" y="22"/>
                  </a:moveTo>
                  <a:lnTo>
                    <a:pt x="76" y="22"/>
                  </a:lnTo>
                  <a:lnTo>
                    <a:pt x="76" y="22"/>
                  </a:lnTo>
                  <a:lnTo>
                    <a:pt x="76" y="24"/>
                  </a:lnTo>
                  <a:lnTo>
                    <a:pt x="78" y="24"/>
                  </a:lnTo>
                  <a:lnTo>
                    <a:pt x="80" y="24"/>
                  </a:lnTo>
                  <a:lnTo>
                    <a:pt x="82" y="26"/>
                  </a:lnTo>
                  <a:lnTo>
                    <a:pt x="84" y="26"/>
                  </a:lnTo>
                  <a:lnTo>
                    <a:pt x="86" y="26"/>
                  </a:lnTo>
                  <a:lnTo>
                    <a:pt x="86" y="28"/>
                  </a:lnTo>
                  <a:lnTo>
                    <a:pt x="88" y="28"/>
                  </a:lnTo>
                  <a:lnTo>
                    <a:pt x="90" y="28"/>
                  </a:lnTo>
                  <a:lnTo>
                    <a:pt x="92" y="30"/>
                  </a:lnTo>
                  <a:lnTo>
                    <a:pt x="94" y="30"/>
                  </a:lnTo>
                  <a:lnTo>
                    <a:pt x="96" y="30"/>
                  </a:lnTo>
                  <a:lnTo>
                    <a:pt x="98" y="30"/>
                  </a:lnTo>
                  <a:lnTo>
                    <a:pt x="98" y="30"/>
                  </a:lnTo>
                  <a:lnTo>
                    <a:pt x="100" y="30"/>
                  </a:lnTo>
                  <a:lnTo>
                    <a:pt x="102" y="30"/>
                  </a:lnTo>
                  <a:lnTo>
                    <a:pt x="104" y="30"/>
                  </a:lnTo>
                  <a:lnTo>
                    <a:pt x="104" y="32"/>
                  </a:lnTo>
                  <a:lnTo>
                    <a:pt x="106" y="32"/>
                  </a:lnTo>
                  <a:lnTo>
                    <a:pt x="108" y="32"/>
                  </a:lnTo>
                  <a:lnTo>
                    <a:pt x="108" y="34"/>
                  </a:lnTo>
                  <a:lnTo>
                    <a:pt x="110" y="34"/>
                  </a:lnTo>
                  <a:lnTo>
                    <a:pt x="112" y="34"/>
                  </a:lnTo>
                  <a:lnTo>
                    <a:pt x="114" y="34"/>
                  </a:lnTo>
                  <a:lnTo>
                    <a:pt x="116" y="36"/>
                  </a:lnTo>
                  <a:lnTo>
                    <a:pt x="118" y="36"/>
                  </a:lnTo>
                  <a:lnTo>
                    <a:pt x="120" y="36"/>
                  </a:lnTo>
                  <a:lnTo>
                    <a:pt x="122" y="38"/>
                  </a:lnTo>
                  <a:lnTo>
                    <a:pt x="124" y="38"/>
                  </a:lnTo>
                  <a:lnTo>
                    <a:pt x="124" y="38"/>
                  </a:lnTo>
                  <a:lnTo>
                    <a:pt x="126" y="40"/>
                  </a:lnTo>
                  <a:lnTo>
                    <a:pt x="130" y="42"/>
                  </a:lnTo>
                  <a:lnTo>
                    <a:pt x="132" y="42"/>
                  </a:lnTo>
                  <a:lnTo>
                    <a:pt x="134" y="42"/>
                  </a:lnTo>
                  <a:lnTo>
                    <a:pt x="138" y="44"/>
                  </a:lnTo>
                  <a:lnTo>
                    <a:pt x="140" y="44"/>
                  </a:lnTo>
                  <a:lnTo>
                    <a:pt x="142" y="44"/>
                  </a:lnTo>
                  <a:lnTo>
                    <a:pt x="142" y="46"/>
                  </a:lnTo>
                  <a:lnTo>
                    <a:pt x="144" y="46"/>
                  </a:lnTo>
                  <a:lnTo>
                    <a:pt x="146" y="46"/>
                  </a:lnTo>
                  <a:lnTo>
                    <a:pt x="148" y="46"/>
                  </a:lnTo>
                  <a:lnTo>
                    <a:pt x="148" y="48"/>
                  </a:lnTo>
                  <a:lnTo>
                    <a:pt x="150" y="48"/>
                  </a:lnTo>
                  <a:lnTo>
                    <a:pt x="152" y="48"/>
                  </a:lnTo>
                  <a:lnTo>
                    <a:pt x="154" y="48"/>
                  </a:lnTo>
                  <a:lnTo>
                    <a:pt x="154" y="50"/>
                  </a:lnTo>
                  <a:lnTo>
                    <a:pt x="156" y="50"/>
                  </a:lnTo>
                  <a:lnTo>
                    <a:pt x="158" y="50"/>
                  </a:lnTo>
                  <a:lnTo>
                    <a:pt x="160" y="50"/>
                  </a:lnTo>
                  <a:lnTo>
                    <a:pt x="162" y="52"/>
                  </a:lnTo>
                  <a:lnTo>
                    <a:pt x="164" y="52"/>
                  </a:lnTo>
                  <a:lnTo>
                    <a:pt x="166" y="52"/>
                  </a:lnTo>
                  <a:lnTo>
                    <a:pt x="168" y="54"/>
                  </a:lnTo>
                  <a:lnTo>
                    <a:pt x="170" y="54"/>
                  </a:lnTo>
                  <a:lnTo>
                    <a:pt x="172" y="54"/>
                  </a:lnTo>
                  <a:lnTo>
                    <a:pt x="172" y="56"/>
                  </a:lnTo>
                  <a:lnTo>
                    <a:pt x="174" y="56"/>
                  </a:lnTo>
                  <a:lnTo>
                    <a:pt x="176" y="56"/>
                  </a:lnTo>
                  <a:lnTo>
                    <a:pt x="178" y="56"/>
                  </a:lnTo>
                  <a:lnTo>
                    <a:pt x="178" y="58"/>
                  </a:lnTo>
                  <a:lnTo>
                    <a:pt x="180" y="58"/>
                  </a:lnTo>
                  <a:lnTo>
                    <a:pt x="182" y="58"/>
                  </a:lnTo>
                  <a:lnTo>
                    <a:pt x="184" y="58"/>
                  </a:lnTo>
                  <a:lnTo>
                    <a:pt x="184" y="60"/>
                  </a:lnTo>
                  <a:lnTo>
                    <a:pt x="186" y="60"/>
                  </a:lnTo>
                  <a:lnTo>
                    <a:pt x="188" y="60"/>
                  </a:lnTo>
                  <a:lnTo>
                    <a:pt x="190" y="60"/>
                  </a:lnTo>
                  <a:lnTo>
                    <a:pt x="192" y="62"/>
                  </a:lnTo>
                  <a:lnTo>
                    <a:pt x="194" y="62"/>
                  </a:lnTo>
                  <a:lnTo>
                    <a:pt x="196" y="62"/>
                  </a:lnTo>
                  <a:lnTo>
                    <a:pt x="198" y="62"/>
                  </a:lnTo>
                  <a:lnTo>
                    <a:pt x="198" y="64"/>
                  </a:lnTo>
                  <a:lnTo>
                    <a:pt x="200" y="64"/>
                  </a:lnTo>
                  <a:lnTo>
                    <a:pt x="202" y="64"/>
                  </a:lnTo>
                  <a:lnTo>
                    <a:pt x="204" y="64"/>
                  </a:lnTo>
                  <a:lnTo>
                    <a:pt x="204" y="66"/>
                  </a:lnTo>
                  <a:lnTo>
                    <a:pt x="206" y="66"/>
                  </a:lnTo>
                  <a:lnTo>
                    <a:pt x="208" y="66"/>
                  </a:lnTo>
                  <a:lnTo>
                    <a:pt x="210" y="66"/>
                  </a:lnTo>
                  <a:lnTo>
                    <a:pt x="212" y="68"/>
                  </a:lnTo>
                  <a:lnTo>
                    <a:pt x="214" y="68"/>
                  </a:lnTo>
                  <a:lnTo>
                    <a:pt x="216" y="68"/>
                  </a:lnTo>
                  <a:lnTo>
                    <a:pt x="218" y="68"/>
                  </a:lnTo>
                  <a:lnTo>
                    <a:pt x="218" y="70"/>
                  </a:lnTo>
                  <a:lnTo>
                    <a:pt x="220" y="70"/>
                  </a:lnTo>
                  <a:lnTo>
                    <a:pt x="222" y="70"/>
                  </a:lnTo>
                  <a:lnTo>
                    <a:pt x="222" y="70"/>
                  </a:lnTo>
                  <a:lnTo>
                    <a:pt x="224" y="72"/>
                  </a:lnTo>
                  <a:lnTo>
                    <a:pt x="226" y="72"/>
                  </a:lnTo>
                  <a:lnTo>
                    <a:pt x="228" y="72"/>
                  </a:lnTo>
                  <a:lnTo>
                    <a:pt x="230" y="72"/>
                  </a:lnTo>
                  <a:lnTo>
                    <a:pt x="230" y="74"/>
                  </a:lnTo>
                  <a:lnTo>
                    <a:pt x="232" y="74"/>
                  </a:lnTo>
                  <a:lnTo>
                    <a:pt x="234" y="74"/>
                  </a:lnTo>
                  <a:lnTo>
                    <a:pt x="236" y="74"/>
                  </a:lnTo>
                  <a:lnTo>
                    <a:pt x="238" y="74"/>
                  </a:lnTo>
                  <a:lnTo>
                    <a:pt x="238" y="76"/>
                  </a:lnTo>
                  <a:lnTo>
                    <a:pt x="240" y="76"/>
                  </a:lnTo>
                  <a:lnTo>
                    <a:pt x="242" y="76"/>
                  </a:lnTo>
                  <a:lnTo>
                    <a:pt x="246" y="78"/>
                  </a:lnTo>
                  <a:lnTo>
                    <a:pt x="248" y="78"/>
                  </a:lnTo>
                  <a:lnTo>
                    <a:pt x="250" y="78"/>
                  </a:lnTo>
                  <a:lnTo>
                    <a:pt x="254" y="78"/>
                  </a:lnTo>
                  <a:lnTo>
                    <a:pt x="258" y="78"/>
                  </a:lnTo>
                  <a:lnTo>
                    <a:pt x="262" y="80"/>
                  </a:lnTo>
                  <a:lnTo>
                    <a:pt x="264" y="80"/>
                  </a:lnTo>
                  <a:lnTo>
                    <a:pt x="266" y="82"/>
                  </a:lnTo>
                  <a:lnTo>
                    <a:pt x="268" y="82"/>
                  </a:lnTo>
                  <a:lnTo>
                    <a:pt x="270" y="82"/>
                  </a:lnTo>
                  <a:lnTo>
                    <a:pt x="272" y="82"/>
                  </a:lnTo>
                  <a:lnTo>
                    <a:pt x="272" y="84"/>
                  </a:lnTo>
                  <a:lnTo>
                    <a:pt x="274" y="84"/>
                  </a:lnTo>
                  <a:lnTo>
                    <a:pt x="276" y="84"/>
                  </a:lnTo>
                  <a:lnTo>
                    <a:pt x="278" y="84"/>
                  </a:lnTo>
                  <a:lnTo>
                    <a:pt x="280" y="84"/>
                  </a:lnTo>
                  <a:lnTo>
                    <a:pt x="280" y="86"/>
                  </a:lnTo>
                  <a:lnTo>
                    <a:pt x="282" y="86"/>
                  </a:lnTo>
                  <a:lnTo>
                    <a:pt x="284" y="86"/>
                  </a:lnTo>
                  <a:lnTo>
                    <a:pt x="286" y="86"/>
                  </a:lnTo>
                  <a:lnTo>
                    <a:pt x="288" y="88"/>
                  </a:lnTo>
                  <a:lnTo>
                    <a:pt x="290" y="88"/>
                  </a:lnTo>
                  <a:lnTo>
                    <a:pt x="292" y="88"/>
                  </a:lnTo>
                  <a:lnTo>
                    <a:pt x="294" y="88"/>
                  </a:lnTo>
                  <a:lnTo>
                    <a:pt x="300" y="90"/>
                  </a:lnTo>
                  <a:lnTo>
                    <a:pt x="310" y="92"/>
                  </a:lnTo>
                  <a:lnTo>
                    <a:pt x="312" y="92"/>
                  </a:lnTo>
                  <a:lnTo>
                    <a:pt x="316" y="94"/>
                  </a:lnTo>
                  <a:lnTo>
                    <a:pt x="318" y="94"/>
                  </a:lnTo>
                  <a:lnTo>
                    <a:pt x="320" y="96"/>
                  </a:lnTo>
                  <a:lnTo>
                    <a:pt x="322" y="96"/>
                  </a:lnTo>
                  <a:lnTo>
                    <a:pt x="324" y="96"/>
                  </a:lnTo>
                  <a:lnTo>
                    <a:pt x="326" y="96"/>
                  </a:lnTo>
                  <a:lnTo>
                    <a:pt x="328" y="98"/>
                  </a:lnTo>
                  <a:lnTo>
                    <a:pt x="330" y="98"/>
                  </a:lnTo>
                  <a:lnTo>
                    <a:pt x="332" y="98"/>
                  </a:lnTo>
                  <a:lnTo>
                    <a:pt x="334" y="98"/>
                  </a:lnTo>
                  <a:lnTo>
                    <a:pt x="336" y="100"/>
                  </a:lnTo>
                  <a:lnTo>
                    <a:pt x="338" y="100"/>
                  </a:lnTo>
                  <a:lnTo>
                    <a:pt x="340" y="100"/>
                  </a:lnTo>
                  <a:lnTo>
                    <a:pt x="342" y="100"/>
                  </a:lnTo>
                  <a:lnTo>
                    <a:pt x="344" y="100"/>
                  </a:lnTo>
                  <a:lnTo>
                    <a:pt x="346" y="102"/>
                  </a:lnTo>
                  <a:lnTo>
                    <a:pt x="348" y="102"/>
                  </a:lnTo>
                  <a:lnTo>
                    <a:pt x="350" y="102"/>
                  </a:lnTo>
                  <a:lnTo>
                    <a:pt x="352" y="102"/>
                  </a:lnTo>
                  <a:lnTo>
                    <a:pt x="354" y="102"/>
                  </a:lnTo>
                  <a:lnTo>
                    <a:pt x="354" y="104"/>
                  </a:lnTo>
                  <a:lnTo>
                    <a:pt x="356" y="104"/>
                  </a:lnTo>
                  <a:lnTo>
                    <a:pt x="358" y="104"/>
                  </a:lnTo>
                  <a:lnTo>
                    <a:pt x="360" y="104"/>
                  </a:lnTo>
                  <a:lnTo>
                    <a:pt x="362" y="104"/>
                  </a:lnTo>
                  <a:lnTo>
                    <a:pt x="364" y="104"/>
                  </a:lnTo>
                  <a:lnTo>
                    <a:pt x="364" y="106"/>
                  </a:lnTo>
                  <a:lnTo>
                    <a:pt x="366" y="106"/>
                  </a:lnTo>
                  <a:lnTo>
                    <a:pt x="366" y="106"/>
                  </a:lnTo>
                  <a:lnTo>
                    <a:pt x="368" y="106"/>
                  </a:lnTo>
                  <a:lnTo>
                    <a:pt x="370" y="106"/>
                  </a:lnTo>
                  <a:lnTo>
                    <a:pt x="370" y="108"/>
                  </a:lnTo>
                  <a:lnTo>
                    <a:pt x="372" y="108"/>
                  </a:lnTo>
                  <a:lnTo>
                    <a:pt x="374" y="108"/>
                  </a:lnTo>
                  <a:lnTo>
                    <a:pt x="376" y="108"/>
                  </a:lnTo>
                  <a:lnTo>
                    <a:pt x="378" y="108"/>
                  </a:lnTo>
                  <a:lnTo>
                    <a:pt x="380" y="108"/>
                  </a:lnTo>
                  <a:lnTo>
                    <a:pt x="380" y="110"/>
                  </a:lnTo>
                  <a:lnTo>
                    <a:pt x="382" y="110"/>
                  </a:lnTo>
                  <a:lnTo>
                    <a:pt x="384" y="110"/>
                  </a:lnTo>
                  <a:lnTo>
                    <a:pt x="386" y="110"/>
                  </a:lnTo>
                  <a:lnTo>
                    <a:pt x="388" y="110"/>
                  </a:lnTo>
                  <a:lnTo>
                    <a:pt x="390" y="110"/>
                  </a:lnTo>
                  <a:lnTo>
                    <a:pt x="390" y="112"/>
                  </a:lnTo>
                  <a:lnTo>
                    <a:pt x="392" y="112"/>
                  </a:lnTo>
                  <a:lnTo>
                    <a:pt x="394" y="112"/>
                  </a:lnTo>
                  <a:lnTo>
                    <a:pt x="396" y="112"/>
                  </a:lnTo>
                  <a:lnTo>
                    <a:pt x="398" y="112"/>
                  </a:lnTo>
                  <a:lnTo>
                    <a:pt x="400" y="112"/>
                  </a:lnTo>
                  <a:lnTo>
                    <a:pt x="400" y="114"/>
                  </a:lnTo>
                  <a:lnTo>
                    <a:pt x="402" y="114"/>
                  </a:lnTo>
                  <a:lnTo>
                    <a:pt x="402" y="116"/>
                  </a:lnTo>
                  <a:lnTo>
                    <a:pt x="402" y="118"/>
                  </a:lnTo>
                  <a:lnTo>
                    <a:pt x="402" y="120"/>
                  </a:lnTo>
                  <a:lnTo>
                    <a:pt x="400" y="122"/>
                  </a:lnTo>
                  <a:lnTo>
                    <a:pt x="400" y="124"/>
                  </a:lnTo>
                  <a:lnTo>
                    <a:pt x="400" y="126"/>
                  </a:lnTo>
                  <a:lnTo>
                    <a:pt x="400" y="126"/>
                  </a:lnTo>
                  <a:lnTo>
                    <a:pt x="400" y="128"/>
                  </a:lnTo>
                  <a:lnTo>
                    <a:pt x="400" y="130"/>
                  </a:lnTo>
                  <a:lnTo>
                    <a:pt x="398" y="130"/>
                  </a:lnTo>
                  <a:lnTo>
                    <a:pt x="398" y="132"/>
                  </a:lnTo>
                  <a:lnTo>
                    <a:pt x="398" y="134"/>
                  </a:lnTo>
                  <a:lnTo>
                    <a:pt x="398" y="136"/>
                  </a:lnTo>
                  <a:lnTo>
                    <a:pt x="398" y="138"/>
                  </a:lnTo>
                  <a:lnTo>
                    <a:pt x="398" y="140"/>
                  </a:lnTo>
                  <a:lnTo>
                    <a:pt x="396" y="140"/>
                  </a:lnTo>
                  <a:lnTo>
                    <a:pt x="396" y="142"/>
                  </a:lnTo>
                  <a:lnTo>
                    <a:pt x="396" y="144"/>
                  </a:lnTo>
                  <a:lnTo>
                    <a:pt x="396" y="146"/>
                  </a:lnTo>
                  <a:lnTo>
                    <a:pt x="396" y="148"/>
                  </a:lnTo>
                  <a:lnTo>
                    <a:pt x="396" y="150"/>
                  </a:lnTo>
                  <a:lnTo>
                    <a:pt x="394" y="150"/>
                  </a:lnTo>
                  <a:lnTo>
                    <a:pt x="394" y="152"/>
                  </a:lnTo>
                  <a:lnTo>
                    <a:pt x="394" y="154"/>
                  </a:lnTo>
                  <a:lnTo>
                    <a:pt x="394" y="156"/>
                  </a:lnTo>
                  <a:lnTo>
                    <a:pt x="394" y="158"/>
                  </a:lnTo>
                  <a:lnTo>
                    <a:pt x="394" y="160"/>
                  </a:lnTo>
                  <a:lnTo>
                    <a:pt x="392" y="162"/>
                  </a:lnTo>
                  <a:lnTo>
                    <a:pt x="392" y="164"/>
                  </a:lnTo>
                  <a:lnTo>
                    <a:pt x="392" y="166"/>
                  </a:lnTo>
                  <a:lnTo>
                    <a:pt x="392" y="168"/>
                  </a:lnTo>
                  <a:lnTo>
                    <a:pt x="392" y="170"/>
                  </a:lnTo>
                  <a:lnTo>
                    <a:pt x="392" y="172"/>
                  </a:lnTo>
                  <a:lnTo>
                    <a:pt x="390" y="172"/>
                  </a:lnTo>
                  <a:lnTo>
                    <a:pt x="390" y="174"/>
                  </a:lnTo>
                  <a:lnTo>
                    <a:pt x="390" y="174"/>
                  </a:lnTo>
                  <a:lnTo>
                    <a:pt x="390" y="178"/>
                  </a:lnTo>
                  <a:lnTo>
                    <a:pt x="390" y="180"/>
                  </a:lnTo>
                  <a:lnTo>
                    <a:pt x="388" y="180"/>
                  </a:lnTo>
                  <a:lnTo>
                    <a:pt x="388" y="182"/>
                  </a:lnTo>
                  <a:lnTo>
                    <a:pt x="388" y="184"/>
                  </a:lnTo>
                  <a:lnTo>
                    <a:pt x="388" y="186"/>
                  </a:lnTo>
                  <a:lnTo>
                    <a:pt x="388" y="188"/>
                  </a:lnTo>
                  <a:lnTo>
                    <a:pt x="388" y="190"/>
                  </a:lnTo>
                  <a:lnTo>
                    <a:pt x="386" y="190"/>
                  </a:lnTo>
                  <a:lnTo>
                    <a:pt x="386" y="192"/>
                  </a:lnTo>
                  <a:lnTo>
                    <a:pt x="386" y="194"/>
                  </a:lnTo>
                  <a:lnTo>
                    <a:pt x="386" y="196"/>
                  </a:lnTo>
                  <a:lnTo>
                    <a:pt x="386" y="198"/>
                  </a:lnTo>
                  <a:lnTo>
                    <a:pt x="386" y="200"/>
                  </a:lnTo>
                  <a:lnTo>
                    <a:pt x="384" y="202"/>
                  </a:lnTo>
                  <a:lnTo>
                    <a:pt x="384" y="204"/>
                  </a:lnTo>
                  <a:lnTo>
                    <a:pt x="384" y="206"/>
                  </a:lnTo>
                  <a:lnTo>
                    <a:pt x="384" y="208"/>
                  </a:lnTo>
                  <a:lnTo>
                    <a:pt x="384" y="210"/>
                  </a:lnTo>
                  <a:lnTo>
                    <a:pt x="382" y="210"/>
                  </a:lnTo>
                  <a:lnTo>
                    <a:pt x="382" y="212"/>
                  </a:lnTo>
                  <a:lnTo>
                    <a:pt x="382" y="214"/>
                  </a:lnTo>
                  <a:lnTo>
                    <a:pt x="382" y="216"/>
                  </a:lnTo>
                  <a:lnTo>
                    <a:pt x="382" y="218"/>
                  </a:lnTo>
                  <a:lnTo>
                    <a:pt x="382" y="220"/>
                  </a:lnTo>
                  <a:lnTo>
                    <a:pt x="380" y="220"/>
                  </a:lnTo>
                  <a:lnTo>
                    <a:pt x="380" y="222"/>
                  </a:lnTo>
                  <a:lnTo>
                    <a:pt x="380" y="222"/>
                  </a:lnTo>
                  <a:lnTo>
                    <a:pt x="380" y="224"/>
                  </a:lnTo>
                  <a:lnTo>
                    <a:pt x="380" y="226"/>
                  </a:lnTo>
                  <a:lnTo>
                    <a:pt x="380" y="228"/>
                  </a:lnTo>
                  <a:lnTo>
                    <a:pt x="378" y="230"/>
                  </a:lnTo>
                  <a:lnTo>
                    <a:pt x="378" y="232"/>
                  </a:lnTo>
                  <a:lnTo>
                    <a:pt x="378" y="234"/>
                  </a:lnTo>
                  <a:lnTo>
                    <a:pt x="378" y="236"/>
                  </a:lnTo>
                  <a:lnTo>
                    <a:pt x="378" y="238"/>
                  </a:lnTo>
                  <a:lnTo>
                    <a:pt x="378" y="240"/>
                  </a:lnTo>
                  <a:lnTo>
                    <a:pt x="376" y="240"/>
                  </a:lnTo>
                  <a:lnTo>
                    <a:pt x="376" y="242"/>
                  </a:lnTo>
                  <a:lnTo>
                    <a:pt x="376" y="244"/>
                  </a:lnTo>
                  <a:lnTo>
                    <a:pt x="376" y="246"/>
                  </a:lnTo>
                  <a:lnTo>
                    <a:pt x="376" y="248"/>
                  </a:lnTo>
                  <a:lnTo>
                    <a:pt x="374" y="250"/>
                  </a:lnTo>
                  <a:lnTo>
                    <a:pt x="374" y="252"/>
                  </a:lnTo>
                  <a:lnTo>
                    <a:pt x="374" y="254"/>
                  </a:lnTo>
                  <a:lnTo>
                    <a:pt x="374" y="256"/>
                  </a:lnTo>
                  <a:lnTo>
                    <a:pt x="374" y="258"/>
                  </a:lnTo>
                  <a:lnTo>
                    <a:pt x="374" y="260"/>
                  </a:lnTo>
                  <a:lnTo>
                    <a:pt x="372" y="260"/>
                  </a:lnTo>
                  <a:lnTo>
                    <a:pt x="372" y="262"/>
                  </a:lnTo>
                  <a:lnTo>
                    <a:pt x="372" y="264"/>
                  </a:lnTo>
                  <a:lnTo>
                    <a:pt x="372" y="266"/>
                  </a:lnTo>
                  <a:lnTo>
                    <a:pt x="372" y="268"/>
                  </a:lnTo>
                  <a:lnTo>
                    <a:pt x="372" y="270"/>
                  </a:lnTo>
                  <a:lnTo>
                    <a:pt x="370" y="272"/>
                  </a:lnTo>
                  <a:lnTo>
                    <a:pt x="370" y="274"/>
                  </a:lnTo>
                  <a:lnTo>
                    <a:pt x="370" y="276"/>
                  </a:lnTo>
                  <a:lnTo>
                    <a:pt x="370" y="278"/>
                  </a:lnTo>
                  <a:lnTo>
                    <a:pt x="368" y="280"/>
                  </a:lnTo>
                  <a:lnTo>
                    <a:pt x="368" y="282"/>
                  </a:lnTo>
                  <a:lnTo>
                    <a:pt x="368" y="284"/>
                  </a:lnTo>
                  <a:lnTo>
                    <a:pt x="368" y="286"/>
                  </a:lnTo>
                  <a:lnTo>
                    <a:pt x="368" y="288"/>
                  </a:lnTo>
                  <a:lnTo>
                    <a:pt x="368" y="290"/>
                  </a:lnTo>
                  <a:lnTo>
                    <a:pt x="366" y="290"/>
                  </a:lnTo>
                  <a:lnTo>
                    <a:pt x="366" y="292"/>
                  </a:lnTo>
                  <a:lnTo>
                    <a:pt x="366" y="294"/>
                  </a:lnTo>
                  <a:lnTo>
                    <a:pt x="366" y="296"/>
                  </a:lnTo>
                  <a:lnTo>
                    <a:pt x="366" y="298"/>
                  </a:lnTo>
                  <a:lnTo>
                    <a:pt x="366" y="300"/>
                  </a:lnTo>
                  <a:lnTo>
                    <a:pt x="366" y="302"/>
                  </a:lnTo>
                  <a:lnTo>
                    <a:pt x="366" y="306"/>
                  </a:lnTo>
                  <a:lnTo>
                    <a:pt x="366" y="308"/>
                  </a:lnTo>
                  <a:lnTo>
                    <a:pt x="366" y="310"/>
                  </a:lnTo>
                  <a:lnTo>
                    <a:pt x="364" y="312"/>
                  </a:lnTo>
                  <a:lnTo>
                    <a:pt x="364" y="314"/>
                  </a:lnTo>
                  <a:lnTo>
                    <a:pt x="362" y="314"/>
                  </a:lnTo>
                  <a:lnTo>
                    <a:pt x="362" y="312"/>
                  </a:lnTo>
                  <a:lnTo>
                    <a:pt x="360" y="312"/>
                  </a:lnTo>
                  <a:lnTo>
                    <a:pt x="358" y="312"/>
                  </a:lnTo>
                  <a:lnTo>
                    <a:pt x="356" y="312"/>
                  </a:lnTo>
                  <a:lnTo>
                    <a:pt x="354" y="312"/>
                  </a:lnTo>
                  <a:lnTo>
                    <a:pt x="352" y="312"/>
                  </a:lnTo>
                  <a:lnTo>
                    <a:pt x="350" y="310"/>
                  </a:lnTo>
                  <a:lnTo>
                    <a:pt x="348" y="310"/>
                  </a:lnTo>
                  <a:lnTo>
                    <a:pt x="346" y="310"/>
                  </a:lnTo>
                  <a:lnTo>
                    <a:pt x="344" y="310"/>
                  </a:lnTo>
                  <a:lnTo>
                    <a:pt x="342" y="310"/>
                  </a:lnTo>
                  <a:lnTo>
                    <a:pt x="342" y="308"/>
                  </a:lnTo>
                  <a:lnTo>
                    <a:pt x="340" y="308"/>
                  </a:lnTo>
                  <a:lnTo>
                    <a:pt x="338" y="308"/>
                  </a:lnTo>
                  <a:lnTo>
                    <a:pt x="336" y="308"/>
                  </a:lnTo>
                  <a:lnTo>
                    <a:pt x="334" y="308"/>
                  </a:lnTo>
                  <a:lnTo>
                    <a:pt x="330" y="306"/>
                  </a:lnTo>
                  <a:lnTo>
                    <a:pt x="328" y="306"/>
                  </a:lnTo>
                  <a:lnTo>
                    <a:pt x="326" y="306"/>
                  </a:lnTo>
                  <a:lnTo>
                    <a:pt x="324" y="306"/>
                  </a:lnTo>
                  <a:lnTo>
                    <a:pt x="322" y="304"/>
                  </a:lnTo>
                  <a:lnTo>
                    <a:pt x="320" y="304"/>
                  </a:lnTo>
                  <a:lnTo>
                    <a:pt x="314" y="302"/>
                  </a:lnTo>
                  <a:lnTo>
                    <a:pt x="310" y="302"/>
                  </a:lnTo>
                  <a:lnTo>
                    <a:pt x="308" y="302"/>
                  </a:lnTo>
                  <a:lnTo>
                    <a:pt x="304" y="300"/>
                  </a:lnTo>
                  <a:lnTo>
                    <a:pt x="302" y="300"/>
                  </a:lnTo>
                  <a:lnTo>
                    <a:pt x="300" y="300"/>
                  </a:lnTo>
                  <a:lnTo>
                    <a:pt x="298" y="300"/>
                  </a:lnTo>
                  <a:lnTo>
                    <a:pt x="298" y="298"/>
                  </a:lnTo>
                  <a:lnTo>
                    <a:pt x="296" y="298"/>
                  </a:lnTo>
                  <a:lnTo>
                    <a:pt x="296" y="300"/>
                  </a:lnTo>
                  <a:lnTo>
                    <a:pt x="294" y="298"/>
                  </a:lnTo>
                  <a:lnTo>
                    <a:pt x="292" y="298"/>
                  </a:lnTo>
                  <a:lnTo>
                    <a:pt x="290" y="298"/>
                  </a:lnTo>
                  <a:lnTo>
                    <a:pt x="288" y="298"/>
                  </a:lnTo>
                  <a:lnTo>
                    <a:pt x="286" y="296"/>
                  </a:lnTo>
                  <a:lnTo>
                    <a:pt x="284" y="296"/>
                  </a:lnTo>
                  <a:lnTo>
                    <a:pt x="282" y="296"/>
                  </a:lnTo>
                  <a:lnTo>
                    <a:pt x="280" y="296"/>
                  </a:lnTo>
                  <a:lnTo>
                    <a:pt x="278" y="296"/>
                  </a:lnTo>
                  <a:lnTo>
                    <a:pt x="278" y="294"/>
                  </a:lnTo>
                  <a:lnTo>
                    <a:pt x="276" y="294"/>
                  </a:lnTo>
                  <a:lnTo>
                    <a:pt x="274" y="294"/>
                  </a:lnTo>
                  <a:lnTo>
                    <a:pt x="272" y="294"/>
                  </a:lnTo>
                  <a:lnTo>
                    <a:pt x="270" y="294"/>
                  </a:lnTo>
                  <a:lnTo>
                    <a:pt x="270" y="292"/>
                  </a:lnTo>
                  <a:lnTo>
                    <a:pt x="270" y="292"/>
                  </a:lnTo>
                  <a:lnTo>
                    <a:pt x="268" y="292"/>
                  </a:lnTo>
                  <a:lnTo>
                    <a:pt x="266" y="292"/>
                  </a:lnTo>
                  <a:lnTo>
                    <a:pt x="264" y="292"/>
                  </a:lnTo>
                  <a:lnTo>
                    <a:pt x="264" y="290"/>
                  </a:lnTo>
                  <a:lnTo>
                    <a:pt x="262" y="290"/>
                  </a:lnTo>
                  <a:lnTo>
                    <a:pt x="260" y="290"/>
                  </a:lnTo>
                  <a:lnTo>
                    <a:pt x="258" y="290"/>
                  </a:lnTo>
                  <a:lnTo>
                    <a:pt x="256" y="290"/>
                  </a:lnTo>
                  <a:lnTo>
                    <a:pt x="256" y="288"/>
                  </a:lnTo>
                  <a:lnTo>
                    <a:pt x="254" y="288"/>
                  </a:lnTo>
                  <a:lnTo>
                    <a:pt x="252" y="288"/>
                  </a:lnTo>
                  <a:lnTo>
                    <a:pt x="250" y="288"/>
                  </a:lnTo>
                  <a:lnTo>
                    <a:pt x="248" y="286"/>
                  </a:lnTo>
                  <a:lnTo>
                    <a:pt x="246" y="286"/>
                  </a:lnTo>
                  <a:lnTo>
                    <a:pt x="244" y="286"/>
                  </a:lnTo>
                  <a:lnTo>
                    <a:pt x="242" y="286"/>
                  </a:lnTo>
                  <a:lnTo>
                    <a:pt x="240" y="284"/>
                  </a:lnTo>
                  <a:lnTo>
                    <a:pt x="238" y="284"/>
                  </a:lnTo>
                  <a:lnTo>
                    <a:pt x="236" y="284"/>
                  </a:lnTo>
                  <a:lnTo>
                    <a:pt x="232" y="282"/>
                  </a:lnTo>
                  <a:lnTo>
                    <a:pt x="230" y="282"/>
                  </a:lnTo>
                  <a:lnTo>
                    <a:pt x="228" y="282"/>
                  </a:lnTo>
                  <a:lnTo>
                    <a:pt x="226" y="282"/>
                  </a:lnTo>
                  <a:lnTo>
                    <a:pt x="224" y="280"/>
                  </a:lnTo>
                  <a:lnTo>
                    <a:pt x="222" y="280"/>
                  </a:lnTo>
                  <a:lnTo>
                    <a:pt x="222" y="280"/>
                  </a:lnTo>
                  <a:lnTo>
                    <a:pt x="220" y="280"/>
                  </a:lnTo>
                  <a:lnTo>
                    <a:pt x="220" y="278"/>
                  </a:lnTo>
                  <a:lnTo>
                    <a:pt x="218" y="278"/>
                  </a:lnTo>
                  <a:lnTo>
                    <a:pt x="216" y="278"/>
                  </a:lnTo>
                  <a:lnTo>
                    <a:pt x="214" y="278"/>
                  </a:lnTo>
                  <a:lnTo>
                    <a:pt x="212" y="278"/>
                  </a:lnTo>
                  <a:lnTo>
                    <a:pt x="212" y="276"/>
                  </a:lnTo>
                  <a:lnTo>
                    <a:pt x="210" y="276"/>
                  </a:lnTo>
                  <a:lnTo>
                    <a:pt x="208" y="276"/>
                  </a:lnTo>
                  <a:lnTo>
                    <a:pt x="206" y="276"/>
                  </a:lnTo>
                  <a:lnTo>
                    <a:pt x="204" y="276"/>
                  </a:lnTo>
                  <a:lnTo>
                    <a:pt x="204" y="274"/>
                  </a:lnTo>
                  <a:lnTo>
                    <a:pt x="202" y="274"/>
                  </a:lnTo>
                  <a:lnTo>
                    <a:pt x="200" y="274"/>
                  </a:lnTo>
                  <a:lnTo>
                    <a:pt x="198" y="274"/>
                  </a:lnTo>
                  <a:lnTo>
                    <a:pt x="196" y="272"/>
                  </a:lnTo>
                  <a:lnTo>
                    <a:pt x="194" y="272"/>
                  </a:lnTo>
                  <a:lnTo>
                    <a:pt x="190" y="272"/>
                  </a:lnTo>
                  <a:lnTo>
                    <a:pt x="188" y="270"/>
                  </a:lnTo>
                  <a:lnTo>
                    <a:pt x="184" y="270"/>
                  </a:lnTo>
                  <a:lnTo>
                    <a:pt x="182" y="270"/>
                  </a:lnTo>
                  <a:lnTo>
                    <a:pt x="180" y="270"/>
                  </a:lnTo>
                  <a:lnTo>
                    <a:pt x="178" y="270"/>
                  </a:lnTo>
                  <a:lnTo>
                    <a:pt x="176" y="270"/>
                  </a:lnTo>
                  <a:lnTo>
                    <a:pt x="176" y="268"/>
                  </a:lnTo>
                  <a:lnTo>
                    <a:pt x="174" y="268"/>
                  </a:lnTo>
                  <a:lnTo>
                    <a:pt x="172" y="268"/>
                  </a:lnTo>
                  <a:lnTo>
                    <a:pt x="172" y="268"/>
                  </a:lnTo>
                  <a:lnTo>
                    <a:pt x="170" y="268"/>
                  </a:lnTo>
                  <a:lnTo>
                    <a:pt x="170" y="266"/>
                  </a:lnTo>
                  <a:lnTo>
                    <a:pt x="168" y="266"/>
                  </a:lnTo>
                  <a:lnTo>
                    <a:pt x="166" y="266"/>
                  </a:lnTo>
                  <a:lnTo>
                    <a:pt x="164" y="266"/>
                  </a:lnTo>
                  <a:lnTo>
                    <a:pt x="162" y="264"/>
                  </a:lnTo>
                  <a:lnTo>
                    <a:pt x="160" y="264"/>
                  </a:lnTo>
                  <a:lnTo>
                    <a:pt x="158" y="264"/>
                  </a:lnTo>
                  <a:lnTo>
                    <a:pt x="156" y="264"/>
                  </a:lnTo>
                  <a:lnTo>
                    <a:pt x="154" y="262"/>
                  </a:lnTo>
                  <a:lnTo>
                    <a:pt x="152" y="262"/>
                  </a:lnTo>
                  <a:lnTo>
                    <a:pt x="150" y="260"/>
                  </a:lnTo>
                  <a:lnTo>
                    <a:pt x="148" y="260"/>
                  </a:lnTo>
                  <a:lnTo>
                    <a:pt x="146" y="260"/>
                  </a:lnTo>
                  <a:lnTo>
                    <a:pt x="144" y="260"/>
                  </a:lnTo>
                  <a:lnTo>
                    <a:pt x="142" y="260"/>
                  </a:lnTo>
                  <a:lnTo>
                    <a:pt x="142" y="258"/>
                  </a:lnTo>
                  <a:lnTo>
                    <a:pt x="140" y="258"/>
                  </a:lnTo>
                  <a:lnTo>
                    <a:pt x="138" y="258"/>
                  </a:lnTo>
                  <a:lnTo>
                    <a:pt x="134" y="258"/>
                  </a:lnTo>
                  <a:lnTo>
                    <a:pt x="132" y="256"/>
                  </a:lnTo>
                  <a:lnTo>
                    <a:pt x="130" y="256"/>
                  </a:lnTo>
                  <a:lnTo>
                    <a:pt x="128" y="256"/>
                  </a:lnTo>
                  <a:lnTo>
                    <a:pt x="128" y="254"/>
                  </a:lnTo>
                  <a:lnTo>
                    <a:pt x="124" y="254"/>
                  </a:lnTo>
                  <a:lnTo>
                    <a:pt x="118" y="252"/>
                  </a:lnTo>
                  <a:lnTo>
                    <a:pt x="118" y="250"/>
                  </a:lnTo>
                  <a:lnTo>
                    <a:pt x="116" y="250"/>
                  </a:lnTo>
                  <a:lnTo>
                    <a:pt x="116" y="252"/>
                  </a:lnTo>
                  <a:lnTo>
                    <a:pt x="116" y="254"/>
                  </a:lnTo>
                  <a:lnTo>
                    <a:pt x="116" y="256"/>
                  </a:lnTo>
                  <a:lnTo>
                    <a:pt x="114" y="256"/>
                  </a:lnTo>
                  <a:lnTo>
                    <a:pt x="114" y="258"/>
                  </a:lnTo>
                  <a:lnTo>
                    <a:pt x="114" y="260"/>
                  </a:lnTo>
                  <a:lnTo>
                    <a:pt x="114" y="262"/>
                  </a:lnTo>
                  <a:lnTo>
                    <a:pt x="112" y="264"/>
                  </a:lnTo>
                  <a:lnTo>
                    <a:pt x="112" y="266"/>
                  </a:lnTo>
                  <a:lnTo>
                    <a:pt x="112" y="268"/>
                  </a:lnTo>
                  <a:lnTo>
                    <a:pt x="108" y="276"/>
                  </a:lnTo>
                  <a:lnTo>
                    <a:pt x="108" y="274"/>
                  </a:lnTo>
                  <a:lnTo>
                    <a:pt x="106" y="274"/>
                  </a:lnTo>
                  <a:lnTo>
                    <a:pt x="106" y="272"/>
                  </a:lnTo>
                  <a:lnTo>
                    <a:pt x="106" y="270"/>
                  </a:lnTo>
                  <a:lnTo>
                    <a:pt x="106" y="270"/>
                  </a:lnTo>
                  <a:lnTo>
                    <a:pt x="104" y="270"/>
                  </a:lnTo>
                  <a:lnTo>
                    <a:pt x="104" y="268"/>
                  </a:lnTo>
                  <a:lnTo>
                    <a:pt x="104" y="266"/>
                  </a:lnTo>
                  <a:lnTo>
                    <a:pt x="104" y="264"/>
                  </a:lnTo>
                  <a:lnTo>
                    <a:pt x="104" y="262"/>
                  </a:lnTo>
                  <a:lnTo>
                    <a:pt x="102" y="262"/>
                  </a:lnTo>
                  <a:lnTo>
                    <a:pt x="102" y="260"/>
                  </a:lnTo>
                  <a:lnTo>
                    <a:pt x="102" y="262"/>
                  </a:lnTo>
                  <a:lnTo>
                    <a:pt x="102" y="260"/>
                  </a:lnTo>
                  <a:lnTo>
                    <a:pt x="100" y="260"/>
                  </a:lnTo>
                  <a:lnTo>
                    <a:pt x="100" y="262"/>
                  </a:lnTo>
                  <a:lnTo>
                    <a:pt x="98" y="262"/>
                  </a:lnTo>
                  <a:lnTo>
                    <a:pt x="98" y="260"/>
                  </a:lnTo>
                  <a:lnTo>
                    <a:pt x="96" y="260"/>
                  </a:lnTo>
                  <a:lnTo>
                    <a:pt x="96" y="262"/>
                  </a:lnTo>
                  <a:lnTo>
                    <a:pt x="96" y="264"/>
                  </a:lnTo>
                  <a:lnTo>
                    <a:pt x="94" y="264"/>
                  </a:lnTo>
                  <a:lnTo>
                    <a:pt x="94" y="266"/>
                  </a:lnTo>
                  <a:lnTo>
                    <a:pt x="94" y="268"/>
                  </a:lnTo>
                  <a:lnTo>
                    <a:pt x="94" y="270"/>
                  </a:lnTo>
                  <a:lnTo>
                    <a:pt x="94" y="268"/>
                  </a:lnTo>
                  <a:lnTo>
                    <a:pt x="92" y="270"/>
                  </a:lnTo>
                  <a:lnTo>
                    <a:pt x="92" y="268"/>
                  </a:lnTo>
                  <a:lnTo>
                    <a:pt x="90" y="268"/>
                  </a:lnTo>
                  <a:lnTo>
                    <a:pt x="90" y="266"/>
                  </a:lnTo>
                  <a:lnTo>
                    <a:pt x="90" y="268"/>
                  </a:lnTo>
                  <a:lnTo>
                    <a:pt x="88" y="266"/>
                  </a:lnTo>
                  <a:lnTo>
                    <a:pt x="86" y="266"/>
                  </a:lnTo>
                  <a:lnTo>
                    <a:pt x="84" y="266"/>
                  </a:lnTo>
                  <a:lnTo>
                    <a:pt x="82" y="266"/>
                  </a:lnTo>
                  <a:lnTo>
                    <a:pt x="80" y="266"/>
                  </a:lnTo>
                  <a:lnTo>
                    <a:pt x="80" y="264"/>
                  </a:lnTo>
                  <a:lnTo>
                    <a:pt x="78" y="264"/>
                  </a:lnTo>
                  <a:lnTo>
                    <a:pt x="78" y="262"/>
                  </a:lnTo>
                  <a:lnTo>
                    <a:pt x="76" y="264"/>
                  </a:lnTo>
                  <a:lnTo>
                    <a:pt x="76" y="262"/>
                  </a:lnTo>
                  <a:lnTo>
                    <a:pt x="76" y="264"/>
                  </a:lnTo>
                  <a:lnTo>
                    <a:pt x="76" y="264"/>
                  </a:lnTo>
                  <a:lnTo>
                    <a:pt x="76" y="262"/>
                  </a:lnTo>
                  <a:lnTo>
                    <a:pt x="76" y="264"/>
                  </a:lnTo>
                  <a:lnTo>
                    <a:pt x="76" y="262"/>
                  </a:lnTo>
                  <a:lnTo>
                    <a:pt x="74" y="262"/>
                  </a:lnTo>
                  <a:lnTo>
                    <a:pt x="72" y="262"/>
                  </a:lnTo>
                  <a:lnTo>
                    <a:pt x="70" y="262"/>
                  </a:lnTo>
                  <a:lnTo>
                    <a:pt x="70" y="260"/>
                  </a:lnTo>
                  <a:lnTo>
                    <a:pt x="68" y="260"/>
                  </a:lnTo>
                  <a:lnTo>
                    <a:pt x="70" y="260"/>
                  </a:lnTo>
                  <a:lnTo>
                    <a:pt x="68" y="260"/>
                  </a:lnTo>
                  <a:lnTo>
                    <a:pt x="70" y="260"/>
                  </a:lnTo>
                  <a:lnTo>
                    <a:pt x="68" y="258"/>
                  </a:lnTo>
                  <a:lnTo>
                    <a:pt x="66" y="258"/>
                  </a:lnTo>
                  <a:lnTo>
                    <a:pt x="66" y="260"/>
                  </a:lnTo>
                  <a:lnTo>
                    <a:pt x="64" y="260"/>
                  </a:lnTo>
                  <a:lnTo>
                    <a:pt x="64" y="258"/>
                  </a:lnTo>
                  <a:lnTo>
                    <a:pt x="64" y="260"/>
                  </a:lnTo>
                  <a:lnTo>
                    <a:pt x="64" y="262"/>
                  </a:lnTo>
                  <a:lnTo>
                    <a:pt x="62" y="262"/>
                  </a:lnTo>
                  <a:lnTo>
                    <a:pt x="62" y="264"/>
                  </a:lnTo>
                  <a:lnTo>
                    <a:pt x="62" y="262"/>
                  </a:lnTo>
                  <a:lnTo>
                    <a:pt x="60" y="262"/>
                  </a:lnTo>
                  <a:lnTo>
                    <a:pt x="60" y="260"/>
                  </a:lnTo>
                  <a:lnTo>
                    <a:pt x="58" y="260"/>
                  </a:lnTo>
                  <a:lnTo>
                    <a:pt x="56" y="260"/>
                  </a:lnTo>
                  <a:lnTo>
                    <a:pt x="54" y="260"/>
                  </a:lnTo>
                  <a:lnTo>
                    <a:pt x="54" y="258"/>
                  </a:lnTo>
                  <a:lnTo>
                    <a:pt x="52" y="258"/>
                  </a:lnTo>
                  <a:lnTo>
                    <a:pt x="52" y="256"/>
                  </a:lnTo>
                  <a:lnTo>
                    <a:pt x="50" y="256"/>
                  </a:lnTo>
                  <a:lnTo>
                    <a:pt x="48" y="256"/>
                  </a:lnTo>
                  <a:lnTo>
                    <a:pt x="46" y="256"/>
                  </a:lnTo>
                  <a:lnTo>
                    <a:pt x="46" y="258"/>
                  </a:lnTo>
                  <a:lnTo>
                    <a:pt x="44" y="258"/>
                  </a:lnTo>
                  <a:lnTo>
                    <a:pt x="44" y="260"/>
                  </a:lnTo>
                  <a:lnTo>
                    <a:pt x="44" y="262"/>
                  </a:lnTo>
                  <a:lnTo>
                    <a:pt x="42" y="262"/>
                  </a:lnTo>
                  <a:lnTo>
                    <a:pt x="42" y="260"/>
                  </a:lnTo>
                  <a:lnTo>
                    <a:pt x="42" y="258"/>
                  </a:lnTo>
                  <a:lnTo>
                    <a:pt x="40" y="258"/>
                  </a:lnTo>
                  <a:lnTo>
                    <a:pt x="40" y="256"/>
                  </a:lnTo>
                  <a:lnTo>
                    <a:pt x="40" y="254"/>
                  </a:lnTo>
                  <a:lnTo>
                    <a:pt x="38" y="254"/>
                  </a:lnTo>
                  <a:lnTo>
                    <a:pt x="38" y="252"/>
                  </a:lnTo>
                  <a:lnTo>
                    <a:pt x="40" y="252"/>
                  </a:lnTo>
                  <a:lnTo>
                    <a:pt x="40" y="250"/>
                  </a:lnTo>
                  <a:lnTo>
                    <a:pt x="40" y="248"/>
                  </a:lnTo>
                  <a:lnTo>
                    <a:pt x="38" y="248"/>
                  </a:lnTo>
                  <a:lnTo>
                    <a:pt x="40" y="248"/>
                  </a:lnTo>
                  <a:lnTo>
                    <a:pt x="38" y="248"/>
                  </a:lnTo>
                  <a:lnTo>
                    <a:pt x="38" y="246"/>
                  </a:lnTo>
                  <a:lnTo>
                    <a:pt x="40" y="246"/>
                  </a:lnTo>
                  <a:lnTo>
                    <a:pt x="40" y="244"/>
                  </a:lnTo>
                  <a:lnTo>
                    <a:pt x="40" y="242"/>
                  </a:lnTo>
                  <a:lnTo>
                    <a:pt x="40" y="240"/>
                  </a:lnTo>
                  <a:lnTo>
                    <a:pt x="40" y="238"/>
                  </a:lnTo>
                  <a:lnTo>
                    <a:pt x="40" y="236"/>
                  </a:lnTo>
                  <a:lnTo>
                    <a:pt x="38" y="236"/>
                  </a:lnTo>
                  <a:lnTo>
                    <a:pt x="38" y="234"/>
                  </a:lnTo>
                  <a:lnTo>
                    <a:pt x="36" y="234"/>
                  </a:lnTo>
                  <a:lnTo>
                    <a:pt x="34" y="234"/>
                  </a:lnTo>
                  <a:lnTo>
                    <a:pt x="32" y="234"/>
                  </a:lnTo>
                  <a:lnTo>
                    <a:pt x="32" y="232"/>
                  </a:lnTo>
                  <a:lnTo>
                    <a:pt x="32" y="230"/>
                  </a:lnTo>
                  <a:lnTo>
                    <a:pt x="30" y="230"/>
                  </a:lnTo>
                  <a:lnTo>
                    <a:pt x="30" y="228"/>
                  </a:lnTo>
                  <a:lnTo>
                    <a:pt x="30" y="226"/>
                  </a:lnTo>
                  <a:lnTo>
                    <a:pt x="30" y="224"/>
                  </a:lnTo>
                  <a:lnTo>
                    <a:pt x="32" y="224"/>
                  </a:lnTo>
                  <a:lnTo>
                    <a:pt x="32" y="222"/>
                  </a:lnTo>
                  <a:lnTo>
                    <a:pt x="34" y="222"/>
                  </a:lnTo>
                  <a:lnTo>
                    <a:pt x="34" y="222"/>
                  </a:lnTo>
                  <a:lnTo>
                    <a:pt x="34" y="220"/>
                  </a:lnTo>
                  <a:lnTo>
                    <a:pt x="32" y="220"/>
                  </a:lnTo>
                  <a:lnTo>
                    <a:pt x="32" y="218"/>
                  </a:lnTo>
                  <a:lnTo>
                    <a:pt x="30" y="216"/>
                  </a:lnTo>
                  <a:lnTo>
                    <a:pt x="32" y="216"/>
                  </a:lnTo>
                  <a:lnTo>
                    <a:pt x="32" y="214"/>
                  </a:lnTo>
                  <a:lnTo>
                    <a:pt x="30" y="214"/>
                  </a:lnTo>
                  <a:lnTo>
                    <a:pt x="30" y="212"/>
                  </a:lnTo>
                  <a:lnTo>
                    <a:pt x="30" y="210"/>
                  </a:lnTo>
                  <a:lnTo>
                    <a:pt x="30" y="208"/>
                  </a:lnTo>
                  <a:lnTo>
                    <a:pt x="28" y="208"/>
                  </a:lnTo>
                  <a:lnTo>
                    <a:pt x="30" y="208"/>
                  </a:lnTo>
                  <a:lnTo>
                    <a:pt x="30" y="206"/>
                  </a:lnTo>
                  <a:lnTo>
                    <a:pt x="28" y="206"/>
                  </a:lnTo>
                  <a:lnTo>
                    <a:pt x="28" y="204"/>
                  </a:lnTo>
                  <a:lnTo>
                    <a:pt x="28" y="202"/>
                  </a:lnTo>
                  <a:lnTo>
                    <a:pt x="30" y="202"/>
                  </a:lnTo>
                  <a:lnTo>
                    <a:pt x="28" y="202"/>
                  </a:lnTo>
                  <a:lnTo>
                    <a:pt x="30" y="202"/>
                  </a:lnTo>
                  <a:lnTo>
                    <a:pt x="30" y="200"/>
                  </a:lnTo>
                  <a:lnTo>
                    <a:pt x="28" y="200"/>
                  </a:lnTo>
                  <a:lnTo>
                    <a:pt x="28" y="198"/>
                  </a:lnTo>
                  <a:lnTo>
                    <a:pt x="30" y="198"/>
                  </a:lnTo>
                  <a:lnTo>
                    <a:pt x="28" y="198"/>
                  </a:lnTo>
                  <a:lnTo>
                    <a:pt x="30" y="198"/>
                  </a:lnTo>
                  <a:lnTo>
                    <a:pt x="28" y="196"/>
                  </a:lnTo>
                  <a:lnTo>
                    <a:pt x="30" y="196"/>
                  </a:lnTo>
                  <a:lnTo>
                    <a:pt x="30" y="194"/>
                  </a:lnTo>
                  <a:lnTo>
                    <a:pt x="28" y="194"/>
                  </a:lnTo>
                  <a:lnTo>
                    <a:pt x="28" y="192"/>
                  </a:lnTo>
                  <a:lnTo>
                    <a:pt x="28" y="194"/>
                  </a:lnTo>
                  <a:lnTo>
                    <a:pt x="28" y="192"/>
                  </a:lnTo>
                  <a:lnTo>
                    <a:pt x="30" y="192"/>
                  </a:lnTo>
                  <a:lnTo>
                    <a:pt x="30" y="190"/>
                  </a:lnTo>
                  <a:lnTo>
                    <a:pt x="30" y="188"/>
                  </a:lnTo>
                  <a:lnTo>
                    <a:pt x="28" y="188"/>
                  </a:lnTo>
                  <a:lnTo>
                    <a:pt x="28" y="186"/>
                  </a:lnTo>
                  <a:lnTo>
                    <a:pt x="28" y="184"/>
                  </a:lnTo>
                  <a:lnTo>
                    <a:pt x="28" y="182"/>
                  </a:lnTo>
                  <a:lnTo>
                    <a:pt x="28" y="182"/>
                  </a:lnTo>
                  <a:lnTo>
                    <a:pt x="26" y="182"/>
                  </a:lnTo>
                  <a:lnTo>
                    <a:pt x="26" y="184"/>
                  </a:lnTo>
                  <a:lnTo>
                    <a:pt x="24" y="184"/>
                  </a:lnTo>
                  <a:lnTo>
                    <a:pt x="24" y="186"/>
                  </a:lnTo>
                  <a:lnTo>
                    <a:pt x="22" y="186"/>
                  </a:lnTo>
                  <a:lnTo>
                    <a:pt x="20" y="186"/>
                  </a:lnTo>
                  <a:lnTo>
                    <a:pt x="20" y="188"/>
                  </a:lnTo>
                  <a:lnTo>
                    <a:pt x="18" y="188"/>
                  </a:lnTo>
                  <a:lnTo>
                    <a:pt x="18" y="186"/>
                  </a:lnTo>
                  <a:lnTo>
                    <a:pt x="18" y="188"/>
                  </a:lnTo>
                  <a:lnTo>
                    <a:pt x="18" y="186"/>
                  </a:lnTo>
                  <a:lnTo>
                    <a:pt x="16" y="186"/>
                  </a:lnTo>
                  <a:lnTo>
                    <a:pt x="16" y="188"/>
                  </a:lnTo>
                  <a:lnTo>
                    <a:pt x="14" y="188"/>
                  </a:lnTo>
                  <a:lnTo>
                    <a:pt x="14" y="190"/>
                  </a:lnTo>
                  <a:lnTo>
                    <a:pt x="12" y="190"/>
                  </a:lnTo>
                  <a:lnTo>
                    <a:pt x="12" y="188"/>
                  </a:lnTo>
                  <a:lnTo>
                    <a:pt x="10" y="188"/>
                  </a:lnTo>
                  <a:lnTo>
                    <a:pt x="12" y="188"/>
                  </a:lnTo>
                  <a:lnTo>
                    <a:pt x="10" y="188"/>
                  </a:lnTo>
                  <a:lnTo>
                    <a:pt x="12" y="188"/>
                  </a:lnTo>
                  <a:lnTo>
                    <a:pt x="10" y="188"/>
                  </a:lnTo>
                  <a:lnTo>
                    <a:pt x="10" y="186"/>
                  </a:lnTo>
                  <a:lnTo>
                    <a:pt x="10" y="184"/>
                  </a:lnTo>
                  <a:lnTo>
                    <a:pt x="8" y="184"/>
                  </a:lnTo>
                  <a:lnTo>
                    <a:pt x="10" y="182"/>
                  </a:lnTo>
                  <a:lnTo>
                    <a:pt x="8" y="182"/>
                  </a:lnTo>
                  <a:lnTo>
                    <a:pt x="6" y="182"/>
                  </a:lnTo>
                  <a:lnTo>
                    <a:pt x="6" y="180"/>
                  </a:lnTo>
                  <a:lnTo>
                    <a:pt x="8" y="180"/>
                  </a:lnTo>
                  <a:lnTo>
                    <a:pt x="8" y="178"/>
                  </a:lnTo>
                  <a:lnTo>
                    <a:pt x="6" y="178"/>
                  </a:lnTo>
                  <a:lnTo>
                    <a:pt x="8" y="178"/>
                  </a:lnTo>
                  <a:lnTo>
                    <a:pt x="10" y="178"/>
                  </a:lnTo>
                  <a:lnTo>
                    <a:pt x="10" y="176"/>
                  </a:lnTo>
                  <a:lnTo>
                    <a:pt x="10" y="174"/>
                  </a:lnTo>
                  <a:lnTo>
                    <a:pt x="10" y="174"/>
                  </a:lnTo>
                  <a:lnTo>
                    <a:pt x="10" y="172"/>
                  </a:lnTo>
                  <a:lnTo>
                    <a:pt x="12" y="172"/>
                  </a:lnTo>
                  <a:lnTo>
                    <a:pt x="12" y="170"/>
                  </a:lnTo>
                  <a:lnTo>
                    <a:pt x="14" y="170"/>
                  </a:lnTo>
                  <a:lnTo>
                    <a:pt x="16" y="170"/>
                  </a:lnTo>
                  <a:lnTo>
                    <a:pt x="18" y="170"/>
                  </a:lnTo>
                  <a:lnTo>
                    <a:pt x="18" y="168"/>
                  </a:lnTo>
                  <a:lnTo>
                    <a:pt x="18" y="166"/>
                  </a:lnTo>
                  <a:lnTo>
                    <a:pt x="16" y="166"/>
                  </a:lnTo>
                  <a:lnTo>
                    <a:pt x="18" y="166"/>
                  </a:lnTo>
                  <a:lnTo>
                    <a:pt x="18" y="164"/>
                  </a:lnTo>
                  <a:lnTo>
                    <a:pt x="16" y="164"/>
                  </a:lnTo>
                  <a:lnTo>
                    <a:pt x="16" y="162"/>
                  </a:lnTo>
                  <a:lnTo>
                    <a:pt x="18" y="162"/>
                  </a:lnTo>
                  <a:lnTo>
                    <a:pt x="16" y="162"/>
                  </a:lnTo>
                  <a:lnTo>
                    <a:pt x="16" y="160"/>
                  </a:lnTo>
                  <a:lnTo>
                    <a:pt x="18" y="160"/>
                  </a:lnTo>
                  <a:lnTo>
                    <a:pt x="18" y="158"/>
                  </a:lnTo>
                  <a:lnTo>
                    <a:pt x="18" y="160"/>
                  </a:lnTo>
                  <a:lnTo>
                    <a:pt x="18" y="158"/>
                  </a:lnTo>
                  <a:lnTo>
                    <a:pt x="18" y="156"/>
                  </a:lnTo>
                  <a:lnTo>
                    <a:pt x="18" y="154"/>
                  </a:lnTo>
                  <a:lnTo>
                    <a:pt x="20" y="154"/>
                  </a:lnTo>
                  <a:lnTo>
                    <a:pt x="22" y="154"/>
                  </a:lnTo>
                  <a:lnTo>
                    <a:pt x="22" y="152"/>
                  </a:lnTo>
                  <a:lnTo>
                    <a:pt x="22" y="150"/>
                  </a:lnTo>
                  <a:lnTo>
                    <a:pt x="24" y="150"/>
                  </a:lnTo>
                  <a:lnTo>
                    <a:pt x="24" y="148"/>
                  </a:lnTo>
                  <a:lnTo>
                    <a:pt x="24" y="146"/>
                  </a:lnTo>
                  <a:lnTo>
                    <a:pt x="26" y="146"/>
                  </a:lnTo>
                  <a:lnTo>
                    <a:pt x="26" y="144"/>
                  </a:lnTo>
                  <a:lnTo>
                    <a:pt x="28" y="144"/>
                  </a:lnTo>
                  <a:lnTo>
                    <a:pt x="28" y="142"/>
                  </a:lnTo>
                  <a:lnTo>
                    <a:pt x="28" y="140"/>
                  </a:lnTo>
                  <a:lnTo>
                    <a:pt x="28" y="138"/>
                  </a:lnTo>
                  <a:lnTo>
                    <a:pt x="28" y="138"/>
                  </a:lnTo>
                  <a:lnTo>
                    <a:pt x="28" y="140"/>
                  </a:lnTo>
                  <a:lnTo>
                    <a:pt x="28" y="138"/>
                  </a:lnTo>
                  <a:lnTo>
                    <a:pt x="28" y="140"/>
                  </a:lnTo>
                  <a:lnTo>
                    <a:pt x="28" y="138"/>
                  </a:lnTo>
                  <a:lnTo>
                    <a:pt x="30" y="138"/>
                  </a:lnTo>
                  <a:lnTo>
                    <a:pt x="30" y="136"/>
                  </a:lnTo>
                  <a:lnTo>
                    <a:pt x="30" y="134"/>
                  </a:lnTo>
                  <a:lnTo>
                    <a:pt x="32" y="134"/>
                  </a:lnTo>
                  <a:lnTo>
                    <a:pt x="32" y="132"/>
                  </a:lnTo>
                  <a:lnTo>
                    <a:pt x="32" y="130"/>
                  </a:lnTo>
                  <a:lnTo>
                    <a:pt x="30" y="130"/>
                  </a:lnTo>
                  <a:lnTo>
                    <a:pt x="28" y="130"/>
                  </a:lnTo>
                  <a:lnTo>
                    <a:pt x="28" y="132"/>
                  </a:lnTo>
                  <a:lnTo>
                    <a:pt x="28" y="132"/>
                  </a:lnTo>
                  <a:lnTo>
                    <a:pt x="28" y="130"/>
                  </a:lnTo>
                  <a:lnTo>
                    <a:pt x="26" y="130"/>
                  </a:lnTo>
                  <a:lnTo>
                    <a:pt x="24" y="130"/>
                  </a:lnTo>
                  <a:lnTo>
                    <a:pt x="24" y="128"/>
                  </a:lnTo>
                  <a:lnTo>
                    <a:pt x="24" y="126"/>
                  </a:lnTo>
                  <a:lnTo>
                    <a:pt x="24" y="126"/>
                  </a:lnTo>
                  <a:lnTo>
                    <a:pt x="22" y="126"/>
                  </a:lnTo>
                  <a:lnTo>
                    <a:pt x="20" y="126"/>
                  </a:lnTo>
                  <a:lnTo>
                    <a:pt x="20" y="124"/>
                  </a:lnTo>
                  <a:lnTo>
                    <a:pt x="20" y="122"/>
                  </a:lnTo>
                  <a:lnTo>
                    <a:pt x="18" y="122"/>
                  </a:lnTo>
                  <a:lnTo>
                    <a:pt x="18" y="120"/>
                  </a:lnTo>
                  <a:lnTo>
                    <a:pt x="18" y="118"/>
                  </a:lnTo>
                  <a:lnTo>
                    <a:pt x="16" y="118"/>
                  </a:lnTo>
                  <a:lnTo>
                    <a:pt x="16" y="116"/>
                  </a:lnTo>
                  <a:lnTo>
                    <a:pt x="18" y="116"/>
                  </a:lnTo>
                  <a:lnTo>
                    <a:pt x="16" y="116"/>
                  </a:lnTo>
                  <a:lnTo>
                    <a:pt x="18" y="116"/>
                  </a:lnTo>
                  <a:lnTo>
                    <a:pt x="18" y="114"/>
                  </a:lnTo>
                  <a:lnTo>
                    <a:pt x="18" y="112"/>
                  </a:lnTo>
                  <a:lnTo>
                    <a:pt x="16" y="112"/>
                  </a:lnTo>
                  <a:lnTo>
                    <a:pt x="16" y="110"/>
                  </a:lnTo>
                  <a:lnTo>
                    <a:pt x="16" y="108"/>
                  </a:lnTo>
                  <a:lnTo>
                    <a:pt x="14" y="108"/>
                  </a:lnTo>
                  <a:lnTo>
                    <a:pt x="16" y="108"/>
                  </a:lnTo>
                  <a:lnTo>
                    <a:pt x="16" y="106"/>
                  </a:lnTo>
                  <a:lnTo>
                    <a:pt x="16" y="104"/>
                  </a:lnTo>
                  <a:lnTo>
                    <a:pt x="14" y="104"/>
                  </a:lnTo>
                  <a:lnTo>
                    <a:pt x="14" y="102"/>
                  </a:lnTo>
                  <a:lnTo>
                    <a:pt x="14" y="100"/>
                  </a:lnTo>
                  <a:lnTo>
                    <a:pt x="14" y="98"/>
                  </a:lnTo>
                  <a:lnTo>
                    <a:pt x="12" y="98"/>
                  </a:lnTo>
                  <a:lnTo>
                    <a:pt x="12" y="96"/>
                  </a:lnTo>
                  <a:lnTo>
                    <a:pt x="10" y="96"/>
                  </a:lnTo>
                  <a:lnTo>
                    <a:pt x="10" y="94"/>
                  </a:lnTo>
                  <a:lnTo>
                    <a:pt x="12" y="94"/>
                  </a:lnTo>
                  <a:lnTo>
                    <a:pt x="12" y="92"/>
                  </a:lnTo>
                  <a:lnTo>
                    <a:pt x="10" y="92"/>
                  </a:lnTo>
                  <a:lnTo>
                    <a:pt x="10" y="90"/>
                  </a:lnTo>
                  <a:lnTo>
                    <a:pt x="8" y="90"/>
                  </a:lnTo>
                  <a:lnTo>
                    <a:pt x="8" y="88"/>
                  </a:lnTo>
                  <a:lnTo>
                    <a:pt x="6" y="88"/>
                  </a:lnTo>
                  <a:lnTo>
                    <a:pt x="6" y="86"/>
                  </a:lnTo>
                  <a:lnTo>
                    <a:pt x="6" y="84"/>
                  </a:lnTo>
                  <a:lnTo>
                    <a:pt x="4" y="84"/>
                  </a:lnTo>
                  <a:lnTo>
                    <a:pt x="4" y="82"/>
                  </a:lnTo>
                  <a:lnTo>
                    <a:pt x="2" y="82"/>
                  </a:lnTo>
                  <a:lnTo>
                    <a:pt x="2" y="80"/>
                  </a:lnTo>
                  <a:lnTo>
                    <a:pt x="2" y="78"/>
                  </a:lnTo>
                  <a:lnTo>
                    <a:pt x="0" y="78"/>
                  </a:lnTo>
                  <a:lnTo>
                    <a:pt x="0" y="78"/>
                  </a:lnTo>
                  <a:lnTo>
                    <a:pt x="2" y="78"/>
                  </a:lnTo>
                  <a:lnTo>
                    <a:pt x="4" y="78"/>
                  </a:lnTo>
                  <a:lnTo>
                    <a:pt x="4" y="78"/>
                  </a:lnTo>
                  <a:lnTo>
                    <a:pt x="4" y="78"/>
                  </a:lnTo>
                  <a:lnTo>
                    <a:pt x="6" y="78"/>
                  </a:lnTo>
                  <a:lnTo>
                    <a:pt x="4" y="78"/>
                  </a:lnTo>
                  <a:lnTo>
                    <a:pt x="4" y="76"/>
                  </a:lnTo>
                  <a:lnTo>
                    <a:pt x="4" y="74"/>
                  </a:lnTo>
                  <a:lnTo>
                    <a:pt x="2" y="74"/>
                  </a:lnTo>
                  <a:lnTo>
                    <a:pt x="4" y="74"/>
                  </a:lnTo>
                  <a:lnTo>
                    <a:pt x="4" y="72"/>
                  </a:lnTo>
                  <a:lnTo>
                    <a:pt x="6" y="72"/>
                  </a:lnTo>
                  <a:lnTo>
                    <a:pt x="6" y="70"/>
                  </a:lnTo>
                  <a:lnTo>
                    <a:pt x="6" y="68"/>
                  </a:lnTo>
                  <a:lnTo>
                    <a:pt x="6" y="66"/>
                  </a:lnTo>
                  <a:lnTo>
                    <a:pt x="6" y="64"/>
                  </a:lnTo>
                  <a:lnTo>
                    <a:pt x="6" y="62"/>
                  </a:lnTo>
                  <a:lnTo>
                    <a:pt x="4" y="62"/>
                  </a:lnTo>
                  <a:lnTo>
                    <a:pt x="4" y="60"/>
                  </a:lnTo>
                  <a:lnTo>
                    <a:pt x="4" y="58"/>
                  </a:lnTo>
                  <a:lnTo>
                    <a:pt x="4" y="56"/>
                  </a:lnTo>
                  <a:lnTo>
                    <a:pt x="4" y="58"/>
                  </a:lnTo>
                  <a:lnTo>
                    <a:pt x="4" y="56"/>
                  </a:lnTo>
                  <a:lnTo>
                    <a:pt x="4" y="58"/>
                  </a:lnTo>
                  <a:lnTo>
                    <a:pt x="4" y="56"/>
                  </a:lnTo>
                  <a:lnTo>
                    <a:pt x="2" y="56"/>
                  </a:lnTo>
                  <a:lnTo>
                    <a:pt x="2" y="54"/>
                  </a:lnTo>
                  <a:lnTo>
                    <a:pt x="2" y="52"/>
                  </a:lnTo>
                  <a:lnTo>
                    <a:pt x="2" y="50"/>
                  </a:lnTo>
                  <a:lnTo>
                    <a:pt x="2" y="48"/>
                  </a:lnTo>
                  <a:lnTo>
                    <a:pt x="2" y="46"/>
                  </a:lnTo>
                  <a:lnTo>
                    <a:pt x="2" y="44"/>
                  </a:lnTo>
                  <a:lnTo>
                    <a:pt x="4" y="44"/>
                  </a:lnTo>
                  <a:lnTo>
                    <a:pt x="4" y="42"/>
                  </a:lnTo>
                  <a:lnTo>
                    <a:pt x="4" y="40"/>
                  </a:lnTo>
                  <a:lnTo>
                    <a:pt x="4" y="38"/>
                  </a:lnTo>
                  <a:lnTo>
                    <a:pt x="6" y="38"/>
                  </a:lnTo>
                  <a:lnTo>
                    <a:pt x="6" y="36"/>
                  </a:lnTo>
                  <a:lnTo>
                    <a:pt x="6" y="34"/>
                  </a:lnTo>
                  <a:lnTo>
                    <a:pt x="8" y="34"/>
                  </a:lnTo>
                  <a:lnTo>
                    <a:pt x="8" y="32"/>
                  </a:lnTo>
                  <a:lnTo>
                    <a:pt x="8" y="30"/>
                  </a:lnTo>
                  <a:lnTo>
                    <a:pt x="10" y="30"/>
                  </a:lnTo>
                  <a:lnTo>
                    <a:pt x="10" y="28"/>
                  </a:lnTo>
                  <a:lnTo>
                    <a:pt x="10" y="26"/>
                  </a:lnTo>
                  <a:lnTo>
                    <a:pt x="12" y="24"/>
                  </a:lnTo>
                  <a:lnTo>
                    <a:pt x="12" y="22"/>
                  </a:lnTo>
                  <a:lnTo>
                    <a:pt x="14" y="20"/>
                  </a:lnTo>
                  <a:lnTo>
                    <a:pt x="14" y="18"/>
                  </a:lnTo>
                  <a:lnTo>
                    <a:pt x="14" y="16"/>
                  </a:lnTo>
                  <a:lnTo>
                    <a:pt x="16" y="16"/>
                  </a:lnTo>
                  <a:lnTo>
                    <a:pt x="16" y="14"/>
                  </a:lnTo>
                  <a:lnTo>
                    <a:pt x="16" y="12"/>
                  </a:lnTo>
                  <a:lnTo>
                    <a:pt x="16" y="10"/>
                  </a:lnTo>
                  <a:lnTo>
                    <a:pt x="18" y="10"/>
                  </a:lnTo>
                  <a:lnTo>
                    <a:pt x="18" y="8"/>
                  </a:lnTo>
                  <a:lnTo>
                    <a:pt x="18" y="6"/>
                  </a:lnTo>
                  <a:lnTo>
                    <a:pt x="20" y="6"/>
                  </a:lnTo>
                  <a:lnTo>
                    <a:pt x="20" y="4"/>
                  </a:lnTo>
                  <a:lnTo>
                    <a:pt x="20" y="2"/>
                  </a:lnTo>
                  <a:lnTo>
                    <a:pt x="22" y="0"/>
                  </a:lnTo>
                  <a:lnTo>
                    <a:pt x="22" y="2"/>
                  </a:lnTo>
                  <a:lnTo>
                    <a:pt x="24" y="2"/>
                  </a:lnTo>
                  <a:lnTo>
                    <a:pt x="26" y="2"/>
                  </a:lnTo>
                  <a:lnTo>
                    <a:pt x="28" y="2"/>
                  </a:lnTo>
                  <a:lnTo>
                    <a:pt x="28" y="4"/>
                  </a:lnTo>
                  <a:lnTo>
                    <a:pt x="30" y="4"/>
                  </a:lnTo>
                  <a:lnTo>
                    <a:pt x="32" y="6"/>
                  </a:lnTo>
                  <a:lnTo>
                    <a:pt x="34" y="6"/>
                  </a:lnTo>
                  <a:lnTo>
                    <a:pt x="36" y="6"/>
                  </a:lnTo>
                  <a:lnTo>
                    <a:pt x="36" y="8"/>
                  </a:lnTo>
                  <a:lnTo>
                    <a:pt x="38" y="8"/>
                  </a:lnTo>
                  <a:lnTo>
                    <a:pt x="40" y="8"/>
                  </a:lnTo>
                  <a:lnTo>
                    <a:pt x="40" y="10"/>
                  </a:lnTo>
                  <a:lnTo>
                    <a:pt x="42" y="10"/>
                  </a:lnTo>
                  <a:lnTo>
                    <a:pt x="44" y="10"/>
                  </a:lnTo>
                  <a:lnTo>
                    <a:pt x="46" y="12"/>
                  </a:lnTo>
                  <a:lnTo>
                    <a:pt x="48" y="12"/>
                  </a:lnTo>
                  <a:lnTo>
                    <a:pt x="50" y="12"/>
                  </a:lnTo>
                  <a:lnTo>
                    <a:pt x="52" y="14"/>
                  </a:lnTo>
                  <a:lnTo>
                    <a:pt x="54" y="14"/>
                  </a:lnTo>
                  <a:lnTo>
                    <a:pt x="56" y="14"/>
                  </a:lnTo>
                  <a:lnTo>
                    <a:pt x="56" y="16"/>
                  </a:lnTo>
                  <a:lnTo>
                    <a:pt x="58" y="16"/>
                  </a:lnTo>
                  <a:lnTo>
                    <a:pt x="60" y="16"/>
                  </a:lnTo>
                  <a:lnTo>
                    <a:pt x="62" y="18"/>
                  </a:lnTo>
                  <a:lnTo>
                    <a:pt x="64" y="18"/>
                  </a:lnTo>
                  <a:lnTo>
                    <a:pt x="66" y="18"/>
                  </a:lnTo>
                  <a:lnTo>
                    <a:pt x="68" y="20"/>
                  </a:lnTo>
                  <a:lnTo>
                    <a:pt x="70" y="20"/>
                  </a:lnTo>
                  <a:lnTo>
                    <a:pt x="72" y="20"/>
                  </a:lnTo>
                  <a:lnTo>
                    <a:pt x="74" y="22"/>
                  </a:lnTo>
                  <a:close/>
                </a:path>
              </a:pathLst>
            </a:custGeom>
            <a:solidFill>
              <a:srgbClr val="816767"/>
            </a:solidFill>
            <a:ln w="3175">
              <a:solidFill>
                <a:sysClr val="window" lastClr="FFFF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black"/>
                </a:solidFill>
                <a:effectLst/>
                <a:uLnTx/>
                <a:uFillTx/>
                <a:ea typeface="宋体" panose="02010600030101010101" pitchFamily="2" charset="-122"/>
              </a:endParaRPr>
            </a:p>
          </p:txBody>
        </p:sp>
        <p:sp>
          <p:nvSpPr>
            <p:cNvPr id="7" name="Freeform 3079">
              <a:extLst>
                <a:ext uri="{FF2B5EF4-FFF2-40B4-BE49-F238E27FC236}">
                  <a16:creationId xmlns:a16="http://schemas.microsoft.com/office/drawing/2014/main" id="{475DE72C-5D67-0ABD-8878-2D24778A1859}"/>
                </a:ext>
              </a:extLst>
            </p:cNvPr>
            <p:cNvSpPr>
              <a:spLocks/>
            </p:cNvSpPr>
            <p:nvPr/>
          </p:nvSpPr>
          <p:spPr bwMode="auto">
            <a:xfrm>
              <a:off x="4217988" y="3370263"/>
              <a:ext cx="533400" cy="519113"/>
            </a:xfrm>
            <a:custGeom>
              <a:avLst/>
              <a:gdLst>
                <a:gd name="T0" fmla="*/ 122 w 336"/>
                <a:gd name="T1" fmla="*/ 12 h 327"/>
                <a:gd name="T2" fmla="*/ 178 w 336"/>
                <a:gd name="T3" fmla="*/ 26 h 327"/>
                <a:gd name="T4" fmla="*/ 194 w 336"/>
                <a:gd name="T5" fmla="*/ 28 h 327"/>
                <a:gd name="T6" fmla="*/ 210 w 336"/>
                <a:gd name="T7" fmla="*/ 32 h 327"/>
                <a:gd name="T8" fmla="*/ 228 w 336"/>
                <a:gd name="T9" fmla="*/ 36 h 327"/>
                <a:gd name="T10" fmla="*/ 248 w 336"/>
                <a:gd name="T11" fmla="*/ 40 h 327"/>
                <a:gd name="T12" fmla="*/ 266 w 336"/>
                <a:gd name="T13" fmla="*/ 44 h 327"/>
                <a:gd name="T14" fmla="*/ 278 w 336"/>
                <a:gd name="T15" fmla="*/ 48 h 327"/>
                <a:gd name="T16" fmla="*/ 294 w 336"/>
                <a:gd name="T17" fmla="*/ 50 h 327"/>
                <a:gd name="T18" fmla="*/ 310 w 336"/>
                <a:gd name="T19" fmla="*/ 54 h 327"/>
                <a:gd name="T20" fmla="*/ 326 w 336"/>
                <a:gd name="T21" fmla="*/ 56 h 327"/>
                <a:gd name="T22" fmla="*/ 334 w 336"/>
                <a:gd name="T23" fmla="*/ 66 h 327"/>
                <a:gd name="T24" fmla="*/ 330 w 336"/>
                <a:gd name="T25" fmla="*/ 84 h 327"/>
                <a:gd name="T26" fmla="*/ 326 w 336"/>
                <a:gd name="T27" fmla="*/ 104 h 327"/>
                <a:gd name="T28" fmla="*/ 324 w 336"/>
                <a:gd name="T29" fmla="*/ 123 h 327"/>
                <a:gd name="T30" fmla="*/ 320 w 336"/>
                <a:gd name="T31" fmla="*/ 143 h 327"/>
                <a:gd name="T32" fmla="*/ 316 w 336"/>
                <a:gd name="T33" fmla="*/ 159 h 327"/>
                <a:gd name="T34" fmla="*/ 314 w 336"/>
                <a:gd name="T35" fmla="*/ 175 h 327"/>
                <a:gd name="T36" fmla="*/ 312 w 336"/>
                <a:gd name="T37" fmla="*/ 191 h 327"/>
                <a:gd name="T38" fmla="*/ 308 w 336"/>
                <a:gd name="T39" fmla="*/ 205 h 327"/>
                <a:gd name="T40" fmla="*/ 306 w 336"/>
                <a:gd name="T41" fmla="*/ 221 h 327"/>
                <a:gd name="T42" fmla="*/ 302 w 336"/>
                <a:gd name="T43" fmla="*/ 237 h 327"/>
                <a:gd name="T44" fmla="*/ 298 w 336"/>
                <a:gd name="T45" fmla="*/ 255 h 327"/>
                <a:gd name="T46" fmla="*/ 296 w 336"/>
                <a:gd name="T47" fmla="*/ 269 h 327"/>
                <a:gd name="T48" fmla="*/ 292 w 336"/>
                <a:gd name="T49" fmla="*/ 287 h 327"/>
                <a:gd name="T50" fmla="*/ 288 w 336"/>
                <a:gd name="T51" fmla="*/ 307 h 327"/>
                <a:gd name="T52" fmla="*/ 284 w 336"/>
                <a:gd name="T53" fmla="*/ 325 h 327"/>
                <a:gd name="T54" fmla="*/ 254 w 336"/>
                <a:gd name="T55" fmla="*/ 321 h 327"/>
                <a:gd name="T56" fmla="*/ 230 w 336"/>
                <a:gd name="T57" fmla="*/ 315 h 327"/>
                <a:gd name="T58" fmla="*/ 204 w 336"/>
                <a:gd name="T59" fmla="*/ 313 h 327"/>
                <a:gd name="T60" fmla="*/ 188 w 336"/>
                <a:gd name="T61" fmla="*/ 309 h 327"/>
                <a:gd name="T62" fmla="*/ 168 w 336"/>
                <a:gd name="T63" fmla="*/ 303 h 327"/>
                <a:gd name="T64" fmla="*/ 150 w 336"/>
                <a:gd name="T65" fmla="*/ 299 h 327"/>
                <a:gd name="T66" fmla="*/ 132 w 336"/>
                <a:gd name="T67" fmla="*/ 295 h 327"/>
                <a:gd name="T68" fmla="*/ 120 w 336"/>
                <a:gd name="T69" fmla="*/ 295 h 327"/>
                <a:gd name="T70" fmla="*/ 122 w 336"/>
                <a:gd name="T71" fmla="*/ 303 h 327"/>
                <a:gd name="T72" fmla="*/ 108 w 336"/>
                <a:gd name="T73" fmla="*/ 303 h 327"/>
                <a:gd name="T74" fmla="*/ 86 w 336"/>
                <a:gd name="T75" fmla="*/ 297 h 327"/>
                <a:gd name="T76" fmla="*/ 54 w 336"/>
                <a:gd name="T77" fmla="*/ 289 h 327"/>
                <a:gd name="T78" fmla="*/ 42 w 336"/>
                <a:gd name="T79" fmla="*/ 291 h 327"/>
                <a:gd name="T80" fmla="*/ 38 w 336"/>
                <a:gd name="T81" fmla="*/ 309 h 327"/>
                <a:gd name="T82" fmla="*/ 14 w 336"/>
                <a:gd name="T83" fmla="*/ 305 h 327"/>
                <a:gd name="T84" fmla="*/ 0 w 336"/>
                <a:gd name="T85" fmla="*/ 295 h 327"/>
                <a:gd name="T86" fmla="*/ 4 w 336"/>
                <a:gd name="T87" fmla="*/ 281 h 327"/>
                <a:gd name="T88" fmla="*/ 8 w 336"/>
                <a:gd name="T89" fmla="*/ 267 h 327"/>
                <a:gd name="T90" fmla="*/ 14 w 336"/>
                <a:gd name="T91" fmla="*/ 251 h 327"/>
                <a:gd name="T92" fmla="*/ 20 w 336"/>
                <a:gd name="T93" fmla="*/ 231 h 327"/>
                <a:gd name="T94" fmla="*/ 26 w 336"/>
                <a:gd name="T95" fmla="*/ 211 h 327"/>
                <a:gd name="T96" fmla="*/ 30 w 336"/>
                <a:gd name="T97" fmla="*/ 191 h 327"/>
                <a:gd name="T98" fmla="*/ 36 w 336"/>
                <a:gd name="T99" fmla="*/ 173 h 327"/>
                <a:gd name="T100" fmla="*/ 38 w 336"/>
                <a:gd name="T101" fmla="*/ 157 h 327"/>
                <a:gd name="T102" fmla="*/ 44 w 336"/>
                <a:gd name="T103" fmla="*/ 137 h 327"/>
                <a:gd name="T104" fmla="*/ 50 w 336"/>
                <a:gd name="T105" fmla="*/ 119 h 327"/>
                <a:gd name="T106" fmla="*/ 54 w 336"/>
                <a:gd name="T107" fmla="*/ 104 h 327"/>
                <a:gd name="T108" fmla="*/ 60 w 336"/>
                <a:gd name="T109" fmla="*/ 84 h 327"/>
                <a:gd name="T110" fmla="*/ 64 w 336"/>
                <a:gd name="T111" fmla="*/ 68 h 327"/>
                <a:gd name="T112" fmla="*/ 68 w 336"/>
                <a:gd name="T113" fmla="*/ 52 h 327"/>
                <a:gd name="T114" fmla="*/ 74 w 336"/>
                <a:gd name="T115" fmla="*/ 36 h 327"/>
                <a:gd name="T116" fmla="*/ 80 w 336"/>
                <a:gd name="T117" fmla="*/ 12 h 327"/>
                <a:gd name="T118" fmla="*/ 90 w 336"/>
                <a:gd name="T119" fmla="*/ 2 h 327"/>
                <a:gd name="T120" fmla="*/ 108 w 336"/>
                <a:gd name="T121" fmla="*/ 8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36" h="327">
                  <a:moveTo>
                    <a:pt x="110" y="8"/>
                  </a:moveTo>
                  <a:lnTo>
                    <a:pt x="112" y="8"/>
                  </a:lnTo>
                  <a:lnTo>
                    <a:pt x="112" y="10"/>
                  </a:lnTo>
                  <a:lnTo>
                    <a:pt x="114" y="10"/>
                  </a:lnTo>
                  <a:lnTo>
                    <a:pt x="116" y="10"/>
                  </a:lnTo>
                  <a:lnTo>
                    <a:pt x="118" y="10"/>
                  </a:lnTo>
                  <a:lnTo>
                    <a:pt x="120" y="10"/>
                  </a:lnTo>
                  <a:lnTo>
                    <a:pt x="120" y="12"/>
                  </a:lnTo>
                  <a:lnTo>
                    <a:pt x="122" y="12"/>
                  </a:lnTo>
                  <a:lnTo>
                    <a:pt x="124" y="12"/>
                  </a:lnTo>
                  <a:lnTo>
                    <a:pt x="126" y="12"/>
                  </a:lnTo>
                  <a:lnTo>
                    <a:pt x="148" y="18"/>
                  </a:lnTo>
                  <a:lnTo>
                    <a:pt x="150" y="20"/>
                  </a:lnTo>
                  <a:lnTo>
                    <a:pt x="168" y="24"/>
                  </a:lnTo>
                  <a:lnTo>
                    <a:pt x="174" y="24"/>
                  </a:lnTo>
                  <a:lnTo>
                    <a:pt x="174" y="26"/>
                  </a:lnTo>
                  <a:lnTo>
                    <a:pt x="176" y="26"/>
                  </a:lnTo>
                  <a:lnTo>
                    <a:pt x="178" y="26"/>
                  </a:lnTo>
                  <a:lnTo>
                    <a:pt x="180" y="26"/>
                  </a:lnTo>
                  <a:lnTo>
                    <a:pt x="180" y="26"/>
                  </a:lnTo>
                  <a:lnTo>
                    <a:pt x="182" y="26"/>
                  </a:lnTo>
                  <a:lnTo>
                    <a:pt x="184" y="26"/>
                  </a:lnTo>
                  <a:lnTo>
                    <a:pt x="186" y="26"/>
                  </a:lnTo>
                  <a:lnTo>
                    <a:pt x="188" y="28"/>
                  </a:lnTo>
                  <a:lnTo>
                    <a:pt x="190" y="28"/>
                  </a:lnTo>
                  <a:lnTo>
                    <a:pt x="192" y="28"/>
                  </a:lnTo>
                  <a:lnTo>
                    <a:pt x="194" y="28"/>
                  </a:lnTo>
                  <a:lnTo>
                    <a:pt x="196" y="28"/>
                  </a:lnTo>
                  <a:lnTo>
                    <a:pt x="196" y="30"/>
                  </a:lnTo>
                  <a:lnTo>
                    <a:pt x="198" y="30"/>
                  </a:lnTo>
                  <a:lnTo>
                    <a:pt x="200" y="30"/>
                  </a:lnTo>
                  <a:lnTo>
                    <a:pt x="202" y="30"/>
                  </a:lnTo>
                  <a:lnTo>
                    <a:pt x="204" y="30"/>
                  </a:lnTo>
                  <a:lnTo>
                    <a:pt x="206" y="32"/>
                  </a:lnTo>
                  <a:lnTo>
                    <a:pt x="208" y="32"/>
                  </a:lnTo>
                  <a:lnTo>
                    <a:pt x="210" y="32"/>
                  </a:lnTo>
                  <a:lnTo>
                    <a:pt x="212" y="32"/>
                  </a:lnTo>
                  <a:lnTo>
                    <a:pt x="214" y="34"/>
                  </a:lnTo>
                  <a:lnTo>
                    <a:pt x="216" y="34"/>
                  </a:lnTo>
                  <a:lnTo>
                    <a:pt x="218" y="34"/>
                  </a:lnTo>
                  <a:lnTo>
                    <a:pt x="220" y="34"/>
                  </a:lnTo>
                  <a:lnTo>
                    <a:pt x="222" y="34"/>
                  </a:lnTo>
                  <a:lnTo>
                    <a:pt x="224" y="36"/>
                  </a:lnTo>
                  <a:lnTo>
                    <a:pt x="226" y="36"/>
                  </a:lnTo>
                  <a:lnTo>
                    <a:pt x="228" y="36"/>
                  </a:lnTo>
                  <a:lnTo>
                    <a:pt x="230" y="36"/>
                  </a:lnTo>
                  <a:lnTo>
                    <a:pt x="230" y="36"/>
                  </a:lnTo>
                  <a:lnTo>
                    <a:pt x="232" y="38"/>
                  </a:lnTo>
                  <a:lnTo>
                    <a:pt x="234" y="38"/>
                  </a:lnTo>
                  <a:lnTo>
                    <a:pt x="236" y="38"/>
                  </a:lnTo>
                  <a:lnTo>
                    <a:pt x="242" y="40"/>
                  </a:lnTo>
                  <a:lnTo>
                    <a:pt x="244" y="40"/>
                  </a:lnTo>
                  <a:lnTo>
                    <a:pt x="246" y="40"/>
                  </a:lnTo>
                  <a:lnTo>
                    <a:pt x="248" y="40"/>
                  </a:lnTo>
                  <a:lnTo>
                    <a:pt x="248" y="42"/>
                  </a:lnTo>
                  <a:lnTo>
                    <a:pt x="250" y="42"/>
                  </a:lnTo>
                  <a:lnTo>
                    <a:pt x="252" y="42"/>
                  </a:lnTo>
                  <a:lnTo>
                    <a:pt x="258" y="42"/>
                  </a:lnTo>
                  <a:lnTo>
                    <a:pt x="258" y="44"/>
                  </a:lnTo>
                  <a:lnTo>
                    <a:pt x="260" y="44"/>
                  </a:lnTo>
                  <a:lnTo>
                    <a:pt x="262" y="44"/>
                  </a:lnTo>
                  <a:lnTo>
                    <a:pt x="264" y="44"/>
                  </a:lnTo>
                  <a:lnTo>
                    <a:pt x="266" y="44"/>
                  </a:lnTo>
                  <a:lnTo>
                    <a:pt x="268" y="44"/>
                  </a:lnTo>
                  <a:lnTo>
                    <a:pt x="268" y="46"/>
                  </a:lnTo>
                  <a:lnTo>
                    <a:pt x="270" y="46"/>
                  </a:lnTo>
                  <a:lnTo>
                    <a:pt x="272" y="46"/>
                  </a:lnTo>
                  <a:lnTo>
                    <a:pt x="274" y="46"/>
                  </a:lnTo>
                  <a:lnTo>
                    <a:pt x="276" y="46"/>
                  </a:lnTo>
                  <a:lnTo>
                    <a:pt x="278" y="46"/>
                  </a:lnTo>
                  <a:lnTo>
                    <a:pt x="278" y="48"/>
                  </a:lnTo>
                  <a:lnTo>
                    <a:pt x="278" y="48"/>
                  </a:lnTo>
                  <a:lnTo>
                    <a:pt x="280" y="48"/>
                  </a:lnTo>
                  <a:lnTo>
                    <a:pt x="282" y="48"/>
                  </a:lnTo>
                  <a:lnTo>
                    <a:pt x="284" y="48"/>
                  </a:lnTo>
                  <a:lnTo>
                    <a:pt x="286" y="48"/>
                  </a:lnTo>
                  <a:lnTo>
                    <a:pt x="286" y="50"/>
                  </a:lnTo>
                  <a:lnTo>
                    <a:pt x="288" y="50"/>
                  </a:lnTo>
                  <a:lnTo>
                    <a:pt x="290" y="50"/>
                  </a:lnTo>
                  <a:lnTo>
                    <a:pt x="292" y="50"/>
                  </a:lnTo>
                  <a:lnTo>
                    <a:pt x="294" y="50"/>
                  </a:lnTo>
                  <a:lnTo>
                    <a:pt x="296" y="50"/>
                  </a:lnTo>
                  <a:lnTo>
                    <a:pt x="298" y="52"/>
                  </a:lnTo>
                  <a:lnTo>
                    <a:pt x="300" y="52"/>
                  </a:lnTo>
                  <a:lnTo>
                    <a:pt x="302" y="52"/>
                  </a:lnTo>
                  <a:lnTo>
                    <a:pt x="304" y="52"/>
                  </a:lnTo>
                  <a:lnTo>
                    <a:pt x="306" y="52"/>
                  </a:lnTo>
                  <a:lnTo>
                    <a:pt x="308" y="52"/>
                  </a:lnTo>
                  <a:lnTo>
                    <a:pt x="308" y="54"/>
                  </a:lnTo>
                  <a:lnTo>
                    <a:pt x="310" y="54"/>
                  </a:lnTo>
                  <a:lnTo>
                    <a:pt x="312" y="54"/>
                  </a:lnTo>
                  <a:lnTo>
                    <a:pt x="314" y="54"/>
                  </a:lnTo>
                  <a:lnTo>
                    <a:pt x="316" y="54"/>
                  </a:lnTo>
                  <a:lnTo>
                    <a:pt x="318" y="54"/>
                  </a:lnTo>
                  <a:lnTo>
                    <a:pt x="320" y="56"/>
                  </a:lnTo>
                  <a:lnTo>
                    <a:pt x="322" y="56"/>
                  </a:lnTo>
                  <a:lnTo>
                    <a:pt x="324" y="56"/>
                  </a:lnTo>
                  <a:lnTo>
                    <a:pt x="326" y="56"/>
                  </a:lnTo>
                  <a:lnTo>
                    <a:pt x="326" y="56"/>
                  </a:lnTo>
                  <a:lnTo>
                    <a:pt x="328" y="56"/>
                  </a:lnTo>
                  <a:lnTo>
                    <a:pt x="328" y="58"/>
                  </a:lnTo>
                  <a:lnTo>
                    <a:pt x="330" y="58"/>
                  </a:lnTo>
                  <a:lnTo>
                    <a:pt x="332" y="58"/>
                  </a:lnTo>
                  <a:lnTo>
                    <a:pt x="334" y="58"/>
                  </a:lnTo>
                  <a:lnTo>
                    <a:pt x="336" y="58"/>
                  </a:lnTo>
                  <a:lnTo>
                    <a:pt x="334" y="62"/>
                  </a:lnTo>
                  <a:lnTo>
                    <a:pt x="334" y="64"/>
                  </a:lnTo>
                  <a:lnTo>
                    <a:pt x="334" y="66"/>
                  </a:lnTo>
                  <a:lnTo>
                    <a:pt x="332" y="72"/>
                  </a:lnTo>
                  <a:lnTo>
                    <a:pt x="332" y="74"/>
                  </a:lnTo>
                  <a:lnTo>
                    <a:pt x="332" y="74"/>
                  </a:lnTo>
                  <a:lnTo>
                    <a:pt x="332" y="76"/>
                  </a:lnTo>
                  <a:lnTo>
                    <a:pt x="332" y="78"/>
                  </a:lnTo>
                  <a:lnTo>
                    <a:pt x="332" y="80"/>
                  </a:lnTo>
                  <a:lnTo>
                    <a:pt x="330" y="80"/>
                  </a:lnTo>
                  <a:lnTo>
                    <a:pt x="330" y="82"/>
                  </a:lnTo>
                  <a:lnTo>
                    <a:pt x="330" y="84"/>
                  </a:lnTo>
                  <a:lnTo>
                    <a:pt x="328" y="84"/>
                  </a:lnTo>
                  <a:lnTo>
                    <a:pt x="328" y="86"/>
                  </a:lnTo>
                  <a:lnTo>
                    <a:pt x="328" y="92"/>
                  </a:lnTo>
                  <a:lnTo>
                    <a:pt x="326" y="94"/>
                  </a:lnTo>
                  <a:lnTo>
                    <a:pt x="326" y="96"/>
                  </a:lnTo>
                  <a:lnTo>
                    <a:pt x="326" y="98"/>
                  </a:lnTo>
                  <a:lnTo>
                    <a:pt x="326" y="100"/>
                  </a:lnTo>
                  <a:lnTo>
                    <a:pt x="326" y="104"/>
                  </a:lnTo>
                  <a:lnTo>
                    <a:pt x="326" y="104"/>
                  </a:lnTo>
                  <a:lnTo>
                    <a:pt x="326" y="106"/>
                  </a:lnTo>
                  <a:lnTo>
                    <a:pt x="326" y="108"/>
                  </a:lnTo>
                  <a:lnTo>
                    <a:pt x="326" y="113"/>
                  </a:lnTo>
                  <a:lnTo>
                    <a:pt x="326" y="115"/>
                  </a:lnTo>
                  <a:lnTo>
                    <a:pt x="324" y="117"/>
                  </a:lnTo>
                  <a:lnTo>
                    <a:pt x="324" y="119"/>
                  </a:lnTo>
                  <a:lnTo>
                    <a:pt x="324" y="121"/>
                  </a:lnTo>
                  <a:lnTo>
                    <a:pt x="324" y="123"/>
                  </a:lnTo>
                  <a:lnTo>
                    <a:pt x="324" y="123"/>
                  </a:lnTo>
                  <a:lnTo>
                    <a:pt x="324" y="125"/>
                  </a:lnTo>
                  <a:lnTo>
                    <a:pt x="322" y="127"/>
                  </a:lnTo>
                  <a:lnTo>
                    <a:pt x="322" y="129"/>
                  </a:lnTo>
                  <a:lnTo>
                    <a:pt x="322" y="131"/>
                  </a:lnTo>
                  <a:lnTo>
                    <a:pt x="322" y="133"/>
                  </a:lnTo>
                  <a:lnTo>
                    <a:pt x="322" y="135"/>
                  </a:lnTo>
                  <a:lnTo>
                    <a:pt x="320" y="137"/>
                  </a:lnTo>
                  <a:lnTo>
                    <a:pt x="320" y="139"/>
                  </a:lnTo>
                  <a:lnTo>
                    <a:pt x="320" y="143"/>
                  </a:lnTo>
                  <a:lnTo>
                    <a:pt x="320" y="145"/>
                  </a:lnTo>
                  <a:lnTo>
                    <a:pt x="320" y="147"/>
                  </a:lnTo>
                  <a:lnTo>
                    <a:pt x="318" y="147"/>
                  </a:lnTo>
                  <a:lnTo>
                    <a:pt x="318" y="149"/>
                  </a:lnTo>
                  <a:lnTo>
                    <a:pt x="318" y="151"/>
                  </a:lnTo>
                  <a:lnTo>
                    <a:pt x="318" y="153"/>
                  </a:lnTo>
                  <a:lnTo>
                    <a:pt x="318" y="155"/>
                  </a:lnTo>
                  <a:lnTo>
                    <a:pt x="318" y="157"/>
                  </a:lnTo>
                  <a:lnTo>
                    <a:pt x="316" y="159"/>
                  </a:lnTo>
                  <a:lnTo>
                    <a:pt x="316" y="161"/>
                  </a:lnTo>
                  <a:lnTo>
                    <a:pt x="316" y="163"/>
                  </a:lnTo>
                  <a:lnTo>
                    <a:pt x="316" y="165"/>
                  </a:lnTo>
                  <a:lnTo>
                    <a:pt x="316" y="169"/>
                  </a:lnTo>
                  <a:lnTo>
                    <a:pt x="314" y="169"/>
                  </a:lnTo>
                  <a:lnTo>
                    <a:pt x="314" y="171"/>
                  </a:lnTo>
                  <a:lnTo>
                    <a:pt x="314" y="171"/>
                  </a:lnTo>
                  <a:lnTo>
                    <a:pt x="314" y="173"/>
                  </a:lnTo>
                  <a:lnTo>
                    <a:pt x="314" y="175"/>
                  </a:lnTo>
                  <a:lnTo>
                    <a:pt x="314" y="177"/>
                  </a:lnTo>
                  <a:lnTo>
                    <a:pt x="314" y="179"/>
                  </a:lnTo>
                  <a:lnTo>
                    <a:pt x="312" y="179"/>
                  </a:lnTo>
                  <a:lnTo>
                    <a:pt x="312" y="181"/>
                  </a:lnTo>
                  <a:lnTo>
                    <a:pt x="312" y="183"/>
                  </a:lnTo>
                  <a:lnTo>
                    <a:pt x="312" y="185"/>
                  </a:lnTo>
                  <a:lnTo>
                    <a:pt x="312" y="187"/>
                  </a:lnTo>
                  <a:lnTo>
                    <a:pt x="312" y="189"/>
                  </a:lnTo>
                  <a:lnTo>
                    <a:pt x="312" y="191"/>
                  </a:lnTo>
                  <a:lnTo>
                    <a:pt x="310" y="191"/>
                  </a:lnTo>
                  <a:lnTo>
                    <a:pt x="310" y="193"/>
                  </a:lnTo>
                  <a:lnTo>
                    <a:pt x="310" y="195"/>
                  </a:lnTo>
                  <a:lnTo>
                    <a:pt x="310" y="197"/>
                  </a:lnTo>
                  <a:lnTo>
                    <a:pt x="310" y="199"/>
                  </a:lnTo>
                  <a:lnTo>
                    <a:pt x="310" y="201"/>
                  </a:lnTo>
                  <a:lnTo>
                    <a:pt x="308" y="201"/>
                  </a:lnTo>
                  <a:lnTo>
                    <a:pt x="308" y="203"/>
                  </a:lnTo>
                  <a:lnTo>
                    <a:pt x="308" y="205"/>
                  </a:lnTo>
                  <a:lnTo>
                    <a:pt x="308" y="207"/>
                  </a:lnTo>
                  <a:lnTo>
                    <a:pt x="308" y="211"/>
                  </a:lnTo>
                  <a:lnTo>
                    <a:pt x="308" y="213"/>
                  </a:lnTo>
                  <a:lnTo>
                    <a:pt x="306" y="213"/>
                  </a:lnTo>
                  <a:lnTo>
                    <a:pt x="306" y="215"/>
                  </a:lnTo>
                  <a:lnTo>
                    <a:pt x="306" y="217"/>
                  </a:lnTo>
                  <a:lnTo>
                    <a:pt x="306" y="219"/>
                  </a:lnTo>
                  <a:lnTo>
                    <a:pt x="306" y="219"/>
                  </a:lnTo>
                  <a:lnTo>
                    <a:pt x="306" y="221"/>
                  </a:lnTo>
                  <a:lnTo>
                    <a:pt x="304" y="223"/>
                  </a:lnTo>
                  <a:lnTo>
                    <a:pt x="304" y="225"/>
                  </a:lnTo>
                  <a:lnTo>
                    <a:pt x="304" y="227"/>
                  </a:lnTo>
                  <a:lnTo>
                    <a:pt x="304" y="229"/>
                  </a:lnTo>
                  <a:lnTo>
                    <a:pt x="304" y="231"/>
                  </a:lnTo>
                  <a:lnTo>
                    <a:pt x="302" y="231"/>
                  </a:lnTo>
                  <a:lnTo>
                    <a:pt x="302" y="233"/>
                  </a:lnTo>
                  <a:lnTo>
                    <a:pt x="302" y="235"/>
                  </a:lnTo>
                  <a:lnTo>
                    <a:pt x="302" y="237"/>
                  </a:lnTo>
                  <a:lnTo>
                    <a:pt x="302" y="239"/>
                  </a:lnTo>
                  <a:lnTo>
                    <a:pt x="302" y="241"/>
                  </a:lnTo>
                  <a:lnTo>
                    <a:pt x="300" y="243"/>
                  </a:lnTo>
                  <a:lnTo>
                    <a:pt x="300" y="245"/>
                  </a:lnTo>
                  <a:lnTo>
                    <a:pt x="300" y="247"/>
                  </a:lnTo>
                  <a:lnTo>
                    <a:pt x="300" y="249"/>
                  </a:lnTo>
                  <a:lnTo>
                    <a:pt x="300" y="251"/>
                  </a:lnTo>
                  <a:lnTo>
                    <a:pt x="298" y="253"/>
                  </a:lnTo>
                  <a:lnTo>
                    <a:pt x="298" y="255"/>
                  </a:lnTo>
                  <a:lnTo>
                    <a:pt x="298" y="257"/>
                  </a:lnTo>
                  <a:lnTo>
                    <a:pt x="298" y="259"/>
                  </a:lnTo>
                  <a:lnTo>
                    <a:pt x="298" y="261"/>
                  </a:lnTo>
                  <a:lnTo>
                    <a:pt x="298" y="263"/>
                  </a:lnTo>
                  <a:lnTo>
                    <a:pt x="296" y="263"/>
                  </a:lnTo>
                  <a:lnTo>
                    <a:pt x="296" y="265"/>
                  </a:lnTo>
                  <a:lnTo>
                    <a:pt x="296" y="267"/>
                  </a:lnTo>
                  <a:lnTo>
                    <a:pt x="296" y="267"/>
                  </a:lnTo>
                  <a:lnTo>
                    <a:pt x="296" y="269"/>
                  </a:lnTo>
                  <a:lnTo>
                    <a:pt x="296" y="271"/>
                  </a:lnTo>
                  <a:lnTo>
                    <a:pt x="294" y="271"/>
                  </a:lnTo>
                  <a:lnTo>
                    <a:pt x="294" y="273"/>
                  </a:lnTo>
                  <a:lnTo>
                    <a:pt x="294" y="275"/>
                  </a:lnTo>
                  <a:lnTo>
                    <a:pt x="294" y="277"/>
                  </a:lnTo>
                  <a:lnTo>
                    <a:pt x="294" y="279"/>
                  </a:lnTo>
                  <a:lnTo>
                    <a:pt x="292" y="283"/>
                  </a:lnTo>
                  <a:lnTo>
                    <a:pt x="292" y="285"/>
                  </a:lnTo>
                  <a:lnTo>
                    <a:pt x="292" y="287"/>
                  </a:lnTo>
                  <a:lnTo>
                    <a:pt x="292" y="289"/>
                  </a:lnTo>
                  <a:lnTo>
                    <a:pt x="292" y="291"/>
                  </a:lnTo>
                  <a:lnTo>
                    <a:pt x="292" y="293"/>
                  </a:lnTo>
                  <a:lnTo>
                    <a:pt x="290" y="293"/>
                  </a:lnTo>
                  <a:lnTo>
                    <a:pt x="290" y="295"/>
                  </a:lnTo>
                  <a:lnTo>
                    <a:pt x="290" y="297"/>
                  </a:lnTo>
                  <a:lnTo>
                    <a:pt x="290" y="299"/>
                  </a:lnTo>
                  <a:lnTo>
                    <a:pt x="288" y="305"/>
                  </a:lnTo>
                  <a:lnTo>
                    <a:pt x="288" y="307"/>
                  </a:lnTo>
                  <a:lnTo>
                    <a:pt x="288" y="309"/>
                  </a:lnTo>
                  <a:lnTo>
                    <a:pt x="288" y="313"/>
                  </a:lnTo>
                  <a:lnTo>
                    <a:pt x="288" y="315"/>
                  </a:lnTo>
                  <a:lnTo>
                    <a:pt x="286" y="317"/>
                  </a:lnTo>
                  <a:lnTo>
                    <a:pt x="286" y="321"/>
                  </a:lnTo>
                  <a:lnTo>
                    <a:pt x="286" y="323"/>
                  </a:lnTo>
                  <a:lnTo>
                    <a:pt x="284" y="325"/>
                  </a:lnTo>
                  <a:lnTo>
                    <a:pt x="284" y="327"/>
                  </a:lnTo>
                  <a:lnTo>
                    <a:pt x="284" y="325"/>
                  </a:lnTo>
                  <a:lnTo>
                    <a:pt x="282" y="325"/>
                  </a:lnTo>
                  <a:lnTo>
                    <a:pt x="278" y="325"/>
                  </a:lnTo>
                  <a:lnTo>
                    <a:pt x="278" y="325"/>
                  </a:lnTo>
                  <a:lnTo>
                    <a:pt x="276" y="325"/>
                  </a:lnTo>
                  <a:lnTo>
                    <a:pt x="274" y="323"/>
                  </a:lnTo>
                  <a:lnTo>
                    <a:pt x="266" y="323"/>
                  </a:lnTo>
                  <a:lnTo>
                    <a:pt x="264" y="323"/>
                  </a:lnTo>
                  <a:lnTo>
                    <a:pt x="260" y="321"/>
                  </a:lnTo>
                  <a:lnTo>
                    <a:pt x="254" y="321"/>
                  </a:lnTo>
                  <a:lnTo>
                    <a:pt x="254" y="319"/>
                  </a:lnTo>
                  <a:lnTo>
                    <a:pt x="250" y="319"/>
                  </a:lnTo>
                  <a:lnTo>
                    <a:pt x="248" y="319"/>
                  </a:lnTo>
                  <a:lnTo>
                    <a:pt x="246" y="319"/>
                  </a:lnTo>
                  <a:lnTo>
                    <a:pt x="242" y="317"/>
                  </a:lnTo>
                  <a:lnTo>
                    <a:pt x="242" y="319"/>
                  </a:lnTo>
                  <a:lnTo>
                    <a:pt x="242" y="317"/>
                  </a:lnTo>
                  <a:lnTo>
                    <a:pt x="240" y="317"/>
                  </a:lnTo>
                  <a:lnTo>
                    <a:pt x="230" y="315"/>
                  </a:lnTo>
                  <a:lnTo>
                    <a:pt x="230" y="315"/>
                  </a:lnTo>
                  <a:lnTo>
                    <a:pt x="228" y="315"/>
                  </a:lnTo>
                  <a:lnTo>
                    <a:pt x="220" y="315"/>
                  </a:lnTo>
                  <a:lnTo>
                    <a:pt x="218" y="315"/>
                  </a:lnTo>
                  <a:lnTo>
                    <a:pt x="216" y="315"/>
                  </a:lnTo>
                  <a:lnTo>
                    <a:pt x="214" y="313"/>
                  </a:lnTo>
                  <a:lnTo>
                    <a:pt x="208" y="313"/>
                  </a:lnTo>
                  <a:lnTo>
                    <a:pt x="206" y="313"/>
                  </a:lnTo>
                  <a:lnTo>
                    <a:pt x="204" y="313"/>
                  </a:lnTo>
                  <a:lnTo>
                    <a:pt x="204" y="311"/>
                  </a:lnTo>
                  <a:lnTo>
                    <a:pt x="202" y="311"/>
                  </a:lnTo>
                  <a:lnTo>
                    <a:pt x="200" y="311"/>
                  </a:lnTo>
                  <a:lnTo>
                    <a:pt x="198" y="311"/>
                  </a:lnTo>
                  <a:lnTo>
                    <a:pt x="196" y="311"/>
                  </a:lnTo>
                  <a:lnTo>
                    <a:pt x="194" y="309"/>
                  </a:lnTo>
                  <a:lnTo>
                    <a:pt x="192" y="309"/>
                  </a:lnTo>
                  <a:lnTo>
                    <a:pt x="190" y="309"/>
                  </a:lnTo>
                  <a:lnTo>
                    <a:pt x="188" y="309"/>
                  </a:lnTo>
                  <a:lnTo>
                    <a:pt x="182" y="307"/>
                  </a:lnTo>
                  <a:lnTo>
                    <a:pt x="180" y="307"/>
                  </a:lnTo>
                  <a:lnTo>
                    <a:pt x="180" y="307"/>
                  </a:lnTo>
                  <a:lnTo>
                    <a:pt x="178" y="307"/>
                  </a:lnTo>
                  <a:lnTo>
                    <a:pt x="176" y="305"/>
                  </a:lnTo>
                  <a:lnTo>
                    <a:pt x="174" y="305"/>
                  </a:lnTo>
                  <a:lnTo>
                    <a:pt x="172" y="305"/>
                  </a:lnTo>
                  <a:lnTo>
                    <a:pt x="170" y="305"/>
                  </a:lnTo>
                  <a:lnTo>
                    <a:pt x="168" y="303"/>
                  </a:lnTo>
                  <a:lnTo>
                    <a:pt x="166" y="303"/>
                  </a:lnTo>
                  <a:lnTo>
                    <a:pt x="164" y="303"/>
                  </a:lnTo>
                  <a:lnTo>
                    <a:pt x="162" y="303"/>
                  </a:lnTo>
                  <a:lnTo>
                    <a:pt x="158" y="301"/>
                  </a:lnTo>
                  <a:lnTo>
                    <a:pt x="156" y="301"/>
                  </a:lnTo>
                  <a:lnTo>
                    <a:pt x="154" y="301"/>
                  </a:lnTo>
                  <a:lnTo>
                    <a:pt x="152" y="301"/>
                  </a:lnTo>
                  <a:lnTo>
                    <a:pt x="152" y="299"/>
                  </a:lnTo>
                  <a:lnTo>
                    <a:pt x="150" y="299"/>
                  </a:lnTo>
                  <a:lnTo>
                    <a:pt x="146" y="299"/>
                  </a:lnTo>
                  <a:lnTo>
                    <a:pt x="144" y="299"/>
                  </a:lnTo>
                  <a:lnTo>
                    <a:pt x="142" y="297"/>
                  </a:lnTo>
                  <a:lnTo>
                    <a:pt x="140" y="297"/>
                  </a:lnTo>
                  <a:lnTo>
                    <a:pt x="138" y="297"/>
                  </a:lnTo>
                  <a:lnTo>
                    <a:pt x="136" y="297"/>
                  </a:lnTo>
                  <a:lnTo>
                    <a:pt x="134" y="297"/>
                  </a:lnTo>
                  <a:lnTo>
                    <a:pt x="134" y="295"/>
                  </a:lnTo>
                  <a:lnTo>
                    <a:pt x="132" y="295"/>
                  </a:lnTo>
                  <a:lnTo>
                    <a:pt x="132" y="295"/>
                  </a:lnTo>
                  <a:lnTo>
                    <a:pt x="130" y="295"/>
                  </a:lnTo>
                  <a:lnTo>
                    <a:pt x="128" y="295"/>
                  </a:lnTo>
                  <a:lnTo>
                    <a:pt x="126" y="293"/>
                  </a:lnTo>
                  <a:lnTo>
                    <a:pt x="122" y="293"/>
                  </a:lnTo>
                  <a:lnTo>
                    <a:pt x="120" y="293"/>
                  </a:lnTo>
                  <a:lnTo>
                    <a:pt x="120" y="295"/>
                  </a:lnTo>
                  <a:lnTo>
                    <a:pt x="122" y="295"/>
                  </a:lnTo>
                  <a:lnTo>
                    <a:pt x="120" y="295"/>
                  </a:lnTo>
                  <a:lnTo>
                    <a:pt x="120" y="297"/>
                  </a:lnTo>
                  <a:lnTo>
                    <a:pt x="118" y="297"/>
                  </a:lnTo>
                  <a:lnTo>
                    <a:pt x="118" y="299"/>
                  </a:lnTo>
                  <a:lnTo>
                    <a:pt x="120" y="299"/>
                  </a:lnTo>
                  <a:lnTo>
                    <a:pt x="118" y="299"/>
                  </a:lnTo>
                  <a:lnTo>
                    <a:pt x="118" y="301"/>
                  </a:lnTo>
                  <a:lnTo>
                    <a:pt x="120" y="301"/>
                  </a:lnTo>
                  <a:lnTo>
                    <a:pt x="120" y="303"/>
                  </a:lnTo>
                  <a:lnTo>
                    <a:pt x="122" y="303"/>
                  </a:lnTo>
                  <a:lnTo>
                    <a:pt x="122" y="305"/>
                  </a:lnTo>
                  <a:lnTo>
                    <a:pt x="124" y="305"/>
                  </a:lnTo>
                  <a:lnTo>
                    <a:pt x="122" y="305"/>
                  </a:lnTo>
                  <a:lnTo>
                    <a:pt x="120" y="305"/>
                  </a:lnTo>
                  <a:lnTo>
                    <a:pt x="118" y="305"/>
                  </a:lnTo>
                  <a:lnTo>
                    <a:pt x="116" y="305"/>
                  </a:lnTo>
                  <a:lnTo>
                    <a:pt x="112" y="303"/>
                  </a:lnTo>
                  <a:lnTo>
                    <a:pt x="110" y="303"/>
                  </a:lnTo>
                  <a:lnTo>
                    <a:pt x="108" y="303"/>
                  </a:lnTo>
                  <a:lnTo>
                    <a:pt x="106" y="303"/>
                  </a:lnTo>
                  <a:lnTo>
                    <a:pt x="106" y="301"/>
                  </a:lnTo>
                  <a:lnTo>
                    <a:pt x="104" y="301"/>
                  </a:lnTo>
                  <a:lnTo>
                    <a:pt x="102" y="301"/>
                  </a:lnTo>
                  <a:lnTo>
                    <a:pt x="100" y="301"/>
                  </a:lnTo>
                  <a:lnTo>
                    <a:pt x="94" y="299"/>
                  </a:lnTo>
                  <a:lnTo>
                    <a:pt x="92" y="299"/>
                  </a:lnTo>
                  <a:lnTo>
                    <a:pt x="88" y="297"/>
                  </a:lnTo>
                  <a:lnTo>
                    <a:pt x="86" y="297"/>
                  </a:lnTo>
                  <a:lnTo>
                    <a:pt x="84" y="297"/>
                  </a:lnTo>
                  <a:lnTo>
                    <a:pt x="82" y="295"/>
                  </a:lnTo>
                  <a:lnTo>
                    <a:pt x="76" y="295"/>
                  </a:lnTo>
                  <a:lnTo>
                    <a:pt x="76" y="293"/>
                  </a:lnTo>
                  <a:lnTo>
                    <a:pt x="74" y="293"/>
                  </a:lnTo>
                  <a:lnTo>
                    <a:pt x="72" y="293"/>
                  </a:lnTo>
                  <a:lnTo>
                    <a:pt x="68" y="291"/>
                  </a:lnTo>
                  <a:lnTo>
                    <a:pt x="66" y="291"/>
                  </a:lnTo>
                  <a:lnTo>
                    <a:pt x="54" y="289"/>
                  </a:lnTo>
                  <a:lnTo>
                    <a:pt x="52" y="287"/>
                  </a:lnTo>
                  <a:lnTo>
                    <a:pt x="50" y="287"/>
                  </a:lnTo>
                  <a:lnTo>
                    <a:pt x="48" y="287"/>
                  </a:lnTo>
                  <a:lnTo>
                    <a:pt x="46" y="287"/>
                  </a:lnTo>
                  <a:lnTo>
                    <a:pt x="44" y="285"/>
                  </a:lnTo>
                  <a:lnTo>
                    <a:pt x="44" y="287"/>
                  </a:lnTo>
                  <a:lnTo>
                    <a:pt x="44" y="289"/>
                  </a:lnTo>
                  <a:lnTo>
                    <a:pt x="44" y="291"/>
                  </a:lnTo>
                  <a:lnTo>
                    <a:pt x="42" y="291"/>
                  </a:lnTo>
                  <a:lnTo>
                    <a:pt x="42" y="293"/>
                  </a:lnTo>
                  <a:lnTo>
                    <a:pt x="42" y="295"/>
                  </a:lnTo>
                  <a:lnTo>
                    <a:pt x="42" y="297"/>
                  </a:lnTo>
                  <a:lnTo>
                    <a:pt x="42" y="299"/>
                  </a:lnTo>
                  <a:lnTo>
                    <a:pt x="40" y="299"/>
                  </a:lnTo>
                  <a:lnTo>
                    <a:pt x="40" y="301"/>
                  </a:lnTo>
                  <a:lnTo>
                    <a:pt x="40" y="303"/>
                  </a:lnTo>
                  <a:lnTo>
                    <a:pt x="40" y="305"/>
                  </a:lnTo>
                  <a:lnTo>
                    <a:pt x="38" y="309"/>
                  </a:lnTo>
                  <a:lnTo>
                    <a:pt x="38" y="311"/>
                  </a:lnTo>
                  <a:lnTo>
                    <a:pt x="36" y="311"/>
                  </a:lnTo>
                  <a:lnTo>
                    <a:pt x="32" y="309"/>
                  </a:lnTo>
                  <a:lnTo>
                    <a:pt x="26" y="307"/>
                  </a:lnTo>
                  <a:lnTo>
                    <a:pt x="24" y="307"/>
                  </a:lnTo>
                  <a:lnTo>
                    <a:pt x="22" y="307"/>
                  </a:lnTo>
                  <a:lnTo>
                    <a:pt x="20" y="305"/>
                  </a:lnTo>
                  <a:lnTo>
                    <a:pt x="16" y="305"/>
                  </a:lnTo>
                  <a:lnTo>
                    <a:pt x="14" y="305"/>
                  </a:lnTo>
                  <a:lnTo>
                    <a:pt x="12" y="303"/>
                  </a:lnTo>
                  <a:lnTo>
                    <a:pt x="10" y="303"/>
                  </a:lnTo>
                  <a:lnTo>
                    <a:pt x="8" y="303"/>
                  </a:lnTo>
                  <a:lnTo>
                    <a:pt x="4" y="301"/>
                  </a:lnTo>
                  <a:lnTo>
                    <a:pt x="2" y="301"/>
                  </a:lnTo>
                  <a:lnTo>
                    <a:pt x="0" y="301"/>
                  </a:lnTo>
                  <a:lnTo>
                    <a:pt x="0" y="299"/>
                  </a:lnTo>
                  <a:lnTo>
                    <a:pt x="0" y="297"/>
                  </a:lnTo>
                  <a:lnTo>
                    <a:pt x="0" y="295"/>
                  </a:lnTo>
                  <a:lnTo>
                    <a:pt x="0" y="293"/>
                  </a:lnTo>
                  <a:lnTo>
                    <a:pt x="2" y="293"/>
                  </a:lnTo>
                  <a:lnTo>
                    <a:pt x="2" y="291"/>
                  </a:lnTo>
                  <a:lnTo>
                    <a:pt x="2" y="289"/>
                  </a:lnTo>
                  <a:lnTo>
                    <a:pt x="2" y="287"/>
                  </a:lnTo>
                  <a:lnTo>
                    <a:pt x="4" y="287"/>
                  </a:lnTo>
                  <a:lnTo>
                    <a:pt x="4" y="285"/>
                  </a:lnTo>
                  <a:lnTo>
                    <a:pt x="4" y="283"/>
                  </a:lnTo>
                  <a:lnTo>
                    <a:pt x="4" y="281"/>
                  </a:lnTo>
                  <a:lnTo>
                    <a:pt x="4" y="279"/>
                  </a:lnTo>
                  <a:lnTo>
                    <a:pt x="6" y="279"/>
                  </a:lnTo>
                  <a:lnTo>
                    <a:pt x="6" y="277"/>
                  </a:lnTo>
                  <a:lnTo>
                    <a:pt x="6" y="275"/>
                  </a:lnTo>
                  <a:lnTo>
                    <a:pt x="6" y="273"/>
                  </a:lnTo>
                  <a:lnTo>
                    <a:pt x="8" y="273"/>
                  </a:lnTo>
                  <a:lnTo>
                    <a:pt x="8" y="271"/>
                  </a:lnTo>
                  <a:lnTo>
                    <a:pt x="8" y="269"/>
                  </a:lnTo>
                  <a:lnTo>
                    <a:pt x="8" y="267"/>
                  </a:lnTo>
                  <a:lnTo>
                    <a:pt x="10" y="267"/>
                  </a:lnTo>
                  <a:lnTo>
                    <a:pt x="10" y="265"/>
                  </a:lnTo>
                  <a:lnTo>
                    <a:pt x="10" y="263"/>
                  </a:lnTo>
                  <a:lnTo>
                    <a:pt x="10" y="261"/>
                  </a:lnTo>
                  <a:lnTo>
                    <a:pt x="12" y="259"/>
                  </a:lnTo>
                  <a:lnTo>
                    <a:pt x="12" y="257"/>
                  </a:lnTo>
                  <a:lnTo>
                    <a:pt x="12" y="255"/>
                  </a:lnTo>
                  <a:lnTo>
                    <a:pt x="12" y="253"/>
                  </a:lnTo>
                  <a:lnTo>
                    <a:pt x="14" y="251"/>
                  </a:lnTo>
                  <a:lnTo>
                    <a:pt x="14" y="247"/>
                  </a:lnTo>
                  <a:lnTo>
                    <a:pt x="14" y="245"/>
                  </a:lnTo>
                  <a:lnTo>
                    <a:pt x="16" y="245"/>
                  </a:lnTo>
                  <a:lnTo>
                    <a:pt x="16" y="243"/>
                  </a:lnTo>
                  <a:lnTo>
                    <a:pt x="16" y="241"/>
                  </a:lnTo>
                  <a:lnTo>
                    <a:pt x="16" y="239"/>
                  </a:lnTo>
                  <a:lnTo>
                    <a:pt x="18" y="237"/>
                  </a:lnTo>
                  <a:lnTo>
                    <a:pt x="18" y="233"/>
                  </a:lnTo>
                  <a:lnTo>
                    <a:pt x="20" y="231"/>
                  </a:lnTo>
                  <a:lnTo>
                    <a:pt x="20" y="229"/>
                  </a:lnTo>
                  <a:lnTo>
                    <a:pt x="20" y="227"/>
                  </a:lnTo>
                  <a:lnTo>
                    <a:pt x="20" y="225"/>
                  </a:lnTo>
                  <a:lnTo>
                    <a:pt x="22" y="223"/>
                  </a:lnTo>
                  <a:lnTo>
                    <a:pt x="22" y="221"/>
                  </a:lnTo>
                  <a:lnTo>
                    <a:pt x="24" y="215"/>
                  </a:lnTo>
                  <a:lnTo>
                    <a:pt x="24" y="213"/>
                  </a:lnTo>
                  <a:lnTo>
                    <a:pt x="24" y="211"/>
                  </a:lnTo>
                  <a:lnTo>
                    <a:pt x="26" y="211"/>
                  </a:lnTo>
                  <a:lnTo>
                    <a:pt x="26" y="207"/>
                  </a:lnTo>
                  <a:lnTo>
                    <a:pt x="26" y="205"/>
                  </a:lnTo>
                  <a:lnTo>
                    <a:pt x="28" y="203"/>
                  </a:lnTo>
                  <a:lnTo>
                    <a:pt x="28" y="201"/>
                  </a:lnTo>
                  <a:lnTo>
                    <a:pt x="28" y="199"/>
                  </a:lnTo>
                  <a:lnTo>
                    <a:pt x="30" y="197"/>
                  </a:lnTo>
                  <a:lnTo>
                    <a:pt x="30" y="195"/>
                  </a:lnTo>
                  <a:lnTo>
                    <a:pt x="30" y="193"/>
                  </a:lnTo>
                  <a:lnTo>
                    <a:pt x="30" y="191"/>
                  </a:lnTo>
                  <a:lnTo>
                    <a:pt x="32" y="189"/>
                  </a:lnTo>
                  <a:lnTo>
                    <a:pt x="32" y="187"/>
                  </a:lnTo>
                  <a:lnTo>
                    <a:pt x="32" y="185"/>
                  </a:lnTo>
                  <a:lnTo>
                    <a:pt x="32" y="183"/>
                  </a:lnTo>
                  <a:lnTo>
                    <a:pt x="34" y="179"/>
                  </a:lnTo>
                  <a:lnTo>
                    <a:pt x="34" y="177"/>
                  </a:lnTo>
                  <a:lnTo>
                    <a:pt x="34" y="175"/>
                  </a:lnTo>
                  <a:lnTo>
                    <a:pt x="36" y="175"/>
                  </a:lnTo>
                  <a:lnTo>
                    <a:pt x="36" y="173"/>
                  </a:lnTo>
                  <a:lnTo>
                    <a:pt x="36" y="171"/>
                  </a:lnTo>
                  <a:lnTo>
                    <a:pt x="36" y="171"/>
                  </a:lnTo>
                  <a:lnTo>
                    <a:pt x="36" y="167"/>
                  </a:lnTo>
                  <a:lnTo>
                    <a:pt x="36" y="165"/>
                  </a:lnTo>
                  <a:lnTo>
                    <a:pt x="36" y="163"/>
                  </a:lnTo>
                  <a:lnTo>
                    <a:pt x="38" y="163"/>
                  </a:lnTo>
                  <a:lnTo>
                    <a:pt x="38" y="161"/>
                  </a:lnTo>
                  <a:lnTo>
                    <a:pt x="38" y="159"/>
                  </a:lnTo>
                  <a:lnTo>
                    <a:pt x="38" y="157"/>
                  </a:lnTo>
                  <a:lnTo>
                    <a:pt x="40" y="155"/>
                  </a:lnTo>
                  <a:lnTo>
                    <a:pt x="40" y="151"/>
                  </a:lnTo>
                  <a:lnTo>
                    <a:pt x="40" y="149"/>
                  </a:lnTo>
                  <a:lnTo>
                    <a:pt x="42" y="149"/>
                  </a:lnTo>
                  <a:lnTo>
                    <a:pt x="42" y="147"/>
                  </a:lnTo>
                  <a:lnTo>
                    <a:pt x="42" y="145"/>
                  </a:lnTo>
                  <a:lnTo>
                    <a:pt x="42" y="143"/>
                  </a:lnTo>
                  <a:lnTo>
                    <a:pt x="44" y="139"/>
                  </a:lnTo>
                  <a:lnTo>
                    <a:pt x="44" y="137"/>
                  </a:lnTo>
                  <a:lnTo>
                    <a:pt x="44" y="135"/>
                  </a:lnTo>
                  <a:lnTo>
                    <a:pt x="46" y="133"/>
                  </a:lnTo>
                  <a:lnTo>
                    <a:pt x="46" y="131"/>
                  </a:lnTo>
                  <a:lnTo>
                    <a:pt x="48" y="127"/>
                  </a:lnTo>
                  <a:lnTo>
                    <a:pt x="48" y="125"/>
                  </a:lnTo>
                  <a:lnTo>
                    <a:pt x="48" y="123"/>
                  </a:lnTo>
                  <a:lnTo>
                    <a:pt x="48" y="123"/>
                  </a:lnTo>
                  <a:lnTo>
                    <a:pt x="50" y="121"/>
                  </a:lnTo>
                  <a:lnTo>
                    <a:pt x="50" y="119"/>
                  </a:lnTo>
                  <a:lnTo>
                    <a:pt x="50" y="117"/>
                  </a:lnTo>
                  <a:lnTo>
                    <a:pt x="50" y="115"/>
                  </a:lnTo>
                  <a:lnTo>
                    <a:pt x="52" y="115"/>
                  </a:lnTo>
                  <a:lnTo>
                    <a:pt x="52" y="113"/>
                  </a:lnTo>
                  <a:lnTo>
                    <a:pt x="52" y="110"/>
                  </a:lnTo>
                  <a:lnTo>
                    <a:pt x="52" y="108"/>
                  </a:lnTo>
                  <a:lnTo>
                    <a:pt x="52" y="106"/>
                  </a:lnTo>
                  <a:lnTo>
                    <a:pt x="54" y="106"/>
                  </a:lnTo>
                  <a:lnTo>
                    <a:pt x="54" y="104"/>
                  </a:lnTo>
                  <a:lnTo>
                    <a:pt x="54" y="102"/>
                  </a:lnTo>
                  <a:lnTo>
                    <a:pt x="54" y="100"/>
                  </a:lnTo>
                  <a:lnTo>
                    <a:pt x="56" y="98"/>
                  </a:lnTo>
                  <a:lnTo>
                    <a:pt x="56" y="96"/>
                  </a:lnTo>
                  <a:lnTo>
                    <a:pt x="58" y="92"/>
                  </a:lnTo>
                  <a:lnTo>
                    <a:pt x="58" y="90"/>
                  </a:lnTo>
                  <a:lnTo>
                    <a:pt x="58" y="88"/>
                  </a:lnTo>
                  <a:lnTo>
                    <a:pt x="58" y="86"/>
                  </a:lnTo>
                  <a:lnTo>
                    <a:pt x="60" y="84"/>
                  </a:lnTo>
                  <a:lnTo>
                    <a:pt x="60" y="82"/>
                  </a:lnTo>
                  <a:lnTo>
                    <a:pt x="60" y="80"/>
                  </a:lnTo>
                  <a:lnTo>
                    <a:pt x="60" y="78"/>
                  </a:lnTo>
                  <a:lnTo>
                    <a:pt x="62" y="74"/>
                  </a:lnTo>
                  <a:lnTo>
                    <a:pt x="62" y="74"/>
                  </a:lnTo>
                  <a:lnTo>
                    <a:pt x="62" y="72"/>
                  </a:lnTo>
                  <a:lnTo>
                    <a:pt x="64" y="72"/>
                  </a:lnTo>
                  <a:lnTo>
                    <a:pt x="64" y="70"/>
                  </a:lnTo>
                  <a:lnTo>
                    <a:pt x="64" y="68"/>
                  </a:lnTo>
                  <a:lnTo>
                    <a:pt x="64" y="66"/>
                  </a:lnTo>
                  <a:lnTo>
                    <a:pt x="66" y="64"/>
                  </a:lnTo>
                  <a:lnTo>
                    <a:pt x="66" y="62"/>
                  </a:lnTo>
                  <a:lnTo>
                    <a:pt x="66" y="60"/>
                  </a:lnTo>
                  <a:lnTo>
                    <a:pt x="66" y="58"/>
                  </a:lnTo>
                  <a:lnTo>
                    <a:pt x="68" y="58"/>
                  </a:lnTo>
                  <a:lnTo>
                    <a:pt x="68" y="56"/>
                  </a:lnTo>
                  <a:lnTo>
                    <a:pt x="68" y="54"/>
                  </a:lnTo>
                  <a:lnTo>
                    <a:pt x="68" y="52"/>
                  </a:lnTo>
                  <a:lnTo>
                    <a:pt x="70" y="48"/>
                  </a:lnTo>
                  <a:lnTo>
                    <a:pt x="70" y="46"/>
                  </a:lnTo>
                  <a:lnTo>
                    <a:pt x="70" y="44"/>
                  </a:lnTo>
                  <a:lnTo>
                    <a:pt x="72" y="44"/>
                  </a:lnTo>
                  <a:lnTo>
                    <a:pt x="72" y="42"/>
                  </a:lnTo>
                  <a:lnTo>
                    <a:pt x="72" y="40"/>
                  </a:lnTo>
                  <a:lnTo>
                    <a:pt x="72" y="38"/>
                  </a:lnTo>
                  <a:lnTo>
                    <a:pt x="72" y="36"/>
                  </a:lnTo>
                  <a:lnTo>
                    <a:pt x="74" y="36"/>
                  </a:lnTo>
                  <a:lnTo>
                    <a:pt x="74" y="34"/>
                  </a:lnTo>
                  <a:lnTo>
                    <a:pt x="74" y="32"/>
                  </a:lnTo>
                  <a:lnTo>
                    <a:pt x="74" y="30"/>
                  </a:lnTo>
                  <a:lnTo>
                    <a:pt x="76" y="28"/>
                  </a:lnTo>
                  <a:lnTo>
                    <a:pt x="76" y="26"/>
                  </a:lnTo>
                  <a:lnTo>
                    <a:pt x="76" y="26"/>
                  </a:lnTo>
                  <a:lnTo>
                    <a:pt x="78" y="20"/>
                  </a:lnTo>
                  <a:lnTo>
                    <a:pt x="78" y="18"/>
                  </a:lnTo>
                  <a:lnTo>
                    <a:pt x="80" y="12"/>
                  </a:lnTo>
                  <a:lnTo>
                    <a:pt x="80" y="10"/>
                  </a:lnTo>
                  <a:lnTo>
                    <a:pt x="82" y="8"/>
                  </a:lnTo>
                  <a:lnTo>
                    <a:pt x="82" y="2"/>
                  </a:lnTo>
                  <a:lnTo>
                    <a:pt x="84" y="2"/>
                  </a:lnTo>
                  <a:lnTo>
                    <a:pt x="84" y="0"/>
                  </a:lnTo>
                  <a:lnTo>
                    <a:pt x="84" y="2"/>
                  </a:lnTo>
                  <a:lnTo>
                    <a:pt x="86" y="2"/>
                  </a:lnTo>
                  <a:lnTo>
                    <a:pt x="88" y="2"/>
                  </a:lnTo>
                  <a:lnTo>
                    <a:pt x="90" y="2"/>
                  </a:lnTo>
                  <a:lnTo>
                    <a:pt x="90" y="4"/>
                  </a:lnTo>
                  <a:lnTo>
                    <a:pt x="92" y="4"/>
                  </a:lnTo>
                  <a:lnTo>
                    <a:pt x="94" y="4"/>
                  </a:lnTo>
                  <a:lnTo>
                    <a:pt x="96" y="4"/>
                  </a:lnTo>
                  <a:lnTo>
                    <a:pt x="98" y="6"/>
                  </a:lnTo>
                  <a:lnTo>
                    <a:pt x="100" y="6"/>
                  </a:lnTo>
                  <a:lnTo>
                    <a:pt x="102" y="6"/>
                  </a:lnTo>
                  <a:lnTo>
                    <a:pt x="106" y="8"/>
                  </a:lnTo>
                  <a:lnTo>
                    <a:pt x="108" y="8"/>
                  </a:lnTo>
                  <a:lnTo>
                    <a:pt x="110" y="8"/>
                  </a:lnTo>
                  <a:close/>
                </a:path>
              </a:pathLst>
            </a:custGeom>
            <a:solidFill>
              <a:srgbClr val="816767"/>
            </a:solidFill>
            <a:ln w="3175">
              <a:solidFill>
                <a:sysClr val="window" lastClr="FFFF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black"/>
                </a:solidFill>
                <a:effectLst/>
                <a:uLnTx/>
                <a:uFillTx/>
                <a:ea typeface="宋体" panose="02010600030101010101" pitchFamily="2" charset="-122"/>
              </a:endParaRPr>
            </a:p>
          </p:txBody>
        </p:sp>
        <p:sp>
          <p:nvSpPr>
            <p:cNvPr id="8" name="Freeform 3080">
              <a:extLst>
                <a:ext uri="{FF2B5EF4-FFF2-40B4-BE49-F238E27FC236}">
                  <a16:creationId xmlns:a16="http://schemas.microsoft.com/office/drawing/2014/main" id="{92B645E8-17C1-3B26-3237-0477CC3C3F6A}"/>
                </a:ext>
              </a:extLst>
            </p:cNvPr>
            <p:cNvSpPr>
              <a:spLocks/>
            </p:cNvSpPr>
            <p:nvPr/>
          </p:nvSpPr>
          <p:spPr bwMode="auto">
            <a:xfrm>
              <a:off x="3722688" y="2730500"/>
              <a:ext cx="444500" cy="681038"/>
            </a:xfrm>
            <a:custGeom>
              <a:avLst/>
              <a:gdLst>
                <a:gd name="T0" fmla="*/ 266 w 280"/>
                <a:gd name="T1" fmla="*/ 86 h 429"/>
                <a:gd name="T2" fmla="*/ 278 w 280"/>
                <a:gd name="T3" fmla="*/ 95 h 429"/>
                <a:gd name="T4" fmla="*/ 270 w 280"/>
                <a:gd name="T5" fmla="*/ 119 h 429"/>
                <a:gd name="T6" fmla="*/ 262 w 280"/>
                <a:gd name="T7" fmla="*/ 137 h 429"/>
                <a:gd name="T8" fmla="*/ 256 w 280"/>
                <a:gd name="T9" fmla="*/ 155 h 429"/>
                <a:gd name="T10" fmla="*/ 250 w 280"/>
                <a:gd name="T11" fmla="*/ 177 h 429"/>
                <a:gd name="T12" fmla="*/ 244 w 280"/>
                <a:gd name="T13" fmla="*/ 193 h 429"/>
                <a:gd name="T14" fmla="*/ 236 w 280"/>
                <a:gd name="T15" fmla="*/ 215 h 429"/>
                <a:gd name="T16" fmla="*/ 230 w 280"/>
                <a:gd name="T17" fmla="*/ 231 h 429"/>
                <a:gd name="T18" fmla="*/ 222 w 280"/>
                <a:gd name="T19" fmla="*/ 251 h 429"/>
                <a:gd name="T20" fmla="*/ 214 w 280"/>
                <a:gd name="T21" fmla="*/ 267 h 429"/>
                <a:gd name="T22" fmla="*/ 208 w 280"/>
                <a:gd name="T23" fmla="*/ 285 h 429"/>
                <a:gd name="T24" fmla="*/ 204 w 280"/>
                <a:gd name="T25" fmla="*/ 303 h 429"/>
                <a:gd name="T26" fmla="*/ 196 w 280"/>
                <a:gd name="T27" fmla="*/ 321 h 429"/>
                <a:gd name="T28" fmla="*/ 190 w 280"/>
                <a:gd name="T29" fmla="*/ 337 h 429"/>
                <a:gd name="T30" fmla="*/ 182 w 280"/>
                <a:gd name="T31" fmla="*/ 359 h 429"/>
                <a:gd name="T32" fmla="*/ 176 w 280"/>
                <a:gd name="T33" fmla="*/ 377 h 429"/>
                <a:gd name="T34" fmla="*/ 162 w 280"/>
                <a:gd name="T35" fmla="*/ 385 h 429"/>
                <a:gd name="T36" fmla="*/ 156 w 280"/>
                <a:gd name="T37" fmla="*/ 375 h 429"/>
                <a:gd name="T38" fmla="*/ 144 w 280"/>
                <a:gd name="T39" fmla="*/ 375 h 429"/>
                <a:gd name="T40" fmla="*/ 142 w 280"/>
                <a:gd name="T41" fmla="*/ 385 h 429"/>
                <a:gd name="T42" fmla="*/ 140 w 280"/>
                <a:gd name="T43" fmla="*/ 397 h 429"/>
                <a:gd name="T44" fmla="*/ 136 w 280"/>
                <a:gd name="T45" fmla="*/ 415 h 429"/>
                <a:gd name="T46" fmla="*/ 128 w 280"/>
                <a:gd name="T47" fmla="*/ 429 h 429"/>
                <a:gd name="T48" fmla="*/ 120 w 280"/>
                <a:gd name="T49" fmla="*/ 413 h 429"/>
                <a:gd name="T50" fmla="*/ 112 w 280"/>
                <a:gd name="T51" fmla="*/ 395 h 429"/>
                <a:gd name="T52" fmla="*/ 106 w 280"/>
                <a:gd name="T53" fmla="*/ 381 h 429"/>
                <a:gd name="T54" fmla="*/ 98 w 280"/>
                <a:gd name="T55" fmla="*/ 363 h 429"/>
                <a:gd name="T56" fmla="*/ 90 w 280"/>
                <a:gd name="T57" fmla="*/ 349 h 429"/>
                <a:gd name="T58" fmla="*/ 82 w 280"/>
                <a:gd name="T59" fmla="*/ 331 h 429"/>
                <a:gd name="T60" fmla="*/ 74 w 280"/>
                <a:gd name="T61" fmla="*/ 313 h 429"/>
                <a:gd name="T62" fmla="*/ 66 w 280"/>
                <a:gd name="T63" fmla="*/ 295 h 429"/>
                <a:gd name="T64" fmla="*/ 58 w 280"/>
                <a:gd name="T65" fmla="*/ 275 h 429"/>
                <a:gd name="T66" fmla="*/ 50 w 280"/>
                <a:gd name="T67" fmla="*/ 257 h 429"/>
                <a:gd name="T68" fmla="*/ 42 w 280"/>
                <a:gd name="T69" fmla="*/ 241 h 429"/>
                <a:gd name="T70" fmla="*/ 36 w 280"/>
                <a:gd name="T71" fmla="*/ 227 h 429"/>
                <a:gd name="T72" fmla="*/ 28 w 280"/>
                <a:gd name="T73" fmla="*/ 209 h 429"/>
                <a:gd name="T74" fmla="*/ 18 w 280"/>
                <a:gd name="T75" fmla="*/ 187 h 429"/>
                <a:gd name="T76" fmla="*/ 10 w 280"/>
                <a:gd name="T77" fmla="*/ 167 h 429"/>
                <a:gd name="T78" fmla="*/ 2 w 280"/>
                <a:gd name="T79" fmla="*/ 149 h 429"/>
                <a:gd name="T80" fmla="*/ 4 w 280"/>
                <a:gd name="T81" fmla="*/ 133 h 429"/>
                <a:gd name="T82" fmla="*/ 10 w 280"/>
                <a:gd name="T83" fmla="*/ 119 h 429"/>
                <a:gd name="T84" fmla="*/ 18 w 280"/>
                <a:gd name="T85" fmla="*/ 101 h 429"/>
                <a:gd name="T86" fmla="*/ 30 w 280"/>
                <a:gd name="T87" fmla="*/ 80 h 429"/>
                <a:gd name="T88" fmla="*/ 40 w 280"/>
                <a:gd name="T89" fmla="*/ 56 h 429"/>
                <a:gd name="T90" fmla="*/ 50 w 280"/>
                <a:gd name="T91" fmla="*/ 40 h 429"/>
                <a:gd name="T92" fmla="*/ 58 w 280"/>
                <a:gd name="T93" fmla="*/ 20 h 429"/>
                <a:gd name="T94" fmla="*/ 64 w 280"/>
                <a:gd name="T95" fmla="*/ 4 h 429"/>
                <a:gd name="T96" fmla="*/ 82 w 280"/>
                <a:gd name="T97" fmla="*/ 8 h 429"/>
                <a:gd name="T98" fmla="*/ 100 w 280"/>
                <a:gd name="T99" fmla="*/ 16 h 429"/>
                <a:gd name="T100" fmla="*/ 116 w 280"/>
                <a:gd name="T101" fmla="*/ 24 h 429"/>
                <a:gd name="T102" fmla="*/ 134 w 280"/>
                <a:gd name="T103" fmla="*/ 30 h 429"/>
                <a:gd name="T104" fmla="*/ 152 w 280"/>
                <a:gd name="T105" fmla="*/ 40 h 429"/>
                <a:gd name="T106" fmla="*/ 166 w 280"/>
                <a:gd name="T107" fmla="*/ 46 h 429"/>
                <a:gd name="T108" fmla="*/ 184 w 280"/>
                <a:gd name="T109" fmla="*/ 50 h 429"/>
                <a:gd name="T110" fmla="*/ 198 w 280"/>
                <a:gd name="T111" fmla="*/ 58 h 429"/>
                <a:gd name="T112" fmla="*/ 214 w 280"/>
                <a:gd name="T113" fmla="*/ 64 h 429"/>
                <a:gd name="T114" fmla="*/ 234 w 280"/>
                <a:gd name="T115" fmla="*/ 72 h 429"/>
                <a:gd name="T116" fmla="*/ 252 w 280"/>
                <a:gd name="T117" fmla="*/ 80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80" h="429">
                  <a:moveTo>
                    <a:pt x="252" y="80"/>
                  </a:moveTo>
                  <a:lnTo>
                    <a:pt x="254" y="80"/>
                  </a:lnTo>
                  <a:lnTo>
                    <a:pt x="256" y="80"/>
                  </a:lnTo>
                  <a:lnTo>
                    <a:pt x="256" y="82"/>
                  </a:lnTo>
                  <a:lnTo>
                    <a:pt x="258" y="82"/>
                  </a:lnTo>
                  <a:lnTo>
                    <a:pt x="260" y="82"/>
                  </a:lnTo>
                  <a:lnTo>
                    <a:pt x="260" y="84"/>
                  </a:lnTo>
                  <a:lnTo>
                    <a:pt x="262" y="84"/>
                  </a:lnTo>
                  <a:lnTo>
                    <a:pt x="264" y="84"/>
                  </a:lnTo>
                  <a:lnTo>
                    <a:pt x="266" y="84"/>
                  </a:lnTo>
                  <a:lnTo>
                    <a:pt x="266" y="86"/>
                  </a:lnTo>
                  <a:lnTo>
                    <a:pt x="268" y="86"/>
                  </a:lnTo>
                  <a:lnTo>
                    <a:pt x="270" y="86"/>
                  </a:lnTo>
                  <a:lnTo>
                    <a:pt x="272" y="88"/>
                  </a:lnTo>
                  <a:lnTo>
                    <a:pt x="274" y="88"/>
                  </a:lnTo>
                  <a:lnTo>
                    <a:pt x="276" y="88"/>
                  </a:lnTo>
                  <a:lnTo>
                    <a:pt x="278" y="90"/>
                  </a:lnTo>
                  <a:lnTo>
                    <a:pt x="280" y="90"/>
                  </a:lnTo>
                  <a:lnTo>
                    <a:pt x="280" y="93"/>
                  </a:lnTo>
                  <a:lnTo>
                    <a:pt x="280" y="95"/>
                  </a:lnTo>
                  <a:lnTo>
                    <a:pt x="278" y="95"/>
                  </a:lnTo>
                  <a:lnTo>
                    <a:pt x="278" y="95"/>
                  </a:lnTo>
                  <a:lnTo>
                    <a:pt x="278" y="97"/>
                  </a:lnTo>
                  <a:lnTo>
                    <a:pt x="276" y="101"/>
                  </a:lnTo>
                  <a:lnTo>
                    <a:pt x="276" y="103"/>
                  </a:lnTo>
                  <a:lnTo>
                    <a:pt x="274" y="109"/>
                  </a:lnTo>
                  <a:lnTo>
                    <a:pt x="272" y="109"/>
                  </a:lnTo>
                  <a:lnTo>
                    <a:pt x="272" y="111"/>
                  </a:lnTo>
                  <a:lnTo>
                    <a:pt x="272" y="113"/>
                  </a:lnTo>
                  <a:lnTo>
                    <a:pt x="272" y="115"/>
                  </a:lnTo>
                  <a:lnTo>
                    <a:pt x="270" y="115"/>
                  </a:lnTo>
                  <a:lnTo>
                    <a:pt x="270" y="117"/>
                  </a:lnTo>
                  <a:lnTo>
                    <a:pt x="270" y="119"/>
                  </a:lnTo>
                  <a:lnTo>
                    <a:pt x="268" y="121"/>
                  </a:lnTo>
                  <a:lnTo>
                    <a:pt x="268" y="123"/>
                  </a:lnTo>
                  <a:lnTo>
                    <a:pt x="268" y="125"/>
                  </a:lnTo>
                  <a:lnTo>
                    <a:pt x="266" y="125"/>
                  </a:lnTo>
                  <a:lnTo>
                    <a:pt x="266" y="127"/>
                  </a:lnTo>
                  <a:lnTo>
                    <a:pt x="266" y="129"/>
                  </a:lnTo>
                  <a:lnTo>
                    <a:pt x="264" y="131"/>
                  </a:lnTo>
                  <a:lnTo>
                    <a:pt x="264" y="133"/>
                  </a:lnTo>
                  <a:lnTo>
                    <a:pt x="264" y="135"/>
                  </a:lnTo>
                  <a:lnTo>
                    <a:pt x="264" y="137"/>
                  </a:lnTo>
                  <a:lnTo>
                    <a:pt x="262" y="137"/>
                  </a:lnTo>
                  <a:lnTo>
                    <a:pt x="262" y="139"/>
                  </a:lnTo>
                  <a:lnTo>
                    <a:pt x="262" y="141"/>
                  </a:lnTo>
                  <a:lnTo>
                    <a:pt x="260" y="143"/>
                  </a:lnTo>
                  <a:lnTo>
                    <a:pt x="260" y="143"/>
                  </a:lnTo>
                  <a:lnTo>
                    <a:pt x="260" y="145"/>
                  </a:lnTo>
                  <a:lnTo>
                    <a:pt x="258" y="147"/>
                  </a:lnTo>
                  <a:lnTo>
                    <a:pt x="258" y="149"/>
                  </a:lnTo>
                  <a:lnTo>
                    <a:pt x="258" y="151"/>
                  </a:lnTo>
                  <a:lnTo>
                    <a:pt x="256" y="151"/>
                  </a:lnTo>
                  <a:lnTo>
                    <a:pt x="256" y="153"/>
                  </a:lnTo>
                  <a:lnTo>
                    <a:pt x="256" y="155"/>
                  </a:lnTo>
                  <a:lnTo>
                    <a:pt x="254" y="157"/>
                  </a:lnTo>
                  <a:lnTo>
                    <a:pt x="254" y="159"/>
                  </a:lnTo>
                  <a:lnTo>
                    <a:pt x="252" y="163"/>
                  </a:lnTo>
                  <a:lnTo>
                    <a:pt x="252" y="165"/>
                  </a:lnTo>
                  <a:lnTo>
                    <a:pt x="252" y="167"/>
                  </a:lnTo>
                  <a:lnTo>
                    <a:pt x="252" y="167"/>
                  </a:lnTo>
                  <a:lnTo>
                    <a:pt x="252" y="169"/>
                  </a:lnTo>
                  <a:lnTo>
                    <a:pt x="252" y="171"/>
                  </a:lnTo>
                  <a:lnTo>
                    <a:pt x="252" y="173"/>
                  </a:lnTo>
                  <a:lnTo>
                    <a:pt x="250" y="175"/>
                  </a:lnTo>
                  <a:lnTo>
                    <a:pt x="250" y="177"/>
                  </a:lnTo>
                  <a:lnTo>
                    <a:pt x="250" y="179"/>
                  </a:lnTo>
                  <a:lnTo>
                    <a:pt x="248" y="179"/>
                  </a:lnTo>
                  <a:lnTo>
                    <a:pt x="248" y="181"/>
                  </a:lnTo>
                  <a:lnTo>
                    <a:pt x="248" y="183"/>
                  </a:lnTo>
                  <a:lnTo>
                    <a:pt x="246" y="185"/>
                  </a:lnTo>
                  <a:lnTo>
                    <a:pt x="246" y="187"/>
                  </a:lnTo>
                  <a:lnTo>
                    <a:pt x="246" y="189"/>
                  </a:lnTo>
                  <a:lnTo>
                    <a:pt x="244" y="189"/>
                  </a:lnTo>
                  <a:lnTo>
                    <a:pt x="244" y="189"/>
                  </a:lnTo>
                  <a:lnTo>
                    <a:pt x="244" y="191"/>
                  </a:lnTo>
                  <a:lnTo>
                    <a:pt x="244" y="193"/>
                  </a:lnTo>
                  <a:lnTo>
                    <a:pt x="242" y="193"/>
                  </a:lnTo>
                  <a:lnTo>
                    <a:pt x="242" y="197"/>
                  </a:lnTo>
                  <a:lnTo>
                    <a:pt x="242" y="199"/>
                  </a:lnTo>
                  <a:lnTo>
                    <a:pt x="240" y="199"/>
                  </a:lnTo>
                  <a:lnTo>
                    <a:pt x="240" y="201"/>
                  </a:lnTo>
                  <a:lnTo>
                    <a:pt x="240" y="203"/>
                  </a:lnTo>
                  <a:lnTo>
                    <a:pt x="238" y="205"/>
                  </a:lnTo>
                  <a:lnTo>
                    <a:pt x="238" y="207"/>
                  </a:lnTo>
                  <a:lnTo>
                    <a:pt x="236" y="211"/>
                  </a:lnTo>
                  <a:lnTo>
                    <a:pt x="236" y="213"/>
                  </a:lnTo>
                  <a:lnTo>
                    <a:pt x="236" y="215"/>
                  </a:lnTo>
                  <a:lnTo>
                    <a:pt x="234" y="215"/>
                  </a:lnTo>
                  <a:lnTo>
                    <a:pt x="234" y="217"/>
                  </a:lnTo>
                  <a:lnTo>
                    <a:pt x="234" y="219"/>
                  </a:lnTo>
                  <a:lnTo>
                    <a:pt x="234" y="221"/>
                  </a:lnTo>
                  <a:lnTo>
                    <a:pt x="232" y="221"/>
                  </a:lnTo>
                  <a:lnTo>
                    <a:pt x="232" y="223"/>
                  </a:lnTo>
                  <a:lnTo>
                    <a:pt x="232" y="225"/>
                  </a:lnTo>
                  <a:lnTo>
                    <a:pt x="230" y="225"/>
                  </a:lnTo>
                  <a:lnTo>
                    <a:pt x="230" y="227"/>
                  </a:lnTo>
                  <a:lnTo>
                    <a:pt x="230" y="229"/>
                  </a:lnTo>
                  <a:lnTo>
                    <a:pt x="230" y="231"/>
                  </a:lnTo>
                  <a:lnTo>
                    <a:pt x="228" y="235"/>
                  </a:lnTo>
                  <a:lnTo>
                    <a:pt x="228" y="237"/>
                  </a:lnTo>
                  <a:lnTo>
                    <a:pt x="226" y="237"/>
                  </a:lnTo>
                  <a:lnTo>
                    <a:pt x="226" y="237"/>
                  </a:lnTo>
                  <a:lnTo>
                    <a:pt x="226" y="239"/>
                  </a:lnTo>
                  <a:lnTo>
                    <a:pt x="224" y="241"/>
                  </a:lnTo>
                  <a:lnTo>
                    <a:pt x="224" y="243"/>
                  </a:lnTo>
                  <a:lnTo>
                    <a:pt x="224" y="245"/>
                  </a:lnTo>
                  <a:lnTo>
                    <a:pt x="222" y="247"/>
                  </a:lnTo>
                  <a:lnTo>
                    <a:pt x="222" y="249"/>
                  </a:lnTo>
                  <a:lnTo>
                    <a:pt x="222" y="251"/>
                  </a:lnTo>
                  <a:lnTo>
                    <a:pt x="220" y="251"/>
                  </a:lnTo>
                  <a:lnTo>
                    <a:pt x="220" y="253"/>
                  </a:lnTo>
                  <a:lnTo>
                    <a:pt x="220" y="255"/>
                  </a:lnTo>
                  <a:lnTo>
                    <a:pt x="218" y="257"/>
                  </a:lnTo>
                  <a:lnTo>
                    <a:pt x="218" y="259"/>
                  </a:lnTo>
                  <a:lnTo>
                    <a:pt x="218" y="261"/>
                  </a:lnTo>
                  <a:lnTo>
                    <a:pt x="216" y="261"/>
                  </a:lnTo>
                  <a:lnTo>
                    <a:pt x="216" y="263"/>
                  </a:lnTo>
                  <a:lnTo>
                    <a:pt x="216" y="265"/>
                  </a:lnTo>
                  <a:lnTo>
                    <a:pt x="216" y="267"/>
                  </a:lnTo>
                  <a:lnTo>
                    <a:pt x="214" y="267"/>
                  </a:lnTo>
                  <a:lnTo>
                    <a:pt x="214" y="269"/>
                  </a:lnTo>
                  <a:lnTo>
                    <a:pt x="214" y="271"/>
                  </a:lnTo>
                  <a:lnTo>
                    <a:pt x="214" y="273"/>
                  </a:lnTo>
                  <a:lnTo>
                    <a:pt x="212" y="273"/>
                  </a:lnTo>
                  <a:lnTo>
                    <a:pt x="212" y="275"/>
                  </a:lnTo>
                  <a:lnTo>
                    <a:pt x="212" y="277"/>
                  </a:lnTo>
                  <a:lnTo>
                    <a:pt x="210" y="279"/>
                  </a:lnTo>
                  <a:lnTo>
                    <a:pt x="210" y="281"/>
                  </a:lnTo>
                  <a:lnTo>
                    <a:pt x="210" y="283"/>
                  </a:lnTo>
                  <a:lnTo>
                    <a:pt x="208" y="285"/>
                  </a:lnTo>
                  <a:lnTo>
                    <a:pt x="208" y="285"/>
                  </a:lnTo>
                  <a:lnTo>
                    <a:pt x="208" y="287"/>
                  </a:lnTo>
                  <a:lnTo>
                    <a:pt x="206" y="289"/>
                  </a:lnTo>
                  <a:lnTo>
                    <a:pt x="206" y="291"/>
                  </a:lnTo>
                  <a:lnTo>
                    <a:pt x="206" y="293"/>
                  </a:lnTo>
                  <a:lnTo>
                    <a:pt x="204" y="293"/>
                  </a:lnTo>
                  <a:lnTo>
                    <a:pt x="204" y="295"/>
                  </a:lnTo>
                  <a:lnTo>
                    <a:pt x="204" y="297"/>
                  </a:lnTo>
                  <a:lnTo>
                    <a:pt x="204" y="299"/>
                  </a:lnTo>
                  <a:lnTo>
                    <a:pt x="204" y="299"/>
                  </a:lnTo>
                  <a:lnTo>
                    <a:pt x="204" y="301"/>
                  </a:lnTo>
                  <a:lnTo>
                    <a:pt x="204" y="303"/>
                  </a:lnTo>
                  <a:lnTo>
                    <a:pt x="202" y="303"/>
                  </a:lnTo>
                  <a:lnTo>
                    <a:pt x="202" y="305"/>
                  </a:lnTo>
                  <a:lnTo>
                    <a:pt x="202" y="307"/>
                  </a:lnTo>
                  <a:lnTo>
                    <a:pt x="202" y="309"/>
                  </a:lnTo>
                  <a:lnTo>
                    <a:pt x="200" y="309"/>
                  </a:lnTo>
                  <a:lnTo>
                    <a:pt x="200" y="311"/>
                  </a:lnTo>
                  <a:lnTo>
                    <a:pt x="200" y="313"/>
                  </a:lnTo>
                  <a:lnTo>
                    <a:pt x="198" y="315"/>
                  </a:lnTo>
                  <a:lnTo>
                    <a:pt x="198" y="317"/>
                  </a:lnTo>
                  <a:lnTo>
                    <a:pt x="198" y="319"/>
                  </a:lnTo>
                  <a:lnTo>
                    <a:pt x="196" y="321"/>
                  </a:lnTo>
                  <a:lnTo>
                    <a:pt x="196" y="323"/>
                  </a:lnTo>
                  <a:lnTo>
                    <a:pt x="196" y="325"/>
                  </a:lnTo>
                  <a:lnTo>
                    <a:pt x="194" y="325"/>
                  </a:lnTo>
                  <a:lnTo>
                    <a:pt x="194" y="327"/>
                  </a:lnTo>
                  <a:lnTo>
                    <a:pt x="194" y="329"/>
                  </a:lnTo>
                  <a:lnTo>
                    <a:pt x="194" y="331"/>
                  </a:lnTo>
                  <a:lnTo>
                    <a:pt x="192" y="331"/>
                  </a:lnTo>
                  <a:lnTo>
                    <a:pt x="192" y="333"/>
                  </a:lnTo>
                  <a:lnTo>
                    <a:pt x="192" y="333"/>
                  </a:lnTo>
                  <a:lnTo>
                    <a:pt x="190" y="335"/>
                  </a:lnTo>
                  <a:lnTo>
                    <a:pt x="190" y="337"/>
                  </a:lnTo>
                  <a:lnTo>
                    <a:pt x="190" y="339"/>
                  </a:lnTo>
                  <a:lnTo>
                    <a:pt x="190" y="341"/>
                  </a:lnTo>
                  <a:lnTo>
                    <a:pt x="188" y="341"/>
                  </a:lnTo>
                  <a:lnTo>
                    <a:pt x="188" y="343"/>
                  </a:lnTo>
                  <a:lnTo>
                    <a:pt x="188" y="345"/>
                  </a:lnTo>
                  <a:lnTo>
                    <a:pt x="186" y="347"/>
                  </a:lnTo>
                  <a:lnTo>
                    <a:pt x="186" y="349"/>
                  </a:lnTo>
                  <a:lnTo>
                    <a:pt x="186" y="351"/>
                  </a:lnTo>
                  <a:lnTo>
                    <a:pt x="184" y="355"/>
                  </a:lnTo>
                  <a:lnTo>
                    <a:pt x="182" y="357"/>
                  </a:lnTo>
                  <a:lnTo>
                    <a:pt x="182" y="359"/>
                  </a:lnTo>
                  <a:lnTo>
                    <a:pt x="182" y="361"/>
                  </a:lnTo>
                  <a:lnTo>
                    <a:pt x="182" y="363"/>
                  </a:lnTo>
                  <a:lnTo>
                    <a:pt x="180" y="363"/>
                  </a:lnTo>
                  <a:lnTo>
                    <a:pt x="180" y="365"/>
                  </a:lnTo>
                  <a:lnTo>
                    <a:pt x="180" y="367"/>
                  </a:lnTo>
                  <a:lnTo>
                    <a:pt x="180" y="369"/>
                  </a:lnTo>
                  <a:lnTo>
                    <a:pt x="178" y="369"/>
                  </a:lnTo>
                  <a:lnTo>
                    <a:pt x="178" y="371"/>
                  </a:lnTo>
                  <a:lnTo>
                    <a:pt x="178" y="373"/>
                  </a:lnTo>
                  <a:lnTo>
                    <a:pt x="176" y="375"/>
                  </a:lnTo>
                  <a:lnTo>
                    <a:pt x="176" y="377"/>
                  </a:lnTo>
                  <a:lnTo>
                    <a:pt x="174" y="379"/>
                  </a:lnTo>
                  <a:lnTo>
                    <a:pt x="174" y="381"/>
                  </a:lnTo>
                  <a:lnTo>
                    <a:pt x="172" y="381"/>
                  </a:lnTo>
                  <a:lnTo>
                    <a:pt x="172" y="381"/>
                  </a:lnTo>
                  <a:lnTo>
                    <a:pt x="170" y="381"/>
                  </a:lnTo>
                  <a:lnTo>
                    <a:pt x="170" y="383"/>
                  </a:lnTo>
                  <a:lnTo>
                    <a:pt x="168" y="383"/>
                  </a:lnTo>
                  <a:lnTo>
                    <a:pt x="168" y="385"/>
                  </a:lnTo>
                  <a:lnTo>
                    <a:pt x="166" y="385"/>
                  </a:lnTo>
                  <a:lnTo>
                    <a:pt x="164" y="385"/>
                  </a:lnTo>
                  <a:lnTo>
                    <a:pt x="162" y="385"/>
                  </a:lnTo>
                  <a:lnTo>
                    <a:pt x="162" y="383"/>
                  </a:lnTo>
                  <a:lnTo>
                    <a:pt x="162" y="381"/>
                  </a:lnTo>
                  <a:lnTo>
                    <a:pt x="160" y="381"/>
                  </a:lnTo>
                  <a:lnTo>
                    <a:pt x="162" y="381"/>
                  </a:lnTo>
                  <a:lnTo>
                    <a:pt x="162" y="381"/>
                  </a:lnTo>
                  <a:lnTo>
                    <a:pt x="160" y="379"/>
                  </a:lnTo>
                  <a:lnTo>
                    <a:pt x="160" y="377"/>
                  </a:lnTo>
                  <a:lnTo>
                    <a:pt x="158" y="377"/>
                  </a:lnTo>
                  <a:lnTo>
                    <a:pt x="156" y="377"/>
                  </a:lnTo>
                  <a:lnTo>
                    <a:pt x="156" y="377"/>
                  </a:lnTo>
                  <a:lnTo>
                    <a:pt x="156" y="375"/>
                  </a:lnTo>
                  <a:lnTo>
                    <a:pt x="154" y="375"/>
                  </a:lnTo>
                  <a:lnTo>
                    <a:pt x="154" y="373"/>
                  </a:lnTo>
                  <a:lnTo>
                    <a:pt x="152" y="373"/>
                  </a:lnTo>
                  <a:lnTo>
                    <a:pt x="152" y="375"/>
                  </a:lnTo>
                  <a:lnTo>
                    <a:pt x="152" y="373"/>
                  </a:lnTo>
                  <a:lnTo>
                    <a:pt x="150" y="373"/>
                  </a:lnTo>
                  <a:lnTo>
                    <a:pt x="150" y="375"/>
                  </a:lnTo>
                  <a:lnTo>
                    <a:pt x="148" y="375"/>
                  </a:lnTo>
                  <a:lnTo>
                    <a:pt x="148" y="373"/>
                  </a:lnTo>
                  <a:lnTo>
                    <a:pt x="146" y="373"/>
                  </a:lnTo>
                  <a:lnTo>
                    <a:pt x="144" y="375"/>
                  </a:lnTo>
                  <a:lnTo>
                    <a:pt x="144" y="377"/>
                  </a:lnTo>
                  <a:lnTo>
                    <a:pt x="144" y="379"/>
                  </a:lnTo>
                  <a:lnTo>
                    <a:pt x="142" y="379"/>
                  </a:lnTo>
                  <a:lnTo>
                    <a:pt x="142" y="381"/>
                  </a:lnTo>
                  <a:lnTo>
                    <a:pt x="144" y="381"/>
                  </a:lnTo>
                  <a:lnTo>
                    <a:pt x="142" y="381"/>
                  </a:lnTo>
                  <a:lnTo>
                    <a:pt x="142" y="381"/>
                  </a:lnTo>
                  <a:lnTo>
                    <a:pt x="144" y="381"/>
                  </a:lnTo>
                  <a:lnTo>
                    <a:pt x="144" y="383"/>
                  </a:lnTo>
                  <a:lnTo>
                    <a:pt x="144" y="385"/>
                  </a:lnTo>
                  <a:lnTo>
                    <a:pt x="142" y="385"/>
                  </a:lnTo>
                  <a:lnTo>
                    <a:pt x="142" y="387"/>
                  </a:lnTo>
                  <a:lnTo>
                    <a:pt x="140" y="387"/>
                  </a:lnTo>
                  <a:lnTo>
                    <a:pt x="140" y="389"/>
                  </a:lnTo>
                  <a:lnTo>
                    <a:pt x="142" y="389"/>
                  </a:lnTo>
                  <a:lnTo>
                    <a:pt x="140" y="389"/>
                  </a:lnTo>
                  <a:lnTo>
                    <a:pt x="140" y="391"/>
                  </a:lnTo>
                  <a:lnTo>
                    <a:pt x="140" y="393"/>
                  </a:lnTo>
                  <a:lnTo>
                    <a:pt x="140" y="395"/>
                  </a:lnTo>
                  <a:lnTo>
                    <a:pt x="138" y="395"/>
                  </a:lnTo>
                  <a:lnTo>
                    <a:pt x="138" y="397"/>
                  </a:lnTo>
                  <a:lnTo>
                    <a:pt x="140" y="397"/>
                  </a:lnTo>
                  <a:lnTo>
                    <a:pt x="140" y="399"/>
                  </a:lnTo>
                  <a:lnTo>
                    <a:pt x="138" y="399"/>
                  </a:lnTo>
                  <a:lnTo>
                    <a:pt x="138" y="401"/>
                  </a:lnTo>
                  <a:lnTo>
                    <a:pt x="138" y="403"/>
                  </a:lnTo>
                  <a:lnTo>
                    <a:pt x="136" y="403"/>
                  </a:lnTo>
                  <a:lnTo>
                    <a:pt x="136" y="405"/>
                  </a:lnTo>
                  <a:lnTo>
                    <a:pt x="136" y="407"/>
                  </a:lnTo>
                  <a:lnTo>
                    <a:pt x="136" y="409"/>
                  </a:lnTo>
                  <a:lnTo>
                    <a:pt x="136" y="411"/>
                  </a:lnTo>
                  <a:lnTo>
                    <a:pt x="136" y="413"/>
                  </a:lnTo>
                  <a:lnTo>
                    <a:pt x="136" y="415"/>
                  </a:lnTo>
                  <a:lnTo>
                    <a:pt x="136" y="417"/>
                  </a:lnTo>
                  <a:lnTo>
                    <a:pt x="136" y="419"/>
                  </a:lnTo>
                  <a:lnTo>
                    <a:pt x="134" y="421"/>
                  </a:lnTo>
                  <a:lnTo>
                    <a:pt x="134" y="423"/>
                  </a:lnTo>
                  <a:lnTo>
                    <a:pt x="134" y="425"/>
                  </a:lnTo>
                  <a:lnTo>
                    <a:pt x="132" y="425"/>
                  </a:lnTo>
                  <a:lnTo>
                    <a:pt x="130" y="425"/>
                  </a:lnTo>
                  <a:lnTo>
                    <a:pt x="130" y="427"/>
                  </a:lnTo>
                  <a:lnTo>
                    <a:pt x="130" y="429"/>
                  </a:lnTo>
                  <a:lnTo>
                    <a:pt x="128" y="429"/>
                  </a:lnTo>
                  <a:lnTo>
                    <a:pt x="128" y="429"/>
                  </a:lnTo>
                  <a:lnTo>
                    <a:pt x="128" y="429"/>
                  </a:lnTo>
                  <a:lnTo>
                    <a:pt x="126" y="429"/>
                  </a:lnTo>
                  <a:lnTo>
                    <a:pt x="126" y="427"/>
                  </a:lnTo>
                  <a:lnTo>
                    <a:pt x="126" y="425"/>
                  </a:lnTo>
                  <a:lnTo>
                    <a:pt x="124" y="423"/>
                  </a:lnTo>
                  <a:lnTo>
                    <a:pt x="124" y="421"/>
                  </a:lnTo>
                  <a:lnTo>
                    <a:pt x="122" y="419"/>
                  </a:lnTo>
                  <a:lnTo>
                    <a:pt x="122" y="417"/>
                  </a:lnTo>
                  <a:lnTo>
                    <a:pt x="122" y="415"/>
                  </a:lnTo>
                  <a:lnTo>
                    <a:pt x="120" y="415"/>
                  </a:lnTo>
                  <a:lnTo>
                    <a:pt x="120" y="413"/>
                  </a:lnTo>
                  <a:lnTo>
                    <a:pt x="120" y="411"/>
                  </a:lnTo>
                  <a:lnTo>
                    <a:pt x="118" y="409"/>
                  </a:lnTo>
                  <a:lnTo>
                    <a:pt x="118" y="407"/>
                  </a:lnTo>
                  <a:lnTo>
                    <a:pt x="116" y="405"/>
                  </a:lnTo>
                  <a:lnTo>
                    <a:pt x="116" y="403"/>
                  </a:lnTo>
                  <a:lnTo>
                    <a:pt x="114" y="403"/>
                  </a:lnTo>
                  <a:lnTo>
                    <a:pt x="114" y="401"/>
                  </a:lnTo>
                  <a:lnTo>
                    <a:pt x="114" y="399"/>
                  </a:lnTo>
                  <a:lnTo>
                    <a:pt x="112" y="399"/>
                  </a:lnTo>
                  <a:lnTo>
                    <a:pt x="112" y="397"/>
                  </a:lnTo>
                  <a:lnTo>
                    <a:pt x="112" y="395"/>
                  </a:lnTo>
                  <a:lnTo>
                    <a:pt x="110" y="395"/>
                  </a:lnTo>
                  <a:lnTo>
                    <a:pt x="110" y="393"/>
                  </a:lnTo>
                  <a:lnTo>
                    <a:pt x="110" y="391"/>
                  </a:lnTo>
                  <a:lnTo>
                    <a:pt x="108" y="389"/>
                  </a:lnTo>
                  <a:lnTo>
                    <a:pt x="108" y="387"/>
                  </a:lnTo>
                  <a:lnTo>
                    <a:pt x="108" y="385"/>
                  </a:lnTo>
                  <a:lnTo>
                    <a:pt x="108" y="385"/>
                  </a:lnTo>
                  <a:lnTo>
                    <a:pt x="108" y="383"/>
                  </a:lnTo>
                  <a:lnTo>
                    <a:pt x="108" y="381"/>
                  </a:lnTo>
                  <a:lnTo>
                    <a:pt x="106" y="381"/>
                  </a:lnTo>
                  <a:lnTo>
                    <a:pt x="106" y="381"/>
                  </a:lnTo>
                  <a:lnTo>
                    <a:pt x="106" y="379"/>
                  </a:lnTo>
                  <a:lnTo>
                    <a:pt x="104" y="379"/>
                  </a:lnTo>
                  <a:lnTo>
                    <a:pt x="104" y="377"/>
                  </a:lnTo>
                  <a:lnTo>
                    <a:pt x="104" y="375"/>
                  </a:lnTo>
                  <a:lnTo>
                    <a:pt x="102" y="375"/>
                  </a:lnTo>
                  <a:lnTo>
                    <a:pt x="102" y="373"/>
                  </a:lnTo>
                  <a:lnTo>
                    <a:pt x="102" y="371"/>
                  </a:lnTo>
                  <a:lnTo>
                    <a:pt x="100" y="369"/>
                  </a:lnTo>
                  <a:lnTo>
                    <a:pt x="100" y="367"/>
                  </a:lnTo>
                  <a:lnTo>
                    <a:pt x="98" y="365"/>
                  </a:lnTo>
                  <a:lnTo>
                    <a:pt x="98" y="363"/>
                  </a:lnTo>
                  <a:lnTo>
                    <a:pt x="98" y="361"/>
                  </a:lnTo>
                  <a:lnTo>
                    <a:pt x="96" y="361"/>
                  </a:lnTo>
                  <a:lnTo>
                    <a:pt x="96" y="359"/>
                  </a:lnTo>
                  <a:lnTo>
                    <a:pt x="96" y="357"/>
                  </a:lnTo>
                  <a:lnTo>
                    <a:pt x="94" y="357"/>
                  </a:lnTo>
                  <a:lnTo>
                    <a:pt x="94" y="355"/>
                  </a:lnTo>
                  <a:lnTo>
                    <a:pt x="94" y="353"/>
                  </a:lnTo>
                  <a:lnTo>
                    <a:pt x="92" y="353"/>
                  </a:lnTo>
                  <a:lnTo>
                    <a:pt x="92" y="351"/>
                  </a:lnTo>
                  <a:lnTo>
                    <a:pt x="92" y="349"/>
                  </a:lnTo>
                  <a:lnTo>
                    <a:pt x="90" y="349"/>
                  </a:lnTo>
                  <a:lnTo>
                    <a:pt x="90" y="347"/>
                  </a:lnTo>
                  <a:lnTo>
                    <a:pt x="90" y="345"/>
                  </a:lnTo>
                  <a:lnTo>
                    <a:pt x="88" y="343"/>
                  </a:lnTo>
                  <a:lnTo>
                    <a:pt x="88" y="341"/>
                  </a:lnTo>
                  <a:lnTo>
                    <a:pt x="88" y="339"/>
                  </a:lnTo>
                  <a:lnTo>
                    <a:pt x="86" y="339"/>
                  </a:lnTo>
                  <a:lnTo>
                    <a:pt x="86" y="335"/>
                  </a:lnTo>
                  <a:lnTo>
                    <a:pt x="84" y="335"/>
                  </a:lnTo>
                  <a:lnTo>
                    <a:pt x="84" y="333"/>
                  </a:lnTo>
                  <a:lnTo>
                    <a:pt x="82" y="333"/>
                  </a:lnTo>
                  <a:lnTo>
                    <a:pt x="82" y="331"/>
                  </a:lnTo>
                  <a:lnTo>
                    <a:pt x="80" y="329"/>
                  </a:lnTo>
                  <a:lnTo>
                    <a:pt x="80" y="327"/>
                  </a:lnTo>
                  <a:lnTo>
                    <a:pt x="80" y="325"/>
                  </a:lnTo>
                  <a:lnTo>
                    <a:pt x="78" y="325"/>
                  </a:lnTo>
                  <a:lnTo>
                    <a:pt x="78" y="323"/>
                  </a:lnTo>
                  <a:lnTo>
                    <a:pt x="78" y="321"/>
                  </a:lnTo>
                  <a:lnTo>
                    <a:pt x="76" y="319"/>
                  </a:lnTo>
                  <a:lnTo>
                    <a:pt x="76" y="317"/>
                  </a:lnTo>
                  <a:lnTo>
                    <a:pt x="76" y="315"/>
                  </a:lnTo>
                  <a:lnTo>
                    <a:pt x="74" y="315"/>
                  </a:lnTo>
                  <a:lnTo>
                    <a:pt x="74" y="313"/>
                  </a:lnTo>
                  <a:lnTo>
                    <a:pt x="74" y="311"/>
                  </a:lnTo>
                  <a:lnTo>
                    <a:pt x="72" y="309"/>
                  </a:lnTo>
                  <a:lnTo>
                    <a:pt x="72" y="307"/>
                  </a:lnTo>
                  <a:lnTo>
                    <a:pt x="70" y="307"/>
                  </a:lnTo>
                  <a:lnTo>
                    <a:pt x="70" y="305"/>
                  </a:lnTo>
                  <a:lnTo>
                    <a:pt x="70" y="303"/>
                  </a:lnTo>
                  <a:lnTo>
                    <a:pt x="68" y="301"/>
                  </a:lnTo>
                  <a:lnTo>
                    <a:pt x="68" y="299"/>
                  </a:lnTo>
                  <a:lnTo>
                    <a:pt x="68" y="297"/>
                  </a:lnTo>
                  <a:lnTo>
                    <a:pt x="66" y="297"/>
                  </a:lnTo>
                  <a:lnTo>
                    <a:pt x="66" y="295"/>
                  </a:lnTo>
                  <a:lnTo>
                    <a:pt x="64" y="293"/>
                  </a:lnTo>
                  <a:lnTo>
                    <a:pt x="64" y="291"/>
                  </a:lnTo>
                  <a:lnTo>
                    <a:pt x="64" y="289"/>
                  </a:lnTo>
                  <a:lnTo>
                    <a:pt x="62" y="287"/>
                  </a:lnTo>
                  <a:lnTo>
                    <a:pt x="62" y="285"/>
                  </a:lnTo>
                  <a:lnTo>
                    <a:pt x="60" y="285"/>
                  </a:lnTo>
                  <a:lnTo>
                    <a:pt x="60" y="283"/>
                  </a:lnTo>
                  <a:lnTo>
                    <a:pt x="60" y="281"/>
                  </a:lnTo>
                  <a:lnTo>
                    <a:pt x="60" y="279"/>
                  </a:lnTo>
                  <a:lnTo>
                    <a:pt x="58" y="277"/>
                  </a:lnTo>
                  <a:lnTo>
                    <a:pt x="58" y="275"/>
                  </a:lnTo>
                  <a:lnTo>
                    <a:pt x="58" y="273"/>
                  </a:lnTo>
                  <a:lnTo>
                    <a:pt x="56" y="273"/>
                  </a:lnTo>
                  <a:lnTo>
                    <a:pt x="56" y="271"/>
                  </a:lnTo>
                  <a:lnTo>
                    <a:pt x="56" y="269"/>
                  </a:lnTo>
                  <a:lnTo>
                    <a:pt x="54" y="267"/>
                  </a:lnTo>
                  <a:lnTo>
                    <a:pt x="54" y="265"/>
                  </a:lnTo>
                  <a:lnTo>
                    <a:pt x="54" y="263"/>
                  </a:lnTo>
                  <a:lnTo>
                    <a:pt x="52" y="263"/>
                  </a:lnTo>
                  <a:lnTo>
                    <a:pt x="52" y="261"/>
                  </a:lnTo>
                  <a:lnTo>
                    <a:pt x="52" y="259"/>
                  </a:lnTo>
                  <a:lnTo>
                    <a:pt x="50" y="257"/>
                  </a:lnTo>
                  <a:lnTo>
                    <a:pt x="50" y="255"/>
                  </a:lnTo>
                  <a:lnTo>
                    <a:pt x="48" y="255"/>
                  </a:lnTo>
                  <a:lnTo>
                    <a:pt x="48" y="253"/>
                  </a:lnTo>
                  <a:lnTo>
                    <a:pt x="48" y="251"/>
                  </a:lnTo>
                  <a:lnTo>
                    <a:pt x="46" y="251"/>
                  </a:lnTo>
                  <a:lnTo>
                    <a:pt x="46" y="249"/>
                  </a:lnTo>
                  <a:lnTo>
                    <a:pt x="46" y="247"/>
                  </a:lnTo>
                  <a:lnTo>
                    <a:pt x="44" y="245"/>
                  </a:lnTo>
                  <a:lnTo>
                    <a:pt x="44" y="243"/>
                  </a:lnTo>
                  <a:lnTo>
                    <a:pt x="44" y="241"/>
                  </a:lnTo>
                  <a:lnTo>
                    <a:pt x="42" y="241"/>
                  </a:lnTo>
                  <a:lnTo>
                    <a:pt x="42" y="239"/>
                  </a:lnTo>
                  <a:lnTo>
                    <a:pt x="42" y="237"/>
                  </a:lnTo>
                  <a:lnTo>
                    <a:pt x="40" y="237"/>
                  </a:lnTo>
                  <a:lnTo>
                    <a:pt x="40" y="237"/>
                  </a:lnTo>
                  <a:lnTo>
                    <a:pt x="40" y="235"/>
                  </a:lnTo>
                  <a:lnTo>
                    <a:pt x="38" y="235"/>
                  </a:lnTo>
                  <a:lnTo>
                    <a:pt x="38" y="233"/>
                  </a:lnTo>
                  <a:lnTo>
                    <a:pt x="38" y="231"/>
                  </a:lnTo>
                  <a:lnTo>
                    <a:pt x="38" y="229"/>
                  </a:lnTo>
                  <a:lnTo>
                    <a:pt x="36" y="229"/>
                  </a:lnTo>
                  <a:lnTo>
                    <a:pt x="36" y="227"/>
                  </a:lnTo>
                  <a:lnTo>
                    <a:pt x="36" y="225"/>
                  </a:lnTo>
                  <a:lnTo>
                    <a:pt x="34" y="225"/>
                  </a:lnTo>
                  <a:lnTo>
                    <a:pt x="34" y="223"/>
                  </a:lnTo>
                  <a:lnTo>
                    <a:pt x="34" y="221"/>
                  </a:lnTo>
                  <a:lnTo>
                    <a:pt x="32" y="221"/>
                  </a:lnTo>
                  <a:lnTo>
                    <a:pt x="32" y="219"/>
                  </a:lnTo>
                  <a:lnTo>
                    <a:pt x="32" y="217"/>
                  </a:lnTo>
                  <a:lnTo>
                    <a:pt x="30" y="215"/>
                  </a:lnTo>
                  <a:lnTo>
                    <a:pt x="30" y="213"/>
                  </a:lnTo>
                  <a:lnTo>
                    <a:pt x="28" y="211"/>
                  </a:lnTo>
                  <a:lnTo>
                    <a:pt x="28" y="209"/>
                  </a:lnTo>
                  <a:lnTo>
                    <a:pt x="28" y="207"/>
                  </a:lnTo>
                  <a:lnTo>
                    <a:pt x="26" y="207"/>
                  </a:lnTo>
                  <a:lnTo>
                    <a:pt x="26" y="205"/>
                  </a:lnTo>
                  <a:lnTo>
                    <a:pt x="24" y="201"/>
                  </a:lnTo>
                  <a:lnTo>
                    <a:pt x="24" y="199"/>
                  </a:lnTo>
                  <a:lnTo>
                    <a:pt x="22" y="197"/>
                  </a:lnTo>
                  <a:lnTo>
                    <a:pt x="20" y="193"/>
                  </a:lnTo>
                  <a:lnTo>
                    <a:pt x="20" y="189"/>
                  </a:lnTo>
                  <a:lnTo>
                    <a:pt x="18" y="189"/>
                  </a:lnTo>
                  <a:lnTo>
                    <a:pt x="18" y="189"/>
                  </a:lnTo>
                  <a:lnTo>
                    <a:pt x="18" y="187"/>
                  </a:lnTo>
                  <a:lnTo>
                    <a:pt x="16" y="185"/>
                  </a:lnTo>
                  <a:lnTo>
                    <a:pt x="16" y="183"/>
                  </a:lnTo>
                  <a:lnTo>
                    <a:pt x="14" y="181"/>
                  </a:lnTo>
                  <a:lnTo>
                    <a:pt x="14" y="179"/>
                  </a:lnTo>
                  <a:lnTo>
                    <a:pt x="14" y="177"/>
                  </a:lnTo>
                  <a:lnTo>
                    <a:pt x="12" y="177"/>
                  </a:lnTo>
                  <a:lnTo>
                    <a:pt x="12" y="175"/>
                  </a:lnTo>
                  <a:lnTo>
                    <a:pt x="10" y="173"/>
                  </a:lnTo>
                  <a:lnTo>
                    <a:pt x="10" y="171"/>
                  </a:lnTo>
                  <a:lnTo>
                    <a:pt x="10" y="169"/>
                  </a:lnTo>
                  <a:lnTo>
                    <a:pt x="10" y="167"/>
                  </a:lnTo>
                  <a:lnTo>
                    <a:pt x="10" y="165"/>
                  </a:lnTo>
                  <a:lnTo>
                    <a:pt x="8" y="163"/>
                  </a:lnTo>
                  <a:lnTo>
                    <a:pt x="8" y="161"/>
                  </a:lnTo>
                  <a:lnTo>
                    <a:pt x="8" y="159"/>
                  </a:lnTo>
                  <a:lnTo>
                    <a:pt x="6" y="159"/>
                  </a:lnTo>
                  <a:lnTo>
                    <a:pt x="6" y="157"/>
                  </a:lnTo>
                  <a:lnTo>
                    <a:pt x="6" y="155"/>
                  </a:lnTo>
                  <a:lnTo>
                    <a:pt x="4" y="155"/>
                  </a:lnTo>
                  <a:lnTo>
                    <a:pt x="4" y="153"/>
                  </a:lnTo>
                  <a:lnTo>
                    <a:pt x="4" y="151"/>
                  </a:lnTo>
                  <a:lnTo>
                    <a:pt x="2" y="149"/>
                  </a:lnTo>
                  <a:lnTo>
                    <a:pt x="2" y="147"/>
                  </a:lnTo>
                  <a:lnTo>
                    <a:pt x="2" y="145"/>
                  </a:lnTo>
                  <a:lnTo>
                    <a:pt x="0" y="145"/>
                  </a:lnTo>
                  <a:lnTo>
                    <a:pt x="0" y="143"/>
                  </a:lnTo>
                  <a:lnTo>
                    <a:pt x="0" y="143"/>
                  </a:lnTo>
                  <a:lnTo>
                    <a:pt x="2" y="141"/>
                  </a:lnTo>
                  <a:lnTo>
                    <a:pt x="2" y="139"/>
                  </a:lnTo>
                  <a:lnTo>
                    <a:pt x="2" y="137"/>
                  </a:lnTo>
                  <a:lnTo>
                    <a:pt x="4" y="137"/>
                  </a:lnTo>
                  <a:lnTo>
                    <a:pt x="4" y="135"/>
                  </a:lnTo>
                  <a:lnTo>
                    <a:pt x="4" y="133"/>
                  </a:lnTo>
                  <a:lnTo>
                    <a:pt x="6" y="133"/>
                  </a:lnTo>
                  <a:lnTo>
                    <a:pt x="6" y="131"/>
                  </a:lnTo>
                  <a:lnTo>
                    <a:pt x="6" y="129"/>
                  </a:lnTo>
                  <a:lnTo>
                    <a:pt x="8" y="129"/>
                  </a:lnTo>
                  <a:lnTo>
                    <a:pt x="8" y="127"/>
                  </a:lnTo>
                  <a:lnTo>
                    <a:pt x="8" y="125"/>
                  </a:lnTo>
                  <a:lnTo>
                    <a:pt x="10" y="125"/>
                  </a:lnTo>
                  <a:lnTo>
                    <a:pt x="10" y="123"/>
                  </a:lnTo>
                  <a:lnTo>
                    <a:pt x="10" y="121"/>
                  </a:lnTo>
                  <a:lnTo>
                    <a:pt x="10" y="121"/>
                  </a:lnTo>
                  <a:lnTo>
                    <a:pt x="10" y="119"/>
                  </a:lnTo>
                  <a:lnTo>
                    <a:pt x="10" y="117"/>
                  </a:lnTo>
                  <a:lnTo>
                    <a:pt x="12" y="115"/>
                  </a:lnTo>
                  <a:lnTo>
                    <a:pt x="12" y="113"/>
                  </a:lnTo>
                  <a:lnTo>
                    <a:pt x="14" y="113"/>
                  </a:lnTo>
                  <a:lnTo>
                    <a:pt x="14" y="111"/>
                  </a:lnTo>
                  <a:lnTo>
                    <a:pt x="14" y="109"/>
                  </a:lnTo>
                  <a:lnTo>
                    <a:pt x="16" y="107"/>
                  </a:lnTo>
                  <a:lnTo>
                    <a:pt x="16" y="105"/>
                  </a:lnTo>
                  <a:lnTo>
                    <a:pt x="18" y="105"/>
                  </a:lnTo>
                  <a:lnTo>
                    <a:pt x="18" y="103"/>
                  </a:lnTo>
                  <a:lnTo>
                    <a:pt x="18" y="101"/>
                  </a:lnTo>
                  <a:lnTo>
                    <a:pt x="20" y="99"/>
                  </a:lnTo>
                  <a:lnTo>
                    <a:pt x="20" y="97"/>
                  </a:lnTo>
                  <a:lnTo>
                    <a:pt x="22" y="95"/>
                  </a:lnTo>
                  <a:lnTo>
                    <a:pt x="22" y="95"/>
                  </a:lnTo>
                  <a:lnTo>
                    <a:pt x="24" y="93"/>
                  </a:lnTo>
                  <a:lnTo>
                    <a:pt x="24" y="90"/>
                  </a:lnTo>
                  <a:lnTo>
                    <a:pt x="26" y="88"/>
                  </a:lnTo>
                  <a:lnTo>
                    <a:pt x="26" y="86"/>
                  </a:lnTo>
                  <a:lnTo>
                    <a:pt x="28" y="84"/>
                  </a:lnTo>
                  <a:lnTo>
                    <a:pt x="28" y="82"/>
                  </a:lnTo>
                  <a:lnTo>
                    <a:pt x="30" y="80"/>
                  </a:lnTo>
                  <a:lnTo>
                    <a:pt x="32" y="74"/>
                  </a:lnTo>
                  <a:lnTo>
                    <a:pt x="34" y="72"/>
                  </a:lnTo>
                  <a:lnTo>
                    <a:pt x="34" y="70"/>
                  </a:lnTo>
                  <a:lnTo>
                    <a:pt x="34" y="68"/>
                  </a:lnTo>
                  <a:lnTo>
                    <a:pt x="36" y="68"/>
                  </a:lnTo>
                  <a:lnTo>
                    <a:pt x="36" y="66"/>
                  </a:lnTo>
                  <a:lnTo>
                    <a:pt x="36" y="64"/>
                  </a:lnTo>
                  <a:lnTo>
                    <a:pt x="38" y="62"/>
                  </a:lnTo>
                  <a:lnTo>
                    <a:pt x="38" y="60"/>
                  </a:lnTo>
                  <a:lnTo>
                    <a:pt x="40" y="58"/>
                  </a:lnTo>
                  <a:lnTo>
                    <a:pt x="40" y="56"/>
                  </a:lnTo>
                  <a:lnTo>
                    <a:pt x="40" y="54"/>
                  </a:lnTo>
                  <a:lnTo>
                    <a:pt x="42" y="54"/>
                  </a:lnTo>
                  <a:lnTo>
                    <a:pt x="42" y="52"/>
                  </a:lnTo>
                  <a:lnTo>
                    <a:pt x="42" y="50"/>
                  </a:lnTo>
                  <a:lnTo>
                    <a:pt x="44" y="48"/>
                  </a:lnTo>
                  <a:lnTo>
                    <a:pt x="44" y="46"/>
                  </a:lnTo>
                  <a:lnTo>
                    <a:pt x="46" y="46"/>
                  </a:lnTo>
                  <a:lnTo>
                    <a:pt x="48" y="44"/>
                  </a:lnTo>
                  <a:lnTo>
                    <a:pt x="48" y="42"/>
                  </a:lnTo>
                  <a:lnTo>
                    <a:pt x="48" y="40"/>
                  </a:lnTo>
                  <a:lnTo>
                    <a:pt x="50" y="40"/>
                  </a:lnTo>
                  <a:lnTo>
                    <a:pt x="50" y="38"/>
                  </a:lnTo>
                  <a:lnTo>
                    <a:pt x="50" y="36"/>
                  </a:lnTo>
                  <a:lnTo>
                    <a:pt x="52" y="36"/>
                  </a:lnTo>
                  <a:lnTo>
                    <a:pt x="52" y="34"/>
                  </a:lnTo>
                  <a:lnTo>
                    <a:pt x="52" y="32"/>
                  </a:lnTo>
                  <a:lnTo>
                    <a:pt x="54" y="30"/>
                  </a:lnTo>
                  <a:lnTo>
                    <a:pt x="54" y="28"/>
                  </a:lnTo>
                  <a:lnTo>
                    <a:pt x="56" y="26"/>
                  </a:lnTo>
                  <a:lnTo>
                    <a:pt x="56" y="24"/>
                  </a:lnTo>
                  <a:lnTo>
                    <a:pt x="58" y="22"/>
                  </a:lnTo>
                  <a:lnTo>
                    <a:pt x="58" y="20"/>
                  </a:lnTo>
                  <a:lnTo>
                    <a:pt x="60" y="18"/>
                  </a:lnTo>
                  <a:lnTo>
                    <a:pt x="60" y="16"/>
                  </a:lnTo>
                  <a:lnTo>
                    <a:pt x="60" y="14"/>
                  </a:lnTo>
                  <a:lnTo>
                    <a:pt x="60" y="14"/>
                  </a:lnTo>
                  <a:lnTo>
                    <a:pt x="60" y="12"/>
                  </a:lnTo>
                  <a:lnTo>
                    <a:pt x="60" y="10"/>
                  </a:lnTo>
                  <a:lnTo>
                    <a:pt x="62" y="10"/>
                  </a:lnTo>
                  <a:lnTo>
                    <a:pt x="62" y="8"/>
                  </a:lnTo>
                  <a:lnTo>
                    <a:pt x="62" y="6"/>
                  </a:lnTo>
                  <a:lnTo>
                    <a:pt x="64" y="6"/>
                  </a:lnTo>
                  <a:lnTo>
                    <a:pt x="64" y="4"/>
                  </a:lnTo>
                  <a:lnTo>
                    <a:pt x="66" y="2"/>
                  </a:lnTo>
                  <a:lnTo>
                    <a:pt x="66" y="0"/>
                  </a:lnTo>
                  <a:lnTo>
                    <a:pt x="68" y="0"/>
                  </a:lnTo>
                  <a:lnTo>
                    <a:pt x="70" y="2"/>
                  </a:lnTo>
                  <a:lnTo>
                    <a:pt x="72" y="2"/>
                  </a:lnTo>
                  <a:lnTo>
                    <a:pt x="74" y="4"/>
                  </a:lnTo>
                  <a:lnTo>
                    <a:pt x="76" y="4"/>
                  </a:lnTo>
                  <a:lnTo>
                    <a:pt x="78" y="4"/>
                  </a:lnTo>
                  <a:lnTo>
                    <a:pt x="78" y="6"/>
                  </a:lnTo>
                  <a:lnTo>
                    <a:pt x="80" y="6"/>
                  </a:lnTo>
                  <a:lnTo>
                    <a:pt x="82" y="8"/>
                  </a:lnTo>
                  <a:lnTo>
                    <a:pt x="84" y="8"/>
                  </a:lnTo>
                  <a:lnTo>
                    <a:pt x="86" y="10"/>
                  </a:lnTo>
                  <a:lnTo>
                    <a:pt x="88" y="10"/>
                  </a:lnTo>
                  <a:lnTo>
                    <a:pt x="90" y="10"/>
                  </a:lnTo>
                  <a:lnTo>
                    <a:pt x="90" y="12"/>
                  </a:lnTo>
                  <a:lnTo>
                    <a:pt x="92" y="12"/>
                  </a:lnTo>
                  <a:lnTo>
                    <a:pt x="94" y="12"/>
                  </a:lnTo>
                  <a:lnTo>
                    <a:pt x="94" y="14"/>
                  </a:lnTo>
                  <a:lnTo>
                    <a:pt x="96" y="14"/>
                  </a:lnTo>
                  <a:lnTo>
                    <a:pt x="98" y="14"/>
                  </a:lnTo>
                  <a:lnTo>
                    <a:pt x="100" y="16"/>
                  </a:lnTo>
                  <a:lnTo>
                    <a:pt x="102" y="16"/>
                  </a:lnTo>
                  <a:lnTo>
                    <a:pt x="104" y="18"/>
                  </a:lnTo>
                  <a:lnTo>
                    <a:pt x="106" y="18"/>
                  </a:lnTo>
                  <a:lnTo>
                    <a:pt x="108" y="18"/>
                  </a:lnTo>
                  <a:lnTo>
                    <a:pt x="108" y="20"/>
                  </a:lnTo>
                  <a:lnTo>
                    <a:pt x="108" y="20"/>
                  </a:lnTo>
                  <a:lnTo>
                    <a:pt x="110" y="20"/>
                  </a:lnTo>
                  <a:lnTo>
                    <a:pt x="110" y="22"/>
                  </a:lnTo>
                  <a:lnTo>
                    <a:pt x="112" y="22"/>
                  </a:lnTo>
                  <a:lnTo>
                    <a:pt x="114" y="22"/>
                  </a:lnTo>
                  <a:lnTo>
                    <a:pt x="116" y="24"/>
                  </a:lnTo>
                  <a:lnTo>
                    <a:pt x="118" y="24"/>
                  </a:lnTo>
                  <a:lnTo>
                    <a:pt x="120" y="24"/>
                  </a:lnTo>
                  <a:lnTo>
                    <a:pt x="120" y="26"/>
                  </a:lnTo>
                  <a:lnTo>
                    <a:pt x="122" y="26"/>
                  </a:lnTo>
                  <a:lnTo>
                    <a:pt x="124" y="26"/>
                  </a:lnTo>
                  <a:lnTo>
                    <a:pt x="124" y="28"/>
                  </a:lnTo>
                  <a:lnTo>
                    <a:pt x="126" y="28"/>
                  </a:lnTo>
                  <a:lnTo>
                    <a:pt x="128" y="28"/>
                  </a:lnTo>
                  <a:lnTo>
                    <a:pt x="130" y="30"/>
                  </a:lnTo>
                  <a:lnTo>
                    <a:pt x="132" y="30"/>
                  </a:lnTo>
                  <a:lnTo>
                    <a:pt x="134" y="30"/>
                  </a:lnTo>
                  <a:lnTo>
                    <a:pt x="134" y="32"/>
                  </a:lnTo>
                  <a:lnTo>
                    <a:pt x="136" y="32"/>
                  </a:lnTo>
                  <a:lnTo>
                    <a:pt x="138" y="32"/>
                  </a:lnTo>
                  <a:lnTo>
                    <a:pt x="140" y="34"/>
                  </a:lnTo>
                  <a:lnTo>
                    <a:pt x="142" y="34"/>
                  </a:lnTo>
                  <a:lnTo>
                    <a:pt x="144" y="36"/>
                  </a:lnTo>
                  <a:lnTo>
                    <a:pt x="146" y="36"/>
                  </a:lnTo>
                  <a:lnTo>
                    <a:pt x="148" y="38"/>
                  </a:lnTo>
                  <a:lnTo>
                    <a:pt x="150" y="38"/>
                  </a:lnTo>
                  <a:lnTo>
                    <a:pt x="152" y="38"/>
                  </a:lnTo>
                  <a:lnTo>
                    <a:pt x="152" y="40"/>
                  </a:lnTo>
                  <a:lnTo>
                    <a:pt x="154" y="40"/>
                  </a:lnTo>
                  <a:lnTo>
                    <a:pt x="156" y="40"/>
                  </a:lnTo>
                  <a:lnTo>
                    <a:pt x="156" y="42"/>
                  </a:lnTo>
                  <a:lnTo>
                    <a:pt x="156" y="42"/>
                  </a:lnTo>
                  <a:lnTo>
                    <a:pt x="158" y="42"/>
                  </a:lnTo>
                  <a:lnTo>
                    <a:pt x="160" y="42"/>
                  </a:lnTo>
                  <a:lnTo>
                    <a:pt x="160" y="44"/>
                  </a:lnTo>
                  <a:lnTo>
                    <a:pt x="162" y="44"/>
                  </a:lnTo>
                  <a:lnTo>
                    <a:pt x="164" y="44"/>
                  </a:lnTo>
                  <a:lnTo>
                    <a:pt x="164" y="46"/>
                  </a:lnTo>
                  <a:lnTo>
                    <a:pt x="166" y="46"/>
                  </a:lnTo>
                  <a:lnTo>
                    <a:pt x="168" y="46"/>
                  </a:lnTo>
                  <a:lnTo>
                    <a:pt x="170" y="46"/>
                  </a:lnTo>
                  <a:lnTo>
                    <a:pt x="172" y="46"/>
                  </a:lnTo>
                  <a:lnTo>
                    <a:pt x="174" y="46"/>
                  </a:lnTo>
                  <a:lnTo>
                    <a:pt x="174" y="48"/>
                  </a:lnTo>
                  <a:lnTo>
                    <a:pt x="176" y="48"/>
                  </a:lnTo>
                  <a:lnTo>
                    <a:pt x="178" y="48"/>
                  </a:lnTo>
                  <a:lnTo>
                    <a:pt x="178" y="50"/>
                  </a:lnTo>
                  <a:lnTo>
                    <a:pt x="180" y="50"/>
                  </a:lnTo>
                  <a:lnTo>
                    <a:pt x="182" y="50"/>
                  </a:lnTo>
                  <a:lnTo>
                    <a:pt x="184" y="50"/>
                  </a:lnTo>
                  <a:lnTo>
                    <a:pt x="184" y="52"/>
                  </a:lnTo>
                  <a:lnTo>
                    <a:pt x="186" y="52"/>
                  </a:lnTo>
                  <a:lnTo>
                    <a:pt x="188" y="52"/>
                  </a:lnTo>
                  <a:lnTo>
                    <a:pt x="188" y="54"/>
                  </a:lnTo>
                  <a:lnTo>
                    <a:pt x="190" y="54"/>
                  </a:lnTo>
                  <a:lnTo>
                    <a:pt x="192" y="54"/>
                  </a:lnTo>
                  <a:lnTo>
                    <a:pt x="192" y="56"/>
                  </a:lnTo>
                  <a:lnTo>
                    <a:pt x="194" y="56"/>
                  </a:lnTo>
                  <a:lnTo>
                    <a:pt x="196" y="56"/>
                  </a:lnTo>
                  <a:lnTo>
                    <a:pt x="198" y="56"/>
                  </a:lnTo>
                  <a:lnTo>
                    <a:pt x="198" y="58"/>
                  </a:lnTo>
                  <a:lnTo>
                    <a:pt x="200" y="58"/>
                  </a:lnTo>
                  <a:lnTo>
                    <a:pt x="202" y="58"/>
                  </a:lnTo>
                  <a:lnTo>
                    <a:pt x="204" y="60"/>
                  </a:lnTo>
                  <a:lnTo>
                    <a:pt x="204" y="60"/>
                  </a:lnTo>
                  <a:lnTo>
                    <a:pt x="206" y="60"/>
                  </a:lnTo>
                  <a:lnTo>
                    <a:pt x="206" y="62"/>
                  </a:lnTo>
                  <a:lnTo>
                    <a:pt x="208" y="62"/>
                  </a:lnTo>
                  <a:lnTo>
                    <a:pt x="210" y="62"/>
                  </a:lnTo>
                  <a:lnTo>
                    <a:pt x="210" y="64"/>
                  </a:lnTo>
                  <a:lnTo>
                    <a:pt x="212" y="64"/>
                  </a:lnTo>
                  <a:lnTo>
                    <a:pt x="214" y="64"/>
                  </a:lnTo>
                  <a:lnTo>
                    <a:pt x="218" y="66"/>
                  </a:lnTo>
                  <a:lnTo>
                    <a:pt x="220" y="66"/>
                  </a:lnTo>
                  <a:lnTo>
                    <a:pt x="220" y="68"/>
                  </a:lnTo>
                  <a:lnTo>
                    <a:pt x="222" y="68"/>
                  </a:lnTo>
                  <a:lnTo>
                    <a:pt x="224" y="68"/>
                  </a:lnTo>
                  <a:lnTo>
                    <a:pt x="226" y="68"/>
                  </a:lnTo>
                  <a:lnTo>
                    <a:pt x="226" y="70"/>
                  </a:lnTo>
                  <a:lnTo>
                    <a:pt x="228" y="70"/>
                  </a:lnTo>
                  <a:lnTo>
                    <a:pt x="230" y="70"/>
                  </a:lnTo>
                  <a:lnTo>
                    <a:pt x="232" y="72"/>
                  </a:lnTo>
                  <a:lnTo>
                    <a:pt x="234" y="72"/>
                  </a:lnTo>
                  <a:lnTo>
                    <a:pt x="236" y="72"/>
                  </a:lnTo>
                  <a:lnTo>
                    <a:pt x="236" y="74"/>
                  </a:lnTo>
                  <a:lnTo>
                    <a:pt x="240" y="74"/>
                  </a:lnTo>
                  <a:lnTo>
                    <a:pt x="242" y="74"/>
                  </a:lnTo>
                  <a:lnTo>
                    <a:pt x="242" y="76"/>
                  </a:lnTo>
                  <a:lnTo>
                    <a:pt x="244" y="76"/>
                  </a:lnTo>
                  <a:lnTo>
                    <a:pt x="246" y="76"/>
                  </a:lnTo>
                  <a:lnTo>
                    <a:pt x="248" y="78"/>
                  </a:lnTo>
                  <a:lnTo>
                    <a:pt x="250" y="78"/>
                  </a:lnTo>
                  <a:lnTo>
                    <a:pt x="252" y="78"/>
                  </a:lnTo>
                  <a:lnTo>
                    <a:pt x="252" y="80"/>
                  </a:lnTo>
                  <a:lnTo>
                    <a:pt x="252" y="80"/>
                  </a:lnTo>
                  <a:close/>
                </a:path>
              </a:pathLst>
            </a:custGeom>
            <a:solidFill>
              <a:srgbClr val="816767"/>
            </a:solidFill>
            <a:ln w="3175">
              <a:solidFill>
                <a:sysClr val="window" lastClr="FFFF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black"/>
                </a:solidFill>
                <a:effectLst/>
                <a:uLnTx/>
                <a:uFillTx/>
                <a:ea typeface="宋体" panose="02010600030101010101" pitchFamily="2" charset="-122"/>
              </a:endParaRPr>
            </a:p>
          </p:txBody>
        </p:sp>
        <p:sp>
          <p:nvSpPr>
            <p:cNvPr id="9" name="Freeform 3180">
              <a:extLst>
                <a:ext uri="{FF2B5EF4-FFF2-40B4-BE49-F238E27FC236}">
                  <a16:creationId xmlns:a16="http://schemas.microsoft.com/office/drawing/2014/main" id="{85D0979E-C340-D260-BDF1-F3CCA71931E1}"/>
                </a:ext>
              </a:extLst>
            </p:cNvPr>
            <p:cNvSpPr>
              <a:spLocks noEditPoints="1"/>
            </p:cNvSpPr>
            <p:nvPr/>
          </p:nvSpPr>
          <p:spPr bwMode="auto">
            <a:xfrm>
              <a:off x="3590925" y="2311400"/>
              <a:ext cx="547688" cy="492125"/>
            </a:xfrm>
            <a:custGeom>
              <a:avLst/>
              <a:gdLst>
                <a:gd name="T0" fmla="*/ 12 w 345"/>
                <a:gd name="T1" fmla="*/ 152 h 310"/>
                <a:gd name="T2" fmla="*/ 51 w 345"/>
                <a:gd name="T3" fmla="*/ 114 h 310"/>
                <a:gd name="T4" fmla="*/ 127 w 345"/>
                <a:gd name="T5" fmla="*/ 10 h 310"/>
                <a:gd name="T6" fmla="*/ 135 w 345"/>
                <a:gd name="T7" fmla="*/ 14 h 310"/>
                <a:gd name="T8" fmla="*/ 12 w 345"/>
                <a:gd name="T9" fmla="*/ 150 h 310"/>
                <a:gd name="T10" fmla="*/ 23 w 345"/>
                <a:gd name="T11" fmla="*/ 138 h 310"/>
                <a:gd name="T12" fmla="*/ 35 w 345"/>
                <a:gd name="T13" fmla="*/ 124 h 310"/>
                <a:gd name="T14" fmla="*/ 41 w 345"/>
                <a:gd name="T15" fmla="*/ 124 h 310"/>
                <a:gd name="T16" fmla="*/ 41 w 345"/>
                <a:gd name="T17" fmla="*/ 122 h 310"/>
                <a:gd name="T18" fmla="*/ 45 w 345"/>
                <a:gd name="T19" fmla="*/ 118 h 310"/>
                <a:gd name="T20" fmla="*/ 55 w 345"/>
                <a:gd name="T21" fmla="*/ 118 h 310"/>
                <a:gd name="T22" fmla="*/ 51 w 345"/>
                <a:gd name="T23" fmla="*/ 110 h 310"/>
                <a:gd name="T24" fmla="*/ 59 w 345"/>
                <a:gd name="T25" fmla="*/ 104 h 310"/>
                <a:gd name="T26" fmla="*/ 67 w 345"/>
                <a:gd name="T27" fmla="*/ 86 h 310"/>
                <a:gd name="T28" fmla="*/ 73 w 345"/>
                <a:gd name="T29" fmla="*/ 78 h 310"/>
                <a:gd name="T30" fmla="*/ 75 w 345"/>
                <a:gd name="T31" fmla="*/ 76 h 310"/>
                <a:gd name="T32" fmla="*/ 83 w 345"/>
                <a:gd name="T33" fmla="*/ 64 h 310"/>
                <a:gd name="T34" fmla="*/ 89 w 345"/>
                <a:gd name="T35" fmla="*/ 56 h 310"/>
                <a:gd name="T36" fmla="*/ 93 w 345"/>
                <a:gd name="T37" fmla="*/ 48 h 310"/>
                <a:gd name="T38" fmla="*/ 97 w 345"/>
                <a:gd name="T39" fmla="*/ 38 h 310"/>
                <a:gd name="T40" fmla="*/ 101 w 345"/>
                <a:gd name="T41" fmla="*/ 34 h 310"/>
                <a:gd name="T42" fmla="*/ 107 w 345"/>
                <a:gd name="T43" fmla="*/ 22 h 310"/>
                <a:gd name="T44" fmla="*/ 115 w 345"/>
                <a:gd name="T45" fmla="*/ 8 h 310"/>
                <a:gd name="T46" fmla="*/ 119 w 345"/>
                <a:gd name="T47" fmla="*/ 6 h 310"/>
                <a:gd name="T48" fmla="*/ 123 w 345"/>
                <a:gd name="T49" fmla="*/ 8 h 310"/>
                <a:gd name="T50" fmla="*/ 135 w 345"/>
                <a:gd name="T51" fmla="*/ 14 h 310"/>
                <a:gd name="T52" fmla="*/ 147 w 345"/>
                <a:gd name="T53" fmla="*/ 28 h 310"/>
                <a:gd name="T54" fmla="*/ 145 w 345"/>
                <a:gd name="T55" fmla="*/ 54 h 310"/>
                <a:gd name="T56" fmla="*/ 165 w 345"/>
                <a:gd name="T57" fmla="*/ 64 h 310"/>
                <a:gd name="T58" fmla="*/ 189 w 345"/>
                <a:gd name="T59" fmla="*/ 70 h 310"/>
                <a:gd name="T60" fmla="*/ 209 w 345"/>
                <a:gd name="T61" fmla="*/ 80 h 310"/>
                <a:gd name="T62" fmla="*/ 233 w 345"/>
                <a:gd name="T63" fmla="*/ 86 h 310"/>
                <a:gd name="T64" fmla="*/ 257 w 345"/>
                <a:gd name="T65" fmla="*/ 90 h 310"/>
                <a:gd name="T66" fmla="*/ 281 w 345"/>
                <a:gd name="T67" fmla="*/ 98 h 310"/>
                <a:gd name="T68" fmla="*/ 303 w 345"/>
                <a:gd name="T69" fmla="*/ 108 h 310"/>
                <a:gd name="T70" fmla="*/ 329 w 345"/>
                <a:gd name="T71" fmla="*/ 118 h 310"/>
                <a:gd name="T72" fmla="*/ 341 w 345"/>
                <a:gd name="T73" fmla="*/ 134 h 310"/>
                <a:gd name="T74" fmla="*/ 337 w 345"/>
                <a:gd name="T75" fmla="*/ 154 h 310"/>
                <a:gd name="T76" fmla="*/ 325 w 345"/>
                <a:gd name="T77" fmla="*/ 168 h 310"/>
                <a:gd name="T78" fmla="*/ 311 w 345"/>
                <a:gd name="T79" fmla="*/ 180 h 310"/>
                <a:gd name="T80" fmla="*/ 295 w 345"/>
                <a:gd name="T81" fmla="*/ 194 h 310"/>
                <a:gd name="T82" fmla="*/ 303 w 345"/>
                <a:gd name="T83" fmla="*/ 208 h 310"/>
                <a:gd name="T84" fmla="*/ 291 w 345"/>
                <a:gd name="T85" fmla="*/ 222 h 310"/>
                <a:gd name="T86" fmla="*/ 279 w 345"/>
                <a:gd name="T87" fmla="*/ 256 h 310"/>
                <a:gd name="T88" fmla="*/ 269 w 345"/>
                <a:gd name="T89" fmla="*/ 280 h 310"/>
                <a:gd name="T90" fmla="*/ 255 w 345"/>
                <a:gd name="T91" fmla="*/ 310 h 310"/>
                <a:gd name="T92" fmla="*/ 235 w 345"/>
                <a:gd name="T93" fmla="*/ 302 h 310"/>
                <a:gd name="T94" fmla="*/ 207 w 345"/>
                <a:gd name="T95" fmla="*/ 292 h 310"/>
                <a:gd name="T96" fmla="*/ 187 w 345"/>
                <a:gd name="T97" fmla="*/ 282 h 310"/>
                <a:gd name="T98" fmla="*/ 161 w 345"/>
                <a:gd name="T99" fmla="*/ 270 h 310"/>
                <a:gd name="T100" fmla="*/ 137 w 345"/>
                <a:gd name="T101" fmla="*/ 260 h 310"/>
                <a:gd name="T102" fmla="*/ 113 w 345"/>
                <a:gd name="T103" fmla="*/ 248 h 310"/>
                <a:gd name="T104" fmla="*/ 93 w 345"/>
                <a:gd name="T105" fmla="*/ 236 h 310"/>
                <a:gd name="T106" fmla="*/ 69 w 345"/>
                <a:gd name="T107" fmla="*/ 222 h 310"/>
                <a:gd name="T108" fmla="*/ 49 w 345"/>
                <a:gd name="T109" fmla="*/ 214 h 310"/>
                <a:gd name="T110" fmla="*/ 25 w 345"/>
                <a:gd name="T111" fmla="*/ 202 h 310"/>
                <a:gd name="T112" fmla="*/ 4 w 345"/>
                <a:gd name="T113" fmla="*/ 190 h 310"/>
                <a:gd name="T114" fmla="*/ 2 w 345"/>
                <a:gd name="T115" fmla="*/ 178 h 310"/>
                <a:gd name="T116" fmla="*/ 8 w 345"/>
                <a:gd name="T117" fmla="*/ 166 h 310"/>
                <a:gd name="T118" fmla="*/ 135 w 345"/>
                <a:gd name="T119" fmla="*/ 12 h 310"/>
                <a:gd name="T120" fmla="*/ 131 w 345"/>
                <a:gd name="T121" fmla="*/ 12 h 310"/>
                <a:gd name="T122" fmla="*/ 133 w 345"/>
                <a:gd name="T123" fmla="*/ 12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45" h="310">
                  <a:moveTo>
                    <a:pt x="0" y="186"/>
                  </a:moveTo>
                  <a:lnTo>
                    <a:pt x="2" y="186"/>
                  </a:lnTo>
                  <a:lnTo>
                    <a:pt x="0" y="186"/>
                  </a:lnTo>
                  <a:close/>
                  <a:moveTo>
                    <a:pt x="2" y="180"/>
                  </a:moveTo>
                  <a:lnTo>
                    <a:pt x="0" y="180"/>
                  </a:lnTo>
                  <a:lnTo>
                    <a:pt x="2" y="180"/>
                  </a:lnTo>
                  <a:close/>
                  <a:moveTo>
                    <a:pt x="4" y="164"/>
                  </a:moveTo>
                  <a:lnTo>
                    <a:pt x="6" y="164"/>
                  </a:lnTo>
                  <a:lnTo>
                    <a:pt x="4" y="164"/>
                  </a:lnTo>
                  <a:close/>
                  <a:moveTo>
                    <a:pt x="12" y="154"/>
                  </a:moveTo>
                  <a:lnTo>
                    <a:pt x="10" y="154"/>
                  </a:lnTo>
                  <a:lnTo>
                    <a:pt x="12" y="154"/>
                  </a:lnTo>
                  <a:close/>
                  <a:moveTo>
                    <a:pt x="12" y="152"/>
                  </a:moveTo>
                  <a:lnTo>
                    <a:pt x="12" y="150"/>
                  </a:lnTo>
                  <a:lnTo>
                    <a:pt x="12" y="152"/>
                  </a:lnTo>
                  <a:close/>
                  <a:moveTo>
                    <a:pt x="41" y="128"/>
                  </a:moveTo>
                  <a:lnTo>
                    <a:pt x="41" y="126"/>
                  </a:lnTo>
                  <a:lnTo>
                    <a:pt x="41" y="128"/>
                  </a:lnTo>
                  <a:close/>
                  <a:moveTo>
                    <a:pt x="41" y="128"/>
                  </a:moveTo>
                  <a:lnTo>
                    <a:pt x="41" y="126"/>
                  </a:lnTo>
                  <a:lnTo>
                    <a:pt x="41" y="128"/>
                  </a:lnTo>
                  <a:close/>
                  <a:moveTo>
                    <a:pt x="39" y="126"/>
                  </a:moveTo>
                  <a:lnTo>
                    <a:pt x="41" y="126"/>
                  </a:lnTo>
                  <a:lnTo>
                    <a:pt x="39" y="126"/>
                  </a:lnTo>
                  <a:close/>
                  <a:moveTo>
                    <a:pt x="53" y="118"/>
                  </a:moveTo>
                  <a:lnTo>
                    <a:pt x="53" y="116"/>
                  </a:lnTo>
                  <a:lnTo>
                    <a:pt x="53" y="118"/>
                  </a:lnTo>
                  <a:close/>
                  <a:moveTo>
                    <a:pt x="51" y="114"/>
                  </a:moveTo>
                  <a:lnTo>
                    <a:pt x="49" y="114"/>
                  </a:lnTo>
                  <a:lnTo>
                    <a:pt x="51" y="114"/>
                  </a:lnTo>
                  <a:close/>
                  <a:moveTo>
                    <a:pt x="51" y="114"/>
                  </a:moveTo>
                  <a:lnTo>
                    <a:pt x="51" y="112"/>
                  </a:lnTo>
                  <a:lnTo>
                    <a:pt x="51" y="114"/>
                  </a:lnTo>
                  <a:close/>
                  <a:moveTo>
                    <a:pt x="121" y="12"/>
                  </a:moveTo>
                  <a:lnTo>
                    <a:pt x="121" y="10"/>
                  </a:lnTo>
                  <a:lnTo>
                    <a:pt x="121" y="12"/>
                  </a:lnTo>
                  <a:close/>
                  <a:moveTo>
                    <a:pt x="125" y="12"/>
                  </a:moveTo>
                  <a:lnTo>
                    <a:pt x="125" y="10"/>
                  </a:lnTo>
                  <a:lnTo>
                    <a:pt x="125" y="12"/>
                  </a:lnTo>
                  <a:close/>
                  <a:moveTo>
                    <a:pt x="125" y="10"/>
                  </a:moveTo>
                  <a:lnTo>
                    <a:pt x="125" y="12"/>
                  </a:lnTo>
                  <a:lnTo>
                    <a:pt x="125" y="10"/>
                  </a:lnTo>
                  <a:close/>
                  <a:moveTo>
                    <a:pt x="127" y="10"/>
                  </a:moveTo>
                  <a:lnTo>
                    <a:pt x="127" y="12"/>
                  </a:lnTo>
                  <a:lnTo>
                    <a:pt x="127" y="10"/>
                  </a:lnTo>
                  <a:lnTo>
                    <a:pt x="125" y="10"/>
                  </a:lnTo>
                  <a:lnTo>
                    <a:pt x="127" y="10"/>
                  </a:lnTo>
                  <a:lnTo>
                    <a:pt x="125" y="10"/>
                  </a:lnTo>
                  <a:lnTo>
                    <a:pt x="127" y="10"/>
                  </a:lnTo>
                  <a:close/>
                  <a:moveTo>
                    <a:pt x="125" y="10"/>
                  </a:moveTo>
                  <a:lnTo>
                    <a:pt x="127" y="10"/>
                  </a:lnTo>
                  <a:lnTo>
                    <a:pt x="125" y="10"/>
                  </a:lnTo>
                  <a:close/>
                  <a:moveTo>
                    <a:pt x="125" y="10"/>
                  </a:moveTo>
                  <a:lnTo>
                    <a:pt x="125" y="8"/>
                  </a:lnTo>
                  <a:lnTo>
                    <a:pt x="125" y="10"/>
                  </a:lnTo>
                  <a:close/>
                  <a:moveTo>
                    <a:pt x="135" y="16"/>
                  </a:moveTo>
                  <a:lnTo>
                    <a:pt x="137" y="16"/>
                  </a:lnTo>
                  <a:lnTo>
                    <a:pt x="135" y="18"/>
                  </a:lnTo>
                  <a:lnTo>
                    <a:pt x="135" y="16"/>
                  </a:lnTo>
                  <a:lnTo>
                    <a:pt x="135" y="14"/>
                  </a:lnTo>
                  <a:lnTo>
                    <a:pt x="135" y="16"/>
                  </a:lnTo>
                  <a:close/>
                  <a:moveTo>
                    <a:pt x="129" y="10"/>
                  </a:moveTo>
                  <a:lnTo>
                    <a:pt x="127" y="10"/>
                  </a:lnTo>
                  <a:lnTo>
                    <a:pt x="127" y="12"/>
                  </a:lnTo>
                  <a:lnTo>
                    <a:pt x="127" y="10"/>
                  </a:lnTo>
                  <a:lnTo>
                    <a:pt x="127" y="12"/>
                  </a:lnTo>
                  <a:lnTo>
                    <a:pt x="127" y="10"/>
                  </a:lnTo>
                  <a:lnTo>
                    <a:pt x="129" y="10"/>
                  </a:lnTo>
                  <a:lnTo>
                    <a:pt x="127" y="10"/>
                  </a:lnTo>
                  <a:lnTo>
                    <a:pt x="129" y="10"/>
                  </a:lnTo>
                  <a:close/>
                  <a:moveTo>
                    <a:pt x="127" y="10"/>
                  </a:moveTo>
                  <a:lnTo>
                    <a:pt x="129" y="10"/>
                  </a:lnTo>
                  <a:lnTo>
                    <a:pt x="127" y="10"/>
                  </a:lnTo>
                  <a:close/>
                  <a:moveTo>
                    <a:pt x="12" y="152"/>
                  </a:moveTo>
                  <a:lnTo>
                    <a:pt x="12" y="150"/>
                  </a:lnTo>
                  <a:lnTo>
                    <a:pt x="12" y="148"/>
                  </a:lnTo>
                  <a:lnTo>
                    <a:pt x="15" y="148"/>
                  </a:lnTo>
                  <a:lnTo>
                    <a:pt x="12" y="148"/>
                  </a:lnTo>
                  <a:lnTo>
                    <a:pt x="12" y="146"/>
                  </a:lnTo>
                  <a:lnTo>
                    <a:pt x="12" y="144"/>
                  </a:lnTo>
                  <a:lnTo>
                    <a:pt x="12" y="146"/>
                  </a:lnTo>
                  <a:lnTo>
                    <a:pt x="15" y="146"/>
                  </a:lnTo>
                  <a:lnTo>
                    <a:pt x="15" y="144"/>
                  </a:lnTo>
                  <a:lnTo>
                    <a:pt x="17" y="144"/>
                  </a:lnTo>
                  <a:lnTo>
                    <a:pt x="17" y="142"/>
                  </a:lnTo>
                  <a:lnTo>
                    <a:pt x="19" y="142"/>
                  </a:lnTo>
                  <a:lnTo>
                    <a:pt x="19" y="140"/>
                  </a:lnTo>
                  <a:lnTo>
                    <a:pt x="21" y="140"/>
                  </a:lnTo>
                  <a:lnTo>
                    <a:pt x="21" y="138"/>
                  </a:lnTo>
                  <a:lnTo>
                    <a:pt x="23" y="138"/>
                  </a:lnTo>
                  <a:lnTo>
                    <a:pt x="23" y="136"/>
                  </a:lnTo>
                  <a:lnTo>
                    <a:pt x="25" y="136"/>
                  </a:lnTo>
                  <a:lnTo>
                    <a:pt x="25" y="134"/>
                  </a:lnTo>
                  <a:lnTo>
                    <a:pt x="27" y="134"/>
                  </a:lnTo>
                  <a:lnTo>
                    <a:pt x="27" y="132"/>
                  </a:lnTo>
                  <a:lnTo>
                    <a:pt x="29" y="132"/>
                  </a:lnTo>
                  <a:lnTo>
                    <a:pt x="29" y="130"/>
                  </a:lnTo>
                  <a:lnTo>
                    <a:pt x="31" y="130"/>
                  </a:lnTo>
                  <a:lnTo>
                    <a:pt x="31" y="128"/>
                  </a:lnTo>
                  <a:lnTo>
                    <a:pt x="31" y="126"/>
                  </a:lnTo>
                  <a:lnTo>
                    <a:pt x="33" y="126"/>
                  </a:lnTo>
                  <a:lnTo>
                    <a:pt x="33" y="124"/>
                  </a:lnTo>
                  <a:lnTo>
                    <a:pt x="33" y="126"/>
                  </a:lnTo>
                  <a:lnTo>
                    <a:pt x="35" y="126"/>
                  </a:lnTo>
                  <a:lnTo>
                    <a:pt x="35" y="124"/>
                  </a:lnTo>
                  <a:lnTo>
                    <a:pt x="35" y="126"/>
                  </a:lnTo>
                  <a:lnTo>
                    <a:pt x="35" y="128"/>
                  </a:lnTo>
                  <a:lnTo>
                    <a:pt x="33" y="128"/>
                  </a:lnTo>
                  <a:lnTo>
                    <a:pt x="35" y="128"/>
                  </a:lnTo>
                  <a:lnTo>
                    <a:pt x="33" y="128"/>
                  </a:lnTo>
                  <a:lnTo>
                    <a:pt x="35" y="128"/>
                  </a:lnTo>
                  <a:lnTo>
                    <a:pt x="33" y="128"/>
                  </a:lnTo>
                  <a:lnTo>
                    <a:pt x="35" y="128"/>
                  </a:lnTo>
                  <a:lnTo>
                    <a:pt x="35" y="126"/>
                  </a:lnTo>
                  <a:lnTo>
                    <a:pt x="37" y="126"/>
                  </a:lnTo>
                  <a:lnTo>
                    <a:pt x="35" y="126"/>
                  </a:lnTo>
                  <a:lnTo>
                    <a:pt x="37" y="126"/>
                  </a:lnTo>
                  <a:lnTo>
                    <a:pt x="37" y="124"/>
                  </a:lnTo>
                  <a:lnTo>
                    <a:pt x="39" y="124"/>
                  </a:lnTo>
                  <a:lnTo>
                    <a:pt x="41" y="124"/>
                  </a:lnTo>
                  <a:lnTo>
                    <a:pt x="39" y="124"/>
                  </a:lnTo>
                  <a:lnTo>
                    <a:pt x="41" y="124"/>
                  </a:lnTo>
                  <a:lnTo>
                    <a:pt x="39" y="124"/>
                  </a:lnTo>
                  <a:lnTo>
                    <a:pt x="41" y="124"/>
                  </a:lnTo>
                  <a:lnTo>
                    <a:pt x="41" y="126"/>
                  </a:lnTo>
                  <a:lnTo>
                    <a:pt x="39" y="126"/>
                  </a:lnTo>
                  <a:lnTo>
                    <a:pt x="41" y="126"/>
                  </a:lnTo>
                  <a:lnTo>
                    <a:pt x="41" y="128"/>
                  </a:lnTo>
                  <a:lnTo>
                    <a:pt x="41" y="126"/>
                  </a:lnTo>
                  <a:lnTo>
                    <a:pt x="41" y="124"/>
                  </a:lnTo>
                  <a:lnTo>
                    <a:pt x="43" y="124"/>
                  </a:lnTo>
                  <a:lnTo>
                    <a:pt x="43" y="122"/>
                  </a:lnTo>
                  <a:lnTo>
                    <a:pt x="41" y="122"/>
                  </a:lnTo>
                  <a:lnTo>
                    <a:pt x="41" y="124"/>
                  </a:lnTo>
                  <a:lnTo>
                    <a:pt x="41" y="122"/>
                  </a:lnTo>
                  <a:lnTo>
                    <a:pt x="41" y="124"/>
                  </a:lnTo>
                  <a:lnTo>
                    <a:pt x="39" y="124"/>
                  </a:lnTo>
                  <a:lnTo>
                    <a:pt x="37" y="124"/>
                  </a:lnTo>
                  <a:lnTo>
                    <a:pt x="35" y="124"/>
                  </a:lnTo>
                  <a:lnTo>
                    <a:pt x="35" y="126"/>
                  </a:lnTo>
                  <a:lnTo>
                    <a:pt x="35" y="124"/>
                  </a:lnTo>
                  <a:lnTo>
                    <a:pt x="37" y="124"/>
                  </a:lnTo>
                  <a:lnTo>
                    <a:pt x="37" y="122"/>
                  </a:lnTo>
                  <a:lnTo>
                    <a:pt x="39" y="122"/>
                  </a:lnTo>
                  <a:lnTo>
                    <a:pt x="41" y="122"/>
                  </a:lnTo>
                  <a:lnTo>
                    <a:pt x="41" y="120"/>
                  </a:lnTo>
                  <a:lnTo>
                    <a:pt x="43" y="120"/>
                  </a:lnTo>
                  <a:lnTo>
                    <a:pt x="43" y="118"/>
                  </a:lnTo>
                  <a:lnTo>
                    <a:pt x="45" y="118"/>
                  </a:lnTo>
                  <a:lnTo>
                    <a:pt x="45" y="118"/>
                  </a:lnTo>
                  <a:lnTo>
                    <a:pt x="45" y="118"/>
                  </a:lnTo>
                  <a:lnTo>
                    <a:pt x="45" y="116"/>
                  </a:lnTo>
                  <a:lnTo>
                    <a:pt x="45" y="114"/>
                  </a:lnTo>
                  <a:lnTo>
                    <a:pt x="47" y="114"/>
                  </a:lnTo>
                  <a:lnTo>
                    <a:pt x="47" y="116"/>
                  </a:lnTo>
                  <a:lnTo>
                    <a:pt x="47" y="114"/>
                  </a:lnTo>
                  <a:lnTo>
                    <a:pt x="49" y="114"/>
                  </a:lnTo>
                  <a:lnTo>
                    <a:pt x="49" y="112"/>
                  </a:lnTo>
                  <a:lnTo>
                    <a:pt x="49" y="114"/>
                  </a:lnTo>
                  <a:lnTo>
                    <a:pt x="51" y="114"/>
                  </a:lnTo>
                  <a:lnTo>
                    <a:pt x="51" y="116"/>
                  </a:lnTo>
                  <a:lnTo>
                    <a:pt x="53" y="116"/>
                  </a:lnTo>
                  <a:lnTo>
                    <a:pt x="53" y="118"/>
                  </a:lnTo>
                  <a:lnTo>
                    <a:pt x="55" y="118"/>
                  </a:lnTo>
                  <a:lnTo>
                    <a:pt x="55" y="118"/>
                  </a:lnTo>
                  <a:lnTo>
                    <a:pt x="55" y="118"/>
                  </a:lnTo>
                  <a:lnTo>
                    <a:pt x="53" y="118"/>
                  </a:lnTo>
                  <a:lnTo>
                    <a:pt x="53" y="116"/>
                  </a:lnTo>
                  <a:lnTo>
                    <a:pt x="51" y="116"/>
                  </a:lnTo>
                  <a:lnTo>
                    <a:pt x="51" y="114"/>
                  </a:lnTo>
                  <a:lnTo>
                    <a:pt x="51" y="112"/>
                  </a:lnTo>
                  <a:lnTo>
                    <a:pt x="49" y="112"/>
                  </a:lnTo>
                  <a:lnTo>
                    <a:pt x="49" y="114"/>
                  </a:lnTo>
                  <a:lnTo>
                    <a:pt x="47" y="114"/>
                  </a:lnTo>
                  <a:lnTo>
                    <a:pt x="45" y="114"/>
                  </a:lnTo>
                  <a:lnTo>
                    <a:pt x="47" y="114"/>
                  </a:lnTo>
                  <a:lnTo>
                    <a:pt x="47" y="112"/>
                  </a:lnTo>
                  <a:lnTo>
                    <a:pt x="49" y="112"/>
                  </a:lnTo>
                  <a:lnTo>
                    <a:pt x="49" y="110"/>
                  </a:lnTo>
                  <a:lnTo>
                    <a:pt x="51" y="110"/>
                  </a:lnTo>
                  <a:lnTo>
                    <a:pt x="51" y="108"/>
                  </a:lnTo>
                  <a:lnTo>
                    <a:pt x="53" y="108"/>
                  </a:lnTo>
                  <a:lnTo>
                    <a:pt x="53" y="106"/>
                  </a:lnTo>
                  <a:lnTo>
                    <a:pt x="53" y="104"/>
                  </a:lnTo>
                  <a:lnTo>
                    <a:pt x="55" y="104"/>
                  </a:lnTo>
                  <a:lnTo>
                    <a:pt x="55" y="102"/>
                  </a:lnTo>
                  <a:lnTo>
                    <a:pt x="57" y="102"/>
                  </a:lnTo>
                  <a:lnTo>
                    <a:pt x="57" y="100"/>
                  </a:lnTo>
                  <a:lnTo>
                    <a:pt x="57" y="102"/>
                  </a:lnTo>
                  <a:lnTo>
                    <a:pt x="57" y="104"/>
                  </a:lnTo>
                  <a:lnTo>
                    <a:pt x="57" y="102"/>
                  </a:lnTo>
                  <a:lnTo>
                    <a:pt x="57" y="104"/>
                  </a:lnTo>
                  <a:lnTo>
                    <a:pt x="59" y="104"/>
                  </a:lnTo>
                  <a:lnTo>
                    <a:pt x="59" y="102"/>
                  </a:lnTo>
                  <a:lnTo>
                    <a:pt x="59" y="104"/>
                  </a:lnTo>
                  <a:lnTo>
                    <a:pt x="59" y="102"/>
                  </a:lnTo>
                  <a:lnTo>
                    <a:pt x="57" y="102"/>
                  </a:lnTo>
                  <a:lnTo>
                    <a:pt x="57" y="100"/>
                  </a:lnTo>
                  <a:lnTo>
                    <a:pt x="57" y="98"/>
                  </a:lnTo>
                  <a:lnTo>
                    <a:pt x="59" y="98"/>
                  </a:lnTo>
                  <a:lnTo>
                    <a:pt x="59" y="96"/>
                  </a:lnTo>
                  <a:lnTo>
                    <a:pt x="61" y="96"/>
                  </a:lnTo>
                  <a:lnTo>
                    <a:pt x="61" y="94"/>
                  </a:lnTo>
                  <a:lnTo>
                    <a:pt x="61" y="92"/>
                  </a:lnTo>
                  <a:lnTo>
                    <a:pt x="63" y="92"/>
                  </a:lnTo>
                  <a:lnTo>
                    <a:pt x="63" y="90"/>
                  </a:lnTo>
                  <a:lnTo>
                    <a:pt x="65" y="90"/>
                  </a:lnTo>
                  <a:lnTo>
                    <a:pt x="65" y="88"/>
                  </a:lnTo>
                  <a:lnTo>
                    <a:pt x="65" y="86"/>
                  </a:lnTo>
                  <a:lnTo>
                    <a:pt x="67" y="86"/>
                  </a:lnTo>
                  <a:lnTo>
                    <a:pt x="65" y="86"/>
                  </a:lnTo>
                  <a:lnTo>
                    <a:pt x="67" y="86"/>
                  </a:lnTo>
                  <a:lnTo>
                    <a:pt x="67" y="84"/>
                  </a:lnTo>
                  <a:lnTo>
                    <a:pt x="69" y="84"/>
                  </a:lnTo>
                  <a:lnTo>
                    <a:pt x="69" y="82"/>
                  </a:lnTo>
                  <a:lnTo>
                    <a:pt x="71" y="82"/>
                  </a:lnTo>
                  <a:lnTo>
                    <a:pt x="71" y="84"/>
                  </a:lnTo>
                  <a:lnTo>
                    <a:pt x="71" y="82"/>
                  </a:lnTo>
                  <a:lnTo>
                    <a:pt x="71" y="84"/>
                  </a:lnTo>
                  <a:lnTo>
                    <a:pt x="71" y="82"/>
                  </a:lnTo>
                  <a:lnTo>
                    <a:pt x="69" y="82"/>
                  </a:lnTo>
                  <a:lnTo>
                    <a:pt x="69" y="80"/>
                  </a:lnTo>
                  <a:lnTo>
                    <a:pt x="71" y="80"/>
                  </a:lnTo>
                  <a:lnTo>
                    <a:pt x="71" y="78"/>
                  </a:lnTo>
                  <a:lnTo>
                    <a:pt x="73" y="78"/>
                  </a:lnTo>
                  <a:lnTo>
                    <a:pt x="73" y="76"/>
                  </a:lnTo>
                  <a:lnTo>
                    <a:pt x="73" y="74"/>
                  </a:lnTo>
                  <a:lnTo>
                    <a:pt x="75" y="74"/>
                  </a:lnTo>
                  <a:lnTo>
                    <a:pt x="75" y="72"/>
                  </a:lnTo>
                  <a:lnTo>
                    <a:pt x="77" y="72"/>
                  </a:lnTo>
                  <a:lnTo>
                    <a:pt x="77" y="74"/>
                  </a:lnTo>
                  <a:lnTo>
                    <a:pt x="75" y="74"/>
                  </a:lnTo>
                  <a:lnTo>
                    <a:pt x="77" y="74"/>
                  </a:lnTo>
                  <a:lnTo>
                    <a:pt x="75" y="74"/>
                  </a:lnTo>
                  <a:lnTo>
                    <a:pt x="77" y="74"/>
                  </a:lnTo>
                  <a:lnTo>
                    <a:pt x="75" y="76"/>
                  </a:lnTo>
                  <a:lnTo>
                    <a:pt x="77" y="76"/>
                  </a:lnTo>
                  <a:lnTo>
                    <a:pt x="79" y="76"/>
                  </a:lnTo>
                  <a:lnTo>
                    <a:pt x="77" y="76"/>
                  </a:lnTo>
                  <a:lnTo>
                    <a:pt x="75" y="76"/>
                  </a:lnTo>
                  <a:lnTo>
                    <a:pt x="77" y="76"/>
                  </a:lnTo>
                  <a:lnTo>
                    <a:pt x="77" y="74"/>
                  </a:lnTo>
                  <a:lnTo>
                    <a:pt x="77" y="72"/>
                  </a:lnTo>
                  <a:lnTo>
                    <a:pt x="75" y="72"/>
                  </a:lnTo>
                  <a:lnTo>
                    <a:pt x="77" y="72"/>
                  </a:lnTo>
                  <a:lnTo>
                    <a:pt x="77" y="70"/>
                  </a:lnTo>
                  <a:lnTo>
                    <a:pt x="77" y="70"/>
                  </a:lnTo>
                  <a:lnTo>
                    <a:pt x="79" y="70"/>
                  </a:lnTo>
                  <a:lnTo>
                    <a:pt x="79" y="68"/>
                  </a:lnTo>
                  <a:lnTo>
                    <a:pt x="79" y="66"/>
                  </a:lnTo>
                  <a:lnTo>
                    <a:pt x="81" y="66"/>
                  </a:lnTo>
                  <a:lnTo>
                    <a:pt x="81" y="64"/>
                  </a:lnTo>
                  <a:lnTo>
                    <a:pt x="81" y="66"/>
                  </a:lnTo>
                  <a:lnTo>
                    <a:pt x="81" y="64"/>
                  </a:lnTo>
                  <a:lnTo>
                    <a:pt x="83" y="64"/>
                  </a:lnTo>
                  <a:lnTo>
                    <a:pt x="83" y="62"/>
                  </a:lnTo>
                  <a:lnTo>
                    <a:pt x="85" y="62"/>
                  </a:lnTo>
                  <a:lnTo>
                    <a:pt x="83" y="62"/>
                  </a:lnTo>
                  <a:lnTo>
                    <a:pt x="85" y="62"/>
                  </a:lnTo>
                  <a:lnTo>
                    <a:pt x="85" y="60"/>
                  </a:lnTo>
                  <a:lnTo>
                    <a:pt x="87" y="60"/>
                  </a:lnTo>
                  <a:lnTo>
                    <a:pt x="87" y="58"/>
                  </a:lnTo>
                  <a:lnTo>
                    <a:pt x="87" y="56"/>
                  </a:lnTo>
                  <a:lnTo>
                    <a:pt x="89" y="56"/>
                  </a:lnTo>
                  <a:lnTo>
                    <a:pt x="89" y="58"/>
                  </a:lnTo>
                  <a:lnTo>
                    <a:pt x="89" y="56"/>
                  </a:lnTo>
                  <a:lnTo>
                    <a:pt x="87" y="56"/>
                  </a:lnTo>
                  <a:lnTo>
                    <a:pt x="89" y="56"/>
                  </a:lnTo>
                  <a:lnTo>
                    <a:pt x="87" y="56"/>
                  </a:lnTo>
                  <a:lnTo>
                    <a:pt x="89" y="56"/>
                  </a:lnTo>
                  <a:lnTo>
                    <a:pt x="89" y="54"/>
                  </a:lnTo>
                  <a:lnTo>
                    <a:pt x="91" y="54"/>
                  </a:lnTo>
                  <a:lnTo>
                    <a:pt x="91" y="52"/>
                  </a:lnTo>
                  <a:lnTo>
                    <a:pt x="93" y="52"/>
                  </a:lnTo>
                  <a:lnTo>
                    <a:pt x="93" y="50"/>
                  </a:lnTo>
                  <a:lnTo>
                    <a:pt x="93" y="52"/>
                  </a:lnTo>
                  <a:lnTo>
                    <a:pt x="93" y="52"/>
                  </a:lnTo>
                  <a:lnTo>
                    <a:pt x="93" y="52"/>
                  </a:lnTo>
                  <a:lnTo>
                    <a:pt x="93" y="50"/>
                  </a:lnTo>
                  <a:lnTo>
                    <a:pt x="93" y="50"/>
                  </a:lnTo>
                  <a:lnTo>
                    <a:pt x="93" y="50"/>
                  </a:lnTo>
                  <a:lnTo>
                    <a:pt x="93" y="52"/>
                  </a:lnTo>
                  <a:lnTo>
                    <a:pt x="93" y="50"/>
                  </a:lnTo>
                  <a:lnTo>
                    <a:pt x="93" y="48"/>
                  </a:lnTo>
                  <a:lnTo>
                    <a:pt x="93" y="48"/>
                  </a:lnTo>
                  <a:lnTo>
                    <a:pt x="93" y="46"/>
                  </a:lnTo>
                  <a:lnTo>
                    <a:pt x="95" y="46"/>
                  </a:lnTo>
                  <a:lnTo>
                    <a:pt x="93" y="46"/>
                  </a:lnTo>
                  <a:lnTo>
                    <a:pt x="95" y="46"/>
                  </a:lnTo>
                  <a:lnTo>
                    <a:pt x="93" y="46"/>
                  </a:lnTo>
                  <a:lnTo>
                    <a:pt x="95" y="46"/>
                  </a:lnTo>
                  <a:lnTo>
                    <a:pt x="95" y="44"/>
                  </a:lnTo>
                  <a:lnTo>
                    <a:pt x="95" y="42"/>
                  </a:lnTo>
                  <a:lnTo>
                    <a:pt x="93" y="42"/>
                  </a:lnTo>
                  <a:lnTo>
                    <a:pt x="95" y="42"/>
                  </a:lnTo>
                  <a:lnTo>
                    <a:pt x="97" y="42"/>
                  </a:lnTo>
                  <a:lnTo>
                    <a:pt x="97" y="40"/>
                  </a:lnTo>
                  <a:lnTo>
                    <a:pt x="97" y="38"/>
                  </a:lnTo>
                  <a:lnTo>
                    <a:pt x="99" y="38"/>
                  </a:lnTo>
                  <a:lnTo>
                    <a:pt x="97" y="38"/>
                  </a:lnTo>
                  <a:lnTo>
                    <a:pt x="97" y="40"/>
                  </a:lnTo>
                  <a:lnTo>
                    <a:pt x="97" y="42"/>
                  </a:lnTo>
                  <a:lnTo>
                    <a:pt x="97" y="40"/>
                  </a:lnTo>
                  <a:lnTo>
                    <a:pt x="99" y="40"/>
                  </a:lnTo>
                  <a:lnTo>
                    <a:pt x="99" y="38"/>
                  </a:lnTo>
                  <a:lnTo>
                    <a:pt x="99" y="36"/>
                  </a:lnTo>
                  <a:lnTo>
                    <a:pt x="101" y="34"/>
                  </a:lnTo>
                  <a:lnTo>
                    <a:pt x="101" y="32"/>
                  </a:lnTo>
                  <a:lnTo>
                    <a:pt x="101" y="34"/>
                  </a:lnTo>
                  <a:lnTo>
                    <a:pt x="101" y="36"/>
                  </a:lnTo>
                  <a:lnTo>
                    <a:pt x="101" y="38"/>
                  </a:lnTo>
                  <a:lnTo>
                    <a:pt x="103" y="38"/>
                  </a:lnTo>
                  <a:lnTo>
                    <a:pt x="103" y="36"/>
                  </a:lnTo>
                  <a:lnTo>
                    <a:pt x="103" y="34"/>
                  </a:lnTo>
                  <a:lnTo>
                    <a:pt x="101" y="34"/>
                  </a:lnTo>
                  <a:lnTo>
                    <a:pt x="101" y="32"/>
                  </a:lnTo>
                  <a:lnTo>
                    <a:pt x="103" y="32"/>
                  </a:lnTo>
                  <a:lnTo>
                    <a:pt x="103" y="30"/>
                  </a:lnTo>
                  <a:lnTo>
                    <a:pt x="105" y="28"/>
                  </a:lnTo>
                  <a:lnTo>
                    <a:pt x="107" y="28"/>
                  </a:lnTo>
                  <a:lnTo>
                    <a:pt x="107" y="26"/>
                  </a:lnTo>
                  <a:lnTo>
                    <a:pt x="105" y="26"/>
                  </a:lnTo>
                  <a:lnTo>
                    <a:pt x="105" y="28"/>
                  </a:lnTo>
                  <a:lnTo>
                    <a:pt x="105" y="26"/>
                  </a:lnTo>
                  <a:lnTo>
                    <a:pt x="105" y="24"/>
                  </a:lnTo>
                  <a:lnTo>
                    <a:pt x="107" y="24"/>
                  </a:lnTo>
                  <a:lnTo>
                    <a:pt x="105" y="24"/>
                  </a:lnTo>
                  <a:lnTo>
                    <a:pt x="105" y="22"/>
                  </a:lnTo>
                  <a:lnTo>
                    <a:pt x="107" y="22"/>
                  </a:lnTo>
                  <a:lnTo>
                    <a:pt x="107" y="22"/>
                  </a:lnTo>
                  <a:lnTo>
                    <a:pt x="109" y="22"/>
                  </a:lnTo>
                  <a:lnTo>
                    <a:pt x="109" y="20"/>
                  </a:lnTo>
                  <a:lnTo>
                    <a:pt x="109" y="18"/>
                  </a:lnTo>
                  <a:lnTo>
                    <a:pt x="109" y="16"/>
                  </a:lnTo>
                  <a:lnTo>
                    <a:pt x="111" y="16"/>
                  </a:lnTo>
                  <a:lnTo>
                    <a:pt x="113" y="16"/>
                  </a:lnTo>
                  <a:lnTo>
                    <a:pt x="113" y="14"/>
                  </a:lnTo>
                  <a:lnTo>
                    <a:pt x="113" y="16"/>
                  </a:lnTo>
                  <a:lnTo>
                    <a:pt x="113" y="14"/>
                  </a:lnTo>
                  <a:lnTo>
                    <a:pt x="115" y="14"/>
                  </a:lnTo>
                  <a:lnTo>
                    <a:pt x="113" y="14"/>
                  </a:lnTo>
                  <a:lnTo>
                    <a:pt x="115" y="14"/>
                  </a:lnTo>
                  <a:lnTo>
                    <a:pt x="115" y="12"/>
                  </a:lnTo>
                  <a:lnTo>
                    <a:pt x="115" y="10"/>
                  </a:lnTo>
                  <a:lnTo>
                    <a:pt x="115" y="8"/>
                  </a:lnTo>
                  <a:lnTo>
                    <a:pt x="117" y="8"/>
                  </a:lnTo>
                  <a:lnTo>
                    <a:pt x="117" y="6"/>
                  </a:lnTo>
                  <a:lnTo>
                    <a:pt x="117" y="4"/>
                  </a:lnTo>
                  <a:lnTo>
                    <a:pt x="117" y="2"/>
                  </a:lnTo>
                  <a:lnTo>
                    <a:pt x="117" y="4"/>
                  </a:lnTo>
                  <a:lnTo>
                    <a:pt x="117" y="6"/>
                  </a:lnTo>
                  <a:lnTo>
                    <a:pt x="117" y="4"/>
                  </a:lnTo>
                  <a:lnTo>
                    <a:pt x="117" y="6"/>
                  </a:lnTo>
                  <a:lnTo>
                    <a:pt x="119" y="6"/>
                  </a:lnTo>
                  <a:lnTo>
                    <a:pt x="119" y="8"/>
                  </a:lnTo>
                  <a:lnTo>
                    <a:pt x="117" y="8"/>
                  </a:lnTo>
                  <a:lnTo>
                    <a:pt x="119" y="8"/>
                  </a:lnTo>
                  <a:lnTo>
                    <a:pt x="119" y="6"/>
                  </a:lnTo>
                  <a:lnTo>
                    <a:pt x="119" y="8"/>
                  </a:lnTo>
                  <a:lnTo>
                    <a:pt x="119" y="6"/>
                  </a:lnTo>
                  <a:lnTo>
                    <a:pt x="119" y="8"/>
                  </a:lnTo>
                  <a:lnTo>
                    <a:pt x="119" y="10"/>
                  </a:lnTo>
                  <a:lnTo>
                    <a:pt x="119" y="12"/>
                  </a:lnTo>
                  <a:lnTo>
                    <a:pt x="119" y="10"/>
                  </a:lnTo>
                  <a:lnTo>
                    <a:pt x="119" y="8"/>
                  </a:lnTo>
                  <a:lnTo>
                    <a:pt x="121" y="8"/>
                  </a:lnTo>
                  <a:lnTo>
                    <a:pt x="121" y="10"/>
                  </a:lnTo>
                  <a:lnTo>
                    <a:pt x="121" y="8"/>
                  </a:lnTo>
                  <a:lnTo>
                    <a:pt x="121" y="10"/>
                  </a:lnTo>
                  <a:lnTo>
                    <a:pt x="121" y="12"/>
                  </a:lnTo>
                  <a:lnTo>
                    <a:pt x="121" y="14"/>
                  </a:lnTo>
                  <a:lnTo>
                    <a:pt x="121" y="12"/>
                  </a:lnTo>
                  <a:lnTo>
                    <a:pt x="121" y="10"/>
                  </a:lnTo>
                  <a:lnTo>
                    <a:pt x="121" y="8"/>
                  </a:lnTo>
                  <a:lnTo>
                    <a:pt x="123" y="8"/>
                  </a:lnTo>
                  <a:lnTo>
                    <a:pt x="125" y="8"/>
                  </a:lnTo>
                  <a:lnTo>
                    <a:pt x="123" y="8"/>
                  </a:lnTo>
                  <a:lnTo>
                    <a:pt x="123" y="10"/>
                  </a:lnTo>
                  <a:lnTo>
                    <a:pt x="125" y="10"/>
                  </a:lnTo>
                  <a:lnTo>
                    <a:pt x="125" y="12"/>
                  </a:lnTo>
                  <a:lnTo>
                    <a:pt x="127" y="12"/>
                  </a:lnTo>
                  <a:lnTo>
                    <a:pt x="129" y="12"/>
                  </a:lnTo>
                  <a:lnTo>
                    <a:pt x="129" y="10"/>
                  </a:lnTo>
                  <a:lnTo>
                    <a:pt x="129" y="12"/>
                  </a:lnTo>
                  <a:lnTo>
                    <a:pt x="131" y="12"/>
                  </a:lnTo>
                  <a:lnTo>
                    <a:pt x="131" y="10"/>
                  </a:lnTo>
                  <a:lnTo>
                    <a:pt x="133" y="10"/>
                  </a:lnTo>
                  <a:lnTo>
                    <a:pt x="133" y="12"/>
                  </a:lnTo>
                  <a:lnTo>
                    <a:pt x="133" y="14"/>
                  </a:lnTo>
                  <a:lnTo>
                    <a:pt x="135" y="14"/>
                  </a:lnTo>
                  <a:lnTo>
                    <a:pt x="135" y="16"/>
                  </a:lnTo>
                  <a:lnTo>
                    <a:pt x="135" y="18"/>
                  </a:lnTo>
                  <a:lnTo>
                    <a:pt x="137" y="18"/>
                  </a:lnTo>
                  <a:lnTo>
                    <a:pt x="137" y="20"/>
                  </a:lnTo>
                  <a:lnTo>
                    <a:pt x="139" y="20"/>
                  </a:lnTo>
                  <a:lnTo>
                    <a:pt x="141" y="20"/>
                  </a:lnTo>
                  <a:lnTo>
                    <a:pt x="143" y="20"/>
                  </a:lnTo>
                  <a:lnTo>
                    <a:pt x="143" y="20"/>
                  </a:lnTo>
                  <a:lnTo>
                    <a:pt x="143" y="22"/>
                  </a:lnTo>
                  <a:lnTo>
                    <a:pt x="143" y="22"/>
                  </a:lnTo>
                  <a:lnTo>
                    <a:pt x="145" y="22"/>
                  </a:lnTo>
                  <a:lnTo>
                    <a:pt x="145" y="24"/>
                  </a:lnTo>
                  <a:lnTo>
                    <a:pt x="145" y="26"/>
                  </a:lnTo>
                  <a:lnTo>
                    <a:pt x="147" y="26"/>
                  </a:lnTo>
                  <a:lnTo>
                    <a:pt x="147" y="28"/>
                  </a:lnTo>
                  <a:lnTo>
                    <a:pt x="147" y="30"/>
                  </a:lnTo>
                  <a:lnTo>
                    <a:pt x="147" y="32"/>
                  </a:lnTo>
                  <a:lnTo>
                    <a:pt x="147" y="34"/>
                  </a:lnTo>
                  <a:lnTo>
                    <a:pt x="147" y="36"/>
                  </a:lnTo>
                  <a:lnTo>
                    <a:pt x="145" y="36"/>
                  </a:lnTo>
                  <a:lnTo>
                    <a:pt x="145" y="38"/>
                  </a:lnTo>
                  <a:lnTo>
                    <a:pt x="145" y="40"/>
                  </a:lnTo>
                  <a:lnTo>
                    <a:pt x="143" y="42"/>
                  </a:lnTo>
                  <a:lnTo>
                    <a:pt x="143" y="44"/>
                  </a:lnTo>
                  <a:lnTo>
                    <a:pt x="143" y="46"/>
                  </a:lnTo>
                  <a:lnTo>
                    <a:pt x="143" y="48"/>
                  </a:lnTo>
                  <a:lnTo>
                    <a:pt x="143" y="50"/>
                  </a:lnTo>
                  <a:lnTo>
                    <a:pt x="143" y="52"/>
                  </a:lnTo>
                  <a:lnTo>
                    <a:pt x="143" y="54"/>
                  </a:lnTo>
                  <a:lnTo>
                    <a:pt x="145" y="54"/>
                  </a:lnTo>
                  <a:lnTo>
                    <a:pt x="145" y="56"/>
                  </a:lnTo>
                  <a:lnTo>
                    <a:pt x="147" y="56"/>
                  </a:lnTo>
                  <a:lnTo>
                    <a:pt x="147" y="58"/>
                  </a:lnTo>
                  <a:lnTo>
                    <a:pt x="149" y="58"/>
                  </a:lnTo>
                  <a:lnTo>
                    <a:pt x="149" y="60"/>
                  </a:lnTo>
                  <a:lnTo>
                    <a:pt x="151" y="60"/>
                  </a:lnTo>
                  <a:lnTo>
                    <a:pt x="153" y="60"/>
                  </a:lnTo>
                  <a:lnTo>
                    <a:pt x="153" y="62"/>
                  </a:lnTo>
                  <a:lnTo>
                    <a:pt x="153" y="64"/>
                  </a:lnTo>
                  <a:lnTo>
                    <a:pt x="155" y="64"/>
                  </a:lnTo>
                  <a:lnTo>
                    <a:pt x="157" y="64"/>
                  </a:lnTo>
                  <a:lnTo>
                    <a:pt x="159" y="64"/>
                  </a:lnTo>
                  <a:lnTo>
                    <a:pt x="161" y="64"/>
                  </a:lnTo>
                  <a:lnTo>
                    <a:pt x="163" y="64"/>
                  </a:lnTo>
                  <a:lnTo>
                    <a:pt x="165" y="64"/>
                  </a:lnTo>
                  <a:lnTo>
                    <a:pt x="167" y="64"/>
                  </a:lnTo>
                  <a:lnTo>
                    <a:pt x="169" y="64"/>
                  </a:lnTo>
                  <a:lnTo>
                    <a:pt x="171" y="64"/>
                  </a:lnTo>
                  <a:lnTo>
                    <a:pt x="173" y="64"/>
                  </a:lnTo>
                  <a:lnTo>
                    <a:pt x="175" y="64"/>
                  </a:lnTo>
                  <a:lnTo>
                    <a:pt x="175" y="66"/>
                  </a:lnTo>
                  <a:lnTo>
                    <a:pt x="177" y="66"/>
                  </a:lnTo>
                  <a:lnTo>
                    <a:pt x="179" y="66"/>
                  </a:lnTo>
                  <a:lnTo>
                    <a:pt x="181" y="66"/>
                  </a:lnTo>
                  <a:lnTo>
                    <a:pt x="183" y="68"/>
                  </a:lnTo>
                  <a:lnTo>
                    <a:pt x="185" y="68"/>
                  </a:lnTo>
                  <a:lnTo>
                    <a:pt x="185" y="70"/>
                  </a:lnTo>
                  <a:lnTo>
                    <a:pt x="187" y="70"/>
                  </a:lnTo>
                  <a:lnTo>
                    <a:pt x="187" y="70"/>
                  </a:lnTo>
                  <a:lnTo>
                    <a:pt x="189" y="70"/>
                  </a:lnTo>
                  <a:lnTo>
                    <a:pt x="191" y="70"/>
                  </a:lnTo>
                  <a:lnTo>
                    <a:pt x="191" y="72"/>
                  </a:lnTo>
                  <a:lnTo>
                    <a:pt x="191" y="74"/>
                  </a:lnTo>
                  <a:lnTo>
                    <a:pt x="191" y="76"/>
                  </a:lnTo>
                  <a:lnTo>
                    <a:pt x="191" y="78"/>
                  </a:lnTo>
                  <a:lnTo>
                    <a:pt x="193" y="78"/>
                  </a:lnTo>
                  <a:lnTo>
                    <a:pt x="195" y="76"/>
                  </a:lnTo>
                  <a:lnTo>
                    <a:pt x="197" y="78"/>
                  </a:lnTo>
                  <a:lnTo>
                    <a:pt x="199" y="78"/>
                  </a:lnTo>
                  <a:lnTo>
                    <a:pt x="199" y="80"/>
                  </a:lnTo>
                  <a:lnTo>
                    <a:pt x="201" y="80"/>
                  </a:lnTo>
                  <a:lnTo>
                    <a:pt x="203" y="80"/>
                  </a:lnTo>
                  <a:lnTo>
                    <a:pt x="205" y="80"/>
                  </a:lnTo>
                  <a:lnTo>
                    <a:pt x="207" y="80"/>
                  </a:lnTo>
                  <a:lnTo>
                    <a:pt x="209" y="80"/>
                  </a:lnTo>
                  <a:lnTo>
                    <a:pt x="211" y="80"/>
                  </a:lnTo>
                  <a:lnTo>
                    <a:pt x="213" y="80"/>
                  </a:lnTo>
                  <a:lnTo>
                    <a:pt x="215" y="80"/>
                  </a:lnTo>
                  <a:lnTo>
                    <a:pt x="215" y="82"/>
                  </a:lnTo>
                  <a:lnTo>
                    <a:pt x="215" y="84"/>
                  </a:lnTo>
                  <a:lnTo>
                    <a:pt x="217" y="84"/>
                  </a:lnTo>
                  <a:lnTo>
                    <a:pt x="219" y="86"/>
                  </a:lnTo>
                  <a:lnTo>
                    <a:pt x="221" y="86"/>
                  </a:lnTo>
                  <a:lnTo>
                    <a:pt x="223" y="86"/>
                  </a:lnTo>
                  <a:lnTo>
                    <a:pt x="225" y="86"/>
                  </a:lnTo>
                  <a:lnTo>
                    <a:pt x="225" y="88"/>
                  </a:lnTo>
                  <a:lnTo>
                    <a:pt x="227" y="86"/>
                  </a:lnTo>
                  <a:lnTo>
                    <a:pt x="229" y="86"/>
                  </a:lnTo>
                  <a:lnTo>
                    <a:pt x="231" y="86"/>
                  </a:lnTo>
                  <a:lnTo>
                    <a:pt x="233" y="86"/>
                  </a:lnTo>
                  <a:lnTo>
                    <a:pt x="235" y="86"/>
                  </a:lnTo>
                  <a:lnTo>
                    <a:pt x="237" y="86"/>
                  </a:lnTo>
                  <a:lnTo>
                    <a:pt x="239" y="86"/>
                  </a:lnTo>
                  <a:lnTo>
                    <a:pt x="239" y="88"/>
                  </a:lnTo>
                  <a:lnTo>
                    <a:pt x="241" y="88"/>
                  </a:lnTo>
                  <a:lnTo>
                    <a:pt x="243" y="88"/>
                  </a:lnTo>
                  <a:lnTo>
                    <a:pt x="245" y="90"/>
                  </a:lnTo>
                  <a:lnTo>
                    <a:pt x="245" y="88"/>
                  </a:lnTo>
                  <a:lnTo>
                    <a:pt x="247" y="88"/>
                  </a:lnTo>
                  <a:lnTo>
                    <a:pt x="249" y="88"/>
                  </a:lnTo>
                  <a:lnTo>
                    <a:pt x="251" y="88"/>
                  </a:lnTo>
                  <a:lnTo>
                    <a:pt x="251" y="90"/>
                  </a:lnTo>
                  <a:lnTo>
                    <a:pt x="253" y="90"/>
                  </a:lnTo>
                  <a:lnTo>
                    <a:pt x="255" y="90"/>
                  </a:lnTo>
                  <a:lnTo>
                    <a:pt x="257" y="90"/>
                  </a:lnTo>
                  <a:lnTo>
                    <a:pt x="257" y="92"/>
                  </a:lnTo>
                  <a:lnTo>
                    <a:pt x="259" y="92"/>
                  </a:lnTo>
                  <a:lnTo>
                    <a:pt x="261" y="92"/>
                  </a:lnTo>
                  <a:lnTo>
                    <a:pt x="263" y="92"/>
                  </a:lnTo>
                  <a:lnTo>
                    <a:pt x="263" y="94"/>
                  </a:lnTo>
                  <a:lnTo>
                    <a:pt x="265" y="94"/>
                  </a:lnTo>
                  <a:lnTo>
                    <a:pt x="267" y="94"/>
                  </a:lnTo>
                  <a:lnTo>
                    <a:pt x="269" y="94"/>
                  </a:lnTo>
                  <a:lnTo>
                    <a:pt x="271" y="94"/>
                  </a:lnTo>
                  <a:lnTo>
                    <a:pt x="273" y="94"/>
                  </a:lnTo>
                  <a:lnTo>
                    <a:pt x="275" y="94"/>
                  </a:lnTo>
                  <a:lnTo>
                    <a:pt x="275" y="96"/>
                  </a:lnTo>
                  <a:lnTo>
                    <a:pt x="277" y="96"/>
                  </a:lnTo>
                  <a:lnTo>
                    <a:pt x="279" y="96"/>
                  </a:lnTo>
                  <a:lnTo>
                    <a:pt x="281" y="98"/>
                  </a:lnTo>
                  <a:lnTo>
                    <a:pt x="283" y="98"/>
                  </a:lnTo>
                  <a:lnTo>
                    <a:pt x="285" y="98"/>
                  </a:lnTo>
                  <a:lnTo>
                    <a:pt x="285" y="100"/>
                  </a:lnTo>
                  <a:lnTo>
                    <a:pt x="287" y="100"/>
                  </a:lnTo>
                  <a:lnTo>
                    <a:pt x="287" y="100"/>
                  </a:lnTo>
                  <a:lnTo>
                    <a:pt x="287" y="102"/>
                  </a:lnTo>
                  <a:lnTo>
                    <a:pt x="289" y="102"/>
                  </a:lnTo>
                  <a:lnTo>
                    <a:pt x="291" y="102"/>
                  </a:lnTo>
                  <a:lnTo>
                    <a:pt x="291" y="104"/>
                  </a:lnTo>
                  <a:lnTo>
                    <a:pt x="293" y="104"/>
                  </a:lnTo>
                  <a:lnTo>
                    <a:pt x="295" y="104"/>
                  </a:lnTo>
                  <a:lnTo>
                    <a:pt x="297" y="106"/>
                  </a:lnTo>
                  <a:lnTo>
                    <a:pt x="299" y="106"/>
                  </a:lnTo>
                  <a:lnTo>
                    <a:pt x="301" y="108"/>
                  </a:lnTo>
                  <a:lnTo>
                    <a:pt x="303" y="108"/>
                  </a:lnTo>
                  <a:lnTo>
                    <a:pt x="305" y="108"/>
                  </a:lnTo>
                  <a:lnTo>
                    <a:pt x="305" y="110"/>
                  </a:lnTo>
                  <a:lnTo>
                    <a:pt x="307" y="110"/>
                  </a:lnTo>
                  <a:lnTo>
                    <a:pt x="309" y="110"/>
                  </a:lnTo>
                  <a:lnTo>
                    <a:pt x="309" y="112"/>
                  </a:lnTo>
                  <a:lnTo>
                    <a:pt x="313" y="112"/>
                  </a:lnTo>
                  <a:lnTo>
                    <a:pt x="315" y="114"/>
                  </a:lnTo>
                  <a:lnTo>
                    <a:pt x="317" y="114"/>
                  </a:lnTo>
                  <a:lnTo>
                    <a:pt x="319" y="116"/>
                  </a:lnTo>
                  <a:lnTo>
                    <a:pt x="321" y="116"/>
                  </a:lnTo>
                  <a:lnTo>
                    <a:pt x="323" y="116"/>
                  </a:lnTo>
                  <a:lnTo>
                    <a:pt x="323" y="118"/>
                  </a:lnTo>
                  <a:lnTo>
                    <a:pt x="325" y="118"/>
                  </a:lnTo>
                  <a:lnTo>
                    <a:pt x="327" y="118"/>
                  </a:lnTo>
                  <a:lnTo>
                    <a:pt x="329" y="118"/>
                  </a:lnTo>
                  <a:lnTo>
                    <a:pt x="331" y="118"/>
                  </a:lnTo>
                  <a:lnTo>
                    <a:pt x="333" y="118"/>
                  </a:lnTo>
                  <a:lnTo>
                    <a:pt x="333" y="120"/>
                  </a:lnTo>
                  <a:lnTo>
                    <a:pt x="335" y="120"/>
                  </a:lnTo>
                  <a:lnTo>
                    <a:pt x="335" y="120"/>
                  </a:lnTo>
                  <a:lnTo>
                    <a:pt x="335" y="122"/>
                  </a:lnTo>
                  <a:lnTo>
                    <a:pt x="337" y="122"/>
                  </a:lnTo>
                  <a:lnTo>
                    <a:pt x="337" y="124"/>
                  </a:lnTo>
                  <a:lnTo>
                    <a:pt x="337" y="126"/>
                  </a:lnTo>
                  <a:lnTo>
                    <a:pt x="337" y="128"/>
                  </a:lnTo>
                  <a:lnTo>
                    <a:pt x="339" y="128"/>
                  </a:lnTo>
                  <a:lnTo>
                    <a:pt x="339" y="130"/>
                  </a:lnTo>
                  <a:lnTo>
                    <a:pt x="339" y="132"/>
                  </a:lnTo>
                  <a:lnTo>
                    <a:pt x="341" y="132"/>
                  </a:lnTo>
                  <a:lnTo>
                    <a:pt x="341" y="134"/>
                  </a:lnTo>
                  <a:lnTo>
                    <a:pt x="341" y="136"/>
                  </a:lnTo>
                  <a:lnTo>
                    <a:pt x="343" y="136"/>
                  </a:lnTo>
                  <a:lnTo>
                    <a:pt x="345" y="138"/>
                  </a:lnTo>
                  <a:lnTo>
                    <a:pt x="345" y="140"/>
                  </a:lnTo>
                  <a:lnTo>
                    <a:pt x="345" y="142"/>
                  </a:lnTo>
                  <a:lnTo>
                    <a:pt x="345" y="144"/>
                  </a:lnTo>
                  <a:lnTo>
                    <a:pt x="345" y="146"/>
                  </a:lnTo>
                  <a:lnTo>
                    <a:pt x="345" y="148"/>
                  </a:lnTo>
                  <a:lnTo>
                    <a:pt x="343" y="148"/>
                  </a:lnTo>
                  <a:lnTo>
                    <a:pt x="343" y="150"/>
                  </a:lnTo>
                  <a:lnTo>
                    <a:pt x="341" y="150"/>
                  </a:lnTo>
                  <a:lnTo>
                    <a:pt x="341" y="152"/>
                  </a:lnTo>
                  <a:lnTo>
                    <a:pt x="339" y="152"/>
                  </a:lnTo>
                  <a:lnTo>
                    <a:pt x="339" y="154"/>
                  </a:lnTo>
                  <a:lnTo>
                    <a:pt x="337" y="154"/>
                  </a:lnTo>
                  <a:lnTo>
                    <a:pt x="337" y="156"/>
                  </a:lnTo>
                  <a:lnTo>
                    <a:pt x="335" y="156"/>
                  </a:lnTo>
                  <a:lnTo>
                    <a:pt x="335" y="156"/>
                  </a:lnTo>
                  <a:lnTo>
                    <a:pt x="335" y="158"/>
                  </a:lnTo>
                  <a:lnTo>
                    <a:pt x="333" y="158"/>
                  </a:lnTo>
                  <a:lnTo>
                    <a:pt x="333" y="160"/>
                  </a:lnTo>
                  <a:lnTo>
                    <a:pt x="333" y="162"/>
                  </a:lnTo>
                  <a:lnTo>
                    <a:pt x="331" y="162"/>
                  </a:lnTo>
                  <a:lnTo>
                    <a:pt x="331" y="164"/>
                  </a:lnTo>
                  <a:lnTo>
                    <a:pt x="329" y="164"/>
                  </a:lnTo>
                  <a:lnTo>
                    <a:pt x="329" y="166"/>
                  </a:lnTo>
                  <a:lnTo>
                    <a:pt x="327" y="166"/>
                  </a:lnTo>
                  <a:lnTo>
                    <a:pt x="327" y="166"/>
                  </a:lnTo>
                  <a:lnTo>
                    <a:pt x="325" y="166"/>
                  </a:lnTo>
                  <a:lnTo>
                    <a:pt x="325" y="168"/>
                  </a:lnTo>
                  <a:lnTo>
                    <a:pt x="323" y="168"/>
                  </a:lnTo>
                  <a:lnTo>
                    <a:pt x="321" y="168"/>
                  </a:lnTo>
                  <a:lnTo>
                    <a:pt x="321" y="170"/>
                  </a:lnTo>
                  <a:lnTo>
                    <a:pt x="321" y="172"/>
                  </a:lnTo>
                  <a:lnTo>
                    <a:pt x="321" y="170"/>
                  </a:lnTo>
                  <a:lnTo>
                    <a:pt x="321" y="172"/>
                  </a:lnTo>
                  <a:lnTo>
                    <a:pt x="321" y="174"/>
                  </a:lnTo>
                  <a:lnTo>
                    <a:pt x="319" y="174"/>
                  </a:lnTo>
                  <a:lnTo>
                    <a:pt x="319" y="176"/>
                  </a:lnTo>
                  <a:lnTo>
                    <a:pt x="317" y="176"/>
                  </a:lnTo>
                  <a:lnTo>
                    <a:pt x="317" y="178"/>
                  </a:lnTo>
                  <a:lnTo>
                    <a:pt x="315" y="178"/>
                  </a:lnTo>
                  <a:lnTo>
                    <a:pt x="315" y="180"/>
                  </a:lnTo>
                  <a:lnTo>
                    <a:pt x="313" y="180"/>
                  </a:lnTo>
                  <a:lnTo>
                    <a:pt x="311" y="180"/>
                  </a:lnTo>
                  <a:lnTo>
                    <a:pt x="309" y="180"/>
                  </a:lnTo>
                  <a:lnTo>
                    <a:pt x="307" y="180"/>
                  </a:lnTo>
                  <a:lnTo>
                    <a:pt x="307" y="182"/>
                  </a:lnTo>
                  <a:lnTo>
                    <a:pt x="305" y="182"/>
                  </a:lnTo>
                  <a:lnTo>
                    <a:pt x="305" y="184"/>
                  </a:lnTo>
                  <a:lnTo>
                    <a:pt x="303" y="184"/>
                  </a:lnTo>
                  <a:lnTo>
                    <a:pt x="303" y="186"/>
                  </a:lnTo>
                  <a:lnTo>
                    <a:pt x="301" y="186"/>
                  </a:lnTo>
                  <a:lnTo>
                    <a:pt x="301" y="188"/>
                  </a:lnTo>
                  <a:lnTo>
                    <a:pt x="299" y="188"/>
                  </a:lnTo>
                  <a:lnTo>
                    <a:pt x="299" y="190"/>
                  </a:lnTo>
                  <a:lnTo>
                    <a:pt x="297" y="190"/>
                  </a:lnTo>
                  <a:lnTo>
                    <a:pt x="297" y="192"/>
                  </a:lnTo>
                  <a:lnTo>
                    <a:pt x="297" y="194"/>
                  </a:lnTo>
                  <a:lnTo>
                    <a:pt x="295" y="194"/>
                  </a:lnTo>
                  <a:lnTo>
                    <a:pt x="295" y="196"/>
                  </a:lnTo>
                  <a:lnTo>
                    <a:pt x="295" y="198"/>
                  </a:lnTo>
                  <a:lnTo>
                    <a:pt x="293" y="198"/>
                  </a:lnTo>
                  <a:lnTo>
                    <a:pt x="293" y="200"/>
                  </a:lnTo>
                  <a:lnTo>
                    <a:pt x="295" y="200"/>
                  </a:lnTo>
                  <a:lnTo>
                    <a:pt x="295" y="202"/>
                  </a:lnTo>
                  <a:lnTo>
                    <a:pt x="297" y="202"/>
                  </a:lnTo>
                  <a:lnTo>
                    <a:pt x="297" y="204"/>
                  </a:lnTo>
                  <a:lnTo>
                    <a:pt x="299" y="204"/>
                  </a:lnTo>
                  <a:lnTo>
                    <a:pt x="299" y="206"/>
                  </a:lnTo>
                  <a:lnTo>
                    <a:pt x="299" y="204"/>
                  </a:lnTo>
                  <a:lnTo>
                    <a:pt x="301" y="204"/>
                  </a:lnTo>
                  <a:lnTo>
                    <a:pt x="301" y="206"/>
                  </a:lnTo>
                  <a:lnTo>
                    <a:pt x="301" y="208"/>
                  </a:lnTo>
                  <a:lnTo>
                    <a:pt x="303" y="208"/>
                  </a:lnTo>
                  <a:lnTo>
                    <a:pt x="303" y="210"/>
                  </a:lnTo>
                  <a:lnTo>
                    <a:pt x="303" y="212"/>
                  </a:lnTo>
                  <a:lnTo>
                    <a:pt x="301" y="212"/>
                  </a:lnTo>
                  <a:lnTo>
                    <a:pt x="299" y="214"/>
                  </a:lnTo>
                  <a:lnTo>
                    <a:pt x="297" y="214"/>
                  </a:lnTo>
                  <a:lnTo>
                    <a:pt x="297" y="214"/>
                  </a:lnTo>
                  <a:lnTo>
                    <a:pt x="299" y="214"/>
                  </a:lnTo>
                  <a:lnTo>
                    <a:pt x="299" y="216"/>
                  </a:lnTo>
                  <a:lnTo>
                    <a:pt x="297" y="216"/>
                  </a:lnTo>
                  <a:lnTo>
                    <a:pt x="297" y="218"/>
                  </a:lnTo>
                  <a:lnTo>
                    <a:pt x="295" y="218"/>
                  </a:lnTo>
                  <a:lnTo>
                    <a:pt x="295" y="220"/>
                  </a:lnTo>
                  <a:lnTo>
                    <a:pt x="293" y="220"/>
                  </a:lnTo>
                  <a:lnTo>
                    <a:pt x="293" y="222"/>
                  </a:lnTo>
                  <a:lnTo>
                    <a:pt x="291" y="222"/>
                  </a:lnTo>
                  <a:lnTo>
                    <a:pt x="291" y="224"/>
                  </a:lnTo>
                  <a:lnTo>
                    <a:pt x="289" y="226"/>
                  </a:lnTo>
                  <a:lnTo>
                    <a:pt x="289" y="228"/>
                  </a:lnTo>
                  <a:lnTo>
                    <a:pt x="289" y="230"/>
                  </a:lnTo>
                  <a:lnTo>
                    <a:pt x="287" y="230"/>
                  </a:lnTo>
                  <a:lnTo>
                    <a:pt x="287" y="232"/>
                  </a:lnTo>
                  <a:lnTo>
                    <a:pt x="287" y="234"/>
                  </a:lnTo>
                  <a:lnTo>
                    <a:pt x="287" y="236"/>
                  </a:lnTo>
                  <a:lnTo>
                    <a:pt x="287" y="238"/>
                  </a:lnTo>
                  <a:lnTo>
                    <a:pt x="283" y="246"/>
                  </a:lnTo>
                  <a:lnTo>
                    <a:pt x="283" y="248"/>
                  </a:lnTo>
                  <a:lnTo>
                    <a:pt x="283" y="250"/>
                  </a:lnTo>
                  <a:lnTo>
                    <a:pt x="281" y="254"/>
                  </a:lnTo>
                  <a:lnTo>
                    <a:pt x="279" y="254"/>
                  </a:lnTo>
                  <a:lnTo>
                    <a:pt x="279" y="256"/>
                  </a:lnTo>
                  <a:lnTo>
                    <a:pt x="279" y="258"/>
                  </a:lnTo>
                  <a:lnTo>
                    <a:pt x="277" y="260"/>
                  </a:lnTo>
                  <a:lnTo>
                    <a:pt x="277" y="262"/>
                  </a:lnTo>
                  <a:lnTo>
                    <a:pt x="277" y="262"/>
                  </a:lnTo>
                  <a:lnTo>
                    <a:pt x="275" y="262"/>
                  </a:lnTo>
                  <a:lnTo>
                    <a:pt x="275" y="264"/>
                  </a:lnTo>
                  <a:lnTo>
                    <a:pt x="273" y="266"/>
                  </a:lnTo>
                  <a:lnTo>
                    <a:pt x="273" y="268"/>
                  </a:lnTo>
                  <a:lnTo>
                    <a:pt x="273" y="270"/>
                  </a:lnTo>
                  <a:lnTo>
                    <a:pt x="271" y="272"/>
                  </a:lnTo>
                  <a:lnTo>
                    <a:pt x="271" y="274"/>
                  </a:lnTo>
                  <a:lnTo>
                    <a:pt x="271" y="276"/>
                  </a:lnTo>
                  <a:lnTo>
                    <a:pt x="269" y="276"/>
                  </a:lnTo>
                  <a:lnTo>
                    <a:pt x="269" y="278"/>
                  </a:lnTo>
                  <a:lnTo>
                    <a:pt x="269" y="280"/>
                  </a:lnTo>
                  <a:lnTo>
                    <a:pt x="267" y="282"/>
                  </a:lnTo>
                  <a:lnTo>
                    <a:pt x="265" y="288"/>
                  </a:lnTo>
                  <a:lnTo>
                    <a:pt x="265" y="290"/>
                  </a:lnTo>
                  <a:lnTo>
                    <a:pt x="263" y="292"/>
                  </a:lnTo>
                  <a:lnTo>
                    <a:pt x="263" y="294"/>
                  </a:lnTo>
                  <a:lnTo>
                    <a:pt x="261" y="296"/>
                  </a:lnTo>
                  <a:lnTo>
                    <a:pt x="261" y="298"/>
                  </a:lnTo>
                  <a:lnTo>
                    <a:pt x="261" y="300"/>
                  </a:lnTo>
                  <a:lnTo>
                    <a:pt x="259" y="300"/>
                  </a:lnTo>
                  <a:lnTo>
                    <a:pt x="259" y="302"/>
                  </a:lnTo>
                  <a:lnTo>
                    <a:pt x="259" y="304"/>
                  </a:lnTo>
                  <a:lnTo>
                    <a:pt x="257" y="306"/>
                  </a:lnTo>
                  <a:lnTo>
                    <a:pt x="257" y="308"/>
                  </a:lnTo>
                  <a:lnTo>
                    <a:pt x="255" y="310"/>
                  </a:lnTo>
                  <a:lnTo>
                    <a:pt x="255" y="310"/>
                  </a:lnTo>
                  <a:lnTo>
                    <a:pt x="253" y="310"/>
                  </a:lnTo>
                  <a:lnTo>
                    <a:pt x="251" y="310"/>
                  </a:lnTo>
                  <a:lnTo>
                    <a:pt x="249" y="310"/>
                  </a:lnTo>
                  <a:lnTo>
                    <a:pt x="247" y="310"/>
                  </a:lnTo>
                  <a:lnTo>
                    <a:pt x="247" y="308"/>
                  </a:lnTo>
                  <a:lnTo>
                    <a:pt x="245" y="308"/>
                  </a:lnTo>
                  <a:lnTo>
                    <a:pt x="243" y="308"/>
                  </a:lnTo>
                  <a:lnTo>
                    <a:pt x="243" y="306"/>
                  </a:lnTo>
                  <a:lnTo>
                    <a:pt x="241" y="306"/>
                  </a:lnTo>
                  <a:lnTo>
                    <a:pt x="239" y="306"/>
                  </a:lnTo>
                  <a:lnTo>
                    <a:pt x="239" y="306"/>
                  </a:lnTo>
                  <a:lnTo>
                    <a:pt x="239" y="304"/>
                  </a:lnTo>
                  <a:lnTo>
                    <a:pt x="237" y="304"/>
                  </a:lnTo>
                  <a:lnTo>
                    <a:pt x="235" y="304"/>
                  </a:lnTo>
                  <a:lnTo>
                    <a:pt x="235" y="302"/>
                  </a:lnTo>
                  <a:lnTo>
                    <a:pt x="233" y="302"/>
                  </a:lnTo>
                  <a:lnTo>
                    <a:pt x="231" y="302"/>
                  </a:lnTo>
                  <a:lnTo>
                    <a:pt x="229" y="300"/>
                  </a:lnTo>
                  <a:lnTo>
                    <a:pt x="227" y="300"/>
                  </a:lnTo>
                  <a:lnTo>
                    <a:pt x="225" y="298"/>
                  </a:lnTo>
                  <a:lnTo>
                    <a:pt x="223" y="298"/>
                  </a:lnTo>
                  <a:lnTo>
                    <a:pt x="221" y="296"/>
                  </a:lnTo>
                  <a:lnTo>
                    <a:pt x="219" y="296"/>
                  </a:lnTo>
                  <a:lnTo>
                    <a:pt x="217" y="296"/>
                  </a:lnTo>
                  <a:lnTo>
                    <a:pt x="217" y="294"/>
                  </a:lnTo>
                  <a:lnTo>
                    <a:pt x="215" y="294"/>
                  </a:lnTo>
                  <a:lnTo>
                    <a:pt x="213" y="294"/>
                  </a:lnTo>
                  <a:lnTo>
                    <a:pt x="211" y="292"/>
                  </a:lnTo>
                  <a:lnTo>
                    <a:pt x="209" y="292"/>
                  </a:lnTo>
                  <a:lnTo>
                    <a:pt x="207" y="292"/>
                  </a:lnTo>
                  <a:lnTo>
                    <a:pt x="207" y="290"/>
                  </a:lnTo>
                  <a:lnTo>
                    <a:pt x="205" y="290"/>
                  </a:lnTo>
                  <a:lnTo>
                    <a:pt x="203" y="290"/>
                  </a:lnTo>
                  <a:lnTo>
                    <a:pt x="203" y="288"/>
                  </a:lnTo>
                  <a:lnTo>
                    <a:pt x="201" y="288"/>
                  </a:lnTo>
                  <a:lnTo>
                    <a:pt x="199" y="288"/>
                  </a:lnTo>
                  <a:lnTo>
                    <a:pt x="197" y="286"/>
                  </a:lnTo>
                  <a:lnTo>
                    <a:pt x="195" y="286"/>
                  </a:lnTo>
                  <a:lnTo>
                    <a:pt x="193" y="286"/>
                  </a:lnTo>
                  <a:lnTo>
                    <a:pt x="193" y="284"/>
                  </a:lnTo>
                  <a:lnTo>
                    <a:pt x="191" y="284"/>
                  </a:lnTo>
                  <a:lnTo>
                    <a:pt x="191" y="284"/>
                  </a:lnTo>
                  <a:lnTo>
                    <a:pt x="191" y="282"/>
                  </a:lnTo>
                  <a:lnTo>
                    <a:pt x="189" y="282"/>
                  </a:lnTo>
                  <a:lnTo>
                    <a:pt x="187" y="282"/>
                  </a:lnTo>
                  <a:lnTo>
                    <a:pt x="185" y="280"/>
                  </a:lnTo>
                  <a:lnTo>
                    <a:pt x="183" y="280"/>
                  </a:lnTo>
                  <a:lnTo>
                    <a:pt x="181" y="278"/>
                  </a:lnTo>
                  <a:lnTo>
                    <a:pt x="179" y="278"/>
                  </a:lnTo>
                  <a:lnTo>
                    <a:pt x="177" y="278"/>
                  </a:lnTo>
                  <a:lnTo>
                    <a:pt x="177" y="276"/>
                  </a:lnTo>
                  <a:lnTo>
                    <a:pt x="175" y="276"/>
                  </a:lnTo>
                  <a:lnTo>
                    <a:pt x="173" y="276"/>
                  </a:lnTo>
                  <a:lnTo>
                    <a:pt x="173" y="274"/>
                  </a:lnTo>
                  <a:lnTo>
                    <a:pt x="171" y="274"/>
                  </a:lnTo>
                  <a:lnTo>
                    <a:pt x="169" y="274"/>
                  </a:lnTo>
                  <a:lnTo>
                    <a:pt x="167" y="272"/>
                  </a:lnTo>
                  <a:lnTo>
                    <a:pt x="165" y="272"/>
                  </a:lnTo>
                  <a:lnTo>
                    <a:pt x="163" y="270"/>
                  </a:lnTo>
                  <a:lnTo>
                    <a:pt x="161" y="270"/>
                  </a:lnTo>
                  <a:lnTo>
                    <a:pt x="161" y="268"/>
                  </a:lnTo>
                  <a:lnTo>
                    <a:pt x="159" y="268"/>
                  </a:lnTo>
                  <a:lnTo>
                    <a:pt x="157" y="268"/>
                  </a:lnTo>
                  <a:lnTo>
                    <a:pt x="155" y="266"/>
                  </a:lnTo>
                  <a:lnTo>
                    <a:pt x="153" y="266"/>
                  </a:lnTo>
                  <a:lnTo>
                    <a:pt x="151" y="264"/>
                  </a:lnTo>
                  <a:lnTo>
                    <a:pt x="149" y="264"/>
                  </a:lnTo>
                  <a:lnTo>
                    <a:pt x="147" y="262"/>
                  </a:lnTo>
                  <a:lnTo>
                    <a:pt x="145" y="262"/>
                  </a:lnTo>
                  <a:lnTo>
                    <a:pt x="143" y="262"/>
                  </a:lnTo>
                  <a:lnTo>
                    <a:pt x="143" y="262"/>
                  </a:lnTo>
                  <a:lnTo>
                    <a:pt x="141" y="262"/>
                  </a:lnTo>
                  <a:lnTo>
                    <a:pt x="141" y="260"/>
                  </a:lnTo>
                  <a:lnTo>
                    <a:pt x="139" y="260"/>
                  </a:lnTo>
                  <a:lnTo>
                    <a:pt x="137" y="260"/>
                  </a:lnTo>
                  <a:lnTo>
                    <a:pt x="135" y="258"/>
                  </a:lnTo>
                  <a:lnTo>
                    <a:pt x="133" y="258"/>
                  </a:lnTo>
                  <a:lnTo>
                    <a:pt x="133" y="256"/>
                  </a:lnTo>
                  <a:lnTo>
                    <a:pt x="131" y="256"/>
                  </a:lnTo>
                  <a:lnTo>
                    <a:pt x="129" y="256"/>
                  </a:lnTo>
                  <a:lnTo>
                    <a:pt x="127" y="254"/>
                  </a:lnTo>
                  <a:lnTo>
                    <a:pt x="125" y="254"/>
                  </a:lnTo>
                  <a:lnTo>
                    <a:pt x="123" y="252"/>
                  </a:lnTo>
                  <a:lnTo>
                    <a:pt x="121" y="252"/>
                  </a:lnTo>
                  <a:lnTo>
                    <a:pt x="121" y="250"/>
                  </a:lnTo>
                  <a:lnTo>
                    <a:pt x="119" y="250"/>
                  </a:lnTo>
                  <a:lnTo>
                    <a:pt x="117" y="250"/>
                  </a:lnTo>
                  <a:lnTo>
                    <a:pt x="117" y="248"/>
                  </a:lnTo>
                  <a:lnTo>
                    <a:pt x="115" y="248"/>
                  </a:lnTo>
                  <a:lnTo>
                    <a:pt x="113" y="248"/>
                  </a:lnTo>
                  <a:lnTo>
                    <a:pt x="113" y="246"/>
                  </a:lnTo>
                  <a:lnTo>
                    <a:pt x="111" y="246"/>
                  </a:lnTo>
                  <a:lnTo>
                    <a:pt x="109" y="246"/>
                  </a:lnTo>
                  <a:lnTo>
                    <a:pt x="109" y="244"/>
                  </a:lnTo>
                  <a:lnTo>
                    <a:pt x="107" y="244"/>
                  </a:lnTo>
                  <a:lnTo>
                    <a:pt x="105" y="244"/>
                  </a:lnTo>
                  <a:lnTo>
                    <a:pt x="103" y="242"/>
                  </a:lnTo>
                  <a:lnTo>
                    <a:pt x="101" y="242"/>
                  </a:lnTo>
                  <a:lnTo>
                    <a:pt x="99" y="240"/>
                  </a:lnTo>
                  <a:lnTo>
                    <a:pt x="97" y="240"/>
                  </a:lnTo>
                  <a:lnTo>
                    <a:pt x="97" y="238"/>
                  </a:lnTo>
                  <a:lnTo>
                    <a:pt x="95" y="238"/>
                  </a:lnTo>
                  <a:lnTo>
                    <a:pt x="93" y="238"/>
                  </a:lnTo>
                  <a:lnTo>
                    <a:pt x="93" y="236"/>
                  </a:lnTo>
                  <a:lnTo>
                    <a:pt x="93" y="236"/>
                  </a:lnTo>
                  <a:lnTo>
                    <a:pt x="91" y="236"/>
                  </a:lnTo>
                  <a:lnTo>
                    <a:pt x="91" y="234"/>
                  </a:lnTo>
                  <a:lnTo>
                    <a:pt x="89" y="234"/>
                  </a:lnTo>
                  <a:lnTo>
                    <a:pt x="87" y="232"/>
                  </a:lnTo>
                  <a:lnTo>
                    <a:pt x="85" y="232"/>
                  </a:lnTo>
                  <a:lnTo>
                    <a:pt x="83" y="230"/>
                  </a:lnTo>
                  <a:lnTo>
                    <a:pt x="81" y="230"/>
                  </a:lnTo>
                  <a:lnTo>
                    <a:pt x="79" y="230"/>
                  </a:lnTo>
                  <a:lnTo>
                    <a:pt x="79" y="228"/>
                  </a:lnTo>
                  <a:lnTo>
                    <a:pt x="77" y="228"/>
                  </a:lnTo>
                  <a:lnTo>
                    <a:pt x="77" y="226"/>
                  </a:lnTo>
                  <a:lnTo>
                    <a:pt x="75" y="226"/>
                  </a:lnTo>
                  <a:lnTo>
                    <a:pt x="71" y="224"/>
                  </a:lnTo>
                  <a:lnTo>
                    <a:pt x="69" y="224"/>
                  </a:lnTo>
                  <a:lnTo>
                    <a:pt x="69" y="222"/>
                  </a:lnTo>
                  <a:lnTo>
                    <a:pt x="67" y="222"/>
                  </a:lnTo>
                  <a:lnTo>
                    <a:pt x="65" y="222"/>
                  </a:lnTo>
                  <a:lnTo>
                    <a:pt x="65" y="220"/>
                  </a:lnTo>
                  <a:lnTo>
                    <a:pt x="63" y="220"/>
                  </a:lnTo>
                  <a:lnTo>
                    <a:pt x="61" y="220"/>
                  </a:lnTo>
                  <a:lnTo>
                    <a:pt x="61" y="218"/>
                  </a:lnTo>
                  <a:lnTo>
                    <a:pt x="59" y="218"/>
                  </a:lnTo>
                  <a:lnTo>
                    <a:pt x="57" y="218"/>
                  </a:lnTo>
                  <a:lnTo>
                    <a:pt x="57" y="216"/>
                  </a:lnTo>
                  <a:lnTo>
                    <a:pt x="55" y="216"/>
                  </a:lnTo>
                  <a:lnTo>
                    <a:pt x="53" y="216"/>
                  </a:lnTo>
                  <a:lnTo>
                    <a:pt x="53" y="214"/>
                  </a:lnTo>
                  <a:lnTo>
                    <a:pt x="51" y="214"/>
                  </a:lnTo>
                  <a:lnTo>
                    <a:pt x="49" y="214"/>
                  </a:lnTo>
                  <a:lnTo>
                    <a:pt x="49" y="214"/>
                  </a:lnTo>
                  <a:lnTo>
                    <a:pt x="47" y="214"/>
                  </a:lnTo>
                  <a:lnTo>
                    <a:pt x="45" y="212"/>
                  </a:lnTo>
                  <a:lnTo>
                    <a:pt x="43" y="210"/>
                  </a:lnTo>
                  <a:lnTo>
                    <a:pt x="41" y="210"/>
                  </a:lnTo>
                  <a:lnTo>
                    <a:pt x="41" y="208"/>
                  </a:lnTo>
                  <a:lnTo>
                    <a:pt x="39" y="208"/>
                  </a:lnTo>
                  <a:lnTo>
                    <a:pt x="37" y="208"/>
                  </a:lnTo>
                  <a:lnTo>
                    <a:pt x="35" y="206"/>
                  </a:lnTo>
                  <a:lnTo>
                    <a:pt x="33" y="206"/>
                  </a:lnTo>
                  <a:lnTo>
                    <a:pt x="33" y="204"/>
                  </a:lnTo>
                  <a:lnTo>
                    <a:pt x="31" y="204"/>
                  </a:lnTo>
                  <a:lnTo>
                    <a:pt x="29" y="204"/>
                  </a:lnTo>
                  <a:lnTo>
                    <a:pt x="29" y="202"/>
                  </a:lnTo>
                  <a:lnTo>
                    <a:pt x="27" y="202"/>
                  </a:lnTo>
                  <a:lnTo>
                    <a:pt x="25" y="202"/>
                  </a:lnTo>
                  <a:lnTo>
                    <a:pt x="25" y="200"/>
                  </a:lnTo>
                  <a:lnTo>
                    <a:pt x="23" y="200"/>
                  </a:lnTo>
                  <a:lnTo>
                    <a:pt x="21" y="200"/>
                  </a:lnTo>
                  <a:lnTo>
                    <a:pt x="21" y="198"/>
                  </a:lnTo>
                  <a:lnTo>
                    <a:pt x="19" y="198"/>
                  </a:lnTo>
                  <a:lnTo>
                    <a:pt x="17" y="198"/>
                  </a:lnTo>
                  <a:lnTo>
                    <a:pt x="17" y="196"/>
                  </a:lnTo>
                  <a:lnTo>
                    <a:pt x="15" y="196"/>
                  </a:lnTo>
                  <a:lnTo>
                    <a:pt x="12" y="194"/>
                  </a:lnTo>
                  <a:lnTo>
                    <a:pt x="10" y="194"/>
                  </a:lnTo>
                  <a:lnTo>
                    <a:pt x="8" y="194"/>
                  </a:lnTo>
                  <a:lnTo>
                    <a:pt x="8" y="192"/>
                  </a:lnTo>
                  <a:lnTo>
                    <a:pt x="6" y="192"/>
                  </a:lnTo>
                  <a:lnTo>
                    <a:pt x="6" y="190"/>
                  </a:lnTo>
                  <a:lnTo>
                    <a:pt x="4" y="190"/>
                  </a:lnTo>
                  <a:lnTo>
                    <a:pt x="2" y="190"/>
                  </a:lnTo>
                  <a:lnTo>
                    <a:pt x="2" y="188"/>
                  </a:lnTo>
                  <a:lnTo>
                    <a:pt x="2" y="186"/>
                  </a:lnTo>
                  <a:lnTo>
                    <a:pt x="0" y="186"/>
                  </a:lnTo>
                  <a:lnTo>
                    <a:pt x="2" y="186"/>
                  </a:lnTo>
                  <a:lnTo>
                    <a:pt x="0" y="186"/>
                  </a:lnTo>
                  <a:lnTo>
                    <a:pt x="2" y="186"/>
                  </a:lnTo>
                  <a:lnTo>
                    <a:pt x="0" y="186"/>
                  </a:lnTo>
                  <a:lnTo>
                    <a:pt x="0" y="184"/>
                  </a:lnTo>
                  <a:lnTo>
                    <a:pt x="2" y="184"/>
                  </a:lnTo>
                  <a:lnTo>
                    <a:pt x="0" y="184"/>
                  </a:lnTo>
                  <a:lnTo>
                    <a:pt x="0" y="182"/>
                  </a:lnTo>
                  <a:lnTo>
                    <a:pt x="0" y="180"/>
                  </a:lnTo>
                  <a:lnTo>
                    <a:pt x="2" y="180"/>
                  </a:lnTo>
                  <a:lnTo>
                    <a:pt x="2" y="178"/>
                  </a:lnTo>
                  <a:lnTo>
                    <a:pt x="2" y="176"/>
                  </a:lnTo>
                  <a:lnTo>
                    <a:pt x="2" y="174"/>
                  </a:lnTo>
                  <a:lnTo>
                    <a:pt x="2" y="172"/>
                  </a:lnTo>
                  <a:lnTo>
                    <a:pt x="4" y="172"/>
                  </a:lnTo>
                  <a:lnTo>
                    <a:pt x="4" y="170"/>
                  </a:lnTo>
                  <a:lnTo>
                    <a:pt x="4" y="168"/>
                  </a:lnTo>
                  <a:lnTo>
                    <a:pt x="6" y="168"/>
                  </a:lnTo>
                  <a:lnTo>
                    <a:pt x="6" y="166"/>
                  </a:lnTo>
                  <a:lnTo>
                    <a:pt x="8" y="166"/>
                  </a:lnTo>
                  <a:lnTo>
                    <a:pt x="8" y="166"/>
                  </a:lnTo>
                  <a:lnTo>
                    <a:pt x="10" y="166"/>
                  </a:lnTo>
                  <a:lnTo>
                    <a:pt x="12" y="166"/>
                  </a:lnTo>
                  <a:lnTo>
                    <a:pt x="10" y="166"/>
                  </a:lnTo>
                  <a:lnTo>
                    <a:pt x="8" y="166"/>
                  </a:lnTo>
                  <a:lnTo>
                    <a:pt x="8" y="166"/>
                  </a:lnTo>
                  <a:lnTo>
                    <a:pt x="6" y="166"/>
                  </a:lnTo>
                  <a:lnTo>
                    <a:pt x="8" y="166"/>
                  </a:lnTo>
                  <a:lnTo>
                    <a:pt x="6" y="166"/>
                  </a:lnTo>
                  <a:lnTo>
                    <a:pt x="6" y="166"/>
                  </a:lnTo>
                  <a:lnTo>
                    <a:pt x="8" y="166"/>
                  </a:lnTo>
                  <a:lnTo>
                    <a:pt x="8" y="164"/>
                  </a:lnTo>
                  <a:lnTo>
                    <a:pt x="10" y="164"/>
                  </a:lnTo>
                  <a:lnTo>
                    <a:pt x="10" y="162"/>
                  </a:lnTo>
                  <a:lnTo>
                    <a:pt x="12" y="162"/>
                  </a:lnTo>
                  <a:lnTo>
                    <a:pt x="12" y="160"/>
                  </a:lnTo>
                  <a:lnTo>
                    <a:pt x="12" y="158"/>
                  </a:lnTo>
                  <a:lnTo>
                    <a:pt x="12" y="156"/>
                  </a:lnTo>
                  <a:lnTo>
                    <a:pt x="12" y="154"/>
                  </a:lnTo>
                  <a:lnTo>
                    <a:pt x="12" y="152"/>
                  </a:lnTo>
                  <a:close/>
                  <a:moveTo>
                    <a:pt x="135" y="12"/>
                  </a:moveTo>
                  <a:lnTo>
                    <a:pt x="135" y="14"/>
                  </a:lnTo>
                  <a:lnTo>
                    <a:pt x="135" y="12"/>
                  </a:lnTo>
                  <a:lnTo>
                    <a:pt x="133" y="12"/>
                  </a:lnTo>
                  <a:lnTo>
                    <a:pt x="135" y="12"/>
                  </a:lnTo>
                  <a:close/>
                  <a:moveTo>
                    <a:pt x="135" y="12"/>
                  </a:moveTo>
                  <a:lnTo>
                    <a:pt x="133" y="12"/>
                  </a:lnTo>
                  <a:lnTo>
                    <a:pt x="135" y="12"/>
                  </a:lnTo>
                  <a:close/>
                  <a:moveTo>
                    <a:pt x="133" y="10"/>
                  </a:moveTo>
                  <a:lnTo>
                    <a:pt x="133" y="12"/>
                  </a:lnTo>
                  <a:lnTo>
                    <a:pt x="133" y="10"/>
                  </a:lnTo>
                  <a:close/>
                  <a:moveTo>
                    <a:pt x="133" y="10"/>
                  </a:moveTo>
                  <a:lnTo>
                    <a:pt x="133" y="12"/>
                  </a:lnTo>
                  <a:lnTo>
                    <a:pt x="133" y="10"/>
                  </a:lnTo>
                  <a:close/>
                  <a:moveTo>
                    <a:pt x="131" y="10"/>
                  </a:moveTo>
                  <a:lnTo>
                    <a:pt x="131" y="12"/>
                  </a:lnTo>
                  <a:lnTo>
                    <a:pt x="131" y="10"/>
                  </a:lnTo>
                  <a:lnTo>
                    <a:pt x="131" y="12"/>
                  </a:lnTo>
                  <a:lnTo>
                    <a:pt x="129" y="12"/>
                  </a:lnTo>
                  <a:lnTo>
                    <a:pt x="129" y="10"/>
                  </a:lnTo>
                  <a:lnTo>
                    <a:pt x="131" y="10"/>
                  </a:lnTo>
                  <a:lnTo>
                    <a:pt x="129" y="10"/>
                  </a:lnTo>
                  <a:lnTo>
                    <a:pt x="131" y="10"/>
                  </a:lnTo>
                  <a:close/>
                  <a:moveTo>
                    <a:pt x="133" y="10"/>
                  </a:moveTo>
                  <a:lnTo>
                    <a:pt x="131" y="10"/>
                  </a:lnTo>
                  <a:lnTo>
                    <a:pt x="133" y="10"/>
                  </a:lnTo>
                  <a:close/>
                  <a:moveTo>
                    <a:pt x="133" y="10"/>
                  </a:moveTo>
                  <a:lnTo>
                    <a:pt x="133" y="12"/>
                  </a:lnTo>
                  <a:lnTo>
                    <a:pt x="133" y="10"/>
                  </a:lnTo>
                  <a:close/>
                  <a:moveTo>
                    <a:pt x="133" y="10"/>
                  </a:moveTo>
                  <a:lnTo>
                    <a:pt x="133" y="12"/>
                  </a:lnTo>
                  <a:lnTo>
                    <a:pt x="133" y="10"/>
                  </a:lnTo>
                  <a:lnTo>
                    <a:pt x="133" y="12"/>
                  </a:lnTo>
                  <a:lnTo>
                    <a:pt x="133" y="10"/>
                  </a:lnTo>
                  <a:close/>
                  <a:moveTo>
                    <a:pt x="119" y="2"/>
                  </a:moveTo>
                  <a:lnTo>
                    <a:pt x="117" y="2"/>
                  </a:lnTo>
                  <a:lnTo>
                    <a:pt x="119" y="2"/>
                  </a:lnTo>
                  <a:close/>
                  <a:moveTo>
                    <a:pt x="117" y="2"/>
                  </a:moveTo>
                  <a:lnTo>
                    <a:pt x="117" y="0"/>
                  </a:lnTo>
                  <a:lnTo>
                    <a:pt x="117" y="2"/>
                  </a:lnTo>
                  <a:close/>
                </a:path>
              </a:pathLst>
            </a:custGeom>
            <a:solidFill>
              <a:srgbClr val="816767"/>
            </a:solidFill>
            <a:ln w="3175">
              <a:solidFill>
                <a:sysClr val="window" lastClr="FFFF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black"/>
                </a:solidFill>
                <a:effectLst/>
                <a:uLnTx/>
                <a:uFillTx/>
                <a:ea typeface="宋体" panose="02010600030101010101" pitchFamily="2" charset="-122"/>
              </a:endParaRPr>
            </a:p>
          </p:txBody>
        </p:sp>
        <p:sp>
          <p:nvSpPr>
            <p:cNvPr id="10" name="Freeform 3184">
              <a:extLst>
                <a:ext uri="{FF2B5EF4-FFF2-40B4-BE49-F238E27FC236}">
                  <a16:creationId xmlns:a16="http://schemas.microsoft.com/office/drawing/2014/main" id="{DA883C86-1498-A77C-89C9-957274715C41}"/>
                </a:ext>
              </a:extLst>
            </p:cNvPr>
            <p:cNvSpPr>
              <a:spLocks/>
            </p:cNvSpPr>
            <p:nvPr/>
          </p:nvSpPr>
          <p:spPr bwMode="auto">
            <a:xfrm>
              <a:off x="4776788" y="2720975"/>
              <a:ext cx="466725" cy="338138"/>
            </a:xfrm>
            <a:custGeom>
              <a:avLst/>
              <a:gdLst>
                <a:gd name="T0" fmla="*/ 94 w 294"/>
                <a:gd name="T1" fmla="*/ 10 h 213"/>
                <a:gd name="T2" fmla="*/ 110 w 294"/>
                <a:gd name="T3" fmla="*/ 12 h 213"/>
                <a:gd name="T4" fmla="*/ 124 w 294"/>
                <a:gd name="T5" fmla="*/ 14 h 213"/>
                <a:gd name="T6" fmla="*/ 140 w 294"/>
                <a:gd name="T7" fmla="*/ 18 h 213"/>
                <a:gd name="T8" fmla="*/ 156 w 294"/>
                <a:gd name="T9" fmla="*/ 20 h 213"/>
                <a:gd name="T10" fmla="*/ 170 w 294"/>
                <a:gd name="T11" fmla="*/ 22 h 213"/>
                <a:gd name="T12" fmla="*/ 186 w 294"/>
                <a:gd name="T13" fmla="*/ 24 h 213"/>
                <a:gd name="T14" fmla="*/ 204 w 294"/>
                <a:gd name="T15" fmla="*/ 26 h 213"/>
                <a:gd name="T16" fmla="*/ 218 w 294"/>
                <a:gd name="T17" fmla="*/ 28 h 213"/>
                <a:gd name="T18" fmla="*/ 236 w 294"/>
                <a:gd name="T19" fmla="*/ 30 h 213"/>
                <a:gd name="T20" fmla="*/ 254 w 294"/>
                <a:gd name="T21" fmla="*/ 32 h 213"/>
                <a:gd name="T22" fmla="*/ 270 w 294"/>
                <a:gd name="T23" fmla="*/ 34 h 213"/>
                <a:gd name="T24" fmla="*/ 288 w 294"/>
                <a:gd name="T25" fmla="*/ 34 h 213"/>
                <a:gd name="T26" fmla="*/ 288 w 294"/>
                <a:gd name="T27" fmla="*/ 46 h 213"/>
                <a:gd name="T28" fmla="*/ 282 w 294"/>
                <a:gd name="T29" fmla="*/ 54 h 213"/>
                <a:gd name="T30" fmla="*/ 292 w 294"/>
                <a:gd name="T31" fmla="*/ 62 h 213"/>
                <a:gd name="T32" fmla="*/ 294 w 294"/>
                <a:gd name="T33" fmla="*/ 78 h 213"/>
                <a:gd name="T34" fmla="*/ 292 w 294"/>
                <a:gd name="T35" fmla="*/ 94 h 213"/>
                <a:gd name="T36" fmla="*/ 292 w 294"/>
                <a:gd name="T37" fmla="*/ 113 h 213"/>
                <a:gd name="T38" fmla="*/ 290 w 294"/>
                <a:gd name="T39" fmla="*/ 131 h 213"/>
                <a:gd name="T40" fmla="*/ 288 w 294"/>
                <a:gd name="T41" fmla="*/ 149 h 213"/>
                <a:gd name="T42" fmla="*/ 284 w 294"/>
                <a:gd name="T43" fmla="*/ 161 h 213"/>
                <a:gd name="T44" fmla="*/ 282 w 294"/>
                <a:gd name="T45" fmla="*/ 171 h 213"/>
                <a:gd name="T46" fmla="*/ 284 w 294"/>
                <a:gd name="T47" fmla="*/ 183 h 213"/>
                <a:gd name="T48" fmla="*/ 282 w 294"/>
                <a:gd name="T49" fmla="*/ 195 h 213"/>
                <a:gd name="T50" fmla="*/ 280 w 294"/>
                <a:gd name="T51" fmla="*/ 201 h 213"/>
                <a:gd name="T52" fmla="*/ 282 w 294"/>
                <a:gd name="T53" fmla="*/ 213 h 213"/>
                <a:gd name="T54" fmla="*/ 274 w 294"/>
                <a:gd name="T55" fmla="*/ 207 h 213"/>
                <a:gd name="T56" fmla="*/ 268 w 294"/>
                <a:gd name="T57" fmla="*/ 199 h 213"/>
                <a:gd name="T58" fmla="*/ 258 w 294"/>
                <a:gd name="T59" fmla="*/ 195 h 213"/>
                <a:gd name="T60" fmla="*/ 248 w 294"/>
                <a:gd name="T61" fmla="*/ 193 h 213"/>
                <a:gd name="T62" fmla="*/ 232 w 294"/>
                <a:gd name="T63" fmla="*/ 189 h 213"/>
                <a:gd name="T64" fmla="*/ 222 w 294"/>
                <a:gd name="T65" fmla="*/ 191 h 213"/>
                <a:gd name="T66" fmla="*/ 210 w 294"/>
                <a:gd name="T67" fmla="*/ 185 h 213"/>
                <a:gd name="T68" fmla="*/ 196 w 294"/>
                <a:gd name="T69" fmla="*/ 179 h 213"/>
                <a:gd name="T70" fmla="*/ 176 w 294"/>
                <a:gd name="T71" fmla="*/ 177 h 213"/>
                <a:gd name="T72" fmla="*/ 158 w 294"/>
                <a:gd name="T73" fmla="*/ 175 h 213"/>
                <a:gd name="T74" fmla="*/ 142 w 294"/>
                <a:gd name="T75" fmla="*/ 173 h 213"/>
                <a:gd name="T76" fmla="*/ 126 w 294"/>
                <a:gd name="T77" fmla="*/ 169 h 213"/>
                <a:gd name="T78" fmla="*/ 104 w 294"/>
                <a:gd name="T79" fmla="*/ 167 h 213"/>
                <a:gd name="T80" fmla="*/ 84 w 294"/>
                <a:gd name="T81" fmla="*/ 163 h 213"/>
                <a:gd name="T82" fmla="*/ 68 w 294"/>
                <a:gd name="T83" fmla="*/ 161 h 213"/>
                <a:gd name="T84" fmla="*/ 46 w 294"/>
                <a:gd name="T85" fmla="*/ 157 h 213"/>
                <a:gd name="T86" fmla="*/ 28 w 294"/>
                <a:gd name="T87" fmla="*/ 153 h 213"/>
                <a:gd name="T88" fmla="*/ 14 w 294"/>
                <a:gd name="T89" fmla="*/ 151 h 213"/>
                <a:gd name="T90" fmla="*/ 0 w 294"/>
                <a:gd name="T91" fmla="*/ 149 h 213"/>
                <a:gd name="T92" fmla="*/ 4 w 294"/>
                <a:gd name="T93" fmla="*/ 131 h 213"/>
                <a:gd name="T94" fmla="*/ 6 w 294"/>
                <a:gd name="T95" fmla="*/ 115 h 213"/>
                <a:gd name="T96" fmla="*/ 10 w 294"/>
                <a:gd name="T97" fmla="*/ 99 h 213"/>
                <a:gd name="T98" fmla="*/ 14 w 294"/>
                <a:gd name="T99" fmla="*/ 76 h 213"/>
                <a:gd name="T100" fmla="*/ 16 w 294"/>
                <a:gd name="T101" fmla="*/ 60 h 213"/>
                <a:gd name="T102" fmla="*/ 20 w 294"/>
                <a:gd name="T103" fmla="*/ 48 h 213"/>
                <a:gd name="T104" fmla="*/ 22 w 294"/>
                <a:gd name="T105" fmla="*/ 28 h 213"/>
                <a:gd name="T106" fmla="*/ 26 w 294"/>
                <a:gd name="T107" fmla="*/ 12 h 213"/>
                <a:gd name="T108" fmla="*/ 34 w 294"/>
                <a:gd name="T109" fmla="*/ 0 h 213"/>
                <a:gd name="T110" fmla="*/ 48 w 294"/>
                <a:gd name="T111" fmla="*/ 4 h 213"/>
                <a:gd name="T112" fmla="*/ 66 w 294"/>
                <a:gd name="T113" fmla="*/ 6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94" h="213">
                  <a:moveTo>
                    <a:pt x="78" y="8"/>
                  </a:moveTo>
                  <a:lnTo>
                    <a:pt x="80" y="8"/>
                  </a:lnTo>
                  <a:lnTo>
                    <a:pt x="82" y="8"/>
                  </a:lnTo>
                  <a:lnTo>
                    <a:pt x="84" y="8"/>
                  </a:lnTo>
                  <a:lnTo>
                    <a:pt x="86" y="8"/>
                  </a:lnTo>
                  <a:lnTo>
                    <a:pt x="88" y="10"/>
                  </a:lnTo>
                  <a:lnTo>
                    <a:pt x="90" y="10"/>
                  </a:lnTo>
                  <a:lnTo>
                    <a:pt x="92" y="10"/>
                  </a:lnTo>
                  <a:lnTo>
                    <a:pt x="94" y="10"/>
                  </a:lnTo>
                  <a:lnTo>
                    <a:pt x="96" y="10"/>
                  </a:lnTo>
                  <a:lnTo>
                    <a:pt x="98" y="10"/>
                  </a:lnTo>
                  <a:lnTo>
                    <a:pt x="100" y="10"/>
                  </a:lnTo>
                  <a:lnTo>
                    <a:pt x="100" y="12"/>
                  </a:lnTo>
                  <a:lnTo>
                    <a:pt x="102" y="12"/>
                  </a:lnTo>
                  <a:lnTo>
                    <a:pt x="104" y="12"/>
                  </a:lnTo>
                  <a:lnTo>
                    <a:pt x="106" y="12"/>
                  </a:lnTo>
                  <a:lnTo>
                    <a:pt x="108" y="12"/>
                  </a:lnTo>
                  <a:lnTo>
                    <a:pt x="110" y="12"/>
                  </a:lnTo>
                  <a:lnTo>
                    <a:pt x="112" y="12"/>
                  </a:lnTo>
                  <a:lnTo>
                    <a:pt x="112" y="14"/>
                  </a:lnTo>
                  <a:lnTo>
                    <a:pt x="114" y="14"/>
                  </a:lnTo>
                  <a:lnTo>
                    <a:pt x="116" y="14"/>
                  </a:lnTo>
                  <a:lnTo>
                    <a:pt x="118" y="14"/>
                  </a:lnTo>
                  <a:lnTo>
                    <a:pt x="118" y="14"/>
                  </a:lnTo>
                  <a:lnTo>
                    <a:pt x="120" y="14"/>
                  </a:lnTo>
                  <a:lnTo>
                    <a:pt x="122" y="14"/>
                  </a:lnTo>
                  <a:lnTo>
                    <a:pt x="124" y="14"/>
                  </a:lnTo>
                  <a:lnTo>
                    <a:pt x="124" y="16"/>
                  </a:lnTo>
                  <a:lnTo>
                    <a:pt x="126" y="16"/>
                  </a:lnTo>
                  <a:lnTo>
                    <a:pt x="128" y="16"/>
                  </a:lnTo>
                  <a:lnTo>
                    <a:pt x="130" y="16"/>
                  </a:lnTo>
                  <a:lnTo>
                    <a:pt x="132" y="16"/>
                  </a:lnTo>
                  <a:lnTo>
                    <a:pt x="136" y="16"/>
                  </a:lnTo>
                  <a:lnTo>
                    <a:pt x="136" y="18"/>
                  </a:lnTo>
                  <a:lnTo>
                    <a:pt x="138" y="18"/>
                  </a:lnTo>
                  <a:lnTo>
                    <a:pt x="140" y="18"/>
                  </a:lnTo>
                  <a:lnTo>
                    <a:pt x="142" y="18"/>
                  </a:lnTo>
                  <a:lnTo>
                    <a:pt x="144" y="18"/>
                  </a:lnTo>
                  <a:lnTo>
                    <a:pt x="146" y="18"/>
                  </a:lnTo>
                  <a:lnTo>
                    <a:pt x="148" y="18"/>
                  </a:lnTo>
                  <a:lnTo>
                    <a:pt x="150" y="18"/>
                  </a:lnTo>
                  <a:lnTo>
                    <a:pt x="150" y="20"/>
                  </a:lnTo>
                  <a:lnTo>
                    <a:pt x="152" y="20"/>
                  </a:lnTo>
                  <a:lnTo>
                    <a:pt x="154" y="20"/>
                  </a:lnTo>
                  <a:lnTo>
                    <a:pt x="156" y="20"/>
                  </a:lnTo>
                  <a:lnTo>
                    <a:pt x="158" y="20"/>
                  </a:lnTo>
                  <a:lnTo>
                    <a:pt x="160" y="20"/>
                  </a:lnTo>
                  <a:lnTo>
                    <a:pt x="162" y="20"/>
                  </a:lnTo>
                  <a:lnTo>
                    <a:pt x="164" y="20"/>
                  </a:lnTo>
                  <a:lnTo>
                    <a:pt x="166" y="20"/>
                  </a:lnTo>
                  <a:lnTo>
                    <a:pt x="166" y="22"/>
                  </a:lnTo>
                  <a:lnTo>
                    <a:pt x="166" y="22"/>
                  </a:lnTo>
                  <a:lnTo>
                    <a:pt x="168" y="22"/>
                  </a:lnTo>
                  <a:lnTo>
                    <a:pt x="170" y="22"/>
                  </a:lnTo>
                  <a:lnTo>
                    <a:pt x="172" y="22"/>
                  </a:lnTo>
                  <a:lnTo>
                    <a:pt x="174" y="22"/>
                  </a:lnTo>
                  <a:lnTo>
                    <a:pt x="176" y="22"/>
                  </a:lnTo>
                  <a:lnTo>
                    <a:pt x="178" y="22"/>
                  </a:lnTo>
                  <a:lnTo>
                    <a:pt x="178" y="24"/>
                  </a:lnTo>
                  <a:lnTo>
                    <a:pt x="180" y="24"/>
                  </a:lnTo>
                  <a:lnTo>
                    <a:pt x="182" y="24"/>
                  </a:lnTo>
                  <a:lnTo>
                    <a:pt x="184" y="24"/>
                  </a:lnTo>
                  <a:lnTo>
                    <a:pt x="186" y="24"/>
                  </a:lnTo>
                  <a:lnTo>
                    <a:pt x="188" y="24"/>
                  </a:lnTo>
                  <a:lnTo>
                    <a:pt x="190" y="24"/>
                  </a:lnTo>
                  <a:lnTo>
                    <a:pt x="192" y="24"/>
                  </a:lnTo>
                  <a:lnTo>
                    <a:pt x="194" y="24"/>
                  </a:lnTo>
                  <a:lnTo>
                    <a:pt x="196" y="26"/>
                  </a:lnTo>
                  <a:lnTo>
                    <a:pt x="198" y="26"/>
                  </a:lnTo>
                  <a:lnTo>
                    <a:pt x="200" y="26"/>
                  </a:lnTo>
                  <a:lnTo>
                    <a:pt x="202" y="26"/>
                  </a:lnTo>
                  <a:lnTo>
                    <a:pt x="204" y="26"/>
                  </a:lnTo>
                  <a:lnTo>
                    <a:pt x="206" y="26"/>
                  </a:lnTo>
                  <a:lnTo>
                    <a:pt x="208" y="26"/>
                  </a:lnTo>
                  <a:lnTo>
                    <a:pt x="210" y="26"/>
                  </a:lnTo>
                  <a:lnTo>
                    <a:pt x="212" y="26"/>
                  </a:lnTo>
                  <a:lnTo>
                    <a:pt x="212" y="28"/>
                  </a:lnTo>
                  <a:lnTo>
                    <a:pt x="214" y="28"/>
                  </a:lnTo>
                  <a:lnTo>
                    <a:pt x="214" y="28"/>
                  </a:lnTo>
                  <a:lnTo>
                    <a:pt x="216" y="28"/>
                  </a:lnTo>
                  <a:lnTo>
                    <a:pt x="218" y="28"/>
                  </a:lnTo>
                  <a:lnTo>
                    <a:pt x="220" y="28"/>
                  </a:lnTo>
                  <a:lnTo>
                    <a:pt x="222" y="28"/>
                  </a:lnTo>
                  <a:lnTo>
                    <a:pt x="224" y="28"/>
                  </a:lnTo>
                  <a:lnTo>
                    <a:pt x="226" y="28"/>
                  </a:lnTo>
                  <a:lnTo>
                    <a:pt x="228" y="30"/>
                  </a:lnTo>
                  <a:lnTo>
                    <a:pt x="230" y="30"/>
                  </a:lnTo>
                  <a:lnTo>
                    <a:pt x="232" y="30"/>
                  </a:lnTo>
                  <a:lnTo>
                    <a:pt x="234" y="30"/>
                  </a:lnTo>
                  <a:lnTo>
                    <a:pt x="236" y="30"/>
                  </a:lnTo>
                  <a:lnTo>
                    <a:pt x="238" y="30"/>
                  </a:lnTo>
                  <a:lnTo>
                    <a:pt x="240" y="30"/>
                  </a:lnTo>
                  <a:lnTo>
                    <a:pt x="242" y="30"/>
                  </a:lnTo>
                  <a:lnTo>
                    <a:pt x="246" y="30"/>
                  </a:lnTo>
                  <a:lnTo>
                    <a:pt x="246" y="32"/>
                  </a:lnTo>
                  <a:lnTo>
                    <a:pt x="248" y="32"/>
                  </a:lnTo>
                  <a:lnTo>
                    <a:pt x="250" y="32"/>
                  </a:lnTo>
                  <a:lnTo>
                    <a:pt x="252" y="32"/>
                  </a:lnTo>
                  <a:lnTo>
                    <a:pt x="254" y="32"/>
                  </a:lnTo>
                  <a:lnTo>
                    <a:pt x="256" y="32"/>
                  </a:lnTo>
                  <a:lnTo>
                    <a:pt x="258" y="32"/>
                  </a:lnTo>
                  <a:lnTo>
                    <a:pt x="260" y="32"/>
                  </a:lnTo>
                  <a:lnTo>
                    <a:pt x="262" y="32"/>
                  </a:lnTo>
                  <a:lnTo>
                    <a:pt x="264" y="32"/>
                  </a:lnTo>
                  <a:lnTo>
                    <a:pt x="266" y="32"/>
                  </a:lnTo>
                  <a:lnTo>
                    <a:pt x="266" y="34"/>
                  </a:lnTo>
                  <a:lnTo>
                    <a:pt x="268" y="34"/>
                  </a:lnTo>
                  <a:lnTo>
                    <a:pt x="270" y="34"/>
                  </a:lnTo>
                  <a:lnTo>
                    <a:pt x="272" y="34"/>
                  </a:lnTo>
                  <a:lnTo>
                    <a:pt x="274" y="34"/>
                  </a:lnTo>
                  <a:lnTo>
                    <a:pt x="276" y="34"/>
                  </a:lnTo>
                  <a:lnTo>
                    <a:pt x="278" y="34"/>
                  </a:lnTo>
                  <a:lnTo>
                    <a:pt x="280" y="34"/>
                  </a:lnTo>
                  <a:lnTo>
                    <a:pt x="282" y="34"/>
                  </a:lnTo>
                  <a:lnTo>
                    <a:pt x="284" y="34"/>
                  </a:lnTo>
                  <a:lnTo>
                    <a:pt x="286" y="34"/>
                  </a:lnTo>
                  <a:lnTo>
                    <a:pt x="288" y="34"/>
                  </a:lnTo>
                  <a:lnTo>
                    <a:pt x="290" y="34"/>
                  </a:lnTo>
                  <a:lnTo>
                    <a:pt x="292" y="36"/>
                  </a:lnTo>
                  <a:lnTo>
                    <a:pt x="292" y="38"/>
                  </a:lnTo>
                  <a:lnTo>
                    <a:pt x="292" y="40"/>
                  </a:lnTo>
                  <a:lnTo>
                    <a:pt x="292" y="42"/>
                  </a:lnTo>
                  <a:lnTo>
                    <a:pt x="290" y="42"/>
                  </a:lnTo>
                  <a:lnTo>
                    <a:pt x="290" y="44"/>
                  </a:lnTo>
                  <a:lnTo>
                    <a:pt x="288" y="44"/>
                  </a:lnTo>
                  <a:lnTo>
                    <a:pt x="288" y="46"/>
                  </a:lnTo>
                  <a:lnTo>
                    <a:pt x="286" y="46"/>
                  </a:lnTo>
                  <a:lnTo>
                    <a:pt x="286" y="48"/>
                  </a:lnTo>
                  <a:lnTo>
                    <a:pt x="284" y="48"/>
                  </a:lnTo>
                  <a:lnTo>
                    <a:pt x="282" y="48"/>
                  </a:lnTo>
                  <a:lnTo>
                    <a:pt x="282" y="50"/>
                  </a:lnTo>
                  <a:lnTo>
                    <a:pt x="280" y="52"/>
                  </a:lnTo>
                  <a:lnTo>
                    <a:pt x="282" y="52"/>
                  </a:lnTo>
                  <a:lnTo>
                    <a:pt x="282" y="52"/>
                  </a:lnTo>
                  <a:lnTo>
                    <a:pt x="282" y="54"/>
                  </a:lnTo>
                  <a:lnTo>
                    <a:pt x="284" y="54"/>
                  </a:lnTo>
                  <a:lnTo>
                    <a:pt x="284" y="56"/>
                  </a:lnTo>
                  <a:lnTo>
                    <a:pt x="284" y="58"/>
                  </a:lnTo>
                  <a:lnTo>
                    <a:pt x="286" y="58"/>
                  </a:lnTo>
                  <a:lnTo>
                    <a:pt x="286" y="60"/>
                  </a:lnTo>
                  <a:lnTo>
                    <a:pt x="288" y="60"/>
                  </a:lnTo>
                  <a:lnTo>
                    <a:pt x="288" y="62"/>
                  </a:lnTo>
                  <a:lnTo>
                    <a:pt x="290" y="62"/>
                  </a:lnTo>
                  <a:lnTo>
                    <a:pt x="292" y="62"/>
                  </a:lnTo>
                  <a:lnTo>
                    <a:pt x="292" y="64"/>
                  </a:lnTo>
                  <a:lnTo>
                    <a:pt x="294" y="64"/>
                  </a:lnTo>
                  <a:lnTo>
                    <a:pt x="294" y="66"/>
                  </a:lnTo>
                  <a:lnTo>
                    <a:pt x="294" y="68"/>
                  </a:lnTo>
                  <a:lnTo>
                    <a:pt x="294" y="70"/>
                  </a:lnTo>
                  <a:lnTo>
                    <a:pt x="294" y="72"/>
                  </a:lnTo>
                  <a:lnTo>
                    <a:pt x="294" y="74"/>
                  </a:lnTo>
                  <a:lnTo>
                    <a:pt x="294" y="76"/>
                  </a:lnTo>
                  <a:lnTo>
                    <a:pt x="294" y="78"/>
                  </a:lnTo>
                  <a:lnTo>
                    <a:pt x="294" y="80"/>
                  </a:lnTo>
                  <a:lnTo>
                    <a:pt x="294" y="82"/>
                  </a:lnTo>
                  <a:lnTo>
                    <a:pt x="294" y="84"/>
                  </a:lnTo>
                  <a:lnTo>
                    <a:pt x="294" y="86"/>
                  </a:lnTo>
                  <a:lnTo>
                    <a:pt x="294" y="88"/>
                  </a:lnTo>
                  <a:lnTo>
                    <a:pt x="294" y="90"/>
                  </a:lnTo>
                  <a:lnTo>
                    <a:pt x="292" y="90"/>
                  </a:lnTo>
                  <a:lnTo>
                    <a:pt x="292" y="92"/>
                  </a:lnTo>
                  <a:lnTo>
                    <a:pt x="292" y="94"/>
                  </a:lnTo>
                  <a:lnTo>
                    <a:pt x="292" y="96"/>
                  </a:lnTo>
                  <a:lnTo>
                    <a:pt x="292" y="99"/>
                  </a:lnTo>
                  <a:lnTo>
                    <a:pt x="292" y="101"/>
                  </a:lnTo>
                  <a:lnTo>
                    <a:pt x="292" y="103"/>
                  </a:lnTo>
                  <a:lnTo>
                    <a:pt x="292" y="105"/>
                  </a:lnTo>
                  <a:lnTo>
                    <a:pt x="292" y="107"/>
                  </a:lnTo>
                  <a:lnTo>
                    <a:pt x="292" y="109"/>
                  </a:lnTo>
                  <a:lnTo>
                    <a:pt x="292" y="111"/>
                  </a:lnTo>
                  <a:lnTo>
                    <a:pt x="292" y="113"/>
                  </a:lnTo>
                  <a:lnTo>
                    <a:pt x="292" y="115"/>
                  </a:lnTo>
                  <a:lnTo>
                    <a:pt x="290" y="117"/>
                  </a:lnTo>
                  <a:lnTo>
                    <a:pt x="290" y="119"/>
                  </a:lnTo>
                  <a:lnTo>
                    <a:pt x="290" y="121"/>
                  </a:lnTo>
                  <a:lnTo>
                    <a:pt x="290" y="123"/>
                  </a:lnTo>
                  <a:lnTo>
                    <a:pt x="290" y="125"/>
                  </a:lnTo>
                  <a:lnTo>
                    <a:pt x="290" y="127"/>
                  </a:lnTo>
                  <a:lnTo>
                    <a:pt x="290" y="129"/>
                  </a:lnTo>
                  <a:lnTo>
                    <a:pt x="290" y="131"/>
                  </a:lnTo>
                  <a:lnTo>
                    <a:pt x="290" y="133"/>
                  </a:lnTo>
                  <a:lnTo>
                    <a:pt x="290" y="135"/>
                  </a:lnTo>
                  <a:lnTo>
                    <a:pt x="290" y="137"/>
                  </a:lnTo>
                  <a:lnTo>
                    <a:pt x="290" y="139"/>
                  </a:lnTo>
                  <a:lnTo>
                    <a:pt x="290" y="141"/>
                  </a:lnTo>
                  <a:lnTo>
                    <a:pt x="288" y="143"/>
                  </a:lnTo>
                  <a:lnTo>
                    <a:pt x="288" y="145"/>
                  </a:lnTo>
                  <a:lnTo>
                    <a:pt x="288" y="147"/>
                  </a:lnTo>
                  <a:lnTo>
                    <a:pt x="288" y="149"/>
                  </a:lnTo>
                  <a:lnTo>
                    <a:pt x="288" y="149"/>
                  </a:lnTo>
                  <a:lnTo>
                    <a:pt x="288" y="151"/>
                  </a:lnTo>
                  <a:lnTo>
                    <a:pt x="288" y="153"/>
                  </a:lnTo>
                  <a:lnTo>
                    <a:pt x="288" y="155"/>
                  </a:lnTo>
                  <a:lnTo>
                    <a:pt x="288" y="157"/>
                  </a:lnTo>
                  <a:lnTo>
                    <a:pt x="288" y="159"/>
                  </a:lnTo>
                  <a:lnTo>
                    <a:pt x="288" y="161"/>
                  </a:lnTo>
                  <a:lnTo>
                    <a:pt x="286" y="161"/>
                  </a:lnTo>
                  <a:lnTo>
                    <a:pt x="284" y="161"/>
                  </a:lnTo>
                  <a:lnTo>
                    <a:pt x="282" y="159"/>
                  </a:lnTo>
                  <a:lnTo>
                    <a:pt x="282" y="161"/>
                  </a:lnTo>
                  <a:lnTo>
                    <a:pt x="282" y="163"/>
                  </a:lnTo>
                  <a:lnTo>
                    <a:pt x="282" y="165"/>
                  </a:lnTo>
                  <a:lnTo>
                    <a:pt x="284" y="165"/>
                  </a:lnTo>
                  <a:lnTo>
                    <a:pt x="284" y="167"/>
                  </a:lnTo>
                  <a:lnTo>
                    <a:pt x="284" y="169"/>
                  </a:lnTo>
                  <a:lnTo>
                    <a:pt x="284" y="171"/>
                  </a:lnTo>
                  <a:lnTo>
                    <a:pt x="282" y="171"/>
                  </a:lnTo>
                  <a:lnTo>
                    <a:pt x="282" y="173"/>
                  </a:lnTo>
                  <a:lnTo>
                    <a:pt x="282" y="175"/>
                  </a:lnTo>
                  <a:lnTo>
                    <a:pt x="284" y="175"/>
                  </a:lnTo>
                  <a:lnTo>
                    <a:pt x="286" y="175"/>
                  </a:lnTo>
                  <a:lnTo>
                    <a:pt x="286" y="177"/>
                  </a:lnTo>
                  <a:lnTo>
                    <a:pt x="286" y="179"/>
                  </a:lnTo>
                  <a:lnTo>
                    <a:pt x="286" y="181"/>
                  </a:lnTo>
                  <a:lnTo>
                    <a:pt x="286" y="183"/>
                  </a:lnTo>
                  <a:lnTo>
                    <a:pt x="284" y="183"/>
                  </a:lnTo>
                  <a:lnTo>
                    <a:pt x="284" y="185"/>
                  </a:lnTo>
                  <a:lnTo>
                    <a:pt x="284" y="187"/>
                  </a:lnTo>
                  <a:lnTo>
                    <a:pt x="284" y="189"/>
                  </a:lnTo>
                  <a:lnTo>
                    <a:pt x="282" y="189"/>
                  </a:lnTo>
                  <a:lnTo>
                    <a:pt x="284" y="189"/>
                  </a:lnTo>
                  <a:lnTo>
                    <a:pt x="284" y="191"/>
                  </a:lnTo>
                  <a:lnTo>
                    <a:pt x="282" y="191"/>
                  </a:lnTo>
                  <a:lnTo>
                    <a:pt x="282" y="193"/>
                  </a:lnTo>
                  <a:lnTo>
                    <a:pt x="282" y="195"/>
                  </a:lnTo>
                  <a:lnTo>
                    <a:pt x="280" y="195"/>
                  </a:lnTo>
                  <a:lnTo>
                    <a:pt x="280" y="195"/>
                  </a:lnTo>
                  <a:lnTo>
                    <a:pt x="280" y="195"/>
                  </a:lnTo>
                  <a:lnTo>
                    <a:pt x="280" y="195"/>
                  </a:lnTo>
                  <a:lnTo>
                    <a:pt x="280" y="197"/>
                  </a:lnTo>
                  <a:lnTo>
                    <a:pt x="278" y="197"/>
                  </a:lnTo>
                  <a:lnTo>
                    <a:pt x="278" y="199"/>
                  </a:lnTo>
                  <a:lnTo>
                    <a:pt x="278" y="201"/>
                  </a:lnTo>
                  <a:lnTo>
                    <a:pt x="280" y="201"/>
                  </a:lnTo>
                  <a:lnTo>
                    <a:pt x="280" y="203"/>
                  </a:lnTo>
                  <a:lnTo>
                    <a:pt x="280" y="205"/>
                  </a:lnTo>
                  <a:lnTo>
                    <a:pt x="282" y="205"/>
                  </a:lnTo>
                  <a:lnTo>
                    <a:pt x="282" y="207"/>
                  </a:lnTo>
                  <a:lnTo>
                    <a:pt x="282" y="205"/>
                  </a:lnTo>
                  <a:lnTo>
                    <a:pt x="282" y="207"/>
                  </a:lnTo>
                  <a:lnTo>
                    <a:pt x="282" y="209"/>
                  </a:lnTo>
                  <a:lnTo>
                    <a:pt x="282" y="211"/>
                  </a:lnTo>
                  <a:lnTo>
                    <a:pt x="282" y="213"/>
                  </a:lnTo>
                  <a:lnTo>
                    <a:pt x="284" y="213"/>
                  </a:lnTo>
                  <a:lnTo>
                    <a:pt x="282" y="213"/>
                  </a:lnTo>
                  <a:lnTo>
                    <a:pt x="282" y="211"/>
                  </a:lnTo>
                  <a:lnTo>
                    <a:pt x="280" y="211"/>
                  </a:lnTo>
                  <a:lnTo>
                    <a:pt x="278" y="211"/>
                  </a:lnTo>
                  <a:lnTo>
                    <a:pt x="276" y="211"/>
                  </a:lnTo>
                  <a:lnTo>
                    <a:pt x="276" y="209"/>
                  </a:lnTo>
                  <a:lnTo>
                    <a:pt x="276" y="207"/>
                  </a:lnTo>
                  <a:lnTo>
                    <a:pt x="274" y="207"/>
                  </a:lnTo>
                  <a:lnTo>
                    <a:pt x="274" y="205"/>
                  </a:lnTo>
                  <a:lnTo>
                    <a:pt x="274" y="203"/>
                  </a:lnTo>
                  <a:lnTo>
                    <a:pt x="276" y="203"/>
                  </a:lnTo>
                  <a:lnTo>
                    <a:pt x="274" y="203"/>
                  </a:lnTo>
                  <a:lnTo>
                    <a:pt x="272" y="203"/>
                  </a:lnTo>
                  <a:lnTo>
                    <a:pt x="270" y="203"/>
                  </a:lnTo>
                  <a:lnTo>
                    <a:pt x="270" y="201"/>
                  </a:lnTo>
                  <a:lnTo>
                    <a:pt x="270" y="199"/>
                  </a:lnTo>
                  <a:lnTo>
                    <a:pt x="268" y="199"/>
                  </a:lnTo>
                  <a:lnTo>
                    <a:pt x="266" y="199"/>
                  </a:lnTo>
                  <a:lnTo>
                    <a:pt x="264" y="199"/>
                  </a:lnTo>
                  <a:lnTo>
                    <a:pt x="264" y="197"/>
                  </a:lnTo>
                  <a:lnTo>
                    <a:pt x="262" y="197"/>
                  </a:lnTo>
                  <a:lnTo>
                    <a:pt x="262" y="195"/>
                  </a:lnTo>
                  <a:lnTo>
                    <a:pt x="262" y="195"/>
                  </a:lnTo>
                  <a:lnTo>
                    <a:pt x="260" y="195"/>
                  </a:lnTo>
                  <a:lnTo>
                    <a:pt x="260" y="195"/>
                  </a:lnTo>
                  <a:lnTo>
                    <a:pt x="258" y="195"/>
                  </a:lnTo>
                  <a:lnTo>
                    <a:pt x="256" y="195"/>
                  </a:lnTo>
                  <a:lnTo>
                    <a:pt x="256" y="193"/>
                  </a:lnTo>
                  <a:lnTo>
                    <a:pt x="254" y="193"/>
                  </a:lnTo>
                  <a:lnTo>
                    <a:pt x="254" y="191"/>
                  </a:lnTo>
                  <a:lnTo>
                    <a:pt x="252" y="191"/>
                  </a:lnTo>
                  <a:lnTo>
                    <a:pt x="252" y="193"/>
                  </a:lnTo>
                  <a:lnTo>
                    <a:pt x="250" y="191"/>
                  </a:lnTo>
                  <a:lnTo>
                    <a:pt x="248" y="191"/>
                  </a:lnTo>
                  <a:lnTo>
                    <a:pt x="248" y="193"/>
                  </a:lnTo>
                  <a:lnTo>
                    <a:pt x="246" y="193"/>
                  </a:lnTo>
                  <a:lnTo>
                    <a:pt x="246" y="191"/>
                  </a:lnTo>
                  <a:lnTo>
                    <a:pt x="244" y="191"/>
                  </a:lnTo>
                  <a:lnTo>
                    <a:pt x="242" y="191"/>
                  </a:lnTo>
                  <a:lnTo>
                    <a:pt x="240" y="191"/>
                  </a:lnTo>
                  <a:lnTo>
                    <a:pt x="238" y="191"/>
                  </a:lnTo>
                  <a:lnTo>
                    <a:pt x="236" y="191"/>
                  </a:lnTo>
                  <a:lnTo>
                    <a:pt x="234" y="191"/>
                  </a:lnTo>
                  <a:lnTo>
                    <a:pt x="232" y="189"/>
                  </a:lnTo>
                  <a:lnTo>
                    <a:pt x="230" y="191"/>
                  </a:lnTo>
                  <a:lnTo>
                    <a:pt x="230" y="193"/>
                  </a:lnTo>
                  <a:lnTo>
                    <a:pt x="228" y="193"/>
                  </a:lnTo>
                  <a:lnTo>
                    <a:pt x="228" y="195"/>
                  </a:lnTo>
                  <a:lnTo>
                    <a:pt x="226" y="195"/>
                  </a:lnTo>
                  <a:lnTo>
                    <a:pt x="224" y="195"/>
                  </a:lnTo>
                  <a:lnTo>
                    <a:pt x="224" y="193"/>
                  </a:lnTo>
                  <a:lnTo>
                    <a:pt x="222" y="193"/>
                  </a:lnTo>
                  <a:lnTo>
                    <a:pt x="222" y="191"/>
                  </a:lnTo>
                  <a:lnTo>
                    <a:pt x="220" y="191"/>
                  </a:lnTo>
                  <a:lnTo>
                    <a:pt x="218" y="189"/>
                  </a:lnTo>
                  <a:lnTo>
                    <a:pt x="216" y="189"/>
                  </a:lnTo>
                  <a:lnTo>
                    <a:pt x="216" y="187"/>
                  </a:lnTo>
                  <a:lnTo>
                    <a:pt x="214" y="187"/>
                  </a:lnTo>
                  <a:lnTo>
                    <a:pt x="214" y="187"/>
                  </a:lnTo>
                  <a:lnTo>
                    <a:pt x="214" y="185"/>
                  </a:lnTo>
                  <a:lnTo>
                    <a:pt x="212" y="185"/>
                  </a:lnTo>
                  <a:lnTo>
                    <a:pt x="210" y="185"/>
                  </a:lnTo>
                  <a:lnTo>
                    <a:pt x="210" y="183"/>
                  </a:lnTo>
                  <a:lnTo>
                    <a:pt x="210" y="181"/>
                  </a:lnTo>
                  <a:lnTo>
                    <a:pt x="208" y="181"/>
                  </a:lnTo>
                  <a:lnTo>
                    <a:pt x="206" y="179"/>
                  </a:lnTo>
                  <a:lnTo>
                    <a:pt x="204" y="179"/>
                  </a:lnTo>
                  <a:lnTo>
                    <a:pt x="202" y="179"/>
                  </a:lnTo>
                  <a:lnTo>
                    <a:pt x="200" y="179"/>
                  </a:lnTo>
                  <a:lnTo>
                    <a:pt x="198" y="179"/>
                  </a:lnTo>
                  <a:lnTo>
                    <a:pt x="196" y="179"/>
                  </a:lnTo>
                  <a:lnTo>
                    <a:pt x="194" y="179"/>
                  </a:lnTo>
                  <a:lnTo>
                    <a:pt x="192" y="179"/>
                  </a:lnTo>
                  <a:lnTo>
                    <a:pt x="190" y="179"/>
                  </a:lnTo>
                  <a:lnTo>
                    <a:pt x="186" y="177"/>
                  </a:lnTo>
                  <a:lnTo>
                    <a:pt x="184" y="177"/>
                  </a:lnTo>
                  <a:lnTo>
                    <a:pt x="182" y="177"/>
                  </a:lnTo>
                  <a:lnTo>
                    <a:pt x="180" y="177"/>
                  </a:lnTo>
                  <a:lnTo>
                    <a:pt x="178" y="177"/>
                  </a:lnTo>
                  <a:lnTo>
                    <a:pt x="176" y="177"/>
                  </a:lnTo>
                  <a:lnTo>
                    <a:pt x="174" y="177"/>
                  </a:lnTo>
                  <a:lnTo>
                    <a:pt x="170" y="175"/>
                  </a:lnTo>
                  <a:lnTo>
                    <a:pt x="168" y="175"/>
                  </a:lnTo>
                  <a:lnTo>
                    <a:pt x="166" y="175"/>
                  </a:lnTo>
                  <a:lnTo>
                    <a:pt x="166" y="175"/>
                  </a:lnTo>
                  <a:lnTo>
                    <a:pt x="164" y="175"/>
                  </a:lnTo>
                  <a:lnTo>
                    <a:pt x="162" y="175"/>
                  </a:lnTo>
                  <a:lnTo>
                    <a:pt x="160" y="175"/>
                  </a:lnTo>
                  <a:lnTo>
                    <a:pt x="158" y="175"/>
                  </a:lnTo>
                  <a:lnTo>
                    <a:pt x="158" y="173"/>
                  </a:lnTo>
                  <a:lnTo>
                    <a:pt x="156" y="173"/>
                  </a:lnTo>
                  <a:lnTo>
                    <a:pt x="154" y="173"/>
                  </a:lnTo>
                  <a:lnTo>
                    <a:pt x="152" y="173"/>
                  </a:lnTo>
                  <a:lnTo>
                    <a:pt x="150" y="173"/>
                  </a:lnTo>
                  <a:lnTo>
                    <a:pt x="148" y="173"/>
                  </a:lnTo>
                  <a:lnTo>
                    <a:pt x="146" y="173"/>
                  </a:lnTo>
                  <a:lnTo>
                    <a:pt x="144" y="173"/>
                  </a:lnTo>
                  <a:lnTo>
                    <a:pt x="142" y="173"/>
                  </a:lnTo>
                  <a:lnTo>
                    <a:pt x="142" y="171"/>
                  </a:lnTo>
                  <a:lnTo>
                    <a:pt x="140" y="171"/>
                  </a:lnTo>
                  <a:lnTo>
                    <a:pt x="138" y="171"/>
                  </a:lnTo>
                  <a:lnTo>
                    <a:pt x="136" y="171"/>
                  </a:lnTo>
                  <a:lnTo>
                    <a:pt x="134" y="171"/>
                  </a:lnTo>
                  <a:lnTo>
                    <a:pt x="132" y="171"/>
                  </a:lnTo>
                  <a:lnTo>
                    <a:pt x="130" y="171"/>
                  </a:lnTo>
                  <a:lnTo>
                    <a:pt x="128" y="171"/>
                  </a:lnTo>
                  <a:lnTo>
                    <a:pt x="126" y="169"/>
                  </a:lnTo>
                  <a:lnTo>
                    <a:pt x="124" y="169"/>
                  </a:lnTo>
                  <a:lnTo>
                    <a:pt x="122" y="169"/>
                  </a:lnTo>
                  <a:lnTo>
                    <a:pt x="120" y="169"/>
                  </a:lnTo>
                  <a:lnTo>
                    <a:pt x="118" y="169"/>
                  </a:lnTo>
                  <a:lnTo>
                    <a:pt x="118" y="169"/>
                  </a:lnTo>
                  <a:lnTo>
                    <a:pt x="116" y="169"/>
                  </a:lnTo>
                  <a:lnTo>
                    <a:pt x="114" y="167"/>
                  </a:lnTo>
                  <a:lnTo>
                    <a:pt x="106" y="167"/>
                  </a:lnTo>
                  <a:lnTo>
                    <a:pt x="104" y="167"/>
                  </a:lnTo>
                  <a:lnTo>
                    <a:pt x="102" y="167"/>
                  </a:lnTo>
                  <a:lnTo>
                    <a:pt x="100" y="165"/>
                  </a:lnTo>
                  <a:lnTo>
                    <a:pt x="98" y="165"/>
                  </a:lnTo>
                  <a:lnTo>
                    <a:pt x="96" y="165"/>
                  </a:lnTo>
                  <a:lnTo>
                    <a:pt x="94" y="165"/>
                  </a:lnTo>
                  <a:lnTo>
                    <a:pt x="92" y="165"/>
                  </a:lnTo>
                  <a:lnTo>
                    <a:pt x="90" y="165"/>
                  </a:lnTo>
                  <a:lnTo>
                    <a:pt x="86" y="163"/>
                  </a:lnTo>
                  <a:lnTo>
                    <a:pt x="84" y="163"/>
                  </a:lnTo>
                  <a:lnTo>
                    <a:pt x="82" y="163"/>
                  </a:lnTo>
                  <a:lnTo>
                    <a:pt x="80" y="163"/>
                  </a:lnTo>
                  <a:lnTo>
                    <a:pt x="78" y="163"/>
                  </a:lnTo>
                  <a:lnTo>
                    <a:pt x="76" y="161"/>
                  </a:lnTo>
                  <a:lnTo>
                    <a:pt x="74" y="161"/>
                  </a:lnTo>
                  <a:lnTo>
                    <a:pt x="72" y="161"/>
                  </a:lnTo>
                  <a:lnTo>
                    <a:pt x="70" y="161"/>
                  </a:lnTo>
                  <a:lnTo>
                    <a:pt x="70" y="161"/>
                  </a:lnTo>
                  <a:lnTo>
                    <a:pt x="68" y="161"/>
                  </a:lnTo>
                  <a:lnTo>
                    <a:pt x="64" y="159"/>
                  </a:lnTo>
                  <a:lnTo>
                    <a:pt x="62" y="159"/>
                  </a:lnTo>
                  <a:lnTo>
                    <a:pt x="60" y="159"/>
                  </a:lnTo>
                  <a:lnTo>
                    <a:pt x="58" y="159"/>
                  </a:lnTo>
                  <a:lnTo>
                    <a:pt x="56" y="159"/>
                  </a:lnTo>
                  <a:lnTo>
                    <a:pt x="54" y="157"/>
                  </a:lnTo>
                  <a:lnTo>
                    <a:pt x="52" y="157"/>
                  </a:lnTo>
                  <a:lnTo>
                    <a:pt x="48" y="157"/>
                  </a:lnTo>
                  <a:lnTo>
                    <a:pt x="46" y="157"/>
                  </a:lnTo>
                  <a:lnTo>
                    <a:pt x="44" y="157"/>
                  </a:lnTo>
                  <a:lnTo>
                    <a:pt x="42" y="157"/>
                  </a:lnTo>
                  <a:lnTo>
                    <a:pt x="42" y="155"/>
                  </a:lnTo>
                  <a:lnTo>
                    <a:pt x="40" y="155"/>
                  </a:lnTo>
                  <a:lnTo>
                    <a:pt x="38" y="155"/>
                  </a:lnTo>
                  <a:lnTo>
                    <a:pt x="36" y="155"/>
                  </a:lnTo>
                  <a:lnTo>
                    <a:pt x="34" y="155"/>
                  </a:lnTo>
                  <a:lnTo>
                    <a:pt x="30" y="153"/>
                  </a:lnTo>
                  <a:lnTo>
                    <a:pt x="28" y="153"/>
                  </a:lnTo>
                  <a:lnTo>
                    <a:pt x="26" y="153"/>
                  </a:lnTo>
                  <a:lnTo>
                    <a:pt x="24" y="153"/>
                  </a:lnTo>
                  <a:lnTo>
                    <a:pt x="22" y="153"/>
                  </a:lnTo>
                  <a:lnTo>
                    <a:pt x="22" y="153"/>
                  </a:lnTo>
                  <a:lnTo>
                    <a:pt x="22" y="151"/>
                  </a:lnTo>
                  <a:lnTo>
                    <a:pt x="20" y="151"/>
                  </a:lnTo>
                  <a:lnTo>
                    <a:pt x="18" y="151"/>
                  </a:lnTo>
                  <a:lnTo>
                    <a:pt x="16" y="151"/>
                  </a:lnTo>
                  <a:lnTo>
                    <a:pt x="14" y="151"/>
                  </a:lnTo>
                  <a:lnTo>
                    <a:pt x="12" y="151"/>
                  </a:lnTo>
                  <a:lnTo>
                    <a:pt x="12" y="149"/>
                  </a:lnTo>
                  <a:lnTo>
                    <a:pt x="10" y="149"/>
                  </a:lnTo>
                  <a:lnTo>
                    <a:pt x="8" y="149"/>
                  </a:lnTo>
                  <a:lnTo>
                    <a:pt x="6" y="149"/>
                  </a:lnTo>
                  <a:lnTo>
                    <a:pt x="4" y="149"/>
                  </a:lnTo>
                  <a:lnTo>
                    <a:pt x="2" y="149"/>
                  </a:lnTo>
                  <a:lnTo>
                    <a:pt x="2" y="149"/>
                  </a:lnTo>
                  <a:lnTo>
                    <a:pt x="0" y="149"/>
                  </a:lnTo>
                  <a:lnTo>
                    <a:pt x="0" y="147"/>
                  </a:lnTo>
                  <a:lnTo>
                    <a:pt x="0" y="145"/>
                  </a:lnTo>
                  <a:lnTo>
                    <a:pt x="0" y="143"/>
                  </a:lnTo>
                  <a:lnTo>
                    <a:pt x="2" y="141"/>
                  </a:lnTo>
                  <a:lnTo>
                    <a:pt x="2" y="139"/>
                  </a:lnTo>
                  <a:lnTo>
                    <a:pt x="2" y="137"/>
                  </a:lnTo>
                  <a:lnTo>
                    <a:pt x="2" y="133"/>
                  </a:lnTo>
                  <a:lnTo>
                    <a:pt x="2" y="131"/>
                  </a:lnTo>
                  <a:lnTo>
                    <a:pt x="4" y="131"/>
                  </a:lnTo>
                  <a:lnTo>
                    <a:pt x="4" y="129"/>
                  </a:lnTo>
                  <a:lnTo>
                    <a:pt x="4" y="127"/>
                  </a:lnTo>
                  <a:lnTo>
                    <a:pt x="4" y="125"/>
                  </a:lnTo>
                  <a:lnTo>
                    <a:pt x="4" y="123"/>
                  </a:lnTo>
                  <a:lnTo>
                    <a:pt x="4" y="121"/>
                  </a:lnTo>
                  <a:lnTo>
                    <a:pt x="6" y="121"/>
                  </a:lnTo>
                  <a:lnTo>
                    <a:pt x="6" y="119"/>
                  </a:lnTo>
                  <a:lnTo>
                    <a:pt x="6" y="117"/>
                  </a:lnTo>
                  <a:lnTo>
                    <a:pt x="6" y="115"/>
                  </a:lnTo>
                  <a:lnTo>
                    <a:pt x="6" y="113"/>
                  </a:lnTo>
                  <a:lnTo>
                    <a:pt x="8" y="111"/>
                  </a:lnTo>
                  <a:lnTo>
                    <a:pt x="8" y="109"/>
                  </a:lnTo>
                  <a:lnTo>
                    <a:pt x="8" y="105"/>
                  </a:lnTo>
                  <a:lnTo>
                    <a:pt x="8" y="103"/>
                  </a:lnTo>
                  <a:lnTo>
                    <a:pt x="8" y="101"/>
                  </a:lnTo>
                  <a:lnTo>
                    <a:pt x="10" y="101"/>
                  </a:lnTo>
                  <a:lnTo>
                    <a:pt x="10" y="101"/>
                  </a:lnTo>
                  <a:lnTo>
                    <a:pt x="10" y="99"/>
                  </a:lnTo>
                  <a:lnTo>
                    <a:pt x="10" y="94"/>
                  </a:lnTo>
                  <a:lnTo>
                    <a:pt x="12" y="92"/>
                  </a:lnTo>
                  <a:lnTo>
                    <a:pt x="12" y="90"/>
                  </a:lnTo>
                  <a:lnTo>
                    <a:pt x="12" y="88"/>
                  </a:lnTo>
                  <a:lnTo>
                    <a:pt x="12" y="86"/>
                  </a:lnTo>
                  <a:lnTo>
                    <a:pt x="12" y="84"/>
                  </a:lnTo>
                  <a:lnTo>
                    <a:pt x="14" y="80"/>
                  </a:lnTo>
                  <a:lnTo>
                    <a:pt x="14" y="78"/>
                  </a:lnTo>
                  <a:lnTo>
                    <a:pt x="14" y="76"/>
                  </a:lnTo>
                  <a:lnTo>
                    <a:pt x="14" y="74"/>
                  </a:lnTo>
                  <a:lnTo>
                    <a:pt x="14" y="72"/>
                  </a:lnTo>
                  <a:lnTo>
                    <a:pt x="14" y="70"/>
                  </a:lnTo>
                  <a:lnTo>
                    <a:pt x="16" y="70"/>
                  </a:lnTo>
                  <a:lnTo>
                    <a:pt x="16" y="68"/>
                  </a:lnTo>
                  <a:lnTo>
                    <a:pt x="16" y="66"/>
                  </a:lnTo>
                  <a:lnTo>
                    <a:pt x="16" y="64"/>
                  </a:lnTo>
                  <a:lnTo>
                    <a:pt x="16" y="62"/>
                  </a:lnTo>
                  <a:lnTo>
                    <a:pt x="16" y="60"/>
                  </a:lnTo>
                  <a:lnTo>
                    <a:pt x="18" y="60"/>
                  </a:lnTo>
                  <a:lnTo>
                    <a:pt x="18" y="58"/>
                  </a:lnTo>
                  <a:lnTo>
                    <a:pt x="18" y="56"/>
                  </a:lnTo>
                  <a:lnTo>
                    <a:pt x="18" y="54"/>
                  </a:lnTo>
                  <a:lnTo>
                    <a:pt x="18" y="52"/>
                  </a:lnTo>
                  <a:lnTo>
                    <a:pt x="18" y="52"/>
                  </a:lnTo>
                  <a:lnTo>
                    <a:pt x="20" y="52"/>
                  </a:lnTo>
                  <a:lnTo>
                    <a:pt x="20" y="50"/>
                  </a:lnTo>
                  <a:lnTo>
                    <a:pt x="20" y="48"/>
                  </a:lnTo>
                  <a:lnTo>
                    <a:pt x="20" y="46"/>
                  </a:lnTo>
                  <a:lnTo>
                    <a:pt x="22" y="44"/>
                  </a:lnTo>
                  <a:lnTo>
                    <a:pt x="22" y="42"/>
                  </a:lnTo>
                  <a:lnTo>
                    <a:pt x="22" y="40"/>
                  </a:lnTo>
                  <a:lnTo>
                    <a:pt x="22" y="36"/>
                  </a:lnTo>
                  <a:lnTo>
                    <a:pt x="22" y="34"/>
                  </a:lnTo>
                  <a:lnTo>
                    <a:pt x="22" y="32"/>
                  </a:lnTo>
                  <a:lnTo>
                    <a:pt x="22" y="30"/>
                  </a:lnTo>
                  <a:lnTo>
                    <a:pt x="22" y="28"/>
                  </a:lnTo>
                  <a:lnTo>
                    <a:pt x="22" y="26"/>
                  </a:lnTo>
                  <a:lnTo>
                    <a:pt x="22" y="24"/>
                  </a:lnTo>
                  <a:lnTo>
                    <a:pt x="24" y="24"/>
                  </a:lnTo>
                  <a:lnTo>
                    <a:pt x="24" y="22"/>
                  </a:lnTo>
                  <a:lnTo>
                    <a:pt x="24" y="20"/>
                  </a:lnTo>
                  <a:lnTo>
                    <a:pt x="24" y="18"/>
                  </a:lnTo>
                  <a:lnTo>
                    <a:pt x="24" y="16"/>
                  </a:lnTo>
                  <a:lnTo>
                    <a:pt x="24" y="14"/>
                  </a:lnTo>
                  <a:lnTo>
                    <a:pt x="26" y="12"/>
                  </a:lnTo>
                  <a:lnTo>
                    <a:pt x="26" y="10"/>
                  </a:lnTo>
                  <a:lnTo>
                    <a:pt x="26" y="8"/>
                  </a:lnTo>
                  <a:lnTo>
                    <a:pt x="26" y="6"/>
                  </a:lnTo>
                  <a:lnTo>
                    <a:pt x="28" y="4"/>
                  </a:lnTo>
                  <a:lnTo>
                    <a:pt x="28" y="2"/>
                  </a:lnTo>
                  <a:lnTo>
                    <a:pt x="28" y="0"/>
                  </a:lnTo>
                  <a:lnTo>
                    <a:pt x="30" y="0"/>
                  </a:lnTo>
                  <a:lnTo>
                    <a:pt x="32" y="0"/>
                  </a:lnTo>
                  <a:lnTo>
                    <a:pt x="34" y="0"/>
                  </a:lnTo>
                  <a:lnTo>
                    <a:pt x="34" y="2"/>
                  </a:lnTo>
                  <a:lnTo>
                    <a:pt x="36" y="2"/>
                  </a:lnTo>
                  <a:lnTo>
                    <a:pt x="38" y="2"/>
                  </a:lnTo>
                  <a:lnTo>
                    <a:pt x="40" y="2"/>
                  </a:lnTo>
                  <a:lnTo>
                    <a:pt x="42" y="2"/>
                  </a:lnTo>
                  <a:lnTo>
                    <a:pt x="44" y="2"/>
                  </a:lnTo>
                  <a:lnTo>
                    <a:pt x="44" y="4"/>
                  </a:lnTo>
                  <a:lnTo>
                    <a:pt x="46" y="4"/>
                  </a:lnTo>
                  <a:lnTo>
                    <a:pt x="48" y="4"/>
                  </a:lnTo>
                  <a:lnTo>
                    <a:pt x="50" y="4"/>
                  </a:lnTo>
                  <a:lnTo>
                    <a:pt x="52" y="4"/>
                  </a:lnTo>
                  <a:lnTo>
                    <a:pt x="54" y="4"/>
                  </a:lnTo>
                  <a:lnTo>
                    <a:pt x="56" y="4"/>
                  </a:lnTo>
                  <a:lnTo>
                    <a:pt x="58" y="4"/>
                  </a:lnTo>
                  <a:lnTo>
                    <a:pt x="60" y="4"/>
                  </a:lnTo>
                  <a:lnTo>
                    <a:pt x="62" y="4"/>
                  </a:lnTo>
                  <a:lnTo>
                    <a:pt x="66" y="4"/>
                  </a:lnTo>
                  <a:lnTo>
                    <a:pt x="66" y="6"/>
                  </a:lnTo>
                  <a:lnTo>
                    <a:pt x="68" y="6"/>
                  </a:lnTo>
                  <a:lnTo>
                    <a:pt x="70" y="6"/>
                  </a:lnTo>
                  <a:lnTo>
                    <a:pt x="70" y="6"/>
                  </a:lnTo>
                  <a:lnTo>
                    <a:pt x="72" y="6"/>
                  </a:lnTo>
                  <a:lnTo>
                    <a:pt x="74" y="6"/>
                  </a:lnTo>
                  <a:lnTo>
                    <a:pt x="76" y="6"/>
                  </a:lnTo>
                  <a:lnTo>
                    <a:pt x="76" y="8"/>
                  </a:lnTo>
                  <a:lnTo>
                    <a:pt x="78" y="8"/>
                  </a:lnTo>
                  <a:close/>
                </a:path>
              </a:pathLst>
            </a:custGeom>
            <a:solidFill>
              <a:srgbClr val="4D9926"/>
            </a:solidFill>
            <a:ln w="3175">
              <a:solidFill>
                <a:sysClr val="window" lastClr="FFFF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black"/>
                </a:solidFill>
                <a:effectLst/>
                <a:uLnTx/>
                <a:uFillTx/>
                <a:ea typeface="宋体" panose="02010600030101010101" pitchFamily="2" charset="-122"/>
              </a:endParaRPr>
            </a:p>
          </p:txBody>
        </p:sp>
        <p:sp>
          <p:nvSpPr>
            <p:cNvPr id="11" name="Freeform 3186">
              <a:extLst>
                <a:ext uri="{FF2B5EF4-FFF2-40B4-BE49-F238E27FC236}">
                  <a16:creationId xmlns:a16="http://schemas.microsoft.com/office/drawing/2014/main" id="{8CDAA5BE-7CFA-5B7A-9914-60967DFE7C52}"/>
                </a:ext>
              </a:extLst>
            </p:cNvPr>
            <p:cNvSpPr>
              <a:spLocks noEditPoints="1"/>
            </p:cNvSpPr>
            <p:nvPr/>
          </p:nvSpPr>
          <p:spPr bwMode="auto">
            <a:xfrm>
              <a:off x="4405313" y="3503613"/>
              <a:ext cx="974725" cy="996950"/>
            </a:xfrm>
            <a:custGeom>
              <a:avLst/>
              <a:gdLst>
                <a:gd name="T0" fmla="*/ 404 w 614"/>
                <a:gd name="T1" fmla="*/ 596 h 628"/>
                <a:gd name="T2" fmla="*/ 416 w 614"/>
                <a:gd name="T3" fmla="*/ 606 h 628"/>
                <a:gd name="T4" fmla="*/ 400 w 614"/>
                <a:gd name="T5" fmla="*/ 568 h 628"/>
                <a:gd name="T6" fmla="*/ 408 w 614"/>
                <a:gd name="T7" fmla="*/ 568 h 628"/>
                <a:gd name="T8" fmla="*/ 402 w 614"/>
                <a:gd name="T9" fmla="*/ 560 h 628"/>
                <a:gd name="T10" fmla="*/ 404 w 614"/>
                <a:gd name="T11" fmla="*/ 554 h 628"/>
                <a:gd name="T12" fmla="*/ 404 w 614"/>
                <a:gd name="T13" fmla="*/ 576 h 628"/>
                <a:gd name="T14" fmla="*/ 418 w 614"/>
                <a:gd name="T15" fmla="*/ 526 h 628"/>
                <a:gd name="T16" fmla="*/ 410 w 614"/>
                <a:gd name="T17" fmla="*/ 578 h 628"/>
                <a:gd name="T18" fmla="*/ 410 w 614"/>
                <a:gd name="T19" fmla="*/ 544 h 628"/>
                <a:gd name="T20" fmla="*/ 426 w 614"/>
                <a:gd name="T21" fmla="*/ 520 h 628"/>
                <a:gd name="T22" fmla="*/ 428 w 614"/>
                <a:gd name="T23" fmla="*/ 516 h 628"/>
                <a:gd name="T24" fmla="*/ 430 w 614"/>
                <a:gd name="T25" fmla="*/ 512 h 628"/>
                <a:gd name="T26" fmla="*/ 432 w 614"/>
                <a:gd name="T27" fmla="*/ 508 h 628"/>
                <a:gd name="T28" fmla="*/ 428 w 614"/>
                <a:gd name="T29" fmla="*/ 502 h 628"/>
                <a:gd name="T30" fmla="*/ 440 w 614"/>
                <a:gd name="T31" fmla="*/ 500 h 628"/>
                <a:gd name="T32" fmla="*/ 440 w 614"/>
                <a:gd name="T33" fmla="*/ 496 h 628"/>
                <a:gd name="T34" fmla="*/ 456 w 614"/>
                <a:gd name="T35" fmla="*/ 486 h 628"/>
                <a:gd name="T36" fmla="*/ 462 w 614"/>
                <a:gd name="T37" fmla="*/ 488 h 628"/>
                <a:gd name="T38" fmla="*/ 468 w 614"/>
                <a:gd name="T39" fmla="*/ 484 h 628"/>
                <a:gd name="T40" fmla="*/ 458 w 614"/>
                <a:gd name="T41" fmla="*/ 468 h 628"/>
                <a:gd name="T42" fmla="*/ 488 w 614"/>
                <a:gd name="T43" fmla="*/ 472 h 628"/>
                <a:gd name="T44" fmla="*/ 504 w 614"/>
                <a:gd name="T45" fmla="*/ 466 h 628"/>
                <a:gd name="T46" fmla="*/ 530 w 614"/>
                <a:gd name="T47" fmla="*/ 452 h 628"/>
                <a:gd name="T48" fmla="*/ 538 w 614"/>
                <a:gd name="T49" fmla="*/ 445 h 628"/>
                <a:gd name="T50" fmla="*/ 546 w 614"/>
                <a:gd name="T51" fmla="*/ 437 h 628"/>
                <a:gd name="T52" fmla="*/ 550 w 614"/>
                <a:gd name="T53" fmla="*/ 423 h 628"/>
                <a:gd name="T54" fmla="*/ 540 w 614"/>
                <a:gd name="T55" fmla="*/ 413 h 628"/>
                <a:gd name="T56" fmla="*/ 540 w 614"/>
                <a:gd name="T57" fmla="*/ 437 h 628"/>
                <a:gd name="T58" fmla="*/ 506 w 614"/>
                <a:gd name="T59" fmla="*/ 466 h 628"/>
                <a:gd name="T60" fmla="*/ 466 w 614"/>
                <a:gd name="T61" fmla="*/ 470 h 628"/>
                <a:gd name="T62" fmla="*/ 454 w 614"/>
                <a:gd name="T63" fmla="*/ 474 h 628"/>
                <a:gd name="T64" fmla="*/ 448 w 614"/>
                <a:gd name="T65" fmla="*/ 486 h 628"/>
                <a:gd name="T66" fmla="*/ 426 w 614"/>
                <a:gd name="T67" fmla="*/ 498 h 628"/>
                <a:gd name="T68" fmla="*/ 426 w 614"/>
                <a:gd name="T69" fmla="*/ 512 h 628"/>
                <a:gd name="T70" fmla="*/ 418 w 614"/>
                <a:gd name="T71" fmla="*/ 522 h 628"/>
                <a:gd name="T72" fmla="*/ 402 w 614"/>
                <a:gd name="T73" fmla="*/ 540 h 628"/>
                <a:gd name="T74" fmla="*/ 404 w 614"/>
                <a:gd name="T75" fmla="*/ 554 h 628"/>
                <a:gd name="T76" fmla="*/ 400 w 614"/>
                <a:gd name="T77" fmla="*/ 566 h 628"/>
                <a:gd name="T78" fmla="*/ 404 w 614"/>
                <a:gd name="T79" fmla="*/ 588 h 628"/>
                <a:gd name="T80" fmla="*/ 406 w 614"/>
                <a:gd name="T81" fmla="*/ 604 h 628"/>
                <a:gd name="T82" fmla="*/ 396 w 614"/>
                <a:gd name="T83" fmla="*/ 624 h 628"/>
                <a:gd name="T84" fmla="*/ 346 w 614"/>
                <a:gd name="T85" fmla="*/ 598 h 628"/>
                <a:gd name="T86" fmla="*/ 304 w 614"/>
                <a:gd name="T87" fmla="*/ 534 h 628"/>
                <a:gd name="T88" fmla="*/ 268 w 614"/>
                <a:gd name="T89" fmla="*/ 466 h 628"/>
                <a:gd name="T90" fmla="*/ 230 w 614"/>
                <a:gd name="T91" fmla="*/ 387 h 628"/>
                <a:gd name="T92" fmla="*/ 160 w 614"/>
                <a:gd name="T93" fmla="*/ 379 h 628"/>
                <a:gd name="T94" fmla="*/ 102 w 614"/>
                <a:gd name="T95" fmla="*/ 385 h 628"/>
                <a:gd name="T96" fmla="*/ 66 w 614"/>
                <a:gd name="T97" fmla="*/ 317 h 628"/>
                <a:gd name="T98" fmla="*/ 14 w 614"/>
                <a:gd name="T99" fmla="*/ 241 h 628"/>
                <a:gd name="T100" fmla="*/ 84 w 614"/>
                <a:gd name="T101" fmla="*/ 227 h 628"/>
                <a:gd name="T102" fmla="*/ 184 w 614"/>
                <a:gd name="T103" fmla="*/ 157 h 628"/>
                <a:gd name="T104" fmla="*/ 208 w 614"/>
                <a:gd name="T105" fmla="*/ 24 h 628"/>
                <a:gd name="T106" fmla="*/ 342 w 614"/>
                <a:gd name="T107" fmla="*/ 20 h 628"/>
                <a:gd name="T108" fmla="*/ 388 w 614"/>
                <a:gd name="T109" fmla="*/ 155 h 628"/>
                <a:gd name="T110" fmla="*/ 446 w 614"/>
                <a:gd name="T111" fmla="*/ 175 h 628"/>
                <a:gd name="T112" fmla="*/ 496 w 614"/>
                <a:gd name="T113" fmla="*/ 185 h 628"/>
                <a:gd name="T114" fmla="*/ 558 w 614"/>
                <a:gd name="T115" fmla="*/ 189 h 628"/>
                <a:gd name="T116" fmla="*/ 592 w 614"/>
                <a:gd name="T117" fmla="*/ 235 h 628"/>
                <a:gd name="T118" fmla="*/ 610 w 614"/>
                <a:gd name="T119" fmla="*/ 327 h 628"/>
                <a:gd name="T120" fmla="*/ 604 w 614"/>
                <a:gd name="T121" fmla="*/ 391 h 628"/>
                <a:gd name="T122" fmla="*/ 572 w 614"/>
                <a:gd name="T123" fmla="*/ 423 h 628"/>
                <a:gd name="T124" fmla="*/ 536 w 614"/>
                <a:gd name="T125" fmla="*/ 413 h 6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614" h="628">
                  <a:moveTo>
                    <a:pt x="410" y="618"/>
                  </a:moveTo>
                  <a:lnTo>
                    <a:pt x="412" y="616"/>
                  </a:lnTo>
                  <a:lnTo>
                    <a:pt x="412" y="618"/>
                  </a:lnTo>
                  <a:lnTo>
                    <a:pt x="410" y="618"/>
                  </a:lnTo>
                  <a:close/>
                  <a:moveTo>
                    <a:pt x="416" y="616"/>
                  </a:moveTo>
                  <a:lnTo>
                    <a:pt x="414" y="616"/>
                  </a:lnTo>
                  <a:lnTo>
                    <a:pt x="416" y="616"/>
                  </a:lnTo>
                  <a:close/>
                  <a:moveTo>
                    <a:pt x="414" y="616"/>
                  </a:moveTo>
                  <a:lnTo>
                    <a:pt x="416" y="616"/>
                  </a:lnTo>
                  <a:lnTo>
                    <a:pt x="414" y="616"/>
                  </a:lnTo>
                  <a:lnTo>
                    <a:pt x="414" y="616"/>
                  </a:lnTo>
                  <a:lnTo>
                    <a:pt x="416" y="616"/>
                  </a:lnTo>
                  <a:lnTo>
                    <a:pt x="414" y="616"/>
                  </a:lnTo>
                  <a:lnTo>
                    <a:pt x="414" y="616"/>
                  </a:lnTo>
                  <a:close/>
                  <a:moveTo>
                    <a:pt x="416" y="608"/>
                  </a:moveTo>
                  <a:lnTo>
                    <a:pt x="414" y="608"/>
                  </a:lnTo>
                  <a:lnTo>
                    <a:pt x="416" y="608"/>
                  </a:lnTo>
                  <a:close/>
                  <a:moveTo>
                    <a:pt x="410" y="606"/>
                  </a:moveTo>
                  <a:lnTo>
                    <a:pt x="410" y="604"/>
                  </a:lnTo>
                  <a:lnTo>
                    <a:pt x="410" y="606"/>
                  </a:lnTo>
                  <a:close/>
                  <a:moveTo>
                    <a:pt x="408" y="604"/>
                  </a:moveTo>
                  <a:lnTo>
                    <a:pt x="410" y="604"/>
                  </a:lnTo>
                  <a:lnTo>
                    <a:pt x="408" y="604"/>
                  </a:lnTo>
                  <a:close/>
                  <a:moveTo>
                    <a:pt x="410" y="604"/>
                  </a:moveTo>
                  <a:lnTo>
                    <a:pt x="410" y="602"/>
                  </a:lnTo>
                  <a:lnTo>
                    <a:pt x="410" y="604"/>
                  </a:lnTo>
                  <a:close/>
                  <a:moveTo>
                    <a:pt x="410" y="604"/>
                  </a:moveTo>
                  <a:lnTo>
                    <a:pt x="410" y="602"/>
                  </a:lnTo>
                  <a:lnTo>
                    <a:pt x="410" y="604"/>
                  </a:lnTo>
                  <a:close/>
                  <a:moveTo>
                    <a:pt x="410" y="604"/>
                  </a:moveTo>
                  <a:lnTo>
                    <a:pt x="410" y="602"/>
                  </a:lnTo>
                  <a:lnTo>
                    <a:pt x="410" y="604"/>
                  </a:lnTo>
                  <a:close/>
                  <a:moveTo>
                    <a:pt x="410" y="602"/>
                  </a:moveTo>
                  <a:lnTo>
                    <a:pt x="408" y="602"/>
                  </a:lnTo>
                  <a:lnTo>
                    <a:pt x="410" y="602"/>
                  </a:lnTo>
                  <a:lnTo>
                    <a:pt x="408" y="602"/>
                  </a:lnTo>
                  <a:lnTo>
                    <a:pt x="410" y="602"/>
                  </a:lnTo>
                  <a:close/>
                  <a:moveTo>
                    <a:pt x="408" y="602"/>
                  </a:moveTo>
                  <a:lnTo>
                    <a:pt x="410" y="602"/>
                  </a:lnTo>
                  <a:lnTo>
                    <a:pt x="408" y="602"/>
                  </a:lnTo>
                  <a:close/>
                  <a:moveTo>
                    <a:pt x="410" y="602"/>
                  </a:moveTo>
                  <a:lnTo>
                    <a:pt x="408" y="602"/>
                  </a:lnTo>
                  <a:lnTo>
                    <a:pt x="410" y="602"/>
                  </a:lnTo>
                  <a:close/>
                  <a:moveTo>
                    <a:pt x="408" y="602"/>
                  </a:moveTo>
                  <a:lnTo>
                    <a:pt x="408" y="600"/>
                  </a:lnTo>
                  <a:lnTo>
                    <a:pt x="408" y="602"/>
                  </a:lnTo>
                  <a:close/>
                  <a:moveTo>
                    <a:pt x="408" y="600"/>
                  </a:moveTo>
                  <a:lnTo>
                    <a:pt x="410" y="600"/>
                  </a:lnTo>
                  <a:lnTo>
                    <a:pt x="408" y="600"/>
                  </a:lnTo>
                  <a:close/>
                  <a:moveTo>
                    <a:pt x="408" y="600"/>
                  </a:moveTo>
                  <a:lnTo>
                    <a:pt x="408" y="598"/>
                  </a:lnTo>
                  <a:lnTo>
                    <a:pt x="408" y="600"/>
                  </a:lnTo>
                  <a:close/>
                  <a:moveTo>
                    <a:pt x="408" y="598"/>
                  </a:moveTo>
                  <a:lnTo>
                    <a:pt x="406" y="598"/>
                  </a:lnTo>
                  <a:lnTo>
                    <a:pt x="408" y="598"/>
                  </a:lnTo>
                  <a:close/>
                  <a:moveTo>
                    <a:pt x="408" y="598"/>
                  </a:moveTo>
                  <a:lnTo>
                    <a:pt x="408" y="596"/>
                  </a:lnTo>
                  <a:lnTo>
                    <a:pt x="408" y="598"/>
                  </a:lnTo>
                  <a:close/>
                  <a:moveTo>
                    <a:pt x="414" y="596"/>
                  </a:moveTo>
                  <a:lnTo>
                    <a:pt x="414" y="598"/>
                  </a:lnTo>
                  <a:lnTo>
                    <a:pt x="414" y="596"/>
                  </a:lnTo>
                  <a:lnTo>
                    <a:pt x="414" y="598"/>
                  </a:lnTo>
                  <a:lnTo>
                    <a:pt x="414" y="596"/>
                  </a:lnTo>
                  <a:close/>
                  <a:moveTo>
                    <a:pt x="404" y="594"/>
                  </a:moveTo>
                  <a:lnTo>
                    <a:pt x="404" y="596"/>
                  </a:lnTo>
                  <a:lnTo>
                    <a:pt x="404" y="594"/>
                  </a:lnTo>
                  <a:close/>
                  <a:moveTo>
                    <a:pt x="404" y="596"/>
                  </a:moveTo>
                  <a:lnTo>
                    <a:pt x="404" y="594"/>
                  </a:lnTo>
                  <a:lnTo>
                    <a:pt x="404" y="596"/>
                  </a:lnTo>
                  <a:close/>
                  <a:moveTo>
                    <a:pt x="404" y="596"/>
                  </a:moveTo>
                  <a:lnTo>
                    <a:pt x="404" y="594"/>
                  </a:lnTo>
                  <a:lnTo>
                    <a:pt x="404" y="596"/>
                  </a:lnTo>
                  <a:close/>
                  <a:moveTo>
                    <a:pt x="404" y="594"/>
                  </a:moveTo>
                  <a:lnTo>
                    <a:pt x="406" y="594"/>
                  </a:lnTo>
                  <a:lnTo>
                    <a:pt x="404" y="594"/>
                  </a:lnTo>
                  <a:close/>
                  <a:moveTo>
                    <a:pt x="408" y="596"/>
                  </a:moveTo>
                  <a:lnTo>
                    <a:pt x="408" y="594"/>
                  </a:lnTo>
                  <a:lnTo>
                    <a:pt x="408" y="596"/>
                  </a:lnTo>
                  <a:close/>
                  <a:moveTo>
                    <a:pt x="406" y="594"/>
                  </a:moveTo>
                  <a:lnTo>
                    <a:pt x="404" y="594"/>
                  </a:lnTo>
                  <a:lnTo>
                    <a:pt x="406" y="594"/>
                  </a:lnTo>
                  <a:close/>
                  <a:moveTo>
                    <a:pt x="404" y="594"/>
                  </a:moveTo>
                  <a:lnTo>
                    <a:pt x="402" y="594"/>
                  </a:lnTo>
                  <a:lnTo>
                    <a:pt x="404" y="594"/>
                  </a:lnTo>
                  <a:lnTo>
                    <a:pt x="402" y="594"/>
                  </a:lnTo>
                  <a:lnTo>
                    <a:pt x="404" y="594"/>
                  </a:lnTo>
                  <a:lnTo>
                    <a:pt x="404" y="592"/>
                  </a:lnTo>
                  <a:lnTo>
                    <a:pt x="404" y="594"/>
                  </a:lnTo>
                  <a:close/>
                  <a:moveTo>
                    <a:pt x="406" y="592"/>
                  </a:moveTo>
                  <a:lnTo>
                    <a:pt x="406" y="594"/>
                  </a:lnTo>
                  <a:lnTo>
                    <a:pt x="406" y="592"/>
                  </a:lnTo>
                  <a:close/>
                  <a:moveTo>
                    <a:pt x="404" y="592"/>
                  </a:moveTo>
                  <a:lnTo>
                    <a:pt x="404" y="594"/>
                  </a:lnTo>
                  <a:lnTo>
                    <a:pt x="404" y="592"/>
                  </a:lnTo>
                  <a:lnTo>
                    <a:pt x="402" y="592"/>
                  </a:lnTo>
                  <a:lnTo>
                    <a:pt x="404" y="592"/>
                  </a:lnTo>
                  <a:close/>
                  <a:moveTo>
                    <a:pt x="404" y="592"/>
                  </a:moveTo>
                  <a:lnTo>
                    <a:pt x="402" y="592"/>
                  </a:lnTo>
                  <a:lnTo>
                    <a:pt x="404" y="592"/>
                  </a:lnTo>
                  <a:close/>
                  <a:moveTo>
                    <a:pt x="404" y="592"/>
                  </a:moveTo>
                  <a:lnTo>
                    <a:pt x="402" y="592"/>
                  </a:lnTo>
                  <a:lnTo>
                    <a:pt x="404" y="592"/>
                  </a:lnTo>
                  <a:lnTo>
                    <a:pt x="402" y="590"/>
                  </a:lnTo>
                  <a:lnTo>
                    <a:pt x="404" y="590"/>
                  </a:lnTo>
                  <a:lnTo>
                    <a:pt x="404" y="592"/>
                  </a:lnTo>
                  <a:close/>
                  <a:moveTo>
                    <a:pt x="406" y="592"/>
                  </a:moveTo>
                  <a:lnTo>
                    <a:pt x="406" y="590"/>
                  </a:lnTo>
                  <a:lnTo>
                    <a:pt x="406" y="592"/>
                  </a:lnTo>
                  <a:close/>
                  <a:moveTo>
                    <a:pt x="404" y="590"/>
                  </a:moveTo>
                  <a:lnTo>
                    <a:pt x="404" y="592"/>
                  </a:lnTo>
                  <a:lnTo>
                    <a:pt x="404" y="590"/>
                  </a:lnTo>
                  <a:close/>
                  <a:moveTo>
                    <a:pt x="404" y="590"/>
                  </a:moveTo>
                  <a:lnTo>
                    <a:pt x="404" y="592"/>
                  </a:lnTo>
                  <a:lnTo>
                    <a:pt x="404" y="590"/>
                  </a:lnTo>
                  <a:close/>
                  <a:moveTo>
                    <a:pt x="412" y="590"/>
                  </a:moveTo>
                  <a:lnTo>
                    <a:pt x="412" y="592"/>
                  </a:lnTo>
                  <a:lnTo>
                    <a:pt x="412" y="590"/>
                  </a:lnTo>
                  <a:lnTo>
                    <a:pt x="412" y="592"/>
                  </a:lnTo>
                  <a:lnTo>
                    <a:pt x="412" y="590"/>
                  </a:lnTo>
                  <a:close/>
                  <a:moveTo>
                    <a:pt x="406" y="590"/>
                  </a:moveTo>
                  <a:lnTo>
                    <a:pt x="406" y="588"/>
                  </a:lnTo>
                  <a:lnTo>
                    <a:pt x="406" y="590"/>
                  </a:lnTo>
                  <a:close/>
                  <a:moveTo>
                    <a:pt x="404" y="588"/>
                  </a:moveTo>
                  <a:lnTo>
                    <a:pt x="404" y="590"/>
                  </a:lnTo>
                  <a:lnTo>
                    <a:pt x="404" y="588"/>
                  </a:lnTo>
                  <a:close/>
                  <a:moveTo>
                    <a:pt x="412" y="590"/>
                  </a:moveTo>
                  <a:lnTo>
                    <a:pt x="412" y="588"/>
                  </a:lnTo>
                  <a:lnTo>
                    <a:pt x="412" y="590"/>
                  </a:lnTo>
                  <a:close/>
                  <a:moveTo>
                    <a:pt x="406" y="588"/>
                  </a:moveTo>
                  <a:lnTo>
                    <a:pt x="404" y="588"/>
                  </a:lnTo>
                  <a:lnTo>
                    <a:pt x="406" y="588"/>
                  </a:lnTo>
                  <a:close/>
                  <a:moveTo>
                    <a:pt x="412" y="586"/>
                  </a:moveTo>
                  <a:lnTo>
                    <a:pt x="412" y="588"/>
                  </a:lnTo>
                  <a:lnTo>
                    <a:pt x="412" y="590"/>
                  </a:lnTo>
                  <a:lnTo>
                    <a:pt x="414" y="590"/>
                  </a:lnTo>
                  <a:lnTo>
                    <a:pt x="414" y="592"/>
                  </a:lnTo>
                  <a:lnTo>
                    <a:pt x="414" y="594"/>
                  </a:lnTo>
                  <a:lnTo>
                    <a:pt x="414" y="596"/>
                  </a:lnTo>
                  <a:lnTo>
                    <a:pt x="414" y="598"/>
                  </a:lnTo>
                  <a:lnTo>
                    <a:pt x="414" y="600"/>
                  </a:lnTo>
                  <a:lnTo>
                    <a:pt x="414" y="602"/>
                  </a:lnTo>
                  <a:lnTo>
                    <a:pt x="416" y="602"/>
                  </a:lnTo>
                  <a:lnTo>
                    <a:pt x="416" y="604"/>
                  </a:lnTo>
                  <a:lnTo>
                    <a:pt x="416" y="606"/>
                  </a:lnTo>
                  <a:lnTo>
                    <a:pt x="416" y="608"/>
                  </a:lnTo>
                  <a:lnTo>
                    <a:pt x="416" y="610"/>
                  </a:lnTo>
                  <a:lnTo>
                    <a:pt x="416" y="612"/>
                  </a:lnTo>
                  <a:lnTo>
                    <a:pt x="416" y="614"/>
                  </a:lnTo>
                  <a:lnTo>
                    <a:pt x="416" y="616"/>
                  </a:lnTo>
                  <a:lnTo>
                    <a:pt x="416" y="614"/>
                  </a:lnTo>
                  <a:lnTo>
                    <a:pt x="416" y="612"/>
                  </a:lnTo>
                  <a:lnTo>
                    <a:pt x="416" y="610"/>
                  </a:lnTo>
                  <a:lnTo>
                    <a:pt x="416" y="608"/>
                  </a:lnTo>
                  <a:lnTo>
                    <a:pt x="416" y="606"/>
                  </a:lnTo>
                  <a:lnTo>
                    <a:pt x="414" y="606"/>
                  </a:lnTo>
                  <a:lnTo>
                    <a:pt x="416" y="606"/>
                  </a:lnTo>
                  <a:lnTo>
                    <a:pt x="414" y="606"/>
                  </a:lnTo>
                  <a:lnTo>
                    <a:pt x="416" y="606"/>
                  </a:lnTo>
                  <a:lnTo>
                    <a:pt x="414" y="606"/>
                  </a:lnTo>
                  <a:lnTo>
                    <a:pt x="416" y="606"/>
                  </a:lnTo>
                  <a:lnTo>
                    <a:pt x="414" y="606"/>
                  </a:lnTo>
                  <a:lnTo>
                    <a:pt x="414" y="604"/>
                  </a:lnTo>
                  <a:lnTo>
                    <a:pt x="416" y="604"/>
                  </a:lnTo>
                  <a:lnTo>
                    <a:pt x="414" y="604"/>
                  </a:lnTo>
                  <a:lnTo>
                    <a:pt x="416" y="604"/>
                  </a:lnTo>
                  <a:lnTo>
                    <a:pt x="414" y="604"/>
                  </a:lnTo>
                  <a:lnTo>
                    <a:pt x="416" y="604"/>
                  </a:lnTo>
                  <a:lnTo>
                    <a:pt x="414" y="604"/>
                  </a:lnTo>
                  <a:lnTo>
                    <a:pt x="414" y="602"/>
                  </a:lnTo>
                  <a:lnTo>
                    <a:pt x="414" y="600"/>
                  </a:lnTo>
                  <a:lnTo>
                    <a:pt x="414" y="598"/>
                  </a:lnTo>
                  <a:lnTo>
                    <a:pt x="414" y="596"/>
                  </a:lnTo>
                  <a:lnTo>
                    <a:pt x="412" y="596"/>
                  </a:lnTo>
                  <a:lnTo>
                    <a:pt x="412" y="594"/>
                  </a:lnTo>
                  <a:lnTo>
                    <a:pt x="414" y="594"/>
                  </a:lnTo>
                  <a:lnTo>
                    <a:pt x="412" y="594"/>
                  </a:lnTo>
                  <a:lnTo>
                    <a:pt x="412" y="592"/>
                  </a:lnTo>
                  <a:lnTo>
                    <a:pt x="414" y="592"/>
                  </a:lnTo>
                  <a:lnTo>
                    <a:pt x="412" y="592"/>
                  </a:lnTo>
                  <a:lnTo>
                    <a:pt x="414" y="592"/>
                  </a:lnTo>
                  <a:lnTo>
                    <a:pt x="414" y="590"/>
                  </a:lnTo>
                  <a:lnTo>
                    <a:pt x="412" y="590"/>
                  </a:lnTo>
                  <a:lnTo>
                    <a:pt x="412" y="588"/>
                  </a:lnTo>
                  <a:lnTo>
                    <a:pt x="412" y="586"/>
                  </a:lnTo>
                  <a:lnTo>
                    <a:pt x="412" y="588"/>
                  </a:lnTo>
                  <a:lnTo>
                    <a:pt x="410" y="588"/>
                  </a:lnTo>
                  <a:lnTo>
                    <a:pt x="410" y="586"/>
                  </a:lnTo>
                  <a:lnTo>
                    <a:pt x="408" y="586"/>
                  </a:lnTo>
                  <a:lnTo>
                    <a:pt x="410" y="586"/>
                  </a:lnTo>
                  <a:lnTo>
                    <a:pt x="412" y="586"/>
                  </a:lnTo>
                  <a:close/>
                  <a:moveTo>
                    <a:pt x="410" y="584"/>
                  </a:moveTo>
                  <a:lnTo>
                    <a:pt x="410" y="586"/>
                  </a:lnTo>
                  <a:lnTo>
                    <a:pt x="410" y="584"/>
                  </a:lnTo>
                  <a:close/>
                  <a:moveTo>
                    <a:pt x="408" y="578"/>
                  </a:moveTo>
                  <a:lnTo>
                    <a:pt x="408" y="580"/>
                  </a:lnTo>
                  <a:lnTo>
                    <a:pt x="408" y="578"/>
                  </a:lnTo>
                  <a:close/>
                  <a:moveTo>
                    <a:pt x="408" y="576"/>
                  </a:moveTo>
                  <a:lnTo>
                    <a:pt x="410" y="576"/>
                  </a:lnTo>
                  <a:lnTo>
                    <a:pt x="410" y="578"/>
                  </a:lnTo>
                  <a:lnTo>
                    <a:pt x="408" y="578"/>
                  </a:lnTo>
                  <a:lnTo>
                    <a:pt x="408" y="576"/>
                  </a:lnTo>
                  <a:lnTo>
                    <a:pt x="408" y="578"/>
                  </a:lnTo>
                  <a:lnTo>
                    <a:pt x="408" y="576"/>
                  </a:lnTo>
                  <a:close/>
                  <a:moveTo>
                    <a:pt x="406" y="574"/>
                  </a:moveTo>
                  <a:lnTo>
                    <a:pt x="404" y="574"/>
                  </a:lnTo>
                  <a:lnTo>
                    <a:pt x="406" y="574"/>
                  </a:lnTo>
                  <a:close/>
                  <a:moveTo>
                    <a:pt x="408" y="572"/>
                  </a:moveTo>
                  <a:lnTo>
                    <a:pt x="406" y="572"/>
                  </a:lnTo>
                  <a:lnTo>
                    <a:pt x="406" y="570"/>
                  </a:lnTo>
                  <a:lnTo>
                    <a:pt x="406" y="572"/>
                  </a:lnTo>
                  <a:lnTo>
                    <a:pt x="408" y="572"/>
                  </a:lnTo>
                  <a:lnTo>
                    <a:pt x="408" y="570"/>
                  </a:lnTo>
                  <a:lnTo>
                    <a:pt x="408" y="572"/>
                  </a:lnTo>
                  <a:close/>
                  <a:moveTo>
                    <a:pt x="400" y="568"/>
                  </a:moveTo>
                  <a:lnTo>
                    <a:pt x="400" y="568"/>
                  </a:lnTo>
                  <a:lnTo>
                    <a:pt x="400" y="568"/>
                  </a:lnTo>
                  <a:lnTo>
                    <a:pt x="400" y="568"/>
                  </a:lnTo>
                  <a:lnTo>
                    <a:pt x="400" y="568"/>
                  </a:lnTo>
                  <a:close/>
                  <a:moveTo>
                    <a:pt x="400" y="568"/>
                  </a:moveTo>
                  <a:lnTo>
                    <a:pt x="400" y="568"/>
                  </a:lnTo>
                  <a:lnTo>
                    <a:pt x="400" y="568"/>
                  </a:lnTo>
                  <a:close/>
                  <a:moveTo>
                    <a:pt x="404" y="568"/>
                  </a:moveTo>
                  <a:lnTo>
                    <a:pt x="402" y="568"/>
                  </a:lnTo>
                  <a:lnTo>
                    <a:pt x="404" y="568"/>
                  </a:lnTo>
                  <a:close/>
                  <a:moveTo>
                    <a:pt x="400" y="568"/>
                  </a:moveTo>
                  <a:lnTo>
                    <a:pt x="400" y="568"/>
                  </a:lnTo>
                  <a:lnTo>
                    <a:pt x="400" y="568"/>
                  </a:lnTo>
                  <a:lnTo>
                    <a:pt x="400" y="568"/>
                  </a:lnTo>
                  <a:lnTo>
                    <a:pt x="400" y="568"/>
                  </a:lnTo>
                  <a:close/>
                  <a:moveTo>
                    <a:pt x="402" y="568"/>
                  </a:moveTo>
                  <a:lnTo>
                    <a:pt x="400" y="568"/>
                  </a:lnTo>
                  <a:lnTo>
                    <a:pt x="400" y="568"/>
                  </a:lnTo>
                  <a:lnTo>
                    <a:pt x="400" y="568"/>
                  </a:lnTo>
                  <a:lnTo>
                    <a:pt x="402" y="568"/>
                  </a:lnTo>
                  <a:close/>
                  <a:moveTo>
                    <a:pt x="402" y="568"/>
                  </a:moveTo>
                  <a:lnTo>
                    <a:pt x="402" y="568"/>
                  </a:lnTo>
                  <a:lnTo>
                    <a:pt x="402" y="568"/>
                  </a:lnTo>
                  <a:close/>
                  <a:moveTo>
                    <a:pt x="402" y="568"/>
                  </a:moveTo>
                  <a:lnTo>
                    <a:pt x="402" y="568"/>
                  </a:lnTo>
                  <a:lnTo>
                    <a:pt x="402" y="568"/>
                  </a:lnTo>
                  <a:close/>
                  <a:moveTo>
                    <a:pt x="402" y="568"/>
                  </a:moveTo>
                  <a:lnTo>
                    <a:pt x="402" y="568"/>
                  </a:lnTo>
                  <a:lnTo>
                    <a:pt x="402" y="568"/>
                  </a:lnTo>
                  <a:close/>
                  <a:moveTo>
                    <a:pt x="400" y="568"/>
                  </a:moveTo>
                  <a:lnTo>
                    <a:pt x="402" y="568"/>
                  </a:lnTo>
                  <a:lnTo>
                    <a:pt x="400" y="568"/>
                  </a:lnTo>
                  <a:lnTo>
                    <a:pt x="402" y="568"/>
                  </a:lnTo>
                  <a:lnTo>
                    <a:pt x="400" y="568"/>
                  </a:lnTo>
                  <a:lnTo>
                    <a:pt x="402" y="568"/>
                  </a:lnTo>
                  <a:lnTo>
                    <a:pt x="400" y="568"/>
                  </a:lnTo>
                  <a:lnTo>
                    <a:pt x="402" y="568"/>
                  </a:lnTo>
                  <a:lnTo>
                    <a:pt x="402" y="568"/>
                  </a:lnTo>
                  <a:lnTo>
                    <a:pt x="402" y="568"/>
                  </a:lnTo>
                  <a:lnTo>
                    <a:pt x="402" y="568"/>
                  </a:lnTo>
                  <a:lnTo>
                    <a:pt x="402" y="568"/>
                  </a:lnTo>
                  <a:lnTo>
                    <a:pt x="400" y="568"/>
                  </a:lnTo>
                  <a:lnTo>
                    <a:pt x="402" y="568"/>
                  </a:lnTo>
                  <a:lnTo>
                    <a:pt x="400" y="568"/>
                  </a:lnTo>
                  <a:close/>
                  <a:moveTo>
                    <a:pt x="402" y="568"/>
                  </a:moveTo>
                  <a:lnTo>
                    <a:pt x="400" y="568"/>
                  </a:lnTo>
                  <a:lnTo>
                    <a:pt x="402" y="568"/>
                  </a:lnTo>
                  <a:close/>
                  <a:moveTo>
                    <a:pt x="400" y="568"/>
                  </a:moveTo>
                  <a:lnTo>
                    <a:pt x="402" y="568"/>
                  </a:lnTo>
                  <a:lnTo>
                    <a:pt x="400" y="568"/>
                  </a:lnTo>
                  <a:lnTo>
                    <a:pt x="402" y="568"/>
                  </a:lnTo>
                  <a:lnTo>
                    <a:pt x="400" y="568"/>
                  </a:lnTo>
                  <a:close/>
                  <a:moveTo>
                    <a:pt x="402" y="568"/>
                  </a:moveTo>
                  <a:lnTo>
                    <a:pt x="404" y="568"/>
                  </a:lnTo>
                  <a:lnTo>
                    <a:pt x="402" y="568"/>
                  </a:lnTo>
                  <a:close/>
                  <a:moveTo>
                    <a:pt x="402" y="568"/>
                  </a:moveTo>
                  <a:lnTo>
                    <a:pt x="402" y="566"/>
                  </a:lnTo>
                  <a:lnTo>
                    <a:pt x="402" y="568"/>
                  </a:lnTo>
                  <a:close/>
                  <a:moveTo>
                    <a:pt x="402" y="566"/>
                  </a:moveTo>
                  <a:lnTo>
                    <a:pt x="402" y="568"/>
                  </a:lnTo>
                  <a:lnTo>
                    <a:pt x="400" y="566"/>
                  </a:lnTo>
                  <a:lnTo>
                    <a:pt x="402" y="566"/>
                  </a:lnTo>
                  <a:close/>
                  <a:moveTo>
                    <a:pt x="402" y="568"/>
                  </a:moveTo>
                  <a:lnTo>
                    <a:pt x="402" y="566"/>
                  </a:lnTo>
                  <a:lnTo>
                    <a:pt x="402" y="568"/>
                  </a:lnTo>
                  <a:close/>
                  <a:moveTo>
                    <a:pt x="402" y="566"/>
                  </a:moveTo>
                  <a:lnTo>
                    <a:pt x="400" y="566"/>
                  </a:lnTo>
                  <a:lnTo>
                    <a:pt x="402" y="566"/>
                  </a:lnTo>
                  <a:close/>
                  <a:moveTo>
                    <a:pt x="402" y="566"/>
                  </a:moveTo>
                  <a:lnTo>
                    <a:pt x="402" y="568"/>
                  </a:lnTo>
                  <a:lnTo>
                    <a:pt x="402" y="566"/>
                  </a:lnTo>
                  <a:close/>
                  <a:moveTo>
                    <a:pt x="408" y="568"/>
                  </a:moveTo>
                  <a:lnTo>
                    <a:pt x="408" y="566"/>
                  </a:lnTo>
                  <a:lnTo>
                    <a:pt x="408" y="568"/>
                  </a:lnTo>
                  <a:close/>
                  <a:moveTo>
                    <a:pt x="402" y="566"/>
                  </a:moveTo>
                  <a:lnTo>
                    <a:pt x="400" y="566"/>
                  </a:lnTo>
                  <a:lnTo>
                    <a:pt x="402" y="566"/>
                  </a:lnTo>
                  <a:close/>
                  <a:moveTo>
                    <a:pt x="408" y="566"/>
                  </a:moveTo>
                  <a:lnTo>
                    <a:pt x="408" y="568"/>
                  </a:lnTo>
                  <a:lnTo>
                    <a:pt x="408" y="566"/>
                  </a:lnTo>
                  <a:lnTo>
                    <a:pt x="408" y="568"/>
                  </a:lnTo>
                  <a:lnTo>
                    <a:pt x="408" y="566"/>
                  </a:lnTo>
                  <a:close/>
                  <a:moveTo>
                    <a:pt x="400" y="566"/>
                  </a:moveTo>
                  <a:lnTo>
                    <a:pt x="400" y="566"/>
                  </a:lnTo>
                  <a:lnTo>
                    <a:pt x="400" y="566"/>
                  </a:lnTo>
                  <a:close/>
                  <a:moveTo>
                    <a:pt x="402" y="564"/>
                  </a:moveTo>
                  <a:lnTo>
                    <a:pt x="402" y="566"/>
                  </a:lnTo>
                  <a:lnTo>
                    <a:pt x="400" y="566"/>
                  </a:lnTo>
                  <a:lnTo>
                    <a:pt x="400" y="564"/>
                  </a:lnTo>
                  <a:lnTo>
                    <a:pt x="402" y="564"/>
                  </a:lnTo>
                  <a:close/>
                  <a:moveTo>
                    <a:pt x="400" y="564"/>
                  </a:moveTo>
                  <a:lnTo>
                    <a:pt x="400" y="564"/>
                  </a:lnTo>
                  <a:lnTo>
                    <a:pt x="400" y="564"/>
                  </a:lnTo>
                  <a:lnTo>
                    <a:pt x="400" y="564"/>
                  </a:lnTo>
                  <a:lnTo>
                    <a:pt x="400" y="564"/>
                  </a:lnTo>
                  <a:close/>
                  <a:moveTo>
                    <a:pt x="400" y="564"/>
                  </a:moveTo>
                  <a:lnTo>
                    <a:pt x="402" y="564"/>
                  </a:lnTo>
                  <a:lnTo>
                    <a:pt x="400" y="564"/>
                  </a:lnTo>
                  <a:close/>
                  <a:moveTo>
                    <a:pt x="400" y="564"/>
                  </a:moveTo>
                  <a:lnTo>
                    <a:pt x="402" y="564"/>
                  </a:lnTo>
                  <a:lnTo>
                    <a:pt x="400" y="564"/>
                  </a:lnTo>
                  <a:close/>
                  <a:moveTo>
                    <a:pt x="404" y="564"/>
                  </a:moveTo>
                  <a:lnTo>
                    <a:pt x="404" y="566"/>
                  </a:lnTo>
                  <a:lnTo>
                    <a:pt x="404" y="564"/>
                  </a:lnTo>
                  <a:lnTo>
                    <a:pt x="402" y="564"/>
                  </a:lnTo>
                  <a:lnTo>
                    <a:pt x="404" y="564"/>
                  </a:lnTo>
                  <a:close/>
                  <a:moveTo>
                    <a:pt x="402" y="564"/>
                  </a:moveTo>
                  <a:lnTo>
                    <a:pt x="404" y="564"/>
                  </a:lnTo>
                  <a:lnTo>
                    <a:pt x="402" y="564"/>
                  </a:lnTo>
                  <a:lnTo>
                    <a:pt x="402" y="566"/>
                  </a:lnTo>
                  <a:lnTo>
                    <a:pt x="402" y="564"/>
                  </a:lnTo>
                  <a:close/>
                  <a:moveTo>
                    <a:pt x="400" y="562"/>
                  </a:moveTo>
                  <a:lnTo>
                    <a:pt x="400" y="564"/>
                  </a:lnTo>
                  <a:lnTo>
                    <a:pt x="400" y="562"/>
                  </a:lnTo>
                  <a:close/>
                  <a:moveTo>
                    <a:pt x="404" y="564"/>
                  </a:moveTo>
                  <a:lnTo>
                    <a:pt x="404" y="562"/>
                  </a:lnTo>
                  <a:lnTo>
                    <a:pt x="404" y="564"/>
                  </a:lnTo>
                  <a:close/>
                  <a:moveTo>
                    <a:pt x="400" y="562"/>
                  </a:moveTo>
                  <a:lnTo>
                    <a:pt x="400" y="562"/>
                  </a:lnTo>
                  <a:lnTo>
                    <a:pt x="400" y="562"/>
                  </a:lnTo>
                  <a:lnTo>
                    <a:pt x="400" y="562"/>
                  </a:lnTo>
                  <a:lnTo>
                    <a:pt x="400" y="562"/>
                  </a:lnTo>
                  <a:close/>
                  <a:moveTo>
                    <a:pt x="402" y="562"/>
                  </a:moveTo>
                  <a:lnTo>
                    <a:pt x="404" y="562"/>
                  </a:lnTo>
                  <a:lnTo>
                    <a:pt x="402" y="562"/>
                  </a:lnTo>
                  <a:close/>
                  <a:moveTo>
                    <a:pt x="404" y="562"/>
                  </a:moveTo>
                  <a:lnTo>
                    <a:pt x="402" y="562"/>
                  </a:lnTo>
                  <a:lnTo>
                    <a:pt x="404" y="562"/>
                  </a:lnTo>
                  <a:close/>
                  <a:moveTo>
                    <a:pt x="402" y="562"/>
                  </a:moveTo>
                  <a:lnTo>
                    <a:pt x="404" y="562"/>
                  </a:lnTo>
                  <a:lnTo>
                    <a:pt x="402" y="562"/>
                  </a:lnTo>
                  <a:close/>
                  <a:moveTo>
                    <a:pt x="400" y="560"/>
                  </a:moveTo>
                  <a:lnTo>
                    <a:pt x="400" y="562"/>
                  </a:lnTo>
                  <a:lnTo>
                    <a:pt x="400" y="560"/>
                  </a:lnTo>
                  <a:lnTo>
                    <a:pt x="400" y="562"/>
                  </a:lnTo>
                  <a:lnTo>
                    <a:pt x="400" y="560"/>
                  </a:lnTo>
                  <a:close/>
                  <a:moveTo>
                    <a:pt x="400" y="560"/>
                  </a:moveTo>
                  <a:lnTo>
                    <a:pt x="400" y="562"/>
                  </a:lnTo>
                  <a:lnTo>
                    <a:pt x="400" y="560"/>
                  </a:lnTo>
                  <a:close/>
                  <a:moveTo>
                    <a:pt x="400" y="562"/>
                  </a:moveTo>
                  <a:lnTo>
                    <a:pt x="400" y="560"/>
                  </a:lnTo>
                  <a:lnTo>
                    <a:pt x="400" y="562"/>
                  </a:lnTo>
                  <a:close/>
                  <a:moveTo>
                    <a:pt x="400" y="560"/>
                  </a:moveTo>
                  <a:lnTo>
                    <a:pt x="400" y="560"/>
                  </a:lnTo>
                  <a:lnTo>
                    <a:pt x="400" y="560"/>
                  </a:lnTo>
                  <a:close/>
                  <a:moveTo>
                    <a:pt x="402" y="560"/>
                  </a:moveTo>
                  <a:lnTo>
                    <a:pt x="402" y="562"/>
                  </a:lnTo>
                  <a:lnTo>
                    <a:pt x="404" y="562"/>
                  </a:lnTo>
                  <a:lnTo>
                    <a:pt x="402" y="562"/>
                  </a:lnTo>
                  <a:lnTo>
                    <a:pt x="402" y="560"/>
                  </a:lnTo>
                  <a:lnTo>
                    <a:pt x="402" y="562"/>
                  </a:lnTo>
                  <a:lnTo>
                    <a:pt x="402" y="560"/>
                  </a:lnTo>
                  <a:close/>
                  <a:moveTo>
                    <a:pt x="402" y="560"/>
                  </a:moveTo>
                  <a:lnTo>
                    <a:pt x="404" y="560"/>
                  </a:lnTo>
                  <a:lnTo>
                    <a:pt x="402" y="560"/>
                  </a:lnTo>
                  <a:close/>
                  <a:moveTo>
                    <a:pt x="406" y="560"/>
                  </a:moveTo>
                  <a:lnTo>
                    <a:pt x="404" y="560"/>
                  </a:lnTo>
                  <a:lnTo>
                    <a:pt x="406" y="560"/>
                  </a:lnTo>
                  <a:close/>
                  <a:moveTo>
                    <a:pt x="404" y="560"/>
                  </a:moveTo>
                  <a:lnTo>
                    <a:pt x="404" y="562"/>
                  </a:lnTo>
                  <a:lnTo>
                    <a:pt x="404" y="560"/>
                  </a:lnTo>
                  <a:lnTo>
                    <a:pt x="404" y="562"/>
                  </a:lnTo>
                  <a:lnTo>
                    <a:pt x="404" y="560"/>
                  </a:lnTo>
                  <a:lnTo>
                    <a:pt x="404" y="562"/>
                  </a:lnTo>
                  <a:lnTo>
                    <a:pt x="404" y="560"/>
                  </a:lnTo>
                  <a:close/>
                  <a:moveTo>
                    <a:pt x="408" y="562"/>
                  </a:moveTo>
                  <a:lnTo>
                    <a:pt x="408" y="560"/>
                  </a:lnTo>
                  <a:lnTo>
                    <a:pt x="408" y="562"/>
                  </a:lnTo>
                  <a:close/>
                  <a:moveTo>
                    <a:pt x="406" y="560"/>
                  </a:moveTo>
                  <a:lnTo>
                    <a:pt x="404" y="560"/>
                  </a:lnTo>
                  <a:lnTo>
                    <a:pt x="406" y="560"/>
                  </a:lnTo>
                  <a:close/>
                  <a:moveTo>
                    <a:pt x="406" y="560"/>
                  </a:moveTo>
                  <a:lnTo>
                    <a:pt x="406" y="558"/>
                  </a:lnTo>
                  <a:lnTo>
                    <a:pt x="406" y="560"/>
                  </a:lnTo>
                  <a:close/>
                  <a:moveTo>
                    <a:pt x="404" y="558"/>
                  </a:moveTo>
                  <a:lnTo>
                    <a:pt x="402" y="558"/>
                  </a:lnTo>
                  <a:lnTo>
                    <a:pt x="404" y="558"/>
                  </a:lnTo>
                  <a:close/>
                  <a:moveTo>
                    <a:pt x="404" y="558"/>
                  </a:moveTo>
                  <a:lnTo>
                    <a:pt x="404" y="560"/>
                  </a:lnTo>
                  <a:lnTo>
                    <a:pt x="404" y="558"/>
                  </a:lnTo>
                  <a:close/>
                  <a:moveTo>
                    <a:pt x="404" y="558"/>
                  </a:moveTo>
                  <a:lnTo>
                    <a:pt x="402" y="558"/>
                  </a:lnTo>
                  <a:lnTo>
                    <a:pt x="404" y="558"/>
                  </a:lnTo>
                  <a:close/>
                  <a:moveTo>
                    <a:pt x="404" y="558"/>
                  </a:moveTo>
                  <a:lnTo>
                    <a:pt x="404" y="556"/>
                  </a:lnTo>
                  <a:lnTo>
                    <a:pt x="404" y="558"/>
                  </a:lnTo>
                  <a:close/>
                  <a:moveTo>
                    <a:pt x="404" y="556"/>
                  </a:moveTo>
                  <a:lnTo>
                    <a:pt x="404" y="558"/>
                  </a:lnTo>
                  <a:lnTo>
                    <a:pt x="404" y="556"/>
                  </a:lnTo>
                  <a:close/>
                  <a:moveTo>
                    <a:pt x="404" y="556"/>
                  </a:moveTo>
                  <a:lnTo>
                    <a:pt x="404" y="558"/>
                  </a:lnTo>
                  <a:lnTo>
                    <a:pt x="404" y="556"/>
                  </a:lnTo>
                  <a:close/>
                  <a:moveTo>
                    <a:pt x="402" y="556"/>
                  </a:moveTo>
                  <a:lnTo>
                    <a:pt x="404" y="556"/>
                  </a:lnTo>
                  <a:lnTo>
                    <a:pt x="402" y="556"/>
                  </a:lnTo>
                  <a:close/>
                  <a:moveTo>
                    <a:pt x="404" y="556"/>
                  </a:moveTo>
                  <a:lnTo>
                    <a:pt x="402" y="556"/>
                  </a:lnTo>
                  <a:lnTo>
                    <a:pt x="404" y="556"/>
                  </a:lnTo>
                  <a:close/>
                  <a:moveTo>
                    <a:pt x="404" y="558"/>
                  </a:moveTo>
                  <a:lnTo>
                    <a:pt x="404" y="556"/>
                  </a:lnTo>
                  <a:lnTo>
                    <a:pt x="406" y="556"/>
                  </a:lnTo>
                  <a:lnTo>
                    <a:pt x="406" y="558"/>
                  </a:lnTo>
                  <a:lnTo>
                    <a:pt x="404" y="558"/>
                  </a:lnTo>
                  <a:close/>
                  <a:moveTo>
                    <a:pt x="402" y="556"/>
                  </a:moveTo>
                  <a:lnTo>
                    <a:pt x="404" y="556"/>
                  </a:lnTo>
                  <a:lnTo>
                    <a:pt x="402" y="556"/>
                  </a:lnTo>
                  <a:close/>
                  <a:moveTo>
                    <a:pt x="404" y="556"/>
                  </a:moveTo>
                  <a:lnTo>
                    <a:pt x="402" y="556"/>
                  </a:lnTo>
                  <a:lnTo>
                    <a:pt x="404" y="556"/>
                  </a:lnTo>
                  <a:lnTo>
                    <a:pt x="402" y="556"/>
                  </a:lnTo>
                  <a:lnTo>
                    <a:pt x="404" y="556"/>
                  </a:lnTo>
                  <a:close/>
                  <a:moveTo>
                    <a:pt x="404" y="554"/>
                  </a:moveTo>
                  <a:lnTo>
                    <a:pt x="404" y="556"/>
                  </a:lnTo>
                  <a:lnTo>
                    <a:pt x="404" y="554"/>
                  </a:lnTo>
                  <a:lnTo>
                    <a:pt x="402" y="554"/>
                  </a:lnTo>
                  <a:lnTo>
                    <a:pt x="404" y="554"/>
                  </a:lnTo>
                  <a:close/>
                  <a:moveTo>
                    <a:pt x="404" y="556"/>
                  </a:moveTo>
                  <a:lnTo>
                    <a:pt x="404" y="554"/>
                  </a:lnTo>
                  <a:lnTo>
                    <a:pt x="404" y="556"/>
                  </a:lnTo>
                  <a:close/>
                  <a:moveTo>
                    <a:pt x="404" y="554"/>
                  </a:moveTo>
                  <a:lnTo>
                    <a:pt x="402" y="554"/>
                  </a:lnTo>
                  <a:lnTo>
                    <a:pt x="404" y="554"/>
                  </a:lnTo>
                  <a:close/>
                  <a:moveTo>
                    <a:pt x="406" y="556"/>
                  </a:moveTo>
                  <a:lnTo>
                    <a:pt x="406" y="554"/>
                  </a:lnTo>
                  <a:lnTo>
                    <a:pt x="406" y="556"/>
                  </a:lnTo>
                  <a:close/>
                  <a:moveTo>
                    <a:pt x="406" y="552"/>
                  </a:moveTo>
                  <a:lnTo>
                    <a:pt x="406" y="554"/>
                  </a:lnTo>
                  <a:lnTo>
                    <a:pt x="406" y="552"/>
                  </a:lnTo>
                  <a:close/>
                  <a:moveTo>
                    <a:pt x="406" y="554"/>
                  </a:moveTo>
                  <a:lnTo>
                    <a:pt x="406" y="552"/>
                  </a:lnTo>
                  <a:lnTo>
                    <a:pt x="406" y="554"/>
                  </a:lnTo>
                  <a:close/>
                  <a:moveTo>
                    <a:pt x="406" y="552"/>
                  </a:moveTo>
                  <a:lnTo>
                    <a:pt x="406" y="550"/>
                  </a:lnTo>
                  <a:lnTo>
                    <a:pt x="406" y="552"/>
                  </a:lnTo>
                  <a:close/>
                  <a:moveTo>
                    <a:pt x="406" y="552"/>
                  </a:moveTo>
                  <a:lnTo>
                    <a:pt x="406" y="550"/>
                  </a:lnTo>
                  <a:lnTo>
                    <a:pt x="406" y="552"/>
                  </a:lnTo>
                  <a:close/>
                  <a:moveTo>
                    <a:pt x="410" y="550"/>
                  </a:moveTo>
                  <a:lnTo>
                    <a:pt x="408" y="550"/>
                  </a:lnTo>
                  <a:lnTo>
                    <a:pt x="410" y="550"/>
                  </a:lnTo>
                  <a:close/>
                  <a:moveTo>
                    <a:pt x="410" y="546"/>
                  </a:moveTo>
                  <a:lnTo>
                    <a:pt x="410" y="548"/>
                  </a:lnTo>
                  <a:lnTo>
                    <a:pt x="410" y="546"/>
                  </a:lnTo>
                  <a:lnTo>
                    <a:pt x="410" y="548"/>
                  </a:lnTo>
                  <a:lnTo>
                    <a:pt x="410" y="546"/>
                  </a:lnTo>
                  <a:close/>
                  <a:moveTo>
                    <a:pt x="408" y="546"/>
                  </a:moveTo>
                  <a:lnTo>
                    <a:pt x="410" y="546"/>
                  </a:lnTo>
                  <a:lnTo>
                    <a:pt x="408" y="546"/>
                  </a:lnTo>
                  <a:close/>
                  <a:moveTo>
                    <a:pt x="410" y="546"/>
                  </a:moveTo>
                  <a:lnTo>
                    <a:pt x="410" y="544"/>
                  </a:lnTo>
                  <a:lnTo>
                    <a:pt x="410" y="546"/>
                  </a:lnTo>
                  <a:close/>
                  <a:moveTo>
                    <a:pt x="410" y="546"/>
                  </a:moveTo>
                  <a:lnTo>
                    <a:pt x="410" y="544"/>
                  </a:lnTo>
                  <a:lnTo>
                    <a:pt x="410" y="546"/>
                  </a:lnTo>
                  <a:close/>
                  <a:moveTo>
                    <a:pt x="410" y="544"/>
                  </a:moveTo>
                  <a:lnTo>
                    <a:pt x="410" y="546"/>
                  </a:lnTo>
                  <a:lnTo>
                    <a:pt x="410" y="544"/>
                  </a:lnTo>
                  <a:close/>
                  <a:moveTo>
                    <a:pt x="404" y="584"/>
                  </a:moveTo>
                  <a:lnTo>
                    <a:pt x="402" y="578"/>
                  </a:lnTo>
                  <a:lnTo>
                    <a:pt x="402" y="576"/>
                  </a:lnTo>
                  <a:lnTo>
                    <a:pt x="402" y="574"/>
                  </a:lnTo>
                  <a:lnTo>
                    <a:pt x="402" y="572"/>
                  </a:lnTo>
                  <a:lnTo>
                    <a:pt x="404" y="572"/>
                  </a:lnTo>
                  <a:lnTo>
                    <a:pt x="404" y="570"/>
                  </a:lnTo>
                  <a:lnTo>
                    <a:pt x="404" y="568"/>
                  </a:lnTo>
                  <a:lnTo>
                    <a:pt x="404" y="568"/>
                  </a:lnTo>
                  <a:lnTo>
                    <a:pt x="404" y="564"/>
                  </a:lnTo>
                  <a:lnTo>
                    <a:pt x="404" y="560"/>
                  </a:lnTo>
                  <a:lnTo>
                    <a:pt x="406" y="558"/>
                  </a:lnTo>
                  <a:lnTo>
                    <a:pt x="406" y="556"/>
                  </a:lnTo>
                  <a:lnTo>
                    <a:pt x="406" y="554"/>
                  </a:lnTo>
                  <a:lnTo>
                    <a:pt x="406" y="550"/>
                  </a:lnTo>
                  <a:lnTo>
                    <a:pt x="408" y="544"/>
                  </a:lnTo>
                  <a:lnTo>
                    <a:pt x="408" y="548"/>
                  </a:lnTo>
                  <a:lnTo>
                    <a:pt x="406" y="550"/>
                  </a:lnTo>
                  <a:lnTo>
                    <a:pt x="406" y="554"/>
                  </a:lnTo>
                  <a:lnTo>
                    <a:pt x="406" y="556"/>
                  </a:lnTo>
                  <a:lnTo>
                    <a:pt x="406" y="558"/>
                  </a:lnTo>
                  <a:lnTo>
                    <a:pt x="406" y="560"/>
                  </a:lnTo>
                  <a:lnTo>
                    <a:pt x="404" y="560"/>
                  </a:lnTo>
                  <a:lnTo>
                    <a:pt x="404" y="564"/>
                  </a:lnTo>
                  <a:lnTo>
                    <a:pt x="404" y="566"/>
                  </a:lnTo>
                  <a:lnTo>
                    <a:pt x="404" y="568"/>
                  </a:lnTo>
                  <a:lnTo>
                    <a:pt x="404" y="568"/>
                  </a:lnTo>
                  <a:lnTo>
                    <a:pt x="404" y="570"/>
                  </a:lnTo>
                  <a:lnTo>
                    <a:pt x="404" y="572"/>
                  </a:lnTo>
                  <a:lnTo>
                    <a:pt x="404" y="574"/>
                  </a:lnTo>
                  <a:lnTo>
                    <a:pt x="404" y="576"/>
                  </a:lnTo>
                  <a:lnTo>
                    <a:pt x="402" y="576"/>
                  </a:lnTo>
                  <a:lnTo>
                    <a:pt x="404" y="576"/>
                  </a:lnTo>
                  <a:lnTo>
                    <a:pt x="404" y="578"/>
                  </a:lnTo>
                  <a:lnTo>
                    <a:pt x="404" y="584"/>
                  </a:lnTo>
                  <a:close/>
                  <a:moveTo>
                    <a:pt x="402" y="544"/>
                  </a:moveTo>
                  <a:lnTo>
                    <a:pt x="402" y="542"/>
                  </a:lnTo>
                  <a:lnTo>
                    <a:pt x="402" y="544"/>
                  </a:lnTo>
                  <a:close/>
                  <a:moveTo>
                    <a:pt x="408" y="544"/>
                  </a:moveTo>
                  <a:lnTo>
                    <a:pt x="408" y="542"/>
                  </a:lnTo>
                  <a:lnTo>
                    <a:pt x="408" y="544"/>
                  </a:lnTo>
                  <a:close/>
                  <a:moveTo>
                    <a:pt x="408" y="542"/>
                  </a:moveTo>
                  <a:lnTo>
                    <a:pt x="410" y="542"/>
                  </a:lnTo>
                  <a:lnTo>
                    <a:pt x="408" y="542"/>
                  </a:lnTo>
                  <a:close/>
                  <a:moveTo>
                    <a:pt x="410" y="542"/>
                  </a:moveTo>
                  <a:lnTo>
                    <a:pt x="408" y="542"/>
                  </a:lnTo>
                  <a:lnTo>
                    <a:pt x="410" y="542"/>
                  </a:lnTo>
                  <a:close/>
                  <a:moveTo>
                    <a:pt x="408" y="542"/>
                  </a:moveTo>
                  <a:lnTo>
                    <a:pt x="410" y="542"/>
                  </a:lnTo>
                  <a:lnTo>
                    <a:pt x="408" y="542"/>
                  </a:lnTo>
                  <a:close/>
                  <a:moveTo>
                    <a:pt x="404" y="540"/>
                  </a:moveTo>
                  <a:lnTo>
                    <a:pt x="404" y="538"/>
                  </a:lnTo>
                  <a:lnTo>
                    <a:pt x="404" y="540"/>
                  </a:lnTo>
                  <a:close/>
                  <a:moveTo>
                    <a:pt x="396" y="538"/>
                  </a:moveTo>
                  <a:lnTo>
                    <a:pt x="394" y="538"/>
                  </a:lnTo>
                  <a:lnTo>
                    <a:pt x="396" y="538"/>
                  </a:lnTo>
                  <a:close/>
                  <a:moveTo>
                    <a:pt x="404" y="538"/>
                  </a:moveTo>
                  <a:lnTo>
                    <a:pt x="406" y="538"/>
                  </a:lnTo>
                  <a:lnTo>
                    <a:pt x="404" y="538"/>
                  </a:lnTo>
                  <a:close/>
                  <a:moveTo>
                    <a:pt x="404" y="536"/>
                  </a:moveTo>
                  <a:lnTo>
                    <a:pt x="402" y="536"/>
                  </a:lnTo>
                  <a:lnTo>
                    <a:pt x="404" y="536"/>
                  </a:lnTo>
                  <a:close/>
                  <a:moveTo>
                    <a:pt x="402" y="536"/>
                  </a:moveTo>
                  <a:lnTo>
                    <a:pt x="404" y="536"/>
                  </a:lnTo>
                  <a:lnTo>
                    <a:pt x="402" y="536"/>
                  </a:lnTo>
                  <a:close/>
                  <a:moveTo>
                    <a:pt x="412" y="536"/>
                  </a:moveTo>
                  <a:lnTo>
                    <a:pt x="412" y="534"/>
                  </a:lnTo>
                  <a:lnTo>
                    <a:pt x="412" y="536"/>
                  </a:lnTo>
                  <a:close/>
                  <a:moveTo>
                    <a:pt x="414" y="534"/>
                  </a:moveTo>
                  <a:lnTo>
                    <a:pt x="414" y="532"/>
                  </a:lnTo>
                  <a:lnTo>
                    <a:pt x="414" y="534"/>
                  </a:lnTo>
                  <a:close/>
                  <a:moveTo>
                    <a:pt x="416" y="532"/>
                  </a:moveTo>
                  <a:lnTo>
                    <a:pt x="414" y="532"/>
                  </a:lnTo>
                  <a:lnTo>
                    <a:pt x="416" y="532"/>
                  </a:lnTo>
                  <a:close/>
                  <a:moveTo>
                    <a:pt x="416" y="532"/>
                  </a:moveTo>
                  <a:lnTo>
                    <a:pt x="416" y="530"/>
                  </a:lnTo>
                  <a:lnTo>
                    <a:pt x="416" y="532"/>
                  </a:lnTo>
                  <a:close/>
                  <a:moveTo>
                    <a:pt x="414" y="530"/>
                  </a:moveTo>
                  <a:lnTo>
                    <a:pt x="416" y="530"/>
                  </a:lnTo>
                  <a:lnTo>
                    <a:pt x="414" y="530"/>
                  </a:lnTo>
                  <a:close/>
                  <a:moveTo>
                    <a:pt x="416" y="530"/>
                  </a:moveTo>
                  <a:lnTo>
                    <a:pt x="416" y="528"/>
                  </a:lnTo>
                  <a:lnTo>
                    <a:pt x="416" y="530"/>
                  </a:lnTo>
                  <a:close/>
                  <a:moveTo>
                    <a:pt x="416" y="530"/>
                  </a:moveTo>
                  <a:lnTo>
                    <a:pt x="416" y="528"/>
                  </a:lnTo>
                  <a:lnTo>
                    <a:pt x="416" y="530"/>
                  </a:lnTo>
                  <a:close/>
                  <a:moveTo>
                    <a:pt x="418" y="530"/>
                  </a:moveTo>
                  <a:lnTo>
                    <a:pt x="418" y="528"/>
                  </a:lnTo>
                  <a:lnTo>
                    <a:pt x="418" y="530"/>
                  </a:lnTo>
                  <a:close/>
                  <a:moveTo>
                    <a:pt x="418" y="528"/>
                  </a:moveTo>
                  <a:lnTo>
                    <a:pt x="418" y="530"/>
                  </a:lnTo>
                  <a:lnTo>
                    <a:pt x="418" y="528"/>
                  </a:lnTo>
                  <a:close/>
                  <a:moveTo>
                    <a:pt x="418" y="528"/>
                  </a:moveTo>
                  <a:lnTo>
                    <a:pt x="416" y="528"/>
                  </a:lnTo>
                  <a:lnTo>
                    <a:pt x="418" y="528"/>
                  </a:lnTo>
                  <a:close/>
                  <a:moveTo>
                    <a:pt x="418" y="528"/>
                  </a:moveTo>
                  <a:lnTo>
                    <a:pt x="416" y="528"/>
                  </a:lnTo>
                  <a:lnTo>
                    <a:pt x="418" y="528"/>
                  </a:lnTo>
                  <a:close/>
                  <a:moveTo>
                    <a:pt x="418" y="526"/>
                  </a:moveTo>
                  <a:lnTo>
                    <a:pt x="418" y="528"/>
                  </a:lnTo>
                  <a:lnTo>
                    <a:pt x="418" y="526"/>
                  </a:lnTo>
                  <a:close/>
                  <a:moveTo>
                    <a:pt x="420" y="524"/>
                  </a:moveTo>
                  <a:lnTo>
                    <a:pt x="420" y="526"/>
                  </a:lnTo>
                  <a:lnTo>
                    <a:pt x="420" y="524"/>
                  </a:lnTo>
                  <a:close/>
                  <a:moveTo>
                    <a:pt x="418" y="526"/>
                  </a:moveTo>
                  <a:lnTo>
                    <a:pt x="418" y="524"/>
                  </a:lnTo>
                  <a:lnTo>
                    <a:pt x="420" y="524"/>
                  </a:lnTo>
                  <a:lnTo>
                    <a:pt x="418" y="524"/>
                  </a:lnTo>
                  <a:lnTo>
                    <a:pt x="418" y="526"/>
                  </a:lnTo>
                  <a:close/>
                  <a:moveTo>
                    <a:pt x="422" y="524"/>
                  </a:moveTo>
                  <a:lnTo>
                    <a:pt x="420" y="524"/>
                  </a:lnTo>
                  <a:lnTo>
                    <a:pt x="422" y="524"/>
                  </a:lnTo>
                  <a:close/>
                  <a:moveTo>
                    <a:pt x="420" y="524"/>
                  </a:moveTo>
                  <a:lnTo>
                    <a:pt x="422" y="524"/>
                  </a:lnTo>
                  <a:lnTo>
                    <a:pt x="420" y="524"/>
                  </a:lnTo>
                  <a:close/>
                  <a:moveTo>
                    <a:pt x="422" y="524"/>
                  </a:moveTo>
                  <a:lnTo>
                    <a:pt x="422" y="522"/>
                  </a:lnTo>
                  <a:lnTo>
                    <a:pt x="422" y="524"/>
                  </a:lnTo>
                  <a:close/>
                  <a:moveTo>
                    <a:pt x="418" y="522"/>
                  </a:moveTo>
                  <a:lnTo>
                    <a:pt x="418" y="524"/>
                  </a:lnTo>
                  <a:lnTo>
                    <a:pt x="420" y="524"/>
                  </a:lnTo>
                  <a:lnTo>
                    <a:pt x="420" y="526"/>
                  </a:lnTo>
                  <a:lnTo>
                    <a:pt x="422" y="526"/>
                  </a:lnTo>
                  <a:lnTo>
                    <a:pt x="420" y="526"/>
                  </a:lnTo>
                  <a:lnTo>
                    <a:pt x="420" y="528"/>
                  </a:lnTo>
                  <a:lnTo>
                    <a:pt x="420" y="530"/>
                  </a:lnTo>
                  <a:lnTo>
                    <a:pt x="418" y="530"/>
                  </a:lnTo>
                  <a:lnTo>
                    <a:pt x="418" y="532"/>
                  </a:lnTo>
                  <a:lnTo>
                    <a:pt x="416" y="534"/>
                  </a:lnTo>
                  <a:lnTo>
                    <a:pt x="416" y="536"/>
                  </a:lnTo>
                  <a:lnTo>
                    <a:pt x="414" y="538"/>
                  </a:lnTo>
                  <a:lnTo>
                    <a:pt x="414" y="540"/>
                  </a:lnTo>
                  <a:lnTo>
                    <a:pt x="412" y="542"/>
                  </a:lnTo>
                  <a:lnTo>
                    <a:pt x="412" y="544"/>
                  </a:lnTo>
                  <a:lnTo>
                    <a:pt x="412" y="546"/>
                  </a:lnTo>
                  <a:lnTo>
                    <a:pt x="410" y="548"/>
                  </a:lnTo>
                  <a:lnTo>
                    <a:pt x="410" y="550"/>
                  </a:lnTo>
                  <a:lnTo>
                    <a:pt x="410" y="552"/>
                  </a:lnTo>
                  <a:lnTo>
                    <a:pt x="410" y="554"/>
                  </a:lnTo>
                  <a:lnTo>
                    <a:pt x="410" y="556"/>
                  </a:lnTo>
                  <a:lnTo>
                    <a:pt x="408" y="558"/>
                  </a:lnTo>
                  <a:lnTo>
                    <a:pt x="408" y="560"/>
                  </a:lnTo>
                  <a:lnTo>
                    <a:pt x="408" y="562"/>
                  </a:lnTo>
                  <a:lnTo>
                    <a:pt x="408" y="564"/>
                  </a:lnTo>
                  <a:lnTo>
                    <a:pt x="408" y="566"/>
                  </a:lnTo>
                  <a:lnTo>
                    <a:pt x="408" y="568"/>
                  </a:lnTo>
                  <a:lnTo>
                    <a:pt x="408" y="568"/>
                  </a:lnTo>
                  <a:lnTo>
                    <a:pt x="408" y="570"/>
                  </a:lnTo>
                  <a:lnTo>
                    <a:pt x="410" y="570"/>
                  </a:lnTo>
                  <a:lnTo>
                    <a:pt x="410" y="572"/>
                  </a:lnTo>
                  <a:lnTo>
                    <a:pt x="410" y="574"/>
                  </a:lnTo>
                  <a:lnTo>
                    <a:pt x="410" y="576"/>
                  </a:lnTo>
                  <a:lnTo>
                    <a:pt x="410" y="578"/>
                  </a:lnTo>
                  <a:lnTo>
                    <a:pt x="410" y="580"/>
                  </a:lnTo>
                  <a:lnTo>
                    <a:pt x="410" y="582"/>
                  </a:lnTo>
                  <a:lnTo>
                    <a:pt x="412" y="582"/>
                  </a:lnTo>
                  <a:lnTo>
                    <a:pt x="412" y="584"/>
                  </a:lnTo>
                  <a:lnTo>
                    <a:pt x="412" y="586"/>
                  </a:lnTo>
                  <a:lnTo>
                    <a:pt x="410" y="586"/>
                  </a:lnTo>
                  <a:lnTo>
                    <a:pt x="410" y="584"/>
                  </a:lnTo>
                  <a:lnTo>
                    <a:pt x="410" y="582"/>
                  </a:lnTo>
                  <a:lnTo>
                    <a:pt x="410" y="580"/>
                  </a:lnTo>
                  <a:lnTo>
                    <a:pt x="408" y="580"/>
                  </a:lnTo>
                  <a:lnTo>
                    <a:pt x="410" y="580"/>
                  </a:lnTo>
                  <a:lnTo>
                    <a:pt x="408" y="580"/>
                  </a:lnTo>
                  <a:lnTo>
                    <a:pt x="410" y="580"/>
                  </a:lnTo>
                  <a:lnTo>
                    <a:pt x="408" y="580"/>
                  </a:lnTo>
                  <a:lnTo>
                    <a:pt x="410" y="580"/>
                  </a:lnTo>
                  <a:lnTo>
                    <a:pt x="408" y="580"/>
                  </a:lnTo>
                  <a:lnTo>
                    <a:pt x="410" y="580"/>
                  </a:lnTo>
                  <a:lnTo>
                    <a:pt x="408" y="580"/>
                  </a:lnTo>
                  <a:lnTo>
                    <a:pt x="410" y="580"/>
                  </a:lnTo>
                  <a:lnTo>
                    <a:pt x="410" y="578"/>
                  </a:lnTo>
                  <a:lnTo>
                    <a:pt x="410" y="580"/>
                  </a:lnTo>
                  <a:lnTo>
                    <a:pt x="410" y="578"/>
                  </a:lnTo>
                  <a:lnTo>
                    <a:pt x="408" y="578"/>
                  </a:lnTo>
                  <a:lnTo>
                    <a:pt x="410" y="578"/>
                  </a:lnTo>
                  <a:lnTo>
                    <a:pt x="408" y="578"/>
                  </a:lnTo>
                  <a:lnTo>
                    <a:pt x="410" y="578"/>
                  </a:lnTo>
                  <a:lnTo>
                    <a:pt x="408" y="578"/>
                  </a:lnTo>
                  <a:lnTo>
                    <a:pt x="410" y="578"/>
                  </a:lnTo>
                  <a:lnTo>
                    <a:pt x="408" y="578"/>
                  </a:lnTo>
                  <a:lnTo>
                    <a:pt x="410" y="578"/>
                  </a:lnTo>
                  <a:lnTo>
                    <a:pt x="410" y="580"/>
                  </a:lnTo>
                  <a:lnTo>
                    <a:pt x="410" y="582"/>
                  </a:lnTo>
                  <a:lnTo>
                    <a:pt x="410" y="584"/>
                  </a:lnTo>
                  <a:lnTo>
                    <a:pt x="412" y="584"/>
                  </a:lnTo>
                  <a:lnTo>
                    <a:pt x="412" y="586"/>
                  </a:lnTo>
                  <a:lnTo>
                    <a:pt x="412" y="584"/>
                  </a:lnTo>
                  <a:lnTo>
                    <a:pt x="410" y="584"/>
                  </a:lnTo>
                  <a:lnTo>
                    <a:pt x="410" y="582"/>
                  </a:lnTo>
                  <a:lnTo>
                    <a:pt x="412" y="582"/>
                  </a:lnTo>
                  <a:lnTo>
                    <a:pt x="410" y="582"/>
                  </a:lnTo>
                  <a:lnTo>
                    <a:pt x="412" y="582"/>
                  </a:lnTo>
                  <a:lnTo>
                    <a:pt x="410" y="582"/>
                  </a:lnTo>
                  <a:lnTo>
                    <a:pt x="410" y="580"/>
                  </a:lnTo>
                  <a:lnTo>
                    <a:pt x="410" y="578"/>
                  </a:lnTo>
                  <a:lnTo>
                    <a:pt x="410" y="580"/>
                  </a:lnTo>
                  <a:lnTo>
                    <a:pt x="410" y="578"/>
                  </a:lnTo>
                  <a:lnTo>
                    <a:pt x="410" y="580"/>
                  </a:lnTo>
                  <a:lnTo>
                    <a:pt x="410" y="578"/>
                  </a:lnTo>
                  <a:lnTo>
                    <a:pt x="410" y="576"/>
                  </a:lnTo>
                  <a:lnTo>
                    <a:pt x="408" y="576"/>
                  </a:lnTo>
                  <a:lnTo>
                    <a:pt x="408" y="574"/>
                  </a:lnTo>
                  <a:lnTo>
                    <a:pt x="410" y="574"/>
                  </a:lnTo>
                  <a:lnTo>
                    <a:pt x="408" y="574"/>
                  </a:lnTo>
                  <a:lnTo>
                    <a:pt x="408" y="572"/>
                  </a:lnTo>
                  <a:lnTo>
                    <a:pt x="408" y="574"/>
                  </a:lnTo>
                  <a:lnTo>
                    <a:pt x="408" y="572"/>
                  </a:lnTo>
                  <a:lnTo>
                    <a:pt x="408" y="574"/>
                  </a:lnTo>
                  <a:lnTo>
                    <a:pt x="408" y="572"/>
                  </a:lnTo>
                  <a:lnTo>
                    <a:pt x="408" y="570"/>
                  </a:lnTo>
                  <a:lnTo>
                    <a:pt x="408" y="568"/>
                  </a:lnTo>
                  <a:lnTo>
                    <a:pt x="408" y="570"/>
                  </a:lnTo>
                  <a:lnTo>
                    <a:pt x="408" y="568"/>
                  </a:lnTo>
                  <a:lnTo>
                    <a:pt x="408" y="568"/>
                  </a:lnTo>
                  <a:lnTo>
                    <a:pt x="408" y="566"/>
                  </a:lnTo>
                  <a:lnTo>
                    <a:pt x="408" y="564"/>
                  </a:lnTo>
                  <a:lnTo>
                    <a:pt x="408" y="562"/>
                  </a:lnTo>
                  <a:lnTo>
                    <a:pt x="408" y="560"/>
                  </a:lnTo>
                  <a:lnTo>
                    <a:pt x="408" y="558"/>
                  </a:lnTo>
                  <a:lnTo>
                    <a:pt x="408" y="556"/>
                  </a:lnTo>
                  <a:lnTo>
                    <a:pt x="408" y="554"/>
                  </a:lnTo>
                  <a:lnTo>
                    <a:pt x="410" y="554"/>
                  </a:lnTo>
                  <a:lnTo>
                    <a:pt x="408" y="554"/>
                  </a:lnTo>
                  <a:lnTo>
                    <a:pt x="410" y="554"/>
                  </a:lnTo>
                  <a:lnTo>
                    <a:pt x="408" y="554"/>
                  </a:lnTo>
                  <a:lnTo>
                    <a:pt x="410" y="554"/>
                  </a:lnTo>
                  <a:lnTo>
                    <a:pt x="408" y="554"/>
                  </a:lnTo>
                  <a:lnTo>
                    <a:pt x="408" y="552"/>
                  </a:lnTo>
                  <a:lnTo>
                    <a:pt x="410" y="552"/>
                  </a:lnTo>
                  <a:lnTo>
                    <a:pt x="408" y="552"/>
                  </a:lnTo>
                  <a:lnTo>
                    <a:pt x="410" y="552"/>
                  </a:lnTo>
                  <a:lnTo>
                    <a:pt x="408" y="552"/>
                  </a:lnTo>
                  <a:lnTo>
                    <a:pt x="410" y="552"/>
                  </a:lnTo>
                  <a:lnTo>
                    <a:pt x="408" y="552"/>
                  </a:lnTo>
                  <a:lnTo>
                    <a:pt x="410" y="552"/>
                  </a:lnTo>
                  <a:lnTo>
                    <a:pt x="410" y="550"/>
                  </a:lnTo>
                  <a:lnTo>
                    <a:pt x="410" y="552"/>
                  </a:lnTo>
                  <a:lnTo>
                    <a:pt x="410" y="550"/>
                  </a:lnTo>
                  <a:lnTo>
                    <a:pt x="410" y="548"/>
                  </a:lnTo>
                  <a:lnTo>
                    <a:pt x="410" y="550"/>
                  </a:lnTo>
                  <a:lnTo>
                    <a:pt x="410" y="548"/>
                  </a:lnTo>
                  <a:lnTo>
                    <a:pt x="410" y="546"/>
                  </a:lnTo>
                  <a:lnTo>
                    <a:pt x="410" y="548"/>
                  </a:lnTo>
                  <a:lnTo>
                    <a:pt x="410" y="546"/>
                  </a:lnTo>
                  <a:lnTo>
                    <a:pt x="410" y="544"/>
                  </a:lnTo>
                  <a:lnTo>
                    <a:pt x="410" y="546"/>
                  </a:lnTo>
                  <a:lnTo>
                    <a:pt x="410" y="544"/>
                  </a:lnTo>
                  <a:lnTo>
                    <a:pt x="412" y="544"/>
                  </a:lnTo>
                  <a:lnTo>
                    <a:pt x="412" y="546"/>
                  </a:lnTo>
                  <a:lnTo>
                    <a:pt x="412" y="544"/>
                  </a:lnTo>
                  <a:lnTo>
                    <a:pt x="410" y="544"/>
                  </a:lnTo>
                  <a:lnTo>
                    <a:pt x="412" y="544"/>
                  </a:lnTo>
                  <a:lnTo>
                    <a:pt x="412" y="542"/>
                  </a:lnTo>
                  <a:lnTo>
                    <a:pt x="410" y="542"/>
                  </a:lnTo>
                  <a:lnTo>
                    <a:pt x="412" y="542"/>
                  </a:lnTo>
                  <a:lnTo>
                    <a:pt x="410" y="542"/>
                  </a:lnTo>
                  <a:lnTo>
                    <a:pt x="412" y="542"/>
                  </a:lnTo>
                  <a:lnTo>
                    <a:pt x="412" y="540"/>
                  </a:lnTo>
                  <a:lnTo>
                    <a:pt x="412" y="538"/>
                  </a:lnTo>
                  <a:lnTo>
                    <a:pt x="414" y="538"/>
                  </a:lnTo>
                  <a:lnTo>
                    <a:pt x="414" y="536"/>
                  </a:lnTo>
                  <a:lnTo>
                    <a:pt x="414" y="534"/>
                  </a:lnTo>
                  <a:lnTo>
                    <a:pt x="414" y="532"/>
                  </a:lnTo>
                  <a:lnTo>
                    <a:pt x="416" y="532"/>
                  </a:lnTo>
                  <a:lnTo>
                    <a:pt x="416" y="530"/>
                  </a:lnTo>
                  <a:lnTo>
                    <a:pt x="418" y="530"/>
                  </a:lnTo>
                  <a:lnTo>
                    <a:pt x="418" y="528"/>
                  </a:lnTo>
                  <a:lnTo>
                    <a:pt x="420" y="528"/>
                  </a:lnTo>
                  <a:lnTo>
                    <a:pt x="418" y="528"/>
                  </a:lnTo>
                  <a:lnTo>
                    <a:pt x="420" y="528"/>
                  </a:lnTo>
                  <a:lnTo>
                    <a:pt x="418" y="528"/>
                  </a:lnTo>
                  <a:lnTo>
                    <a:pt x="418" y="526"/>
                  </a:lnTo>
                  <a:lnTo>
                    <a:pt x="418" y="528"/>
                  </a:lnTo>
                  <a:lnTo>
                    <a:pt x="418" y="526"/>
                  </a:lnTo>
                  <a:lnTo>
                    <a:pt x="420" y="526"/>
                  </a:lnTo>
                  <a:lnTo>
                    <a:pt x="418" y="526"/>
                  </a:lnTo>
                  <a:lnTo>
                    <a:pt x="420" y="526"/>
                  </a:lnTo>
                  <a:lnTo>
                    <a:pt x="418" y="526"/>
                  </a:lnTo>
                  <a:lnTo>
                    <a:pt x="420" y="526"/>
                  </a:lnTo>
                  <a:lnTo>
                    <a:pt x="418" y="526"/>
                  </a:lnTo>
                  <a:lnTo>
                    <a:pt x="420" y="526"/>
                  </a:lnTo>
                  <a:lnTo>
                    <a:pt x="418" y="526"/>
                  </a:lnTo>
                  <a:lnTo>
                    <a:pt x="420" y="526"/>
                  </a:lnTo>
                  <a:lnTo>
                    <a:pt x="418" y="526"/>
                  </a:lnTo>
                  <a:lnTo>
                    <a:pt x="420" y="526"/>
                  </a:lnTo>
                  <a:lnTo>
                    <a:pt x="418" y="526"/>
                  </a:lnTo>
                  <a:lnTo>
                    <a:pt x="420" y="526"/>
                  </a:lnTo>
                  <a:lnTo>
                    <a:pt x="418" y="526"/>
                  </a:lnTo>
                  <a:lnTo>
                    <a:pt x="420" y="526"/>
                  </a:lnTo>
                  <a:lnTo>
                    <a:pt x="418" y="526"/>
                  </a:lnTo>
                  <a:lnTo>
                    <a:pt x="420" y="526"/>
                  </a:lnTo>
                  <a:lnTo>
                    <a:pt x="418" y="526"/>
                  </a:lnTo>
                  <a:lnTo>
                    <a:pt x="420" y="526"/>
                  </a:lnTo>
                  <a:lnTo>
                    <a:pt x="420" y="524"/>
                  </a:lnTo>
                  <a:lnTo>
                    <a:pt x="420" y="526"/>
                  </a:lnTo>
                  <a:lnTo>
                    <a:pt x="420" y="524"/>
                  </a:lnTo>
                  <a:lnTo>
                    <a:pt x="418" y="524"/>
                  </a:lnTo>
                  <a:lnTo>
                    <a:pt x="418" y="522"/>
                  </a:lnTo>
                  <a:close/>
                  <a:moveTo>
                    <a:pt x="416" y="522"/>
                  </a:moveTo>
                  <a:lnTo>
                    <a:pt x="414" y="522"/>
                  </a:lnTo>
                  <a:lnTo>
                    <a:pt x="416" y="522"/>
                  </a:lnTo>
                  <a:close/>
                  <a:moveTo>
                    <a:pt x="420" y="522"/>
                  </a:moveTo>
                  <a:lnTo>
                    <a:pt x="418" y="522"/>
                  </a:lnTo>
                  <a:lnTo>
                    <a:pt x="420" y="522"/>
                  </a:lnTo>
                  <a:close/>
                  <a:moveTo>
                    <a:pt x="420" y="522"/>
                  </a:moveTo>
                  <a:lnTo>
                    <a:pt x="418" y="522"/>
                  </a:lnTo>
                  <a:lnTo>
                    <a:pt x="420" y="522"/>
                  </a:lnTo>
                  <a:close/>
                  <a:moveTo>
                    <a:pt x="418" y="522"/>
                  </a:moveTo>
                  <a:lnTo>
                    <a:pt x="420" y="522"/>
                  </a:lnTo>
                  <a:lnTo>
                    <a:pt x="418" y="522"/>
                  </a:lnTo>
                  <a:close/>
                  <a:moveTo>
                    <a:pt x="420" y="520"/>
                  </a:moveTo>
                  <a:lnTo>
                    <a:pt x="420" y="522"/>
                  </a:lnTo>
                  <a:lnTo>
                    <a:pt x="420" y="520"/>
                  </a:lnTo>
                  <a:close/>
                  <a:moveTo>
                    <a:pt x="426" y="520"/>
                  </a:moveTo>
                  <a:lnTo>
                    <a:pt x="424" y="520"/>
                  </a:lnTo>
                  <a:lnTo>
                    <a:pt x="426" y="520"/>
                  </a:lnTo>
                  <a:close/>
                  <a:moveTo>
                    <a:pt x="426" y="520"/>
                  </a:moveTo>
                  <a:lnTo>
                    <a:pt x="424" y="520"/>
                  </a:lnTo>
                  <a:lnTo>
                    <a:pt x="426" y="520"/>
                  </a:lnTo>
                  <a:close/>
                  <a:moveTo>
                    <a:pt x="426" y="520"/>
                  </a:moveTo>
                  <a:lnTo>
                    <a:pt x="424" y="520"/>
                  </a:lnTo>
                  <a:lnTo>
                    <a:pt x="426" y="520"/>
                  </a:lnTo>
                  <a:close/>
                  <a:moveTo>
                    <a:pt x="426" y="520"/>
                  </a:moveTo>
                  <a:lnTo>
                    <a:pt x="424" y="520"/>
                  </a:lnTo>
                  <a:lnTo>
                    <a:pt x="426" y="520"/>
                  </a:lnTo>
                  <a:lnTo>
                    <a:pt x="426" y="518"/>
                  </a:lnTo>
                  <a:lnTo>
                    <a:pt x="426" y="520"/>
                  </a:lnTo>
                  <a:close/>
                  <a:moveTo>
                    <a:pt x="424" y="518"/>
                  </a:moveTo>
                  <a:lnTo>
                    <a:pt x="424" y="520"/>
                  </a:lnTo>
                  <a:lnTo>
                    <a:pt x="424" y="518"/>
                  </a:lnTo>
                  <a:lnTo>
                    <a:pt x="424" y="520"/>
                  </a:lnTo>
                  <a:lnTo>
                    <a:pt x="424" y="518"/>
                  </a:lnTo>
                  <a:close/>
                  <a:moveTo>
                    <a:pt x="426" y="520"/>
                  </a:moveTo>
                  <a:lnTo>
                    <a:pt x="426" y="518"/>
                  </a:lnTo>
                  <a:lnTo>
                    <a:pt x="426" y="520"/>
                  </a:lnTo>
                  <a:close/>
                  <a:moveTo>
                    <a:pt x="424" y="520"/>
                  </a:moveTo>
                  <a:lnTo>
                    <a:pt x="424" y="518"/>
                  </a:lnTo>
                  <a:lnTo>
                    <a:pt x="424" y="520"/>
                  </a:lnTo>
                  <a:close/>
                  <a:moveTo>
                    <a:pt x="426" y="518"/>
                  </a:moveTo>
                  <a:lnTo>
                    <a:pt x="424" y="518"/>
                  </a:lnTo>
                  <a:lnTo>
                    <a:pt x="426" y="518"/>
                  </a:lnTo>
                  <a:close/>
                  <a:moveTo>
                    <a:pt x="426" y="518"/>
                  </a:moveTo>
                  <a:lnTo>
                    <a:pt x="424" y="518"/>
                  </a:lnTo>
                  <a:lnTo>
                    <a:pt x="426" y="518"/>
                  </a:lnTo>
                  <a:lnTo>
                    <a:pt x="424" y="518"/>
                  </a:lnTo>
                  <a:lnTo>
                    <a:pt x="426" y="518"/>
                  </a:lnTo>
                  <a:close/>
                  <a:moveTo>
                    <a:pt x="426" y="518"/>
                  </a:moveTo>
                  <a:lnTo>
                    <a:pt x="424" y="518"/>
                  </a:lnTo>
                  <a:lnTo>
                    <a:pt x="424" y="520"/>
                  </a:lnTo>
                  <a:lnTo>
                    <a:pt x="424" y="518"/>
                  </a:lnTo>
                  <a:lnTo>
                    <a:pt x="424" y="520"/>
                  </a:lnTo>
                  <a:lnTo>
                    <a:pt x="424" y="518"/>
                  </a:lnTo>
                  <a:lnTo>
                    <a:pt x="424" y="520"/>
                  </a:lnTo>
                  <a:lnTo>
                    <a:pt x="424" y="518"/>
                  </a:lnTo>
                  <a:lnTo>
                    <a:pt x="424" y="520"/>
                  </a:lnTo>
                  <a:lnTo>
                    <a:pt x="424" y="518"/>
                  </a:lnTo>
                  <a:lnTo>
                    <a:pt x="426" y="518"/>
                  </a:lnTo>
                  <a:close/>
                  <a:moveTo>
                    <a:pt x="428" y="518"/>
                  </a:moveTo>
                  <a:lnTo>
                    <a:pt x="426" y="518"/>
                  </a:lnTo>
                  <a:lnTo>
                    <a:pt x="428" y="518"/>
                  </a:lnTo>
                  <a:close/>
                  <a:moveTo>
                    <a:pt x="428" y="518"/>
                  </a:moveTo>
                  <a:lnTo>
                    <a:pt x="426" y="518"/>
                  </a:lnTo>
                  <a:lnTo>
                    <a:pt x="428" y="518"/>
                  </a:lnTo>
                  <a:close/>
                  <a:moveTo>
                    <a:pt x="428" y="518"/>
                  </a:moveTo>
                  <a:lnTo>
                    <a:pt x="426" y="518"/>
                  </a:lnTo>
                  <a:lnTo>
                    <a:pt x="428" y="516"/>
                  </a:lnTo>
                  <a:lnTo>
                    <a:pt x="428" y="518"/>
                  </a:lnTo>
                  <a:close/>
                  <a:moveTo>
                    <a:pt x="428" y="518"/>
                  </a:moveTo>
                  <a:lnTo>
                    <a:pt x="428" y="516"/>
                  </a:lnTo>
                  <a:lnTo>
                    <a:pt x="428" y="518"/>
                  </a:lnTo>
                  <a:close/>
                  <a:moveTo>
                    <a:pt x="428" y="516"/>
                  </a:moveTo>
                  <a:lnTo>
                    <a:pt x="426" y="516"/>
                  </a:lnTo>
                  <a:lnTo>
                    <a:pt x="428" y="516"/>
                  </a:lnTo>
                  <a:close/>
                  <a:moveTo>
                    <a:pt x="424" y="516"/>
                  </a:moveTo>
                  <a:lnTo>
                    <a:pt x="422" y="516"/>
                  </a:lnTo>
                  <a:lnTo>
                    <a:pt x="424" y="516"/>
                  </a:lnTo>
                  <a:close/>
                  <a:moveTo>
                    <a:pt x="426" y="516"/>
                  </a:moveTo>
                  <a:lnTo>
                    <a:pt x="424" y="516"/>
                  </a:lnTo>
                  <a:lnTo>
                    <a:pt x="426" y="516"/>
                  </a:lnTo>
                  <a:close/>
                  <a:moveTo>
                    <a:pt x="426" y="514"/>
                  </a:moveTo>
                  <a:lnTo>
                    <a:pt x="426" y="516"/>
                  </a:lnTo>
                  <a:lnTo>
                    <a:pt x="426" y="514"/>
                  </a:lnTo>
                  <a:close/>
                  <a:moveTo>
                    <a:pt x="428" y="514"/>
                  </a:moveTo>
                  <a:lnTo>
                    <a:pt x="428" y="516"/>
                  </a:lnTo>
                  <a:lnTo>
                    <a:pt x="426" y="516"/>
                  </a:lnTo>
                  <a:lnTo>
                    <a:pt x="426" y="514"/>
                  </a:lnTo>
                  <a:lnTo>
                    <a:pt x="428" y="514"/>
                  </a:lnTo>
                  <a:close/>
                  <a:moveTo>
                    <a:pt x="428" y="514"/>
                  </a:moveTo>
                  <a:lnTo>
                    <a:pt x="428" y="516"/>
                  </a:lnTo>
                  <a:lnTo>
                    <a:pt x="428" y="514"/>
                  </a:lnTo>
                  <a:lnTo>
                    <a:pt x="428" y="516"/>
                  </a:lnTo>
                  <a:lnTo>
                    <a:pt x="428" y="514"/>
                  </a:lnTo>
                  <a:close/>
                  <a:moveTo>
                    <a:pt x="428" y="516"/>
                  </a:moveTo>
                  <a:lnTo>
                    <a:pt x="428" y="514"/>
                  </a:lnTo>
                  <a:lnTo>
                    <a:pt x="428" y="516"/>
                  </a:lnTo>
                  <a:close/>
                  <a:moveTo>
                    <a:pt x="428" y="514"/>
                  </a:moveTo>
                  <a:lnTo>
                    <a:pt x="426" y="514"/>
                  </a:lnTo>
                  <a:lnTo>
                    <a:pt x="428" y="514"/>
                  </a:lnTo>
                  <a:close/>
                  <a:moveTo>
                    <a:pt x="430" y="514"/>
                  </a:moveTo>
                  <a:lnTo>
                    <a:pt x="430" y="516"/>
                  </a:lnTo>
                  <a:lnTo>
                    <a:pt x="428" y="516"/>
                  </a:lnTo>
                  <a:lnTo>
                    <a:pt x="428" y="518"/>
                  </a:lnTo>
                  <a:lnTo>
                    <a:pt x="426" y="518"/>
                  </a:lnTo>
                  <a:lnTo>
                    <a:pt x="426" y="520"/>
                  </a:lnTo>
                  <a:lnTo>
                    <a:pt x="426" y="520"/>
                  </a:lnTo>
                  <a:lnTo>
                    <a:pt x="424" y="520"/>
                  </a:lnTo>
                  <a:lnTo>
                    <a:pt x="424" y="522"/>
                  </a:lnTo>
                  <a:lnTo>
                    <a:pt x="422" y="522"/>
                  </a:lnTo>
                  <a:lnTo>
                    <a:pt x="422" y="524"/>
                  </a:lnTo>
                  <a:lnTo>
                    <a:pt x="422" y="526"/>
                  </a:lnTo>
                  <a:lnTo>
                    <a:pt x="420" y="526"/>
                  </a:lnTo>
                  <a:lnTo>
                    <a:pt x="422" y="526"/>
                  </a:lnTo>
                  <a:lnTo>
                    <a:pt x="420" y="526"/>
                  </a:lnTo>
                  <a:lnTo>
                    <a:pt x="420" y="524"/>
                  </a:lnTo>
                  <a:lnTo>
                    <a:pt x="420" y="526"/>
                  </a:lnTo>
                  <a:lnTo>
                    <a:pt x="422" y="526"/>
                  </a:lnTo>
                  <a:lnTo>
                    <a:pt x="422" y="524"/>
                  </a:lnTo>
                  <a:lnTo>
                    <a:pt x="420" y="524"/>
                  </a:lnTo>
                  <a:lnTo>
                    <a:pt x="422" y="524"/>
                  </a:lnTo>
                  <a:lnTo>
                    <a:pt x="420" y="524"/>
                  </a:lnTo>
                  <a:lnTo>
                    <a:pt x="422" y="524"/>
                  </a:lnTo>
                  <a:lnTo>
                    <a:pt x="420" y="524"/>
                  </a:lnTo>
                  <a:lnTo>
                    <a:pt x="420" y="526"/>
                  </a:lnTo>
                  <a:lnTo>
                    <a:pt x="420" y="524"/>
                  </a:lnTo>
                  <a:lnTo>
                    <a:pt x="422" y="524"/>
                  </a:lnTo>
                  <a:lnTo>
                    <a:pt x="422" y="522"/>
                  </a:lnTo>
                  <a:lnTo>
                    <a:pt x="420" y="522"/>
                  </a:lnTo>
                  <a:lnTo>
                    <a:pt x="420" y="520"/>
                  </a:lnTo>
                  <a:lnTo>
                    <a:pt x="420" y="522"/>
                  </a:lnTo>
                  <a:lnTo>
                    <a:pt x="420" y="520"/>
                  </a:lnTo>
                  <a:lnTo>
                    <a:pt x="422" y="520"/>
                  </a:lnTo>
                  <a:lnTo>
                    <a:pt x="422" y="522"/>
                  </a:lnTo>
                  <a:lnTo>
                    <a:pt x="422" y="520"/>
                  </a:lnTo>
                  <a:lnTo>
                    <a:pt x="424" y="520"/>
                  </a:lnTo>
                  <a:lnTo>
                    <a:pt x="424" y="520"/>
                  </a:lnTo>
                  <a:lnTo>
                    <a:pt x="426" y="520"/>
                  </a:lnTo>
                  <a:lnTo>
                    <a:pt x="424" y="520"/>
                  </a:lnTo>
                  <a:lnTo>
                    <a:pt x="426" y="520"/>
                  </a:lnTo>
                  <a:lnTo>
                    <a:pt x="426" y="518"/>
                  </a:lnTo>
                  <a:lnTo>
                    <a:pt x="428" y="518"/>
                  </a:lnTo>
                  <a:lnTo>
                    <a:pt x="426" y="518"/>
                  </a:lnTo>
                  <a:lnTo>
                    <a:pt x="428" y="518"/>
                  </a:lnTo>
                  <a:lnTo>
                    <a:pt x="428" y="516"/>
                  </a:lnTo>
                  <a:lnTo>
                    <a:pt x="430" y="516"/>
                  </a:lnTo>
                  <a:lnTo>
                    <a:pt x="428" y="516"/>
                  </a:lnTo>
                  <a:lnTo>
                    <a:pt x="428" y="514"/>
                  </a:lnTo>
                  <a:lnTo>
                    <a:pt x="428" y="516"/>
                  </a:lnTo>
                  <a:lnTo>
                    <a:pt x="428" y="514"/>
                  </a:lnTo>
                  <a:lnTo>
                    <a:pt x="430" y="514"/>
                  </a:lnTo>
                  <a:close/>
                  <a:moveTo>
                    <a:pt x="424" y="512"/>
                  </a:moveTo>
                  <a:lnTo>
                    <a:pt x="424" y="514"/>
                  </a:lnTo>
                  <a:lnTo>
                    <a:pt x="424" y="512"/>
                  </a:lnTo>
                  <a:close/>
                  <a:moveTo>
                    <a:pt x="428" y="514"/>
                  </a:moveTo>
                  <a:lnTo>
                    <a:pt x="430" y="514"/>
                  </a:lnTo>
                  <a:lnTo>
                    <a:pt x="428" y="514"/>
                  </a:lnTo>
                  <a:close/>
                  <a:moveTo>
                    <a:pt x="428" y="514"/>
                  </a:moveTo>
                  <a:lnTo>
                    <a:pt x="428" y="512"/>
                  </a:lnTo>
                  <a:lnTo>
                    <a:pt x="428" y="514"/>
                  </a:lnTo>
                  <a:close/>
                  <a:moveTo>
                    <a:pt x="428" y="514"/>
                  </a:moveTo>
                  <a:lnTo>
                    <a:pt x="428" y="512"/>
                  </a:lnTo>
                  <a:lnTo>
                    <a:pt x="428" y="514"/>
                  </a:lnTo>
                  <a:close/>
                  <a:moveTo>
                    <a:pt x="430" y="514"/>
                  </a:moveTo>
                  <a:lnTo>
                    <a:pt x="430" y="512"/>
                  </a:lnTo>
                  <a:lnTo>
                    <a:pt x="430" y="514"/>
                  </a:lnTo>
                  <a:close/>
                  <a:moveTo>
                    <a:pt x="430" y="512"/>
                  </a:moveTo>
                  <a:lnTo>
                    <a:pt x="430" y="514"/>
                  </a:lnTo>
                  <a:lnTo>
                    <a:pt x="430" y="512"/>
                  </a:lnTo>
                  <a:close/>
                  <a:moveTo>
                    <a:pt x="432" y="512"/>
                  </a:moveTo>
                  <a:lnTo>
                    <a:pt x="430" y="512"/>
                  </a:lnTo>
                  <a:lnTo>
                    <a:pt x="432" y="512"/>
                  </a:lnTo>
                  <a:lnTo>
                    <a:pt x="430" y="512"/>
                  </a:lnTo>
                  <a:lnTo>
                    <a:pt x="432" y="512"/>
                  </a:lnTo>
                  <a:close/>
                  <a:moveTo>
                    <a:pt x="428" y="512"/>
                  </a:moveTo>
                  <a:lnTo>
                    <a:pt x="430" y="512"/>
                  </a:lnTo>
                  <a:lnTo>
                    <a:pt x="428" y="512"/>
                  </a:lnTo>
                  <a:close/>
                  <a:moveTo>
                    <a:pt x="430" y="512"/>
                  </a:moveTo>
                  <a:lnTo>
                    <a:pt x="432" y="512"/>
                  </a:lnTo>
                  <a:lnTo>
                    <a:pt x="430" y="512"/>
                  </a:lnTo>
                  <a:lnTo>
                    <a:pt x="432" y="512"/>
                  </a:lnTo>
                  <a:lnTo>
                    <a:pt x="430" y="512"/>
                  </a:lnTo>
                  <a:lnTo>
                    <a:pt x="432" y="512"/>
                  </a:lnTo>
                  <a:lnTo>
                    <a:pt x="430" y="512"/>
                  </a:lnTo>
                  <a:close/>
                  <a:moveTo>
                    <a:pt x="426" y="512"/>
                  </a:moveTo>
                  <a:lnTo>
                    <a:pt x="426" y="510"/>
                  </a:lnTo>
                  <a:lnTo>
                    <a:pt x="428" y="510"/>
                  </a:lnTo>
                  <a:lnTo>
                    <a:pt x="426" y="512"/>
                  </a:lnTo>
                  <a:close/>
                  <a:moveTo>
                    <a:pt x="426" y="510"/>
                  </a:moveTo>
                  <a:lnTo>
                    <a:pt x="426" y="512"/>
                  </a:lnTo>
                  <a:lnTo>
                    <a:pt x="428" y="512"/>
                  </a:lnTo>
                  <a:lnTo>
                    <a:pt x="426" y="512"/>
                  </a:lnTo>
                  <a:lnTo>
                    <a:pt x="428" y="512"/>
                  </a:lnTo>
                  <a:lnTo>
                    <a:pt x="426" y="512"/>
                  </a:lnTo>
                  <a:lnTo>
                    <a:pt x="428" y="512"/>
                  </a:lnTo>
                  <a:lnTo>
                    <a:pt x="426" y="512"/>
                  </a:lnTo>
                  <a:lnTo>
                    <a:pt x="426" y="510"/>
                  </a:lnTo>
                  <a:close/>
                  <a:moveTo>
                    <a:pt x="428" y="512"/>
                  </a:moveTo>
                  <a:lnTo>
                    <a:pt x="428" y="510"/>
                  </a:lnTo>
                  <a:lnTo>
                    <a:pt x="428" y="512"/>
                  </a:lnTo>
                  <a:close/>
                  <a:moveTo>
                    <a:pt x="426" y="510"/>
                  </a:moveTo>
                  <a:lnTo>
                    <a:pt x="426" y="512"/>
                  </a:lnTo>
                  <a:lnTo>
                    <a:pt x="426" y="510"/>
                  </a:lnTo>
                  <a:lnTo>
                    <a:pt x="426" y="512"/>
                  </a:lnTo>
                  <a:lnTo>
                    <a:pt x="426" y="510"/>
                  </a:lnTo>
                  <a:close/>
                  <a:moveTo>
                    <a:pt x="428" y="510"/>
                  </a:moveTo>
                  <a:lnTo>
                    <a:pt x="430" y="510"/>
                  </a:lnTo>
                  <a:lnTo>
                    <a:pt x="428" y="510"/>
                  </a:lnTo>
                  <a:close/>
                  <a:moveTo>
                    <a:pt x="428" y="510"/>
                  </a:moveTo>
                  <a:lnTo>
                    <a:pt x="428" y="512"/>
                  </a:lnTo>
                  <a:lnTo>
                    <a:pt x="428" y="510"/>
                  </a:lnTo>
                  <a:close/>
                  <a:moveTo>
                    <a:pt x="430" y="510"/>
                  </a:moveTo>
                  <a:lnTo>
                    <a:pt x="430" y="512"/>
                  </a:lnTo>
                  <a:lnTo>
                    <a:pt x="430" y="510"/>
                  </a:lnTo>
                  <a:close/>
                  <a:moveTo>
                    <a:pt x="428" y="510"/>
                  </a:moveTo>
                  <a:lnTo>
                    <a:pt x="426" y="510"/>
                  </a:lnTo>
                  <a:lnTo>
                    <a:pt x="428" y="510"/>
                  </a:lnTo>
                  <a:close/>
                  <a:moveTo>
                    <a:pt x="428" y="510"/>
                  </a:moveTo>
                  <a:lnTo>
                    <a:pt x="426" y="510"/>
                  </a:lnTo>
                  <a:lnTo>
                    <a:pt x="428" y="510"/>
                  </a:lnTo>
                  <a:close/>
                  <a:moveTo>
                    <a:pt x="428" y="510"/>
                  </a:moveTo>
                  <a:lnTo>
                    <a:pt x="428" y="508"/>
                  </a:lnTo>
                  <a:lnTo>
                    <a:pt x="428" y="510"/>
                  </a:lnTo>
                  <a:close/>
                  <a:moveTo>
                    <a:pt x="428" y="510"/>
                  </a:moveTo>
                  <a:lnTo>
                    <a:pt x="428" y="508"/>
                  </a:lnTo>
                  <a:lnTo>
                    <a:pt x="428" y="510"/>
                  </a:lnTo>
                  <a:close/>
                  <a:moveTo>
                    <a:pt x="428" y="508"/>
                  </a:moveTo>
                  <a:lnTo>
                    <a:pt x="430" y="508"/>
                  </a:lnTo>
                  <a:lnTo>
                    <a:pt x="428" y="508"/>
                  </a:lnTo>
                  <a:close/>
                  <a:moveTo>
                    <a:pt x="430" y="510"/>
                  </a:moveTo>
                  <a:lnTo>
                    <a:pt x="430" y="508"/>
                  </a:lnTo>
                  <a:lnTo>
                    <a:pt x="430" y="510"/>
                  </a:lnTo>
                  <a:close/>
                  <a:moveTo>
                    <a:pt x="432" y="508"/>
                  </a:moveTo>
                  <a:lnTo>
                    <a:pt x="432" y="510"/>
                  </a:lnTo>
                  <a:lnTo>
                    <a:pt x="432" y="508"/>
                  </a:lnTo>
                  <a:lnTo>
                    <a:pt x="432" y="510"/>
                  </a:lnTo>
                  <a:lnTo>
                    <a:pt x="432" y="508"/>
                  </a:lnTo>
                  <a:close/>
                  <a:moveTo>
                    <a:pt x="434" y="508"/>
                  </a:moveTo>
                  <a:lnTo>
                    <a:pt x="432" y="508"/>
                  </a:lnTo>
                  <a:lnTo>
                    <a:pt x="434" y="508"/>
                  </a:lnTo>
                  <a:close/>
                  <a:moveTo>
                    <a:pt x="430" y="508"/>
                  </a:moveTo>
                  <a:lnTo>
                    <a:pt x="430" y="510"/>
                  </a:lnTo>
                  <a:lnTo>
                    <a:pt x="430" y="508"/>
                  </a:lnTo>
                  <a:lnTo>
                    <a:pt x="430" y="510"/>
                  </a:lnTo>
                  <a:lnTo>
                    <a:pt x="430" y="508"/>
                  </a:lnTo>
                  <a:close/>
                  <a:moveTo>
                    <a:pt x="428" y="508"/>
                  </a:moveTo>
                  <a:lnTo>
                    <a:pt x="428" y="506"/>
                  </a:lnTo>
                  <a:lnTo>
                    <a:pt x="428" y="508"/>
                  </a:lnTo>
                  <a:close/>
                  <a:moveTo>
                    <a:pt x="430" y="508"/>
                  </a:moveTo>
                  <a:lnTo>
                    <a:pt x="430" y="506"/>
                  </a:lnTo>
                  <a:lnTo>
                    <a:pt x="430" y="508"/>
                  </a:lnTo>
                  <a:close/>
                  <a:moveTo>
                    <a:pt x="430" y="506"/>
                  </a:moveTo>
                  <a:lnTo>
                    <a:pt x="430" y="508"/>
                  </a:lnTo>
                  <a:lnTo>
                    <a:pt x="430" y="506"/>
                  </a:lnTo>
                  <a:close/>
                  <a:moveTo>
                    <a:pt x="430" y="506"/>
                  </a:moveTo>
                  <a:lnTo>
                    <a:pt x="430" y="508"/>
                  </a:lnTo>
                  <a:lnTo>
                    <a:pt x="430" y="506"/>
                  </a:lnTo>
                  <a:close/>
                  <a:moveTo>
                    <a:pt x="436" y="506"/>
                  </a:moveTo>
                  <a:lnTo>
                    <a:pt x="436" y="504"/>
                  </a:lnTo>
                  <a:lnTo>
                    <a:pt x="436" y="506"/>
                  </a:lnTo>
                  <a:close/>
                  <a:moveTo>
                    <a:pt x="436" y="506"/>
                  </a:moveTo>
                  <a:lnTo>
                    <a:pt x="436" y="504"/>
                  </a:lnTo>
                  <a:lnTo>
                    <a:pt x="436" y="506"/>
                  </a:lnTo>
                  <a:close/>
                  <a:moveTo>
                    <a:pt x="436" y="506"/>
                  </a:moveTo>
                  <a:lnTo>
                    <a:pt x="436" y="504"/>
                  </a:lnTo>
                  <a:lnTo>
                    <a:pt x="436" y="506"/>
                  </a:lnTo>
                  <a:close/>
                  <a:moveTo>
                    <a:pt x="436" y="506"/>
                  </a:moveTo>
                  <a:lnTo>
                    <a:pt x="436" y="504"/>
                  </a:lnTo>
                  <a:lnTo>
                    <a:pt x="436" y="506"/>
                  </a:lnTo>
                  <a:close/>
                  <a:moveTo>
                    <a:pt x="436" y="504"/>
                  </a:moveTo>
                  <a:lnTo>
                    <a:pt x="436" y="506"/>
                  </a:lnTo>
                  <a:lnTo>
                    <a:pt x="436" y="504"/>
                  </a:lnTo>
                  <a:close/>
                  <a:moveTo>
                    <a:pt x="436" y="506"/>
                  </a:moveTo>
                  <a:lnTo>
                    <a:pt x="436" y="504"/>
                  </a:lnTo>
                  <a:lnTo>
                    <a:pt x="436" y="506"/>
                  </a:lnTo>
                  <a:close/>
                  <a:moveTo>
                    <a:pt x="438" y="504"/>
                  </a:moveTo>
                  <a:lnTo>
                    <a:pt x="436" y="504"/>
                  </a:lnTo>
                  <a:lnTo>
                    <a:pt x="438" y="504"/>
                  </a:lnTo>
                  <a:close/>
                  <a:moveTo>
                    <a:pt x="438" y="504"/>
                  </a:moveTo>
                  <a:lnTo>
                    <a:pt x="436" y="504"/>
                  </a:lnTo>
                  <a:lnTo>
                    <a:pt x="438" y="504"/>
                  </a:lnTo>
                  <a:close/>
                  <a:moveTo>
                    <a:pt x="438" y="504"/>
                  </a:moveTo>
                  <a:lnTo>
                    <a:pt x="438" y="502"/>
                  </a:lnTo>
                  <a:lnTo>
                    <a:pt x="438" y="504"/>
                  </a:lnTo>
                  <a:close/>
                  <a:moveTo>
                    <a:pt x="438" y="504"/>
                  </a:moveTo>
                  <a:lnTo>
                    <a:pt x="438" y="502"/>
                  </a:lnTo>
                  <a:lnTo>
                    <a:pt x="438" y="504"/>
                  </a:lnTo>
                  <a:close/>
                  <a:moveTo>
                    <a:pt x="436" y="502"/>
                  </a:moveTo>
                  <a:lnTo>
                    <a:pt x="436" y="504"/>
                  </a:lnTo>
                  <a:lnTo>
                    <a:pt x="436" y="502"/>
                  </a:lnTo>
                  <a:lnTo>
                    <a:pt x="436" y="504"/>
                  </a:lnTo>
                  <a:lnTo>
                    <a:pt x="436" y="502"/>
                  </a:lnTo>
                  <a:close/>
                  <a:moveTo>
                    <a:pt x="436" y="502"/>
                  </a:moveTo>
                  <a:lnTo>
                    <a:pt x="438" y="502"/>
                  </a:lnTo>
                  <a:lnTo>
                    <a:pt x="438" y="504"/>
                  </a:lnTo>
                  <a:lnTo>
                    <a:pt x="436" y="504"/>
                  </a:lnTo>
                  <a:lnTo>
                    <a:pt x="436" y="502"/>
                  </a:lnTo>
                  <a:close/>
                  <a:moveTo>
                    <a:pt x="436" y="502"/>
                  </a:moveTo>
                  <a:lnTo>
                    <a:pt x="438" y="502"/>
                  </a:lnTo>
                  <a:lnTo>
                    <a:pt x="436" y="502"/>
                  </a:lnTo>
                  <a:close/>
                  <a:moveTo>
                    <a:pt x="436" y="502"/>
                  </a:moveTo>
                  <a:lnTo>
                    <a:pt x="438" y="502"/>
                  </a:lnTo>
                  <a:lnTo>
                    <a:pt x="436" y="502"/>
                  </a:lnTo>
                  <a:close/>
                  <a:moveTo>
                    <a:pt x="440" y="502"/>
                  </a:moveTo>
                  <a:lnTo>
                    <a:pt x="438" y="502"/>
                  </a:lnTo>
                  <a:lnTo>
                    <a:pt x="440" y="502"/>
                  </a:lnTo>
                  <a:close/>
                  <a:moveTo>
                    <a:pt x="428" y="502"/>
                  </a:moveTo>
                  <a:lnTo>
                    <a:pt x="426" y="502"/>
                  </a:lnTo>
                  <a:lnTo>
                    <a:pt x="428" y="502"/>
                  </a:lnTo>
                  <a:close/>
                  <a:moveTo>
                    <a:pt x="440" y="502"/>
                  </a:moveTo>
                  <a:lnTo>
                    <a:pt x="438" y="502"/>
                  </a:lnTo>
                  <a:lnTo>
                    <a:pt x="440" y="502"/>
                  </a:lnTo>
                  <a:close/>
                  <a:moveTo>
                    <a:pt x="440" y="502"/>
                  </a:moveTo>
                  <a:lnTo>
                    <a:pt x="442" y="502"/>
                  </a:lnTo>
                  <a:lnTo>
                    <a:pt x="440" y="502"/>
                  </a:lnTo>
                  <a:lnTo>
                    <a:pt x="440" y="504"/>
                  </a:lnTo>
                  <a:lnTo>
                    <a:pt x="438" y="504"/>
                  </a:lnTo>
                  <a:lnTo>
                    <a:pt x="438" y="506"/>
                  </a:lnTo>
                  <a:lnTo>
                    <a:pt x="436" y="506"/>
                  </a:lnTo>
                  <a:lnTo>
                    <a:pt x="436" y="508"/>
                  </a:lnTo>
                  <a:lnTo>
                    <a:pt x="434" y="508"/>
                  </a:lnTo>
                  <a:lnTo>
                    <a:pt x="434" y="510"/>
                  </a:lnTo>
                  <a:lnTo>
                    <a:pt x="432" y="510"/>
                  </a:lnTo>
                  <a:lnTo>
                    <a:pt x="432" y="512"/>
                  </a:lnTo>
                  <a:lnTo>
                    <a:pt x="432" y="514"/>
                  </a:lnTo>
                  <a:lnTo>
                    <a:pt x="430" y="514"/>
                  </a:lnTo>
                  <a:lnTo>
                    <a:pt x="432" y="514"/>
                  </a:lnTo>
                  <a:lnTo>
                    <a:pt x="432" y="512"/>
                  </a:lnTo>
                  <a:lnTo>
                    <a:pt x="432" y="510"/>
                  </a:lnTo>
                  <a:lnTo>
                    <a:pt x="434" y="510"/>
                  </a:lnTo>
                  <a:lnTo>
                    <a:pt x="432" y="510"/>
                  </a:lnTo>
                  <a:lnTo>
                    <a:pt x="434" y="510"/>
                  </a:lnTo>
                  <a:lnTo>
                    <a:pt x="434" y="508"/>
                  </a:lnTo>
                  <a:lnTo>
                    <a:pt x="434" y="506"/>
                  </a:lnTo>
                  <a:lnTo>
                    <a:pt x="436" y="506"/>
                  </a:lnTo>
                  <a:lnTo>
                    <a:pt x="434" y="506"/>
                  </a:lnTo>
                  <a:lnTo>
                    <a:pt x="436" y="506"/>
                  </a:lnTo>
                  <a:lnTo>
                    <a:pt x="436" y="504"/>
                  </a:lnTo>
                  <a:lnTo>
                    <a:pt x="436" y="506"/>
                  </a:lnTo>
                  <a:lnTo>
                    <a:pt x="434" y="506"/>
                  </a:lnTo>
                  <a:lnTo>
                    <a:pt x="436" y="506"/>
                  </a:lnTo>
                  <a:lnTo>
                    <a:pt x="436" y="504"/>
                  </a:lnTo>
                  <a:lnTo>
                    <a:pt x="436" y="506"/>
                  </a:lnTo>
                  <a:lnTo>
                    <a:pt x="438" y="506"/>
                  </a:lnTo>
                  <a:lnTo>
                    <a:pt x="436" y="506"/>
                  </a:lnTo>
                  <a:lnTo>
                    <a:pt x="438" y="506"/>
                  </a:lnTo>
                  <a:lnTo>
                    <a:pt x="436" y="506"/>
                  </a:lnTo>
                  <a:lnTo>
                    <a:pt x="438" y="506"/>
                  </a:lnTo>
                  <a:lnTo>
                    <a:pt x="436" y="506"/>
                  </a:lnTo>
                  <a:lnTo>
                    <a:pt x="436" y="504"/>
                  </a:lnTo>
                  <a:lnTo>
                    <a:pt x="438" y="504"/>
                  </a:lnTo>
                  <a:lnTo>
                    <a:pt x="438" y="506"/>
                  </a:lnTo>
                  <a:lnTo>
                    <a:pt x="438" y="504"/>
                  </a:lnTo>
                  <a:lnTo>
                    <a:pt x="440" y="504"/>
                  </a:lnTo>
                  <a:lnTo>
                    <a:pt x="438" y="504"/>
                  </a:lnTo>
                  <a:lnTo>
                    <a:pt x="438" y="502"/>
                  </a:lnTo>
                  <a:lnTo>
                    <a:pt x="440" y="502"/>
                  </a:lnTo>
                  <a:lnTo>
                    <a:pt x="440" y="504"/>
                  </a:lnTo>
                  <a:lnTo>
                    <a:pt x="440" y="502"/>
                  </a:lnTo>
                  <a:lnTo>
                    <a:pt x="440" y="504"/>
                  </a:lnTo>
                  <a:lnTo>
                    <a:pt x="440" y="502"/>
                  </a:lnTo>
                  <a:close/>
                  <a:moveTo>
                    <a:pt x="440" y="502"/>
                  </a:moveTo>
                  <a:lnTo>
                    <a:pt x="438" y="502"/>
                  </a:lnTo>
                  <a:lnTo>
                    <a:pt x="440" y="502"/>
                  </a:lnTo>
                  <a:lnTo>
                    <a:pt x="438" y="502"/>
                  </a:lnTo>
                  <a:lnTo>
                    <a:pt x="440" y="502"/>
                  </a:lnTo>
                  <a:close/>
                  <a:moveTo>
                    <a:pt x="436" y="502"/>
                  </a:moveTo>
                  <a:lnTo>
                    <a:pt x="436" y="500"/>
                  </a:lnTo>
                  <a:lnTo>
                    <a:pt x="436" y="502"/>
                  </a:lnTo>
                  <a:close/>
                  <a:moveTo>
                    <a:pt x="440" y="502"/>
                  </a:moveTo>
                  <a:lnTo>
                    <a:pt x="438" y="502"/>
                  </a:lnTo>
                  <a:lnTo>
                    <a:pt x="440" y="502"/>
                  </a:lnTo>
                  <a:close/>
                  <a:moveTo>
                    <a:pt x="440" y="502"/>
                  </a:moveTo>
                  <a:lnTo>
                    <a:pt x="440" y="500"/>
                  </a:lnTo>
                  <a:lnTo>
                    <a:pt x="440" y="502"/>
                  </a:lnTo>
                  <a:close/>
                  <a:moveTo>
                    <a:pt x="440" y="500"/>
                  </a:moveTo>
                  <a:lnTo>
                    <a:pt x="438" y="500"/>
                  </a:lnTo>
                  <a:lnTo>
                    <a:pt x="440" y="500"/>
                  </a:lnTo>
                  <a:close/>
                  <a:moveTo>
                    <a:pt x="440" y="500"/>
                  </a:moveTo>
                  <a:lnTo>
                    <a:pt x="440" y="502"/>
                  </a:lnTo>
                  <a:lnTo>
                    <a:pt x="440" y="500"/>
                  </a:lnTo>
                  <a:close/>
                  <a:moveTo>
                    <a:pt x="440" y="500"/>
                  </a:moveTo>
                  <a:lnTo>
                    <a:pt x="440" y="502"/>
                  </a:lnTo>
                  <a:lnTo>
                    <a:pt x="440" y="500"/>
                  </a:lnTo>
                  <a:lnTo>
                    <a:pt x="442" y="500"/>
                  </a:lnTo>
                  <a:lnTo>
                    <a:pt x="442" y="502"/>
                  </a:lnTo>
                  <a:lnTo>
                    <a:pt x="442" y="500"/>
                  </a:lnTo>
                  <a:lnTo>
                    <a:pt x="442" y="502"/>
                  </a:lnTo>
                  <a:lnTo>
                    <a:pt x="440" y="502"/>
                  </a:lnTo>
                  <a:lnTo>
                    <a:pt x="440" y="500"/>
                  </a:lnTo>
                  <a:close/>
                  <a:moveTo>
                    <a:pt x="440" y="500"/>
                  </a:moveTo>
                  <a:lnTo>
                    <a:pt x="438" y="500"/>
                  </a:lnTo>
                  <a:lnTo>
                    <a:pt x="440" y="500"/>
                  </a:lnTo>
                  <a:close/>
                  <a:moveTo>
                    <a:pt x="438" y="502"/>
                  </a:moveTo>
                  <a:lnTo>
                    <a:pt x="438" y="500"/>
                  </a:lnTo>
                  <a:lnTo>
                    <a:pt x="438" y="502"/>
                  </a:lnTo>
                  <a:close/>
                  <a:moveTo>
                    <a:pt x="440" y="500"/>
                  </a:moveTo>
                  <a:lnTo>
                    <a:pt x="442" y="500"/>
                  </a:lnTo>
                  <a:lnTo>
                    <a:pt x="440" y="500"/>
                  </a:lnTo>
                  <a:close/>
                  <a:moveTo>
                    <a:pt x="434" y="498"/>
                  </a:moveTo>
                  <a:lnTo>
                    <a:pt x="432" y="498"/>
                  </a:lnTo>
                  <a:lnTo>
                    <a:pt x="434" y="498"/>
                  </a:lnTo>
                  <a:close/>
                  <a:moveTo>
                    <a:pt x="438" y="500"/>
                  </a:moveTo>
                  <a:lnTo>
                    <a:pt x="438" y="498"/>
                  </a:lnTo>
                  <a:lnTo>
                    <a:pt x="438" y="500"/>
                  </a:lnTo>
                  <a:close/>
                  <a:moveTo>
                    <a:pt x="442" y="500"/>
                  </a:moveTo>
                  <a:lnTo>
                    <a:pt x="444" y="500"/>
                  </a:lnTo>
                  <a:lnTo>
                    <a:pt x="442" y="500"/>
                  </a:lnTo>
                  <a:lnTo>
                    <a:pt x="442" y="502"/>
                  </a:lnTo>
                  <a:lnTo>
                    <a:pt x="442" y="500"/>
                  </a:lnTo>
                  <a:lnTo>
                    <a:pt x="440" y="500"/>
                  </a:lnTo>
                  <a:lnTo>
                    <a:pt x="442" y="500"/>
                  </a:lnTo>
                  <a:lnTo>
                    <a:pt x="440" y="500"/>
                  </a:lnTo>
                  <a:lnTo>
                    <a:pt x="442" y="500"/>
                  </a:lnTo>
                  <a:lnTo>
                    <a:pt x="440" y="500"/>
                  </a:lnTo>
                  <a:lnTo>
                    <a:pt x="442" y="500"/>
                  </a:lnTo>
                  <a:lnTo>
                    <a:pt x="440" y="500"/>
                  </a:lnTo>
                  <a:lnTo>
                    <a:pt x="442" y="500"/>
                  </a:lnTo>
                  <a:lnTo>
                    <a:pt x="440" y="500"/>
                  </a:lnTo>
                  <a:lnTo>
                    <a:pt x="442" y="500"/>
                  </a:lnTo>
                  <a:lnTo>
                    <a:pt x="440" y="500"/>
                  </a:lnTo>
                  <a:lnTo>
                    <a:pt x="442" y="500"/>
                  </a:lnTo>
                  <a:lnTo>
                    <a:pt x="440" y="500"/>
                  </a:lnTo>
                  <a:lnTo>
                    <a:pt x="442" y="500"/>
                  </a:lnTo>
                  <a:close/>
                  <a:moveTo>
                    <a:pt x="434" y="498"/>
                  </a:moveTo>
                  <a:lnTo>
                    <a:pt x="436" y="498"/>
                  </a:lnTo>
                  <a:lnTo>
                    <a:pt x="434" y="498"/>
                  </a:lnTo>
                  <a:close/>
                  <a:moveTo>
                    <a:pt x="442" y="498"/>
                  </a:moveTo>
                  <a:lnTo>
                    <a:pt x="440" y="498"/>
                  </a:lnTo>
                  <a:lnTo>
                    <a:pt x="440" y="500"/>
                  </a:lnTo>
                  <a:lnTo>
                    <a:pt x="440" y="498"/>
                  </a:lnTo>
                  <a:lnTo>
                    <a:pt x="442" y="498"/>
                  </a:lnTo>
                  <a:lnTo>
                    <a:pt x="442" y="500"/>
                  </a:lnTo>
                  <a:lnTo>
                    <a:pt x="440" y="500"/>
                  </a:lnTo>
                  <a:lnTo>
                    <a:pt x="440" y="498"/>
                  </a:lnTo>
                  <a:lnTo>
                    <a:pt x="440" y="500"/>
                  </a:lnTo>
                  <a:lnTo>
                    <a:pt x="440" y="498"/>
                  </a:lnTo>
                  <a:lnTo>
                    <a:pt x="442" y="498"/>
                  </a:lnTo>
                  <a:close/>
                  <a:moveTo>
                    <a:pt x="442" y="498"/>
                  </a:moveTo>
                  <a:lnTo>
                    <a:pt x="440" y="498"/>
                  </a:lnTo>
                  <a:lnTo>
                    <a:pt x="442" y="498"/>
                  </a:lnTo>
                  <a:close/>
                  <a:moveTo>
                    <a:pt x="440" y="498"/>
                  </a:moveTo>
                  <a:lnTo>
                    <a:pt x="440" y="496"/>
                  </a:lnTo>
                  <a:lnTo>
                    <a:pt x="440" y="498"/>
                  </a:lnTo>
                  <a:close/>
                  <a:moveTo>
                    <a:pt x="440" y="496"/>
                  </a:moveTo>
                  <a:lnTo>
                    <a:pt x="442" y="496"/>
                  </a:lnTo>
                  <a:lnTo>
                    <a:pt x="440" y="496"/>
                  </a:lnTo>
                  <a:close/>
                  <a:moveTo>
                    <a:pt x="442" y="496"/>
                  </a:moveTo>
                  <a:lnTo>
                    <a:pt x="440" y="496"/>
                  </a:lnTo>
                  <a:lnTo>
                    <a:pt x="440" y="498"/>
                  </a:lnTo>
                  <a:lnTo>
                    <a:pt x="438" y="498"/>
                  </a:lnTo>
                  <a:lnTo>
                    <a:pt x="440" y="498"/>
                  </a:lnTo>
                  <a:lnTo>
                    <a:pt x="440" y="496"/>
                  </a:lnTo>
                  <a:lnTo>
                    <a:pt x="442" y="496"/>
                  </a:lnTo>
                  <a:close/>
                  <a:moveTo>
                    <a:pt x="442" y="494"/>
                  </a:moveTo>
                  <a:lnTo>
                    <a:pt x="444" y="494"/>
                  </a:lnTo>
                  <a:lnTo>
                    <a:pt x="444" y="496"/>
                  </a:lnTo>
                  <a:lnTo>
                    <a:pt x="442" y="496"/>
                  </a:lnTo>
                  <a:lnTo>
                    <a:pt x="442" y="494"/>
                  </a:lnTo>
                  <a:lnTo>
                    <a:pt x="444" y="494"/>
                  </a:lnTo>
                  <a:lnTo>
                    <a:pt x="442" y="494"/>
                  </a:lnTo>
                  <a:close/>
                  <a:moveTo>
                    <a:pt x="446" y="494"/>
                  </a:moveTo>
                  <a:lnTo>
                    <a:pt x="444" y="494"/>
                  </a:lnTo>
                  <a:lnTo>
                    <a:pt x="446" y="494"/>
                  </a:lnTo>
                  <a:lnTo>
                    <a:pt x="446" y="492"/>
                  </a:lnTo>
                  <a:lnTo>
                    <a:pt x="446" y="494"/>
                  </a:lnTo>
                  <a:close/>
                  <a:moveTo>
                    <a:pt x="454" y="490"/>
                  </a:moveTo>
                  <a:lnTo>
                    <a:pt x="452" y="490"/>
                  </a:lnTo>
                  <a:lnTo>
                    <a:pt x="454" y="490"/>
                  </a:lnTo>
                  <a:close/>
                  <a:moveTo>
                    <a:pt x="454" y="490"/>
                  </a:moveTo>
                  <a:lnTo>
                    <a:pt x="452" y="490"/>
                  </a:lnTo>
                  <a:lnTo>
                    <a:pt x="454" y="490"/>
                  </a:lnTo>
                  <a:close/>
                  <a:moveTo>
                    <a:pt x="450" y="490"/>
                  </a:moveTo>
                  <a:lnTo>
                    <a:pt x="450" y="488"/>
                  </a:lnTo>
                  <a:lnTo>
                    <a:pt x="450" y="490"/>
                  </a:lnTo>
                  <a:close/>
                  <a:moveTo>
                    <a:pt x="450" y="488"/>
                  </a:moveTo>
                  <a:lnTo>
                    <a:pt x="448" y="488"/>
                  </a:lnTo>
                  <a:lnTo>
                    <a:pt x="450" y="488"/>
                  </a:lnTo>
                  <a:close/>
                  <a:moveTo>
                    <a:pt x="454" y="490"/>
                  </a:moveTo>
                  <a:lnTo>
                    <a:pt x="456" y="490"/>
                  </a:lnTo>
                  <a:lnTo>
                    <a:pt x="454" y="490"/>
                  </a:lnTo>
                  <a:close/>
                  <a:moveTo>
                    <a:pt x="452" y="488"/>
                  </a:moveTo>
                  <a:lnTo>
                    <a:pt x="454" y="488"/>
                  </a:lnTo>
                  <a:lnTo>
                    <a:pt x="452" y="488"/>
                  </a:lnTo>
                  <a:close/>
                  <a:moveTo>
                    <a:pt x="450" y="488"/>
                  </a:moveTo>
                  <a:lnTo>
                    <a:pt x="448" y="488"/>
                  </a:lnTo>
                  <a:lnTo>
                    <a:pt x="450" y="488"/>
                  </a:lnTo>
                  <a:close/>
                  <a:moveTo>
                    <a:pt x="458" y="488"/>
                  </a:moveTo>
                  <a:lnTo>
                    <a:pt x="458" y="490"/>
                  </a:lnTo>
                  <a:lnTo>
                    <a:pt x="456" y="490"/>
                  </a:lnTo>
                  <a:lnTo>
                    <a:pt x="458" y="488"/>
                  </a:lnTo>
                  <a:lnTo>
                    <a:pt x="458" y="490"/>
                  </a:lnTo>
                  <a:lnTo>
                    <a:pt x="458" y="488"/>
                  </a:lnTo>
                  <a:close/>
                  <a:moveTo>
                    <a:pt x="454" y="488"/>
                  </a:moveTo>
                  <a:lnTo>
                    <a:pt x="452" y="488"/>
                  </a:lnTo>
                  <a:lnTo>
                    <a:pt x="454" y="488"/>
                  </a:lnTo>
                  <a:close/>
                  <a:moveTo>
                    <a:pt x="452" y="488"/>
                  </a:moveTo>
                  <a:lnTo>
                    <a:pt x="454" y="488"/>
                  </a:lnTo>
                  <a:lnTo>
                    <a:pt x="452" y="488"/>
                  </a:lnTo>
                  <a:close/>
                  <a:moveTo>
                    <a:pt x="454" y="488"/>
                  </a:moveTo>
                  <a:lnTo>
                    <a:pt x="452" y="488"/>
                  </a:lnTo>
                  <a:lnTo>
                    <a:pt x="454" y="488"/>
                  </a:lnTo>
                  <a:close/>
                  <a:moveTo>
                    <a:pt x="450" y="486"/>
                  </a:moveTo>
                  <a:lnTo>
                    <a:pt x="452" y="486"/>
                  </a:lnTo>
                  <a:lnTo>
                    <a:pt x="450" y="486"/>
                  </a:lnTo>
                  <a:close/>
                  <a:moveTo>
                    <a:pt x="454" y="486"/>
                  </a:moveTo>
                  <a:lnTo>
                    <a:pt x="454" y="488"/>
                  </a:lnTo>
                  <a:lnTo>
                    <a:pt x="454" y="486"/>
                  </a:lnTo>
                  <a:close/>
                  <a:moveTo>
                    <a:pt x="454" y="486"/>
                  </a:moveTo>
                  <a:lnTo>
                    <a:pt x="452" y="486"/>
                  </a:lnTo>
                  <a:lnTo>
                    <a:pt x="454" y="486"/>
                  </a:lnTo>
                  <a:close/>
                  <a:moveTo>
                    <a:pt x="456" y="486"/>
                  </a:moveTo>
                  <a:lnTo>
                    <a:pt x="454" y="486"/>
                  </a:lnTo>
                  <a:lnTo>
                    <a:pt x="456" y="486"/>
                  </a:lnTo>
                  <a:lnTo>
                    <a:pt x="454" y="486"/>
                  </a:lnTo>
                  <a:lnTo>
                    <a:pt x="456" y="486"/>
                  </a:lnTo>
                  <a:close/>
                  <a:moveTo>
                    <a:pt x="456" y="486"/>
                  </a:moveTo>
                  <a:lnTo>
                    <a:pt x="454" y="486"/>
                  </a:lnTo>
                  <a:lnTo>
                    <a:pt x="452" y="486"/>
                  </a:lnTo>
                  <a:lnTo>
                    <a:pt x="452" y="488"/>
                  </a:lnTo>
                  <a:lnTo>
                    <a:pt x="450" y="488"/>
                  </a:lnTo>
                  <a:lnTo>
                    <a:pt x="452" y="488"/>
                  </a:lnTo>
                  <a:lnTo>
                    <a:pt x="452" y="486"/>
                  </a:lnTo>
                  <a:lnTo>
                    <a:pt x="454" y="486"/>
                  </a:lnTo>
                  <a:lnTo>
                    <a:pt x="456" y="486"/>
                  </a:lnTo>
                  <a:close/>
                  <a:moveTo>
                    <a:pt x="458" y="486"/>
                  </a:moveTo>
                  <a:lnTo>
                    <a:pt x="456" y="486"/>
                  </a:lnTo>
                  <a:lnTo>
                    <a:pt x="458" y="486"/>
                  </a:lnTo>
                  <a:close/>
                  <a:moveTo>
                    <a:pt x="464" y="486"/>
                  </a:moveTo>
                  <a:lnTo>
                    <a:pt x="464" y="488"/>
                  </a:lnTo>
                  <a:lnTo>
                    <a:pt x="466" y="488"/>
                  </a:lnTo>
                  <a:lnTo>
                    <a:pt x="464" y="488"/>
                  </a:lnTo>
                  <a:lnTo>
                    <a:pt x="462" y="488"/>
                  </a:lnTo>
                  <a:lnTo>
                    <a:pt x="462" y="490"/>
                  </a:lnTo>
                  <a:lnTo>
                    <a:pt x="460" y="490"/>
                  </a:lnTo>
                  <a:lnTo>
                    <a:pt x="458" y="490"/>
                  </a:lnTo>
                  <a:lnTo>
                    <a:pt x="456" y="490"/>
                  </a:lnTo>
                  <a:lnTo>
                    <a:pt x="456" y="492"/>
                  </a:lnTo>
                  <a:lnTo>
                    <a:pt x="454" y="492"/>
                  </a:lnTo>
                  <a:lnTo>
                    <a:pt x="454" y="494"/>
                  </a:lnTo>
                  <a:lnTo>
                    <a:pt x="452" y="494"/>
                  </a:lnTo>
                  <a:lnTo>
                    <a:pt x="450" y="494"/>
                  </a:lnTo>
                  <a:lnTo>
                    <a:pt x="450" y="496"/>
                  </a:lnTo>
                  <a:lnTo>
                    <a:pt x="448" y="496"/>
                  </a:lnTo>
                  <a:lnTo>
                    <a:pt x="448" y="496"/>
                  </a:lnTo>
                  <a:lnTo>
                    <a:pt x="448" y="498"/>
                  </a:lnTo>
                  <a:lnTo>
                    <a:pt x="446" y="498"/>
                  </a:lnTo>
                  <a:lnTo>
                    <a:pt x="446" y="500"/>
                  </a:lnTo>
                  <a:lnTo>
                    <a:pt x="444" y="500"/>
                  </a:lnTo>
                  <a:lnTo>
                    <a:pt x="444" y="502"/>
                  </a:lnTo>
                  <a:lnTo>
                    <a:pt x="442" y="502"/>
                  </a:lnTo>
                  <a:lnTo>
                    <a:pt x="442" y="500"/>
                  </a:lnTo>
                  <a:lnTo>
                    <a:pt x="444" y="500"/>
                  </a:lnTo>
                  <a:lnTo>
                    <a:pt x="444" y="498"/>
                  </a:lnTo>
                  <a:lnTo>
                    <a:pt x="444" y="496"/>
                  </a:lnTo>
                  <a:lnTo>
                    <a:pt x="444" y="498"/>
                  </a:lnTo>
                  <a:lnTo>
                    <a:pt x="444" y="496"/>
                  </a:lnTo>
                  <a:lnTo>
                    <a:pt x="444" y="498"/>
                  </a:lnTo>
                  <a:lnTo>
                    <a:pt x="444" y="496"/>
                  </a:lnTo>
                  <a:lnTo>
                    <a:pt x="446" y="496"/>
                  </a:lnTo>
                  <a:lnTo>
                    <a:pt x="446" y="494"/>
                  </a:lnTo>
                  <a:lnTo>
                    <a:pt x="446" y="496"/>
                  </a:lnTo>
                  <a:lnTo>
                    <a:pt x="448" y="496"/>
                  </a:lnTo>
                  <a:lnTo>
                    <a:pt x="448" y="496"/>
                  </a:lnTo>
                  <a:lnTo>
                    <a:pt x="448" y="494"/>
                  </a:lnTo>
                  <a:lnTo>
                    <a:pt x="450" y="494"/>
                  </a:lnTo>
                  <a:lnTo>
                    <a:pt x="448" y="494"/>
                  </a:lnTo>
                  <a:lnTo>
                    <a:pt x="450" y="494"/>
                  </a:lnTo>
                  <a:lnTo>
                    <a:pt x="448" y="494"/>
                  </a:lnTo>
                  <a:lnTo>
                    <a:pt x="450" y="494"/>
                  </a:lnTo>
                  <a:lnTo>
                    <a:pt x="448" y="494"/>
                  </a:lnTo>
                  <a:lnTo>
                    <a:pt x="450" y="494"/>
                  </a:lnTo>
                  <a:lnTo>
                    <a:pt x="452" y="494"/>
                  </a:lnTo>
                  <a:lnTo>
                    <a:pt x="450" y="494"/>
                  </a:lnTo>
                  <a:lnTo>
                    <a:pt x="450" y="492"/>
                  </a:lnTo>
                  <a:lnTo>
                    <a:pt x="452" y="492"/>
                  </a:lnTo>
                  <a:lnTo>
                    <a:pt x="450" y="492"/>
                  </a:lnTo>
                  <a:lnTo>
                    <a:pt x="452" y="492"/>
                  </a:lnTo>
                  <a:lnTo>
                    <a:pt x="450" y="492"/>
                  </a:lnTo>
                  <a:lnTo>
                    <a:pt x="452" y="492"/>
                  </a:lnTo>
                  <a:lnTo>
                    <a:pt x="454" y="492"/>
                  </a:lnTo>
                  <a:lnTo>
                    <a:pt x="454" y="490"/>
                  </a:lnTo>
                  <a:lnTo>
                    <a:pt x="452" y="490"/>
                  </a:lnTo>
                  <a:lnTo>
                    <a:pt x="452" y="492"/>
                  </a:lnTo>
                  <a:lnTo>
                    <a:pt x="452" y="490"/>
                  </a:lnTo>
                  <a:lnTo>
                    <a:pt x="454" y="490"/>
                  </a:lnTo>
                  <a:lnTo>
                    <a:pt x="456" y="490"/>
                  </a:lnTo>
                  <a:lnTo>
                    <a:pt x="454" y="490"/>
                  </a:lnTo>
                  <a:lnTo>
                    <a:pt x="456" y="490"/>
                  </a:lnTo>
                  <a:lnTo>
                    <a:pt x="458" y="490"/>
                  </a:lnTo>
                  <a:lnTo>
                    <a:pt x="458" y="488"/>
                  </a:lnTo>
                  <a:lnTo>
                    <a:pt x="458" y="490"/>
                  </a:lnTo>
                  <a:lnTo>
                    <a:pt x="458" y="488"/>
                  </a:lnTo>
                  <a:lnTo>
                    <a:pt x="460" y="488"/>
                  </a:lnTo>
                  <a:lnTo>
                    <a:pt x="458" y="488"/>
                  </a:lnTo>
                  <a:lnTo>
                    <a:pt x="460" y="488"/>
                  </a:lnTo>
                  <a:lnTo>
                    <a:pt x="462" y="488"/>
                  </a:lnTo>
                  <a:lnTo>
                    <a:pt x="460" y="488"/>
                  </a:lnTo>
                  <a:lnTo>
                    <a:pt x="462" y="488"/>
                  </a:lnTo>
                  <a:lnTo>
                    <a:pt x="464" y="488"/>
                  </a:lnTo>
                  <a:lnTo>
                    <a:pt x="464" y="486"/>
                  </a:lnTo>
                  <a:close/>
                  <a:moveTo>
                    <a:pt x="462" y="486"/>
                  </a:moveTo>
                  <a:lnTo>
                    <a:pt x="464" y="486"/>
                  </a:lnTo>
                  <a:lnTo>
                    <a:pt x="462" y="486"/>
                  </a:lnTo>
                  <a:close/>
                  <a:moveTo>
                    <a:pt x="458" y="486"/>
                  </a:moveTo>
                  <a:lnTo>
                    <a:pt x="458" y="484"/>
                  </a:lnTo>
                  <a:lnTo>
                    <a:pt x="458" y="486"/>
                  </a:lnTo>
                  <a:close/>
                  <a:moveTo>
                    <a:pt x="458" y="486"/>
                  </a:moveTo>
                  <a:lnTo>
                    <a:pt x="458" y="484"/>
                  </a:lnTo>
                  <a:lnTo>
                    <a:pt x="458" y="486"/>
                  </a:lnTo>
                  <a:close/>
                  <a:moveTo>
                    <a:pt x="458" y="486"/>
                  </a:moveTo>
                  <a:lnTo>
                    <a:pt x="458" y="484"/>
                  </a:lnTo>
                  <a:lnTo>
                    <a:pt x="458" y="486"/>
                  </a:lnTo>
                  <a:close/>
                  <a:moveTo>
                    <a:pt x="462" y="484"/>
                  </a:moveTo>
                  <a:lnTo>
                    <a:pt x="462" y="486"/>
                  </a:lnTo>
                  <a:lnTo>
                    <a:pt x="462" y="484"/>
                  </a:lnTo>
                  <a:lnTo>
                    <a:pt x="462" y="486"/>
                  </a:lnTo>
                  <a:lnTo>
                    <a:pt x="462" y="484"/>
                  </a:lnTo>
                  <a:close/>
                  <a:moveTo>
                    <a:pt x="466" y="484"/>
                  </a:moveTo>
                  <a:lnTo>
                    <a:pt x="466" y="486"/>
                  </a:lnTo>
                  <a:lnTo>
                    <a:pt x="466" y="484"/>
                  </a:lnTo>
                  <a:lnTo>
                    <a:pt x="466" y="486"/>
                  </a:lnTo>
                  <a:lnTo>
                    <a:pt x="466" y="484"/>
                  </a:lnTo>
                  <a:close/>
                  <a:moveTo>
                    <a:pt x="464" y="484"/>
                  </a:moveTo>
                  <a:lnTo>
                    <a:pt x="462" y="484"/>
                  </a:lnTo>
                  <a:lnTo>
                    <a:pt x="464" y="484"/>
                  </a:lnTo>
                  <a:close/>
                  <a:moveTo>
                    <a:pt x="448" y="484"/>
                  </a:moveTo>
                  <a:lnTo>
                    <a:pt x="448" y="482"/>
                  </a:lnTo>
                  <a:lnTo>
                    <a:pt x="450" y="482"/>
                  </a:lnTo>
                  <a:lnTo>
                    <a:pt x="448" y="482"/>
                  </a:lnTo>
                  <a:lnTo>
                    <a:pt x="448" y="484"/>
                  </a:lnTo>
                  <a:close/>
                  <a:moveTo>
                    <a:pt x="464" y="484"/>
                  </a:moveTo>
                  <a:lnTo>
                    <a:pt x="464" y="486"/>
                  </a:lnTo>
                  <a:lnTo>
                    <a:pt x="464" y="484"/>
                  </a:lnTo>
                  <a:lnTo>
                    <a:pt x="464" y="486"/>
                  </a:lnTo>
                  <a:lnTo>
                    <a:pt x="464" y="484"/>
                  </a:lnTo>
                  <a:close/>
                  <a:moveTo>
                    <a:pt x="460" y="484"/>
                  </a:moveTo>
                  <a:lnTo>
                    <a:pt x="458" y="484"/>
                  </a:lnTo>
                  <a:lnTo>
                    <a:pt x="458" y="486"/>
                  </a:lnTo>
                  <a:lnTo>
                    <a:pt x="458" y="484"/>
                  </a:lnTo>
                  <a:lnTo>
                    <a:pt x="458" y="486"/>
                  </a:lnTo>
                  <a:lnTo>
                    <a:pt x="458" y="484"/>
                  </a:lnTo>
                  <a:lnTo>
                    <a:pt x="460" y="484"/>
                  </a:lnTo>
                  <a:lnTo>
                    <a:pt x="458" y="484"/>
                  </a:lnTo>
                  <a:lnTo>
                    <a:pt x="456" y="484"/>
                  </a:lnTo>
                  <a:lnTo>
                    <a:pt x="456" y="486"/>
                  </a:lnTo>
                  <a:lnTo>
                    <a:pt x="456" y="484"/>
                  </a:lnTo>
                  <a:lnTo>
                    <a:pt x="458" y="484"/>
                  </a:lnTo>
                  <a:lnTo>
                    <a:pt x="460" y="484"/>
                  </a:lnTo>
                  <a:close/>
                  <a:moveTo>
                    <a:pt x="466" y="484"/>
                  </a:moveTo>
                  <a:lnTo>
                    <a:pt x="464" y="484"/>
                  </a:lnTo>
                  <a:lnTo>
                    <a:pt x="466" y="484"/>
                  </a:lnTo>
                  <a:lnTo>
                    <a:pt x="464" y="484"/>
                  </a:lnTo>
                  <a:lnTo>
                    <a:pt x="466" y="484"/>
                  </a:lnTo>
                  <a:lnTo>
                    <a:pt x="464" y="484"/>
                  </a:lnTo>
                  <a:lnTo>
                    <a:pt x="466" y="484"/>
                  </a:lnTo>
                  <a:close/>
                  <a:moveTo>
                    <a:pt x="464" y="484"/>
                  </a:moveTo>
                  <a:lnTo>
                    <a:pt x="466" y="484"/>
                  </a:lnTo>
                  <a:lnTo>
                    <a:pt x="464" y="484"/>
                  </a:lnTo>
                  <a:close/>
                  <a:moveTo>
                    <a:pt x="464" y="484"/>
                  </a:moveTo>
                  <a:lnTo>
                    <a:pt x="464" y="482"/>
                  </a:lnTo>
                  <a:lnTo>
                    <a:pt x="464" y="484"/>
                  </a:lnTo>
                  <a:close/>
                  <a:moveTo>
                    <a:pt x="466" y="482"/>
                  </a:moveTo>
                  <a:lnTo>
                    <a:pt x="464" y="482"/>
                  </a:lnTo>
                  <a:lnTo>
                    <a:pt x="466" y="482"/>
                  </a:lnTo>
                  <a:close/>
                  <a:moveTo>
                    <a:pt x="468" y="482"/>
                  </a:moveTo>
                  <a:lnTo>
                    <a:pt x="468" y="484"/>
                  </a:lnTo>
                  <a:lnTo>
                    <a:pt x="466" y="484"/>
                  </a:lnTo>
                  <a:lnTo>
                    <a:pt x="468" y="484"/>
                  </a:lnTo>
                  <a:lnTo>
                    <a:pt x="468" y="482"/>
                  </a:lnTo>
                  <a:close/>
                  <a:moveTo>
                    <a:pt x="464" y="482"/>
                  </a:moveTo>
                  <a:lnTo>
                    <a:pt x="462" y="482"/>
                  </a:lnTo>
                  <a:lnTo>
                    <a:pt x="462" y="484"/>
                  </a:lnTo>
                  <a:lnTo>
                    <a:pt x="460" y="484"/>
                  </a:lnTo>
                  <a:lnTo>
                    <a:pt x="462" y="484"/>
                  </a:lnTo>
                  <a:lnTo>
                    <a:pt x="462" y="482"/>
                  </a:lnTo>
                  <a:lnTo>
                    <a:pt x="464" y="482"/>
                  </a:lnTo>
                  <a:close/>
                  <a:moveTo>
                    <a:pt x="466" y="482"/>
                  </a:moveTo>
                  <a:lnTo>
                    <a:pt x="464" y="482"/>
                  </a:lnTo>
                  <a:lnTo>
                    <a:pt x="466" y="482"/>
                  </a:lnTo>
                  <a:lnTo>
                    <a:pt x="464" y="482"/>
                  </a:lnTo>
                  <a:lnTo>
                    <a:pt x="466" y="482"/>
                  </a:lnTo>
                  <a:lnTo>
                    <a:pt x="464" y="482"/>
                  </a:lnTo>
                  <a:lnTo>
                    <a:pt x="466" y="482"/>
                  </a:lnTo>
                  <a:close/>
                  <a:moveTo>
                    <a:pt x="468" y="482"/>
                  </a:moveTo>
                  <a:lnTo>
                    <a:pt x="468" y="480"/>
                  </a:lnTo>
                  <a:lnTo>
                    <a:pt x="468" y="482"/>
                  </a:lnTo>
                  <a:close/>
                  <a:moveTo>
                    <a:pt x="474" y="480"/>
                  </a:moveTo>
                  <a:lnTo>
                    <a:pt x="472" y="480"/>
                  </a:lnTo>
                  <a:lnTo>
                    <a:pt x="472" y="482"/>
                  </a:lnTo>
                  <a:lnTo>
                    <a:pt x="470" y="482"/>
                  </a:lnTo>
                  <a:lnTo>
                    <a:pt x="468" y="482"/>
                  </a:lnTo>
                  <a:lnTo>
                    <a:pt x="470" y="482"/>
                  </a:lnTo>
                  <a:lnTo>
                    <a:pt x="470" y="480"/>
                  </a:lnTo>
                  <a:lnTo>
                    <a:pt x="472" y="480"/>
                  </a:lnTo>
                  <a:lnTo>
                    <a:pt x="474" y="480"/>
                  </a:lnTo>
                  <a:lnTo>
                    <a:pt x="472" y="480"/>
                  </a:lnTo>
                  <a:lnTo>
                    <a:pt x="474" y="480"/>
                  </a:lnTo>
                  <a:close/>
                  <a:moveTo>
                    <a:pt x="458" y="472"/>
                  </a:moveTo>
                  <a:lnTo>
                    <a:pt x="460" y="472"/>
                  </a:lnTo>
                  <a:lnTo>
                    <a:pt x="458" y="472"/>
                  </a:lnTo>
                  <a:close/>
                  <a:moveTo>
                    <a:pt x="456" y="472"/>
                  </a:moveTo>
                  <a:lnTo>
                    <a:pt x="454" y="472"/>
                  </a:lnTo>
                  <a:lnTo>
                    <a:pt x="456" y="472"/>
                  </a:lnTo>
                  <a:close/>
                  <a:moveTo>
                    <a:pt x="458" y="472"/>
                  </a:moveTo>
                  <a:lnTo>
                    <a:pt x="458" y="472"/>
                  </a:lnTo>
                  <a:lnTo>
                    <a:pt x="458" y="472"/>
                  </a:lnTo>
                  <a:close/>
                  <a:moveTo>
                    <a:pt x="482" y="472"/>
                  </a:moveTo>
                  <a:lnTo>
                    <a:pt x="480" y="472"/>
                  </a:lnTo>
                  <a:lnTo>
                    <a:pt x="478" y="472"/>
                  </a:lnTo>
                  <a:lnTo>
                    <a:pt x="478" y="474"/>
                  </a:lnTo>
                  <a:lnTo>
                    <a:pt x="478" y="472"/>
                  </a:lnTo>
                  <a:lnTo>
                    <a:pt x="480" y="472"/>
                  </a:lnTo>
                  <a:lnTo>
                    <a:pt x="482" y="472"/>
                  </a:lnTo>
                  <a:close/>
                  <a:moveTo>
                    <a:pt x="488" y="472"/>
                  </a:moveTo>
                  <a:lnTo>
                    <a:pt x="486" y="472"/>
                  </a:lnTo>
                  <a:lnTo>
                    <a:pt x="488" y="472"/>
                  </a:lnTo>
                  <a:lnTo>
                    <a:pt x="486" y="472"/>
                  </a:lnTo>
                  <a:lnTo>
                    <a:pt x="488" y="472"/>
                  </a:lnTo>
                  <a:close/>
                  <a:moveTo>
                    <a:pt x="486" y="472"/>
                  </a:moveTo>
                  <a:lnTo>
                    <a:pt x="486" y="472"/>
                  </a:lnTo>
                  <a:lnTo>
                    <a:pt x="486" y="472"/>
                  </a:lnTo>
                  <a:close/>
                  <a:moveTo>
                    <a:pt x="458" y="472"/>
                  </a:moveTo>
                  <a:lnTo>
                    <a:pt x="456" y="472"/>
                  </a:lnTo>
                  <a:lnTo>
                    <a:pt x="456" y="470"/>
                  </a:lnTo>
                  <a:lnTo>
                    <a:pt x="458" y="470"/>
                  </a:lnTo>
                  <a:lnTo>
                    <a:pt x="456" y="470"/>
                  </a:lnTo>
                  <a:lnTo>
                    <a:pt x="458" y="470"/>
                  </a:lnTo>
                  <a:lnTo>
                    <a:pt x="458" y="472"/>
                  </a:lnTo>
                  <a:close/>
                  <a:moveTo>
                    <a:pt x="484" y="472"/>
                  </a:moveTo>
                  <a:lnTo>
                    <a:pt x="484" y="472"/>
                  </a:lnTo>
                  <a:lnTo>
                    <a:pt x="482" y="472"/>
                  </a:lnTo>
                  <a:lnTo>
                    <a:pt x="484" y="472"/>
                  </a:lnTo>
                  <a:lnTo>
                    <a:pt x="484" y="472"/>
                  </a:lnTo>
                  <a:lnTo>
                    <a:pt x="486" y="472"/>
                  </a:lnTo>
                  <a:lnTo>
                    <a:pt x="484" y="472"/>
                  </a:lnTo>
                  <a:close/>
                  <a:moveTo>
                    <a:pt x="458" y="468"/>
                  </a:moveTo>
                  <a:lnTo>
                    <a:pt x="456" y="468"/>
                  </a:lnTo>
                  <a:lnTo>
                    <a:pt x="458" y="468"/>
                  </a:lnTo>
                  <a:close/>
                  <a:moveTo>
                    <a:pt x="456" y="468"/>
                  </a:moveTo>
                  <a:lnTo>
                    <a:pt x="458" y="468"/>
                  </a:lnTo>
                  <a:lnTo>
                    <a:pt x="456" y="468"/>
                  </a:lnTo>
                  <a:close/>
                  <a:moveTo>
                    <a:pt x="500" y="470"/>
                  </a:moveTo>
                  <a:lnTo>
                    <a:pt x="500" y="468"/>
                  </a:lnTo>
                  <a:lnTo>
                    <a:pt x="500" y="470"/>
                  </a:lnTo>
                  <a:close/>
                  <a:moveTo>
                    <a:pt x="502" y="470"/>
                  </a:moveTo>
                  <a:lnTo>
                    <a:pt x="502" y="468"/>
                  </a:lnTo>
                  <a:lnTo>
                    <a:pt x="502" y="470"/>
                  </a:lnTo>
                  <a:lnTo>
                    <a:pt x="500" y="470"/>
                  </a:lnTo>
                  <a:lnTo>
                    <a:pt x="498" y="470"/>
                  </a:lnTo>
                  <a:lnTo>
                    <a:pt x="498" y="472"/>
                  </a:lnTo>
                  <a:lnTo>
                    <a:pt x="496" y="472"/>
                  </a:lnTo>
                  <a:lnTo>
                    <a:pt x="496" y="472"/>
                  </a:lnTo>
                  <a:lnTo>
                    <a:pt x="496" y="472"/>
                  </a:lnTo>
                  <a:lnTo>
                    <a:pt x="494" y="472"/>
                  </a:lnTo>
                  <a:lnTo>
                    <a:pt x="492" y="472"/>
                  </a:lnTo>
                  <a:lnTo>
                    <a:pt x="490" y="472"/>
                  </a:lnTo>
                  <a:lnTo>
                    <a:pt x="490" y="474"/>
                  </a:lnTo>
                  <a:lnTo>
                    <a:pt x="488" y="474"/>
                  </a:lnTo>
                  <a:lnTo>
                    <a:pt x="486" y="474"/>
                  </a:lnTo>
                  <a:lnTo>
                    <a:pt x="484" y="474"/>
                  </a:lnTo>
                  <a:lnTo>
                    <a:pt x="484" y="476"/>
                  </a:lnTo>
                  <a:lnTo>
                    <a:pt x="482" y="476"/>
                  </a:lnTo>
                  <a:lnTo>
                    <a:pt x="480" y="476"/>
                  </a:lnTo>
                  <a:lnTo>
                    <a:pt x="480" y="478"/>
                  </a:lnTo>
                  <a:lnTo>
                    <a:pt x="478" y="478"/>
                  </a:lnTo>
                  <a:lnTo>
                    <a:pt x="476" y="478"/>
                  </a:lnTo>
                  <a:lnTo>
                    <a:pt x="476" y="480"/>
                  </a:lnTo>
                  <a:lnTo>
                    <a:pt x="474" y="480"/>
                  </a:lnTo>
                  <a:lnTo>
                    <a:pt x="474" y="478"/>
                  </a:lnTo>
                  <a:lnTo>
                    <a:pt x="476" y="478"/>
                  </a:lnTo>
                  <a:lnTo>
                    <a:pt x="478" y="478"/>
                  </a:lnTo>
                  <a:lnTo>
                    <a:pt x="476" y="478"/>
                  </a:lnTo>
                  <a:lnTo>
                    <a:pt x="478" y="478"/>
                  </a:lnTo>
                  <a:lnTo>
                    <a:pt x="476" y="478"/>
                  </a:lnTo>
                  <a:lnTo>
                    <a:pt x="478" y="478"/>
                  </a:lnTo>
                  <a:lnTo>
                    <a:pt x="478" y="476"/>
                  </a:lnTo>
                  <a:lnTo>
                    <a:pt x="478" y="478"/>
                  </a:lnTo>
                  <a:lnTo>
                    <a:pt x="478" y="476"/>
                  </a:lnTo>
                  <a:lnTo>
                    <a:pt x="478" y="478"/>
                  </a:lnTo>
                  <a:lnTo>
                    <a:pt x="478" y="476"/>
                  </a:lnTo>
                  <a:lnTo>
                    <a:pt x="478" y="478"/>
                  </a:lnTo>
                  <a:lnTo>
                    <a:pt x="478" y="476"/>
                  </a:lnTo>
                  <a:lnTo>
                    <a:pt x="480" y="476"/>
                  </a:lnTo>
                  <a:lnTo>
                    <a:pt x="478" y="476"/>
                  </a:lnTo>
                  <a:lnTo>
                    <a:pt x="480" y="476"/>
                  </a:lnTo>
                  <a:lnTo>
                    <a:pt x="478" y="476"/>
                  </a:lnTo>
                  <a:lnTo>
                    <a:pt x="480" y="476"/>
                  </a:lnTo>
                  <a:lnTo>
                    <a:pt x="482" y="476"/>
                  </a:lnTo>
                  <a:lnTo>
                    <a:pt x="480" y="476"/>
                  </a:lnTo>
                  <a:lnTo>
                    <a:pt x="482" y="476"/>
                  </a:lnTo>
                  <a:lnTo>
                    <a:pt x="484" y="476"/>
                  </a:lnTo>
                  <a:lnTo>
                    <a:pt x="482" y="476"/>
                  </a:lnTo>
                  <a:lnTo>
                    <a:pt x="484" y="476"/>
                  </a:lnTo>
                  <a:lnTo>
                    <a:pt x="484" y="474"/>
                  </a:lnTo>
                  <a:lnTo>
                    <a:pt x="484" y="476"/>
                  </a:lnTo>
                  <a:lnTo>
                    <a:pt x="484" y="474"/>
                  </a:lnTo>
                  <a:lnTo>
                    <a:pt x="484" y="476"/>
                  </a:lnTo>
                  <a:lnTo>
                    <a:pt x="484" y="474"/>
                  </a:lnTo>
                  <a:lnTo>
                    <a:pt x="486" y="474"/>
                  </a:lnTo>
                  <a:lnTo>
                    <a:pt x="484" y="474"/>
                  </a:lnTo>
                  <a:lnTo>
                    <a:pt x="486" y="474"/>
                  </a:lnTo>
                  <a:lnTo>
                    <a:pt x="484" y="474"/>
                  </a:lnTo>
                  <a:lnTo>
                    <a:pt x="486" y="474"/>
                  </a:lnTo>
                  <a:lnTo>
                    <a:pt x="488" y="474"/>
                  </a:lnTo>
                  <a:lnTo>
                    <a:pt x="488" y="472"/>
                  </a:lnTo>
                  <a:lnTo>
                    <a:pt x="488" y="472"/>
                  </a:lnTo>
                  <a:lnTo>
                    <a:pt x="488" y="472"/>
                  </a:lnTo>
                  <a:lnTo>
                    <a:pt x="488" y="472"/>
                  </a:lnTo>
                  <a:lnTo>
                    <a:pt x="486" y="472"/>
                  </a:lnTo>
                  <a:lnTo>
                    <a:pt x="488" y="472"/>
                  </a:lnTo>
                  <a:lnTo>
                    <a:pt x="488" y="470"/>
                  </a:lnTo>
                  <a:lnTo>
                    <a:pt x="488" y="472"/>
                  </a:lnTo>
                  <a:lnTo>
                    <a:pt x="488" y="470"/>
                  </a:lnTo>
                  <a:lnTo>
                    <a:pt x="490" y="470"/>
                  </a:lnTo>
                  <a:lnTo>
                    <a:pt x="492" y="470"/>
                  </a:lnTo>
                  <a:lnTo>
                    <a:pt x="494" y="470"/>
                  </a:lnTo>
                  <a:lnTo>
                    <a:pt x="492" y="470"/>
                  </a:lnTo>
                  <a:lnTo>
                    <a:pt x="490" y="470"/>
                  </a:lnTo>
                  <a:lnTo>
                    <a:pt x="490" y="472"/>
                  </a:lnTo>
                  <a:lnTo>
                    <a:pt x="490" y="472"/>
                  </a:lnTo>
                  <a:lnTo>
                    <a:pt x="490" y="472"/>
                  </a:lnTo>
                  <a:lnTo>
                    <a:pt x="488" y="472"/>
                  </a:lnTo>
                  <a:lnTo>
                    <a:pt x="490" y="472"/>
                  </a:lnTo>
                  <a:lnTo>
                    <a:pt x="490" y="472"/>
                  </a:lnTo>
                  <a:lnTo>
                    <a:pt x="488" y="472"/>
                  </a:lnTo>
                  <a:lnTo>
                    <a:pt x="490" y="472"/>
                  </a:lnTo>
                  <a:lnTo>
                    <a:pt x="488" y="472"/>
                  </a:lnTo>
                  <a:lnTo>
                    <a:pt x="490" y="472"/>
                  </a:lnTo>
                  <a:lnTo>
                    <a:pt x="488" y="472"/>
                  </a:lnTo>
                  <a:lnTo>
                    <a:pt x="490" y="472"/>
                  </a:lnTo>
                  <a:lnTo>
                    <a:pt x="488" y="472"/>
                  </a:lnTo>
                  <a:lnTo>
                    <a:pt x="490" y="472"/>
                  </a:lnTo>
                  <a:lnTo>
                    <a:pt x="492" y="472"/>
                  </a:lnTo>
                  <a:lnTo>
                    <a:pt x="494" y="472"/>
                  </a:lnTo>
                  <a:lnTo>
                    <a:pt x="492" y="472"/>
                  </a:lnTo>
                  <a:lnTo>
                    <a:pt x="494" y="472"/>
                  </a:lnTo>
                  <a:lnTo>
                    <a:pt x="494" y="472"/>
                  </a:lnTo>
                  <a:lnTo>
                    <a:pt x="494" y="472"/>
                  </a:lnTo>
                  <a:lnTo>
                    <a:pt x="494" y="472"/>
                  </a:lnTo>
                  <a:lnTo>
                    <a:pt x="494" y="472"/>
                  </a:lnTo>
                  <a:lnTo>
                    <a:pt x="494" y="472"/>
                  </a:lnTo>
                  <a:lnTo>
                    <a:pt x="494" y="472"/>
                  </a:lnTo>
                  <a:lnTo>
                    <a:pt x="496" y="472"/>
                  </a:lnTo>
                  <a:lnTo>
                    <a:pt x="496" y="472"/>
                  </a:lnTo>
                  <a:lnTo>
                    <a:pt x="496" y="470"/>
                  </a:lnTo>
                  <a:lnTo>
                    <a:pt x="496" y="472"/>
                  </a:lnTo>
                  <a:lnTo>
                    <a:pt x="496" y="470"/>
                  </a:lnTo>
                  <a:lnTo>
                    <a:pt x="496" y="472"/>
                  </a:lnTo>
                  <a:lnTo>
                    <a:pt x="496" y="470"/>
                  </a:lnTo>
                  <a:lnTo>
                    <a:pt x="498" y="470"/>
                  </a:lnTo>
                  <a:lnTo>
                    <a:pt x="500" y="470"/>
                  </a:lnTo>
                  <a:lnTo>
                    <a:pt x="502" y="470"/>
                  </a:lnTo>
                  <a:lnTo>
                    <a:pt x="500" y="468"/>
                  </a:lnTo>
                  <a:lnTo>
                    <a:pt x="502" y="470"/>
                  </a:lnTo>
                  <a:close/>
                  <a:moveTo>
                    <a:pt x="494" y="468"/>
                  </a:moveTo>
                  <a:lnTo>
                    <a:pt x="494" y="470"/>
                  </a:lnTo>
                  <a:lnTo>
                    <a:pt x="494" y="468"/>
                  </a:lnTo>
                  <a:lnTo>
                    <a:pt x="496" y="468"/>
                  </a:lnTo>
                  <a:lnTo>
                    <a:pt x="494" y="468"/>
                  </a:lnTo>
                  <a:close/>
                  <a:moveTo>
                    <a:pt x="496" y="468"/>
                  </a:moveTo>
                  <a:lnTo>
                    <a:pt x="496" y="468"/>
                  </a:lnTo>
                  <a:lnTo>
                    <a:pt x="496" y="468"/>
                  </a:lnTo>
                  <a:close/>
                  <a:moveTo>
                    <a:pt x="496" y="468"/>
                  </a:moveTo>
                  <a:lnTo>
                    <a:pt x="498" y="468"/>
                  </a:lnTo>
                  <a:lnTo>
                    <a:pt x="496" y="468"/>
                  </a:lnTo>
                  <a:close/>
                  <a:moveTo>
                    <a:pt x="498" y="468"/>
                  </a:moveTo>
                  <a:lnTo>
                    <a:pt x="500" y="468"/>
                  </a:lnTo>
                  <a:lnTo>
                    <a:pt x="498" y="468"/>
                  </a:lnTo>
                  <a:close/>
                  <a:moveTo>
                    <a:pt x="502" y="468"/>
                  </a:moveTo>
                  <a:lnTo>
                    <a:pt x="504" y="468"/>
                  </a:lnTo>
                  <a:lnTo>
                    <a:pt x="502" y="468"/>
                  </a:lnTo>
                  <a:close/>
                  <a:moveTo>
                    <a:pt x="504" y="468"/>
                  </a:moveTo>
                  <a:lnTo>
                    <a:pt x="502" y="468"/>
                  </a:lnTo>
                  <a:lnTo>
                    <a:pt x="504" y="468"/>
                  </a:lnTo>
                  <a:lnTo>
                    <a:pt x="502" y="468"/>
                  </a:lnTo>
                  <a:lnTo>
                    <a:pt x="504" y="468"/>
                  </a:lnTo>
                  <a:close/>
                  <a:moveTo>
                    <a:pt x="504" y="468"/>
                  </a:moveTo>
                  <a:lnTo>
                    <a:pt x="502" y="468"/>
                  </a:lnTo>
                  <a:lnTo>
                    <a:pt x="504" y="468"/>
                  </a:lnTo>
                  <a:close/>
                  <a:moveTo>
                    <a:pt x="500" y="468"/>
                  </a:moveTo>
                  <a:lnTo>
                    <a:pt x="502" y="468"/>
                  </a:lnTo>
                  <a:lnTo>
                    <a:pt x="500" y="468"/>
                  </a:lnTo>
                  <a:close/>
                  <a:moveTo>
                    <a:pt x="502" y="466"/>
                  </a:moveTo>
                  <a:lnTo>
                    <a:pt x="504" y="466"/>
                  </a:lnTo>
                  <a:lnTo>
                    <a:pt x="504" y="468"/>
                  </a:lnTo>
                  <a:lnTo>
                    <a:pt x="504" y="466"/>
                  </a:lnTo>
                  <a:lnTo>
                    <a:pt x="502" y="468"/>
                  </a:lnTo>
                  <a:lnTo>
                    <a:pt x="502" y="466"/>
                  </a:lnTo>
                  <a:close/>
                  <a:moveTo>
                    <a:pt x="514" y="462"/>
                  </a:moveTo>
                  <a:lnTo>
                    <a:pt x="516" y="462"/>
                  </a:lnTo>
                  <a:lnTo>
                    <a:pt x="514" y="462"/>
                  </a:lnTo>
                  <a:lnTo>
                    <a:pt x="512" y="462"/>
                  </a:lnTo>
                  <a:lnTo>
                    <a:pt x="512" y="464"/>
                  </a:lnTo>
                  <a:lnTo>
                    <a:pt x="510" y="464"/>
                  </a:lnTo>
                  <a:lnTo>
                    <a:pt x="510" y="466"/>
                  </a:lnTo>
                  <a:lnTo>
                    <a:pt x="508" y="466"/>
                  </a:lnTo>
                  <a:lnTo>
                    <a:pt x="506" y="466"/>
                  </a:lnTo>
                  <a:lnTo>
                    <a:pt x="506" y="468"/>
                  </a:lnTo>
                  <a:lnTo>
                    <a:pt x="504" y="468"/>
                  </a:lnTo>
                  <a:lnTo>
                    <a:pt x="502" y="468"/>
                  </a:lnTo>
                  <a:lnTo>
                    <a:pt x="502" y="470"/>
                  </a:lnTo>
                  <a:lnTo>
                    <a:pt x="502" y="468"/>
                  </a:lnTo>
                  <a:lnTo>
                    <a:pt x="504" y="468"/>
                  </a:lnTo>
                  <a:lnTo>
                    <a:pt x="504" y="466"/>
                  </a:lnTo>
                  <a:lnTo>
                    <a:pt x="506" y="466"/>
                  </a:lnTo>
                  <a:lnTo>
                    <a:pt x="506" y="468"/>
                  </a:lnTo>
                  <a:lnTo>
                    <a:pt x="506" y="466"/>
                  </a:lnTo>
                  <a:lnTo>
                    <a:pt x="508" y="466"/>
                  </a:lnTo>
                  <a:lnTo>
                    <a:pt x="508" y="464"/>
                  </a:lnTo>
                  <a:lnTo>
                    <a:pt x="508" y="466"/>
                  </a:lnTo>
                  <a:lnTo>
                    <a:pt x="510" y="466"/>
                  </a:lnTo>
                  <a:lnTo>
                    <a:pt x="510" y="464"/>
                  </a:lnTo>
                  <a:lnTo>
                    <a:pt x="508" y="464"/>
                  </a:lnTo>
                  <a:lnTo>
                    <a:pt x="510" y="464"/>
                  </a:lnTo>
                  <a:lnTo>
                    <a:pt x="510" y="462"/>
                  </a:lnTo>
                  <a:lnTo>
                    <a:pt x="512" y="462"/>
                  </a:lnTo>
                  <a:lnTo>
                    <a:pt x="514" y="462"/>
                  </a:lnTo>
                  <a:close/>
                  <a:moveTo>
                    <a:pt x="518" y="462"/>
                  </a:moveTo>
                  <a:lnTo>
                    <a:pt x="516" y="462"/>
                  </a:lnTo>
                  <a:lnTo>
                    <a:pt x="518" y="462"/>
                  </a:lnTo>
                  <a:close/>
                  <a:moveTo>
                    <a:pt x="526" y="454"/>
                  </a:moveTo>
                  <a:lnTo>
                    <a:pt x="528" y="454"/>
                  </a:lnTo>
                  <a:lnTo>
                    <a:pt x="526" y="454"/>
                  </a:lnTo>
                  <a:close/>
                  <a:moveTo>
                    <a:pt x="526" y="454"/>
                  </a:moveTo>
                  <a:lnTo>
                    <a:pt x="528" y="454"/>
                  </a:lnTo>
                  <a:lnTo>
                    <a:pt x="526" y="454"/>
                  </a:lnTo>
                  <a:close/>
                  <a:moveTo>
                    <a:pt x="530" y="449"/>
                  </a:moveTo>
                  <a:lnTo>
                    <a:pt x="530" y="452"/>
                  </a:lnTo>
                  <a:lnTo>
                    <a:pt x="530" y="449"/>
                  </a:lnTo>
                  <a:close/>
                  <a:moveTo>
                    <a:pt x="532" y="449"/>
                  </a:moveTo>
                  <a:lnTo>
                    <a:pt x="530" y="449"/>
                  </a:lnTo>
                  <a:lnTo>
                    <a:pt x="532" y="449"/>
                  </a:lnTo>
                  <a:close/>
                  <a:moveTo>
                    <a:pt x="532" y="449"/>
                  </a:moveTo>
                  <a:lnTo>
                    <a:pt x="530" y="449"/>
                  </a:lnTo>
                  <a:lnTo>
                    <a:pt x="532" y="449"/>
                  </a:lnTo>
                  <a:close/>
                  <a:moveTo>
                    <a:pt x="532" y="449"/>
                  </a:moveTo>
                  <a:lnTo>
                    <a:pt x="532" y="452"/>
                  </a:lnTo>
                  <a:lnTo>
                    <a:pt x="530" y="452"/>
                  </a:lnTo>
                  <a:lnTo>
                    <a:pt x="528" y="452"/>
                  </a:lnTo>
                  <a:lnTo>
                    <a:pt x="528" y="454"/>
                  </a:lnTo>
                  <a:lnTo>
                    <a:pt x="526" y="454"/>
                  </a:lnTo>
                  <a:lnTo>
                    <a:pt x="526" y="456"/>
                  </a:lnTo>
                  <a:lnTo>
                    <a:pt x="524" y="456"/>
                  </a:lnTo>
                  <a:lnTo>
                    <a:pt x="524" y="458"/>
                  </a:lnTo>
                  <a:lnTo>
                    <a:pt x="522" y="458"/>
                  </a:lnTo>
                  <a:lnTo>
                    <a:pt x="522" y="456"/>
                  </a:lnTo>
                  <a:lnTo>
                    <a:pt x="524" y="456"/>
                  </a:lnTo>
                  <a:lnTo>
                    <a:pt x="524" y="454"/>
                  </a:lnTo>
                  <a:lnTo>
                    <a:pt x="526" y="454"/>
                  </a:lnTo>
                  <a:lnTo>
                    <a:pt x="528" y="454"/>
                  </a:lnTo>
                  <a:lnTo>
                    <a:pt x="526" y="454"/>
                  </a:lnTo>
                  <a:lnTo>
                    <a:pt x="528" y="454"/>
                  </a:lnTo>
                  <a:lnTo>
                    <a:pt x="526" y="454"/>
                  </a:lnTo>
                  <a:lnTo>
                    <a:pt x="528" y="454"/>
                  </a:lnTo>
                  <a:lnTo>
                    <a:pt x="528" y="452"/>
                  </a:lnTo>
                  <a:lnTo>
                    <a:pt x="530" y="452"/>
                  </a:lnTo>
                  <a:lnTo>
                    <a:pt x="530" y="449"/>
                  </a:lnTo>
                  <a:lnTo>
                    <a:pt x="530" y="452"/>
                  </a:lnTo>
                  <a:lnTo>
                    <a:pt x="530" y="449"/>
                  </a:lnTo>
                  <a:lnTo>
                    <a:pt x="532" y="449"/>
                  </a:lnTo>
                  <a:close/>
                  <a:moveTo>
                    <a:pt x="528" y="447"/>
                  </a:moveTo>
                  <a:lnTo>
                    <a:pt x="528" y="449"/>
                  </a:lnTo>
                  <a:lnTo>
                    <a:pt x="528" y="447"/>
                  </a:lnTo>
                  <a:lnTo>
                    <a:pt x="528" y="449"/>
                  </a:lnTo>
                  <a:lnTo>
                    <a:pt x="530" y="449"/>
                  </a:lnTo>
                  <a:lnTo>
                    <a:pt x="528" y="449"/>
                  </a:lnTo>
                  <a:lnTo>
                    <a:pt x="528" y="452"/>
                  </a:lnTo>
                  <a:lnTo>
                    <a:pt x="526" y="452"/>
                  </a:lnTo>
                  <a:lnTo>
                    <a:pt x="528" y="452"/>
                  </a:lnTo>
                  <a:lnTo>
                    <a:pt x="526" y="452"/>
                  </a:lnTo>
                  <a:lnTo>
                    <a:pt x="528" y="452"/>
                  </a:lnTo>
                  <a:lnTo>
                    <a:pt x="526" y="452"/>
                  </a:lnTo>
                  <a:lnTo>
                    <a:pt x="526" y="454"/>
                  </a:lnTo>
                  <a:lnTo>
                    <a:pt x="524" y="454"/>
                  </a:lnTo>
                  <a:lnTo>
                    <a:pt x="526" y="454"/>
                  </a:lnTo>
                  <a:lnTo>
                    <a:pt x="526" y="452"/>
                  </a:lnTo>
                  <a:lnTo>
                    <a:pt x="528" y="452"/>
                  </a:lnTo>
                  <a:lnTo>
                    <a:pt x="528" y="449"/>
                  </a:lnTo>
                  <a:lnTo>
                    <a:pt x="528" y="447"/>
                  </a:lnTo>
                  <a:close/>
                  <a:moveTo>
                    <a:pt x="532" y="447"/>
                  </a:moveTo>
                  <a:lnTo>
                    <a:pt x="532" y="449"/>
                  </a:lnTo>
                  <a:lnTo>
                    <a:pt x="532" y="447"/>
                  </a:lnTo>
                  <a:close/>
                  <a:moveTo>
                    <a:pt x="530" y="447"/>
                  </a:moveTo>
                  <a:lnTo>
                    <a:pt x="532" y="447"/>
                  </a:lnTo>
                  <a:lnTo>
                    <a:pt x="532" y="449"/>
                  </a:lnTo>
                  <a:lnTo>
                    <a:pt x="530" y="449"/>
                  </a:lnTo>
                  <a:lnTo>
                    <a:pt x="530" y="447"/>
                  </a:lnTo>
                  <a:close/>
                  <a:moveTo>
                    <a:pt x="530" y="445"/>
                  </a:moveTo>
                  <a:lnTo>
                    <a:pt x="530" y="447"/>
                  </a:lnTo>
                  <a:lnTo>
                    <a:pt x="528" y="447"/>
                  </a:lnTo>
                  <a:lnTo>
                    <a:pt x="530" y="447"/>
                  </a:lnTo>
                  <a:lnTo>
                    <a:pt x="530" y="445"/>
                  </a:lnTo>
                  <a:close/>
                  <a:moveTo>
                    <a:pt x="534" y="443"/>
                  </a:moveTo>
                  <a:lnTo>
                    <a:pt x="532" y="443"/>
                  </a:lnTo>
                  <a:lnTo>
                    <a:pt x="534" y="443"/>
                  </a:lnTo>
                  <a:close/>
                  <a:moveTo>
                    <a:pt x="536" y="443"/>
                  </a:moveTo>
                  <a:lnTo>
                    <a:pt x="534" y="443"/>
                  </a:lnTo>
                  <a:lnTo>
                    <a:pt x="536" y="443"/>
                  </a:lnTo>
                  <a:close/>
                  <a:moveTo>
                    <a:pt x="530" y="441"/>
                  </a:moveTo>
                  <a:lnTo>
                    <a:pt x="528" y="441"/>
                  </a:lnTo>
                  <a:lnTo>
                    <a:pt x="530" y="441"/>
                  </a:lnTo>
                  <a:close/>
                  <a:moveTo>
                    <a:pt x="544" y="439"/>
                  </a:moveTo>
                  <a:lnTo>
                    <a:pt x="542" y="439"/>
                  </a:lnTo>
                  <a:lnTo>
                    <a:pt x="544" y="439"/>
                  </a:lnTo>
                  <a:close/>
                  <a:moveTo>
                    <a:pt x="544" y="439"/>
                  </a:moveTo>
                  <a:lnTo>
                    <a:pt x="544" y="437"/>
                  </a:lnTo>
                  <a:lnTo>
                    <a:pt x="544" y="439"/>
                  </a:lnTo>
                  <a:close/>
                  <a:moveTo>
                    <a:pt x="540" y="437"/>
                  </a:moveTo>
                  <a:lnTo>
                    <a:pt x="540" y="439"/>
                  </a:lnTo>
                  <a:lnTo>
                    <a:pt x="540" y="437"/>
                  </a:lnTo>
                  <a:close/>
                  <a:moveTo>
                    <a:pt x="544" y="437"/>
                  </a:moveTo>
                  <a:lnTo>
                    <a:pt x="542" y="437"/>
                  </a:lnTo>
                  <a:lnTo>
                    <a:pt x="544" y="437"/>
                  </a:lnTo>
                  <a:close/>
                  <a:moveTo>
                    <a:pt x="544" y="437"/>
                  </a:moveTo>
                  <a:lnTo>
                    <a:pt x="542" y="437"/>
                  </a:lnTo>
                  <a:lnTo>
                    <a:pt x="544" y="437"/>
                  </a:lnTo>
                  <a:close/>
                  <a:moveTo>
                    <a:pt x="552" y="435"/>
                  </a:moveTo>
                  <a:lnTo>
                    <a:pt x="550" y="435"/>
                  </a:lnTo>
                  <a:lnTo>
                    <a:pt x="550" y="437"/>
                  </a:lnTo>
                  <a:lnTo>
                    <a:pt x="548" y="437"/>
                  </a:lnTo>
                  <a:lnTo>
                    <a:pt x="546" y="439"/>
                  </a:lnTo>
                  <a:lnTo>
                    <a:pt x="544" y="439"/>
                  </a:lnTo>
                  <a:lnTo>
                    <a:pt x="544" y="441"/>
                  </a:lnTo>
                  <a:lnTo>
                    <a:pt x="544" y="441"/>
                  </a:lnTo>
                  <a:lnTo>
                    <a:pt x="542" y="441"/>
                  </a:lnTo>
                  <a:lnTo>
                    <a:pt x="542" y="443"/>
                  </a:lnTo>
                  <a:lnTo>
                    <a:pt x="540" y="443"/>
                  </a:lnTo>
                  <a:lnTo>
                    <a:pt x="538" y="445"/>
                  </a:lnTo>
                  <a:lnTo>
                    <a:pt x="536" y="445"/>
                  </a:lnTo>
                  <a:lnTo>
                    <a:pt x="536" y="447"/>
                  </a:lnTo>
                  <a:lnTo>
                    <a:pt x="534" y="447"/>
                  </a:lnTo>
                  <a:lnTo>
                    <a:pt x="534" y="449"/>
                  </a:lnTo>
                  <a:lnTo>
                    <a:pt x="532" y="449"/>
                  </a:lnTo>
                  <a:lnTo>
                    <a:pt x="532" y="447"/>
                  </a:lnTo>
                  <a:lnTo>
                    <a:pt x="534" y="447"/>
                  </a:lnTo>
                  <a:lnTo>
                    <a:pt x="534" y="445"/>
                  </a:lnTo>
                  <a:lnTo>
                    <a:pt x="534" y="447"/>
                  </a:lnTo>
                  <a:lnTo>
                    <a:pt x="534" y="445"/>
                  </a:lnTo>
                  <a:lnTo>
                    <a:pt x="534" y="447"/>
                  </a:lnTo>
                  <a:lnTo>
                    <a:pt x="534" y="445"/>
                  </a:lnTo>
                  <a:lnTo>
                    <a:pt x="534" y="447"/>
                  </a:lnTo>
                  <a:lnTo>
                    <a:pt x="534" y="445"/>
                  </a:lnTo>
                  <a:lnTo>
                    <a:pt x="536" y="445"/>
                  </a:lnTo>
                  <a:lnTo>
                    <a:pt x="534" y="445"/>
                  </a:lnTo>
                  <a:lnTo>
                    <a:pt x="536" y="445"/>
                  </a:lnTo>
                  <a:lnTo>
                    <a:pt x="538" y="445"/>
                  </a:lnTo>
                  <a:lnTo>
                    <a:pt x="536" y="445"/>
                  </a:lnTo>
                  <a:lnTo>
                    <a:pt x="536" y="443"/>
                  </a:lnTo>
                  <a:lnTo>
                    <a:pt x="536" y="445"/>
                  </a:lnTo>
                  <a:lnTo>
                    <a:pt x="538" y="445"/>
                  </a:lnTo>
                  <a:lnTo>
                    <a:pt x="538" y="443"/>
                  </a:lnTo>
                  <a:lnTo>
                    <a:pt x="538" y="445"/>
                  </a:lnTo>
                  <a:lnTo>
                    <a:pt x="538" y="443"/>
                  </a:lnTo>
                  <a:lnTo>
                    <a:pt x="536" y="443"/>
                  </a:lnTo>
                  <a:lnTo>
                    <a:pt x="538" y="443"/>
                  </a:lnTo>
                  <a:lnTo>
                    <a:pt x="538" y="445"/>
                  </a:lnTo>
                  <a:lnTo>
                    <a:pt x="538" y="443"/>
                  </a:lnTo>
                  <a:lnTo>
                    <a:pt x="540" y="443"/>
                  </a:lnTo>
                  <a:lnTo>
                    <a:pt x="538" y="443"/>
                  </a:lnTo>
                  <a:lnTo>
                    <a:pt x="540" y="443"/>
                  </a:lnTo>
                  <a:lnTo>
                    <a:pt x="538" y="443"/>
                  </a:lnTo>
                  <a:lnTo>
                    <a:pt x="540" y="443"/>
                  </a:lnTo>
                  <a:lnTo>
                    <a:pt x="538" y="443"/>
                  </a:lnTo>
                  <a:lnTo>
                    <a:pt x="540" y="443"/>
                  </a:lnTo>
                  <a:lnTo>
                    <a:pt x="540" y="441"/>
                  </a:lnTo>
                  <a:lnTo>
                    <a:pt x="540" y="443"/>
                  </a:lnTo>
                  <a:lnTo>
                    <a:pt x="540" y="441"/>
                  </a:lnTo>
                  <a:lnTo>
                    <a:pt x="540" y="443"/>
                  </a:lnTo>
                  <a:lnTo>
                    <a:pt x="540" y="441"/>
                  </a:lnTo>
                  <a:lnTo>
                    <a:pt x="540" y="443"/>
                  </a:lnTo>
                  <a:lnTo>
                    <a:pt x="540" y="441"/>
                  </a:lnTo>
                  <a:lnTo>
                    <a:pt x="540" y="443"/>
                  </a:lnTo>
                  <a:lnTo>
                    <a:pt x="540" y="441"/>
                  </a:lnTo>
                  <a:lnTo>
                    <a:pt x="540" y="443"/>
                  </a:lnTo>
                  <a:lnTo>
                    <a:pt x="540" y="441"/>
                  </a:lnTo>
                  <a:lnTo>
                    <a:pt x="540" y="443"/>
                  </a:lnTo>
                  <a:lnTo>
                    <a:pt x="540" y="441"/>
                  </a:lnTo>
                  <a:lnTo>
                    <a:pt x="542" y="441"/>
                  </a:lnTo>
                  <a:lnTo>
                    <a:pt x="542" y="443"/>
                  </a:lnTo>
                  <a:lnTo>
                    <a:pt x="542" y="441"/>
                  </a:lnTo>
                  <a:lnTo>
                    <a:pt x="540" y="441"/>
                  </a:lnTo>
                  <a:lnTo>
                    <a:pt x="542" y="441"/>
                  </a:lnTo>
                  <a:lnTo>
                    <a:pt x="540" y="441"/>
                  </a:lnTo>
                  <a:lnTo>
                    <a:pt x="542" y="441"/>
                  </a:lnTo>
                  <a:lnTo>
                    <a:pt x="540" y="441"/>
                  </a:lnTo>
                  <a:lnTo>
                    <a:pt x="542" y="441"/>
                  </a:lnTo>
                  <a:lnTo>
                    <a:pt x="542" y="439"/>
                  </a:lnTo>
                  <a:lnTo>
                    <a:pt x="542" y="441"/>
                  </a:lnTo>
                  <a:lnTo>
                    <a:pt x="544" y="441"/>
                  </a:lnTo>
                  <a:lnTo>
                    <a:pt x="542" y="441"/>
                  </a:lnTo>
                  <a:lnTo>
                    <a:pt x="542" y="439"/>
                  </a:lnTo>
                  <a:lnTo>
                    <a:pt x="544" y="439"/>
                  </a:lnTo>
                  <a:lnTo>
                    <a:pt x="544" y="439"/>
                  </a:lnTo>
                  <a:lnTo>
                    <a:pt x="544" y="437"/>
                  </a:lnTo>
                  <a:lnTo>
                    <a:pt x="544" y="439"/>
                  </a:lnTo>
                  <a:lnTo>
                    <a:pt x="546" y="439"/>
                  </a:lnTo>
                  <a:lnTo>
                    <a:pt x="544" y="439"/>
                  </a:lnTo>
                  <a:lnTo>
                    <a:pt x="546" y="439"/>
                  </a:lnTo>
                  <a:lnTo>
                    <a:pt x="544" y="437"/>
                  </a:lnTo>
                  <a:lnTo>
                    <a:pt x="546" y="437"/>
                  </a:lnTo>
                  <a:lnTo>
                    <a:pt x="544" y="437"/>
                  </a:lnTo>
                  <a:lnTo>
                    <a:pt x="546" y="437"/>
                  </a:lnTo>
                  <a:lnTo>
                    <a:pt x="548" y="437"/>
                  </a:lnTo>
                  <a:lnTo>
                    <a:pt x="548" y="435"/>
                  </a:lnTo>
                  <a:lnTo>
                    <a:pt x="548" y="437"/>
                  </a:lnTo>
                  <a:lnTo>
                    <a:pt x="548" y="435"/>
                  </a:lnTo>
                  <a:lnTo>
                    <a:pt x="550" y="435"/>
                  </a:lnTo>
                  <a:lnTo>
                    <a:pt x="552" y="435"/>
                  </a:lnTo>
                  <a:close/>
                  <a:moveTo>
                    <a:pt x="546" y="433"/>
                  </a:moveTo>
                  <a:lnTo>
                    <a:pt x="546" y="435"/>
                  </a:lnTo>
                  <a:lnTo>
                    <a:pt x="546" y="433"/>
                  </a:lnTo>
                  <a:close/>
                  <a:moveTo>
                    <a:pt x="548" y="435"/>
                  </a:moveTo>
                  <a:lnTo>
                    <a:pt x="546" y="435"/>
                  </a:lnTo>
                  <a:lnTo>
                    <a:pt x="548" y="433"/>
                  </a:lnTo>
                  <a:lnTo>
                    <a:pt x="548" y="435"/>
                  </a:lnTo>
                  <a:close/>
                  <a:moveTo>
                    <a:pt x="552" y="429"/>
                  </a:moveTo>
                  <a:lnTo>
                    <a:pt x="552" y="431"/>
                  </a:lnTo>
                  <a:lnTo>
                    <a:pt x="550" y="431"/>
                  </a:lnTo>
                  <a:lnTo>
                    <a:pt x="548" y="431"/>
                  </a:lnTo>
                  <a:lnTo>
                    <a:pt x="548" y="433"/>
                  </a:lnTo>
                  <a:lnTo>
                    <a:pt x="548" y="431"/>
                  </a:lnTo>
                  <a:lnTo>
                    <a:pt x="550" y="431"/>
                  </a:lnTo>
                  <a:lnTo>
                    <a:pt x="552" y="431"/>
                  </a:lnTo>
                  <a:lnTo>
                    <a:pt x="552" y="429"/>
                  </a:lnTo>
                  <a:close/>
                  <a:moveTo>
                    <a:pt x="564" y="425"/>
                  </a:moveTo>
                  <a:lnTo>
                    <a:pt x="562" y="425"/>
                  </a:lnTo>
                  <a:lnTo>
                    <a:pt x="562" y="427"/>
                  </a:lnTo>
                  <a:lnTo>
                    <a:pt x="560" y="427"/>
                  </a:lnTo>
                  <a:lnTo>
                    <a:pt x="558" y="427"/>
                  </a:lnTo>
                  <a:lnTo>
                    <a:pt x="556" y="427"/>
                  </a:lnTo>
                  <a:lnTo>
                    <a:pt x="556" y="429"/>
                  </a:lnTo>
                  <a:lnTo>
                    <a:pt x="554" y="429"/>
                  </a:lnTo>
                  <a:lnTo>
                    <a:pt x="554" y="431"/>
                  </a:lnTo>
                  <a:lnTo>
                    <a:pt x="552" y="431"/>
                  </a:lnTo>
                  <a:lnTo>
                    <a:pt x="552" y="433"/>
                  </a:lnTo>
                  <a:lnTo>
                    <a:pt x="550" y="433"/>
                  </a:lnTo>
                  <a:lnTo>
                    <a:pt x="548" y="433"/>
                  </a:lnTo>
                  <a:lnTo>
                    <a:pt x="550" y="433"/>
                  </a:lnTo>
                  <a:lnTo>
                    <a:pt x="550" y="431"/>
                  </a:lnTo>
                  <a:lnTo>
                    <a:pt x="552" y="431"/>
                  </a:lnTo>
                  <a:lnTo>
                    <a:pt x="552" y="429"/>
                  </a:lnTo>
                  <a:lnTo>
                    <a:pt x="554" y="429"/>
                  </a:lnTo>
                  <a:lnTo>
                    <a:pt x="554" y="427"/>
                  </a:lnTo>
                  <a:lnTo>
                    <a:pt x="556" y="427"/>
                  </a:lnTo>
                  <a:lnTo>
                    <a:pt x="558" y="427"/>
                  </a:lnTo>
                  <a:lnTo>
                    <a:pt x="560" y="425"/>
                  </a:lnTo>
                  <a:lnTo>
                    <a:pt x="562" y="425"/>
                  </a:lnTo>
                  <a:lnTo>
                    <a:pt x="564" y="425"/>
                  </a:lnTo>
                  <a:close/>
                  <a:moveTo>
                    <a:pt x="560" y="423"/>
                  </a:moveTo>
                  <a:lnTo>
                    <a:pt x="562" y="423"/>
                  </a:lnTo>
                  <a:lnTo>
                    <a:pt x="562" y="425"/>
                  </a:lnTo>
                  <a:lnTo>
                    <a:pt x="560" y="425"/>
                  </a:lnTo>
                  <a:lnTo>
                    <a:pt x="558" y="427"/>
                  </a:lnTo>
                  <a:lnTo>
                    <a:pt x="556" y="427"/>
                  </a:lnTo>
                  <a:lnTo>
                    <a:pt x="554" y="427"/>
                  </a:lnTo>
                  <a:lnTo>
                    <a:pt x="554" y="429"/>
                  </a:lnTo>
                  <a:lnTo>
                    <a:pt x="552" y="429"/>
                  </a:lnTo>
                  <a:lnTo>
                    <a:pt x="554" y="429"/>
                  </a:lnTo>
                  <a:lnTo>
                    <a:pt x="554" y="427"/>
                  </a:lnTo>
                  <a:lnTo>
                    <a:pt x="556" y="427"/>
                  </a:lnTo>
                  <a:lnTo>
                    <a:pt x="558" y="427"/>
                  </a:lnTo>
                  <a:lnTo>
                    <a:pt x="558" y="425"/>
                  </a:lnTo>
                  <a:lnTo>
                    <a:pt x="560" y="425"/>
                  </a:lnTo>
                  <a:lnTo>
                    <a:pt x="560" y="423"/>
                  </a:lnTo>
                  <a:close/>
                  <a:moveTo>
                    <a:pt x="564" y="423"/>
                  </a:moveTo>
                  <a:lnTo>
                    <a:pt x="564" y="425"/>
                  </a:lnTo>
                  <a:lnTo>
                    <a:pt x="564" y="423"/>
                  </a:lnTo>
                  <a:lnTo>
                    <a:pt x="566" y="423"/>
                  </a:lnTo>
                  <a:lnTo>
                    <a:pt x="564" y="423"/>
                  </a:lnTo>
                  <a:close/>
                  <a:moveTo>
                    <a:pt x="550" y="423"/>
                  </a:moveTo>
                  <a:lnTo>
                    <a:pt x="550" y="423"/>
                  </a:lnTo>
                  <a:lnTo>
                    <a:pt x="550" y="423"/>
                  </a:lnTo>
                  <a:close/>
                  <a:moveTo>
                    <a:pt x="550" y="423"/>
                  </a:moveTo>
                  <a:lnTo>
                    <a:pt x="552" y="423"/>
                  </a:lnTo>
                  <a:lnTo>
                    <a:pt x="552" y="421"/>
                  </a:lnTo>
                  <a:lnTo>
                    <a:pt x="552" y="423"/>
                  </a:lnTo>
                  <a:lnTo>
                    <a:pt x="550" y="423"/>
                  </a:lnTo>
                  <a:close/>
                  <a:moveTo>
                    <a:pt x="554" y="419"/>
                  </a:moveTo>
                  <a:lnTo>
                    <a:pt x="552" y="419"/>
                  </a:lnTo>
                  <a:lnTo>
                    <a:pt x="554" y="419"/>
                  </a:lnTo>
                  <a:close/>
                  <a:moveTo>
                    <a:pt x="554" y="419"/>
                  </a:moveTo>
                  <a:lnTo>
                    <a:pt x="554" y="417"/>
                  </a:lnTo>
                  <a:lnTo>
                    <a:pt x="554" y="419"/>
                  </a:lnTo>
                  <a:close/>
                  <a:moveTo>
                    <a:pt x="554" y="417"/>
                  </a:moveTo>
                  <a:lnTo>
                    <a:pt x="554" y="415"/>
                  </a:lnTo>
                  <a:lnTo>
                    <a:pt x="554" y="417"/>
                  </a:lnTo>
                  <a:close/>
                  <a:moveTo>
                    <a:pt x="538" y="413"/>
                  </a:moveTo>
                  <a:lnTo>
                    <a:pt x="540" y="413"/>
                  </a:lnTo>
                  <a:lnTo>
                    <a:pt x="538" y="413"/>
                  </a:lnTo>
                  <a:lnTo>
                    <a:pt x="538" y="415"/>
                  </a:lnTo>
                  <a:lnTo>
                    <a:pt x="538" y="413"/>
                  </a:lnTo>
                  <a:close/>
                  <a:moveTo>
                    <a:pt x="552" y="413"/>
                  </a:moveTo>
                  <a:lnTo>
                    <a:pt x="554" y="413"/>
                  </a:lnTo>
                  <a:lnTo>
                    <a:pt x="552" y="413"/>
                  </a:lnTo>
                  <a:close/>
                  <a:moveTo>
                    <a:pt x="552" y="413"/>
                  </a:moveTo>
                  <a:lnTo>
                    <a:pt x="554" y="413"/>
                  </a:lnTo>
                  <a:lnTo>
                    <a:pt x="552" y="413"/>
                  </a:lnTo>
                  <a:close/>
                  <a:moveTo>
                    <a:pt x="552" y="413"/>
                  </a:moveTo>
                  <a:lnTo>
                    <a:pt x="552" y="411"/>
                  </a:lnTo>
                  <a:lnTo>
                    <a:pt x="554" y="411"/>
                  </a:lnTo>
                  <a:lnTo>
                    <a:pt x="552" y="413"/>
                  </a:lnTo>
                  <a:close/>
                  <a:moveTo>
                    <a:pt x="536" y="409"/>
                  </a:moveTo>
                  <a:lnTo>
                    <a:pt x="536" y="411"/>
                  </a:lnTo>
                  <a:lnTo>
                    <a:pt x="536" y="409"/>
                  </a:lnTo>
                  <a:lnTo>
                    <a:pt x="536" y="411"/>
                  </a:lnTo>
                  <a:lnTo>
                    <a:pt x="536" y="409"/>
                  </a:lnTo>
                  <a:lnTo>
                    <a:pt x="536" y="411"/>
                  </a:lnTo>
                  <a:lnTo>
                    <a:pt x="536" y="409"/>
                  </a:lnTo>
                  <a:lnTo>
                    <a:pt x="536" y="411"/>
                  </a:lnTo>
                  <a:lnTo>
                    <a:pt x="536" y="409"/>
                  </a:lnTo>
                  <a:close/>
                  <a:moveTo>
                    <a:pt x="596" y="403"/>
                  </a:moveTo>
                  <a:lnTo>
                    <a:pt x="596" y="401"/>
                  </a:lnTo>
                  <a:lnTo>
                    <a:pt x="596" y="403"/>
                  </a:lnTo>
                  <a:close/>
                  <a:moveTo>
                    <a:pt x="598" y="401"/>
                  </a:moveTo>
                  <a:lnTo>
                    <a:pt x="596" y="401"/>
                  </a:lnTo>
                  <a:lnTo>
                    <a:pt x="598" y="401"/>
                  </a:lnTo>
                  <a:close/>
                  <a:moveTo>
                    <a:pt x="596" y="401"/>
                  </a:moveTo>
                  <a:lnTo>
                    <a:pt x="594" y="401"/>
                  </a:lnTo>
                  <a:lnTo>
                    <a:pt x="594" y="399"/>
                  </a:lnTo>
                  <a:lnTo>
                    <a:pt x="596" y="399"/>
                  </a:lnTo>
                  <a:lnTo>
                    <a:pt x="596" y="401"/>
                  </a:lnTo>
                  <a:close/>
                  <a:moveTo>
                    <a:pt x="592" y="199"/>
                  </a:moveTo>
                  <a:lnTo>
                    <a:pt x="592" y="201"/>
                  </a:lnTo>
                  <a:lnTo>
                    <a:pt x="592" y="199"/>
                  </a:lnTo>
                  <a:close/>
                  <a:moveTo>
                    <a:pt x="562" y="189"/>
                  </a:moveTo>
                  <a:lnTo>
                    <a:pt x="560" y="189"/>
                  </a:lnTo>
                  <a:lnTo>
                    <a:pt x="562" y="189"/>
                  </a:lnTo>
                  <a:close/>
                  <a:moveTo>
                    <a:pt x="544" y="417"/>
                  </a:moveTo>
                  <a:lnTo>
                    <a:pt x="544" y="415"/>
                  </a:lnTo>
                  <a:lnTo>
                    <a:pt x="542" y="415"/>
                  </a:lnTo>
                  <a:lnTo>
                    <a:pt x="540" y="415"/>
                  </a:lnTo>
                  <a:lnTo>
                    <a:pt x="540" y="413"/>
                  </a:lnTo>
                  <a:lnTo>
                    <a:pt x="542" y="413"/>
                  </a:lnTo>
                  <a:lnTo>
                    <a:pt x="540" y="413"/>
                  </a:lnTo>
                  <a:lnTo>
                    <a:pt x="542" y="413"/>
                  </a:lnTo>
                  <a:lnTo>
                    <a:pt x="540" y="413"/>
                  </a:lnTo>
                  <a:lnTo>
                    <a:pt x="540" y="415"/>
                  </a:lnTo>
                  <a:lnTo>
                    <a:pt x="540" y="413"/>
                  </a:lnTo>
                  <a:lnTo>
                    <a:pt x="540" y="415"/>
                  </a:lnTo>
                  <a:lnTo>
                    <a:pt x="540" y="413"/>
                  </a:lnTo>
                  <a:lnTo>
                    <a:pt x="540" y="415"/>
                  </a:lnTo>
                  <a:lnTo>
                    <a:pt x="540" y="413"/>
                  </a:lnTo>
                  <a:lnTo>
                    <a:pt x="538" y="413"/>
                  </a:lnTo>
                  <a:lnTo>
                    <a:pt x="540" y="413"/>
                  </a:lnTo>
                  <a:lnTo>
                    <a:pt x="538" y="411"/>
                  </a:lnTo>
                  <a:lnTo>
                    <a:pt x="538" y="413"/>
                  </a:lnTo>
                  <a:lnTo>
                    <a:pt x="538" y="411"/>
                  </a:lnTo>
                  <a:lnTo>
                    <a:pt x="538" y="413"/>
                  </a:lnTo>
                  <a:lnTo>
                    <a:pt x="538" y="411"/>
                  </a:lnTo>
                  <a:lnTo>
                    <a:pt x="538" y="409"/>
                  </a:lnTo>
                  <a:lnTo>
                    <a:pt x="538" y="411"/>
                  </a:lnTo>
                  <a:lnTo>
                    <a:pt x="538" y="409"/>
                  </a:lnTo>
                  <a:lnTo>
                    <a:pt x="538" y="411"/>
                  </a:lnTo>
                  <a:lnTo>
                    <a:pt x="536" y="411"/>
                  </a:lnTo>
                  <a:lnTo>
                    <a:pt x="536" y="409"/>
                  </a:lnTo>
                  <a:lnTo>
                    <a:pt x="538" y="409"/>
                  </a:lnTo>
                  <a:lnTo>
                    <a:pt x="536" y="409"/>
                  </a:lnTo>
                  <a:lnTo>
                    <a:pt x="536" y="411"/>
                  </a:lnTo>
                  <a:lnTo>
                    <a:pt x="536" y="409"/>
                  </a:lnTo>
                  <a:lnTo>
                    <a:pt x="538" y="409"/>
                  </a:lnTo>
                  <a:lnTo>
                    <a:pt x="536" y="409"/>
                  </a:lnTo>
                  <a:lnTo>
                    <a:pt x="536" y="407"/>
                  </a:lnTo>
                  <a:lnTo>
                    <a:pt x="536" y="409"/>
                  </a:lnTo>
                  <a:lnTo>
                    <a:pt x="538" y="409"/>
                  </a:lnTo>
                  <a:lnTo>
                    <a:pt x="536" y="409"/>
                  </a:lnTo>
                  <a:lnTo>
                    <a:pt x="538" y="409"/>
                  </a:lnTo>
                  <a:lnTo>
                    <a:pt x="536" y="409"/>
                  </a:lnTo>
                  <a:lnTo>
                    <a:pt x="536" y="411"/>
                  </a:lnTo>
                  <a:lnTo>
                    <a:pt x="538" y="411"/>
                  </a:lnTo>
                  <a:lnTo>
                    <a:pt x="538" y="413"/>
                  </a:lnTo>
                  <a:lnTo>
                    <a:pt x="538" y="415"/>
                  </a:lnTo>
                  <a:lnTo>
                    <a:pt x="540" y="415"/>
                  </a:lnTo>
                  <a:lnTo>
                    <a:pt x="542" y="415"/>
                  </a:lnTo>
                  <a:lnTo>
                    <a:pt x="542" y="417"/>
                  </a:lnTo>
                  <a:lnTo>
                    <a:pt x="540" y="417"/>
                  </a:lnTo>
                  <a:lnTo>
                    <a:pt x="540" y="419"/>
                  </a:lnTo>
                  <a:lnTo>
                    <a:pt x="540" y="421"/>
                  </a:lnTo>
                  <a:lnTo>
                    <a:pt x="540" y="423"/>
                  </a:lnTo>
                  <a:lnTo>
                    <a:pt x="538" y="423"/>
                  </a:lnTo>
                  <a:lnTo>
                    <a:pt x="540" y="423"/>
                  </a:lnTo>
                  <a:lnTo>
                    <a:pt x="538" y="423"/>
                  </a:lnTo>
                  <a:lnTo>
                    <a:pt x="540" y="423"/>
                  </a:lnTo>
                  <a:lnTo>
                    <a:pt x="540" y="423"/>
                  </a:lnTo>
                  <a:lnTo>
                    <a:pt x="542" y="423"/>
                  </a:lnTo>
                  <a:lnTo>
                    <a:pt x="542" y="425"/>
                  </a:lnTo>
                  <a:lnTo>
                    <a:pt x="544" y="425"/>
                  </a:lnTo>
                  <a:lnTo>
                    <a:pt x="544" y="427"/>
                  </a:lnTo>
                  <a:lnTo>
                    <a:pt x="544" y="425"/>
                  </a:lnTo>
                  <a:lnTo>
                    <a:pt x="542" y="425"/>
                  </a:lnTo>
                  <a:lnTo>
                    <a:pt x="542" y="427"/>
                  </a:lnTo>
                  <a:lnTo>
                    <a:pt x="544" y="427"/>
                  </a:lnTo>
                  <a:lnTo>
                    <a:pt x="544" y="429"/>
                  </a:lnTo>
                  <a:lnTo>
                    <a:pt x="544" y="429"/>
                  </a:lnTo>
                  <a:lnTo>
                    <a:pt x="544" y="431"/>
                  </a:lnTo>
                  <a:lnTo>
                    <a:pt x="546" y="433"/>
                  </a:lnTo>
                  <a:lnTo>
                    <a:pt x="548" y="433"/>
                  </a:lnTo>
                  <a:lnTo>
                    <a:pt x="546" y="433"/>
                  </a:lnTo>
                  <a:lnTo>
                    <a:pt x="544" y="431"/>
                  </a:lnTo>
                  <a:lnTo>
                    <a:pt x="544" y="431"/>
                  </a:lnTo>
                  <a:lnTo>
                    <a:pt x="544" y="431"/>
                  </a:lnTo>
                  <a:lnTo>
                    <a:pt x="544" y="431"/>
                  </a:lnTo>
                  <a:lnTo>
                    <a:pt x="544" y="431"/>
                  </a:lnTo>
                  <a:lnTo>
                    <a:pt x="544" y="433"/>
                  </a:lnTo>
                  <a:lnTo>
                    <a:pt x="544" y="433"/>
                  </a:lnTo>
                  <a:lnTo>
                    <a:pt x="544" y="433"/>
                  </a:lnTo>
                  <a:lnTo>
                    <a:pt x="544" y="431"/>
                  </a:lnTo>
                  <a:lnTo>
                    <a:pt x="544" y="433"/>
                  </a:lnTo>
                  <a:lnTo>
                    <a:pt x="544" y="433"/>
                  </a:lnTo>
                  <a:lnTo>
                    <a:pt x="544" y="435"/>
                  </a:lnTo>
                  <a:lnTo>
                    <a:pt x="544" y="437"/>
                  </a:lnTo>
                  <a:lnTo>
                    <a:pt x="544" y="435"/>
                  </a:lnTo>
                  <a:lnTo>
                    <a:pt x="542" y="435"/>
                  </a:lnTo>
                  <a:lnTo>
                    <a:pt x="542" y="437"/>
                  </a:lnTo>
                  <a:lnTo>
                    <a:pt x="540" y="437"/>
                  </a:lnTo>
                  <a:lnTo>
                    <a:pt x="542" y="437"/>
                  </a:lnTo>
                  <a:lnTo>
                    <a:pt x="540" y="437"/>
                  </a:lnTo>
                  <a:lnTo>
                    <a:pt x="540" y="439"/>
                  </a:lnTo>
                  <a:lnTo>
                    <a:pt x="538" y="439"/>
                  </a:lnTo>
                  <a:lnTo>
                    <a:pt x="540" y="439"/>
                  </a:lnTo>
                  <a:lnTo>
                    <a:pt x="538" y="439"/>
                  </a:lnTo>
                  <a:lnTo>
                    <a:pt x="538" y="441"/>
                  </a:lnTo>
                  <a:lnTo>
                    <a:pt x="536" y="441"/>
                  </a:lnTo>
                  <a:lnTo>
                    <a:pt x="536" y="443"/>
                  </a:lnTo>
                  <a:lnTo>
                    <a:pt x="536" y="441"/>
                  </a:lnTo>
                  <a:lnTo>
                    <a:pt x="538" y="441"/>
                  </a:lnTo>
                  <a:lnTo>
                    <a:pt x="536" y="441"/>
                  </a:lnTo>
                  <a:lnTo>
                    <a:pt x="536" y="443"/>
                  </a:lnTo>
                  <a:lnTo>
                    <a:pt x="534" y="443"/>
                  </a:lnTo>
                  <a:lnTo>
                    <a:pt x="532" y="443"/>
                  </a:lnTo>
                  <a:lnTo>
                    <a:pt x="534" y="443"/>
                  </a:lnTo>
                  <a:lnTo>
                    <a:pt x="532" y="441"/>
                  </a:lnTo>
                  <a:lnTo>
                    <a:pt x="532" y="443"/>
                  </a:lnTo>
                  <a:lnTo>
                    <a:pt x="532" y="441"/>
                  </a:lnTo>
                  <a:lnTo>
                    <a:pt x="530" y="441"/>
                  </a:lnTo>
                  <a:lnTo>
                    <a:pt x="528" y="441"/>
                  </a:lnTo>
                  <a:lnTo>
                    <a:pt x="530" y="441"/>
                  </a:lnTo>
                  <a:lnTo>
                    <a:pt x="530" y="443"/>
                  </a:lnTo>
                  <a:lnTo>
                    <a:pt x="530" y="441"/>
                  </a:lnTo>
                  <a:lnTo>
                    <a:pt x="530" y="443"/>
                  </a:lnTo>
                  <a:lnTo>
                    <a:pt x="532" y="443"/>
                  </a:lnTo>
                  <a:lnTo>
                    <a:pt x="530" y="443"/>
                  </a:lnTo>
                  <a:lnTo>
                    <a:pt x="530" y="445"/>
                  </a:lnTo>
                  <a:lnTo>
                    <a:pt x="530" y="447"/>
                  </a:lnTo>
                  <a:lnTo>
                    <a:pt x="528" y="447"/>
                  </a:lnTo>
                  <a:lnTo>
                    <a:pt x="528" y="449"/>
                  </a:lnTo>
                  <a:lnTo>
                    <a:pt x="526" y="449"/>
                  </a:lnTo>
                  <a:lnTo>
                    <a:pt x="526" y="452"/>
                  </a:lnTo>
                  <a:lnTo>
                    <a:pt x="526" y="454"/>
                  </a:lnTo>
                  <a:lnTo>
                    <a:pt x="524" y="454"/>
                  </a:lnTo>
                  <a:lnTo>
                    <a:pt x="524" y="456"/>
                  </a:lnTo>
                  <a:lnTo>
                    <a:pt x="522" y="456"/>
                  </a:lnTo>
                  <a:lnTo>
                    <a:pt x="524" y="456"/>
                  </a:lnTo>
                  <a:lnTo>
                    <a:pt x="522" y="456"/>
                  </a:lnTo>
                  <a:lnTo>
                    <a:pt x="522" y="458"/>
                  </a:lnTo>
                  <a:lnTo>
                    <a:pt x="520" y="458"/>
                  </a:lnTo>
                  <a:lnTo>
                    <a:pt x="520" y="460"/>
                  </a:lnTo>
                  <a:lnTo>
                    <a:pt x="520" y="458"/>
                  </a:lnTo>
                  <a:lnTo>
                    <a:pt x="520" y="460"/>
                  </a:lnTo>
                  <a:lnTo>
                    <a:pt x="520" y="458"/>
                  </a:lnTo>
                  <a:lnTo>
                    <a:pt x="520" y="460"/>
                  </a:lnTo>
                  <a:lnTo>
                    <a:pt x="518" y="460"/>
                  </a:lnTo>
                  <a:lnTo>
                    <a:pt x="518" y="462"/>
                  </a:lnTo>
                  <a:lnTo>
                    <a:pt x="518" y="460"/>
                  </a:lnTo>
                  <a:lnTo>
                    <a:pt x="518" y="462"/>
                  </a:lnTo>
                  <a:lnTo>
                    <a:pt x="518" y="460"/>
                  </a:lnTo>
                  <a:lnTo>
                    <a:pt x="518" y="462"/>
                  </a:lnTo>
                  <a:lnTo>
                    <a:pt x="518" y="460"/>
                  </a:lnTo>
                  <a:lnTo>
                    <a:pt x="518" y="462"/>
                  </a:lnTo>
                  <a:lnTo>
                    <a:pt x="516" y="462"/>
                  </a:lnTo>
                  <a:lnTo>
                    <a:pt x="518" y="462"/>
                  </a:lnTo>
                  <a:lnTo>
                    <a:pt x="516" y="462"/>
                  </a:lnTo>
                  <a:lnTo>
                    <a:pt x="518" y="462"/>
                  </a:lnTo>
                  <a:lnTo>
                    <a:pt x="516" y="462"/>
                  </a:lnTo>
                  <a:lnTo>
                    <a:pt x="518" y="462"/>
                  </a:lnTo>
                  <a:lnTo>
                    <a:pt x="516" y="462"/>
                  </a:lnTo>
                  <a:lnTo>
                    <a:pt x="514" y="462"/>
                  </a:lnTo>
                  <a:lnTo>
                    <a:pt x="516" y="462"/>
                  </a:lnTo>
                  <a:lnTo>
                    <a:pt x="516" y="460"/>
                  </a:lnTo>
                  <a:lnTo>
                    <a:pt x="518" y="460"/>
                  </a:lnTo>
                  <a:lnTo>
                    <a:pt x="516" y="460"/>
                  </a:lnTo>
                  <a:lnTo>
                    <a:pt x="516" y="462"/>
                  </a:lnTo>
                  <a:lnTo>
                    <a:pt x="514" y="462"/>
                  </a:lnTo>
                  <a:lnTo>
                    <a:pt x="512" y="462"/>
                  </a:lnTo>
                  <a:lnTo>
                    <a:pt x="510" y="462"/>
                  </a:lnTo>
                  <a:lnTo>
                    <a:pt x="510" y="464"/>
                  </a:lnTo>
                  <a:lnTo>
                    <a:pt x="508" y="464"/>
                  </a:lnTo>
                  <a:lnTo>
                    <a:pt x="508" y="466"/>
                  </a:lnTo>
                  <a:lnTo>
                    <a:pt x="506" y="466"/>
                  </a:lnTo>
                  <a:lnTo>
                    <a:pt x="504" y="466"/>
                  </a:lnTo>
                  <a:lnTo>
                    <a:pt x="504" y="468"/>
                  </a:lnTo>
                  <a:lnTo>
                    <a:pt x="504" y="466"/>
                  </a:lnTo>
                  <a:lnTo>
                    <a:pt x="504" y="468"/>
                  </a:lnTo>
                  <a:lnTo>
                    <a:pt x="504" y="466"/>
                  </a:lnTo>
                  <a:lnTo>
                    <a:pt x="502" y="466"/>
                  </a:lnTo>
                  <a:lnTo>
                    <a:pt x="502" y="468"/>
                  </a:lnTo>
                  <a:lnTo>
                    <a:pt x="502" y="466"/>
                  </a:lnTo>
                  <a:lnTo>
                    <a:pt x="502" y="468"/>
                  </a:lnTo>
                  <a:lnTo>
                    <a:pt x="500" y="468"/>
                  </a:lnTo>
                  <a:lnTo>
                    <a:pt x="498" y="468"/>
                  </a:lnTo>
                  <a:lnTo>
                    <a:pt x="496" y="468"/>
                  </a:lnTo>
                  <a:lnTo>
                    <a:pt x="496" y="468"/>
                  </a:lnTo>
                  <a:lnTo>
                    <a:pt x="494" y="468"/>
                  </a:lnTo>
                  <a:lnTo>
                    <a:pt x="492" y="468"/>
                  </a:lnTo>
                  <a:lnTo>
                    <a:pt x="492" y="470"/>
                  </a:lnTo>
                  <a:lnTo>
                    <a:pt x="490" y="470"/>
                  </a:lnTo>
                  <a:lnTo>
                    <a:pt x="488" y="470"/>
                  </a:lnTo>
                  <a:lnTo>
                    <a:pt x="490" y="470"/>
                  </a:lnTo>
                  <a:lnTo>
                    <a:pt x="488" y="470"/>
                  </a:lnTo>
                  <a:lnTo>
                    <a:pt x="488" y="472"/>
                  </a:lnTo>
                  <a:lnTo>
                    <a:pt x="486" y="472"/>
                  </a:lnTo>
                  <a:lnTo>
                    <a:pt x="484" y="472"/>
                  </a:lnTo>
                  <a:lnTo>
                    <a:pt x="484" y="472"/>
                  </a:lnTo>
                  <a:lnTo>
                    <a:pt x="482" y="472"/>
                  </a:lnTo>
                  <a:lnTo>
                    <a:pt x="480" y="472"/>
                  </a:lnTo>
                  <a:lnTo>
                    <a:pt x="478" y="472"/>
                  </a:lnTo>
                  <a:lnTo>
                    <a:pt x="478" y="474"/>
                  </a:lnTo>
                  <a:lnTo>
                    <a:pt x="476" y="474"/>
                  </a:lnTo>
                  <a:lnTo>
                    <a:pt x="474" y="474"/>
                  </a:lnTo>
                  <a:lnTo>
                    <a:pt x="476" y="474"/>
                  </a:lnTo>
                  <a:lnTo>
                    <a:pt x="476" y="472"/>
                  </a:lnTo>
                  <a:lnTo>
                    <a:pt x="474" y="474"/>
                  </a:lnTo>
                  <a:lnTo>
                    <a:pt x="474" y="472"/>
                  </a:lnTo>
                  <a:lnTo>
                    <a:pt x="476" y="472"/>
                  </a:lnTo>
                  <a:lnTo>
                    <a:pt x="476" y="472"/>
                  </a:lnTo>
                  <a:lnTo>
                    <a:pt x="474" y="472"/>
                  </a:lnTo>
                  <a:lnTo>
                    <a:pt x="476" y="472"/>
                  </a:lnTo>
                  <a:lnTo>
                    <a:pt x="476" y="470"/>
                  </a:lnTo>
                  <a:lnTo>
                    <a:pt x="476" y="472"/>
                  </a:lnTo>
                  <a:lnTo>
                    <a:pt x="476" y="470"/>
                  </a:lnTo>
                  <a:lnTo>
                    <a:pt x="478" y="470"/>
                  </a:lnTo>
                  <a:lnTo>
                    <a:pt x="478" y="468"/>
                  </a:lnTo>
                  <a:lnTo>
                    <a:pt x="478" y="466"/>
                  </a:lnTo>
                  <a:lnTo>
                    <a:pt x="480" y="466"/>
                  </a:lnTo>
                  <a:lnTo>
                    <a:pt x="478" y="466"/>
                  </a:lnTo>
                  <a:lnTo>
                    <a:pt x="476" y="466"/>
                  </a:lnTo>
                  <a:lnTo>
                    <a:pt x="476" y="468"/>
                  </a:lnTo>
                  <a:lnTo>
                    <a:pt x="476" y="470"/>
                  </a:lnTo>
                  <a:lnTo>
                    <a:pt x="476" y="468"/>
                  </a:lnTo>
                  <a:lnTo>
                    <a:pt x="476" y="470"/>
                  </a:lnTo>
                  <a:lnTo>
                    <a:pt x="476" y="468"/>
                  </a:lnTo>
                  <a:lnTo>
                    <a:pt x="476" y="470"/>
                  </a:lnTo>
                  <a:lnTo>
                    <a:pt x="476" y="468"/>
                  </a:lnTo>
                  <a:lnTo>
                    <a:pt x="476" y="470"/>
                  </a:lnTo>
                  <a:lnTo>
                    <a:pt x="476" y="468"/>
                  </a:lnTo>
                  <a:lnTo>
                    <a:pt x="476" y="470"/>
                  </a:lnTo>
                  <a:lnTo>
                    <a:pt x="474" y="470"/>
                  </a:lnTo>
                  <a:lnTo>
                    <a:pt x="472" y="470"/>
                  </a:lnTo>
                  <a:lnTo>
                    <a:pt x="474" y="470"/>
                  </a:lnTo>
                  <a:lnTo>
                    <a:pt x="474" y="468"/>
                  </a:lnTo>
                  <a:lnTo>
                    <a:pt x="472" y="468"/>
                  </a:lnTo>
                  <a:lnTo>
                    <a:pt x="474" y="468"/>
                  </a:lnTo>
                  <a:lnTo>
                    <a:pt x="474" y="470"/>
                  </a:lnTo>
                  <a:lnTo>
                    <a:pt x="472" y="470"/>
                  </a:lnTo>
                  <a:lnTo>
                    <a:pt x="472" y="472"/>
                  </a:lnTo>
                  <a:lnTo>
                    <a:pt x="470" y="472"/>
                  </a:lnTo>
                  <a:lnTo>
                    <a:pt x="468" y="472"/>
                  </a:lnTo>
                  <a:lnTo>
                    <a:pt x="468" y="470"/>
                  </a:lnTo>
                  <a:lnTo>
                    <a:pt x="466" y="470"/>
                  </a:lnTo>
                  <a:lnTo>
                    <a:pt x="470" y="470"/>
                  </a:lnTo>
                  <a:lnTo>
                    <a:pt x="466" y="470"/>
                  </a:lnTo>
                  <a:lnTo>
                    <a:pt x="466" y="468"/>
                  </a:lnTo>
                  <a:lnTo>
                    <a:pt x="468" y="468"/>
                  </a:lnTo>
                  <a:lnTo>
                    <a:pt x="466" y="468"/>
                  </a:lnTo>
                  <a:lnTo>
                    <a:pt x="468" y="468"/>
                  </a:lnTo>
                  <a:lnTo>
                    <a:pt x="468" y="466"/>
                  </a:lnTo>
                  <a:lnTo>
                    <a:pt x="466" y="466"/>
                  </a:lnTo>
                  <a:lnTo>
                    <a:pt x="466" y="468"/>
                  </a:lnTo>
                  <a:lnTo>
                    <a:pt x="464" y="468"/>
                  </a:lnTo>
                  <a:lnTo>
                    <a:pt x="464" y="466"/>
                  </a:lnTo>
                  <a:lnTo>
                    <a:pt x="464" y="468"/>
                  </a:lnTo>
                  <a:lnTo>
                    <a:pt x="464" y="466"/>
                  </a:lnTo>
                  <a:lnTo>
                    <a:pt x="466" y="466"/>
                  </a:lnTo>
                  <a:lnTo>
                    <a:pt x="464" y="466"/>
                  </a:lnTo>
                  <a:lnTo>
                    <a:pt x="464" y="464"/>
                  </a:lnTo>
                  <a:lnTo>
                    <a:pt x="464" y="466"/>
                  </a:lnTo>
                  <a:lnTo>
                    <a:pt x="464" y="464"/>
                  </a:lnTo>
                  <a:lnTo>
                    <a:pt x="466" y="464"/>
                  </a:lnTo>
                  <a:lnTo>
                    <a:pt x="464" y="464"/>
                  </a:lnTo>
                  <a:lnTo>
                    <a:pt x="464" y="466"/>
                  </a:lnTo>
                  <a:lnTo>
                    <a:pt x="464" y="468"/>
                  </a:lnTo>
                  <a:lnTo>
                    <a:pt x="466" y="468"/>
                  </a:lnTo>
                  <a:lnTo>
                    <a:pt x="466" y="466"/>
                  </a:lnTo>
                  <a:lnTo>
                    <a:pt x="466" y="468"/>
                  </a:lnTo>
                  <a:lnTo>
                    <a:pt x="466" y="470"/>
                  </a:lnTo>
                  <a:lnTo>
                    <a:pt x="466" y="472"/>
                  </a:lnTo>
                  <a:lnTo>
                    <a:pt x="468" y="472"/>
                  </a:lnTo>
                  <a:lnTo>
                    <a:pt x="466" y="472"/>
                  </a:lnTo>
                  <a:lnTo>
                    <a:pt x="464" y="472"/>
                  </a:lnTo>
                  <a:lnTo>
                    <a:pt x="462" y="472"/>
                  </a:lnTo>
                  <a:lnTo>
                    <a:pt x="462" y="474"/>
                  </a:lnTo>
                  <a:lnTo>
                    <a:pt x="462" y="472"/>
                  </a:lnTo>
                  <a:lnTo>
                    <a:pt x="464" y="472"/>
                  </a:lnTo>
                  <a:lnTo>
                    <a:pt x="462" y="472"/>
                  </a:lnTo>
                  <a:lnTo>
                    <a:pt x="464" y="472"/>
                  </a:lnTo>
                  <a:lnTo>
                    <a:pt x="464" y="472"/>
                  </a:lnTo>
                  <a:lnTo>
                    <a:pt x="462" y="472"/>
                  </a:lnTo>
                  <a:lnTo>
                    <a:pt x="464" y="472"/>
                  </a:lnTo>
                  <a:lnTo>
                    <a:pt x="462" y="472"/>
                  </a:lnTo>
                  <a:lnTo>
                    <a:pt x="462" y="470"/>
                  </a:lnTo>
                  <a:lnTo>
                    <a:pt x="464" y="470"/>
                  </a:lnTo>
                  <a:lnTo>
                    <a:pt x="462" y="470"/>
                  </a:lnTo>
                  <a:lnTo>
                    <a:pt x="462" y="472"/>
                  </a:lnTo>
                  <a:lnTo>
                    <a:pt x="462" y="472"/>
                  </a:lnTo>
                  <a:lnTo>
                    <a:pt x="462" y="472"/>
                  </a:lnTo>
                  <a:lnTo>
                    <a:pt x="460" y="472"/>
                  </a:lnTo>
                  <a:lnTo>
                    <a:pt x="462" y="472"/>
                  </a:lnTo>
                  <a:lnTo>
                    <a:pt x="460" y="472"/>
                  </a:lnTo>
                  <a:lnTo>
                    <a:pt x="460" y="470"/>
                  </a:lnTo>
                  <a:lnTo>
                    <a:pt x="460" y="468"/>
                  </a:lnTo>
                  <a:lnTo>
                    <a:pt x="460" y="470"/>
                  </a:lnTo>
                  <a:lnTo>
                    <a:pt x="460" y="472"/>
                  </a:lnTo>
                  <a:lnTo>
                    <a:pt x="458" y="470"/>
                  </a:lnTo>
                  <a:lnTo>
                    <a:pt x="458" y="472"/>
                  </a:lnTo>
                  <a:lnTo>
                    <a:pt x="458" y="470"/>
                  </a:lnTo>
                  <a:lnTo>
                    <a:pt x="456" y="470"/>
                  </a:lnTo>
                  <a:lnTo>
                    <a:pt x="458" y="470"/>
                  </a:lnTo>
                  <a:lnTo>
                    <a:pt x="458" y="468"/>
                  </a:lnTo>
                  <a:lnTo>
                    <a:pt x="458" y="466"/>
                  </a:lnTo>
                  <a:lnTo>
                    <a:pt x="458" y="468"/>
                  </a:lnTo>
                  <a:lnTo>
                    <a:pt x="456" y="468"/>
                  </a:lnTo>
                  <a:lnTo>
                    <a:pt x="458" y="468"/>
                  </a:lnTo>
                  <a:lnTo>
                    <a:pt x="458" y="466"/>
                  </a:lnTo>
                  <a:lnTo>
                    <a:pt x="456" y="466"/>
                  </a:lnTo>
                  <a:lnTo>
                    <a:pt x="454" y="466"/>
                  </a:lnTo>
                  <a:lnTo>
                    <a:pt x="452" y="468"/>
                  </a:lnTo>
                  <a:lnTo>
                    <a:pt x="454" y="468"/>
                  </a:lnTo>
                  <a:lnTo>
                    <a:pt x="454" y="470"/>
                  </a:lnTo>
                  <a:lnTo>
                    <a:pt x="456" y="470"/>
                  </a:lnTo>
                  <a:lnTo>
                    <a:pt x="456" y="472"/>
                  </a:lnTo>
                  <a:lnTo>
                    <a:pt x="454" y="472"/>
                  </a:lnTo>
                  <a:lnTo>
                    <a:pt x="454" y="472"/>
                  </a:lnTo>
                  <a:lnTo>
                    <a:pt x="454" y="474"/>
                  </a:lnTo>
                  <a:lnTo>
                    <a:pt x="454" y="472"/>
                  </a:lnTo>
                  <a:lnTo>
                    <a:pt x="454" y="474"/>
                  </a:lnTo>
                  <a:lnTo>
                    <a:pt x="456" y="472"/>
                  </a:lnTo>
                  <a:lnTo>
                    <a:pt x="456" y="474"/>
                  </a:lnTo>
                  <a:lnTo>
                    <a:pt x="456" y="472"/>
                  </a:lnTo>
                  <a:lnTo>
                    <a:pt x="456" y="474"/>
                  </a:lnTo>
                  <a:lnTo>
                    <a:pt x="456" y="472"/>
                  </a:lnTo>
                  <a:lnTo>
                    <a:pt x="454" y="472"/>
                  </a:lnTo>
                  <a:lnTo>
                    <a:pt x="456" y="472"/>
                  </a:lnTo>
                  <a:lnTo>
                    <a:pt x="458" y="472"/>
                  </a:lnTo>
                  <a:lnTo>
                    <a:pt x="458" y="474"/>
                  </a:lnTo>
                  <a:lnTo>
                    <a:pt x="460" y="474"/>
                  </a:lnTo>
                  <a:lnTo>
                    <a:pt x="460" y="476"/>
                  </a:lnTo>
                  <a:lnTo>
                    <a:pt x="462" y="476"/>
                  </a:lnTo>
                  <a:lnTo>
                    <a:pt x="462" y="478"/>
                  </a:lnTo>
                  <a:lnTo>
                    <a:pt x="460" y="478"/>
                  </a:lnTo>
                  <a:lnTo>
                    <a:pt x="460" y="476"/>
                  </a:lnTo>
                  <a:lnTo>
                    <a:pt x="460" y="478"/>
                  </a:lnTo>
                  <a:lnTo>
                    <a:pt x="460" y="476"/>
                  </a:lnTo>
                  <a:lnTo>
                    <a:pt x="460" y="478"/>
                  </a:lnTo>
                  <a:lnTo>
                    <a:pt x="460" y="476"/>
                  </a:lnTo>
                  <a:lnTo>
                    <a:pt x="460" y="478"/>
                  </a:lnTo>
                  <a:lnTo>
                    <a:pt x="460" y="476"/>
                  </a:lnTo>
                  <a:lnTo>
                    <a:pt x="460" y="478"/>
                  </a:lnTo>
                  <a:lnTo>
                    <a:pt x="460" y="476"/>
                  </a:lnTo>
                  <a:lnTo>
                    <a:pt x="460" y="478"/>
                  </a:lnTo>
                  <a:lnTo>
                    <a:pt x="458" y="478"/>
                  </a:lnTo>
                  <a:lnTo>
                    <a:pt x="456" y="478"/>
                  </a:lnTo>
                  <a:lnTo>
                    <a:pt x="458" y="478"/>
                  </a:lnTo>
                  <a:lnTo>
                    <a:pt x="458" y="480"/>
                  </a:lnTo>
                  <a:lnTo>
                    <a:pt x="456" y="480"/>
                  </a:lnTo>
                  <a:lnTo>
                    <a:pt x="458" y="480"/>
                  </a:lnTo>
                  <a:lnTo>
                    <a:pt x="458" y="478"/>
                  </a:lnTo>
                  <a:lnTo>
                    <a:pt x="458" y="480"/>
                  </a:lnTo>
                  <a:lnTo>
                    <a:pt x="460" y="480"/>
                  </a:lnTo>
                  <a:lnTo>
                    <a:pt x="458" y="480"/>
                  </a:lnTo>
                  <a:lnTo>
                    <a:pt x="460" y="480"/>
                  </a:lnTo>
                  <a:lnTo>
                    <a:pt x="460" y="478"/>
                  </a:lnTo>
                  <a:lnTo>
                    <a:pt x="462" y="478"/>
                  </a:lnTo>
                  <a:lnTo>
                    <a:pt x="460" y="478"/>
                  </a:lnTo>
                  <a:lnTo>
                    <a:pt x="462" y="478"/>
                  </a:lnTo>
                  <a:lnTo>
                    <a:pt x="464" y="478"/>
                  </a:lnTo>
                  <a:lnTo>
                    <a:pt x="464" y="480"/>
                  </a:lnTo>
                  <a:lnTo>
                    <a:pt x="464" y="478"/>
                  </a:lnTo>
                  <a:lnTo>
                    <a:pt x="462" y="478"/>
                  </a:lnTo>
                  <a:lnTo>
                    <a:pt x="462" y="480"/>
                  </a:lnTo>
                  <a:lnTo>
                    <a:pt x="462" y="478"/>
                  </a:lnTo>
                  <a:lnTo>
                    <a:pt x="464" y="480"/>
                  </a:lnTo>
                  <a:lnTo>
                    <a:pt x="462" y="480"/>
                  </a:lnTo>
                  <a:lnTo>
                    <a:pt x="464" y="480"/>
                  </a:lnTo>
                  <a:lnTo>
                    <a:pt x="464" y="478"/>
                  </a:lnTo>
                  <a:lnTo>
                    <a:pt x="464" y="480"/>
                  </a:lnTo>
                  <a:lnTo>
                    <a:pt x="466" y="480"/>
                  </a:lnTo>
                  <a:lnTo>
                    <a:pt x="466" y="482"/>
                  </a:lnTo>
                  <a:lnTo>
                    <a:pt x="464" y="482"/>
                  </a:lnTo>
                  <a:lnTo>
                    <a:pt x="462" y="482"/>
                  </a:lnTo>
                  <a:lnTo>
                    <a:pt x="460" y="484"/>
                  </a:lnTo>
                  <a:lnTo>
                    <a:pt x="458" y="484"/>
                  </a:lnTo>
                  <a:lnTo>
                    <a:pt x="456" y="484"/>
                  </a:lnTo>
                  <a:lnTo>
                    <a:pt x="456" y="486"/>
                  </a:lnTo>
                  <a:lnTo>
                    <a:pt x="454" y="486"/>
                  </a:lnTo>
                  <a:lnTo>
                    <a:pt x="452" y="486"/>
                  </a:lnTo>
                  <a:lnTo>
                    <a:pt x="454" y="486"/>
                  </a:lnTo>
                  <a:lnTo>
                    <a:pt x="452" y="486"/>
                  </a:lnTo>
                  <a:lnTo>
                    <a:pt x="452" y="484"/>
                  </a:lnTo>
                  <a:lnTo>
                    <a:pt x="452" y="486"/>
                  </a:lnTo>
                  <a:lnTo>
                    <a:pt x="452" y="488"/>
                  </a:lnTo>
                  <a:lnTo>
                    <a:pt x="450" y="488"/>
                  </a:lnTo>
                  <a:lnTo>
                    <a:pt x="450" y="486"/>
                  </a:lnTo>
                  <a:lnTo>
                    <a:pt x="452" y="486"/>
                  </a:lnTo>
                  <a:lnTo>
                    <a:pt x="450" y="486"/>
                  </a:lnTo>
                  <a:lnTo>
                    <a:pt x="448" y="486"/>
                  </a:lnTo>
                  <a:lnTo>
                    <a:pt x="450" y="486"/>
                  </a:lnTo>
                  <a:lnTo>
                    <a:pt x="450" y="484"/>
                  </a:lnTo>
                  <a:lnTo>
                    <a:pt x="448" y="484"/>
                  </a:lnTo>
                  <a:lnTo>
                    <a:pt x="450" y="484"/>
                  </a:lnTo>
                  <a:lnTo>
                    <a:pt x="450" y="482"/>
                  </a:lnTo>
                  <a:lnTo>
                    <a:pt x="448" y="482"/>
                  </a:lnTo>
                  <a:lnTo>
                    <a:pt x="448" y="482"/>
                  </a:lnTo>
                  <a:lnTo>
                    <a:pt x="448" y="480"/>
                  </a:lnTo>
                  <a:lnTo>
                    <a:pt x="448" y="478"/>
                  </a:lnTo>
                  <a:lnTo>
                    <a:pt x="446" y="478"/>
                  </a:lnTo>
                  <a:lnTo>
                    <a:pt x="446" y="480"/>
                  </a:lnTo>
                  <a:lnTo>
                    <a:pt x="448" y="480"/>
                  </a:lnTo>
                  <a:lnTo>
                    <a:pt x="448" y="482"/>
                  </a:lnTo>
                  <a:lnTo>
                    <a:pt x="446" y="482"/>
                  </a:lnTo>
                  <a:lnTo>
                    <a:pt x="446" y="480"/>
                  </a:lnTo>
                  <a:lnTo>
                    <a:pt x="444" y="480"/>
                  </a:lnTo>
                  <a:lnTo>
                    <a:pt x="444" y="482"/>
                  </a:lnTo>
                  <a:lnTo>
                    <a:pt x="444" y="484"/>
                  </a:lnTo>
                  <a:lnTo>
                    <a:pt x="446" y="484"/>
                  </a:lnTo>
                  <a:lnTo>
                    <a:pt x="446" y="486"/>
                  </a:lnTo>
                  <a:lnTo>
                    <a:pt x="446" y="488"/>
                  </a:lnTo>
                  <a:lnTo>
                    <a:pt x="446" y="490"/>
                  </a:lnTo>
                  <a:lnTo>
                    <a:pt x="446" y="492"/>
                  </a:lnTo>
                  <a:lnTo>
                    <a:pt x="444" y="492"/>
                  </a:lnTo>
                  <a:lnTo>
                    <a:pt x="444" y="494"/>
                  </a:lnTo>
                  <a:lnTo>
                    <a:pt x="442" y="494"/>
                  </a:lnTo>
                  <a:lnTo>
                    <a:pt x="442" y="496"/>
                  </a:lnTo>
                  <a:lnTo>
                    <a:pt x="440" y="496"/>
                  </a:lnTo>
                  <a:lnTo>
                    <a:pt x="440" y="498"/>
                  </a:lnTo>
                  <a:lnTo>
                    <a:pt x="438" y="498"/>
                  </a:lnTo>
                  <a:lnTo>
                    <a:pt x="440" y="498"/>
                  </a:lnTo>
                  <a:lnTo>
                    <a:pt x="440" y="496"/>
                  </a:lnTo>
                  <a:lnTo>
                    <a:pt x="440" y="498"/>
                  </a:lnTo>
                  <a:lnTo>
                    <a:pt x="438" y="498"/>
                  </a:lnTo>
                  <a:lnTo>
                    <a:pt x="436" y="498"/>
                  </a:lnTo>
                  <a:lnTo>
                    <a:pt x="438" y="498"/>
                  </a:lnTo>
                  <a:lnTo>
                    <a:pt x="438" y="496"/>
                  </a:lnTo>
                  <a:lnTo>
                    <a:pt x="438" y="494"/>
                  </a:lnTo>
                  <a:lnTo>
                    <a:pt x="438" y="492"/>
                  </a:lnTo>
                  <a:lnTo>
                    <a:pt x="440" y="490"/>
                  </a:lnTo>
                  <a:lnTo>
                    <a:pt x="438" y="490"/>
                  </a:lnTo>
                  <a:lnTo>
                    <a:pt x="438" y="492"/>
                  </a:lnTo>
                  <a:lnTo>
                    <a:pt x="436" y="492"/>
                  </a:lnTo>
                  <a:lnTo>
                    <a:pt x="434" y="492"/>
                  </a:lnTo>
                  <a:lnTo>
                    <a:pt x="436" y="492"/>
                  </a:lnTo>
                  <a:lnTo>
                    <a:pt x="438" y="494"/>
                  </a:lnTo>
                  <a:lnTo>
                    <a:pt x="436" y="494"/>
                  </a:lnTo>
                  <a:lnTo>
                    <a:pt x="436" y="496"/>
                  </a:lnTo>
                  <a:lnTo>
                    <a:pt x="436" y="498"/>
                  </a:lnTo>
                  <a:lnTo>
                    <a:pt x="434" y="498"/>
                  </a:lnTo>
                  <a:lnTo>
                    <a:pt x="434" y="496"/>
                  </a:lnTo>
                  <a:lnTo>
                    <a:pt x="434" y="494"/>
                  </a:lnTo>
                  <a:lnTo>
                    <a:pt x="434" y="492"/>
                  </a:lnTo>
                  <a:lnTo>
                    <a:pt x="434" y="494"/>
                  </a:lnTo>
                  <a:lnTo>
                    <a:pt x="432" y="494"/>
                  </a:lnTo>
                  <a:lnTo>
                    <a:pt x="432" y="492"/>
                  </a:lnTo>
                  <a:lnTo>
                    <a:pt x="432" y="494"/>
                  </a:lnTo>
                  <a:lnTo>
                    <a:pt x="434" y="494"/>
                  </a:lnTo>
                  <a:lnTo>
                    <a:pt x="432" y="494"/>
                  </a:lnTo>
                  <a:lnTo>
                    <a:pt x="430" y="494"/>
                  </a:lnTo>
                  <a:lnTo>
                    <a:pt x="430" y="496"/>
                  </a:lnTo>
                  <a:lnTo>
                    <a:pt x="428" y="496"/>
                  </a:lnTo>
                  <a:lnTo>
                    <a:pt x="428" y="494"/>
                  </a:lnTo>
                  <a:lnTo>
                    <a:pt x="428" y="496"/>
                  </a:lnTo>
                  <a:lnTo>
                    <a:pt x="426" y="496"/>
                  </a:lnTo>
                  <a:lnTo>
                    <a:pt x="428" y="496"/>
                  </a:lnTo>
                  <a:lnTo>
                    <a:pt x="428" y="494"/>
                  </a:lnTo>
                  <a:lnTo>
                    <a:pt x="426" y="494"/>
                  </a:lnTo>
                  <a:lnTo>
                    <a:pt x="424" y="494"/>
                  </a:lnTo>
                  <a:lnTo>
                    <a:pt x="424" y="496"/>
                  </a:lnTo>
                  <a:lnTo>
                    <a:pt x="426" y="496"/>
                  </a:lnTo>
                  <a:lnTo>
                    <a:pt x="426" y="498"/>
                  </a:lnTo>
                  <a:lnTo>
                    <a:pt x="426" y="496"/>
                  </a:lnTo>
                  <a:lnTo>
                    <a:pt x="426" y="498"/>
                  </a:lnTo>
                  <a:lnTo>
                    <a:pt x="426" y="496"/>
                  </a:lnTo>
                  <a:lnTo>
                    <a:pt x="426" y="498"/>
                  </a:lnTo>
                  <a:lnTo>
                    <a:pt x="424" y="498"/>
                  </a:lnTo>
                  <a:lnTo>
                    <a:pt x="422" y="498"/>
                  </a:lnTo>
                  <a:lnTo>
                    <a:pt x="422" y="500"/>
                  </a:lnTo>
                  <a:lnTo>
                    <a:pt x="420" y="500"/>
                  </a:lnTo>
                  <a:lnTo>
                    <a:pt x="422" y="500"/>
                  </a:lnTo>
                  <a:lnTo>
                    <a:pt x="424" y="500"/>
                  </a:lnTo>
                  <a:lnTo>
                    <a:pt x="424" y="502"/>
                  </a:lnTo>
                  <a:lnTo>
                    <a:pt x="426" y="502"/>
                  </a:lnTo>
                  <a:lnTo>
                    <a:pt x="426" y="504"/>
                  </a:lnTo>
                  <a:lnTo>
                    <a:pt x="424" y="504"/>
                  </a:lnTo>
                  <a:lnTo>
                    <a:pt x="424" y="506"/>
                  </a:lnTo>
                  <a:lnTo>
                    <a:pt x="422" y="504"/>
                  </a:lnTo>
                  <a:lnTo>
                    <a:pt x="424" y="506"/>
                  </a:lnTo>
                  <a:lnTo>
                    <a:pt x="424" y="504"/>
                  </a:lnTo>
                  <a:lnTo>
                    <a:pt x="426" y="506"/>
                  </a:lnTo>
                  <a:lnTo>
                    <a:pt x="426" y="504"/>
                  </a:lnTo>
                  <a:lnTo>
                    <a:pt x="426" y="502"/>
                  </a:lnTo>
                  <a:lnTo>
                    <a:pt x="428" y="502"/>
                  </a:lnTo>
                  <a:lnTo>
                    <a:pt x="428" y="504"/>
                  </a:lnTo>
                  <a:lnTo>
                    <a:pt x="428" y="502"/>
                  </a:lnTo>
                  <a:lnTo>
                    <a:pt x="426" y="502"/>
                  </a:lnTo>
                  <a:lnTo>
                    <a:pt x="428" y="502"/>
                  </a:lnTo>
                  <a:lnTo>
                    <a:pt x="428" y="500"/>
                  </a:lnTo>
                  <a:lnTo>
                    <a:pt x="430" y="500"/>
                  </a:lnTo>
                  <a:lnTo>
                    <a:pt x="428" y="500"/>
                  </a:lnTo>
                  <a:lnTo>
                    <a:pt x="430" y="500"/>
                  </a:lnTo>
                  <a:lnTo>
                    <a:pt x="432" y="500"/>
                  </a:lnTo>
                  <a:lnTo>
                    <a:pt x="432" y="498"/>
                  </a:lnTo>
                  <a:lnTo>
                    <a:pt x="434" y="498"/>
                  </a:lnTo>
                  <a:lnTo>
                    <a:pt x="432" y="498"/>
                  </a:lnTo>
                  <a:lnTo>
                    <a:pt x="434" y="498"/>
                  </a:lnTo>
                  <a:lnTo>
                    <a:pt x="432" y="498"/>
                  </a:lnTo>
                  <a:lnTo>
                    <a:pt x="434" y="498"/>
                  </a:lnTo>
                  <a:lnTo>
                    <a:pt x="432" y="498"/>
                  </a:lnTo>
                  <a:lnTo>
                    <a:pt x="434" y="498"/>
                  </a:lnTo>
                  <a:lnTo>
                    <a:pt x="432" y="498"/>
                  </a:lnTo>
                  <a:lnTo>
                    <a:pt x="434" y="498"/>
                  </a:lnTo>
                  <a:lnTo>
                    <a:pt x="434" y="500"/>
                  </a:lnTo>
                  <a:lnTo>
                    <a:pt x="432" y="500"/>
                  </a:lnTo>
                  <a:lnTo>
                    <a:pt x="432" y="502"/>
                  </a:lnTo>
                  <a:lnTo>
                    <a:pt x="432" y="504"/>
                  </a:lnTo>
                  <a:lnTo>
                    <a:pt x="432" y="502"/>
                  </a:lnTo>
                  <a:lnTo>
                    <a:pt x="432" y="504"/>
                  </a:lnTo>
                  <a:lnTo>
                    <a:pt x="432" y="502"/>
                  </a:lnTo>
                  <a:lnTo>
                    <a:pt x="432" y="504"/>
                  </a:lnTo>
                  <a:lnTo>
                    <a:pt x="430" y="504"/>
                  </a:lnTo>
                  <a:lnTo>
                    <a:pt x="430" y="506"/>
                  </a:lnTo>
                  <a:lnTo>
                    <a:pt x="430" y="504"/>
                  </a:lnTo>
                  <a:lnTo>
                    <a:pt x="430" y="506"/>
                  </a:lnTo>
                  <a:lnTo>
                    <a:pt x="428" y="506"/>
                  </a:lnTo>
                  <a:lnTo>
                    <a:pt x="428" y="508"/>
                  </a:lnTo>
                  <a:lnTo>
                    <a:pt x="428" y="506"/>
                  </a:lnTo>
                  <a:lnTo>
                    <a:pt x="428" y="508"/>
                  </a:lnTo>
                  <a:lnTo>
                    <a:pt x="428" y="510"/>
                  </a:lnTo>
                  <a:lnTo>
                    <a:pt x="426" y="510"/>
                  </a:lnTo>
                  <a:lnTo>
                    <a:pt x="428" y="510"/>
                  </a:lnTo>
                  <a:lnTo>
                    <a:pt x="428" y="508"/>
                  </a:lnTo>
                  <a:lnTo>
                    <a:pt x="428" y="510"/>
                  </a:lnTo>
                  <a:lnTo>
                    <a:pt x="426" y="510"/>
                  </a:lnTo>
                  <a:lnTo>
                    <a:pt x="426" y="508"/>
                  </a:lnTo>
                  <a:lnTo>
                    <a:pt x="424" y="508"/>
                  </a:lnTo>
                  <a:lnTo>
                    <a:pt x="426" y="508"/>
                  </a:lnTo>
                  <a:lnTo>
                    <a:pt x="426" y="510"/>
                  </a:lnTo>
                  <a:lnTo>
                    <a:pt x="426" y="512"/>
                  </a:lnTo>
                  <a:lnTo>
                    <a:pt x="426" y="510"/>
                  </a:lnTo>
                  <a:lnTo>
                    <a:pt x="426" y="512"/>
                  </a:lnTo>
                  <a:lnTo>
                    <a:pt x="426" y="510"/>
                  </a:lnTo>
                  <a:lnTo>
                    <a:pt x="426" y="512"/>
                  </a:lnTo>
                  <a:lnTo>
                    <a:pt x="426" y="510"/>
                  </a:lnTo>
                  <a:lnTo>
                    <a:pt x="426" y="512"/>
                  </a:lnTo>
                  <a:lnTo>
                    <a:pt x="424" y="512"/>
                  </a:lnTo>
                  <a:lnTo>
                    <a:pt x="426" y="512"/>
                  </a:lnTo>
                  <a:lnTo>
                    <a:pt x="424" y="512"/>
                  </a:lnTo>
                  <a:lnTo>
                    <a:pt x="424" y="514"/>
                  </a:lnTo>
                  <a:lnTo>
                    <a:pt x="422" y="514"/>
                  </a:lnTo>
                  <a:lnTo>
                    <a:pt x="424" y="514"/>
                  </a:lnTo>
                  <a:lnTo>
                    <a:pt x="422" y="514"/>
                  </a:lnTo>
                  <a:lnTo>
                    <a:pt x="422" y="516"/>
                  </a:lnTo>
                  <a:lnTo>
                    <a:pt x="422" y="514"/>
                  </a:lnTo>
                  <a:lnTo>
                    <a:pt x="422" y="516"/>
                  </a:lnTo>
                  <a:lnTo>
                    <a:pt x="422" y="514"/>
                  </a:lnTo>
                  <a:lnTo>
                    <a:pt x="420" y="514"/>
                  </a:lnTo>
                  <a:lnTo>
                    <a:pt x="422" y="514"/>
                  </a:lnTo>
                  <a:lnTo>
                    <a:pt x="422" y="512"/>
                  </a:lnTo>
                  <a:lnTo>
                    <a:pt x="422" y="514"/>
                  </a:lnTo>
                  <a:lnTo>
                    <a:pt x="420" y="514"/>
                  </a:lnTo>
                  <a:lnTo>
                    <a:pt x="420" y="512"/>
                  </a:lnTo>
                  <a:lnTo>
                    <a:pt x="420" y="514"/>
                  </a:lnTo>
                  <a:lnTo>
                    <a:pt x="420" y="512"/>
                  </a:lnTo>
                  <a:lnTo>
                    <a:pt x="418" y="512"/>
                  </a:lnTo>
                  <a:lnTo>
                    <a:pt x="416" y="512"/>
                  </a:lnTo>
                  <a:lnTo>
                    <a:pt x="414" y="512"/>
                  </a:lnTo>
                  <a:lnTo>
                    <a:pt x="416" y="512"/>
                  </a:lnTo>
                  <a:lnTo>
                    <a:pt x="414" y="512"/>
                  </a:lnTo>
                  <a:lnTo>
                    <a:pt x="416" y="512"/>
                  </a:lnTo>
                  <a:lnTo>
                    <a:pt x="416" y="510"/>
                  </a:lnTo>
                  <a:lnTo>
                    <a:pt x="414" y="510"/>
                  </a:lnTo>
                  <a:lnTo>
                    <a:pt x="414" y="512"/>
                  </a:lnTo>
                  <a:lnTo>
                    <a:pt x="414" y="510"/>
                  </a:lnTo>
                  <a:lnTo>
                    <a:pt x="414" y="512"/>
                  </a:lnTo>
                  <a:lnTo>
                    <a:pt x="412" y="510"/>
                  </a:lnTo>
                  <a:lnTo>
                    <a:pt x="412" y="512"/>
                  </a:lnTo>
                  <a:lnTo>
                    <a:pt x="410" y="512"/>
                  </a:lnTo>
                  <a:lnTo>
                    <a:pt x="410" y="510"/>
                  </a:lnTo>
                  <a:lnTo>
                    <a:pt x="410" y="512"/>
                  </a:lnTo>
                  <a:lnTo>
                    <a:pt x="410" y="510"/>
                  </a:lnTo>
                  <a:lnTo>
                    <a:pt x="410" y="512"/>
                  </a:lnTo>
                  <a:lnTo>
                    <a:pt x="410" y="510"/>
                  </a:lnTo>
                  <a:lnTo>
                    <a:pt x="408" y="510"/>
                  </a:lnTo>
                  <a:lnTo>
                    <a:pt x="408" y="512"/>
                  </a:lnTo>
                  <a:lnTo>
                    <a:pt x="408" y="510"/>
                  </a:lnTo>
                  <a:lnTo>
                    <a:pt x="408" y="512"/>
                  </a:lnTo>
                  <a:lnTo>
                    <a:pt x="408" y="510"/>
                  </a:lnTo>
                  <a:lnTo>
                    <a:pt x="406" y="510"/>
                  </a:lnTo>
                  <a:lnTo>
                    <a:pt x="404" y="510"/>
                  </a:lnTo>
                  <a:lnTo>
                    <a:pt x="404" y="512"/>
                  </a:lnTo>
                  <a:lnTo>
                    <a:pt x="406" y="512"/>
                  </a:lnTo>
                  <a:lnTo>
                    <a:pt x="408" y="512"/>
                  </a:lnTo>
                  <a:lnTo>
                    <a:pt x="406" y="512"/>
                  </a:lnTo>
                  <a:lnTo>
                    <a:pt x="408" y="512"/>
                  </a:lnTo>
                  <a:lnTo>
                    <a:pt x="408" y="514"/>
                  </a:lnTo>
                  <a:lnTo>
                    <a:pt x="410" y="514"/>
                  </a:lnTo>
                  <a:lnTo>
                    <a:pt x="412" y="514"/>
                  </a:lnTo>
                  <a:lnTo>
                    <a:pt x="410" y="514"/>
                  </a:lnTo>
                  <a:lnTo>
                    <a:pt x="408" y="514"/>
                  </a:lnTo>
                  <a:lnTo>
                    <a:pt x="406" y="514"/>
                  </a:lnTo>
                  <a:lnTo>
                    <a:pt x="406" y="512"/>
                  </a:lnTo>
                  <a:lnTo>
                    <a:pt x="406" y="514"/>
                  </a:lnTo>
                  <a:lnTo>
                    <a:pt x="408" y="514"/>
                  </a:lnTo>
                  <a:lnTo>
                    <a:pt x="410" y="514"/>
                  </a:lnTo>
                  <a:lnTo>
                    <a:pt x="412" y="514"/>
                  </a:lnTo>
                  <a:lnTo>
                    <a:pt x="412" y="516"/>
                  </a:lnTo>
                  <a:lnTo>
                    <a:pt x="412" y="518"/>
                  </a:lnTo>
                  <a:lnTo>
                    <a:pt x="414" y="520"/>
                  </a:lnTo>
                  <a:lnTo>
                    <a:pt x="416" y="520"/>
                  </a:lnTo>
                  <a:lnTo>
                    <a:pt x="416" y="520"/>
                  </a:lnTo>
                  <a:lnTo>
                    <a:pt x="418" y="520"/>
                  </a:lnTo>
                  <a:lnTo>
                    <a:pt x="420" y="520"/>
                  </a:lnTo>
                  <a:lnTo>
                    <a:pt x="418" y="520"/>
                  </a:lnTo>
                  <a:lnTo>
                    <a:pt x="418" y="522"/>
                  </a:lnTo>
                  <a:lnTo>
                    <a:pt x="418" y="524"/>
                  </a:lnTo>
                  <a:lnTo>
                    <a:pt x="416" y="524"/>
                  </a:lnTo>
                  <a:lnTo>
                    <a:pt x="416" y="526"/>
                  </a:lnTo>
                  <a:lnTo>
                    <a:pt x="416" y="528"/>
                  </a:lnTo>
                  <a:lnTo>
                    <a:pt x="414" y="528"/>
                  </a:lnTo>
                  <a:lnTo>
                    <a:pt x="414" y="530"/>
                  </a:lnTo>
                  <a:lnTo>
                    <a:pt x="412" y="532"/>
                  </a:lnTo>
                  <a:lnTo>
                    <a:pt x="412" y="534"/>
                  </a:lnTo>
                  <a:lnTo>
                    <a:pt x="412" y="536"/>
                  </a:lnTo>
                  <a:lnTo>
                    <a:pt x="412" y="538"/>
                  </a:lnTo>
                  <a:lnTo>
                    <a:pt x="410" y="538"/>
                  </a:lnTo>
                  <a:lnTo>
                    <a:pt x="410" y="540"/>
                  </a:lnTo>
                  <a:lnTo>
                    <a:pt x="410" y="542"/>
                  </a:lnTo>
                  <a:lnTo>
                    <a:pt x="408" y="542"/>
                  </a:lnTo>
                  <a:lnTo>
                    <a:pt x="408" y="540"/>
                  </a:lnTo>
                  <a:lnTo>
                    <a:pt x="408" y="542"/>
                  </a:lnTo>
                  <a:lnTo>
                    <a:pt x="406" y="542"/>
                  </a:lnTo>
                  <a:lnTo>
                    <a:pt x="404" y="542"/>
                  </a:lnTo>
                  <a:lnTo>
                    <a:pt x="404" y="544"/>
                  </a:lnTo>
                  <a:lnTo>
                    <a:pt x="402" y="544"/>
                  </a:lnTo>
                  <a:lnTo>
                    <a:pt x="402" y="542"/>
                  </a:lnTo>
                  <a:lnTo>
                    <a:pt x="404" y="542"/>
                  </a:lnTo>
                  <a:lnTo>
                    <a:pt x="404" y="540"/>
                  </a:lnTo>
                  <a:lnTo>
                    <a:pt x="404" y="542"/>
                  </a:lnTo>
                  <a:lnTo>
                    <a:pt x="404" y="540"/>
                  </a:lnTo>
                  <a:lnTo>
                    <a:pt x="406" y="540"/>
                  </a:lnTo>
                  <a:lnTo>
                    <a:pt x="404" y="540"/>
                  </a:lnTo>
                  <a:lnTo>
                    <a:pt x="406" y="540"/>
                  </a:lnTo>
                  <a:lnTo>
                    <a:pt x="404" y="540"/>
                  </a:lnTo>
                  <a:lnTo>
                    <a:pt x="406" y="540"/>
                  </a:lnTo>
                  <a:lnTo>
                    <a:pt x="404" y="540"/>
                  </a:lnTo>
                  <a:lnTo>
                    <a:pt x="406" y="540"/>
                  </a:lnTo>
                  <a:lnTo>
                    <a:pt x="404" y="540"/>
                  </a:lnTo>
                  <a:lnTo>
                    <a:pt x="406" y="540"/>
                  </a:lnTo>
                  <a:lnTo>
                    <a:pt x="404" y="540"/>
                  </a:lnTo>
                  <a:lnTo>
                    <a:pt x="406" y="540"/>
                  </a:lnTo>
                  <a:lnTo>
                    <a:pt x="404" y="540"/>
                  </a:lnTo>
                  <a:lnTo>
                    <a:pt x="406" y="540"/>
                  </a:lnTo>
                  <a:lnTo>
                    <a:pt x="406" y="538"/>
                  </a:lnTo>
                  <a:lnTo>
                    <a:pt x="406" y="540"/>
                  </a:lnTo>
                  <a:lnTo>
                    <a:pt x="404" y="540"/>
                  </a:lnTo>
                  <a:lnTo>
                    <a:pt x="404" y="538"/>
                  </a:lnTo>
                  <a:lnTo>
                    <a:pt x="406" y="538"/>
                  </a:lnTo>
                  <a:lnTo>
                    <a:pt x="404" y="538"/>
                  </a:lnTo>
                  <a:lnTo>
                    <a:pt x="406" y="538"/>
                  </a:lnTo>
                  <a:lnTo>
                    <a:pt x="404" y="538"/>
                  </a:lnTo>
                  <a:lnTo>
                    <a:pt x="406" y="538"/>
                  </a:lnTo>
                  <a:lnTo>
                    <a:pt x="406" y="536"/>
                  </a:lnTo>
                  <a:lnTo>
                    <a:pt x="406" y="534"/>
                  </a:lnTo>
                  <a:lnTo>
                    <a:pt x="404" y="534"/>
                  </a:lnTo>
                  <a:lnTo>
                    <a:pt x="406" y="534"/>
                  </a:lnTo>
                  <a:lnTo>
                    <a:pt x="404" y="534"/>
                  </a:lnTo>
                  <a:lnTo>
                    <a:pt x="404" y="532"/>
                  </a:lnTo>
                  <a:lnTo>
                    <a:pt x="404" y="534"/>
                  </a:lnTo>
                  <a:lnTo>
                    <a:pt x="404" y="536"/>
                  </a:lnTo>
                  <a:lnTo>
                    <a:pt x="404" y="534"/>
                  </a:lnTo>
                  <a:lnTo>
                    <a:pt x="404" y="536"/>
                  </a:lnTo>
                  <a:lnTo>
                    <a:pt x="404" y="534"/>
                  </a:lnTo>
                  <a:lnTo>
                    <a:pt x="402" y="534"/>
                  </a:lnTo>
                  <a:lnTo>
                    <a:pt x="402" y="532"/>
                  </a:lnTo>
                  <a:lnTo>
                    <a:pt x="400" y="532"/>
                  </a:lnTo>
                  <a:lnTo>
                    <a:pt x="402" y="532"/>
                  </a:lnTo>
                  <a:lnTo>
                    <a:pt x="402" y="534"/>
                  </a:lnTo>
                  <a:lnTo>
                    <a:pt x="402" y="536"/>
                  </a:lnTo>
                  <a:lnTo>
                    <a:pt x="404" y="536"/>
                  </a:lnTo>
                  <a:lnTo>
                    <a:pt x="406" y="536"/>
                  </a:lnTo>
                  <a:lnTo>
                    <a:pt x="406" y="538"/>
                  </a:lnTo>
                  <a:lnTo>
                    <a:pt x="404" y="538"/>
                  </a:lnTo>
                  <a:lnTo>
                    <a:pt x="404" y="540"/>
                  </a:lnTo>
                  <a:lnTo>
                    <a:pt x="404" y="538"/>
                  </a:lnTo>
                  <a:lnTo>
                    <a:pt x="404" y="540"/>
                  </a:lnTo>
                  <a:lnTo>
                    <a:pt x="402" y="540"/>
                  </a:lnTo>
                  <a:lnTo>
                    <a:pt x="400" y="540"/>
                  </a:lnTo>
                  <a:lnTo>
                    <a:pt x="400" y="542"/>
                  </a:lnTo>
                  <a:lnTo>
                    <a:pt x="400" y="542"/>
                  </a:lnTo>
                  <a:lnTo>
                    <a:pt x="400" y="544"/>
                  </a:lnTo>
                  <a:lnTo>
                    <a:pt x="400" y="542"/>
                  </a:lnTo>
                  <a:lnTo>
                    <a:pt x="398" y="542"/>
                  </a:lnTo>
                  <a:lnTo>
                    <a:pt x="398" y="540"/>
                  </a:lnTo>
                  <a:lnTo>
                    <a:pt x="396" y="540"/>
                  </a:lnTo>
                  <a:lnTo>
                    <a:pt x="398" y="540"/>
                  </a:lnTo>
                  <a:lnTo>
                    <a:pt x="398" y="538"/>
                  </a:lnTo>
                  <a:lnTo>
                    <a:pt x="396" y="538"/>
                  </a:lnTo>
                  <a:lnTo>
                    <a:pt x="396" y="536"/>
                  </a:lnTo>
                  <a:lnTo>
                    <a:pt x="394" y="536"/>
                  </a:lnTo>
                  <a:lnTo>
                    <a:pt x="394" y="534"/>
                  </a:lnTo>
                  <a:lnTo>
                    <a:pt x="394" y="536"/>
                  </a:lnTo>
                  <a:lnTo>
                    <a:pt x="394" y="538"/>
                  </a:lnTo>
                  <a:lnTo>
                    <a:pt x="394" y="536"/>
                  </a:lnTo>
                  <a:lnTo>
                    <a:pt x="394" y="538"/>
                  </a:lnTo>
                  <a:lnTo>
                    <a:pt x="394" y="536"/>
                  </a:lnTo>
                  <a:lnTo>
                    <a:pt x="394" y="538"/>
                  </a:lnTo>
                  <a:lnTo>
                    <a:pt x="396" y="538"/>
                  </a:lnTo>
                  <a:lnTo>
                    <a:pt x="396" y="540"/>
                  </a:lnTo>
                  <a:lnTo>
                    <a:pt x="396" y="542"/>
                  </a:lnTo>
                  <a:lnTo>
                    <a:pt x="398" y="542"/>
                  </a:lnTo>
                  <a:lnTo>
                    <a:pt x="396" y="542"/>
                  </a:lnTo>
                  <a:lnTo>
                    <a:pt x="396" y="544"/>
                  </a:lnTo>
                  <a:lnTo>
                    <a:pt x="394" y="544"/>
                  </a:lnTo>
                  <a:lnTo>
                    <a:pt x="394" y="542"/>
                  </a:lnTo>
                  <a:lnTo>
                    <a:pt x="392" y="542"/>
                  </a:lnTo>
                  <a:lnTo>
                    <a:pt x="390" y="542"/>
                  </a:lnTo>
                  <a:lnTo>
                    <a:pt x="390" y="544"/>
                  </a:lnTo>
                  <a:lnTo>
                    <a:pt x="390" y="542"/>
                  </a:lnTo>
                  <a:lnTo>
                    <a:pt x="392" y="542"/>
                  </a:lnTo>
                  <a:lnTo>
                    <a:pt x="390" y="542"/>
                  </a:lnTo>
                  <a:lnTo>
                    <a:pt x="392" y="542"/>
                  </a:lnTo>
                  <a:lnTo>
                    <a:pt x="392" y="544"/>
                  </a:lnTo>
                  <a:lnTo>
                    <a:pt x="394" y="544"/>
                  </a:lnTo>
                  <a:lnTo>
                    <a:pt x="396" y="544"/>
                  </a:lnTo>
                  <a:lnTo>
                    <a:pt x="398" y="544"/>
                  </a:lnTo>
                  <a:lnTo>
                    <a:pt x="398" y="546"/>
                  </a:lnTo>
                  <a:lnTo>
                    <a:pt x="400" y="546"/>
                  </a:lnTo>
                  <a:lnTo>
                    <a:pt x="400" y="546"/>
                  </a:lnTo>
                  <a:lnTo>
                    <a:pt x="402" y="546"/>
                  </a:lnTo>
                  <a:lnTo>
                    <a:pt x="404" y="546"/>
                  </a:lnTo>
                  <a:lnTo>
                    <a:pt x="406" y="546"/>
                  </a:lnTo>
                  <a:lnTo>
                    <a:pt x="408" y="546"/>
                  </a:lnTo>
                  <a:lnTo>
                    <a:pt x="408" y="548"/>
                  </a:lnTo>
                  <a:lnTo>
                    <a:pt x="406" y="548"/>
                  </a:lnTo>
                  <a:lnTo>
                    <a:pt x="406" y="550"/>
                  </a:lnTo>
                  <a:lnTo>
                    <a:pt x="406" y="548"/>
                  </a:lnTo>
                  <a:lnTo>
                    <a:pt x="406" y="550"/>
                  </a:lnTo>
                  <a:lnTo>
                    <a:pt x="406" y="552"/>
                  </a:lnTo>
                  <a:lnTo>
                    <a:pt x="406" y="554"/>
                  </a:lnTo>
                  <a:lnTo>
                    <a:pt x="404" y="554"/>
                  </a:lnTo>
                  <a:lnTo>
                    <a:pt x="406" y="554"/>
                  </a:lnTo>
                  <a:lnTo>
                    <a:pt x="404" y="554"/>
                  </a:lnTo>
                  <a:lnTo>
                    <a:pt x="406" y="554"/>
                  </a:lnTo>
                  <a:lnTo>
                    <a:pt x="404" y="554"/>
                  </a:lnTo>
                  <a:lnTo>
                    <a:pt x="404" y="556"/>
                  </a:lnTo>
                  <a:lnTo>
                    <a:pt x="404" y="554"/>
                  </a:lnTo>
                  <a:lnTo>
                    <a:pt x="404" y="556"/>
                  </a:lnTo>
                  <a:lnTo>
                    <a:pt x="404" y="554"/>
                  </a:lnTo>
                  <a:lnTo>
                    <a:pt x="404" y="556"/>
                  </a:lnTo>
                  <a:lnTo>
                    <a:pt x="404" y="554"/>
                  </a:lnTo>
                  <a:lnTo>
                    <a:pt x="404" y="556"/>
                  </a:lnTo>
                  <a:lnTo>
                    <a:pt x="404" y="554"/>
                  </a:lnTo>
                  <a:lnTo>
                    <a:pt x="404" y="556"/>
                  </a:lnTo>
                  <a:lnTo>
                    <a:pt x="404" y="554"/>
                  </a:lnTo>
                  <a:lnTo>
                    <a:pt x="404" y="556"/>
                  </a:lnTo>
                  <a:lnTo>
                    <a:pt x="404" y="554"/>
                  </a:lnTo>
                  <a:lnTo>
                    <a:pt x="402" y="554"/>
                  </a:lnTo>
                  <a:lnTo>
                    <a:pt x="404" y="554"/>
                  </a:lnTo>
                  <a:lnTo>
                    <a:pt x="402" y="554"/>
                  </a:lnTo>
                  <a:lnTo>
                    <a:pt x="404" y="554"/>
                  </a:lnTo>
                  <a:lnTo>
                    <a:pt x="402" y="554"/>
                  </a:lnTo>
                  <a:lnTo>
                    <a:pt x="404" y="554"/>
                  </a:lnTo>
                  <a:lnTo>
                    <a:pt x="402" y="554"/>
                  </a:lnTo>
                  <a:lnTo>
                    <a:pt x="402" y="556"/>
                  </a:lnTo>
                  <a:lnTo>
                    <a:pt x="402" y="554"/>
                  </a:lnTo>
                  <a:lnTo>
                    <a:pt x="402" y="556"/>
                  </a:lnTo>
                  <a:lnTo>
                    <a:pt x="404" y="556"/>
                  </a:lnTo>
                  <a:lnTo>
                    <a:pt x="402" y="556"/>
                  </a:lnTo>
                  <a:lnTo>
                    <a:pt x="404" y="556"/>
                  </a:lnTo>
                  <a:lnTo>
                    <a:pt x="404" y="558"/>
                  </a:lnTo>
                  <a:lnTo>
                    <a:pt x="404" y="556"/>
                  </a:lnTo>
                  <a:lnTo>
                    <a:pt x="404" y="558"/>
                  </a:lnTo>
                  <a:lnTo>
                    <a:pt x="404" y="556"/>
                  </a:lnTo>
                  <a:lnTo>
                    <a:pt x="402" y="556"/>
                  </a:lnTo>
                  <a:lnTo>
                    <a:pt x="404" y="556"/>
                  </a:lnTo>
                  <a:lnTo>
                    <a:pt x="404" y="558"/>
                  </a:lnTo>
                  <a:lnTo>
                    <a:pt x="404" y="556"/>
                  </a:lnTo>
                  <a:lnTo>
                    <a:pt x="402" y="556"/>
                  </a:lnTo>
                  <a:lnTo>
                    <a:pt x="404" y="556"/>
                  </a:lnTo>
                  <a:lnTo>
                    <a:pt x="404" y="558"/>
                  </a:lnTo>
                  <a:lnTo>
                    <a:pt x="402" y="558"/>
                  </a:lnTo>
                  <a:lnTo>
                    <a:pt x="402" y="556"/>
                  </a:lnTo>
                  <a:lnTo>
                    <a:pt x="402" y="558"/>
                  </a:lnTo>
                  <a:lnTo>
                    <a:pt x="404" y="558"/>
                  </a:lnTo>
                  <a:lnTo>
                    <a:pt x="402" y="558"/>
                  </a:lnTo>
                  <a:lnTo>
                    <a:pt x="404" y="558"/>
                  </a:lnTo>
                  <a:lnTo>
                    <a:pt x="402" y="558"/>
                  </a:lnTo>
                  <a:lnTo>
                    <a:pt x="404" y="558"/>
                  </a:lnTo>
                  <a:lnTo>
                    <a:pt x="402" y="558"/>
                  </a:lnTo>
                  <a:lnTo>
                    <a:pt x="404" y="558"/>
                  </a:lnTo>
                  <a:lnTo>
                    <a:pt x="404" y="560"/>
                  </a:lnTo>
                  <a:lnTo>
                    <a:pt x="402" y="560"/>
                  </a:lnTo>
                  <a:lnTo>
                    <a:pt x="400" y="560"/>
                  </a:lnTo>
                  <a:lnTo>
                    <a:pt x="400" y="562"/>
                  </a:lnTo>
                  <a:lnTo>
                    <a:pt x="402" y="562"/>
                  </a:lnTo>
                  <a:lnTo>
                    <a:pt x="400" y="562"/>
                  </a:lnTo>
                  <a:lnTo>
                    <a:pt x="400" y="560"/>
                  </a:lnTo>
                  <a:lnTo>
                    <a:pt x="400" y="560"/>
                  </a:lnTo>
                  <a:lnTo>
                    <a:pt x="400" y="560"/>
                  </a:lnTo>
                  <a:lnTo>
                    <a:pt x="400" y="560"/>
                  </a:lnTo>
                  <a:lnTo>
                    <a:pt x="400" y="560"/>
                  </a:lnTo>
                  <a:lnTo>
                    <a:pt x="400" y="560"/>
                  </a:lnTo>
                  <a:lnTo>
                    <a:pt x="400" y="560"/>
                  </a:lnTo>
                  <a:lnTo>
                    <a:pt x="400" y="562"/>
                  </a:lnTo>
                  <a:lnTo>
                    <a:pt x="400" y="562"/>
                  </a:lnTo>
                  <a:lnTo>
                    <a:pt x="400" y="562"/>
                  </a:lnTo>
                  <a:lnTo>
                    <a:pt x="400" y="562"/>
                  </a:lnTo>
                  <a:lnTo>
                    <a:pt x="400" y="562"/>
                  </a:lnTo>
                  <a:lnTo>
                    <a:pt x="400" y="562"/>
                  </a:lnTo>
                  <a:lnTo>
                    <a:pt x="400" y="562"/>
                  </a:lnTo>
                  <a:lnTo>
                    <a:pt x="400" y="564"/>
                  </a:lnTo>
                  <a:lnTo>
                    <a:pt x="400" y="562"/>
                  </a:lnTo>
                  <a:lnTo>
                    <a:pt x="400" y="564"/>
                  </a:lnTo>
                  <a:lnTo>
                    <a:pt x="400" y="564"/>
                  </a:lnTo>
                  <a:lnTo>
                    <a:pt x="400" y="562"/>
                  </a:lnTo>
                  <a:lnTo>
                    <a:pt x="400" y="564"/>
                  </a:lnTo>
                  <a:lnTo>
                    <a:pt x="400" y="562"/>
                  </a:lnTo>
                  <a:lnTo>
                    <a:pt x="400" y="564"/>
                  </a:lnTo>
                  <a:lnTo>
                    <a:pt x="400" y="564"/>
                  </a:lnTo>
                  <a:lnTo>
                    <a:pt x="400" y="564"/>
                  </a:lnTo>
                  <a:lnTo>
                    <a:pt x="400" y="564"/>
                  </a:lnTo>
                  <a:lnTo>
                    <a:pt x="400" y="564"/>
                  </a:lnTo>
                  <a:lnTo>
                    <a:pt x="400" y="562"/>
                  </a:lnTo>
                  <a:lnTo>
                    <a:pt x="400" y="564"/>
                  </a:lnTo>
                  <a:lnTo>
                    <a:pt x="400" y="562"/>
                  </a:lnTo>
                  <a:lnTo>
                    <a:pt x="400" y="564"/>
                  </a:lnTo>
                  <a:lnTo>
                    <a:pt x="400" y="564"/>
                  </a:lnTo>
                  <a:lnTo>
                    <a:pt x="400" y="564"/>
                  </a:lnTo>
                  <a:lnTo>
                    <a:pt x="400" y="564"/>
                  </a:lnTo>
                  <a:lnTo>
                    <a:pt x="400" y="566"/>
                  </a:lnTo>
                  <a:lnTo>
                    <a:pt x="400" y="564"/>
                  </a:lnTo>
                  <a:lnTo>
                    <a:pt x="400" y="564"/>
                  </a:lnTo>
                  <a:lnTo>
                    <a:pt x="400" y="566"/>
                  </a:lnTo>
                  <a:lnTo>
                    <a:pt x="400" y="566"/>
                  </a:lnTo>
                  <a:lnTo>
                    <a:pt x="400" y="566"/>
                  </a:lnTo>
                  <a:lnTo>
                    <a:pt x="400" y="566"/>
                  </a:lnTo>
                  <a:lnTo>
                    <a:pt x="400" y="566"/>
                  </a:lnTo>
                  <a:lnTo>
                    <a:pt x="400" y="566"/>
                  </a:lnTo>
                  <a:lnTo>
                    <a:pt x="400" y="566"/>
                  </a:lnTo>
                  <a:lnTo>
                    <a:pt x="400" y="566"/>
                  </a:lnTo>
                  <a:lnTo>
                    <a:pt x="400" y="566"/>
                  </a:lnTo>
                  <a:lnTo>
                    <a:pt x="400" y="566"/>
                  </a:lnTo>
                  <a:lnTo>
                    <a:pt x="400" y="566"/>
                  </a:lnTo>
                  <a:lnTo>
                    <a:pt x="400" y="566"/>
                  </a:lnTo>
                  <a:lnTo>
                    <a:pt x="400" y="568"/>
                  </a:lnTo>
                  <a:lnTo>
                    <a:pt x="400" y="566"/>
                  </a:lnTo>
                  <a:lnTo>
                    <a:pt x="400" y="566"/>
                  </a:lnTo>
                  <a:lnTo>
                    <a:pt x="400" y="568"/>
                  </a:lnTo>
                  <a:lnTo>
                    <a:pt x="400" y="566"/>
                  </a:lnTo>
                  <a:lnTo>
                    <a:pt x="400" y="568"/>
                  </a:lnTo>
                  <a:lnTo>
                    <a:pt x="400" y="566"/>
                  </a:lnTo>
                  <a:lnTo>
                    <a:pt x="400" y="568"/>
                  </a:lnTo>
                  <a:lnTo>
                    <a:pt x="400" y="566"/>
                  </a:lnTo>
                  <a:lnTo>
                    <a:pt x="400" y="568"/>
                  </a:lnTo>
                  <a:lnTo>
                    <a:pt x="400" y="568"/>
                  </a:lnTo>
                  <a:lnTo>
                    <a:pt x="398" y="568"/>
                  </a:lnTo>
                  <a:lnTo>
                    <a:pt x="400" y="568"/>
                  </a:lnTo>
                  <a:lnTo>
                    <a:pt x="400" y="570"/>
                  </a:lnTo>
                  <a:lnTo>
                    <a:pt x="400" y="568"/>
                  </a:lnTo>
                  <a:lnTo>
                    <a:pt x="400" y="570"/>
                  </a:lnTo>
                  <a:lnTo>
                    <a:pt x="400" y="570"/>
                  </a:lnTo>
                  <a:lnTo>
                    <a:pt x="400" y="570"/>
                  </a:lnTo>
                  <a:lnTo>
                    <a:pt x="400" y="568"/>
                  </a:lnTo>
                  <a:lnTo>
                    <a:pt x="400" y="570"/>
                  </a:lnTo>
                  <a:lnTo>
                    <a:pt x="400" y="568"/>
                  </a:lnTo>
                  <a:lnTo>
                    <a:pt x="400" y="570"/>
                  </a:lnTo>
                  <a:lnTo>
                    <a:pt x="400" y="568"/>
                  </a:lnTo>
                  <a:lnTo>
                    <a:pt x="400" y="570"/>
                  </a:lnTo>
                  <a:lnTo>
                    <a:pt x="400" y="570"/>
                  </a:lnTo>
                  <a:lnTo>
                    <a:pt x="400" y="570"/>
                  </a:lnTo>
                  <a:lnTo>
                    <a:pt x="400" y="570"/>
                  </a:lnTo>
                  <a:lnTo>
                    <a:pt x="400" y="572"/>
                  </a:lnTo>
                  <a:lnTo>
                    <a:pt x="402" y="572"/>
                  </a:lnTo>
                  <a:lnTo>
                    <a:pt x="400" y="572"/>
                  </a:lnTo>
                  <a:lnTo>
                    <a:pt x="402" y="572"/>
                  </a:lnTo>
                  <a:lnTo>
                    <a:pt x="400" y="572"/>
                  </a:lnTo>
                  <a:lnTo>
                    <a:pt x="402" y="572"/>
                  </a:lnTo>
                  <a:lnTo>
                    <a:pt x="402" y="574"/>
                  </a:lnTo>
                  <a:lnTo>
                    <a:pt x="402" y="572"/>
                  </a:lnTo>
                  <a:lnTo>
                    <a:pt x="402" y="574"/>
                  </a:lnTo>
                  <a:lnTo>
                    <a:pt x="402" y="576"/>
                  </a:lnTo>
                  <a:lnTo>
                    <a:pt x="402" y="578"/>
                  </a:lnTo>
                  <a:lnTo>
                    <a:pt x="402" y="580"/>
                  </a:lnTo>
                  <a:lnTo>
                    <a:pt x="404" y="580"/>
                  </a:lnTo>
                  <a:lnTo>
                    <a:pt x="402" y="580"/>
                  </a:lnTo>
                  <a:lnTo>
                    <a:pt x="404" y="580"/>
                  </a:lnTo>
                  <a:lnTo>
                    <a:pt x="402" y="580"/>
                  </a:lnTo>
                  <a:lnTo>
                    <a:pt x="404" y="580"/>
                  </a:lnTo>
                  <a:lnTo>
                    <a:pt x="404" y="582"/>
                  </a:lnTo>
                  <a:lnTo>
                    <a:pt x="402" y="582"/>
                  </a:lnTo>
                  <a:lnTo>
                    <a:pt x="404" y="582"/>
                  </a:lnTo>
                  <a:lnTo>
                    <a:pt x="402" y="582"/>
                  </a:lnTo>
                  <a:lnTo>
                    <a:pt x="402" y="584"/>
                  </a:lnTo>
                  <a:lnTo>
                    <a:pt x="402" y="582"/>
                  </a:lnTo>
                  <a:lnTo>
                    <a:pt x="402" y="584"/>
                  </a:lnTo>
                  <a:lnTo>
                    <a:pt x="404" y="584"/>
                  </a:lnTo>
                  <a:lnTo>
                    <a:pt x="404" y="582"/>
                  </a:lnTo>
                  <a:lnTo>
                    <a:pt x="404" y="584"/>
                  </a:lnTo>
                  <a:lnTo>
                    <a:pt x="404" y="582"/>
                  </a:lnTo>
                  <a:lnTo>
                    <a:pt x="404" y="584"/>
                  </a:lnTo>
                  <a:lnTo>
                    <a:pt x="404" y="586"/>
                  </a:lnTo>
                  <a:lnTo>
                    <a:pt x="404" y="588"/>
                  </a:lnTo>
                  <a:lnTo>
                    <a:pt x="404" y="586"/>
                  </a:lnTo>
                  <a:lnTo>
                    <a:pt x="404" y="588"/>
                  </a:lnTo>
                  <a:lnTo>
                    <a:pt x="404" y="586"/>
                  </a:lnTo>
                  <a:lnTo>
                    <a:pt x="404" y="588"/>
                  </a:lnTo>
                  <a:lnTo>
                    <a:pt x="402" y="588"/>
                  </a:lnTo>
                  <a:lnTo>
                    <a:pt x="404" y="588"/>
                  </a:lnTo>
                  <a:lnTo>
                    <a:pt x="402" y="588"/>
                  </a:lnTo>
                  <a:lnTo>
                    <a:pt x="404" y="588"/>
                  </a:lnTo>
                  <a:lnTo>
                    <a:pt x="402" y="588"/>
                  </a:lnTo>
                  <a:lnTo>
                    <a:pt x="404" y="588"/>
                  </a:lnTo>
                  <a:lnTo>
                    <a:pt x="402" y="588"/>
                  </a:lnTo>
                  <a:lnTo>
                    <a:pt x="404" y="588"/>
                  </a:lnTo>
                  <a:lnTo>
                    <a:pt x="404" y="590"/>
                  </a:lnTo>
                  <a:lnTo>
                    <a:pt x="404" y="588"/>
                  </a:lnTo>
                  <a:lnTo>
                    <a:pt x="404" y="590"/>
                  </a:lnTo>
                  <a:lnTo>
                    <a:pt x="402" y="590"/>
                  </a:lnTo>
                  <a:lnTo>
                    <a:pt x="400" y="590"/>
                  </a:lnTo>
                  <a:lnTo>
                    <a:pt x="400" y="588"/>
                  </a:lnTo>
                  <a:lnTo>
                    <a:pt x="400" y="590"/>
                  </a:lnTo>
                  <a:lnTo>
                    <a:pt x="402" y="590"/>
                  </a:lnTo>
                  <a:lnTo>
                    <a:pt x="400" y="590"/>
                  </a:lnTo>
                  <a:lnTo>
                    <a:pt x="402" y="590"/>
                  </a:lnTo>
                  <a:lnTo>
                    <a:pt x="404" y="590"/>
                  </a:lnTo>
                  <a:lnTo>
                    <a:pt x="402" y="590"/>
                  </a:lnTo>
                  <a:lnTo>
                    <a:pt x="404" y="590"/>
                  </a:lnTo>
                  <a:lnTo>
                    <a:pt x="402" y="590"/>
                  </a:lnTo>
                  <a:lnTo>
                    <a:pt x="402" y="592"/>
                  </a:lnTo>
                  <a:lnTo>
                    <a:pt x="402" y="590"/>
                  </a:lnTo>
                  <a:lnTo>
                    <a:pt x="402" y="592"/>
                  </a:lnTo>
                  <a:lnTo>
                    <a:pt x="400" y="592"/>
                  </a:lnTo>
                  <a:lnTo>
                    <a:pt x="402" y="592"/>
                  </a:lnTo>
                  <a:lnTo>
                    <a:pt x="400" y="592"/>
                  </a:lnTo>
                  <a:lnTo>
                    <a:pt x="402" y="592"/>
                  </a:lnTo>
                  <a:lnTo>
                    <a:pt x="402" y="590"/>
                  </a:lnTo>
                  <a:lnTo>
                    <a:pt x="402" y="592"/>
                  </a:lnTo>
                  <a:lnTo>
                    <a:pt x="402" y="590"/>
                  </a:lnTo>
                  <a:lnTo>
                    <a:pt x="400" y="590"/>
                  </a:lnTo>
                  <a:lnTo>
                    <a:pt x="400" y="592"/>
                  </a:lnTo>
                  <a:lnTo>
                    <a:pt x="402" y="592"/>
                  </a:lnTo>
                  <a:lnTo>
                    <a:pt x="400" y="592"/>
                  </a:lnTo>
                  <a:lnTo>
                    <a:pt x="402" y="592"/>
                  </a:lnTo>
                  <a:lnTo>
                    <a:pt x="404" y="592"/>
                  </a:lnTo>
                  <a:lnTo>
                    <a:pt x="402" y="592"/>
                  </a:lnTo>
                  <a:lnTo>
                    <a:pt x="402" y="594"/>
                  </a:lnTo>
                  <a:lnTo>
                    <a:pt x="404" y="594"/>
                  </a:lnTo>
                  <a:lnTo>
                    <a:pt x="402" y="594"/>
                  </a:lnTo>
                  <a:lnTo>
                    <a:pt x="404" y="594"/>
                  </a:lnTo>
                  <a:lnTo>
                    <a:pt x="402" y="594"/>
                  </a:lnTo>
                  <a:lnTo>
                    <a:pt x="404" y="594"/>
                  </a:lnTo>
                  <a:lnTo>
                    <a:pt x="404" y="596"/>
                  </a:lnTo>
                  <a:lnTo>
                    <a:pt x="402" y="596"/>
                  </a:lnTo>
                  <a:lnTo>
                    <a:pt x="402" y="598"/>
                  </a:lnTo>
                  <a:lnTo>
                    <a:pt x="402" y="596"/>
                  </a:lnTo>
                  <a:lnTo>
                    <a:pt x="404" y="596"/>
                  </a:lnTo>
                  <a:lnTo>
                    <a:pt x="402" y="596"/>
                  </a:lnTo>
                  <a:lnTo>
                    <a:pt x="404" y="596"/>
                  </a:lnTo>
                  <a:lnTo>
                    <a:pt x="406" y="594"/>
                  </a:lnTo>
                  <a:lnTo>
                    <a:pt x="406" y="596"/>
                  </a:lnTo>
                  <a:lnTo>
                    <a:pt x="406" y="594"/>
                  </a:lnTo>
                  <a:lnTo>
                    <a:pt x="406" y="596"/>
                  </a:lnTo>
                  <a:lnTo>
                    <a:pt x="404" y="596"/>
                  </a:lnTo>
                  <a:lnTo>
                    <a:pt x="404" y="598"/>
                  </a:lnTo>
                  <a:lnTo>
                    <a:pt x="406" y="598"/>
                  </a:lnTo>
                  <a:lnTo>
                    <a:pt x="404" y="598"/>
                  </a:lnTo>
                  <a:lnTo>
                    <a:pt x="406" y="598"/>
                  </a:lnTo>
                  <a:lnTo>
                    <a:pt x="408" y="598"/>
                  </a:lnTo>
                  <a:lnTo>
                    <a:pt x="406" y="598"/>
                  </a:lnTo>
                  <a:lnTo>
                    <a:pt x="408" y="598"/>
                  </a:lnTo>
                  <a:lnTo>
                    <a:pt x="408" y="600"/>
                  </a:lnTo>
                  <a:lnTo>
                    <a:pt x="406" y="600"/>
                  </a:lnTo>
                  <a:lnTo>
                    <a:pt x="406" y="602"/>
                  </a:lnTo>
                  <a:lnTo>
                    <a:pt x="406" y="604"/>
                  </a:lnTo>
                  <a:lnTo>
                    <a:pt x="408" y="604"/>
                  </a:lnTo>
                  <a:lnTo>
                    <a:pt x="410" y="604"/>
                  </a:lnTo>
                  <a:lnTo>
                    <a:pt x="408" y="604"/>
                  </a:lnTo>
                  <a:lnTo>
                    <a:pt x="408" y="606"/>
                  </a:lnTo>
                  <a:lnTo>
                    <a:pt x="406" y="606"/>
                  </a:lnTo>
                  <a:lnTo>
                    <a:pt x="408" y="606"/>
                  </a:lnTo>
                  <a:lnTo>
                    <a:pt x="408" y="608"/>
                  </a:lnTo>
                  <a:lnTo>
                    <a:pt x="408" y="610"/>
                  </a:lnTo>
                  <a:lnTo>
                    <a:pt x="408" y="612"/>
                  </a:lnTo>
                  <a:lnTo>
                    <a:pt x="410" y="612"/>
                  </a:lnTo>
                  <a:lnTo>
                    <a:pt x="408" y="612"/>
                  </a:lnTo>
                  <a:lnTo>
                    <a:pt x="408" y="614"/>
                  </a:lnTo>
                  <a:lnTo>
                    <a:pt x="410" y="614"/>
                  </a:lnTo>
                  <a:lnTo>
                    <a:pt x="410" y="616"/>
                  </a:lnTo>
                  <a:lnTo>
                    <a:pt x="412" y="616"/>
                  </a:lnTo>
                  <a:lnTo>
                    <a:pt x="414" y="616"/>
                  </a:lnTo>
                  <a:lnTo>
                    <a:pt x="414" y="616"/>
                  </a:lnTo>
                  <a:lnTo>
                    <a:pt x="414" y="616"/>
                  </a:lnTo>
                  <a:lnTo>
                    <a:pt x="416" y="616"/>
                  </a:lnTo>
                  <a:lnTo>
                    <a:pt x="418" y="616"/>
                  </a:lnTo>
                  <a:lnTo>
                    <a:pt x="416" y="616"/>
                  </a:lnTo>
                  <a:lnTo>
                    <a:pt x="414" y="616"/>
                  </a:lnTo>
                  <a:lnTo>
                    <a:pt x="414" y="616"/>
                  </a:lnTo>
                  <a:lnTo>
                    <a:pt x="412" y="616"/>
                  </a:lnTo>
                  <a:lnTo>
                    <a:pt x="410" y="616"/>
                  </a:lnTo>
                  <a:lnTo>
                    <a:pt x="410" y="618"/>
                  </a:lnTo>
                  <a:lnTo>
                    <a:pt x="412" y="618"/>
                  </a:lnTo>
                  <a:lnTo>
                    <a:pt x="410" y="618"/>
                  </a:lnTo>
                  <a:lnTo>
                    <a:pt x="412" y="618"/>
                  </a:lnTo>
                  <a:lnTo>
                    <a:pt x="414" y="618"/>
                  </a:lnTo>
                  <a:lnTo>
                    <a:pt x="416" y="618"/>
                  </a:lnTo>
                  <a:lnTo>
                    <a:pt x="416" y="616"/>
                  </a:lnTo>
                  <a:lnTo>
                    <a:pt x="416" y="616"/>
                  </a:lnTo>
                  <a:lnTo>
                    <a:pt x="416" y="616"/>
                  </a:lnTo>
                  <a:lnTo>
                    <a:pt x="416" y="618"/>
                  </a:lnTo>
                  <a:lnTo>
                    <a:pt x="416" y="620"/>
                  </a:lnTo>
                  <a:lnTo>
                    <a:pt x="416" y="622"/>
                  </a:lnTo>
                  <a:lnTo>
                    <a:pt x="416" y="620"/>
                  </a:lnTo>
                  <a:lnTo>
                    <a:pt x="414" y="620"/>
                  </a:lnTo>
                  <a:lnTo>
                    <a:pt x="414" y="622"/>
                  </a:lnTo>
                  <a:lnTo>
                    <a:pt x="414" y="620"/>
                  </a:lnTo>
                  <a:lnTo>
                    <a:pt x="412" y="620"/>
                  </a:lnTo>
                  <a:lnTo>
                    <a:pt x="410" y="620"/>
                  </a:lnTo>
                  <a:lnTo>
                    <a:pt x="410" y="622"/>
                  </a:lnTo>
                  <a:lnTo>
                    <a:pt x="410" y="620"/>
                  </a:lnTo>
                  <a:lnTo>
                    <a:pt x="408" y="620"/>
                  </a:lnTo>
                  <a:lnTo>
                    <a:pt x="408" y="622"/>
                  </a:lnTo>
                  <a:lnTo>
                    <a:pt x="406" y="622"/>
                  </a:lnTo>
                  <a:lnTo>
                    <a:pt x="404" y="622"/>
                  </a:lnTo>
                  <a:lnTo>
                    <a:pt x="404" y="624"/>
                  </a:lnTo>
                  <a:lnTo>
                    <a:pt x="404" y="626"/>
                  </a:lnTo>
                  <a:lnTo>
                    <a:pt x="402" y="626"/>
                  </a:lnTo>
                  <a:lnTo>
                    <a:pt x="404" y="626"/>
                  </a:lnTo>
                  <a:lnTo>
                    <a:pt x="402" y="626"/>
                  </a:lnTo>
                  <a:lnTo>
                    <a:pt x="402" y="628"/>
                  </a:lnTo>
                  <a:lnTo>
                    <a:pt x="402" y="626"/>
                  </a:lnTo>
                  <a:lnTo>
                    <a:pt x="402" y="628"/>
                  </a:lnTo>
                  <a:lnTo>
                    <a:pt x="402" y="626"/>
                  </a:lnTo>
                  <a:lnTo>
                    <a:pt x="400" y="626"/>
                  </a:lnTo>
                  <a:lnTo>
                    <a:pt x="402" y="626"/>
                  </a:lnTo>
                  <a:lnTo>
                    <a:pt x="400" y="626"/>
                  </a:lnTo>
                  <a:lnTo>
                    <a:pt x="402" y="626"/>
                  </a:lnTo>
                  <a:lnTo>
                    <a:pt x="400" y="626"/>
                  </a:lnTo>
                  <a:lnTo>
                    <a:pt x="400" y="626"/>
                  </a:lnTo>
                  <a:lnTo>
                    <a:pt x="400" y="626"/>
                  </a:lnTo>
                  <a:lnTo>
                    <a:pt x="400" y="624"/>
                  </a:lnTo>
                  <a:lnTo>
                    <a:pt x="400" y="626"/>
                  </a:lnTo>
                  <a:lnTo>
                    <a:pt x="400" y="624"/>
                  </a:lnTo>
                  <a:lnTo>
                    <a:pt x="398" y="624"/>
                  </a:lnTo>
                  <a:lnTo>
                    <a:pt x="398" y="622"/>
                  </a:lnTo>
                  <a:lnTo>
                    <a:pt x="398" y="624"/>
                  </a:lnTo>
                  <a:lnTo>
                    <a:pt x="396" y="624"/>
                  </a:lnTo>
                  <a:lnTo>
                    <a:pt x="396" y="622"/>
                  </a:lnTo>
                  <a:lnTo>
                    <a:pt x="396" y="620"/>
                  </a:lnTo>
                  <a:lnTo>
                    <a:pt x="394" y="620"/>
                  </a:lnTo>
                  <a:lnTo>
                    <a:pt x="394" y="618"/>
                  </a:lnTo>
                  <a:lnTo>
                    <a:pt x="392" y="618"/>
                  </a:lnTo>
                  <a:lnTo>
                    <a:pt x="392" y="616"/>
                  </a:lnTo>
                  <a:lnTo>
                    <a:pt x="390" y="616"/>
                  </a:lnTo>
                  <a:lnTo>
                    <a:pt x="392" y="616"/>
                  </a:lnTo>
                  <a:lnTo>
                    <a:pt x="392" y="616"/>
                  </a:lnTo>
                  <a:lnTo>
                    <a:pt x="390" y="616"/>
                  </a:lnTo>
                  <a:lnTo>
                    <a:pt x="390" y="616"/>
                  </a:lnTo>
                  <a:lnTo>
                    <a:pt x="390" y="616"/>
                  </a:lnTo>
                  <a:lnTo>
                    <a:pt x="388" y="616"/>
                  </a:lnTo>
                  <a:lnTo>
                    <a:pt x="386" y="616"/>
                  </a:lnTo>
                  <a:lnTo>
                    <a:pt x="384" y="616"/>
                  </a:lnTo>
                  <a:lnTo>
                    <a:pt x="384" y="614"/>
                  </a:lnTo>
                  <a:lnTo>
                    <a:pt x="384" y="616"/>
                  </a:lnTo>
                  <a:lnTo>
                    <a:pt x="382" y="616"/>
                  </a:lnTo>
                  <a:lnTo>
                    <a:pt x="382" y="614"/>
                  </a:lnTo>
                  <a:lnTo>
                    <a:pt x="384" y="614"/>
                  </a:lnTo>
                  <a:lnTo>
                    <a:pt x="382" y="614"/>
                  </a:lnTo>
                  <a:lnTo>
                    <a:pt x="380" y="614"/>
                  </a:lnTo>
                  <a:lnTo>
                    <a:pt x="380" y="612"/>
                  </a:lnTo>
                  <a:lnTo>
                    <a:pt x="380" y="614"/>
                  </a:lnTo>
                  <a:lnTo>
                    <a:pt x="378" y="614"/>
                  </a:lnTo>
                  <a:lnTo>
                    <a:pt x="378" y="612"/>
                  </a:lnTo>
                  <a:lnTo>
                    <a:pt x="378" y="614"/>
                  </a:lnTo>
                  <a:lnTo>
                    <a:pt x="376" y="614"/>
                  </a:lnTo>
                  <a:lnTo>
                    <a:pt x="376" y="612"/>
                  </a:lnTo>
                  <a:lnTo>
                    <a:pt x="376" y="614"/>
                  </a:lnTo>
                  <a:lnTo>
                    <a:pt x="374" y="614"/>
                  </a:lnTo>
                  <a:lnTo>
                    <a:pt x="374" y="612"/>
                  </a:lnTo>
                  <a:lnTo>
                    <a:pt x="374" y="614"/>
                  </a:lnTo>
                  <a:lnTo>
                    <a:pt x="374" y="612"/>
                  </a:lnTo>
                  <a:lnTo>
                    <a:pt x="372" y="612"/>
                  </a:lnTo>
                  <a:lnTo>
                    <a:pt x="370" y="612"/>
                  </a:lnTo>
                  <a:lnTo>
                    <a:pt x="370" y="614"/>
                  </a:lnTo>
                  <a:lnTo>
                    <a:pt x="368" y="614"/>
                  </a:lnTo>
                  <a:lnTo>
                    <a:pt x="368" y="612"/>
                  </a:lnTo>
                  <a:lnTo>
                    <a:pt x="366" y="612"/>
                  </a:lnTo>
                  <a:lnTo>
                    <a:pt x="364" y="612"/>
                  </a:lnTo>
                  <a:lnTo>
                    <a:pt x="362" y="612"/>
                  </a:lnTo>
                  <a:lnTo>
                    <a:pt x="364" y="612"/>
                  </a:lnTo>
                  <a:lnTo>
                    <a:pt x="362" y="612"/>
                  </a:lnTo>
                  <a:lnTo>
                    <a:pt x="362" y="610"/>
                  </a:lnTo>
                  <a:lnTo>
                    <a:pt x="362" y="612"/>
                  </a:lnTo>
                  <a:lnTo>
                    <a:pt x="360" y="612"/>
                  </a:lnTo>
                  <a:lnTo>
                    <a:pt x="360" y="610"/>
                  </a:lnTo>
                  <a:lnTo>
                    <a:pt x="358" y="610"/>
                  </a:lnTo>
                  <a:lnTo>
                    <a:pt x="358" y="608"/>
                  </a:lnTo>
                  <a:lnTo>
                    <a:pt x="356" y="608"/>
                  </a:lnTo>
                  <a:lnTo>
                    <a:pt x="358" y="608"/>
                  </a:lnTo>
                  <a:lnTo>
                    <a:pt x="356" y="608"/>
                  </a:lnTo>
                  <a:lnTo>
                    <a:pt x="354" y="608"/>
                  </a:lnTo>
                  <a:lnTo>
                    <a:pt x="354" y="606"/>
                  </a:lnTo>
                  <a:lnTo>
                    <a:pt x="354" y="604"/>
                  </a:lnTo>
                  <a:lnTo>
                    <a:pt x="354" y="606"/>
                  </a:lnTo>
                  <a:lnTo>
                    <a:pt x="354" y="604"/>
                  </a:lnTo>
                  <a:lnTo>
                    <a:pt x="352" y="604"/>
                  </a:lnTo>
                  <a:lnTo>
                    <a:pt x="354" y="604"/>
                  </a:lnTo>
                  <a:lnTo>
                    <a:pt x="352" y="604"/>
                  </a:lnTo>
                  <a:lnTo>
                    <a:pt x="352" y="604"/>
                  </a:lnTo>
                  <a:lnTo>
                    <a:pt x="352" y="602"/>
                  </a:lnTo>
                  <a:lnTo>
                    <a:pt x="350" y="602"/>
                  </a:lnTo>
                  <a:lnTo>
                    <a:pt x="350" y="600"/>
                  </a:lnTo>
                  <a:lnTo>
                    <a:pt x="348" y="600"/>
                  </a:lnTo>
                  <a:lnTo>
                    <a:pt x="348" y="602"/>
                  </a:lnTo>
                  <a:lnTo>
                    <a:pt x="348" y="600"/>
                  </a:lnTo>
                  <a:lnTo>
                    <a:pt x="346" y="600"/>
                  </a:lnTo>
                  <a:lnTo>
                    <a:pt x="346" y="598"/>
                  </a:lnTo>
                  <a:lnTo>
                    <a:pt x="344" y="598"/>
                  </a:lnTo>
                  <a:lnTo>
                    <a:pt x="346" y="598"/>
                  </a:lnTo>
                  <a:lnTo>
                    <a:pt x="346" y="600"/>
                  </a:lnTo>
                  <a:lnTo>
                    <a:pt x="344" y="600"/>
                  </a:lnTo>
                  <a:lnTo>
                    <a:pt x="344" y="598"/>
                  </a:lnTo>
                  <a:lnTo>
                    <a:pt x="342" y="598"/>
                  </a:lnTo>
                  <a:lnTo>
                    <a:pt x="340" y="598"/>
                  </a:lnTo>
                  <a:lnTo>
                    <a:pt x="338" y="598"/>
                  </a:lnTo>
                  <a:lnTo>
                    <a:pt x="338" y="596"/>
                  </a:lnTo>
                  <a:lnTo>
                    <a:pt x="336" y="596"/>
                  </a:lnTo>
                  <a:lnTo>
                    <a:pt x="338" y="596"/>
                  </a:lnTo>
                  <a:lnTo>
                    <a:pt x="336" y="596"/>
                  </a:lnTo>
                  <a:lnTo>
                    <a:pt x="336" y="594"/>
                  </a:lnTo>
                  <a:lnTo>
                    <a:pt x="336" y="596"/>
                  </a:lnTo>
                  <a:lnTo>
                    <a:pt x="336" y="594"/>
                  </a:lnTo>
                  <a:lnTo>
                    <a:pt x="334" y="594"/>
                  </a:lnTo>
                  <a:lnTo>
                    <a:pt x="336" y="594"/>
                  </a:lnTo>
                  <a:lnTo>
                    <a:pt x="334" y="594"/>
                  </a:lnTo>
                  <a:lnTo>
                    <a:pt x="334" y="592"/>
                  </a:lnTo>
                  <a:lnTo>
                    <a:pt x="332" y="592"/>
                  </a:lnTo>
                  <a:lnTo>
                    <a:pt x="332" y="590"/>
                  </a:lnTo>
                  <a:lnTo>
                    <a:pt x="330" y="590"/>
                  </a:lnTo>
                  <a:lnTo>
                    <a:pt x="328" y="590"/>
                  </a:lnTo>
                  <a:lnTo>
                    <a:pt x="326" y="590"/>
                  </a:lnTo>
                  <a:lnTo>
                    <a:pt x="326" y="588"/>
                  </a:lnTo>
                  <a:lnTo>
                    <a:pt x="324" y="588"/>
                  </a:lnTo>
                  <a:lnTo>
                    <a:pt x="324" y="586"/>
                  </a:lnTo>
                  <a:lnTo>
                    <a:pt x="322" y="586"/>
                  </a:lnTo>
                  <a:lnTo>
                    <a:pt x="322" y="588"/>
                  </a:lnTo>
                  <a:lnTo>
                    <a:pt x="322" y="586"/>
                  </a:lnTo>
                  <a:lnTo>
                    <a:pt x="320" y="586"/>
                  </a:lnTo>
                  <a:lnTo>
                    <a:pt x="318" y="586"/>
                  </a:lnTo>
                  <a:lnTo>
                    <a:pt x="316" y="586"/>
                  </a:lnTo>
                  <a:lnTo>
                    <a:pt x="316" y="584"/>
                  </a:lnTo>
                  <a:lnTo>
                    <a:pt x="316" y="582"/>
                  </a:lnTo>
                  <a:lnTo>
                    <a:pt x="318" y="582"/>
                  </a:lnTo>
                  <a:lnTo>
                    <a:pt x="318" y="580"/>
                  </a:lnTo>
                  <a:lnTo>
                    <a:pt x="316" y="580"/>
                  </a:lnTo>
                  <a:lnTo>
                    <a:pt x="316" y="578"/>
                  </a:lnTo>
                  <a:lnTo>
                    <a:pt x="314" y="578"/>
                  </a:lnTo>
                  <a:lnTo>
                    <a:pt x="314" y="576"/>
                  </a:lnTo>
                  <a:lnTo>
                    <a:pt x="314" y="574"/>
                  </a:lnTo>
                  <a:lnTo>
                    <a:pt x="314" y="572"/>
                  </a:lnTo>
                  <a:lnTo>
                    <a:pt x="312" y="570"/>
                  </a:lnTo>
                  <a:lnTo>
                    <a:pt x="312" y="568"/>
                  </a:lnTo>
                  <a:lnTo>
                    <a:pt x="312" y="568"/>
                  </a:lnTo>
                  <a:lnTo>
                    <a:pt x="312" y="566"/>
                  </a:lnTo>
                  <a:lnTo>
                    <a:pt x="312" y="564"/>
                  </a:lnTo>
                  <a:lnTo>
                    <a:pt x="310" y="564"/>
                  </a:lnTo>
                  <a:lnTo>
                    <a:pt x="310" y="562"/>
                  </a:lnTo>
                  <a:lnTo>
                    <a:pt x="310" y="560"/>
                  </a:lnTo>
                  <a:lnTo>
                    <a:pt x="308" y="558"/>
                  </a:lnTo>
                  <a:lnTo>
                    <a:pt x="308" y="556"/>
                  </a:lnTo>
                  <a:lnTo>
                    <a:pt x="306" y="554"/>
                  </a:lnTo>
                  <a:lnTo>
                    <a:pt x="304" y="554"/>
                  </a:lnTo>
                  <a:lnTo>
                    <a:pt x="304" y="552"/>
                  </a:lnTo>
                  <a:lnTo>
                    <a:pt x="306" y="552"/>
                  </a:lnTo>
                  <a:lnTo>
                    <a:pt x="304" y="552"/>
                  </a:lnTo>
                  <a:lnTo>
                    <a:pt x="304" y="550"/>
                  </a:lnTo>
                  <a:lnTo>
                    <a:pt x="304" y="548"/>
                  </a:lnTo>
                  <a:lnTo>
                    <a:pt x="304" y="550"/>
                  </a:lnTo>
                  <a:lnTo>
                    <a:pt x="304" y="550"/>
                  </a:lnTo>
                  <a:lnTo>
                    <a:pt x="304" y="548"/>
                  </a:lnTo>
                  <a:lnTo>
                    <a:pt x="304" y="546"/>
                  </a:lnTo>
                  <a:lnTo>
                    <a:pt x="304" y="546"/>
                  </a:lnTo>
                  <a:lnTo>
                    <a:pt x="304" y="544"/>
                  </a:lnTo>
                  <a:lnTo>
                    <a:pt x="304" y="544"/>
                  </a:lnTo>
                  <a:lnTo>
                    <a:pt x="304" y="544"/>
                  </a:lnTo>
                  <a:lnTo>
                    <a:pt x="304" y="542"/>
                  </a:lnTo>
                  <a:lnTo>
                    <a:pt x="304" y="540"/>
                  </a:lnTo>
                  <a:lnTo>
                    <a:pt x="304" y="538"/>
                  </a:lnTo>
                  <a:lnTo>
                    <a:pt x="304" y="536"/>
                  </a:lnTo>
                  <a:lnTo>
                    <a:pt x="304" y="534"/>
                  </a:lnTo>
                  <a:lnTo>
                    <a:pt x="304" y="534"/>
                  </a:lnTo>
                  <a:lnTo>
                    <a:pt x="304" y="532"/>
                  </a:lnTo>
                  <a:lnTo>
                    <a:pt x="302" y="532"/>
                  </a:lnTo>
                  <a:lnTo>
                    <a:pt x="302" y="530"/>
                  </a:lnTo>
                  <a:lnTo>
                    <a:pt x="304" y="530"/>
                  </a:lnTo>
                  <a:lnTo>
                    <a:pt x="304" y="528"/>
                  </a:lnTo>
                  <a:lnTo>
                    <a:pt x="304" y="526"/>
                  </a:lnTo>
                  <a:lnTo>
                    <a:pt x="304" y="524"/>
                  </a:lnTo>
                  <a:lnTo>
                    <a:pt x="304" y="522"/>
                  </a:lnTo>
                  <a:lnTo>
                    <a:pt x="304" y="522"/>
                  </a:lnTo>
                  <a:lnTo>
                    <a:pt x="304" y="520"/>
                  </a:lnTo>
                  <a:lnTo>
                    <a:pt x="304" y="520"/>
                  </a:lnTo>
                  <a:lnTo>
                    <a:pt x="304" y="520"/>
                  </a:lnTo>
                  <a:lnTo>
                    <a:pt x="304" y="518"/>
                  </a:lnTo>
                  <a:lnTo>
                    <a:pt x="304" y="516"/>
                  </a:lnTo>
                  <a:lnTo>
                    <a:pt x="302" y="516"/>
                  </a:lnTo>
                  <a:lnTo>
                    <a:pt x="302" y="514"/>
                  </a:lnTo>
                  <a:lnTo>
                    <a:pt x="302" y="516"/>
                  </a:lnTo>
                  <a:lnTo>
                    <a:pt x="300" y="514"/>
                  </a:lnTo>
                  <a:lnTo>
                    <a:pt x="302" y="514"/>
                  </a:lnTo>
                  <a:lnTo>
                    <a:pt x="300" y="514"/>
                  </a:lnTo>
                  <a:lnTo>
                    <a:pt x="300" y="512"/>
                  </a:lnTo>
                  <a:lnTo>
                    <a:pt x="298" y="512"/>
                  </a:lnTo>
                  <a:lnTo>
                    <a:pt x="298" y="514"/>
                  </a:lnTo>
                  <a:lnTo>
                    <a:pt x="298" y="512"/>
                  </a:lnTo>
                  <a:lnTo>
                    <a:pt x="296" y="512"/>
                  </a:lnTo>
                  <a:lnTo>
                    <a:pt x="298" y="512"/>
                  </a:lnTo>
                  <a:lnTo>
                    <a:pt x="296" y="512"/>
                  </a:lnTo>
                  <a:lnTo>
                    <a:pt x="296" y="510"/>
                  </a:lnTo>
                  <a:lnTo>
                    <a:pt x="296" y="512"/>
                  </a:lnTo>
                  <a:lnTo>
                    <a:pt x="294" y="512"/>
                  </a:lnTo>
                  <a:lnTo>
                    <a:pt x="294" y="510"/>
                  </a:lnTo>
                  <a:lnTo>
                    <a:pt x="294" y="508"/>
                  </a:lnTo>
                  <a:lnTo>
                    <a:pt x="292" y="508"/>
                  </a:lnTo>
                  <a:lnTo>
                    <a:pt x="292" y="506"/>
                  </a:lnTo>
                  <a:lnTo>
                    <a:pt x="290" y="506"/>
                  </a:lnTo>
                  <a:lnTo>
                    <a:pt x="290" y="504"/>
                  </a:lnTo>
                  <a:lnTo>
                    <a:pt x="288" y="504"/>
                  </a:lnTo>
                  <a:lnTo>
                    <a:pt x="288" y="502"/>
                  </a:lnTo>
                  <a:lnTo>
                    <a:pt x="286" y="502"/>
                  </a:lnTo>
                  <a:lnTo>
                    <a:pt x="288" y="500"/>
                  </a:lnTo>
                  <a:lnTo>
                    <a:pt x="286" y="500"/>
                  </a:lnTo>
                  <a:lnTo>
                    <a:pt x="288" y="500"/>
                  </a:lnTo>
                  <a:lnTo>
                    <a:pt x="288" y="498"/>
                  </a:lnTo>
                  <a:lnTo>
                    <a:pt x="286" y="498"/>
                  </a:lnTo>
                  <a:lnTo>
                    <a:pt x="286" y="496"/>
                  </a:lnTo>
                  <a:lnTo>
                    <a:pt x="286" y="494"/>
                  </a:lnTo>
                  <a:lnTo>
                    <a:pt x="284" y="492"/>
                  </a:lnTo>
                  <a:lnTo>
                    <a:pt x="286" y="492"/>
                  </a:lnTo>
                  <a:lnTo>
                    <a:pt x="286" y="490"/>
                  </a:lnTo>
                  <a:lnTo>
                    <a:pt x="284" y="490"/>
                  </a:lnTo>
                  <a:lnTo>
                    <a:pt x="282" y="490"/>
                  </a:lnTo>
                  <a:lnTo>
                    <a:pt x="282" y="488"/>
                  </a:lnTo>
                  <a:lnTo>
                    <a:pt x="282" y="486"/>
                  </a:lnTo>
                  <a:lnTo>
                    <a:pt x="282" y="484"/>
                  </a:lnTo>
                  <a:lnTo>
                    <a:pt x="280" y="484"/>
                  </a:lnTo>
                  <a:lnTo>
                    <a:pt x="280" y="482"/>
                  </a:lnTo>
                  <a:lnTo>
                    <a:pt x="278" y="480"/>
                  </a:lnTo>
                  <a:lnTo>
                    <a:pt x="278" y="478"/>
                  </a:lnTo>
                  <a:lnTo>
                    <a:pt x="276" y="478"/>
                  </a:lnTo>
                  <a:lnTo>
                    <a:pt x="274" y="478"/>
                  </a:lnTo>
                  <a:lnTo>
                    <a:pt x="274" y="476"/>
                  </a:lnTo>
                  <a:lnTo>
                    <a:pt x="272" y="476"/>
                  </a:lnTo>
                  <a:lnTo>
                    <a:pt x="272" y="474"/>
                  </a:lnTo>
                  <a:lnTo>
                    <a:pt x="270" y="474"/>
                  </a:lnTo>
                  <a:lnTo>
                    <a:pt x="270" y="472"/>
                  </a:lnTo>
                  <a:lnTo>
                    <a:pt x="270" y="472"/>
                  </a:lnTo>
                  <a:lnTo>
                    <a:pt x="268" y="472"/>
                  </a:lnTo>
                  <a:lnTo>
                    <a:pt x="270" y="472"/>
                  </a:lnTo>
                  <a:lnTo>
                    <a:pt x="270" y="470"/>
                  </a:lnTo>
                  <a:lnTo>
                    <a:pt x="268" y="470"/>
                  </a:lnTo>
                  <a:lnTo>
                    <a:pt x="268" y="468"/>
                  </a:lnTo>
                  <a:lnTo>
                    <a:pt x="268" y="466"/>
                  </a:lnTo>
                  <a:lnTo>
                    <a:pt x="266" y="466"/>
                  </a:lnTo>
                  <a:lnTo>
                    <a:pt x="266" y="464"/>
                  </a:lnTo>
                  <a:lnTo>
                    <a:pt x="268" y="464"/>
                  </a:lnTo>
                  <a:lnTo>
                    <a:pt x="268" y="462"/>
                  </a:lnTo>
                  <a:lnTo>
                    <a:pt x="266" y="462"/>
                  </a:lnTo>
                  <a:lnTo>
                    <a:pt x="266" y="460"/>
                  </a:lnTo>
                  <a:lnTo>
                    <a:pt x="268" y="460"/>
                  </a:lnTo>
                  <a:lnTo>
                    <a:pt x="268" y="458"/>
                  </a:lnTo>
                  <a:lnTo>
                    <a:pt x="266" y="458"/>
                  </a:lnTo>
                  <a:lnTo>
                    <a:pt x="266" y="456"/>
                  </a:lnTo>
                  <a:lnTo>
                    <a:pt x="264" y="456"/>
                  </a:lnTo>
                  <a:lnTo>
                    <a:pt x="266" y="454"/>
                  </a:lnTo>
                  <a:lnTo>
                    <a:pt x="264" y="452"/>
                  </a:lnTo>
                  <a:lnTo>
                    <a:pt x="264" y="449"/>
                  </a:lnTo>
                  <a:lnTo>
                    <a:pt x="262" y="449"/>
                  </a:lnTo>
                  <a:lnTo>
                    <a:pt x="262" y="447"/>
                  </a:lnTo>
                  <a:lnTo>
                    <a:pt x="260" y="447"/>
                  </a:lnTo>
                  <a:lnTo>
                    <a:pt x="260" y="445"/>
                  </a:lnTo>
                  <a:lnTo>
                    <a:pt x="262" y="445"/>
                  </a:lnTo>
                  <a:lnTo>
                    <a:pt x="262" y="443"/>
                  </a:lnTo>
                  <a:lnTo>
                    <a:pt x="260" y="443"/>
                  </a:lnTo>
                  <a:lnTo>
                    <a:pt x="260" y="441"/>
                  </a:lnTo>
                  <a:lnTo>
                    <a:pt x="260" y="439"/>
                  </a:lnTo>
                  <a:lnTo>
                    <a:pt x="260" y="437"/>
                  </a:lnTo>
                  <a:lnTo>
                    <a:pt x="258" y="437"/>
                  </a:lnTo>
                  <a:lnTo>
                    <a:pt x="258" y="435"/>
                  </a:lnTo>
                  <a:lnTo>
                    <a:pt x="258" y="433"/>
                  </a:lnTo>
                  <a:lnTo>
                    <a:pt x="256" y="433"/>
                  </a:lnTo>
                  <a:lnTo>
                    <a:pt x="256" y="431"/>
                  </a:lnTo>
                  <a:lnTo>
                    <a:pt x="256" y="433"/>
                  </a:lnTo>
                  <a:lnTo>
                    <a:pt x="256" y="431"/>
                  </a:lnTo>
                  <a:lnTo>
                    <a:pt x="256" y="429"/>
                  </a:lnTo>
                  <a:lnTo>
                    <a:pt x="256" y="427"/>
                  </a:lnTo>
                  <a:lnTo>
                    <a:pt x="256" y="425"/>
                  </a:lnTo>
                  <a:lnTo>
                    <a:pt x="256" y="423"/>
                  </a:lnTo>
                  <a:lnTo>
                    <a:pt x="256" y="423"/>
                  </a:lnTo>
                  <a:lnTo>
                    <a:pt x="256" y="421"/>
                  </a:lnTo>
                  <a:lnTo>
                    <a:pt x="256" y="421"/>
                  </a:lnTo>
                  <a:lnTo>
                    <a:pt x="254" y="421"/>
                  </a:lnTo>
                  <a:lnTo>
                    <a:pt x="254" y="419"/>
                  </a:lnTo>
                  <a:lnTo>
                    <a:pt x="254" y="417"/>
                  </a:lnTo>
                  <a:lnTo>
                    <a:pt x="252" y="417"/>
                  </a:lnTo>
                  <a:lnTo>
                    <a:pt x="254" y="417"/>
                  </a:lnTo>
                  <a:lnTo>
                    <a:pt x="254" y="415"/>
                  </a:lnTo>
                  <a:lnTo>
                    <a:pt x="252" y="415"/>
                  </a:lnTo>
                  <a:lnTo>
                    <a:pt x="252" y="413"/>
                  </a:lnTo>
                  <a:lnTo>
                    <a:pt x="252" y="411"/>
                  </a:lnTo>
                  <a:lnTo>
                    <a:pt x="250" y="411"/>
                  </a:lnTo>
                  <a:lnTo>
                    <a:pt x="248" y="411"/>
                  </a:lnTo>
                  <a:lnTo>
                    <a:pt x="248" y="409"/>
                  </a:lnTo>
                  <a:lnTo>
                    <a:pt x="248" y="407"/>
                  </a:lnTo>
                  <a:lnTo>
                    <a:pt x="246" y="407"/>
                  </a:lnTo>
                  <a:lnTo>
                    <a:pt x="246" y="405"/>
                  </a:lnTo>
                  <a:lnTo>
                    <a:pt x="244" y="405"/>
                  </a:lnTo>
                  <a:lnTo>
                    <a:pt x="242" y="405"/>
                  </a:lnTo>
                  <a:lnTo>
                    <a:pt x="242" y="403"/>
                  </a:lnTo>
                  <a:lnTo>
                    <a:pt x="242" y="401"/>
                  </a:lnTo>
                  <a:lnTo>
                    <a:pt x="240" y="399"/>
                  </a:lnTo>
                  <a:lnTo>
                    <a:pt x="240" y="397"/>
                  </a:lnTo>
                  <a:lnTo>
                    <a:pt x="238" y="397"/>
                  </a:lnTo>
                  <a:lnTo>
                    <a:pt x="236" y="397"/>
                  </a:lnTo>
                  <a:lnTo>
                    <a:pt x="236" y="395"/>
                  </a:lnTo>
                  <a:lnTo>
                    <a:pt x="234" y="395"/>
                  </a:lnTo>
                  <a:lnTo>
                    <a:pt x="232" y="393"/>
                  </a:lnTo>
                  <a:lnTo>
                    <a:pt x="232" y="391"/>
                  </a:lnTo>
                  <a:lnTo>
                    <a:pt x="232" y="389"/>
                  </a:lnTo>
                  <a:lnTo>
                    <a:pt x="232" y="387"/>
                  </a:lnTo>
                  <a:lnTo>
                    <a:pt x="230" y="387"/>
                  </a:lnTo>
                  <a:lnTo>
                    <a:pt x="230" y="389"/>
                  </a:lnTo>
                  <a:lnTo>
                    <a:pt x="230" y="391"/>
                  </a:lnTo>
                  <a:lnTo>
                    <a:pt x="230" y="389"/>
                  </a:lnTo>
                  <a:lnTo>
                    <a:pt x="230" y="387"/>
                  </a:lnTo>
                  <a:lnTo>
                    <a:pt x="230" y="385"/>
                  </a:lnTo>
                  <a:lnTo>
                    <a:pt x="228" y="385"/>
                  </a:lnTo>
                  <a:lnTo>
                    <a:pt x="226" y="383"/>
                  </a:lnTo>
                  <a:lnTo>
                    <a:pt x="226" y="381"/>
                  </a:lnTo>
                  <a:lnTo>
                    <a:pt x="226" y="379"/>
                  </a:lnTo>
                  <a:lnTo>
                    <a:pt x="226" y="377"/>
                  </a:lnTo>
                  <a:lnTo>
                    <a:pt x="226" y="379"/>
                  </a:lnTo>
                  <a:lnTo>
                    <a:pt x="224" y="379"/>
                  </a:lnTo>
                  <a:lnTo>
                    <a:pt x="224" y="377"/>
                  </a:lnTo>
                  <a:lnTo>
                    <a:pt x="222" y="377"/>
                  </a:lnTo>
                  <a:lnTo>
                    <a:pt x="220" y="377"/>
                  </a:lnTo>
                  <a:lnTo>
                    <a:pt x="220" y="375"/>
                  </a:lnTo>
                  <a:lnTo>
                    <a:pt x="218" y="375"/>
                  </a:lnTo>
                  <a:lnTo>
                    <a:pt x="218" y="377"/>
                  </a:lnTo>
                  <a:lnTo>
                    <a:pt x="216" y="377"/>
                  </a:lnTo>
                  <a:lnTo>
                    <a:pt x="214" y="377"/>
                  </a:lnTo>
                  <a:lnTo>
                    <a:pt x="212" y="375"/>
                  </a:lnTo>
                  <a:lnTo>
                    <a:pt x="212" y="377"/>
                  </a:lnTo>
                  <a:lnTo>
                    <a:pt x="212" y="375"/>
                  </a:lnTo>
                  <a:lnTo>
                    <a:pt x="210" y="375"/>
                  </a:lnTo>
                  <a:lnTo>
                    <a:pt x="208" y="375"/>
                  </a:lnTo>
                  <a:lnTo>
                    <a:pt x="208" y="375"/>
                  </a:lnTo>
                  <a:lnTo>
                    <a:pt x="208" y="375"/>
                  </a:lnTo>
                  <a:lnTo>
                    <a:pt x="208" y="375"/>
                  </a:lnTo>
                  <a:lnTo>
                    <a:pt x="208" y="375"/>
                  </a:lnTo>
                  <a:lnTo>
                    <a:pt x="206" y="375"/>
                  </a:lnTo>
                  <a:lnTo>
                    <a:pt x="208" y="375"/>
                  </a:lnTo>
                  <a:lnTo>
                    <a:pt x="206" y="375"/>
                  </a:lnTo>
                  <a:lnTo>
                    <a:pt x="204" y="375"/>
                  </a:lnTo>
                  <a:lnTo>
                    <a:pt x="202" y="375"/>
                  </a:lnTo>
                  <a:lnTo>
                    <a:pt x="202" y="373"/>
                  </a:lnTo>
                  <a:lnTo>
                    <a:pt x="200" y="373"/>
                  </a:lnTo>
                  <a:lnTo>
                    <a:pt x="200" y="375"/>
                  </a:lnTo>
                  <a:lnTo>
                    <a:pt x="200" y="373"/>
                  </a:lnTo>
                  <a:lnTo>
                    <a:pt x="198" y="373"/>
                  </a:lnTo>
                  <a:lnTo>
                    <a:pt x="196" y="373"/>
                  </a:lnTo>
                  <a:lnTo>
                    <a:pt x="194" y="373"/>
                  </a:lnTo>
                  <a:lnTo>
                    <a:pt x="192" y="373"/>
                  </a:lnTo>
                  <a:lnTo>
                    <a:pt x="190" y="373"/>
                  </a:lnTo>
                  <a:lnTo>
                    <a:pt x="190" y="371"/>
                  </a:lnTo>
                  <a:lnTo>
                    <a:pt x="190" y="369"/>
                  </a:lnTo>
                  <a:lnTo>
                    <a:pt x="188" y="369"/>
                  </a:lnTo>
                  <a:lnTo>
                    <a:pt x="186" y="369"/>
                  </a:lnTo>
                  <a:lnTo>
                    <a:pt x="186" y="367"/>
                  </a:lnTo>
                  <a:lnTo>
                    <a:pt x="186" y="369"/>
                  </a:lnTo>
                  <a:lnTo>
                    <a:pt x="186" y="367"/>
                  </a:lnTo>
                  <a:lnTo>
                    <a:pt x="184" y="367"/>
                  </a:lnTo>
                  <a:lnTo>
                    <a:pt x="182" y="367"/>
                  </a:lnTo>
                  <a:lnTo>
                    <a:pt x="180" y="367"/>
                  </a:lnTo>
                  <a:lnTo>
                    <a:pt x="180" y="369"/>
                  </a:lnTo>
                  <a:lnTo>
                    <a:pt x="180" y="371"/>
                  </a:lnTo>
                  <a:lnTo>
                    <a:pt x="178" y="371"/>
                  </a:lnTo>
                  <a:lnTo>
                    <a:pt x="178" y="373"/>
                  </a:lnTo>
                  <a:lnTo>
                    <a:pt x="178" y="371"/>
                  </a:lnTo>
                  <a:lnTo>
                    <a:pt x="178" y="373"/>
                  </a:lnTo>
                  <a:lnTo>
                    <a:pt x="176" y="371"/>
                  </a:lnTo>
                  <a:lnTo>
                    <a:pt x="174" y="371"/>
                  </a:lnTo>
                  <a:lnTo>
                    <a:pt x="172" y="371"/>
                  </a:lnTo>
                  <a:lnTo>
                    <a:pt x="170" y="371"/>
                  </a:lnTo>
                  <a:lnTo>
                    <a:pt x="170" y="373"/>
                  </a:lnTo>
                  <a:lnTo>
                    <a:pt x="170" y="371"/>
                  </a:lnTo>
                  <a:lnTo>
                    <a:pt x="168" y="371"/>
                  </a:lnTo>
                  <a:lnTo>
                    <a:pt x="166" y="371"/>
                  </a:lnTo>
                  <a:lnTo>
                    <a:pt x="164" y="371"/>
                  </a:lnTo>
                  <a:lnTo>
                    <a:pt x="162" y="371"/>
                  </a:lnTo>
                  <a:lnTo>
                    <a:pt x="162" y="373"/>
                  </a:lnTo>
                  <a:lnTo>
                    <a:pt x="162" y="375"/>
                  </a:lnTo>
                  <a:lnTo>
                    <a:pt x="160" y="375"/>
                  </a:lnTo>
                  <a:lnTo>
                    <a:pt x="160" y="375"/>
                  </a:lnTo>
                  <a:lnTo>
                    <a:pt x="160" y="375"/>
                  </a:lnTo>
                  <a:lnTo>
                    <a:pt x="160" y="377"/>
                  </a:lnTo>
                  <a:lnTo>
                    <a:pt x="160" y="379"/>
                  </a:lnTo>
                  <a:lnTo>
                    <a:pt x="158" y="379"/>
                  </a:lnTo>
                  <a:lnTo>
                    <a:pt x="158" y="381"/>
                  </a:lnTo>
                  <a:lnTo>
                    <a:pt x="156" y="381"/>
                  </a:lnTo>
                  <a:lnTo>
                    <a:pt x="156" y="383"/>
                  </a:lnTo>
                  <a:lnTo>
                    <a:pt x="156" y="385"/>
                  </a:lnTo>
                  <a:lnTo>
                    <a:pt x="154" y="385"/>
                  </a:lnTo>
                  <a:lnTo>
                    <a:pt x="156" y="385"/>
                  </a:lnTo>
                  <a:lnTo>
                    <a:pt x="154" y="385"/>
                  </a:lnTo>
                  <a:lnTo>
                    <a:pt x="154" y="387"/>
                  </a:lnTo>
                  <a:lnTo>
                    <a:pt x="154" y="389"/>
                  </a:lnTo>
                  <a:lnTo>
                    <a:pt x="152" y="389"/>
                  </a:lnTo>
                  <a:lnTo>
                    <a:pt x="154" y="389"/>
                  </a:lnTo>
                  <a:lnTo>
                    <a:pt x="152" y="389"/>
                  </a:lnTo>
                  <a:lnTo>
                    <a:pt x="152" y="391"/>
                  </a:lnTo>
                  <a:lnTo>
                    <a:pt x="152" y="389"/>
                  </a:lnTo>
                  <a:lnTo>
                    <a:pt x="150" y="391"/>
                  </a:lnTo>
                  <a:lnTo>
                    <a:pt x="150" y="393"/>
                  </a:lnTo>
                  <a:lnTo>
                    <a:pt x="150" y="395"/>
                  </a:lnTo>
                  <a:lnTo>
                    <a:pt x="148" y="395"/>
                  </a:lnTo>
                  <a:lnTo>
                    <a:pt x="150" y="395"/>
                  </a:lnTo>
                  <a:lnTo>
                    <a:pt x="150" y="397"/>
                  </a:lnTo>
                  <a:lnTo>
                    <a:pt x="150" y="399"/>
                  </a:lnTo>
                  <a:lnTo>
                    <a:pt x="148" y="399"/>
                  </a:lnTo>
                  <a:lnTo>
                    <a:pt x="148" y="397"/>
                  </a:lnTo>
                  <a:lnTo>
                    <a:pt x="148" y="399"/>
                  </a:lnTo>
                  <a:lnTo>
                    <a:pt x="146" y="399"/>
                  </a:lnTo>
                  <a:lnTo>
                    <a:pt x="144" y="399"/>
                  </a:lnTo>
                  <a:lnTo>
                    <a:pt x="144" y="401"/>
                  </a:lnTo>
                  <a:lnTo>
                    <a:pt x="142" y="401"/>
                  </a:lnTo>
                  <a:lnTo>
                    <a:pt x="142" y="403"/>
                  </a:lnTo>
                  <a:lnTo>
                    <a:pt x="140" y="403"/>
                  </a:lnTo>
                  <a:lnTo>
                    <a:pt x="138" y="403"/>
                  </a:lnTo>
                  <a:lnTo>
                    <a:pt x="138" y="405"/>
                  </a:lnTo>
                  <a:lnTo>
                    <a:pt x="136" y="405"/>
                  </a:lnTo>
                  <a:lnTo>
                    <a:pt x="136" y="407"/>
                  </a:lnTo>
                  <a:lnTo>
                    <a:pt x="136" y="409"/>
                  </a:lnTo>
                  <a:lnTo>
                    <a:pt x="134" y="409"/>
                  </a:lnTo>
                  <a:lnTo>
                    <a:pt x="132" y="409"/>
                  </a:lnTo>
                  <a:lnTo>
                    <a:pt x="130" y="409"/>
                  </a:lnTo>
                  <a:lnTo>
                    <a:pt x="130" y="407"/>
                  </a:lnTo>
                  <a:lnTo>
                    <a:pt x="130" y="409"/>
                  </a:lnTo>
                  <a:lnTo>
                    <a:pt x="128" y="409"/>
                  </a:lnTo>
                  <a:lnTo>
                    <a:pt x="128" y="407"/>
                  </a:lnTo>
                  <a:lnTo>
                    <a:pt x="126" y="409"/>
                  </a:lnTo>
                  <a:lnTo>
                    <a:pt x="126" y="407"/>
                  </a:lnTo>
                  <a:lnTo>
                    <a:pt x="126" y="405"/>
                  </a:lnTo>
                  <a:lnTo>
                    <a:pt x="124" y="405"/>
                  </a:lnTo>
                  <a:lnTo>
                    <a:pt x="124" y="403"/>
                  </a:lnTo>
                  <a:lnTo>
                    <a:pt x="124" y="405"/>
                  </a:lnTo>
                  <a:lnTo>
                    <a:pt x="122" y="405"/>
                  </a:lnTo>
                  <a:lnTo>
                    <a:pt x="122" y="403"/>
                  </a:lnTo>
                  <a:lnTo>
                    <a:pt x="120" y="403"/>
                  </a:lnTo>
                  <a:lnTo>
                    <a:pt x="120" y="401"/>
                  </a:lnTo>
                  <a:lnTo>
                    <a:pt x="118" y="401"/>
                  </a:lnTo>
                  <a:lnTo>
                    <a:pt x="118" y="399"/>
                  </a:lnTo>
                  <a:lnTo>
                    <a:pt x="116" y="399"/>
                  </a:lnTo>
                  <a:lnTo>
                    <a:pt x="116" y="397"/>
                  </a:lnTo>
                  <a:lnTo>
                    <a:pt x="116" y="395"/>
                  </a:lnTo>
                  <a:lnTo>
                    <a:pt x="114" y="395"/>
                  </a:lnTo>
                  <a:lnTo>
                    <a:pt x="112" y="395"/>
                  </a:lnTo>
                  <a:lnTo>
                    <a:pt x="112" y="395"/>
                  </a:lnTo>
                  <a:lnTo>
                    <a:pt x="112" y="393"/>
                  </a:lnTo>
                  <a:lnTo>
                    <a:pt x="110" y="393"/>
                  </a:lnTo>
                  <a:lnTo>
                    <a:pt x="108" y="391"/>
                  </a:lnTo>
                  <a:lnTo>
                    <a:pt x="108" y="393"/>
                  </a:lnTo>
                  <a:lnTo>
                    <a:pt x="108" y="391"/>
                  </a:lnTo>
                  <a:lnTo>
                    <a:pt x="108" y="389"/>
                  </a:lnTo>
                  <a:lnTo>
                    <a:pt x="106" y="389"/>
                  </a:lnTo>
                  <a:lnTo>
                    <a:pt x="106" y="387"/>
                  </a:lnTo>
                  <a:lnTo>
                    <a:pt x="104" y="387"/>
                  </a:lnTo>
                  <a:lnTo>
                    <a:pt x="104" y="385"/>
                  </a:lnTo>
                  <a:lnTo>
                    <a:pt x="102" y="385"/>
                  </a:lnTo>
                  <a:lnTo>
                    <a:pt x="100" y="385"/>
                  </a:lnTo>
                  <a:lnTo>
                    <a:pt x="100" y="383"/>
                  </a:lnTo>
                  <a:lnTo>
                    <a:pt x="98" y="383"/>
                  </a:lnTo>
                  <a:lnTo>
                    <a:pt x="96" y="383"/>
                  </a:lnTo>
                  <a:lnTo>
                    <a:pt x="96" y="381"/>
                  </a:lnTo>
                  <a:lnTo>
                    <a:pt x="94" y="381"/>
                  </a:lnTo>
                  <a:lnTo>
                    <a:pt x="94" y="379"/>
                  </a:lnTo>
                  <a:lnTo>
                    <a:pt x="92" y="379"/>
                  </a:lnTo>
                  <a:lnTo>
                    <a:pt x="92" y="377"/>
                  </a:lnTo>
                  <a:lnTo>
                    <a:pt x="90" y="377"/>
                  </a:lnTo>
                  <a:lnTo>
                    <a:pt x="90" y="375"/>
                  </a:lnTo>
                  <a:lnTo>
                    <a:pt x="90" y="377"/>
                  </a:lnTo>
                  <a:lnTo>
                    <a:pt x="88" y="375"/>
                  </a:lnTo>
                  <a:lnTo>
                    <a:pt x="88" y="375"/>
                  </a:lnTo>
                  <a:lnTo>
                    <a:pt x="86" y="375"/>
                  </a:lnTo>
                  <a:lnTo>
                    <a:pt x="86" y="373"/>
                  </a:lnTo>
                  <a:lnTo>
                    <a:pt x="88" y="371"/>
                  </a:lnTo>
                  <a:lnTo>
                    <a:pt x="86" y="371"/>
                  </a:lnTo>
                  <a:lnTo>
                    <a:pt x="84" y="369"/>
                  </a:lnTo>
                  <a:lnTo>
                    <a:pt x="82" y="369"/>
                  </a:lnTo>
                  <a:lnTo>
                    <a:pt x="82" y="367"/>
                  </a:lnTo>
                  <a:lnTo>
                    <a:pt x="82" y="369"/>
                  </a:lnTo>
                  <a:lnTo>
                    <a:pt x="80" y="369"/>
                  </a:lnTo>
                  <a:lnTo>
                    <a:pt x="80" y="367"/>
                  </a:lnTo>
                  <a:lnTo>
                    <a:pt x="78" y="367"/>
                  </a:lnTo>
                  <a:lnTo>
                    <a:pt x="78" y="365"/>
                  </a:lnTo>
                  <a:lnTo>
                    <a:pt x="78" y="363"/>
                  </a:lnTo>
                  <a:lnTo>
                    <a:pt x="76" y="363"/>
                  </a:lnTo>
                  <a:lnTo>
                    <a:pt x="76" y="361"/>
                  </a:lnTo>
                  <a:lnTo>
                    <a:pt x="74" y="361"/>
                  </a:lnTo>
                  <a:lnTo>
                    <a:pt x="74" y="359"/>
                  </a:lnTo>
                  <a:lnTo>
                    <a:pt x="74" y="361"/>
                  </a:lnTo>
                  <a:lnTo>
                    <a:pt x="74" y="359"/>
                  </a:lnTo>
                  <a:lnTo>
                    <a:pt x="74" y="357"/>
                  </a:lnTo>
                  <a:lnTo>
                    <a:pt x="72" y="357"/>
                  </a:lnTo>
                  <a:lnTo>
                    <a:pt x="74" y="357"/>
                  </a:lnTo>
                  <a:lnTo>
                    <a:pt x="72" y="357"/>
                  </a:lnTo>
                  <a:lnTo>
                    <a:pt x="72" y="355"/>
                  </a:lnTo>
                  <a:lnTo>
                    <a:pt x="72" y="353"/>
                  </a:lnTo>
                  <a:lnTo>
                    <a:pt x="72" y="351"/>
                  </a:lnTo>
                  <a:lnTo>
                    <a:pt x="72" y="349"/>
                  </a:lnTo>
                  <a:lnTo>
                    <a:pt x="70" y="349"/>
                  </a:lnTo>
                  <a:lnTo>
                    <a:pt x="70" y="347"/>
                  </a:lnTo>
                  <a:lnTo>
                    <a:pt x="70" y="345"/>
                  </a:lnTo>
                  <a:lnTo>
                    <a:pt x="70" y="343"/>
                  </a:lnTo>
                  <a:lnTo>
                    <a:pt x="68" y="343"/>
                  </a:lnTo>
                  <a:lnTo>
                    <a:pt x="68" y="341"/>
                  </a:lnTo>
                  <a:lnTo>
                    <a:pt x="70" y="339"/>
                  </a:lnTo>
                  <a:lnTo>
                    <a:pt x="68" y="339"/>
                  </a:lnTo>
                  <a:lnTo>
                    <a:pt x="70" y="339"/>
                  </a:lnTo>
                  <a:lnTo>
                    <a:pt x="68" y="339"/>
                  </a:lnTo>
                  <a:lnTo>
                    <a:pt x="68" y="337"/>
                  </a:lnTo>
                  <a:lnTo>
                    <a:pt x="68" y="335"/>
                  </a:lnTo>
                  <a:lnTo>
                    <a:pt x="68" y="333"/>
                  </a:lnTo>
                  <a:lnTo>
                    <a:pt x="70" y="333"/>
                  </a:lnTo>
                  <a:lnTo>
                    <a:pt x="70" y="331"/>
                  </a:lnTo>
                  <a:lnTo>
                    <a:pt x="70" y="329"/>
                  </a:lnTo>
                  <a:lnTo>
                    <a:pt x="70" y="327"/>
                  </a:lnTo>
                  <a:lnTo>
                    <a:pt x="72" y="327"/>
                  </a:lnTo>
                  <a:lnTo>
                    <a:pt x="70" y="327"/>
                  </a:lnTo>
                  <a:lnTo>
                    <a:pt x="70" y="327"/>
                  </a:lnTo>
                  <a:lnTo>
                    <a:pt x="70" y="325"/>
                  </a:lnTo>
                  <a:lnTo>
                    <a:pt x="70" y="323"/>
                  </a:lnTo>
                  <a:lnTo>
                    <a:pt x="70" y="325"/>
                  </a:lnTo>
                  <a:lnTo>
                    <a:pt x="70" y="323"/>
                  </a:lnTo>
                  <a:lnTo>
                    <a:pt x="68" y="323"/>
                  </a:lnTo>
                  <a:lnTo>
                    <a:pt x="70" y="323"/>
                  </a:lnTo>
                  <a:lnTo>
                    <a:pt x="68" y="323"/>
                  </a:lnTo>
                  <a:lnTo>
                    <a:pt x="68" y="321"/>
                  </a:lnTo>
                  <a:lnTo>
                    <a:pt x="68" y="319"/>
                  </a:lnTo>
                  <a:lnTo>
                    <a:pt x="66" y="319"/>
                  </a:lnTo>
                  <a:lnTo>
                    <a:pt x="66" y="317"/>
                  </a:lnTo>
                  <a:lnTo>
                    <a:pt x="68" y="317"/>
                  </a:lnTo>
                  <a:lnTo>
                    <a:pt x="66" y="317"/>
                  </a:lnTo>
                  <a:lnTo>
                    <a:pt x="66" y="315"/>
                  </a:lnTo>
                  <a:lnTo>
                    <a:pt x="66" y="313"/>
                  </a:lnTo>
                  <a:lnTo>
                    <a:pt x="66" y="311"/>
                  </a:lnTo>
                  <a:lnTo>
                    <a:pt x="66" y="309"/>
                  </a:lnTo>
                  <a:lnTo>
                    <a:pt x="66" y="307"/>
                  </a:lnTo>
                  <a:lnTo>
                    <a:pt x="66" y="305"/>
                  </a:lnTo>
                  <a:lnTo>
                    <a:pt x="64" y="305"/>
                  </a:lnTo>
                  <a:lnTo>
                    <a:pt x="64" y="303"/>
                  </a:lnTo>
                  <a:lnTo>
                    <a:pt x="64" y="301"/>
                  </a:lnTo>
                  <a:lnTo>
                    <a:pt x="64" y="303"/>
                  </a:lnTo>
                  <a:lnTo>
                    <a:pt x="64" y="301"/>
                  </a:lnTo>
                  <a:lnTo>
                    <a:pt x="62" y="301"/>
                  </a:lnTo>
                  <a:lnTo>
                    <a:pt x="62" y="299"/>
                  </a:lnTo>
                  <a:lnTo>
                    <a:pt x="62" y="297"/>
                  </a:lnTo>
                  <a:lnTo>
                    <a:pt x="62" y="297"/>
                  </a:lnTo>
                  <a:lnTo>
                    <a:pt x="60" y="297"/>
                  </a:lnTo>
                  <a:lnTo>
                    <a:pt x="60" y="295"/>
                  </a:lnTo>
                  <a:lnTo>
                    <a:pt x="60" y="293"/>
                  </a:lnTo>
                  <a:lnTo>
                    <a:pt x="58" y="293"/>
                  </a:lnTo>
                  <a:lnTo>
                    <a:pt x="58" y="291"/>
                  </a:lnTo>
                  <a:lnTo>
                    <a:pt x="56" y="291"/>
                  </a:lnTo>
                  <a:lnTo>
                    <a:pt x="56" y="289"/>
                  </a:lnTo>
                  <a:lnTo>
                    <a:pt x="56" y="291"/>
                  </a:lnTo>
                  <a:lnTo>
                    <a:pt x="56" y="289"/>
                  </a:lnTo>
                  <a:lnTo>
                    <a:pt x="54" y="289"/>
                  </a:lnTo>
                  <a:lnTo>
                    <a:pt x="54" y="287"/>
                  </a:lnTo>
                  <a:lnTo>
                    <a:pt x="52" y="287"/>
                  </a:lnTo>
                  <a:lnTo>
                    <a:pt x="50" y="287"/>
                  </a:lnTo>
                  <a:lnTo>
                    <a:pt x="50" y="285"/>
                  </a:lnTo>
                  <a:lnTo>
                    <a:pt x="50" y="287"/>
                  </a:lnTo>
                  <a:lnTo>
                    <a:pt x="50" y="285"/>
                  </a:lnTo>
                  <a:lnTo>
                    <a:pt x="48" y="285"/>
                  </a:lnTo>
                  <a:lnTo>
                    <a:pt x="50" y="285"/>
                  </a:lnTo>
                  <a:lnTo>
                    <a:pt x="48" y="285"/>
                  </a:lnTo>
                  <a:lnTo>
                    <a:pt x="48" y="283"/>
                  </a:lnTo>
                  <a:lnTo>
                    <a:pt x="46" y="283"/>
                  </a:lnTo>
                  <a:lnTo>
                    <a:pt x="46" y="281"/>
                  </a:lnTo>
                  <a:lnTo>
                    <a:pt x="46" y="279"/>
                  </a:lnTo>
                  <a:lnTo>
                    <a:pt x="44" y="279"/>
                  </a:lnTo>
                  <a:lnTo>
                    <a:pt x="44" y="279"/>
                  </a:lnTo>
                  <a:lnTo>
                    <a:pt x="42" y="279"/>
                  </a:lnTo>
                  <a:lnTo>
                    <a:pt x="42" y="277"/>
                  </a:lnTo>
                  <a:lnTo>
                    <a:pt x="40" y="277"/>
                  </a:lnTo>
                  <a:lnTo>
                    <a:pt x="40" y="275"/>
                  </a:lnTo>
                  <a:lnTo>
                    <a:pt x="40" y="273"/>
                  </a:lnTo>
                  <a:lnTo>
                    <a:pt x="40" y="271"/>
                  </a:lnTo>
                  <a:lnTo>
                    <a:pt x="38" y="271"/>
                  </a:lnTo>
                  <a:lnTo>
                    <a:pt x="38" y="269"/>
                  </a:lnTo>
                  <a:lnTo>
                    <a:pt x="36" y="267"/>
                  </a:lnTo>
                  <a:lnTo>
                    <a:pt x="34" y="265"/>
                  </a:lnTo>
                  <a:lnTo>
                    <a:pt x="34" y="263"/>
                  </a:lnTo>
                  <a:lnTo>
                    <a:pt x="32" y="263"/>
                  </a:lnTo>
                  <a:lnTo>
                    <a:pt x="32" y="261"/>
                  </a:lnTo>
                  <a:lnTo>
                    <a:pt x="30" y="261"/>
                  </a:lnTo>
                  <a:lnTo>
                    <a:pt x="30" y="259"/>
                  </a:lnTo>
                  <a:lnTo>
                    <a:pt x="30" y="257"/>
                  </a:lnTo>
                  <a:lnTo>
                    <a:pt x="28" y="257"/>
                  </a:lnTo>
                  <a:lnTo>
                    <a:pt x="28" y="255"/>
                  </a:lnTo>
                  <a:lnTo>
                    <a:pt x="26" y="253"/>
                  </a:lnTo>
                  <a:lnTo>
                    <a:pt x="26" y="251"/>
                  </a:lnTo>
                  <a:lnTo>
                    <a:pt x="26" y="249"/>
                  </a:lnTo>
                  <a:lnTo>
                    <a:pt x="24" y="249"/>
                  </a:lnTo>
                  <a:lnTo>
                    <a:pt x="24" y="247"/>
                  </a:lnTo>
                  <a:lnTo>
                    <a:pt x="22" y="247"/>
                  </a:lnTo>
                  <a:lnTo>
                    <a:pt x="20" y="247"/>
                  </a:lnTo>
                  <a:lnTo>
                    <a:pt x="18" y="245"/>
                  </a:lnTo>
                  <a:lnTo>
                    <a:pt x="16" y="245"/>
                  </a:lnTo>
                  <a:lnTo>
                    <a:pt x="16" y="243"/>
                  </a:lnTo>
                  <a:lnTo>
                    <a:pt x="16" y="241"/>
                  </a:lnTo>
                  <a:lnTo>
                    <a:pt x="14" y="241"/>
                  </a:lnTo>
                  <a:lnTo>
                    <a:pt x="14" y="239"/>
                  </a:lnTo>
                  <a:lnTo>
                    <a:pt x="14" y="237"/>
                  </a:lnTo>
                  <a:lnTo>
                    <a:pt x="14" y="237"/>
                  </a:lnTo>
                  <a:lnTo>
                    <a:pt x="14" y="235"/>
                  </a:lnTo>
                  <a:lnTo>
                    <a:pt x="14" y="233"/>
                  </a:lnTo>
                  <a:lnTo>
                    <a:pt x="14" y="231"/>
                  </a:lnTo>
                  <a:lnTo>
                    <a:pt x="12" y="231"/>
                  </a:lnTo>
                  <a:lnTo>
                    <a:pt x="12" y="229"/>
                  </a:lnTo>
                  <a:lnTo>
                    <a:pt x="12" y="227"/>
                  </a:lnTo>
                  <a:lnTo>
                    <a:pt x="10" y="225"/>
                  </a:lnTo>
                  <a:lnTo>
                    <a:pt x="8" y="225"/>
                  </a:lnTo>
                  <a:lnTo>
                    <a:pt x="8" y="223"/>
                  </a:lnTo>
                  <a:lnTo>
                    <a:pt x="8" y="225"/>
                  </a:lnTo>
                  <a:lnTo>
                    <a:pt x="6" y="225"/>
                  </a:lnTo>
                  <a:lnTo>
                    <a:pt x="6" y="223"/>
                  </a:lnTo>
                  <a:lnTo>
                    <a:pt x="4" y="223"/>
                  </a:lnTo>
                  <a:lnTo>
                    <a:pt x="4" y="221"/>
                  </a:lnTo>
                  <a:lnTo>
                    <a:pt x="6" y="221"/>
                  </a:lnTo>
                  <a:lnTo>
                    <a:pt x="4" y="221"/>
                  </a:lnTo>
                  <a:lnTo>
                    <a:pt x="4" y="219"/>
                  </a:lnTo>
                  <a:lnTo>
                    <a:pt x="2" y="219"/>
                  </a:lnTo>
                  <a:lnTo>
                    <a:pt x="2" y="217"/>
                  </a:lnTo>
                  <a:lnTo>
                    <a:pt x="0" y="217"/>
                  </a:lnTo>
                  <a:lnTo>
                    <a:pt x="0" y="215"/>
                  </a:lnTo>
                  <a:lnTo>
                    <a:pt x="2" y="215"/>
                  </a:lnTo>
                  <a:lnTo>
                    <a:pt x="0" y="215"/>
                  </a:lnTo>
                  <a:lnTo>
                    <a:pt x="0" y="213"/>
                  </a:lnTo>
                  <a:lnTo>
                    <a:pt x="2" y="213"/>
                  </a:lnTo>
                  <a:lnTo>
                    <a:pt x="2" y="211"/>
                  </a:lnTo>
                  <a:lnTo>
                    <a:pt x="4" y="211"/>
                  </a:lnTo>
                  <a:lnTo>
                    <a:pt x="2" y="211"/>
                  </a:lnTo>
                  <a:lnTo>
                    <a:pt x="2" y="209"/>
                  </a:lnTo>
                  <a:lnTo>
                    <a:pt x="4" y="209"/>
                  </a:lnTo>
                  <a:lnTo>
                    <a:pt x="8" y="209"/>
                  </a:lnTo>
                  <a:lnTo>
                    <a:pt x="10" y="211"/>
                  </a:lnTo>
                  <a:lnTo>
                    <a:pt x="12" y="211"/>
                  </a:lnTo>
                  <a:lnTo>
                    <a:pt x="14" y="211"/>
                  </a:lnTo>
                  <a:lnTo>
                    <a:pt x="14" y="211"/>
                  </a:lnTo>
                  <a:lnTo>
                    <a:pt x="16" y="211"/>
                  </a:lnTo>
                  <a:lnTo>
                    <a:pt x="16" y="213"/>
                  </a:lnTo>
                  <a:lnTo>
                    <a:pt x="18" y="213"/>
                  </a:lnTo>
                  <a:lnTo>
                    <a:pt x="20" y="213"/>
                  </a:lnTo>
                  <a:lnTo>
                    <a:pt x="22" y="213"/>
                  </a:lnTo>
                  <a:lnTo>
                    <a:pt x="24" y="213"/>
                  </a:lnTo>
                  <a:lnTo>
                    <a:pt x="26" y="215"/>
                  </a:lnTo>
                  <a:lnTo>
                    <a:pt x="28" y="215"/>
                  </a:lnTo>
                  <a:lnTo>
                    <a:pt x="32" y="215"/>
                  </a:lnTo>
                  <a:lnTo>
                    <a:pt x="34" y="215"/>
                  </a:lnTo>
                  <a:lnTo>
                    <a:pt x="34" y="217"/>
                  </a:lnTo>
                  <a:lnTo>
                    <a:pt x="36" y="217"/>
                  </a:lnTo>
                  <a:lnTo>
                    <a:pt x="38" y="217"/>
                  </a:lnTo>
                  <a:lnTo>
                    <a:pt x="40" y="217"/>
                  </a:lnTo>
                  <a:lnTo>
                    <a:pt x="44" y="219"/>
                  </a:lnTo>
                  <a:lnTo>
                    <a:pt x="46" y="219"/>
                  </a:lnTo>
                  <a:lnTo>
                    <a:pt x="48" y="219"/>
                  </a:lnTo>
                  <a:lnTo>
                    <a:pt x="50" y="219"/>
                  </a:lnTo>
                  <a:lnTo>
                    <a:pt x="52" y="221"/>
                  </a:lnTo>
                  <a:lnTo>
                    <a:pt x="54" y="221"/>
                  </a:lnTo>
                  <a:lnTo>
                    <a:pt x="56" y="221"/>
                  </a:lnTo>
                  <a:lnTo>
                    <a:pt x="58" y="221"/>
                  </a:lnTo>
                  <a:lnTo>
                    <a:pt x="60" y="223"/>
                  </a:lnTo>
                  <a:lnTo>
                    <a:pt x="62" y="223"/>
                  </a:lnTo>
                  <a:lnTo>
                    <a:pt x="62" y="223"/>
                  </a:lnTo>
                  <a:lnTo>
                    <a:pt x="64" y="223"/>
                  </a:lnTo>
                  <a:lnTo>
                    <a:pt x="70" y="225"/>
                  </a:lnTo>
                  <a:lnTo>
                    <a:pt x="72" y="225"/>
                  </a:lnTo>
                  <a:lnTo>
                    <a:pt x="74" y="225"/>
                  </a:lnTo>
                  <a:lnTo>
                    <a:pt x="76" y="225"/>
                  </a:lnTo>
                  <a:lnTo>
                    <a:pt x="78" y="227"/>
                  </a:lnTo>
                  <a:lnTo>
                    <a:pt x="80" y="227"/>
                  </a:lnTo>
                  <a:lnTo>
                    <a:pt x="82" y="227"/>
                  </a:lnTo>
                  <a:lnTo>
                    <a:pt x="84" y="227"/>
                  </a:lnTo>
                  <a:lnTo>
                    <a:pt x="86" y="227"/>
                  </a:lnTo>
                  <a:lnTo>
                    <a:pt x="86" y="229"/>
                  </a:lnTo>
                  <a:lnTo>
                    <a:pt x="88" y="229"/>
                  </a:lnTo>
                  <a:lnTo>
                    <a:pt x="90" y="229"/>
                  </a:lnTo>
                  <a:lnTo>
                    <a:pt x="96" y="229"/>
                  </a:lnTo>
                  <a:lnTo>
                    <a:pt x="98" y="231"/>
                  </a:lnTo>
                  <a:lnTo>
                    <a:pt x="100" y="231"/>
                  </a:lnTo>
                  <a:lnTo>
                    <a:pt x="102" y="231"/>
                  </a:lnTo>
                  <a:lnTo>
                    <a:pt x="110" y="231"/>
                  </a:lnTo>
                  <a:lnTo>
                    <a:pt x="112" y="231"/>
                  </a:lnTo>
                  <a:lnTo>
                    <a:pt x="112" y="231"/>
                  </a:lnTo>
                  <a:lnTo>
                    <a:pt x="122" y="233"/>
                  </a:lnTo>
                  <a:lnTo>
                    <a:pt x="124" y="233"/>
                  </a:lnTo>
                  <a:lnTo>
                    <a:pt x="124" y="235"/>
                  </a:lnTo>
                  <a:lnTo>
                    <a:pt x="124" y="233"/>
                  </a:lnTo>
                  <a:lnTo>
                    <a:pt x="128" y="235"/>
                  </a:lnTo>
                  <a:lnTo>
                    <a:pt x="130" y="235"/>
                  </a:lnTo>
                  <a:lnTo>
                    <a:pt x="132" y="235"/>
                  </a:lnTo>
                  <a:lnTo>
                    <a:pt x="136" y="235"/>
                  </a:lnTo>
                  <a:lnTo>
                    <a:pt x="136" y="237"/>
                  </a:lnTo>
                  <a:lnTo>
                    <a:pt x="142" y="237"/>
                  </a:lnTo>
                  <a:lnTo>
                    <a:pt x="146" y="239"/>
                  </a:lnTo>
                  <a:lnTo>
                    <a:pt x="148" y="239"/>
                  </a:lnTo>
                  <a:lnTo>
                    <a:pt x="156" y="239"/>
                  </a:lnTo>
                  <a:lnTo>
                    <a:pt x="158" y="241"/>
                  </a:lnTo>
                  <a:lnTo>
                    <a:pt x="160" y="241"/>
                  </a:lnTo>
                  <a:lnTo>
                    <a:pt x="160" y="241"/>
                  </a:lnTo>
                  <a:lnTo>
                    <a:pt x="164" y="241"/>
                  </a:lnTo>
                  <a:lnTo>
                    <a:pt x="166" y="241"/>
                  </a:lnTo>
                  <a:lnTo>
                    <a:pt x="166" y="243"/>
                  </a:lnTo>
                  <a:lnTo>
                    <a:pt x="166" y="241"/>
                  </a:lnTo>
                  <a:lnTo>
                    <a:pt x="168" y="239"/>
                  </a:lnTo>
                  <a:lnTo>
                    <a:pt x="168" y="237"/>
                  </a:lnTo>
                  <a:lnTo>
                    <a:pt x="168" y="233"/>
                  </a:lnTo>
                  <a:lnTo>
                    <a:pt x="170" y="231"/>
                  </a:lnTo>
                  <a:lnTo>
                    <a:pt x="170" y="229"/>
                  </a:lnTo>
                  <a:lnTo>
                    <a:pt x="170" y="225"/>
                  </a:lnTo>
                  <a:lnTo>
                    <a:pt x="170" y="223"/>
                  </a:lnTo>
                  <a:lnTo>
                    <a:pt x="170" y="221"/>
                  </a:lnTo>
                  <a:lnTo>
                    <a:pt x="172" y="215"/>
                  </a:lnTo>
                  <a:lnTo>
                    <a:pt x="172" y="213"/>
                  </a:lnTo>
                  <a:lnTo>
                    <a:pt x="172" y="211"/>
                  </a:lnTo>
                  <a:lnTo>
                    <a:pt x="172" y="209"/>
                  </a:lnTo>
                  <a:lnTo>
                    <a:pt x="174" y="209"/>
                  </a:lnTo>
                  <a:lnTo>
                    <a:pt x="174" y="207"/>
                  </a:lnTo>
                  <a:lnTo>
                    <a:pt x="174" y="205"/>
                  </a:lnTo>
                  <a:lnTo>
                    <a:pt x="174" y="203"/>
                  </a:lnTo>
                  <a:lnTo>
                    <a:pt x="174" y="201"/>
                  </a:lnTo>
                  <a:lnTo>
                    <a:pt x="174" y="199"/>
                  </a:lnTo>
                  <a:lnTo>
                    <a:pt x="176" y="195"/>
                  </a:lnTo>
                  <a:lnTo>
                    <a:pt x="176" y="193"/>
                  </a:lnTo>
                  <a:lnTo>
                    <a:pt x="176" y="191"/>
                  </a:lnTo>
                  <a:lnTo>
                    <a:pt x="176" y="189"/>
                  </a:lnTo>
                  <a:lnTo>
                    <a:pt x="176" y="187"/>
                  </a:lnTo>
                  <a:lnTo>
                    <a:pt x="178" y="187"/>
                  </a:lnTo>
                  <a:lnTo>
                    <a:pt x="178" y="185"/>
                  </a:lnTo>
                  <a:lnTo>
                    <a:pt x="178" y="183"/>
                  </a:lnTo>
                  <a:lnTo>
                    <a:pt x="178" y="183"/>
                  </a:lnTo>
                  <a:lnTo>
                    <a:pt x="178" y="181"/>
                  </a:lnTo>
                  <a:lnTo>
                    <a:pt x="178" y="179"/>
                  </a:lnTo>
                  <a:lnTo>
                    <a:pt x="180" y="179"/>
                  </a:lnTo>
                  <a:lnTo>
                    <a:pt x="180" y="177"/>
                  </a:lnTo>
                  <a:lnTo>
                    <a:pt x="180" y="175"/>
                  </a:lnTo>
                  <a:lnTo>
                    <a:pt x="180" y="173"/>
                  </a:lnTo>
                  <a:lnTo>
                    <a:pt x="180" y="171"/>
                  </a:lnTo>
                  <a:lnTo>
                    <a:pt x="180" y="169"/>
                  </a:lnTo>
                  <a:lnTo>
                    <a:pt x="182" y="167"/>
                  </a:lnTo>
                  <a:lnTo>
                    <a:pt x="182" y="165"/>
                  </a:lnTo>
                  <a:lnTo>
                    <a:pt x="182" y="163"/>
                  </a:lnTo>
                  <a:lnTo>
                    <a:pt x="182" y="161"/>
                  </a:lnTo>
                  <a:lnTo>
                    <a:pt x="182" y="159"/>
                  </a:lnTo>
                  <a:lnTo>
                    <a:pt x="184" y="157"/>
                  </a:lnTo>
                  <a:lnTo>
                    <a:pt x="184" y="155"/>
                  </a:lnTo>
                  <a:lnTo>
                    <a:pt x="184" y="153"/>
                  </a:lnTo>
                  <a:lnTo>
                    <a:pt x="184" y="151"/>
                  </a:lnTo>
                  <a:lnTo>
                    <a:pt x="184" y="149"/>
                  </a:lnTo>
                  <a:lnTo>
                    <a:pt x="184" y="147"/>
                  </a:lnTo>
                  <a:lnTo>
                    <a:pt x="186" y="147"/>
                  </a:lnTo>
                  <a:lnTo>
                    <a:pt x="186" y="145"/>
                  </a:lnTo>
                  <a:lnTo>
                    <a:pt x="186" y="143"/>
                  </a:lnTo>
                  <a:lnTo>
                    <a:pt x="186" y="141"/>
                  </a:lnTo>
                  <a:lnTo>
                    <a:pt x="186" y="139"/>
                  </a:lnTo>
                  <a:lnTo>
                    <a:pt x="188" y="137"/>
                  </a:lnTo>
                  <a:lnTo>
                    <a:pt x="188" y="135"/>
                  </a:lnTo>
                  <a:lnTo>
                    <a:pt x="188" y="135"/>
                  </a:lnTo>
                  <a:lnTo>
                    <a:pt x="188" y="133"/>
                  </a:lnTo>
                  <a:lnTo>
                    <a:pt x="188" y="131"/>
                  </a:lnTo>
                  <a:lnTo>
                    <a:pt x="188" y="129"/>
                  </a:lnTo>
                  <a:lnTo>
                    <a:pt x="190" y="129"/>
                  </a:lnTo>
                  <a:lnTo>
                    <a:pt x="190" y="127"/>
                  </a:lnTo>
                  <a:lnTo>
                    <a:pt x="190" y="123"/>
                  </a:lnTo>
                  <a:lnTo>
                    <a:pt x="190" y="121"/>
                  </a:lnTo>
                  <a:lnTo>
                    <a:pt x="190" y="119"/>
                  </a:lnTo>
                  <a:lnTo>
                    <a:pt x="190" y="117"/>
                  </a:lnTo>
                  <a:lnTo>
                    <a:pt x="192" y="117"/>
                  </a:lnTo>
                  <a:lnTo>
                    <a:pt x="192" y="115"/>
                  </a:lnTo>
                  <a:lnTo>
                    <a:pt x="192" y="113"/>
                  </a:lnTo>
                  <a:lnTo>
                    <a:pt x="192" y="111"/>
                  </a:lnTo>
                  <a:lnTo>
                    <a:pt x="192" y="109"/>
                  </a:lnTo>
                  <a:lnTo>
                    <a:pt x="192" y="107"/>
                  </a:lnTo>
                  <a:lnTo>
                    <a:pt x="194" y="107"/>
                  </a:lnTo>
                  <a:lnTo>
                    <a:pt x="194" y="105"/>
                  </a:lnTo>
                  <a:lnTo>
                    <a:pt x="194" y="103"/>
                  </a:lnTo>
                  <a:lnTo>
                    <a:pt x="194" y="101"/>
                  </a:lnTo>
                  <a:lnTo>
                    <a:pt x="194" y="99"/>
                  </a:lnTo>
                  <a:lnTo>
                    <a:pt x="194" y="97"/>
                  </a:lnTo>
                  <a:lnTo>
                    <a:pt x="194" y="95"/>
                  </a:lnTo>
                  <a:lnTo>
                    <a:pt x="196" y="95"/>
                  </a:lnTo>
                  <a:lnTo>
                    <a:pt x="196" y="93"/>
                  </a:lnTo>
                  <a:lnTo>
                    <a:pt x="196" y="91"/>
                  </a:lnTo>
                  <a:lnTo>
                    <a:pt x="196" y="89"/>
                  </a:lnTo>
                  <a:lnTo>
                    <a:pt x="196" y="87"/>
                  </a:lnTo>
                  <a:lnTo>
                    <a:pt x="196" y="87"/>
                  </a:lnTo>
                  <a:lnTo>
                    <a:pt x="196" y="85"/>
                  </a:lnTo>
                  <a:lnTo>
                    <a:pt x="198" y="85"/>
                  </a:lnTo>
                  <a:lnTo>
                    <a:pt x="198" y="81"/>
                  </a:lnTo>
                  <a:lnTo>
                    <a:pt x="198" y="79"/>
                  </a:lnTo>
                  <a:lnTo>
                    <a:pt x="198" y="77"/>
                  </a:lnTo>
                  <a:lnTo>
                    <a:pt x="198" y="75"/>
                  </a:lnTo>
                  <a:lnTo>
                    <a:pt x="200" y="73"/>
                  </a:lnTo>
                  <a:lnTo>
                    <a:pt x="200" y="71"/>
                  </a:lnTo>
                  <a:lnTo>
                    <a:pt x="200" y="69"/>
                  </a:lnTo>
                  <a:lnTo>
                    <a:pt x="200" y="67"/>
                  </a:lnTo>
                  <a:lnTo>
                    <a:pt x="200" y="65"/>
                  </a:lnTo>
                  <a:lnTo>
                    <a:pt x="200" y="63"/>
                  </a:lnTo>
                  <a:lnTo>
                    <a:pt x="202" y="63"/>
                  </a:lnTo>
                  <a:lnTo>
                    <a:pt x="202" y="61"/>
                  </a:lnTo>
                  <a:lnTo>
                    <a:pt x="202" y="59"/>
                  </a:lnTo>
                  <a:lnTo>
                    <a:pt x="202" y="55"/>
                  </a:lnTo>
                  <a:lnTo>
                    <a:pt x="202" y="53"/>
                  </a:lnTo>
                  <a:lnTo>
                    <a:pt x="204" y="51"/>
                  </a:lnTo>
                  <a:lnTo>
                    <a:pt x="204" y="49"/>
                  </a:lnTo>
                  <a:lnTo>
                    <a:pt x="204" y="47"/>
                  </a:lnTo>
                  <a:lnTo>
                    <a:pt x="204" y="45"/>
                  </a:lnTo>
                  <a:lnTo>
                    <a:pt x="204" y="43"/>
                  </a:lnTo>
                  <a:lnTo>
                    <a:pt x="206" y="41"/>
                  </a:lnTo>
                  <a:lnTo>
                    <a:pt x="206" y="39"/>
                  </a:lnTo>
                  <a:lnTo>
                    <a:pt x="206" y="39"/>
                  </a:lnTo>
                  <a:lnTo>
                    <a:pt x="206" y="37"/>
                  </a:lnTo>
                  <a:lnTo>
                    <a:pt x="206" y="35"/>
                  </a:lnTo>
                  <a:lnTo>
                    <a:pt x="206" y="33"/>
                  </a:lnTo>
                  <a:lnTo>
                    <a:pt x="208" y="31"/>
                  </a:lnTo>
                  <a:lnTo>
                    <a:pt x="208" y="29"/>
                  </a:lnTo>
                  <a:lnTo>
                    <a:pt x="208" y="24"/>
                  </a:lnTo>
                  <a:lnTo>
                    <a:pt x="208" y="22"/>
                  </a:lnTo>
                  <a:lnTo>
                    <a:pt x="208" y="20"/>
                  </a:lnTo>
                  <a:lnTo>
                    <a:pt x="208" y="20"/>
                  </a:lnTo>
                  <a:lnTo>
                    <a:pt x="208" y="16"/>
                  </a:lnTo>
                  <a:lnTo>
                    <a:pt x="208" y="14"/>
                  </a:lnTo>
                  <a:lnTo>
                    <a:pt x="208" y="12"/>
                  </a:lnTo>
                  <a:lnTo>
                    <a:pt x="208" y="10"/>
                  </a:lnTo>
                  <a:lnTo>
                    <a:pt x="210" y="8"/>
                  </a:lnTo>
                  <a:lnTo>
                    <a:pt x="210" y="2"/>
                  </a:lnTo>
                  <a:lnTo>
                    <a:pt x="210" y="0"/>
                  </a:lnTo>
                  <a:lnTo>
                    <a:pt x="212" y="0"/>
                  </a:lnTo>
                  <a:lnTo>
                    <a:pt x="214" y="0"/>
                  </a:lnTo>
                  <a:lnTo>
                    <a:pt x="218" y="0"/>
                  </a:lnTo>
                  <a:lnTo>
                    <a:pt x="220" y="0"/>
                  </a:lnTo>
                  <a:lnTo>
                    <a:pt x="220" y="2"/>
                  </a:lnTo>
                  <a:lnTo>
                    <a:pt x="222" y="2"/>
                  </a:lnTo>
                  <a:lnTo>
                    <a:pt x="224" y="2"/>
                  </a:lnTo>
                  <a:lnTo>
                    <a:pt x="226" y="2"/>
                  </a:lnTo>
                  <a:lnTo>
                    <a:pt x="228" y="2"/>
                  </a:lnTo>
                  <a:lnTo>
                    <a:pt x="230" y="2"/>
                  </a:lnTo>
                  <a:lnTo>
                    <a:pt x="234" y="4"/>
                  </a:lnTo>
                  <a:lnTo>
                    <a:pt x="236" y="4"/>
                  </a:lnTo>
                  <a:lnTo>
                    <a:pt x="240" y="4"/>
                  </a:lnTo>
                  <a:lnTo>
                    <a:pt x="246" y="6"/>
                  </a:lnTo>
                  <a:lnTo>
                    <a:pt x="248" y="6"/>
                  </a:lnTo>
                  <a:lnTo>
                    <a:pt x="250" y="6"/>
                  </a:lnTo>
                  <a:lnTo>
                    <a:pt x="252" y="6"/>
                  </a:lnTo>
                  <a:lnTo>
                    <a:pt x="254" y="6"/>
                  </a:lnTo>
                  <a:lnTo>
                    <a:pt x="256" y="8"/>
                  </a:lnTo>
                  <a:lnTo>
                    <a:pt x="256" y="8"/>
                  </a:lnTo>
                  <a:lnTo>
                    <a:pt x="258" y="8"/>
                  </a:lnTo>
                  <a:lnTo>
                    <a:pt x="260" y="8"/>
                  </a:lnTo>
                  <a:lnTo>
                    <a:pt x="262" y="8"/>
                  </a:lnTo>
                  <a:lnTo>
                    <a:pt x="264" y="8"/>
                  </a:lnTo>
                  <a:lnTo>
                    <a:pt x="266" y="10"/>
                  </a:lnTo>
                  <a:lnTo>
                    <a:pt x="268" y="10"/>
                  </a:lnTo>
                  <a:lnTo>
                    <a:pt x="270" y="10"/>
                  </a:lnTo>
                  <a:lnTo>
                    <a:pt x="272" y="10"/>
                  </a:lnTo>
                  <a:lnTo>
                    <a:pt x="276" y="10"/>
                  </a:lnTo>
                  <a:lnTo>
                    <a:pt x="278" y="10"/>
                  </a:lnTo>
                  <a:lnTo>
                    <a:pt x="278" y="12"/>
                  </a:lnTo>
                  <a:lnTo>
                    <a:pt x="282" y="12"/>
                  </a:lnTo>
                  <a:lnTo>
                    <a:pt x="284" y="12"/>
                  </a:lnTo>
                  <a:lnTo>
                    <a:pt x="286" y="12"/>
                  </a:lnTo>
                  <a:lnTo>
                    <a:pt x="290" y="12"/>
                  </a:lnTo>
                  <a:lnTo>
                    <a:pt x="292" y="14"/>
                  </a:lnTo>
                  <a:lnTo>
                    <a:pt x="294" y="14"/>
                  </a:lnTo>
                  <a:lnTo>
                    <a:pt x="296" y="14"/>
                  </a:lnTo>
                  <a:lnTo>
                    <a:pt x="298" y="14"/>
                  </a:lnTo>
                  <a:lnTo>
                    <a:pt x="300" y="14"/>
                  </a:lnTo>
                  <a:lnTo>
                    <a:pt x="302" y="14"/>
                  </a:lnTo>
                  <a:lnTo>
                    <a:pt x="304" y="14"/>
                  </a:lnTo>
                  <a:lnTo>
                    <a:pt x="304" y="14"/>
                  </a:lnTo>
                  <a:lnTo>
                    <a:pt x="304" y="16"/>
                  </a:lnTo>
                  <a:lnTo>
                    <a:pt x="306" y="16"/>
                  </a:lnTo>
                  <a:lnTo>
                    <a:pt x="310" y="16"/>
                  </a:lnTo>
                  <a:lnTo>
                    <a:pt x="314" y="16"/>
                  </a:lnTo>
                  <a:lnTo>
                    <a:pt x="316" y="16"/>
                  </a:lnTo>
                  <a:lnTo>
                    <a:pt x="318" y="16"/>
                  </a:lnTo>
                  <a:lnTo>
                    <a:pt x="318" y="18"/>
                  </a:lnTo>
                  <a:lnTo>
                    <a:pt x="320" y="18"/>
                  </a:lnTo>
                  <a:lnTo>
                    <a:pt x="322" y="18"/>
                  </a:lnTo>
                  <a:lnTo>
                    <a:pt x="324" y="18"/>
                  </a:lnTo>
                  <a:lnTo>
                    <a:pt x="326" y="18"/>
                  </a:lnTo>
                  <a:lnTo>
                    <a:pt x="328" y="18"/>
                  </a:lnTo>
                  <a:lnTo>
                    <a:pt x="330" y="18"/>
                  </a:lnTo>
                  <a:lnTo>
                    <a:pt x="332" y="18"/>
                  </a:lnTo>
                  <a:lnTo>
                    <a:pt x="334" y="20"/>
                  </a:lnTo>
                  <a:lnTo>
                    <a:pt x="336" y="20"/>
                  </a:lnTo>
                  <a:lnTo>
                    <a:pt x="338" y="20"/>
                  </a:lnTo>
                  <a:lnTo>
                    <a:pt x="340" y="20"/>
                  </a:lnTo>
                  <a:lnTo>
                    <a:pt x="342" y="20"/>
                  </a:lnTo>
                  <a:lnTo>
                    <a:pt x="340" y="43"/>
                  </a:lnTo>
                  <a:lnTo>
                    <a:pt x="340" y="45"/>
                  </a:lnTo>
                  <a:lnTo>
                    <a:pt x="338" y="53"/>
                  </a:lnTo>
                  <a:lnTo>
                    <a:pt x="336" y="69"/>
                  </a:lnTo>
                  <a:lnTo>
                    <a:pt x="334" y="79"/>
                  </a:lnTo>
                  <a:lnTo>
                    <a:pt x="334" y="81"/>
                  </a:lnTo>
                  <a:lnTo>
                    <a:pt x="332" y="91"/>
                  </a:lnTo>
                  <a:lnTo>
                    <a:pt x="332" y="99"/>
                  </a:lnTo>
                  <a:lnTo>
                    <a:pt x="330" y="115"/>
                  </a:lnTo>
                  <a:lnTo>
                    <a:pt x="328" y="125"/>
                  </a:lnTo>
                  <a:lnTo>
                    <a:pt x="330" y="125"/>
                  </a:lnTo>
                  <a:lnTo>
                    <a:pt x="332" y="125"/>
                  </a:lnTo>
                  <a:lnTo>
                    <a:pt x="332" y="127"/>
                  </a:lnTo>
                  <a:lnTo>
                    <a:pt x="334" y="127"/>
                  </a:lnTo>
                  <a:lnTo>
                    <a:pt x="334" y="129"/>
                  </a:lnTo>
                  <a:lnTo>
                    <a:pt x="336" y="129"/>
                  </a:lnTo>
                  <a:lnTo>
                    <a:pt x="336" y="131"/>
                  </a:lnTo>
                  <a:lnTo>
                    <a:pt x="336" y="133"/>
                  </a:lnTo>
                  <a:lnTo>
                    <a:pt x="338" y="133"/>
                  </a:lnTo>
                  <a:lnTo>
                    <a:pt x="338" y="135"/>
                  </a:lnTo>
                  <a:lnTo>
                    <a:pt x="340" y="135"/>
                  </a:lnTo>
                  <a:lnTo>
                    <a:pt x="340" y="135"/>
                  </a:lnTo>
                  <a:lnTo>
                    <a:pt x="342" y="135"/>
                  </a:lnTo>
                  <a:lnTo>
                    <a:pt x="342" y="137"/>
                  </a:lnTo>
                  <a:lnTo>
                    <a:pt x="344" y="137"/>
                  </a:lnTo>
                  <a:lnTo>
                    <a:pt x="344" y="135"/>
                  </a:lnTo>
                  <a:lnTo>
                    <a:pt x="344" y="137"/>
                  </a:lnTo>
                  <a:lnTo>
                    <a:pt x="346" y="137"/>
                  </a:lnTo>
                  <a:lnTo>
                    <a:pt x="346" y="135"/>
                  </a:lnTo>
                  <a:lnTo>
                    <a:pt x="348" y="135"/>
                  </a:lnTo>
                  <a:lnTo>
                    <a:pt x="350" y="135"/>
                  </a:lnTo>
                  <a:lnTo>
                    <a:pt x="352" y="135"/>
                  </a:lnTo>
                  <a:lnTo>
                    <a:pt x="352" y="137"/>
                  </a:lnTo>
                  <a:lnTo>
                    <a:pt x="352" y="137"/>
                  </a:lnTo>
                  <a:lnTo>
                    <a:pt x="354" y="137"/>
                  </a:lnTo>
                  <a:lnTo>
                    <a:pt x="354" y="135"/>
                  </a:lnTo>
                  <a:lnTo>
                    <a:pt x="354" y="135"/>
                  </a:lnTo>
                  <a:lnTo>
                    <a:pt x="356" y="135"/>
                  </a:lnTo>
                  <a:lnTo>
                    <a:pt x="356" y="135"/>
                  </a:lnTo>
                  <a:lnTo>
                    <a:pt x="358" y="135"/>
                  </a:lnTo>
                  <a:lnTo>
                    <a:pt x="358" y="137"/>
                  </a:lnTo>
                  <a:lnTo>
                    <a:pt x="358" y="135"/>
                  </a:lnTo>
                  <a:lnTo>
                    <a:pt x="358" y="137"/>
                  </a:lnTo>
                  <a:lnTo>
                    <a:pt x="360" y="137"/>
                  </a:lnTo>
                  <a:lnTo>
                    <a:pt x="360" y="139"/>
                  </a:lnTo>
                  <a:lnTo>
                    <a:pt x="362" y="139"/>
                  </a:lnTo>
                  <a:lnTo>
                    <a:pt x="360" y="141"/>
                  </a:lnTo>
                  <a:lnTo>
                    <a:pt x="362" y="141"/>
                  </a:lnTo>
                  <a:lnTo>
                    <a:pt x="362" y="143"/>
                  </a:lnTo>
                  <a:lnTo>
                    <a:pt x="362" y="145"/>
                  </a:lnTo>
                  <a:lnTo>
                    <a:pt x="362" y="147"/>
                  </a:lnTo>
                  <a:lnTo>
                    <a:pt x="362" y="149"/>
                  </a:lnTo>
                  <a:lnTo>
                    <a:pt x="364" y="149"/>
                  </a:lnTo>
                  <a:lnTo>
                    <a:pt x="364" y="147"/>
                  </a:lnTo>
                  <a:lnTo>
                    <a:pt x="364" y="149"/>
                  </a:lnTo>
                  <a:lnTo>
                    <a:pt x="366" y="149"/>
                  </a:lnTo>
                  <a:lnTo>
                    <a:pt x="368" y="149"/>
                  </a:lnTo>
                  <a:lnTo>
                    <a:pt x="370" y="149"/>
                  </a:lnTo>
                  <a:lnTo>
                    <a:pt x="372" y="149"/>
                  </a:lnTo>
                  <a:lnTo>
                    <a:pt x="374" y="149"/>
                  </a:lnTo>
                  <a:lnTo>
                    <a:pt x="374" y="151"/>
                  </a:lnTo>
                  <a:lnTo>
                    <a:pt x="376" y="151"/>
                  </a:lnTo>
                  <a:lnTo>
                    <a:pt x="376" y="153"/>
                  </a:lnTo>
                  <a:lnTo>
                    <a:pt x="378" y="153"/>
                  </a:lnTo>
                  <a:lnTo>
                    <a:pt x="380" y="153"/>
                  </a:lnTo>
                  <a:lnTo>
                    <a:pt x="380" y="155"/>
                  </a:lnTo>
                  <a:lnTo>
                    <a:pt x="382" y="155"/>
                  </a:lnTo>
                  <a:lnTo>
                    <a:pt x="384" y="155"/>
                  </a:lnTo>
                  <a:lnTo>
                    <a:pt x="386" y="155"/>
                  </a:lnTo>
                  <a:lnTo>
                    <a:pt x="386" y="153"/>
                  </a:lnTo>
                  <a:lnTo>
                    <a:pt x="388" y="153"/>
                  </a:lnTo>
                  <a:lnTo>
                    <a:pt x="388" y="155"/>
                  </a:lnTo>
                  <a:lnTo>
                    <a:pt x="388" y="153"/>
                  </a:lnTo>
                  <a:lnTo>
                    <a:pt x="390" y="153"/>
                  </a:lnTo>
                  <a:lnTo>
                    <a:pt x="390" y="155"/>
                  </a:lnTo>
                  <a:lnTo>
                    <a:pt x="392" y="155"/>
                  </a:lnTo>
                  <a:lnTo>
                    <a:pt x="392" y="157"/>
                  </a:lnTo>
                  <a:lnTo>
                    <a:pt x="392" y="155"/>
                  </a:lnTo>
                  <a:lnTo>
                    <a:pt x="390" y="157"/>
                  </a:lnTo>
                  <a:lnTo>
                    <a:pt x="392" y="157"/>
                  </a:lnTo>
                  <a:lnTo>
                    <a:pt x="392" y="159"/>
                  </a:lnTo>
                  <a:lnTo>
                    <a:pt x="394" y="159"/>
                  </a:lnTo>
                  <a:lnTo>
                    <a:pt x="394" y="161"/>
                  </a:lnTo>
                  <a:lnTo>
                    <a:pt x="394" y="159"/>
                  </a:lnTo>
                  <a:lnTo>
                    <a:pt x="396" y="159"/>
                  </a:lnTo>
                  <a:lnTo>
                    <a:pt x="398" y="159"/>
                  </a:lnTo>
                  <a:lnTo>
                    <a:pt x="398" y="157"/>
                  </a:lnTo>
                  <a:lnTo>
                    <a:pt x="400" y="157"/>
                  </a:lnTo>
                  <a:lnTo>
                    <a:pt x="400" y="155"/>
                  </a:lnTo>
                  <a:lnTo>
                    <a:pt x="400" y="155"/>
                  </a:lnTo>
                  <a:lnTo>
                    <a:pt x="400" y="157"/>
                  </a:lnTo>
                  <a:lnTo>
                    <a:pt x="402" y="157"/>
                  </a:lnTo>
                  <a:lnTo>
                    <a:pt x="404" y="157"/>
                  </a:lnTo>
                  <a:lnTo>
                    <a:pt x="406" y="157"/>
                  </a:lnTo>
                  <a:lnTo>
                    <a:pt x="406" y="159"/>
                  </a:lnTo>
                  <a:lnTo>
                    <a:pt x="408" y="159"/>
                  </a:lnTo>
                  <a:lnTo>
                    <a:pt x="408" y="157"/>
                  </a:lnTo>
                  <a:lnTo>
                    <a:pt x="410" y="157"/>
                  </a:lnTo>
                  <a:lnTo>
                    <a:pt x="412" y="157"/>
                  </a:lnTo>
                  <a:lnTo>
                    <a:pt x="412" y="159"/>
                  </a:lnTo>
                  <a:lnTo>
                    <a:pt x="410" y="159"/>
                  </a:lnTo>
                  <a:lnTo>
                    <a:pt x="410" y="161"/>
                  </a:lnTo>
                  <a:lnTo>
                    <a:pt x="410" y="163"/>
                  </a:lnTo>
                  <a:lnTo>
                    <a:pt x="410" y="165"/>
                  </a:lnTo>
                  <a:lnTo>
                    <a:pt x="412" y="165"/>
                  </a:lnTo>
                  <a:lnTo>
                    <a:pt x="412" y="167"/>
                  </a:lnTo>
                  <a:lnTo>
                    <a:pt x="414" y="167"/>
                  </a:lnTo>
                  <a:lnTo>
                    <a:pt x="414" y="165"/>
                  </a:lnTo>
                  <a:lnTo>
                    <a:pt x="416" y="165"/>
                  </a:lnTo>
                  <a:lnTo>
                    <a:pt x="416" y="167"/>
                  </a:lnTo>
                  <a:lnTo>
                    <a:pt x="418" y="167"/>
                  </a:lnTo>
                  <a:lnTo>
                    <a:pt x="416" y="167"/>
                  </a:lnTo>
                  <a:lnTo>
                    <a:pt x="416" y="169"/>
                  </a:lnTo>
                  <a:lnTo>
                    <a:pt x="416" y="171"/>
                  </a:lnTo>
                  <a:lnTo>
                    <a:pt x="414" y="171"/>
                  </a:lnTo>
                  <a:lnTo>
                    <a:pt x="416" y="173"/>
                  </a:lnTo>
                  <a:lnTo>
                    <a:pt x="418" y="173"/>
                  </a:lnTo>
                  <a:lnTo>
                    <a:pt x="418" y="175"/>
                  </a:lnTo>
                  <a:lnTo>
                    <a:pt x="420" y="175"/>
                  </a:lnTo>
                  <a:lnTo>
                    <a:pt x="422" y="175"/>
                  </a:lnTo>
                  <a:lnTo>
                    <a:pt x="422" y="173"/>
                  </a:lnTo>
                  <a:lnTo>
                    <a:pt x="424" y="173"/>
                  </a:lnTo>
                  <a:lnTo>
                    <a:pt x="424" y="171"/>
                  </a:lnTo>
                  <a:lnTo>
                    <a:pt x="426" y="171"/>
                  </a:lnTo>
                  <a:lnTo>
                    <a:pt x="428" y="171"/>
                  </a:lnTo>
                  <a:lnTo>
                    <a:pt x="428" y="169"/>
                  </a:lnTo>
                  <a:lnTo>
                    <a:pt x="430" y="169"/>
                  </a:lnTo>
                  <a:lnTo>
                    <a:pt x="430" y="167"/>
                  </a:lnTo>
                  <a:lnTo>
                    <a:pt x="430" y="169"/>
                  </a:lnTo>
                  <a:lnTo>
                    <a:pt x="432" y="169"/>
                  </a:lnTo>
                  <a:lnTo>
                    <a:pt x="434" y="169"/>
                  </a:lnTo>
                  <a:lnTo>
                    <a:pt x="434" y="171"/>
                  </a:lnTo>
                  <a:lnTo>
                    <a:pt x="434" y="173"/>
                  </a:lnTo>
                  <a:lnTo>
                    <a:pt x="436" y="173"/>
                  </a:lnTo>
                  <a:lnTo>
                    <a:pt x="438" y="173"/>
                  </a:lnTo>
                  <a:lnTo>
                    <a:pt x="440" y="173"/>
                  </a:lnTo>
                  <a:lnTo>
                    <a:pt x="440" y="175"/>
                  </a:lnTo>
                  <a:lnTo>
                    <a:pt x="440" y="177"/>
                  </a:lnTo>
                  <a:lnTo>
                    <a:pt x="440" y="179"/>
                  </a:lnTo>
                  <a:lnTo>
                    <a:pt x="442" y="179"/>
                  </a:lnTo>
                  <a:lnTo>
                    <a:pt x="444" y="179"/>
                  </a:lnTo>
                  <a:lnTo>
                    <a:pt x="444" y="177"/>
                  </a:lnTo>
                  <a:lnTo>
                    <a:pt x="446" y="177"/>
                  </a:lnTo>
                  <a:lnTo>
                    <a:pt x="446" y="175"/>
                  </a:lnTo>
                  <a:lnTo>
                    <a:pt x="446" y="177"/>
                  </a:lnTo>
                  <a:lnTo>
                    <a:pt x="446" y="175"/>
                  </a:lnTo>
                  <a:lnTo>
                    <a:pt x="448" y="175"/>
                  </a:lnTo>
                  <a:lnTo>
                    <a:pt x="448" y="177"/>
                  </a:lnTo>
                  <a:lnTo>
                    <a:pt x="448" y="177"/>
                  </a:lnTo>
                  <a:lnTo>
                    <a:pt x="448" y="175"/>
                  </a:lnTo>
                  <a:lnTo>
                    <a:pt x="450" y="175"/>
                  </a:lnTo>
                  <a:lnTo>
                    <a:pt x="450" y="173"/>
                  </a:lnTo>
                  <a:lnTo>
                    <a:pt x="450" y="175"/>
                  </a:lnTo>
                  <a:lnTo>
                    <a:pt x="450" y="177"/>
                  </a:lnTo>
                  <a:lnTo>
                    <a:pt x="452" y="177"/>
                  </a:lnTo>
                  <a:lnTo>
                    <a:pt x="452" y="179"/>
                  </a:lnTo>
                  <a:lnTo>
                    <a:pt x="450" y="179"/>
                  </a:lnTo>
                  <a:lnTo>
                    <a:pt x="450" y="181"/>
                  </a:lnTo>
                  <a:lnTo>
                    <a:pt x="450" y="183"/>
                  </a:lnTo>
                  <a:lnTo>
                    <a:pt x="450" y="183"/>
                  </a:lnTo>
                  <a:lnTo>
                    <a:pt x="452" y="183"/>
                  </a:lnTo>
                  <a:lnTo>
                    <a:pt x="454" y="183"/>
                  </a:lnTo>
                  <a:lnTo>
                    <a:pt x="454" y="183"/>
                  </a:lnTo>
                  <a:lnTo>
                    <a:pt x="454" y="181"/>
                  </a:lnTo>
                  <a:lnTo>
                    <a:pt x="456" y="181"/>
                  </a:lnTo>
                  <a:lnTo>
                    <a:pt x="456" y="179"/>
                  </a:lnTo>
                  <a:lnTo>
                    <a:pt x="454" y="179"/>
                  </a:lnTo>
                  <a:lnTo>
                    <a:pt x="456" y="179"/>
                  </a:lnTo>
                  <a:lnTo>
                    <a:pt x="456" y="177"/>
                  </a:lnTo>
                  <a:lnTo>
                    <a:pt x="456" y="179"/>
                  </a:lnTo>
                  <a:lnTo>
                    <a:pt x="458" y="179"/>
                  </a:lnTo>
                  <a:lnTo>
                    <a:pt x="458" y="177"/>
                  </a:lnTo>
                  <a:lnTo>
                    <a:pt x="460" y="177"/>
                  </a:lnTo>
                  <a:lnTo>
                    <a:pt x="460" y="175"/>
                  </a:lnTo>
                  <a:lnTo>
                    <a:pt x="460" y="173"/>
                  </a:lnTo>
                  <a:lnTo>
                    <a:pt x="462" y="173"/>
                  </a:lnTo>
                  <a:lnTo>
                    <a:pt x="464" y="173"/>
                  </a:lnTo>
                  <a:lnTo>
                    <a:pt x="464" y="175"/>
                  </a:lnTo>
                  <a:lnTo>
                    <a:pt x="464" y="177"/>
                  </a:lnTo>
                  <a:lnTo>
                    <a:pt x="466" y="179"/>
                  </a:lnTo>
                  <a:lnTo>
                    <a:pt x="468" y="177"/>
                  </a:lnTo>
                  <a:lnTo>
                    <a:pt x="468" y="179"/>
                  </a:lnTo>
                  <a:lnTo>
                    <a:pt x="470" y="179"/>
                  </a:lnTo>
                  <a:lnTo>
                    <a:pt x="470" y="181"/>
                  </a:lnTo>
                  <a:lnTo>
                    <a:pt x="472" y="181"/>
                  </a:lnTo>
                  <a:lnTo>
                    <a:pt x="474" y="181"/>
                  </a:lnTo>
                  <a:lnTo>
                    <a:pt x="474" y="179"/>
                  </a:lnTo>
                  <a:lnTo>
                    <a:pt x="474" y="177"/>
                  </a:lnTo>
                  <a:lnTo>
                    <a:pt x="476" y="177"/>
                  </a:lnTo>
                  <a:lnTo>
                    <a:pt x="476" y="175"/>
                  </a:lnTo>
                  <a:lnTo>
                    <a:pt x="476" y="177"/>
                  </a:lnTo>
                  <a:lnTo>
                    <a:pt x="478" y="177"/>
                  </a:lnTo>
                  <a:lnTo>
                    <a:pt x="480" y="177"/>
                  </a:lnTo>
                  <a:lnTo>
                    <a:pt x="478" y="179"/>
                  </a:lnTo>
                  <a:lnTo>
                    <a:pt x="476" y="179"/>
                  </a:lnTo>
                  <a:lnTo>
                    <a:pt x="476" y="181"/>
                  </a:lnTo>
                  <a:lnTo>
                    <a:pt x="478" y="181"/>
                  </a:lnTo>
                  <a:lnTo>
                    <a:pt x="480" y="181"/>
                  </a:lnTo>
                  <a:lnTo>
                    <a:pt x="482" y="181"/>
                  </a:lnTo>
                  <a:lnTo>
                    <a:pt x="482" y="183"/>
                  </a:lnTo>
                  <a:lnTo>
                    <a:pt x="482" y="183"/>
                  </a:lnTo>
                  <a:lnTo>
                    <a:pt x="484" y="183"/>
                  </a:lnTo>
                  <a:lnTo>
                    <a:pt x="486" y="183"/>
                  </a:lnTo>
                  <a:lnTo>
                    <a:pt x="486" y="185"/>
                  </a:lnTo>
                  <a:lnTo>
                    <a:pt x="488" y="185"/>
                  </a:lnTo>
                  <a:lnTo>
                    <a:pt x="488" y="187"/>
                  </a:lnTo>
                  <a:lnTo>
                    <a:pt x="488" y="189"/>
                  </a:lnTo>
                  <a:lnTo>
                    <a:pt x="490" y="189"/>
                  </a:lnTo>
                  <a:lnTo>
                    <a:pt x="490" y="187"/>
                  </a:lnTo>
                  <a:lnTo>
                    <a:pt x="492" y="187"/>
                  </a:lnTo>
                  <a:lnTo>
                    <a:pt x="492" y="185"/>
                  </a:lnTo>
                  <a:lnTo>
                    <a:pt x="492" y="183"/>
                  </a:lnTo>
                  <a:lnTo>
                    <a:pt x="494" y="183"/>
                  </a:lnTo>
                  <a:lnTo>
                    <a:pt x="494" y="185"/>
                  </a:lnTo>
                  <a:lnTo>
                    <a:pt x="496" y="185"/>
                  </a:lnTo>
                  <a:lnTo>
                    <a:pt x="496" y="185"/>
                  </a:lnTo>
                  <a:lnTo>
                    <a:pt x="496" y="183"/>
                  </a:lnTo>
                  <a:lnTo>
                    <a:pt x="496" y="183"/>
                  </a:lnTo>
                  <a:lnTo>
                    <a:pt x="498" y="183"/>
                  </a:lnTo>
                  <a:lnTo>
                    <a:pt x="496" y="183"/>
                  </a:lnTo>
                  <a:lnTo>
                    <a:pt x="496" y="183"/>
                  </a:lnTo>
                  <a:lnTo>
                    <a:pt x="496" y="183"/>
                  </a:lnTo>
                  <a:lnTo>
                    <a:pt x="498" y="183"/>
                  </a:lnTo>
                  <a:lnTo>
                    <a:pt x="500" y="183"/>
                  </a:lnTo>
                  <a:lnTo>
                    <a:pt x="500" y="181"/>
                  </a:lnTo>
                  <a:lnTo>
                    <a:pt x="500" y="183"/>
                  </a:lnTo>
                  <a:lnTo>
                    <a:pt x="502" y="183"/>
                  </a:lnTo>
                  <a:lnTo>
                    <a:pt x="504" y="183"/>
                  </a:lnTo>
                  <a:lnTo>
                    <a:pt x="504" y="181"/>
                  </a:lnTo>
                  <a:lnTo>
                    <a:pt x="504" y="183"/>
                  </a:lnTo>
                  <a:lnTo>
                    <a:pt x="504" y="181"/>
                  </a:lnTo>
                  <a:lnTo>
                    <a:pt x="506" y="181"/>
                  </a:lnTo>
                  <a:lnTo>
                    <a:pt x="508" y="181"/>
                  </a:lnTo>
                  <a:lnTo>
                    <a:pt x="510" y="181"/>
                  </a:lnTo>
                  <a:lnTo>
                    <a:pt x="510" y="183"/>
                  </a:lnTo>
                  <a:lnTo>
                    <a:pt x="512" y="183"/>
                  </a:lnTo>
                  <a:lnTo>
                    <a:pt x="514" y="183"/>
                  </a:lnTo>
                  <a:lnTo>
                    <a:pt x="514" y="181"/>
                  </a:lnTo>
                  <a:lnTo>
                    <a:pt x="514" y="183"/>
                  </a:lnTo>
                  <a:lnTo>
                    <a:pt x="516" y="183"/>
                  </a:lnTo>
                  <a:lnTo>
                    <a:pt x="516" y="181"/>
                  </a:lnTo>
                  <a:lnTo>
                    <a:pt x="518" y="181"/>
                  </a:lnTo>
                  <a:lnTo>
                    <a:pt x="520" y="181"/>
                  </a:lnTo>
                  <a:lnTo>
                    <a:pt x="520" y="179"/>
                  </a:lnTo>
                  <a:lnTo>
                    <a:pt x="522" y="179"/>
                  </a:lnTo>
                  <a:lnTo>
                    <a:pt x="524" y="179"/>
                  </a:lnTo>
                  <a:lnTo>
                    <a:pt x="526" y="179"/>
                  </a:lnTo>
                  <a:lnTo>
                    <a:pt x="526" y="181"/>
                  </a:lnTo>
                  <a:lnTo>
                    <a:pt x="528" y="181"/>
                  </a:lnTo>
                  <a:lnTo>
                    <a:pt x="528" y="183"/>
                  </a:lnTo>
                  <a:lnTo>
                    <a:pt x="530" y="183"/>
                  </a:lnTo>
                  <a:lnTo>
                    <a:pt x="530" y="181"/>
                  </a:lnTo>
                  <a:lnTo>
                    <a:pt x="530" y="183"/>
                  </a:lnTo>
                  <a:lnTo>
                    <a:pt x="532" y="183"/>
                  </a:lnTo>
                  <a:lnTo>
                    <a:pt x="534" y="183"/>
                  </a:lnTo>
                  <a:lnTo>
                    <a:pt x="536" y="183"/>
                  </a:lnTo>
                  <a:lnTo>
                    <a:pt x="536" y="181"/>
                  </a:lnTo>
                  <a:lnTo>
                    <a:pt x="536" y="183"/>
                  </a:lnTo>
                  <a:lnTo>
                    <a:pt x="538" y="183"/>
                  </a:lnTo>
                  <a:lnTo>
                    <a:pt x="538" y="181"/>
                  </a:lnTo>
                  <a:lnTo>
                    <a:pt x="540" y="181"/>
                  </a:lnTo>
                  <a:lnTo>
                    <a:pt x="540" y="183"/>
                  </a:lnTo>
                  <a:lnTo>
                    <a:pt x="540" y="181"/>
                  </a:lnTo>
                  <a:lnTo>
                    <a:pt x="540" y="179"/>
                  </a:lnTo>
                  <a:lnTo>
                    <a:pt x="542" y="179"/>
                  </a:lnTo>
                  <a:lnTo>
                    <a:pt x="542" y="177"/>
                  </a:lnTo>
                  <a:lnTo>
                    <a:pt x="542" y="179"/>
                  </a:lnTo>
                  <a:lnTo>
                    <a:pt x="544" y="179"/>
                  </a:lnTo>
                  <a:lnTo>
                    <a:pt x="544" y="179"/>
                  </a:lnTo>
                  <a:lnTo>
                    <a:pt x="544" y="181"/>
                  </a:lnTo>
                  <a:lnTo>
                    <a:pt x="546" y="181"/>
                  </a:lnTo>
                  <a:lnTo>
                    <a:pt x="546" y="183"/>
                  </a:lnTo>
                  <a:lnTo>
                    <a:pt x="546" y="181"/>
                  </a:lnTo>
                  <a:lnTo>
                    <a:pt x="548" y="181"/>
                  </a:lnTo>
                  <a:lnTo>
                    <a:pt x="548" y="183"/>
                  </a:lnTo>
                  <a:lnTo>
                    <a:pt x="548" y="183"/>
                  </a:lnTo>
                  <a:lnTo>
                    <a:pt x="550" y="183"/>
                  </a:lnTo>
                  <a:lnTo>
                    <a:pt x="550" y="183"/>
                  </a:lnTo>
                  <a:lnTo>
                    <a:pt x="550" y="183"/>
                  </a:lnTo>
                  <a:lnTo>
                    <a:pt x="552" y="183"/>
                  </a:lnTo>
                  <a:lnTo>
                    <a:pt x="552" y="185"/>
                  </a:lnTo>
                  <a:lnTo>
                    <a:pt x="554" y="185"/>
                  </a:lnTo>
                  <a:lnTo>
                    <a:pt x="554" y="187"/>
                  </a:lnTo>
                  <a:lnTo>
                    <a:pt x="556" y="187"/>
                  </a:lnTo>
                  <a:lnTo>
                    <a:pt x="556" y="189"/>
                  </a:lnTo>
                  <a:lnTo>
                    <a:pt x="558" y="189"/>
                  </a:lnTo>
                  <a:lnTo>
                    <a:pt x="558" y="187"/>
                  </a:lnTo>
                  <a:lnTo>
                    <a:pt x="558" y="189"/>
                  </a:lnTo>
                  <a:lnTo>
                    <a:pt x="560" y="189"/>
                  </a:lnTo>
                  <a:lnTo>
                    <a:pt x="560" y="191"/>
                  </a:lnTo>
                  <a:lnTo>
                    <a:pt x="562" y="191"/>
                  </a:lnTo>
                  <a:lnTo>
                    <a:pt x="562" y="189"/>
                  </a:lnTo>
                  <a:lnTo>
                    <a:pt x="562" y="191"/>
                  </a:lnTo>
                  <a:lnTo>
                    <a:pt x="562" y="193"/>
                  </a:lnTo>
                  <a:lnTo>
                    <a:pt x="564" y="193"/>
                  </a:lnTo>
                  <a:lnTo>
                    <a:pt x="566" y="193"/>
                  </a:lnTo>
                  <a:lnTo>
                    <a:pt x="566" y="195"/>
                  </a:lnTo>
                  <a:lnTo>
                    <a:pt x="566" y="193"/>
                  </a:lnTo>
                  <a:lnTo>
                    <a:pt x="568" y="193"/>
                  </a:lnTo>
                  <a:lnTo>
                    <a:pt x="568" y="195"/>
                  </a:lnTo>
                  <a:lnTo>
                    <a:pt x="570" y="195"/>
                  </a:lnTo>
                  <a:lnTo>
                    <a:pt x="570" y="193"/>
                  </a:lnTo>
                  <a:lnTo>
                    <a:pt x="570" y="195"/>
                  </a:lnTo>
                  <a:lnTo>
                    <a:pt x="572" y="195"/>
                  </a:lnTo>
                  <a:lnTo>
                    <a:pt x="570" y="195"/>
                  </a:lnTo>
                  <a:lnTo>
                    <a:pt x="570" y="197"/>
                  </a:lnTo>
                  <a:lnTo>
                    <a:pt x="572" y="197"/>
                  </a:lnTo>
                  <a:lnTo>
                    <a:pt x="572" y="195"/>
                  </a:lnTo>
                  <a:lnTo>
                    <a:pt x="572" y="197"/>
                  </a:lnTo>
                  <a:lnTo>
                    <a:pt x="574" y="197"/>
                  </a:lnTo>
                  <a:lnTo>
                    <a:pt x="574" y="195"/>
                  </a:lnTo>
                  <a:lnTo>
                    <a:pt x="574" y="197"/>
                  </a:lnTo>
                  <a:lnTo>
                    <a:pt x="576" y="197"/>
                  </a:lnTo>
                  <a:lnTo>
                    <a:pt x="576" y="195"/>
                  </a:lnTo>
                  <a:lnTo>
                    <a:pt x="576" y="197"/>
                  </a:lnTo>
                  <a:lnTo>
                    <a:pt x="574" y="197"/>
                  </a:lnTo>
                  <a:lnTo>
                    <a:pt x="574" y="199"/>
                  </a:lnTo>
                  <a:lnTo>
                    <a:pt x="576" y="199"/>
                  </a:lnTo>
                  <a:lnTo>
                    <a:pt x="578" y="199"/>
                  </a:lnTo>
                  <a:lnTo>
                    <a:pt x="578" y="201"/>
                  </a:lnTo>
                  <a:lnTo>
                    <a:pt x="578" y="199"/>
                  </a:lnTo>
                  <a:lnTo>
                    <a:pt x="580" y="199"/>
                  </a:lnTo>
                  <a:lnTo>
                    <a:pt x="578" y="201"/>
                  </a:lnTo>
                  <a:lnTo>
                    <a:pt x="580" y="201"/>
                  </a:lnTo>
                  <a:lnTo>
                    <a:pt x="582" y="201"/>
                  </a:lnTo>
                  <a:lnTo>
                    <a:pt x="582" y="199"/>
                  </a:lnTo>
                  <a:lnTo>
                    <a:pt x="584" y="199"/>
                  </a:lnTo>
                  <a:lnTo>
                    <a:pt x="584" y="201"/>
                  </a:lnTo>
                  <a:lnTo>
                    <a:pt x="584" y="199"/>
                  </a:lnTo>
                  <a:lnTo>
                    <a:pt x="586" y="199"/>
                  </a:lnTo>
                  <a:lnTo>
                    <a:pt x="586" y="201"/>
                  </a:lnTo>
                  <a:lnTo>
                    <a:pt x="588" y="201"/>
                  </a:lnTo>
                  <a:lnTo>
                    <a:pt x="588" y="199"/>
                  </a:lnTo>
                  <a:lnTo>
                    <a:pt x="588" y="201"/>
                  </a:lnTo>
                  <a:lnTo>
                    <a:pt x="586" y="201"/>
                  </a:lnTo>
                  <a:lnTo>
                    <a:pt x="586" y="199"/>
                  </a:lnTo>
                  <a:lnTo>
                    <a:pt x="588" y="199"/>
                  </a:lnTo>
                  <a:lnTo>
                    <a:pt x="590" y="199"/>
                  </a:lnTo>
                  <a:lnTo>
                    <a:pt x="590" y="201"/>
                  </a:lnTo>
                  <a:lnTo>
                    <a:pt x="590" y="199"/>
                  </a:lnTo>
                  <a:lnTo>
                    <a:pt x="590" y="201"/>
                  </a:lnTo>
                  <a:lnTo>
                    <a:pt x="592" y="201"/>
                  </a:lnTo>
                  <a:lnTo>
                    <a:pt x="592" y="201"/>
                  </a:lnTo>
                  <a:lnTo>
                    <a:pt x="592" y="203"/>
                  </a:lnTo>
                  <a:lnTo>
                    <a:pt x="592" y="205"/>
                  </a:lnTo>
                  <a:lnTo>
                    <a:pt x="592" y="207"/>
                  </a:lnTo>
                  <a:lnTo>
                    <a:pt x="592" y="209"/>
                  </a:lnTo>
                  <a:lnTo>
                    <a:pt x="592" y="211"/>
                  </a:lnTo>
                  <a:lnTo>
                    <a:pt x="592" y="213"/>
                  </a:lnTo>
                  <a:lnTo>
                    <a:pt x="592" y="215"/>
                  </a:lnTo>
                  <a:lnTo>
                    <a:pt x="592" y="217"/>
                  </a:lnTo>
                  <a:lnTo>
                    <a:pt x="592" y="219"/>
                  </a:lnTo>
                  <a:lnTo>
                    <a:pt x="592" y="221"/>
                  </a:lnTo>
                  <a:lnTo>
                    <a:pt x="592" y="223"/>
                  </a:lnTo>
                  <a:lnTo>
                    <a:pt x="592" y="225"/>
                  </a:lnTo>
                  <a:lnTo>
                    <a:pt x="592" y="227"/>
                  </a:lnTo>
                  <a:lnTo>
                    <a:pt x="592" y="229"/>
                  </a:lnTo>
                  <a:lnTo>
                    <a:pt x="592" y="231"/>
                  </a:lnTo>
                  <a:lnTo>
                    <a:pt x="592" y="233"/>
                  </a:lnTo>
                  <a:lnTo>
                    <a:pt x="592" y="235"/>
                  </a:lnTo>
                  <a:lnTo>
                    <a:pt x="592" y="237"/>
                  </a:lnTo>
                  <a:lnTo>
                    <a:pt x="592" y="239"/>
                  </a:lnTo>
                  <a:lnTo>
                    <a:pt x="592" y="243"/>
                  </a:lnTo>
                  <a:lnTo>
                    <a:pt x="592" y="245"/>
                  </a:lnTo>
                  <a:lnTo>
                    <a:pt x="592" y="249"/>
                  </a:lnTo>
                  <a:lnTo>
                    <a:pt x="592" y="251"/>
                  </a:lnTo>
                  <a:lnTo>
                    <a:pt x="592" y="253"/>
                  </a:lnTo>
                  <a:lnTo>
                    <a:pt x="592" y="255"/>
                  </a:lnTo>
                  <a:lnTo>
                    <a:pt x="592" y="257"/>
                  </a:lnTo>
                  <a:lnTo>
                    <a:pt x="592" y="259"/>
                  </a:lnTo>
                  <a:lnTo>
                    <a:pt x="592" y="259"/>
                  </a:lnTo>
                  <a:lnTo>
                    <a:pt x="592" y="261"/>
                  </a:lnTo>
                  <a:lnTo>
                    <a:pt x="592" y="263"/>
                  </a:lnTo>
                  <a:lnTo>
                    <a:pt x="592" y="265"/>
                  </a:lnTo>
                  <a:lnTo>
                    <a:pt x="592" y="267"/>
                  </a:lnTo>
                  <a:lnTo>
                    <a:pt x="592" y="269"/>
                  </a:lnTo>
                  <a:lnTo>
                    <a:pt x="592" y="273"/>
                  </a:lnTo>
                  <a:lnTo>
                    <a:pt x="592" y="275"/>
                  </a:lnTo>
                  <a:lnTo>
                    <a:pt x="592" y="277"/>
                  </a:lnTo>
                  <a:lnTo>
                    <a:pt x="592" y="279"/>
                  </a:lnTo>
                  <a:lnTo>
                    <a:pt x="592" y="279"/>
                  </a:lnTo>
                  <a:lnTo>
                    <a:pt x="592" y="281"/>
                  </a:lnTo>
                  <a:lnTo>
                    <a:pt x="592" y="283"/>
                  </a:lnTo>
                  <a:lnTo>
                    <a:pt x="592" y="285"/>
                  </a:lnTo>
                  <a:lnTo>
                    <a:pt x="592" y="287"/>
                  </a:lnTo>
                  <a:lnTo>
                    <a:pt x="592" y="287"/>
                  </a:lnTo>
                  <a:lnTo>
                    <a:pt x="592" y="289"/>
                  </a:lnTo>
                  <a:lnTo>
                    <a:pt x="592" y="291"/>
                  </a:lnTo>
                  <a:lnTo>
                    <a:pt x="594" y="291"/>
                  </a:lnTo>
                  <a:lnTo>
                    <a:pt x="594" y="293"/>
                  </a:lnTo>
                  <a:lnTo>
                    <a:pt x="596" y="293"/>
                  </a:lnTo>
                  <a:lnTo>
                    <a:pt x="596" y="291"/>
                  </a:lnTo>
                  <a:lnTo>
                    <a:pt x="596" y="293"/>
                  </a:lnTo>
                  <a:lnTo>
                    <a:pt x="596" y="295"/>
                  </a:lnTo>
                  <a:lnTo>
                    <a:pt x="598" y="295"/>
                  </a:lnTo>
                  <a:lnTo>
                    <a:pt x="598" y="297"/>
                  </a:lnTo>
                  <a:lnTo>
                    <a:pt x="598" y="299"/>
                  </a:lnTo>
                  <a:lnTo>
                    <a:pt x="600" y="299"/>
                  </a:lnTo>
                  <a:lnTo>
                    <a:pt x="600" y="301"/>
                  </a:lnTo>
                  <a:lnTo>
                    <a:pt x="600" y="303"/>
                  </a:lnTo>
                  <a:lnTo>
                    <a:pt x="600" y="305"/>
                  </a:lnTo>
                  <a:lnTo>
                    <a:pt x="602" y="305"/>
                  </a:lnTo>
                  <a:lnTo>
                    <a:pt x="600" y="305"/>
                  </a:lnTo>
                  <a:lnTo>
                    <a:pt x="600" y="307"/>
                  </a:lnTo>
                  <a:lnTo>
                    <a:pt x="600" y="305"/>
                  </a:lnTo>
                  <a:lnTo>
                    <a:pt x="600" y="307"/>
                  </a:lnTo>
                  <a:lnTo>
                    <a:pt x="600" y="309"/>
                  </a:lnTo>
                  <a:lnTo>
                    <a:pt x="600" y="311"/>
                  </a:lnTo>
                  <a:lnTo>
                    <a:pt x="600" y="313"/>
                  </a:lnTo>
                  <a:lnTo>
                    <a:pt x="602" y="313"/>
                  </a:lnTo>
                  <a:lnTo>
                    <a:pt x="600" y="313"/>
                  </a:lnTo>
                  <a:lnTo>
                    <a:pt x="602" y="313"/>
                  </a:lnTo>
                  <a:lnTo>
                    <a:pt x="602" y="315"/>
                  </a:lnTo>
                  <a:lnTo>
                    <a:pt x="604" y="315"/>
                  </a:lnTo>
                  <a:lnTo>
                    <a:pt x="606" y="315"/>
                  </a:lnTo>
                  <a:lnTo>
                    <a:pt x="606" y="317"/>
                  </a:lnTo>
                  <a:lnTo>
                    <a:pt x="604" y="317"/>
                  </a:lnTo>
                  <a:lnTo>
                    <a:pt x="604" y="319"/>
                  </a:lnTo>
                  <a:lnTo>
                    <a:pt x="606" y="319"/>
                  </a:lnTo>
                  <a:lnTo>
                    <a:pt x="606" y="321"/>
                  </a:lnTo>
                  <a:lnTo>
                    <a:pt x="606" y="323"/>
                  </a:lnTo>
                  <a:lnTo>
                    <a:pt x="608" y="323"/>
                  </a:lnTo>
                  <a:lnTo>
                    <a:pt x="608" y="325"/>
                  </a:lnTo>
                  <a:lnTo>
                    <a:pt x="608" y="323"/>
                  </a:lnTo>
                  <a:lnTo>
                    <a:pt x="608" y="325"/>
                  </a:lnTo>
                  <a:lnTo>
                    <a:pt x="606" y="325"/>
                  </a:lnTo>
                  <a:lnTo>
                    <a:pt x="606" y="327"/>
                  </a:lnTo>
                  <a:lnTo>
                    <a:pt x="608" y="327"/>
                  </a:lnTo>
                  <a:lnTo>
                    <a:pt x="606" y="327"/>
                  </a:lnTo>
                  <a:lnTo>
                    <a:pt x="608" y="327"/>
                  </a:lnTo>
                  <a:lnTo>
                    <a:pt x="608" y="327"/>
                  </a:lnTo>
                  <a:lnTo>
                    <a:pt x="610" y="327"/>
                  </a:lnTo>
                  <a:lnTo>
                    <a:pt x="610" y="329"/>
                  </a:lnTo>
                  <a:lnTo>
                    <a:pt x="610" y="331"/>
                  </a:lnTo>
                  <a:lnTo>
                    <a:pt x="610" y="329"/>
                  </a:lnTo>
                  <a:lnTo>
                    <a:pt x="610" y="331"/>
                  </a:lnTo>
                  <a:lnTo>
                    <a:pt x="610" y="333"/>
                  </a:lnTo>
                  <a:lnTo>
                    <a:pt x="612" y="333"/>
                  </a:lnTo>
                  <a:lnTo>
                    <a:pt x="614" y="333"/>
                  </a:lnTo>
                  <a:lnTo>
                    <a:pt x="614" y="335"/>
                  </a:lnTo>
                  <a:lnTo>
                    <a:pt x="614" y="337"/>
                  </a:lnTo>
                  <a:lnTo>
                    <a:pt x="612" y="337"/>
                  </a:lnTo>
                  <a:lnTo>
                    <a:pt x="612" y="339"/>
                  </a:lnTo>
                  <a:lnTo>
                    <a:pt x="614" y="339"/>
                  </a:lnTo>
                  <a:lnTo>
                    <a:pt x="614" y="341"/>
                  </a:lnTo>
                  <a:lnTo>
                    <a:pt x="614" y="343"/>
                  </a:lnTo>
                  <a:lnTo>
                    <a:pt x="612" y="343"/>
                  </a:lnTo>
                  <a:lnTo>
                    <a:pt x="612" y="345"/>
                  </a:lnTo>
                  <a:lnTo>
                    <a:pt x="614" y="345"/>
                  </a:lnTo>
                  <a:lnTo>
                    <a:pt x="614" y="347"/>
                  </a:lnTo>
                  <a:lnTo>
                    <a:pt x="612" y="349"/>
                  </a:lnTo>
                  <a:lnTo>
                    <a:pt x="612" y="347"/>
                  </a:lnTo>
                  <a:lnTo>
                    <a:pt x="612" y="349"/>
                  </a:lnTo>
                  <a:lnTo>
                    <a:pt x="612" y="351"/>
                  </a:lnTo>
                  <a:lnTo>
                    <a:pt x="612" y="353"/>
                  </a:lnTo>
                  <a:lnTo>
                    <a:pt x="612" y="355"/>
                  </a:lnTo>
                  <a:lnTo>
                    <a:pt x="610" y="355"/>
                  </a:lnTo>
                  <a:lnTo>
                    <a:pt x="610" y="357"/>
                  </a:lnTo>
                  <a:lnTo>
                    <a:pt x="610" y="359"/>
                  </a:lnTo>
                  <a:lnTo>
                    <a:pt x="608" y="359"/>
                  </a:lnTo>
                  <a:lnTo>
                    <a:pt x="610" y="359"/>
                  </a:lnTo>
                  <a:lnTo>
                    <a:pt x="608" y="359"/>
                  </a:lnTo>
                  <a:lnTo>
                    <a:pt x="608" y="361"/>
                  </a:lnTo>
                  <a:lnTo>
                    <a:pt x="608" y="363"/>
                  </a:lnTo>
                  <a:lnTo>
                    <a:pt x="606" y="363"/>
                  </a:lnTo>
                  <a:lnTo>
                    <a:pt x="606" y="365"/>
                  </a:lnTo>
                  <a:lnTo>
                    <a:pt x="606" y="367"/>
                  </a:lnTo>
                  <a:lnTo>
                    <a:pt x="604" y="367"/>
                  </a:lnTo>
                  <a:lnTo>
                    <a:pt x="606" y="367"/>
                  </a:lnTo>
                  <a:lnTo>
                    <a:pt x="604" y="367"/>
                  </a:lnTo>
                  <a:lnTo>
                    <a:pt x="604" y="369"/>
                  </a:lnTo>
                  <a:lnTo>
                    <a:pt x="602" y="369"/>
                  </a:lnTo>
                  <a:lnTo>
                    <a:pt x="602" y="371"/>
                  </a:lnTo>
                  <a:lnTo>
                    <a:pt x="604" y="371"/>
                  </a:lnTo>
                  <a:lnTo>
                    <a:pt x="604" y="373"/>
                  </a:lnTo>
                  <a:lnTo>
                    <a:pt x="604" y="375"/>
                  </a:lnTo>
                  <a:lnTo>
                    <a:pt x="604" y="375"/>
                  </a:lnTo>
                  <a:lnTo>
                    <a:pt x="602" y="375"/>
                  </a:lnTo>
                  <a:lnTo>
                    <a:pt x="604" y="375"/>
                  </a:lnTo>
                  <a:lnTo>
                    <a:pt x="602" y="375"/>
                  </a:lnTo>
                  <a:lnTo>
                    <a:pt x="602" y="377"/>
                  </a:lnTo>
                  <a:lnTo>
                    <a:pt x="602" y="379"/>
                  </a:lnTo>
                  <a:lnTo>
                    <a:pt x="602" y="377"/>
                  </a:lnTo>
                  <a:lnTo>
                    <a:pt x="602" y="379"/>
                  </a:lnTo>
                  <a:lnTo>
                    <a:pt x="600" y="379"/>
                  </a:lnTo>
                  <a:lnTo>
                    <a:pt x="602" y="379"/>
                  </a:lnTo>
                  <a:lnTo>
                    <a:pt x="600" y="379"/>
                  </a:lnTo>
                  <a:lnTo>
                    <a:pt x="602" y="379"/>
                  </a:lnTo>
                  <a:lnTo>
                    <a:pt x="600" y="379"/>
                  </a:lnTo>
                  <a:lnTo>
                    <a:pt x="602" y="379"/>
                  </a:lnTo>
                  <a:lnTo>
                    <a:pt x="600" y="379"/>
                  </a:lnTo>
                  <a:lnTo>
                    <a:pt x="600" y="381"/>
                  </a:lnTo>
                  <a:lnTo>
                    <a:pt x="602" y="381"/>
                  </a:lnTo>
                  <a:lnTo>
                    <a:pt x="602" y="383"/>
                  </a:lnTo>
                  <a:lnTo>
                    <a:pt x="604" y="383"/>
                  </a:lnTo>
                  <a:lnTo>
                    <a:pt x="604" y="385"/>
                  </a:lnTo>
                  <a:lnTo>
                    <a:pt x="604" y="387"/>
                  </a:lnTo>
                  <a:lnTo>
                    <a:pt x="602" y="387"/>
                  </a:lnTo>
                  <a:lnTo>
                    <a:pt x="604" y="387"/>
                  </a:lnTo>
                  <a:lnTo>
                    <a:pt x="602" y="387"/>
                  </a:lnTo>
                  <a:lnTo>
                    <a:pt x="604" y="389"/>
                  </a:lnTo>
                  <a:lnTo>
                    <a:pt x="602" y="389"/>
                  </a:lnTo>
                  <a:lnTo>
                    <a:pt x="604" y="389"/>
                  </a:lnTo>
                  <a:lnTo>
                    <a:pt x="604" y="391"/>
                  </a:lnTo>
                  <a:lnTo>
                    <a:pt x="604" y="393"/>
                  </a:lnTo>
                  <a:lnTo>
                    <a:pt x="602" y="393"/>
                  </a:lnTo>
                  <a:lnTo>
                    <a:pt x="602" y="395"/>
                  </a:lnTo>
                  <a:lnTo>
                    <a:pt x="604" y="395"/>
                  </a:lnTo>
                  <a:lnTo>
                    <a:pt x="604" y="397"/>
                  </a:lnTo>
                  <a:lnTo>
                    <a:pt x="602" y="397"/>
                  </a:lnTo>
                  <a:lnTo>
                    <a:pt x="602" y="395"/>
                  </a:lnTo>
                  <a:lnTo>
                    <a:pt x="602" y="397"/>
                  </a:lnTo>
                  <a:lnTo>
                    <a:pt x="602" y="399"/>
                  </a:lnTo>
                  <a:lnTo>
                    <a:pt x="600" y="399"/>
                  </a:lnTo>
                  <a:lnTo>
                    <a:pt x="600" y="401"/>
                  </a:lnTo>
                  <a:lnTo>
                    <a:pt x="598" y="401"/>
                  </a:lnTo>
                  <a:lnTo>
                    <a:pt x="598" y="399"/>
                  </a:lnTo>
                  <a:lnTo>
                    <a:pt x="600" y="399"/>
                  </a:lnTo>
                  <a:lnTo>
                    <a:pt x="598" y="399"/>
                  </a:lnTo>
                  <a:lnTo>
                    <a:pt x="598" y="401"/>
                  </a:lnTo>
                  <a:lnTo>
                    <a:pt x="596" y="401"/>
                  </a:lnTo>
                  <a:lnTo>
                    <a:pt x="596" y="399"/>
                  </a:lnTo>
                  <a:lnTo>
                    <a:pt x="596" y="401"/>
                  </a:lnTo>
                  <a:lnTo>
                    <a:pt x="596" y="399"/>
                  </a:lnTo>
                  <a:lnTo>
                    <a:pt x="594" y="399"/>
                  </a:lnTo>
                  <a:lnTo>
                    <a:pt x="596" y="399"/>
                  </a:lnTo>
                  <a:lnTo>
                    <a:pt x="594" y="399"/>
                  </a:lnTo>
                  <a:lnTo>
                    <a:pt x="596" y="399"/>
                  </a:lnTo>
                  <a:lnTo>
                    <a:pt x="594" y="399"/>
                  </a:lnTo>
                  <a:lnTo>
                    <a:pt x="594" y="401"/>
                  </a:lnTo>
                  <a:lnTo>
                    <a:pt x="596" y="401"/>
                  </a:lnTo>
                  <a:lnTo>
                    <a:pt x="596" y="403"/>
                  </a:lnTo>
                  <a:lnTo>
                    <a:pt x="594" y="403"/>
                  </a:lnTo>
                  <a:lnTo>
                    <a:pt x="594" y="405"/>
                  </a:lnTo>
                  <a:lnTo>
                    <a:pt x="592" y="405"/>
                  </a:lnTo>
                  <a:lnTo>
                    <a:pt x="592" y="407"/>
                  </a:lnTo>
                  <a:lnTo>
                    <a:pt x="592" y="405"/>
                  </a:lnTo>
                  <a:lnTo>
                    <a:pt x="594" y="405"/>
                  </a:lnTo>
                  <a:lnTo>
                    <a:pt x="594" y="403"/>
                  </a:lnTo>
                  <a:lnTo>
                    <a:pt x="596" y="403"/>
                  </a:lnTo>
                  <a:lnTo>
                    <a:pt x="594" y="403"/>
                  </a:lnTo>
                  <a:lnTo>
                    <a:pt x="594" y="405"/>
                  </a:lnTo>
                  <a:lnTo>
                    <a:pt x="592" y="405"/>
                  </a:lnTo>
                  <a:lnTo>
                    <a:pt x="592" y="407"/>
                  </a:lnTo>
                  <a:lnTo>
                    <a:pt x="592" y="409"/>
                  </a:lnTo>
                  <a:lnTo>
                    <a:pt x="592" y="411"/>
                  </a:lnTo>
                  <a:lnTo>
                    <a:pt x="592" y="413"/>
                  </a:lnTo>
                  <a:lnTo>
                    <a:pt x="592" y="413"/>
                  </a:lnTo>
                  <a:lnTo>
                    <a:pt x="592" y="411"/>
                  </a:lnTo>
                  <a:lnTo>
                    <a:pt x="592" y="409"/>
                  </a:lnTo>
                  <a:lnTo>
                    <a:pt x="592" y="411"/>
                  </a:lnTo>
                  <a:lnTo>
                    <a:pt x="592" y="413"/>
                  </a:lnTo>
                  <a:lnTo>
                    <a:pt x="592" y="413"/>
                  </a:lnTo>
                  <a:lnTo>
                    <a:pt x="594" y="413"/>
                  </a:lnTo>
                  <a:lnTo>
                    <a:pt x="592" y="415"/>
                  </a:lnTo>
                  <a:lnTo>
                    <a:pt x="594" y="415"/>
                  </a:lnTo>
                  <a:lnTo>
                    <a:pt x="594" y="417"/>
                  </a:lnTo>
                  <a:lnTo>
                    <a:pt x="596" y="417"/>
                  </a:lnTo>
                  <a:lnTo>
                    <a:pt x="596" y="419"/>
                  </a:lnTo>
                  <a:lnTo>
                    <a:pt x="594" y="419"/>
                  </a:lnTo>
                  <a:lnTo>
                    <a:pt x="592" y="419"/>
                  </a:lnTo>
                  <a:lnTo>
                    <a:pt x="592" y="419"/>
                  </a:lnTo>
                  <a:lnTo>
                    <a:pt x="592" y="417"/>
                  </a:lnTo>
                  <a:lnTo>
                    <a:pt x="590" y="417"/>
                  </a:lnTo>
                  <a:lnTo>
                    <a:pt x="588" y="417"/>
                  </a:lnTo>
                  <a:lnTo>
                    <a:pt x="588" y="419"/>
                  </a:lnTo>
                  <a:lnTo>
                    <a:pt x="586" y="419"/>
                  </a:lnTo>
                  <a:lnTo>
                    <a:pt x="584" y="419"/>
                  </a:lnTo>
                  <a:lnTo>
                    <a:pt x="582" y="419"/>
                  </a:lnTo>
                  <a:lnTo>
                    <a:pt x="582" y="421"/>
                  </a:lnTo>
                  <a:lnTo>
                    <a:pt x="580" y="421"/>
                  </a:lnTo>
                  <a:lnTo>
                    <a:pt x="578" y="421"/>
                  </a:lnTo>
                  <a:lnTo>
                    <a:pt x="576" y="423"/>
                  </a:lnTo>
                  <a:lnTo>
                    <a:pt x="574" y="423"/>
                  </a:lnTo>
                  <a:lnTo>
                    <a:pt x="572" y="423"/>
                  </a:lnTo>
                  <a:lnTo>
                    <a:pt x="572" y="423"/>
                  </a:lnTo>
                  <a:lnTo>
                    <a:pt x="570" y="423"/>
                  </a:lnTo>
                  <a:lnTo>
                    <a:pt x="568" y="423"/>
                  </a:lnTo>
                  <a:lnTo>
                    <a:pt x="566" y="425"/>
                  </a:lnTo>
                  <a:lnTo>
                    <a:pt x="564" y="425"/>
                  </a:lnTo>
                  <a:lnTo>
                    <a:pt x="564" y="423"/>
                  </a:lnTo>
                  <a:lnTo>
                    <a:pt x="566" y="423"/>
                  </a:lnTo>
                  <a:lnTo>
                    <a:pt x="564" y="423"/>
                  </a:lnTo>
                  <a:lnTo>
                    <a:pt x="562" y="423"/>
                  </a:lnTo>
                  <a:lnTo>
                    <a:pt x="562" y="423"/>
                  </a:lnTo>
                  <a:lnTo>
                    <a:pt x="560" y="423"/>
                  </a:lnTo>
                  <a:lnTo>
                    <a:pt x="558" y="423"/>
                  </a:lnTo>
                  <a:lnTo>
                    <a:pt x="558" y="423"/>
                  </a:lnTo>
                  <a:lnTo>
                    <a:pt x="556" y="423"/>
                  </a:lnTo>
                  <a:lnTo>
                    <a:pt x="554" y="423"/>
                  </a:lnTo>
                  <a:lnTo>
                    <a:pt x="552" y="423"/>
                  </a:lnTo>
                  <a:lnTo>
                    <a:pt x="550" y="423"/>
                  </a:lnTo>
                  <a:lnTo>
                    <a:pt x="548" y="423"/>
                  </a:lnTo>
                  <a:lnTo>
                    <a:pt x="550" y="423"/>
                  </a:lnTo>
                  <a:lnTo>
                    <a:pt x="550" y="423"/>
                  </a:lnTo>
                  <a:lnTo>
                    <a:pt x="552" y="423"/>
                  </a:lnTo>
                  <a:lnTo>
                    <a:pt x="552" y="421"/>
                  </a:lnTo>
                  <a:lnTo>
                    <a:pt x="552" y="419"/>
                  </a:lnTo>
                  <a:lnTo>
                    <a:pt x="554" y="419"/>
                  </a:lnTo>
                  <a:lnTo>
                    <a:pt x="554" y="417"/>
                  </a:lnTo>
                  <a:lnTo>
                    <a:pt x="554" y="415"/>
                  </a:lnTo>
                  <a:lnTo>
                    <a:pt x="554" y="413"/>
                  </a:lnTo>
                  <a:lnTo>
                    <a:pt x="554" y="415"/>
                  </a:lnTo>
                  <a:lnTo>
                    <a:pt x="554" y="413"/>
                  </a:lnTo>
                  <a:lnTo>
                    <a:pt x="554" y="411"/>
                  </a:lnTo>
                  <a:lnTo>
                    <a:pt x="554" y="413"/>
                  </a:lnTo>
                  <a:lnTo>
                    <a:pt x="554" y="411"/>
                  </a:lnTo>
                  <a:lnTo>
                    <a:pt x="554" y="413"/>
                  </a:lnTo>
                  <a:lnTo>
                    <a:pt x="554" y="411"/>
                  </a:lnTo>
                  <a:lnTo>
                    <a:pt x="554" y="413"/>
                  </a:lnTo>
                  <a:lnTo>
                    <a:pt x="554" y="411"/>
                  </a:lnTo>
                  <a:lnTo>
                    <a:pt x="554" y="413"/>
                  </a:lnTo>
                  <a:lnTo>
                    <a:pt x="554" y="411"/>
                  </a:lnTo>
                  <a:lnTo>
                    <a:pt x="552" y="411"/>
                  </a:lnTo>
                  <a:lnTo>
                    <a:pt x="550" y="411"/>
                  </a:lnTo>
                  <a:lnTo>
                    <a:pt x="548" y="411"/>
                  </a:lnTo>
                  <a:lnTo>
                    <a:pt x="548" y="413"/>
                  </a:lnTo>
                  <a:lnTo>
                    <a:pt x="546" y="413"/>
                  </a:lnTo>
                  <a:lnTo>
                    <a:pt x="546" y="415"/>
                  </a:lnTo>
                  <a:lnTo>
                    <a:pt x="546" y="417"/>
                  </a:lnTo>
                  <a:lnTo>
                    <a:pt x="544" y="417"/>
                  </a:lnTo>
                  <a:lnTo>
                    <a:pt x="544" y="417"/>
                  </a:lnTo>
                  <a:lnTo>
                    <a:pt x="544" y="415"/>
                  </a:lnTo>
                  <a:lnTo>
                    <a:pt x="544" y="417"/>
                  </a:lnTo>
                  <a:lnTo>
                    <a:pt x="544" y="415"/>
                  </a:lnTo>
                  <a:lnTo>
                    <a:pt x="544" y="417"/>
                  </a:lnTo>
                  <a:close/>
                  <a:moveTo>
                    <a:pt x="540" y="413"/>
                  </a:moveTo>
                  <a:lnTo>
                    <a:pt x="542" y="413"/>
                  </a:lnTo>
                  <a:lnTo>
                    <a:pt x="540" y="413"/>
                  </a:lnTo>
                  <a:lnTo>
                    <a:pt x="542" y="413"/>
                  </a:lnTo>
                  <a:lnTo>
                    <a:pt x="540" y="413"/>
                  </a:lnTo>
                  <a:close/>
                  <a:moveTo>
                    <a:pt x="592" y="411"/>
                  </a:moveTo>
                  <a:lnTo>
                    <a:pt x="592" y="413"/>
                  </a:lnTo>
                  <a:lnTo>
                    <a:pt x="592" y="411"/>
                  </a:lnTo>
                  <a:lnTo>
                    <a:pt x="592" y="411"/>
                  </a:lnTo>
                  <a:lnTo>
                    <a:pt x="592" y="409"/>
                  </a:lnTo>
                  <a:lnTo>
                    <a:pt x="592" y="407"/>
                  </a:lnTo>
                  <a:lnTo>
                    <a:pt x="592" y="409"/>
                  </a:lnTo>
                  <a:lnTo>
                    <a:pt x="592" y="409"/>
                  </a:lnTo>
                  <a:lnTo>
                    <a:pt x="592" y="411"/>
                  </a:lnTo>
                  <a:close/>
                  <a:moveTo>
                    <a:pt x="592" y="411"/>
                  </a:moveTo>
                  <a:lnTo>
                    <a:pt x="592" y="413"/>
                  </a:lnTo>
                  <a:lnTo>
                    <a:pt x="592" y="411"/>
                  </a:lnTo>
                  <a:lnTo>
                    <a:pt x="592" y="411"/>
                  </a:lnTo>
                  <a:close/>
                  <a:moveTo>
                    <a:pt x="536" y="413"/>
                  </a:moveTo>
                  <a:lnTo>
                    <a:pt x="538" y="413"/>
                  </a:lnTo>
                  <a:lnTo>
                    <a:pt x="538" y="411"/>
                  </a:lnTo>
                  <a:lnTo>
                    <a:pt x="536" y="413"/>
                  </a:lnTo>
                  <a:close/>
                  <a:moveTo>
                    <a:pt x="414" y="520"/>
                  </a:moveTo>
                  <a:lnTo>
                    <a:pt x="414" y="520"/>
                  </a:lnTo>
                  <a:lnTo>
                    <a:pt x="416" y="520"/>
                  </a:lnTo>
                  <a:lnTo>
                    <a:pt x="416" y="522"/>
                  </a:lnTo>
                  <a:lnTo>
                    <a:pt x="416" y="520"/>
                  </a:lnTo>
                  <a:lnTo>
                    <a:pt x="414" y="520"/>
                  </a:lnTo>
                  <a:close/>
                  <a:moveTo>
                    <a:pt x="416" y="522"/>
                  </a:moveTo>
                  <a:lnTo>
                    <a:pt x="416" y="520"/>
                  </a:lnTo>
                  <a:lnTo>
                    <a:pt x="416" y="522"/>
                  </a:lnTo>
                  <a:close/>
                  <a:moveTo>
                    <a:pt x="416" y="522"/>
                  </a:moveTo>
                  <a:lnTo>
                    <a:pt x="414" y="522"/>
                  </a:lnTo>
                  <a:lnTo>
                    <a:pt x="414" y="524"/>
                  </a:lnTo>
                  <a:lnTo>
                    <a:pt x="412" y="524"/>
                  </a:lnTo>
                  <a:lnTo>
                    <a:pt x="410" y="524"/>
                  </a:lnTo>
                  <a:lnTo>
                    <a:pt x="410" y="522"/>
                  </a:lnTo>
                  <a:lnTo>
                    <a:pt x="410" y="520"/>
                  </a:lnTo>
                  <a:lnTo>
                    <a:pt x="408" y="520"/>
                  </a:lnTo>
                  <a:lnTo>
                    <a:pt x="408" y="520"/>
                  </a:lnTo>
                  <a:lnTo>
                    <a:pt x="408" y="520"/>
                  </a:lnTo>
                  <a:lnTo>
                    <a:pt x="410" y="520"/>
                  </a:lnTo>
                  <a:lnTo>
                    <a:pt x="410" y="522"/>
                  </a:lnTo>
                  <a:lnTo>
                    <a:pt x="410" y="524"/>
                  </a:lnTo>
                  <a:lnTo>
                    <a:pt x="412" y="524"/>
                  </a:lnTo>
                  <a:lnTo>
                    <a:pt x="414" y="524"/>
                  </a:lnTo>
                  <a:lnTo>
                    <a:pt x="414" y="522"/>
                  </a:lnTo>
                  <a:lnTo>
                    <a:pt x="416" y="522"/>
                  </a:lnTo>
                  <a:close/>
                  <a:moveTo>
                    <a:pt x="400" y="538"/>
                  </a:moveTo>
                  <a:lnTo>
                    <a:pt x="398" y="538"/>
                  </a:lnTo>
                  <a:lnTo>
                    <a:pt x="400" y="538"/>
                  </a:lnTo>
                  <a:lnTo>
                    <a:pt x="400" y="540"/>
                  </a:lnTo>
                  <a:lnTo>
                    <a:pt x="398" y="540"/>
                  </a:lnTo>
                  <a:lnTo>
                    <a:pt x="400" y="540"/>
                  </a:lnTo>
                  <a:lnTo>
                    <a:pt x="400" y="542"/>
                  </a:lnTo>
                  <a:lnTo>
                    <a:pt x="400" y="542"/>
                  </a:lnTo>
                  <a:lnTo>
                    <a:pt x="400" y="540"/>
                  </a:lnTo>
                  <a:lnTo>
                    <a:pt x="400" y="542"/>
                  </a:lnTo>
                  <a:lnTo>
                    <a:pt x="400" y="542"/>
                  </a:lnTo>
                  <a:lnTo>
                    <a:pt x="400" y="540"/>
                  </a:lnTo>
                  <a:lnTo>
                    <a:pt x="400" y="542"/>
                  </a:lnTo>
                  <a:lnTo>
                    <a:pt x="400" y="540"/>
                  </a:lnTo>
                  <a:lnTo>
                    <a:pt x="400" y="538"/>
                  </a:lnTo>
                  <a:close/>
                </a:path>
              </a:pathLst>
            </a:custGeom>
            <a:solidFill>
              <a:srgbClr val="ABAFCF"/>
            </a:solidFill>
            <a:ln w="3175">
              <a:solidFill>
                <a:sysClr val="window" lastClr="FFFF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black"/>
                </a:solidFill>
                <a:effectLst/>
                <a:uLnTx/>
                <a:uFillTx/>
                <a:ea typeface="宋体" panose="02010600030101010101" pitchFamily="2" charset="-122"/>
              </a:endParaRPr>
            </a:p>
          </p:txBody>
        </p:sp>
        <p:sp>
          <p:nvSpPr>
            <p:cNvPr id="12" name="Freeform 3699">
              <a:extLst>
                <a:ext uri="{FF2B5EF4-FFF2-40B4-BE49-F238E27FC236}">
                  <a16:creationId xmlns:a16="http://schemas.microsoft.com/office/drawing/2014/main" id="{93DB0157-51A6-8AC5-9605-E79E05FD142C}"/>
                </a:ext>
              </a:extLst>
            </p:cNvPr>
            <p:cNvSpPr>
              <a:spLocks noEditPoints="1"/>
            </p:cNvSpPr>
            <p:nvPr/>
          </p:nvSpPr>
          <p:spPr bwMode="auto">
            <a:xfrm>
              <a:off x="3773488" y="2141538"/>
              <a:ext cx="441325" cy="363538"/>
            </a:xfrm>
            <a:custGeom>
              <a:avLst/>
              <a:gdLst>
                <a:gd name="T0" fmla="*/ 24 w 278"/>
                <a:gd name="T1" fmla="*/ 79 h 229"/>
                <a:gd name="T2" fmla="*/ 60 w 278"/>
                <a:gd name="T3" fmla="*/ 85 h 229"/>
                <a:gd name="T4" fmla="*/ 62 w 278"/>
                <a:gd name="T5" fmla="*/ 83 h 229"/>
                <a:gd name="T6" fmla="*/ 78 w 278"/>
                <a:gd name="T7" fmla="*/ 81 h 229"/>
                <a:gd name="T8" fmla="*/ 82 w 278"/>
                <a:gd name="T9" fmla="*/ 67 h 229"/>
                <a:gd name="T10" fmla="*/ 98 w 278"/>
                <a:gd name="T11" fmla="*/ 61 h 229"/>
                <a:gd name="T12" fmla="*/ 100 w 278"/>
                <a:gd name="T13" fmla="*/ 49 h 229"/>
                <a:gd name="T14" fmla="*/ 98 w 278"/>
                <a:gd name="T15" fmla="*/ 45 h 229"/>
                <a:gd name="T16" fmla="*/ 32 w 278"/>
                <a:gd name="T17" fmla="*/ 4 h 229"/>
                <a:gd name="T18" fmla="*/ 94 w 278"/>
                <a:gd name="T19" fmla="*/ 41 h 229"/>
                <a:gd name="T20" fmla="*/ 90 w 278"/>
                <a:gd name="T21" fmla="*/ 61 h 229"/>
                <a:gd name="T22" fmla="*/ 88 w 278"/>
                <a:gd name="T23" fmla="*/ 30 h 229"/>
                <a:gd name="T24" fmla="*/ 90 w 278"/>
                <a:gd name="T25" fmla="*/ 24 h 229"/>
                <a:gd name="T26" fmla="*/ 90 w 278"/>
                <a:gd name="T27" fmla="*/ 26 h 229"/>
                <a:gd name="T28" fmla="*/ 90 w 278"/>
                <a:gd name="T29" fmla="*/ 22 h 229"/>
                <a:gd name="T30" fmla="*/ 88 w 278"/>
                <a:gd name="T31" fmla="*/ 20 h 229"/>
                <a:gd name="T32" fmla="*/ 88 w 278"/>
                <a:gd name="T33" fmla="*/ 24 h 229"/>
                <a:gd name="T34" fmla="*/ 86 w 278"/>
                <a:gd name="T35" fmla="*/ 14 h 229"/>
                <a:gd name="T36" fmla="*/ 96 w 278"/>
                <a:gd name="T37" fmla="*/ 24 h 229"/>
                <a:gd name="T38" fmla="*/ 104 w 278"/>
                <a:gd name="T39" fmla="*/ 22 h 229"/>
                <a:gd name="T40" fmla="*/ 98 w 278"/>
                <a:gd name="T41" fmla="*/ 0 h 229"/>
                <a:gd name="T42" fmla="*/ 164 w 278"/>
                <a:gd name="T43" fmla="*/ 34 h 229"/>
                <a:gd name="T44" fmla="*/ 218 w 278"/>
                <a:gd name="T45" fmla="*/ 61 h 229"/>
                <a:gd name="T46" fmla="*/ 264 w 278"/>
                <a:gd name="T47" fmla="*/ 81 h 229"/>
                <a:gd name="T48" fmla="*/ 268 w 278"/>
                <a:gd name="T49" fmla="*/ 113 h 229"/>
                <a:gd name="T50" fmla="*/ 250 w 278"/>
                <a:gd name="T51" fmla="*/ 155 h 229"/>
                <a:gd name="T52" fmla="*/ 228 w 278"/>
                <a:gd name="T53" fmla="*/ 205 h 229"/>
                <a:gd name="T54" fmla="*/ 210 w 278"/>
                <a:gd name="T55" fmla="*/ 225 h 229"/>
                <a:gd name="T56" fmla="*/ 166 w 278"/>
                <a:gd name="T57" fmla="*/ 205 h 229"/>
                <a:gd name="T58" fmla="*/ 122 w 278"/>
                <a:gd name="T59" fmla="*/ 193 h 229"/>
                <a:gd name="T60" fmla="*/ 76 w 278"/>
                <a:gd name="T61" fmla="*/ 183 h 229"/>
                <a:gd name="T62" fmla="*/ 36 w 278"/>
                <a:gd name="T63" fmla="*/ 167 h 229"/>
                <a:gd name="T64" fmla="*/ 28 w 278"/>
                <a:gd name="T65" fmla="*/ 127 h 229"/>
                <a:gd name="T66" fmla="*/ 2 w 278"/>
                <a:gd name="T67" fmla="*/ 105 h 229"/>
                <a:gd name="T68" fmla="*/ 6 w 278"/>
                <a:gd name="T69" fmla="*/ 105 h 229"/>
                <a:gd name="T70" fmla="*/ 22 w 278"/>
                <a:gd name="T71" fmla="*/ 93 h 229"/>
                <a:gd name="T72" fmla="*/ 14 w 278"/>
                <a:gd name="T73" fmla="*/ 79 h 229"/>
                <a:gd name="T74" fmla="*/ 20 w 278"/>
                <a:gd name="T75" fmla="*/ 77 h 229"/>
                <a:gd name="T76" fmla="*/ 22 w 278"/>
                <a:gd name="T77" fmla="*/ 55 h 229"/>
                <a:gd name="T78" fmla="*/ 26 w 278"/>
                <a:gd name="T79" fmla="*/ 24 h 229"/>
                <a:gd name="T80" fmla="*/ 34 w 278"/>
                <a:gd name="T81" fmla="*/ 2 h 229"/>
                <a:gd name="T82" fmla="*/ 60 w 278"/>
                <a:gd name="T83" fmla="*/ 28 h 229"/>
                <a:gd name="T84" fmla="*/ 76 w 278"/>
                <a:gd name="T85" fmla="*/ 43 h 229"/>
                <a:gd name="T86" fmla="*/ 82 w 278"/>
                <a:gd name="T87" fmla="*/ 47 h 229"/>
                <a:gd name="T88" fmla="*/ 78 w 278"/>
                <a:gd name="T89" fmla="*/ 59 h 229"/>
                <a:gd name="T90" fmla="*/ 62 w 278"/>
                <a:gd name="T91" fmla="*/ 69 h 229"/>
                <a:gd name="T92" fmla="*/ 66 w 278"/>
                <a:gd name="T93" fmla="*/ 69 h 229"/>
                <a:gd name="T94" fmla="*/ 84 w 278"/>
                <a:gd name="T95" fmla="*/ 59 h 229"/>
                <a:gd name="T96" fmla="*/ 80 w 278"/>
                <a:gd name="T97" fmla="*/ 69 h 229"/>
                <a:gd name="T98" fmla="*/ 76 w 278"/>
                <a:gd name="T99" fmla="*/ 71 h 229"/>
                <a:gd name="T100" fmla="*/ 72 w 278"/>
                <a:gd name="T101" fmla="*/ 87 h 229"/>
                <a:gd name="T102" fmla="*/ 66 w 278"/>
                <a:gd name="T103" fmla="*/ 81 h 229"/>
                <a:gd name="T104" fmla="*/ 68 w 278"/>
                <a:gd name="T105" fmla="*/ 79 h 229"/>
                <a:gd name="T106" fmla="*/ 54 w 278"/>
                <a:gd name="T107" fmla="*/ 85 h 229"/>
                <a:gd name="T108" fmla="*/ 56 w 278"/>
                <a:gd name="T109" fmla="*/ 87 h 229"/>
                <a:gd name="T110" fmla="*/ 64 w 278"/>
                <a:gd name="T111" fmla="*/ 91 h 229"/>
                <a:gd name="T112" fmla="*/ 80 w 278"/>
                <a:gd name="T113" fmla="*/ 81 h 229"/>
                <a:gd name="T114" fmla="*/ 100 w 278"/>
                <a:gd name="T115" fmla="*/ 59 h 229"/>
                <a:gd name="T116" fmla="*/ 98 w 278"/>
                <a:gd name="T117" fmla="*/ 36 h 229"/>
                <a:gd name="T118" fmla="*/ 104 w 278"/>
                <a:gd name="T119" fmla="*/ 28 h 229"/>
                <a:gd name="T120" fmla="*/ 102 w 278"/>
                <a:gd name="T121" fmla="*/ 16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78" h="229">
                  <a:moveTo>
                    <a:pt x="22" y="123"/>
                  </a:moveTo>
                  <a:lnTo>
                    <a:pt x="22" y="125"/>
                  </a:lnTo>
                  <a:lnTo>
                    <a:pt x="20" y="125"/>
                  </a:lnTo>
                  <a:lnTo>
                    <a:pt x="22" y="125"/>
                  </a:lnTo>
                  <a:lnTo>
                    <a:pt x="20" y="125"/>
                  </a:lnTo>
                  <a:lnTo>
                    <a:pt x="22" y="123"/>
                  </a:lnTo>
                  <a:close/>
                  <a:moveTo>
                    <a:pt x="20" y="121"/>
                  </a:moveTo>
                  <a:lnTo>
                    <a:pt x="20" y="119"/>
                  </a:lnTo>
                  <a:lnTo>
                    <a:pt x="20" y="121"/>
                  </a:lnTo>
                  <a:close/>
                  <a:moveTo>
                    <a:pt x="20" y="119"/>
                  </a:moveTo>
                  <a:lnTo>
                    <a:pt x="20" y="117"/>
                  </a:lnTo>
                  <a:lnTo>
                    <a:pt x="20" y="119"/>
                  </a:lnTo>
                  <a:close/>
                  <a:moveTo>
                    <a:pt x="20" y="119"/>
                  </a:moveTo>
                  <a:lnTo>
                    <a:pt x="20" y="117"/>
                  </a:lnTo>
                  <a:lnTo>
                    <a:pt x="20" y="119"/>
                  </a:lnTo>
                  <a:close/>
                  <a:moveTo>
                    <a:pt x="20" y="119"/>
                  </a:moveTo>
                  <a:lnTo>
                    <a:pt x="20" y="117"/>
                  </a:lnTo>
                  <a:lnTo>
                    <a:pt x="20" y="119"/>
                  </a:lnTo>
                  <a:close/>
                  <a:moveTo>
                    <a:pt x="16" y="81"/>
                  </a:moveTo>
                  <a:lnTo>
                    <a:pt x="16" y="81"/>
                  </a:lnTo>
                  <a:lnTo>
                    <a:pt x="16" y="81"/>
                  </a:lnTo>
                  <a:close/>
                  <a:moveTo>
                    <a:pt x="16" y="81"/>
                  </a:moveTo>
                  <a:lnTo>
                    <a:pt x="16" y="81"/>
                  </a:lnTo>
                  <a:lnTo>
                    <a:pt x="16" y="81"/>
                  </a:lnTo>
                  <a:close/>
                  <a:moveTo>
                    <a:pt x="16" y="81"/>
                  </a:moveTo>
                  <a:lnTo>
                    <a:pt x="16" y="81"/>
                  </a:lnTo>
                  <a:lnTo>
                    <a:pt x="16" y="81"/>
                  </a:lnTo>
                  <a:close/>
                  <a:moveTo>
                    <a:pt x="24" y="79"/>
                  </a:moveTo>
                  <a:lnTo>
                    <a:pt x="26" y="81"/>
                  </a:lnTo>
                  <a:lnTo>
                    <a:pt x="24" y="81"/>
                  </a:lnTo>
                  <a:lnTo>
                    <a:pt x="24" y="79"/>
                  </a:lnTo>
                  <a:close/>
                  <a:moveTo>
                    <a:pt x="20" y="77"/>
                  </a:moveTo>
                  <a:lnTo>
                    <a:pt x="18" y="75"/>
                  </a:lnTo>
                  <a:lnTo>
                    <a:pt x="20" y="77"/>
                  </a:lnTo>
                  <a:close/>
                  <a:moveTo>
                    <a:pt x="68" y="91"/>
                  </a:moveTo>
                  <a:lnTo>
                    <a:pt x="66" y="91"/>
                  </a:lnTo>
                  <a:lnTo>
                    <a:pt x="68" y="91"/>
                  </a:lnTo>
                  <a:lnTo>
                    <a:pt x="68" y="89"/>
                  </a:lnTo>
                  <a:lnTo>
                    <a:pt x="68" y="91"/>
                  </a:lnTo>
                  <a:lnTo>
                    <a:pt x="68" y="89"/>
                  </a:lnTo>
                  <a:lnTo>
                    <a:pt x="68" y="91"/>
                  </a:lnTo>
                  <a:close/>
                  <a:moveTo>
                    <a:pt x="66" y="87"/>
                  </a:moveTo>
                  <a:lnTo>
                    <a:pt x="66" y="89"/>
                  </a:lnTo>
                  <a:lnTo>
                    <a:pt x="66" y="91"/>
                  </a:lnTo>
                  <a:lnTo>
                    <a:pt x="66" y="89"/>
                  </a:lnTo>
                  <a:lnTo>
                    <a:pt x="64" y="89"/>
                  </a:lnTo>
                  <a:lnTo>
                    <a:pt x="64" y="91"/>
                  </a:lnTo>
                  <a:lnTo>
                    <a:pt x="64" y="89"/>
                  </a:lnTo>
                  <a:lnTo>
                    <a:pt x="64" y="91"/>
                  </a:lnTo>
                  <a:lnTo>
                    <a:pt x="64" y="89"/>
                  </a:lnTo>
                  <a:lnTo>
                    <a:pt x="64" y="87"/>
                  </a:lnTo>
                  <a:lnTo>
                    <a:pt x="66" y="87"/>
                  </a:lnTo>
                  <a:lnTo>
                    <a:pt x="64" y="87"/>
                  </a:lnTo>
                  <a:lnTo>
                    <a:pt x="66" y="87"/>
                  </a:lnTo>
                  <a:close/>
                  <a:moveTo>
                    <a:pt x="60" y="83"/>
                  </a:moveTo>
                  <a:lnTo>
                    <a:pt x="60" y="85"/>
                  </a:lnTo>
                  <a:lnTo>
                    <a:pt x="58" y="85"/>
                  </a:lnTo>
                  <a:lnTo>
                    <a:pt x="60" y="85"/>
                  </a:lnTo>
                  <a:lnTo>
                    <a:pt x="58" y="85"/>
                  </a:lnTo>
                  <a:lnTo>
                    <a:pt x="58" y="83"/>
                  </a:lnTo>
                  <a:lnTo>
                    <a:pt x="58" y="85"/>
                  </a:lnTo>
                  <a:lnTo>
                    <a:pt x="60" y="85"/>
                  </a:lnTo>
                  <a:lnTo>
                    <a:pt x="58" y="85"/>
                  </a:lnTo>
                  <a:lnTo>
                    <a:pt x="58" y="83"/>
                  </a:lnTo>
                  <a:lnTo>
                    <a:pt x="60" y="83"/>
                  </a:lnTo>
                  <a:lnTo>
                    <a:pt x="58" y="83"/>
                  </a:lnTo>
                  <a:lnTo>
                    <a:pt x="60" y="83"/>
                  </a:lnTo>
                  <a:close/>
                  <a:moveTo>
                    <a:pt x="68" y="87"/>
                  </a:moveTo>
                  <a:lnTo>
                    <a:pt x="68" y="89"/>
                  </a:lnTo>
                  <a:lnTo>
                    <a:pt x="66" y="87"/>
                  </a:lnTo>
                  <a:lnTo>
                    <a:pt x="66" y="85"/>
                  </a:lnTo>
                  <a:lnTo>
                    <a:pt x="68" y="85"/>
                  </a:lnTo>
                  <a:lnTo>
                    <a:pt x="68" y="87"/>
                  </a:lnTo>
                  <a:close/>
                  <a:moveTo>
                    <a:pt x="64" y="83"/>
                  </a:moveTo>
                  <a:lnTo>
                    <a:pt x="64" y="81"/>
                  </a:lnTo>
                  <a:lnTo>
                    <a:pt x="64" y="83"/>
                  </a:lnTo>
                  <a:close/>
                  <a:moveTo>
                    <a:pt x="70" y="85"/>
                  </a:moveTo>
                  <a:lnTo>
                    <a:pt x="70" y="87"/>
                  </a:lnTo>
                  <a:lnTo>
                    <a:pt x="70" y="85"/>
                  </a:lnTo>
                  <a:lnTo>
                    <a:pt x="68" y="85"/>
                  </a:lnTo>
                  <a:lnTo>
                    <a:pt x="70" y="85"/>
                  </a:lnTo>
                  <a:close/>
                  <a:moveTo>
                    <a:pt x="64" y="81"/>
                  </a:moveTo>
                  <a:lnTo>
                    <a:pt x="62" y="81"/>
                  </a:lnTo>
                  <a:lnTo>
                    <a:pt x="62" y="83"/>
                  </a:lnTo>
                  <a:lnTo>
                    <a:pt x="62" y="85"/>
                  </a:lnTo>
                  <a:lnTo>
                    <a:pt x="60" y="85"/>
                  </a:lnTo>
                  <a:lnTo>
                    <a:pt x="60" y="83"/>
                  </a:lnTo>
                  <a:lnTo>
                    <a:pt x="60" y="81"/>
                  </a:lnTo>
                  <a:lnTo>
                    <a:pt x="62" y="81"/>
                  </a:lnTo>
                  <a:lnTo>
                    <a:pt x="62" y="81"/>
                  </a:lnTo>
                  <a:lnTo>
                    <a:pt x="62" y="81"/>
                  </a:lnTo>
                  <a:lnTo>
                    <a:pt x="62" y="81"/>
                  </a:lnTo>
                  <a:lnTo>
                    <a:pt x="62" y="81"/>
                  </a:lnTo>
                  <a:lnTo>
                    <a:pt x="64" y="81"/>
                  </a:lnTo>
                  <a:lnTo>
                    <a:pt x="64" y="81"/>
                  </a:lnTo>
                  <a:lnTo>
                    <a:pt x="64" y="81"/>
                  </a:lnTo>
                  <a:lnTo>
                    <a:pt x="64" y="81"/>
                  </a:lnTo>
                  <a:lnTo>
                    <a:pt x="64" y="81"/>
                  </a:lnTo>
                  <a:lnTo>
                    <a:pt x="64" y="81"/>
                  </a:lnTo>
                  <a:lnTo>
                    <a:pt x="64" y="81"/>
                  </a:lnTo>
                  <a:lnTo>
                    <a:pt x="64" y="81"/>
                  </a:lnTo>
                  <a:lnTo>
                    <a:pt x="64" y="81"/>
                  </a:lnTo>
                  <a:close/>
                  <a:moveTo>
                    <a:pt x="66" y="81"/>
                  </a:moveTo>
                  <a:lnTo>
                    <a:pt x="64" y="81"/>
                  </a:lnTo>
                  <a:lnTo>
                    <a:pt x="66" y="81"/>
                  </a:lnTo>
                  <a:lnTo>
                    <a:pt x="64" y="81"/>
                  </a:lnTo>
                  <a:lnTo>
                    <a:pt x="66" y="81"/>
                  </a:lnTo>
                  <a:close/>
                  <a:moveTo>
                    <a:pt x="80" y="79"/>
                  </a:moveTo>
                  <a:lnTo>
                    <a:pt x="78" y="79"/>
                  </a:lnTo>
                  <a:lnTo>
                    <a:pt x="78" y="81"/>
                  </a:lnTo>
                  <a:lnTo>
                    <a:pt x="80" y="81"/>
                  </a:lnTo>
                  <a:lnTo>
                    <a:pt x="78" y="81"/>
                  </a:lnTo>
                  <a:lnTo>
                    <a:pt x="80" y="81"/>
                  </a:lnTo>
                  <a:lnTo>
                    <a:pt x="78" y="81"/>
                  </a:lnTo>
                  <a:lnTo>
                    <a:pt x="78" y="81"/>
                  </a:lnTo>
                  <a:lnTo>
                    <a:pt x="78" y="83"/>
                  </a:lnTo>
                  <a:lnTo>
                    <a:pt x="80" y="83"/>
                  </a:lnTo>
                  <a:lnTo>
                    <a:pt x="78" y="83"/>
                  </a:lnTo>
                  <a:lnTo>
                    <a:pt x="76" y="83"/>
                  </a:lnTo>
                  <a:lnTo>
                    <a:pt x="76" y="85"/>
                  </a:lnTo>
                  <a:lnTo>
                    <a:pt x="76" y="85"/>
                  </a:lnTo>
                  <a:lnTo>
                    <a:pt x="76" y="83"/>
                  </a:lnTo>
                  <a:lnTo>
                    <a:pt x="76" y="83"/>
                  </a:lnTo>
                  <a:lnTo>
                    <a:pt x="78" y="83"/>
                  </a:lnTo>
                  <a:lnTo>
                    <a:pt x="78" y="81"/>
                  </a:lnTo>
                  <a:lnTo>
                    <a:pt x="76" y="81"/>
                  </a:lnTo>
                  <a:lnTo>
                    <a:pt x="76" y="83"/>
                  </a:lnTo>
                  <a:lnTo>
                    <a:pt x="76" y="83"/>
                  </a:lnTo>
                  <a:lnTo>
                    <a:pt x="76" y="85"/>
                  </a:lnTo>
                  <a:lnTo>
                    <a:pt x="76" y="83"/>
                  </a:lnTo>
                  <a:lnTo>
                    <a:pt x="76" y="81"/>
                  </a:lnTo>
                  <a:lnTo>
                    <a:pt x="76" y="81"/>
                  </a:lnTo>
                  <a:lnTo>
                    <a:pt x="76" y="81"/>
                  </a:lnTo>
                  <a:lnTo>
                    <a:pt x="76" y="79"/>
                  </a:lnTo>
                  <a:lnTo>
                    <a:pt x="78" y="79"/>
                  </a:lnTo>
                  <a:lnTo>
                    <a:pt x="80" y="79"/>
                  </a:lnTo>
                  <a:close/>
                  <a:moveTo>
                    <a:pt x="80" y="77"/>
                  </a:moveTo>
                  <a:lnTo>
                    <a:pt x="78" y="77"/>
                  </a:lnTo>
                  <a:lnTo>
                    <a:pt x="80" y="77"/>
                  </a:lnTo>
                  <a:close/>
                  <a:moveTo>
                    <a:pt x="82" y="67"/>
                  </a:moveTo>
                  <a:lnTo>
                    <a:pt x="82" y="69"/>
                  </a:lnTo>
                  <a:lnTo>
                    <a:pt x="82" y="71"/>
                  </a:lnTo>
                  <a:lnTo>
                    <a:pt x="82" y="73"/>
                  </a:lnTo>
                  <a:lnTo>
                    <a:pt x="80" y="73"/>
                  </a:lnTo>
                  <a:lnTo>
                    <a:pt x="80" y="71"/>
                  </a:lnTo>
                  <a:lnTo>
                    <a:pt x="80" y="73"/>
                  </a:lnTo>
                  <a:lnTo>
                    <a:pt x="80" y="75"/>
                  </a:lnTo>
                  <a:lnTo>
                    <a:pt x="78" y="75"/>
                  </a:lnTo>
                  <a:lnTo>
                    <a:pt x="80" y="75"/>
                  </a:lnTo>
                  <a:lnTo>
                    <a:pt x="78" y="75"/>
                  </a:lnTo>
                  <a:lnTo>
                    <a:pt x="80" y="75"/>
                  </a:lnTo>
                  <a:lnTo>
                    <a:pt x="80" y="73"/>
                  </a:lnTo>
                  <a:lnTo>
                    <a:pt x="78" y="73"/>
                  </a:lnTo>
                  <a:lnTo>
                    <a:pt x="78" y="71"/>
                  </a:lnTo>
                  <a:lnTo>
                    <a:pt x="78" y="69"/>
                  </a:lnTo>
                  <a:lnTo>
                    <a:pt x="80" y="69"/>
                  </a:lnTo>
                  <a:lnTo>
                    <a:pt x="80" y="67"/>
                  </a:lnTo>
                  <a:lnTo>
                    <a:pt x="82" y="67"/>
                  </a:lnTo>
                  <a:close/>
                  <a:moveTo>
                    <a:pt x="26" y="26"/>
                  </a:moveTo>
                  <a:lnTo>
                    <a:pt x="24" y="26"/>
                  </a:lnTo>
                  <a:lnTo>
                    <a:pt x="24" y="24"/>
                  </a:lnTo>
                  <a:lnTo>
                    <a:pt x="26" y="24"/>
                  </a:lnTo>
                  <a:lnTo>
                    <a:pt x="26" y="26"/>
                  </a:lnTo>
                  <a:close/>
                  <a:moveTo>
                    <a:pt x="26" y="20"/>
                  </a:moveTo>
                  <a:lnTo>
                    <a:pt x="26" y="18"/>
                  </a:lnTo>
                  <a:lnTo>
                    <a:pt x="26" y="20"/>
                  </a:lnTo>
                  <a:close/>
                  <a:moveTo>
                    <a:pt x="98" y="59"/>
                  </a:moveTo>
                  <a:lnTo>
                    <a:pt x="98" y="61"/>
                  </a:lnTo>
                  <a:lnTo>
                    <a:pt x="98" y="59"/>
                  </a:lnTo>
                  <a:lnTo>
                    <a:pt x="100" y="59"/>
                  </a:lnTo>
                  <a:lnTo>
                    <a:pt x="98" y="59"/>
                  </a:lnTo>
                  <a:close/>
                  <a:moveTo>
                    <a:pt x="96" y="57"/>
                  </a:moveTo>
                  <a:lnTo>
                    <a:pt x="96" y="59"/>
                  </a:lnTo>
                  <a:lnTo>
                    <a:pt x="96" y="57"/>
                  </a:lnTo>
                  <a:close/>
                  <a:moveTo>
                    <a:pt x="84" y="47"/>
                  </a:moveTo>
                  <a:lnTo>
                    <a:pt x="86" y="47"/>
                  </a:lnTo>
                  <a:lnTo>
                    <a:pt x="84" y="47"/>
                  </a:lnTo>
                  <a:close/>
                  <a:moveTo>
                    <a:pt x="86" y="47"/>
                  </a:moveTo>
                  <a:lnTo>
                    <a:pt x="86" y="49"/>
                  </a:lnTo>
                  <a:lnTo>
                    <a:pt x="86" y="51"/>
                  </a:lnTo>
                  <a:lnTo>
                    <a:pt x="84" y="51"/>
                  </a:lnTo>
                  <a:lnTo>
                    <a:pt x="84" y="49"/>
                  </a:lnTo>
                  <a:lnTo>
                    <a:pt x="84" y="47"/>
                  </a:lnTo>
                  <a:lnTo>
                    <a:pt x="86" y="47"/>
                  </a:lnTo>
                  <a:lnTo>
                    <a:pt x="84" y="47"/>
                  </a:lnTo>
                  <a:lnTo>
                    <a:pt x="84" y="49"/>
                  </a:lnTo>
                  <a:lnTo>
                    <a:pt x="86" y="49"/>
                  </a:lnTo>
                  <a:lnTo>
                    <a:pt x="84" y="49"/>
                  </a:lnTo>
                  <a:lnTo>
                    <a:pt x="84" y="51"/>
                  </a:lnTo>
                  <a:lnTo>
                    <a:pt x="84" y="49"/>
                  </a:lnTo>
                  <a:lnTo>
                    <a:pt x="86" y="49"/>
                  </a:lnTo>
                  <a:lnTo>
                    <a:pt x="86" y="47"/>
                  </a:lnTo>
                  <a:close/>
                  <a:moveTo>
                    <a:pt x="80" y="43"/>
                  </a:moveTo>
                  <a:lnTo>
                    <a:pt x="80" y="41"/>
                  </a:lnTo>
                  <a:lnTo>
                    <a:pt x="80" y="43"/>
                  </a:lnTo>
                  <a:close/>
                  <a:moveTo>
                    <a:pt x="100" y="49"/>
                  </a:moveTo>
                  <a:lnTo>
                    <a:pt x="98" y="49"/>
                  </a:lnTo>
                  <a:lnTo>
                    <a:pt x="100" y="49"/>
                  </a:lnTo>
                  <a:lnTo>
                    <a:pt x="98" y="49"/>
                  </a:lnTo>
                  <a:lnTo>
                    <a:pt x="100" y="49"/>
                  </a:lnTo>
                  <a:close/>
                  <a:moveTo>
                    <a:pt x="98" y="49"/>
                  </a:moveTo>
                  <a:lnTo>
                    <a:pt x="98" y="47"/>
                  </a:lnTo>
                  <a:lnTo>
                    <a:pt x="98" y="49"/>
                  </a:lnTo>
                  <a:close/>
                  <a:moveTo>
                    <a:pt x="98" y="47"/>
                  </a:moveTo>
                  <a:lnTo>
                    <a:pt x="100" y="47"/>
                  </a:lnTo>
                  <a:lnTo>
                    <a:pt x="98" y="47"/>
                  </a:lnTo>
                  <a:close/>
                  <a:moveTo>
                    <a:pt x="98" y="47"/>
                  </a:moveTo>
                  <a:lnTo>
                    <a:pt x="100" y="47"/>
                  </a:lnTo>
                  <a:lnTo>
                    <a:pt x="98" y="47"/>
                  </a:lnTo>
                  <a:close/>
                  <a:moveTo>
                    <a:pt x="100" y="47"/>
                  </a:moveTo>
                  <a:lnTo>
                    <a:pt x="98" y="47"/>
                  </a:lnTo>
                  <a:lnTo>
                    <a:pt x="100" y="47"/>
                  </a:lnTo>
                  <a:close/>
                  <a:moveTo>
                    <a:pt x="98" y="43"/>
                  </a:moveTo>
                  <a:lnTo>
                    <a:pt x="98" y="45"/>
                  </a:lnTo>
                  <a:lnTo>
                    <a:pt x="100" y="45"/>
                  </a:lnTo>
                  <a:lnTo>
                    <a:pt x="100" y="47"/>
                  </a:lnTo>
                  <a:lnTo>
                    <a:pt x="98" y="47"/>
                  </a:lnTo>
                  <a:lnTo>
                    <a:pt x="100" y="47"/>
                  </a:lnTo>
                  <a:lnTo>
                    <a:pt x="98" y="47"/>
                  </a:lnTo>
                  <a:lnTo>
                    <a:pt x="98" y="45"/>
                  </a:lnTo>
                  <a:lnTo>
                    <a:pt x="96" y="45"/>
                  </a:lnTo>
                  <a:lnTo>
                    <a:pt x="98" y="45"/>
                  </a:lnTo>
                  <a:lnTo>
                    <a:pt x="98" y="47"/>
                  </a:lnTo>
                  <a:lnTo>
                    <a:pt x="98" y="45"/>
                  </a:lnTo>
                  <a:lnTo>
                    <a:pt x="98" y="47"/>
                  </a:lnTo>
                  <a:lnTo>
                    <a:pt x="98" y="45"/>
                  </a:lnTo>
                  <a:lnTo>
                    <a:pt x="98" y="47"/>
                  </a:lnTo>
                  <a:lnTo>
                    <a:pt x="96" y="47"/>
                  </a:lnTo>
                  <a:lnTo>
                    <a:pt x="96" y="45"/>
                  </a:lnTo>
                  <a:lnTo>
                    <a:pt x="96" y="47"/>
                  </a:lnTo>
                  <a:lnTo>
                    <a:pt x="94" y="47"/>
                  </a:lnTo>
                  <a:lnTo>
                    <a:pt x="96" y="47"/>
                  </a:lnTo>
                  <a:lnTo>
                    <a:pt x="96" y="49"/>
                  </a:lnTo>
                  <a:lnTo>
                    <a:pt x="96" y="51"/>
                  </a:lnTo>
                  <a:lnTo>
                    <a:pt x="96" y="53"/>
                  </a:lnTo>
                  <a:lnTo>
                    <a:pt x="96" y="55"/>
                  </a:lnTo>
                  <a:lnTo>
                    <a:pt x="96" y="53"/>
                  </a:lnTo>
                  <a:lnTo>
                    <a:pt x="96" y="51"/>
                  </a:lnTo>
                  <a:lnTo>
                    <a:pt x="94" y="51"/>
                  </a:lnTo>
                  <a:lnTo>
                    <a:pt x="94" y="49"/>
                  </a:lnTo>
                  <a:lnTo>
                    <a:pt x="92" y="49"/>
                  </a:lnTo>
                  <a:lnTo>
                    <a:pt x="94" y="49"/>
                  </a:lnTo>
                  <a:lnTo>
                    <a:pt x="94" y="47"/>
                  </a:lnTo>
                  <a:lnTo>
                    <a:pt x="94" y="45"/>
                  </a:lnTo>
                  <a:lnTo>
                    <a:pt x="94" y="43"/>
                  </a:lnTo>
                  <a:lnTo>
                    <a:pt x="96" y="43"/>
                  </a:lnTo>
                  <a:lnTo>
                    <a:pt x="98" y="43"/>
                  </a:lnTo>
                  <a:close/>
                  <a:moveTo>
                    <a:pt x="102" y="43"/>
                  </a:moveTo>
                  <a:lnTo>
                    <a:pt x="100" y="41"/>
                  </a:lnTo>
                  <a:lnTo>
                    <a:pt x="102" y="41"/>
                  </a:lnTo>
                  <a:lnTo>
                    <a:pt x="102" y="43"/>
                  </a:lnTo>
                  <a:close/>
                  <a:moveTo>
                    <a:pt x="32" y="4"/>
                  </a:moveTo>
                  <a:lnTo>
                    <a:pt x="34" y="4"/>
                  </a:lnTo>
                  <a:lnTo>
                    <a:pt x="32" y="4"/>
                  </a:lnTo>
                  <a:close/>
                  <a:moveTo>
                    <a:pt x="100" y="38"/>
                  </a:moveTo>
                  <a:lnTo>
                    <a:pt x="100" y="36"/>
                  </a:lnTo>
                  <a:lnTo>
                    <a:pt x="100" y="38"/>
                  </a:lnTo>
                  <a:close/>
                  <a:moveTo>
                    <a:pt x="100" y="38"/>
                  </a:moveTo>
                  <a:lnTo>
                    <a:pt x="100" y="36"/>
                  </a:lnTo>
                  <a:lnTo>
                    <a:pt x="100" y="38"/>
                  </a:lnTo>
                  <a:close/>
                  <a:moveTo>
                    <a:pt x="100" y="38"/>
                  </a:moveTo>
                  <a:lnTo>
                    <a:pt x="100" y="36"/>
                  </a:lnTo>
                  <a:lnTo>
                    <a:pt x="100" y="38"/>
                  </a:lnTo>
                  <a:close/>
                  <a:moveTo>
                    <a:pt x="36" y="4"/>
                  </a:moveTo>
                  <a:lnTo>
                    <a:pt x="36" y="2"/>
                  </a:lnTo>
                  <a:lnTo>
                    <a:pt x="36" y="4"/>
                  </a:lnTo>
                  <a:close/>
                  <a:moveTo>
                    <a:pt x="96" y="32"/>
                  </a:moveTo>
                  <a:lnTo>
                    <a:pt x="96" y="34"/>
                  </a:lnTo>
                  <a:lnTo>
                    <a:pt x="98" y="34"/>
                  </a:lnTo>
                  <a:lnTo>
                    <a:pt x="96" y="34"/>
                  </a:lnTo>
                  <a:lnTo>
                    <a:pt x="98" y="34"/>
                  </a:lnTo>
                  <a:lnTo>
                    <a:pt x="96" y="34"/>
                  </a:lnTo>
                  <a:lnTo>
                    <a:pt x="96" y="36"/>
                  </a:lnTo>
                  <a:lnTo>
                    <a:pt x="96" y="38"/>
                  </a:lnTo>
                  <a:lnTo>
                    <a:pt x="98" y="38"/>
                  </a:lnTo>
                  <a:lnTo>
                    <a:pt x="98" y="41"/>
                  </a:lnTo>
                  <a:lnTo>
                    <a:pt x="96" y="41"/>
                  </a:lnTo>
                  <a:lnTo>
                    <a:pt x="94" y="41"/>
                  </a:lnTo>
                  <a:lnTo>
                    <a:pt x="96" y="41"/>
                  </a:lnTo>
                  <a:lnTo>
                    <a:pt x="94" y="41"/>
                  </a:lnTo>
                  <a:lnTo>
                    <a:pt x="94" y="38"/>
                  </a:lnTo>
                  <a:lnTo>
                    <a:pt x="94" y="41"/>
                  </a:lnTo>
                  <a:lnTo>
                    <a:pt x="92" y="41"/>
                  </a:lnTo>
                  <a:lnTo>
                    <a:pt x="92" y="38"/>
                  </a:lnTo>
                  <a:lnTo>
                    <a:pt x="92" y="41"/>
                  </a:lnTo>
                  <a:lnTo>
                    <a:pt x="90" y="41"/>
                  </a:lnTo>
                  <a:lnTo>
                    <a:pt x="88" y="41"/>
                  </a:lnTo>
                  <a:lnTo>
                    <a:pt x="90" y="41"/>
                  </a:lnTo>
                  <a:lnTo>
                    <a:pt x="90" y="43"/>
                  </a:lnTo>
                  <a:lnTo>
                    <a:pt x="92" y="43"/>
                  </a:lnTo>
                  <a:lnTo>
                    <a:pt x="90" y="43"/>
                  </a:lnTo>
                  <a:lnTo>
                    <a:pt x="92" y="43"/>
                  </a:lnTo>
                  <a:lnTo>
                    <a:pt x="92" y="45"/>
                  </a:lnTo>
                  <a:lnTo>
                    <a:pt x="92" y="47"/>
                  </a:lnTo>
                  <a:lnTo>
                    <a:pt x="92" y="49"/>
                  </a:lnTo>
                  <a:lnTo>
                    <a:pt x="90" y="49"/>
                  </a:lnTo>
                  <a:lnTo>
                    <a:pt x="90" y="51"/>
                  </a:lnTo>
                  <a:lnTo>
                    <a:pt x="90" y="53"/>
                  </a:lnTo>
                  <a:lnTo>
                    <a:pt x="92" y="53"/>
                  </a:lnTo>
                  <a:lnTo>
                    <a:pt x="92" y="51"/>
                  </a:lnTo>
                  <a:lnTo>
                    <a:pt x="92" y="53"/>
                  </a:lnTo>
                  <a:lnTo>
                    <a:pt x="94" y="53"/>
                  </a:lnTo>
                  <a:lnTo>
                    <a:pt x="94" y="55"/>
                  </a:lnTo>
                  <a:lnTo>
                    <a:pt x="94" y="57"/>
                  </a:lnTo>
                  <a:lnTo>
                    <a:pt x="94" y="59"/>
                  </a:lnTo>
                  <a:lnTo>
                    <a:pt x="94" y="61"/>
                  </a:lnTo>
                  <a:lnTo>
                    <a:pt x="92" y="61"/>
                  </a:lnTo>
                  <a:lnTo>
                    <a:pt x="90" y="61"/>
                  </a:lnTo>
                  <a:lnTo>
                    <a:pt x="90" y="59"/>
                  </a:lnTo>
                  <a:lnTo>
                    <a:pt x="90" y="57"/>
                  </a:lnTo>
                  <a:lnTo>
                    <a:pt x="90" y="55"/>
                  </a:lnTo>
                  <a:lnTo>
                    <a:pt x="88" y="55"/>
                  </a:lnTo>
                  <a:lnTo>
                    <a:pt x="88" y="53"/>
                  </a:lnTo>
                  <a:lnTo>
                    <a:pt x="88" y="51"/>
                  </a:lnTo>
                  <a:lnTo>
                    <a:pt x="88" y="49"/>
                  </a:lnTo>
                  <a:lnTo>
                    <a:pt x="90" y="49"/>
                  </a:lnTo>
                  <a:lnTo>
                    <a:pt x="90" y="47"/>
                  </a:lnTo>
                  <a:lnTo>
                    <a:pt x="90" y="45"/>
                  </a:lnTo>
                  <a:lnTo>
                    <a:pt x="88" y="45"/>
                  </a:lnTo>
                  <a:lnTo>
                    <a:pt x="88" y="43"/>
                  </a:lnTo>
                  <a:lnTo>
                    <a:pt x="88" y="41"/>
                  </a:lnTo>
                  <a:lnTo>
                    <a:pt x="88" y="38"/>
                  </a:lnTo>
                  <a:lnTo>
                    <a:pt x="90" y="38"/>
                  </a:lnTo>
                  <a:lnTo>
                    <a:pt x="90" y="36"/>
                  </a:lnTo>
                  <a:lnTo>
                    <a:pt x="92" y="36"/>
                  </a:lnTo>
                  <a:lnTo>
                    <a:pt x="92" y="34"/>
                  </a:lnTo>
                  <a:lnTo>
                    <a:pt x="94" y="34"/>
                  </a:lnTo>
                  <a:lnTo>
                    <a:pt x="94" y="32"/>
                  </a:lnTo>
                  <a:lnTo>
                    <a:pt x="96" y="32"/>
                  </a:lnTo>
                  <a:close/>
                  <a:moveTo>
                    <a:pt x="90" y="32"/>
                  </a:moveTo>
                  <a:lnTo>
                    <a:pt x="90" y="30"/>
                  </a:lnTo>
                  <a:lnTo>
                    <a:pt x="90" y="32"/>
                  </a:lnTo>
                  <a:close/>
                  <a:moveTo>
                    <a:pt x="92" y="32"/>
                  </a:moveTo>
                  <a:lnTo>
                    <a:pt x="92" y="30"/>
                  </a:lnTo>
                  <a:lnTo>
                    <a:pt x="92" y="32"/>
                  </a:lnTo>
                  <a:close/>
                  <a:moveTo>
                    <a:pt x="88" y="30"/>
                  </a:moveTo>
                  <a:lnTo>
                    <a:pt x="88" y="28"/>
                  </a:lnTo>
                  <a:lnTo>
                    <a:pt x="88" y="30"/>
                  </a:lnTo>
                  <a:close/>
                  <a:moveTo>
                    <a:pt x="88" y="30"/>
                  </a:moveTo>
                  <a:lnTo>
                    <a:pt x="88" y="28"/>
                  </a:lnTo>
                  <a:lnTo>
                    <a:pt x="88" y="30"/>
                  </a:lnTo>
                  <a:close/>
                  <a:moveTo>
                    <a:pt x="90" y="28"/>
                  </a:moveTo>
                  <a:lnTo>
                    <a:pt x="92" y="28"/>
                  </a:lnTo>
                  <a:lnTo>
                    <a:pt x="90" y="28"/>
                  </a:lnTo>
                  <a:close/>
                  <a:moveTo>
                    <a:pt x="96" y="30"/>
                  </a:moveTo>
                  <a:lnTo>
                    <a:pt x="96" y="32"/>
                  </a:lnTo>
                  <a:lnTo>
                    <a:pt x="94" y="32"/>
                  </a:lnTo>
                  <a:lnTo>
                    <a:pt x="94" y="30"/>
                  </a:lnTo>
                  <a:lnTo>
                    <a:pt x="96" y="30"/>
                  </a:lnTo>
                  <a:close/>
                  <a:moveTo>
                    <a:pt x="86" y="26"/>
                  </a:moveTo>
                  <a:lnTo>
                    <a:pt x="88" y="26"/>
                  </a:lnTo>
                  <a:lnTo>
                    <a:pt x="86" y="26"/>
                  </a:lnTo>
                  <a:close/>
                  <a:moveTo>
                    <a:pt x="92" y="28"/>
                  </a:moveTo>
                  <a:lnTo>
                    <a:pt x="92" y="26"/>
                  </a:lnTo>
                  <a:lnTo>
                    <a:pt x="92" y="28"/>
                  </a:lnTo>
                  <a:close/>
                  <a:moveTo>
                    <a:pt x="94" y="26"/>
                  </a:moveTo>
                  <a:lnTo>
                    <a:pt x="94" y="28"/>
                  </a:lnTo>
                  <a:lnTo>
                    <a:pt x="92" y="28"/>
                  </a:lnTo>
                  <a:lnTo>
                    <a:pt x="92" y="26"/>
                  </a:lnTo>
                  <a:lnTo>
                    <a:pt x="94" y="26"/>
                  </a:lnTo>
                  <a:close/>
                  <a:moveTo>
                    <a:pt x="102" y="32"/>
                  </a:moveTo>
                  <a:lnTo>
                    <a:pt x="102" y="30"/>
                  </a:lnTo>
                  <a:lnTo>
                    <a:pt x="102" y="32"/>
                  </a:lnTo>
                  <a:close/>
                  <a:moveTo>
                    <a:pt x="90" y="24"/>
                  </a:moveTo>
                  <a:lnTo>
                    <a:pt x="90" y="22"/>
                  </a:lnTo>
                  <a:lnTo>
                    <a:pt x="90" y="24"/>
                  </a:lnTo>
                  <a:close/>
                  <a:moveTo>
                    <a:pt x="106" y="30"/>
                  </a:moveTo>
                  <a:lnTo>
                    <a:pt x="104" y="30"/>
                  </a:lnTo>
                  <a:lnTo>
                    <a:pt x="106" y="30"/>
                  </a:lnTo>
                  <a:close/>
                  <a:moveTo>
                    <a:pt x="92" y="24"/>
                  </a:moveTo>
                  <a:lnTo>
                    <a:pt x="92" y="26"/>
                  </a:lnTo>
                  <a:lnTo>
                    <a:pt x="90" y="26"/>
                  </a:lnTo>
                  <a:lnTo>
                    <a:pt x="90" y="28"/>
                  </a:lnTo>
                  <a:lnTo>
                    <a:pt x="92" y="28"/>
                  </a:lnTo>
                  <a:lnTo>
                    <a:pt x="90" y="28"/>
                  </a:lnTo>
                  <a:lnTo>
                    <a:pt x="90" y="30"/>
                  </a:lnTo>
                  <a:lnTo>
                    <a:pt x="92" y="30"/>
                  </a:lnTo>
                  <a:lnTo>
                    <a:pt x="92" y="28"/>
                  </a:lnTo>
                  <a:lnTo>
                    <a:pt x="92" y="30"/>
                  </a:lnTo>
                  <a:lnTo>
                    <a:pt x="92" y="28"/>
                  </a:lnTo>
                  <a:lnTo>
                    <a:pt x="92" y="30"/>
                  </a:lnTo>
                  <a:lnTo>
                    <a:pt x="90" y="30"/>
                  </a:lnTo>
                  <a:lnTo>
                    <a:pt x="92" y="30"/>
                  </a:lnTo>
                  <a:lnTo>
                    <a:pt x="92" y="32"/>
                  </a:lnTo>
                  <a:lnTo>
                    <a:pt x="90" y="32"/>
                  </a:lnTo>
                  <a:lnTo>
                    <a:pt x="90" y="30"/>
                  </a:lnTo>
                  <a:lnTo>
                    <a:pt x="88" y="30"/>
                  </a:lnTo>
                  <a:lnTo>
                    <a:pt x="90" y="30"/>
                  </a:lnTo>
                  <a:lnTo>
                    <a:pt x="90" y="28"/>
                  </a:lnTo>
                  <a:lnTo>
                    <a:pt x="88" y="28"/>
                  </a:lnTo>
                  <a:lnTo>
                    <a:pt x="88" y="26"/>
                  </a:lnTo>
                  <a:lnTo>
                    <a:pt x="90" y="26"/>
                  </a:lnTo>
                  <a:lnTo>
                    <a:pt x="90" y="24"/>
                  </a:lnTo>
                  <a:lnTo>
                    <a:pt x="90" y="26"/>
                  </a:lnTo>
                  <a:lnTo>
                    <a:pt x="88" y="26"/>
                  </a:lnTo>
                  <a:lnTo>
                    <a:pt x="90" y="26"/>
                  </a:lnTo>
                  <a:lnTo>
                    <a:pt x="90" y="24"/>
                  </a:lnTo>
                  <a:lnTo>
                    <a:pt x="90" y="26"/>
                  </a:lnTo>
                  <a:lnTo>
                    <a:pt x="90" y="24"/>
                  </a:lnTo>
                  <a:lnTo>
                    <a:pt x="92" y="24"/>
                  </a:lnTo>
                  <a:close/>
                  <a:moveTo>
                    <a:pt x="94" y="24"/>
                  </a:moveTo>
                  <a:lnTo>
                    <a:pt x="96" y="24"/>
                  </a:lnTo>
                  <a:lnTo>
                    <a:pt x="96" y="26"/>
                  </a:lnTo>
                  <a:lnTo>
                    <a:pt x="94" y="26"/>
                  </a:lnTo>
                  <a:lnTo>
                    <a:pt x="94" y="24"/>
                  </a:lnTo>
                  <a:close/>
                  <a:moveTo>
                    <a:pt x="102" y="30"/>
                  </a:moveTo>
                  <a:lnTo>
                    <a:pt x="100" y="30"/>
                  </a:lnTo>
                  <a:lnTo>
                    <a:pt x="102" y="30"/>
                  </a:lnTo>
                  <a:lnTo>
                    <a:pt x="100" y="30"/>
                  </a:lnTo>
                  <a:lnTo>
                    <a:pt x="98" y="30"/>
                  </a:lnTo>
                  <a:lnTo>
                    <a:pt x="98" y="28"/>
                  </a:lnTo>
                  <a:lnTo>
                    <a:pt x="100" y="28"/>
                  </a:lnTo>
                  <a:lnTo>
                    <a:pt x="100" y="26"/>
                  </a:lnTo>
                  <a:lnTo>
                    <a:pt x="100" y="28"/>
                  </a:lnTo>
                  <a:lnTo>
                    <a:pt x="100" y="30"/>
                  </a:lnTo>
                  <a:lnTo>
                    <a:pt x="102" y="30"/>
                  </a:lnTo>
                  <a:close/>
                  <a:moveTo>
                    <a:pt x="90" y="20"/>
                  </a:moveTo>
                  <a:lnTo>
                    <a:pt x="90" y="22"/>
                  </a:lnTo>
                  <a:lnTo>
                    <a:pt x="92" y="22"/>
                  </a:lnTo>
                  <a:lnTo>
                    <a:pt x="90" y="22"/>
                  </a:lnTo>
                  <a:lnTo>
                    <a:pt x="90" y="24"/>
                  </a:lnTo>
                  <a:lnTo>
                    <a:pt x="90" y="22"/>
                  </a:lnTo>
                  <a:lnTo>
                    <a:pt x="88" y="22"/>
                  </a:lnTo>
                  <a:lnTo>
                    <a:pt x="90" y="22"/>
                  </a:lnTo>
                  <a:lnTo>
                    <a:pt x="88" y="22"/>
                  </a:lnTo>
                  <a:lnTo>
                    <a:pt x="90" y="22"/>
                  </a:lnTo>
                  <a:lnTo>
                    <a:pt x="88" y="22"/>
                  </a:lnTo>
                  <a:lnTo>
                    <a:pt x="90" y="22"/>
                  </a:lnTo>
                  <a:lnTo>
                    <a:pt x="88" y="22"/>
                  </a:lnTo>
                  <a:lnTo>
                    <a:pt x="90" y="22"/>
                  </a:lnTo>
                  <a:lnTo>
                    <a:pt x="88" y="22"/>
                  </a:lnTo>
                  <a:lnTo>
                    <a:pt x="90" y="22"/>
                  </a:lnTo>
                  <a:lnTo>
                    <a:pt x="88" y="22"/>
                  </a:lnTo>
                  <a:lnTo>
                    <a:pt x="88" y="20"/>
                  </a:lnTo>
                  <a:lnTo>
                    <a:pt x="90" y="20"/>
                  </a:lnTo>
                  <a:close/>
                  <a:moveTo>
                    <a:pt x="94" y="24"/>
                  </a:moveTo>
                  <a:lnTo>
                    <a:pt x="94" y="22"/>
                  </a:lnTo>
                  <a:lnTo>
                    <a:pt x="96" y="22"/>
                  </a:lnTo>
                  <a:lnTo>
                    <a:pt x="96" y="24"/>
                  </a:lnTo>
                  <a:lnTo>
                    <a:pt x="94" y="24"/>
                  </a:lnTo>
                  <a:close/>
                  <a:moveTo>
                    <a:pt x="90" y="20"/>
                  </a:moveTo>
                  <a:lnTo>
                    <a:pt x="88" y="20"/>
                  </a:lnTo>
                  <a:lnTo>
                    <a:pt x="90" y="20"/>
                  </a:lnTo>
                  <a:lnTo>
                    <a:pt x="88" y="20"/>
                  </a:lnTo>
                  <a:lnTo>
                    <a:pt x="90" y="20"/>
                  </a:lnTo>
                  <a:close/>
                  <a:moveTo>
                    <a:pt x="88" y="20"/>
                  </a:moveTo>
                  <a:lnTo>
                    <a:pt x="90" y="20"/>
                  </a:lnTo>
                  <a:lnTo>
                    <a:pt x="88" y="20"/>
                  </a:lnTo>
                  <a:close/>
                  <a:moveTo>
                    <a:pt x="98" y="26"/>
                  </a:moveTo>
                  <a:lnTo>
                    <a:pt x="98" y="28"/>
                  </a:lnTo>
                  <a:lnTo>
                    <a:pt x="96" y="28"/>
                  </a:lnTo>
                  <a:lnTo>
                    <a:pt x="96" y="26"/>
                  </a:lnTo>
                  <a:lnTo>
                    <a:pt x="98" y="26"/>
                  </a:lnTo>
                  <a:lnTo>
                    <a:pt x="96" y="26"/>
                  </a:lnTo>
                  <a:lnTo>
                    <a:pt x="96" y="24"/>
                  </a:lnTo>
                  <a:lnTo>
                    <a:pt x="98" y="24"/>
                  </a:lnTo>
                  <a:lnTo>
                    <a:pt x="98" y="26"/>
                  </a:lnTo>
                  <a:close/>
                  <a:moveTo>
                    <a:pt x="84" y="16"/>
                  </a:moveTo>
                  <a:lnTo>
                    <a:pt x="84" y="18"/>
                  </a:lnTo>
                  <a:lnTo>
                    <a:pt x="84" y="16"/>
                  </a:lnTo>
                  <a:lnTo>
                    <a:pt x="84" y="18"/>
                  </a:lnTo>
                  <a:lnTo>
                    <a:pt x="84" y="16"/>
                  </a:lnTo>
                  <a:lnTo>
                    <a:pt x="84" y="18"/>
                  </a:lnTo>
                  <a:lnTo>
                    <a:pt x="82" y="18"/>
                  </a:lnTo>
                  <a:lnTo>
                    <a:pt x="82" y="16"/>
                  </a:lnTo>
                  <a:lnTo>
                    <a:pt x="84" y="16"/>
                  </a:lnTo>
                  <a:close/>
                  <a:moveTo>
                    <a:pt x="86" y="16"/>
                  </a:moveTo>
                  <a:lnTo>
                    <a:pt x="86" y="18"/>
                  </a:lnTo>
                  <a:lnTo>
                    <a:pt x="86" y="16"/>
                  </a:lnTo>
                  <a:lnTo>
                    <a:pt x="86" y="18"/>
                  </a:lnTo>
                  <a:lnTo>
                    <a:pt x="86" y="20"/>
                  </a:lnTo>
                  <a:lnTo>
                    <a:pt x="88" y="20"/>
                  </a:lnTo>
                  <a:lnTo>
                    <a:pt x="88" y="22"/>
                  </a:lnTo>
                  <a:lnTo>
                    <a:pt x="88" y="24"/>
                  </a:lnTo>
                  <a:lnTo>
                    <a:pt x="86" y="24"/>
                  </a:lnTo>
                  <a:lnTo>
                    <a:pt x="88" y="24"/>
                  </a:lnTo>
                  <a:lnTo>
                    <a:pt x="86" y="24"/>
                  </a:lnTo>
                  <a:lnTo>
                    <a:pt x="86" y="26"/>
                  </a:lnTo>
                  <a:lnTo>
                    <a:pt x="88" y="26"/>
                  </a:lnTo>
                  <a:lnTo>
                    <a:pt x="88" y="28"/>
                  </a:lnTo>
                  <a:lnTo>
                    <a:pt x="86" y="28"/>
                  </a:lnTo>
                  <a:lnTo>
                    <a:pt x="86" y="26"/>
                  </a:lnTo>
                  <a:lnTo>
                    <a:pt x="84" y="26"/>
                  </a:lnTo>
                  <a:lnTo>
                    <a:pt x="86" y="26"/>
                  </a:lnTo>
                  <a:lnTo>
                    <a:pt x="84" y="26"/>
                  </a:lnTo>
                  <a:lnTo>
                    <a:pt x="84" y="24"/>
                  </a:lnTo>
                  <a:lnTo>
                    <a:pt x="84" y="22"/>
                  </a:lnTo>
                  <a:lnTo>
                    <a:pt x="82" y="22"/>
                  </a:lnTo>
                  <a:lnTo>
                    <a:pt x="82" y="20"/>
                  </a:lnTo>
                  <a:lnTo>
                    <a:pt x="84" y="20"/>
                  </a:lnTo>
                  <a:lnTo>
                    <a:pt x="82" y="20"/>
                  </a:lnTo>
                  <a:lnTo>
                    <a:pt x="82" y="18"/>
                  </a:lnTo>
                  <a:lnTo>
                    <a:pt x="84" y="18"/>
                  </a:lnTo>
                  <a:lnTo>
                    <a:pt x="86" y="18"/>
                  </a:lnTo>
                  <a:lnTo>
                    <a:pt x="84" y="18"/>
                  </a:lnTo>
                  <a:lnTo>
                    <a:pt x="84" y="16"/>
                  </a:lnTo>
                  <a:lnTo>
                    <a:pt x="84" y="18"/>
                  </a:lnTo>
                  <a:lnTo>
                    <a:pt x="84" y="16"/>
                  </a:lnTo>
                  <a:lnTo>
                    <a:pt x="86" y="16"/>
                  </a:lnTo>
                  <a:close/>
                  <a:moveTo>
                    <a:pt x="100" y="24"/>
                  </a:moveTo>
                  <a:lnTo>
                    <a:pt x="100" y="26"/>
                  </a:lnTo>
                  <a:lnTo>
                    <a:pt x="100" y="24"/>
                  </a:lnTo>
                  <a:close/>
                  <a:moveTo>
                    <a:pt x="86" y="16"/>
                  </a:moveTo>
                  <a:lnTo>
                    <a:pt x="86" y="14"/>
                  </a:lnTo>
                  <a:lnTo>
                    <a:pt x="86" y="16"/>
                  </a:lnTo>
                  <a:close/>
                  <a:moveTo>
                    <a:pt x="86" y="14"/>
                  </a:moveTo>
                  <a:lnTo>
                    <a:pt x="86" y="12"/>
                  </a:lnTo>
                  <a:lnTo>
                    <a:pt x="86" y="14"/>
                  </a:lnTo>
                  <a:close/>
                  <a:moveTo>
                    <a:pt x="86" y="12"/>
                  </a:moveTo>
                  <a:lnTo>
                    <a:pt x="84" y="12"/>
                  </a:lnTo>
                  <a:lnTo>
                    <a:pt x="86" y="12"/>
                  </a:lnTo>
                  <a:lnTo>
                    <a:pt x="86" y="14"/>
                  </a:lnTo>
                  <a:lnTo>
                    <a:pt x="84" y="14"/>
                  </a:lnTo>
                  <a:lnTo>
                    <a:pt x="86" y="14"/>
                  </a:lnTo>
                  <a:lnTo>
                    <a:pt x="84" y="14"/>
                  </a:lnTo>
                  <a:lnTo>
                    <a:pt x="84" y="12"/>
                  </a:lnTo>
                  <a:lnTo>
                    <a:pt x="86" y="12"/>
                  </a:lnTo>
                  <a:close/>
                  <a:moveTo>
                    <a:pt x="98" y="20"/>
                  </a:moveTo>
                  <a:lnTo>
                    <a:pt x="98" y="18"/>
                  </a:lnTo>
                  <a:lnTo>
                    <a:pt x="98" y="20"/>
                  </a:lnTo>
                  <a:close/>
                  <a:moveTo>
                    <a:pt x="100" y="20"/>
                  </a:moveTo>
                  <a:lnTo>
                    <a:pt x="98" y="20"/>
                  </a:lnTo>
                  <a:lnTo>
                    <a:pt x="100" y="20"/>
                  </a:lnTo>
                  <a:lnTo>
                    <a:pt x="100" y="18"/>
                  </a:lnTo>
                  <a:lnTo>
                    <a:pt x="100" y="20"/>
                  </a:lnTo>
                  <a:close/>
                  <a:moveTo>
                    <a:pt x="96" y="16"/>
                  </a:moveTo>
                  <a:lnTo>
                    <a:pt x="96" y="18"/>
                  </a:lnTo>
                  <a:lnTo>
                    <a:pt x="98" y="18"/>
                  </a:lnTo>
                  <a:lnTo>
                    <a:pt x="98" y="20"/>
                  </a:lnTo>
                  <a:lnTo>
                    <a:pt x="98" y="22"/>
                  </a:lnTo>
                  <a:lnTo>
                    <a:pt x="96" y="22"/>
                  </a:lnTo>
                  <a:lnTo>
                    <a:pt x="96" y="24"/>
                  </a:lnTo>
                  <a:lnTo>
                    <a:pt x="96" y="22"/>
                  </a:lnTo>
                  <a:lnTo>
                    <a:pt x="94" y="22"/>
                  </a:lnTo>
                  <a:lnTo>
                    <a:pt x="96" y="22"/>
                  </a:lnTo>
                  <a:lnTo>
                    <a:pt x="94" y="22"/>
                  </a:lnTo>
                  <a:lnTo>
                    <a:pt x="94" y="20"/>
                  </a:lnTo>
                  <a:lnTo>
                    <a:pt x="94" y="18"/>
                  </a:lnTo>
                  <a:lnTo>
                    <a:pt x="96" y="18"/>
                  </a:lnTo>
                  <a:lnTo>
                    <a:pt x="94" y="18"/>
                  </a:lnTo>
                  <a:lnTo>
                    <a:pt x="94" y="20"/>
                  </a:lnTo>
                  <a:lnTo>
                    <a:pt x="94" y="22"/>
                  </a:lnTo>
                  <a:lnTo>
                    <a:pt x="92" y="22"/>
                  </a:lnTo>
                  <a:lnTo>
                    <a:pt x="92" y="20"/>
                  </a:lnTo>
                  <a:lnTo>
                    <a:pt x="90" y="20"/>
                  </a:lnTo>
                  <a:lnTo>
                    <a:pt x="92" y="20"/>
                  </a:lnTo>
                  <a:lnTo>
                    <a:pt x="90" y="20"/>
                  </a:lnTo>
                  <a:lnTo>
                    <a:pt x="90" y="18"/>
                  </a:lnTo>
                  <a:lnTo>
                    <a:pt x="90" y="20"/>
                  </a:lnTo>
                  <a:lnTo>
                    <a:pt x="90" y="18"/>
                  </a:lnTo>
                  <a:lnTo>
                    <a:pt x="90" y="20"/>
                  </a:lnTo>
                  <a:lnTo>
                    <a:pt x="88" y="20"/>
                  </a:lnTo>
                  <a:lnTo>
                    <a:pt x="88" y="18"/>
                  </a:lnTo>
                  <a:lnTo>
                    <a:pt x="90" y="18"/>
                  </a:lnTo>
                  <a:lnTo>
                    <a:pt x="92" y="18"/>
                  </a:lnTo>
                  <a:lnTo>
                    <a:pt x="92" y="16"/>
                  </a:lnTo>
                  <a:lnTo>
                    <a:pt x="94" y="16"/>
                  </a:lnTo>
                  <a:lnTo>
                    <a:pt x="96" y="16"/>
                  </a:lnTo>
                  <a:close/>
                  <a:moveTo>
                    <a:pt x="104" y="20"/>
                  </a:moveTo>
                  <a:lnTo>
                    <a:pt x="104" y="22"/>
                  </a:lnTo>
                  <a:lnTo>
                    <a:pt x="102" y="22"/>
                  </a:lnTo>
                  <a:lnTo>
                    <a:pt x="102" y="20"/>
                  </a:lnTo>
                  <a:lnTo>
                    <a:pt x="104" y="20"/>
                  </a:lnTo>
                  <a:lnTo>
                    <a:pt x="104" y="22"/>
                  </a:lnTo>
                  <a:lnTo>
                    <a:pt x="104" y="20"/>
                  </a:lnTo>
                  <a:close/>
                  <a:moveTo>
                    <a:pt x="92" y="14"/>
                  </a:moveTo>
                  <a:lnTo>
                    <a:pt x="92" y="16"/>
                  </a:lnTo>
                  <a:lnTo>
                    <a:pt x="92" y="14"/>
                  </a:lnTo>
                  <a:lnTo>
                    <a:pt x="92" y="16"/>
                  </a:lnTo>
                  <a:lnTo>
                    <a:pt x="90" y="16"/>
                  </a:lnTo>
                  <a:lnTo>
                    <a:pt x="90" y="14"/>
                  </a:lnTo>
                  <a:lnTo>
                    <a:pt x="92" y="14"/>
                  </a:lnTo>
                  <a:close/>
                  <a:moveTo>
                    <a:pt x="102" y="18"/>
                  </a:moveTo>
                  <a:lnTo>
                    <a:pt x="102" y="20"/>
                  </a:lnTo>
                  <a:lnTo>
                    <a:pt x="102" y="22"/>
                  </a:lnTo>
                  <a:lnTo>
                    <a:pt x="102" y="24"/>
                  </a:lnTo>
                  <a:lnTo>
                    <a:pt x="102" y="22"/>
                  </a:lnTo>
                  <a:lnTo>
                    <a:pt x="102" y="20"/>
                  </a:lnTo>
                  <a:lnTo>
                    <a:pt x="100" y="20"/>
                  </a:lnTo>
                  <a:lnTo>
                    <a:pt x="100" y="18"/>
                  </a:lnTo>
                  <a:lnTo>
                    <a:pt x="102" y="18"/>
                  </a:lnTo>
                  <a:close/>
                  <a:moveTo>
                    <a:pt x="98" y="14"/>
                  </a:moveTo>
                  <a:lnTo>
                    <a:pt x="96" y="14"/>
                  </a:lnTo>
                  <a:lnTo>
                    <a:pt x="98" y="14"/>
                  </a:lnTo>
                  <a:close/>
                  <a:moveTo>
                    <a:pt x="94" y="12"/>
                  </a:moveTo>
                  <a:lnTo>
                    <a:pt x="96" y="12"/>
                  </a:lnTo>
                  <a:lnTo>
                    <a:pt x="94" y="12"/>
                  </a:lnTo>
                  <a:close/>
                  <a:moveTo>
                    <a:pt x="98" y="0"/>
                  </a:moveTo>
                  <a:lnTo>
                    <a:pt x="98" y="2"/>
                  </a:lnTo>
                  <a:lnTo>
                    <a:pt x="96" y="2"/>
                  </a:lnTo>
                  <a:lnTo>
                    <a:pt x="96" y="0"/>
                  </a:lnTo>
                  <a:lnTo>
                    <a:pt x="98" y="0"/>
                  </a:lnTo>
                  <a:close/>
                  <a:moveTo>
                    <a:pt x="124" y="14"/>
                  </a:moveTo>
                  <a:lnTo>
                    <a:pt x="124" y="16"/>
                  </a:lnTo>
                  <a:lnTo>
                    <a:pt x="126" y="16"/>
                  </a:lnTo>
                  <a:lnTo>
                    <a:pt x="128" y="18"/>
                  </a:lnTo>
                  <a:lnTo>
                    <a:pt x="130" y="18"/>
                  </a:lnTo>
                  <a:lnTo>
                    <a:pt x="132" y="20"/>
                  </a:lnTo>
                  <a:lnTo>
                    <a:pt x="134" y="20"/>
                  </a:lnTo>
                  <a:lnTo>
                    <a:pt x="134" y="22"/>
                  </a:lnTo>
                  <a:lnTo>
                    <a:pt x="136" y="22"/>
                  </a:lnTo>
                  <a:lnTo>
                    <a:pt x="138" y="22"/>
                  </a:lnTo>
                  <a:lnTo>
                    <a:pt x="140" y="24"/>
                  </a:lnTo>
                  <a:lnTo>
                    <a:pt x="142" y="24"/>
                  </a:lnTo>
                  <a:lnTo>
                    <a:pt x="144" y="26"/>
                  </a:lnTo>
                  <a:lnTo>
                    <a:pt x="146" y="26"/>
                  </a:lnTo>
                  <a:lnTo>
                    <a:pt x="146" y="28"/>
                  </a:lnTo>
                  <a:lnTo>
                    <a:pt x="148" y="28"/>
                  </a:lnTo>
                  <a:lnTo>
                    <a:pt x="150" y="28"/>
                  </a:lnTo>
                  <a:lnTo>
                    <a:pt x="150" y="30"/>
                  </a:lnTo>
                  <a:lnTo>
                    <a:pt x="152" y="30"/>
                  </a:lnTo>
                  <a:lnTo>
                    <a:pt x="154" y="30"/>
                  </a:lnTo>
                  <a:lnTo>
                    <a:pt x="156" y="32"/>
                  </a:lnTo>
                  <a:lnTo>
                    <a:pt x="158" y="32"/>
                  </a:lnTo>
                  <a:lnTo>
                    <a:pt x="160" y="32"/>
                  </a:lnTo>
                  <a:lnTo>
                    <a:pt x="164" y="34"/>
                  </a:lnTo>
                  <a:lnTo>
                    <a:pt x="166" y="34"/>
                  </a:lnTo>
                  <a:lnTo>
                    <a:pt x="168" y="36"/>
                  </a:lnTo>
                  <a:lnTo>
                    <a:pt x="170" y="36"/>
                  </a:lnTo>
                  <a:lnTo>
                    <a:pt x="172" y="36"/>
                  </a:lnTo>
                  <a:lnTo>
                    <a:pt x="172" y="38"/>
                  </a:lnTo>
                  <a:lnTo>
                    <a:pt x="174" y="41"/>
                  </a:lnTo>
                  <a:lnTo>
                    <a:pt x="176" y="41"/>
                  </a:lnTo>
                  <a:lnTo>
                    <a:pt x="178" y="41"/>
                  </a:lnTo>
                  <a:lnTo>
                    <a:pt x="178" y="43"/>
                  </a:lnTo>
                  <a:lnTo>
                    <a:pt x="180" y="43"/>
                  </a:lnTo>
                  <a:lnTo>
                    <a:pt x="182" y="45"/>
                  </a:lnTo>
                  <a:lnTo>
                    <a:pt x="184" y="45"/>
                  </a:lnTo>
                  <a:lnTo>
                    <a:pt x="186" y="45"/>
                  </a:lnTo>
                  <a:lnTo>
                    <a:pt x="186" y="47"/>
                  </a:lnTo>
                  <a:lnTo>
                    <a:pt x="188" y="47"/>
                  </a:lnTo>
                  <a:lnTo>
                    <a:pt x="190" y="47"/>
                  </a:lnTo>
                  <a:lnTo>
                    <a:pt x="190" y="49"/>
                  </a:lnTo>
                  <a:lnTo>
                    <a:pt x="192" y="49"/>
                  </a:lnTo>
                  <a:lnTo>
                    <a:pt x="194" y="51"/>
                  </a:lnTo>
                  <a:lnTo>
                    <a:pt x="196" y="51"/>
                  </a:lnTo>
                  <a:lnTo>
                    <a:pt x="202" y="53"/>
                  </a:lnTo>
                  <a:lnTo>
                    <a:pt x="204" y="55"/>
                  </a:lnTo>
                  <a:lnTo>
                    <a:pt x="210" y="57"/>
                  </a:lnTo>
                  <a:lnTo>
                    <a:pt x="212" y="57"/>
                  </a:lnTo>
                  <a:lnTo>
                    <a:pt x="212" y="59"/>
                  </a:lnTo>
                  <a:lnTo>
                    <a:pt x="214" y="59"/>
                  </a:lnTo>
                  <a:lnTo>
                    <a:pt x="216" y="61"/>
                  </a:lnTo>
                  <a:lnTo>
                    <a:pt x="218" y="61"/>
                  </a:lnTo>
                  <a:lnTo>
                    <a:pt x="220" y="61"/>
                  </a:lnTo>
                  <a:lnTo>
                    <a:pt x="222" y="63"/>
                  </a:lnTo>
                  <a:lnTo>
                    <a:pt x="224" y="65"/>
                  </a:lnTo>
                  <a:lnTo>
                    <a:pt x="226" y="65"/>
                  </a:lnTo>
                  <a:lnTo>
                    <a:pt x="228" y="65"/>
                  </a:lnTo>
                  <a:lnTo>
                    <a:pt x="228" y="67"/>
                  </a:lnTo>
                  <a:lnTo>
                    <a:pt x="230" y="67"/>
                  </a:lnTo>
                  <a:lnTo>
                    <a:pt x="232" y="67"/>
                  </a:lnTo>
                  <a:lnTo>
                    <a:pt x="232" y="69"/>
                  </a:lnTo>
                  <a:lnTo>
                    <a:pt x="234" y="69"/>
                  </a:lnTo>
                  <a:lnTo>
                    <a:pt x="236" y="69"/>
                  </a:lnTo>
                  <a:lnTo>
                    <a:pt x="236" y="71"/>
                  </a:lnTo>
                  <a:lnTo>
                    <a:pt x="238" y="71"/>
                  </a:lnTo>
                  <a:lnTo>
                    <a:pt x="240" y="71"/>
                  </a:lnTo>
                  <a:lnTo>
                    <a:pt x="240" y="73"/>
                  </a:lnTo>
                  <a:lnTo>
                    <a:pt x="242" y="73"/>
                  </a:lnTo>
                  <a:lnTo>
                    <a:pt x="244" y="73"/>
                  </a:lnTo>
                  <a:lnTo>
                    <a:pt x="246" y="75"/>
                  </a:lnTo>
                  <a:lnTo>
                    <a:pt x="248" y="75"/>
                  </a:lnTo>
                  <a:lnTo>
                    <a:pt x="250" y="75"/>
                  </a:lnTo>
                  <a:lnTo>
                    <a:pt x="252" y="77"/>
                  </a:lnTo>
                  <a:lnTo>
                    <a:pt x="254" y="77"/>
                  </a:lnTo>
                  <a:lnTo>
                    <a:pt x="254" y="79"/>
                  </a:lnTo>
                  <a:lnTo>
                    <a:pt x="256" y="79"/>
                  </a:lnTo>
                  <a:lnTo>
                    <a:pt x="258" y="79"/>
                  </a:lnTo>
                  <a:lnTo>
                    <a:pt x="260" y="81"/>
                  </a:lnTo>
                  <a:lnTo>
                    <a:pt x="262" y="81"/>
                  </a:lnTo>
                  <a:lnTo>
                    <a:pt x="264" y="81"/>
                  </a:lnTo>
                  <a:lnTo>
                    <a:pt x="264" y="81"/>
                  </a:lnTo>
                  <a:lnTo>
                    <a:pt x="266" y="81"/>
                  </a:lnTo>
                  <a:lnTo>
                    <a:pt x="268" y="81"/>
                  </a:lnTo>
                  <a:lnTo>
                    <a:pt x="268" y="83"/>
                  </a:lnTo>
                  <a:lnTo>
                    <a:pt x="268" y="83"/>
                  </a:lnTo>
                  <a:lnTo>
                    <a:pt x="270" y="83"/>
                  </a:lnTo>
                  <a:lnTo>
                    <a:pt x="272" y="83"/>
                  </a:lnTo>
                  <a:lnTo>
                    <a:pt x="272" y="85"/>
                  </a:lnTo>
                  <a:lnTo>
                    <a:pt x="274" y="85"/>
                  </a:lnTo>
                  <a:lnTo>
                    <a:pt x="276" y="87"/>
                  </a:lnTo>
                  <a:lnTo>
                    <a:pt x="278" y="87"/>
                  </a:lnTo>
                  <a:lnTo>
                    <a:pt x="276" y="89"/>
                  </a:lnTo>
                  <a:lnTo>
                    <a:pt x="276" y="91"/>
                  </a:lnTo>
                  <a:lnTo>
                    <a:pt x="276" y="93"/>
                  </a:lnTo>
                  <a:lnTo>
                    <a:pt x="274" y="93"/>
                  </a:lnTo>
                  <a:lnTo>
                    <a:pt x="274" y="95"/>
                  </a:lnTo>
                  <a:lnTo>
                    <a:pt x="274" y="97"/>
                  </a:lnTo>
                  <a:lnTo>
                    <a:pt x="272" y="97"/>
                  </a:lnTo>
                  <a:lnTo>
                    <a:pt x="272" y="99"/>
                  </a:lnTo>
                  <a:lnTo>
                    <a:pt x="272" y="101"/>
                  </a:lnTo>
                  <a:lnTo>
                    <a:pt x="270" y="103"/>
                  </a:lnTo>
                  <a:lnTo>
                    <a:pt x="270" y="105"/>
                  </a:lnTo>
                  <a:lnTo>
                    <a:pt x="270" y="107"/>
                  </a:lnTo>
                  <a:lnTo>
                    <a:pt x="268" y="107"/>
                  </a:lnTo>
                  <a:lnTo>
                    <a:pt x="268" y="109"/>
                  </a:lnTo>
                  <a:lnTo>
                    <a:pt x="268" y="111"/>
                  </a:lnTo>
                  <a:lnTo>
                    <a:pt x="268" y="111"/>
                  </a:lnTo>
                  <a:lnTo>
                    <a:pt x="268" y="113"/>
                  </a:lnTo>
                  <a:lnTo>
                    <a:pt x="268" y="115"/>
                  </a:lnTo>
                  <a:lnTo>
                    <a:pt x="268" y="117"/>
                  </a:lnTo>
                  <a:lnTo>
                    <a:pt x="266" y="117"/>
                  </a:lnTo>
                  <a:lnTo>
                    <a:pt x="266" y="119"/>
                  </a:lnTo>
                  <a:lnTo>
                    <a:pt x="266" y="121"/>
                  </a:lnTo>
                  <a:lnTo>
                    <a:pt x="264" y="121"/>
                  </a:lnTo>
                  <a:lnTo>
                    <a:pt x="264" y="123"/>
                  </a:lnTo>
                  <a:lnTo>
                    <a:pt x="264" y="125"/>
                  </a:lnTo>
                  <a:lnTo>
                    <a:pt x="262" y="125"/>
                  </a:lnTo>
                  <a:lnTo>
                    <a:pt x="262" y="127"/>
                  </a:lnTo>
                  <a:lnTo>
                    <a:pt x="262" y="129"/>
                  </a:lnTo>
                  <a:lnTo>
                    <a:pt x="260" y="129"/>
                  </a:lnTo>
                  <a:lnTo>
                    <a:pt x="260" y="131"/>
                  </a:lnTo>
                  <a:lnTo>
                    <a:pt x="260" y="133"/>
                  </a:lnTo>
                  <a:lnTo>
                    <a:pt x="258" y="133"/>
                  </a:lnTo>
                  <a:lnTo>
                    <a:pt x="258" y="135"/>
                  </a:lnTo>
                  <a:lnTo>
                    <a:pt x="258" y="137"/>
                  </a:lnTo>
                  <a:lnTo>
                    <a:pt x="256" y="139"/>
                  </a:lnTo>
                  <a:lnTo>
                    <a:pt x="256" y="141"/>
                  </a:lnTo>
                  <a:lnTo>
                    <a:pt x="256" y="143"/>
                  </a:lnTo>
                  <a:lnTo>
                    <a:pt x="254" y="143"/>
                  </a:lnTo>
                  <a:lnTo>
                    <a:pt x="254" y="145"/>
                  </a:lnTo>
                  <a:lnTo>
                    <a:pt x="254" y="147"/>
                  </a:lnTo>
                  <a:lnTo>
                    <a:pt x="252" y="147"/>
                  </a:lnTo>
                  <a:lnTo>
                    <a:pt x="252" y="149"/>
                  </a:lnTo>
                  <a:lnTo>
                    <a:pt x="252" y="151"/>
                  </a:lnTo>
                  <a:lnTo>
                    <a:pt x="250" y="153"/>
                  </a:lnTo>
                  <a:lnTo>
                    <a:pt x="250" y="155"/>
                  </a:lnTo>
                  <a:lnTo>
                    <a:pt x="250" y="157"/>
                  </a:lnTo>
                  <a:lnTo>
                    <a:pt x="248" y="157"/>
                  </a:lnTo>
                  <a:lnTo>
                    <a:pt x="248" y="159"/>
                  </a:lnTo>
                  <a:lnTo>
                    <a:pt x="248" y="161"/>
                  </a:lnTo>
                  <a:lnTo>
                    <a:pt x="246" y="163"/>
                  </a:lnTo>
                  <a:lnTo>
                    <a:pt x="246" y="165"/>
                  </a:lnTo>
                  <a:lnTo>
                    <a:pt x="244" y="167"/>
                  </a:lnTo>
                  <a:lnTo>
                    <a:pt x="244" y="169"/>
                  </a:lnTo>
                  <a:lnTo>
                    <a:pt x="244" y="171"/>
                  </a:lnTo>
                  <a:lnTo>
                    <a:pt x="242" y="173"/>
                  </a:lnTo>
                  <a:lnTo>
                    <a:pt x="242" y="175"/>
                  </a:lnTo>
                  <a:lnTo>
                    <a:pt x="240" y="177"/>
                  </a:lnTo>
                  <a:lnTo>
                    <a:pt x="240" y="177"/>
                  </a:lnTo>
                  <a:lnTo>
                    <a:pt x="240" y="179"/>
                  </a:lnTo>
                  <a:lnTo>
                    <a:pt x="238" y="179"/>
                  </a:lnTo>
                  <a:lnTo>
                    <a:pt x="238" y="181"/>
                  </a:lnTo>
                  <a:lnTo>
                    <a:pt x="238" y="183"/>
                  </a:lnTo>
                  <a:lnTo>
                    <a:pt x="236" y="187"/>
                  </a:lnTo>
                  <a:lnTo>
                    <a:pt x="236" y="189"/>
                  </a:lnTo>
                  <a:lnTo>
                    <a:pt x="234" y="189"/>
                  </a:lnTo>
                  <a:lnTo>
                    <a:pt x="234" y="191"/>
                  </a:lnTo>
                  <a:lnTo>
                    <a:pt x="234" y="193"/>
                  </a:lnTo>
                  <a:lnTo>
                    <a:pt x="232" y="193"/>
                  </a:lnTo>
                  <a:lnTo>
                    <a:pt x="232" y="195"/>
                  </a:lnTo>
                  <a:lnTo>
                    <a:pt x="232" y="197"/>
                  </a:lnTo>
                  <a:lnTo>
                    <a:pt x="232" y="199"/>
                  </a:lnTo>
                  <a:lnTo>
                    <a:pt x="230" y="203"/>
                  </a:lnTo>
                  <a:lnTo>
                    <a:pt x="228" y="205"/>
                  </a:lnTo>
                  <a:lnTo>
                    <a:pt x="228" y="207"/>
                  </a:lnTo>
                  <a:lnTo>
                    <a:pt x="226" y="207"/>
                  </a:lnTo>
                  <a:lnTo>
                    <a:pt x="226" y="209"/>
                  </a:lnTo>
                  <a:lnTo>
                    <a:pt x="226" y="211"/>
                  </a:lnTo>
                  <a:lnTo>
                    <a:pt x="224" y="211"/>
                  </a:lnTo>
                  <a:lnTo>
                    <a:pt x="226" y="213"/>
                  </a:lnTo>
                  <a:lnTo>
                    <a:pt x="226" y="215"/>
                  </a:lnTo>
                  <a:lnTo>
                    <a:pt x="226" y="217"/>
                  </a:lnTo>
                  <a:lnTo>
                    <a:pt x="226" y="219"/>
                  </a:lnTo>
                  <a:lnTo>
                    <a:pt x="224" y="219"/>
                  </a:lnTo>
                  <a:lnTo>
                    <a:pt x="224" y="221"/>
                  </a:lnTo>
                  <a:lnTo>
                    <a:pt x="226" y="221"/>
                  </a:lnTo>
                  <a:lnTo>
                    <a:pt x="226" y="223"/>
                  </a:lnTo>
                  <a:lnTo>
                    <a:pt x="224" y="223"/>
                  </a:lnTo>
                  <a:lnTo>
                    <a:pt x="224" y="225"/>
                  </a:lnTo>
                  <a:lnTo>
                    <a:pt x="222" y="225"/>
                  </a:lnTo>
                  <a:lnTo>
                    <a:pt x="222" y="225"/>
                  </a:lnTo>
                  <a:lnTo>
                    <a:pt x="222" y="227"/>
                  </a:lnTo>
                  <a:lnTo>
                    <a:pt x="222" y="229"/>
                  </a:lnTo>
                  <a:lnTo>
                    <a:pt x="220" y="229"/>
                  </a:lnTo>
                  <a:lnTo>
                    <a:pt x="220" y="227"/>
                  </a:lnTo>
                  <a:lnTo>
                    <a:pt x="220" y="227"/>
                  </a:lnTo>
                  <a:lnTo>
                    <a:pt x="218" y="227"/>
                  </a:lnTo>
                  <a:lnTo>
                    <a:pt x="218" y="225"/>
                  </a:lnTo>
                  <a:lnTo>
                    <a:pt x="216" y="225"/>
                  </a:lnTo>
                  <a:lnTo>
                    <a:pt x="214" y="225"/>
                  </a:lnTo>
                  <a:lnTo>
                    <a:pt x="212" y="225"/>
                  </a:lnTo>
                  <a:lnTo>
                    <a:pt x="210" y="225"/>
                  </a:lnTo>
                  <a:lnTo>
                    <a:pt x="208" y="225"/>
                  </a:lnTo>
                  <a:lnTo>
                    <a:pt x="208" y="223"/>
                  </a:lnTo>
                  <a:lnTo>
                    <a:pt x="206" y="223"/>
                  </a:lnTo>
                  <a:lnTo>
                    <a:pt x="204" y="223"/>
                  </a:lnTo>
                  <a:lnTo>
                    <a:pt x="202" y="221"/>
                  </a:lnTo>
                  <a:lnTo>
                    <a:pt x="200" y="221"/>
                  </a:lnTo>
                  <a:lnTo>
                    <a:pt x="198" y="219"/>
                  </a:lnTo>
                  <a:lnTo>
                    <a:pt x="194" y="219"/>
                  </a:lnTo>
                  <a:lnTo>
                    <a:pt x="194" y="217"/>
                  </a:lnTo>
                  <a:lnTo>
                    <a:pt x="192" y="217"/>
                  </a:lnTo>
                  <a:lnTo>
                    <a:pt x="190" y="217"/>
                  </a:lnTo>
                  <a:lnTo>
                    <a:pt x="190" y="215"/>
                  </a:lnTo>
                  <a:lnTo>
                    <a:pt x="188" y="215"/>
                  </a:lnTo>
                  <a:lnTo>
                    <a:pt x="186" y="215"/>
                  </a:lnTo>
                  <a:lnTo>
                    <a:pt x="184" y="213"/>
                  </a:lnTo>
                  <a:lnTo>
                    <a:pt x="182" y="213"/>
                  </a:lnTo>
                  <a:lnTo>
                    <a:pt x="180" y="211"/>
                  </a:lnTo>
                  <a:lnTo>
                    <a:pt x="178" y="211"/>
                  </a:lnTo>
                  <a:lnTo>
                    <a:pt x="176" y="211"/>
                  </a:lnTo>
                  <a:lnTo>
                    <a:pt x="176" y="209"/>
                  </a:lnTo>
                  <a:lnTo>
                    <a:pt x="174" y="209"/>
                  </a:lnTo>
                  <a:lnTo>
                    <a:pt x="172" y="209"/>
                  </a:lnTo>
                  <a:lnTo>
                    <a:pt x="172" y="207"/>
                  </a:lnTo>
                  <a:lnTo>
                    <a:pt x="172" y="207"/>
                  </a:lnTo>
                  <a:lnTo>
                    <a:pt x="170" y="207"/>
                  </a:lnTo>
                  <a:lnTo>
                    <a:pt x="170" y="205"/>
                  </a:lnTo>
                  <a:lnTo>
                    <a:pt x="168" y="205"/>
                  </a:lnTo>
                  <a:lnTo>
                    <a:pt x="166" y="205"/>
                  </a:lnTo>
                  <a:lnTo>
                    <a:pt x="164" y="203"/>
                  </a:lnTo>
                  <a:lnTo>
                    <a:pt x="162" y="203"/>
                  </a:lnTo>
                  <a:lnTo>
                    <a:pt x="160" y="203"/>
                  </a:lnTo>
                  <a:lnTo>
                    <a:pt x="160" y="201"/>
                  </a:lnTo>
                  <a:lnTo>
                    <a:pt x="158" y="201"/>
                  </a:lnTo>
                  <a:lnTo>
                    <a:pt x="156" y="201"/>
                  </a:lnTo>
                  <a:lnTo>
                    <a:pt x="154" y="201"/>
                  </a:lnTo>
                  <a:lnTo>
                    <a:pt x="152" y="201"/>
                  </a:lnTo>
                  <a:lnTo>
                    <a:pt x="150" y="201"/>
                  </a:lnTo>
                  <a:lnTo>
                    <a:pt x="148" y="201"/>
                  </a:lnTo>
                  <a:lnTo>
                    <a:pt x="148" y="199"/>
                  </a:lnTo>
                  <a:lnTo>
                    <a:pt x="146" y="199"/>
                  </a:lnTo>
                  <a:lnTo>
                    <a:pt x="144" y="199"/>
                  </a:lnTo>
                  <a:lnTo>
                    <a:pt x="142" y="199"/>
                  </a:lnTo>
                  <a:lnTo>
                    <a:pt x="142" y="197"/>
                  </a:lnTo>
                  <a:lnTo>
                    <a:pt x="140" y="197"/>
                  </a:lnTo>
                  <a:lnTo>
                    <a:pt x="138" y="197"/>
                  </a:lnTo>
                  <a:lnTo>
                    <a:pt x="136" y="197"/>
                  </a:lnTo>
                  <a:lnTo>
                    <a:pt x="136" y="195"/>
                  </a:lnTo>
                  <a:lnTo>
                    <a:pt x="134" y="195"/>
                  </a:lnTo>
                  <a:lnTo>
                    <a:pt x="132" y="195"/>
                  </a:lnTo>
                  <a:lnTo>
                    <a:pt x="130" y="195"/>
                  </a:lnTo>
                  <a:lnTo>
                    <a:pt x="130" y="197"/>
                  </a:lnTo>
                  <a:lnTo>
                    <a:pt x="128" y="195"/>
                  </a:lnTo>
                  <a:lnTo>
                    <a:pt x="126" y="195"/>
                  </a:lnTo>
                  <a:lnTo>
                    <a:pt x="124" y="195"/>
                  </a:lnTo>
                  <a:lnTo>
                    <a:pt x="124" y="193"/>
                  </a:lnTo>
                  <a:lnTo>
                    <a:pt x="122" y="193"/>
                  </a:lnTo>
                  <a:lnTo>
                    <a:pt x="120" y="193"/>
                  </a:lnTo>
                  <a:lnTo>
                    <a:pt x="118" y="193"/>
                  </a:lnTo>
                  <a:lnTo>
                    <a:pt x="116" y="193"/>
                  </a:lnTo>
                  <a:lnTo>
                    <a:pt x="114" y="193"/>
                  </a:lnTo>
                  <a:lnTo>
                    <a:pt x="112" y="193"/>
                  </a:lnTo>
                  <a:lnTo>
                    <a:pt x="110" y="195"/>
                  </a:lnTo>
                  <a:lnTo>
                    <a:pt x="110" y="193"/>
                  </a:lnTo>
                  <a:lnTo>
                    <a:pt x="108" y="193"/>
                  </a:lnTo>
                  <a:lnTo>
                    <a:pt x="106" y="193"/>
                  </a:lnTo>
                  <a:lnTo>
                    <a:pt x="104" y="193"/>
                  </a:lnTo>
                  <a:lnTo>
                    <a:pt x="102" y="191"/>
                  </a:lnTo>
                  <a:lnTo>
                    <a:pt x="100" y="191"/>
                  </a:lnTo>
                  <a:lnTo>
                    <a:pt x="100" y="189"/>
                  </a:lnTo>
                  <a:lnTo>
                    <a:pt x="100" y="187"/>
                  </a:lnTo>
                  <a:lnTo>
                    <a:pt x="98" y="187"/>
                  </a:lnTo>
                  <a:lnTo>
                    <a:pt x="96" y="187"/>
                  </a:lnTo>
                  <a:lnTo>
                    <a:pt x="94" y="187"/>
                  </a:lnTo>
                  <a:lnTo>
                    <a:pt x="92" y="187"/>
                  </a:lnTo>
                  <a:lnTo>
                    <a:pt x="90" y="187"/>
                  </a:lnTo>
                  <a:lnTo>
                    <a:pt x="88" y="187"/>
                  </a:lnTo>
                  <a:lnTo>
                    <a:pt x="86" y="187"/>
                  </a:lnTo>
                  <a:lnTo>
                    <a:pt x="84" y="187"/>
                  </a:lnTo>
                  <a:lnTo>
                    <a:pt x="84" y="185"/>
                  </a:lnTo>
                  <a:lnTo>
                    <a:pt x="82" y="185"/>
                  </a:lnTo>
                  <a:lnTo>
                    <a:pt x="80" y="183"/>
                  </a:lnTo>
                  <a:lnTo>
                    <a:pt x="78" y="185"/>
                  </a:lnTo>
                  <a:lnTo>
                    <a:pt x="76" y="185"/>
                  </a:lnTo>
                  <a:lnTo>
                    <a:pt x="76" y="183"/>
                  </a:lnTo>
                  <a:lnTo>
                    <a:pt x="76" y="181"/>
                  </a:lnTo>
                  <a:lnTo>
                    <a:pt x="76" y="179"/>
                  </a:lnTo>
                  <a:lnTo>
                    <a:pt x="76" y="177"/>
                  </a:lnTo>
                  <a:lnTo>
                    <a:pt x="74" y="177"/>
                  </a:lnTo>
                  <a:lnTo>
                    <a:pt x="72" y="177"/>
                  </a:lnTo>
                  <a:lnTo>
                    <a:pt x="72" y="177"/>
                  </a:lnTo>
                  <a:lnTo>
                    <a:pt x="70" y="177"/>
                  </a:lnTo>
                  <a:lnTo>
                    <a:pt x="70" y="175"/>
                  </a:lnTo>
                  <a:lnTo>
                    <a:pt x="68" y="175"/>
                  </a:lnTo>
                  <a:lnTo>
                    <a:pt x="66" y="173"/>
                  </a:lnTo>
                  <a:lnTo>
                    <a:pt x="64" y="173"/>
                  </a:lnTo>
                  <a:lnTo>
                    <a:pt x="62" y="173"/>
                  </a:lnTo>
                  <a:lnTo>
                    <a:pt x="60" y="173"/>
                  </a:lnTo>
                  <a:lnTo>
                    <a:pt x="60" y="171"/>
                  </a:lnTo>
                  <a:lnTo>
                    <a:pt x="58" y="171"/>
                  </a:lnTo>
                  <a:lnTo>
                    <a:pt x="56" y="171"/>
                  </a:lnTo>
                  <a:lnTo>
                    <a:pt x="54" y="171"/>
                  </a:lnTo>
                  <a:lnTo>
                    <a:pt x="52" y="171"/>
                  </a:lnTo>
                  <a:lnTo>
                    <a:pt x="50" y="171"/>
                  </a:lnTo>
                  <a:lnTo>
                    <a:pt x="48" y="171"/>
                  </a:lnTo>
                  <a:lnTo>
                    <a:pt x="46" y="171"/>
                  </a:lnTo>
                  <a:lnTo>
                    <a:pt x="44" y="171"/>
                  </a:lnTo>
                  <a:lnTo>
                    <a:pt x="42" y="171"/>
                  </a:lnTo>
                  <a:lnTo>
                    <a:pt x="40" y="171"/>
                  </a:lnTo>
                  <a:lnTo>
                    <a:pt x="38" y="171"/>
                  </a:lnTo>
                  <a:lnTo>
                    <a:pt x="38" y="169"/>
                  </a:lnTo>
                  <a:lnTo>
                    <a:pt x="38" y="167"/>
                  </a:lnTo>
                  <a:lnTo>
                    <a:pt x="36" y="167"/>
                  </a:lnTo>
                  <a:lnTo>
                    <a:pt x="34" y="167"/>
                  </a:lnTo>
                  <a:lnTo>
                    <a:pt x="34" y="165"/>
                  </a:lnTo>
                  <a:lnTo>
                    <a:pt x="32" y="165"/>
                  </a:lnTo>
                  <a:lnTo>
                    <a:pt x="32" y="163"/>
                  </a:lnTo>
                  <a:lnTo>
                    <a:pt x="30" y="163"/>
                  </a:lnTo>
                  <a:lnTo>
                    <a:pt x="30" y="161"/>
                  </a:lnTo>
                  <a:lnTo>
                    <a:pt x="28" y="161"/>
                  </a:lnTo>
                  <a:lnTo>
                    <a:pt x="28" y="159"/>
                  </a:lnTo>
                  <a:lnTo>
                    <a:pt x="28" y="157"/>
                  </a:lnTo>
                  <a:lnTo>
                    <a:pt x="28" y="155"/>
                  </a:lnTo>
                  <a:lnTo>
                    <a:pt x="28" y="153"/>
                  </a:lnTo>
                  <a:lnTo>
                    <a:pt x="28" y="151"/>
                  </a:lnTo>
                  <a:lnTo>
                    <a:pt x="28" y="149"/>
                  </a:lnTo>
                  <a:lnTo>
                    <a:pt x="30" y="147"/>
                  </a:lnTo>
                  <a:lnTo>
                    <a:pt x="30" y="145"/>
                  </a:lnTo>
                  <a:lnTo>
                    <a:pt x="30" y="143"/>
                  </a:lnTo>
                  <a:lnTo>
                    <a:pt x="32" y="143"/>
                  </a:lnTo>
                  <a:lnTo>
                    <a:pt x="32" y="141"/>
                  </a:lnTo>
                  <a:lnTo>
                    <a:pt x="32" y="139"/>
                  </a:lnTo>
                  <a:lnTo>
                    <a:pt x="32" y="137"/>
                  </a:lnTo>
                  <a:lnTo>
                    <a:pt x="32" y="135"/>
                  </a:lnTo>
                  <a:lnTo>
                    <a:pt x="32" y="133"/>
                  </a:lnTo>
                  <a:lnTo>
                    <a:pt x="30" y="133"/>
                  </a:lnTo>
                  <a:lnTo>
                    <a:pt x="30" y="131"/>
                  </a:lnTo>
                  <a:lnTo>
                    <a:pt x="30" y="129"/>
                  </a:lnTo>
                  <a:lnTo>
                    <a:pt x="28" y="129"/>
                  </a:lnTo>
                  <a:lnTo>
                    <a:pt x="28" y="129"/>
                  </a:lnTo>
                  <a:lnTo>
                    <a:pt x="28" y="127"/>
                  </a:lnTo>
                  <a:lnTo>
                    <a:pt x="28" y="127"/>
                  </a:lnTo>
                  <a:lnTo>
                    <a:pt x="26" y="127"/>
                  </a:lnTo>
                  <a:lnTo>
                    <a:pt x="24" y="127"/>
                  </a:lnTo>
                  <a:lnTo>
                    <a:pt x="22" y="127"/>
                  </a:lnTo>
                  <a:lnTo>
                    <a:pt x="22" y="125"/>
                  </a:lnTo>
                  <a:lnTo>
                    <a:pt x="22" y="123"/>
                  </a:lnTo>
                  <a:lnTo>
                    <a:pt x="22" y="121"/>
                  </a:lnTo>
                  <a:lnTo>
                    <a:pt x="20" y="121"/>
                  </a:lnTo>
                  <a:lnTo>
                    <a:pt x="22" y="121"/>
                  </a:lnTo>
                  <a:lnTo>
                    <a:pt x="20" y="121"/>
                  </a:lnTo>
                  <a:lnTo>
                    <a:pt x="20" y="119"/>
                  </a:lnTo>
                  <a:lnTo>
                    <a:pt x="20" y="117"/>
                  </a:lnTo>
                  <a:lnTo>
                    <a:pt x="18" y="117"/>
                  </a:lnTo>
                  <a:lnTo>
                    <a:pt x="16" y="117"/>
                  </a:lnTo>
                  <a:lnTo>
                    <a:pt x="16" y="115"/>
                  </a:lnTo>
                  <a:lnTo>
                    <a:pt x="14" y="115"/>
                  </a:lnTo>
                  <a:lnTo>
                    <a:pt x="14" y="113"/>
                  </a:lnTo>
                  <a:lnTo>
                    <a:pt x="14" y="111"/>
                  </a:lnTo>
                  <a:lnTo>
                    <a:pt x="12" y="111"/>
                  </a:lnTo>
                  <a:lnTo>
                    <a:pt x="10" y="113"/>
                  </a:lnTo>
                  <a:lnTo>
                    <a:pt x="10" y="111"/>
                  </a:lnTo>
                  <a:lnTo>
                    <a:pt x="8" y="111"/>
                  </a:lnTo>
                  <a:lnTo>
                    <a:pt x="6" y="111"/>
                  </a:lnTo>
                  <a:lnTo>
                    <a:pt x="6" y="109"/>
                  </a:lnTo>
                  <a:lnTo>
                    <a:pt x="4" y="109"/>
                  </a:lnTo>
                  <a:lnTo>
                    <a:pt x="4" y="107"/>
                  </a:lnTo>
                  <a:lnTo>
                    <a:pt x="4" y="105"/>
                  </a:lnTo>
                  <a:lnTo>
                    <a:pt x="2" y="105"/>
                  </a:lnTo>
                  <a:lnTo>
                    <a:pt x="2" y="107"/>
                  </a:lnTo>
                  <a:lnTo>
                    <a:pt x="0" y="107"/>
                  </a:lnTo>
                  <a:lnTo>
                    <a:pt x="0" y="105"/>
                  </a:lnTo>
                  <a:lnTo>
                    <a:pt x="2" y="105"/>
                  </a:lnTo>
                  <a:lnTo>
                    <a:pt x="2" y="103"/>
                  </a:lnTo>
                  <a:lnTo>
                    <a:pt x="4" y="103"/>
                  </a:lnTo>
                  <a:lnTo>
                    <a:pt x="4" y="101"/>
                  </a:lnTo>
                  <a:lnTo>
                    <a:pt x="6" y="101"/>
                  </a:lnTo>
                  <a:lnTo>
                    <a:pt x="6" y="99"/>
                  </a:lnTo>
                  <a:lnTo>
                    <a:pt x="6" y="97"/>
                  </a:lnTo>
                  <a:lnTo>
                    <a:pt x="8" y="97"/>
                  </a:lnTo>
                  <a:lnTo>
                    <a:pt x="8" y="95"/>
                  </a:lnTo>
                  <a:lnTo>
                    <a:pt x="8" y="93"/>
                  </a:lnTo>
                  <a:lnTo>
                    <a:pt x="10" y="93"/>
                  </a:lnTo>
                  <a:lnTo>
                    <a:pt x="10" y="91"/>
                  </a:lnTo>
                  <a:lnTo>
                    <a:pt x="10" y="89"/>
                  </a:lnTo>
                  <a:lnTo>
                    <a:pt x="12" y="89"/>
                  </a:lnTo>
                  <a:lnTo>
                    <a:pt x="10" y="89"/>
                  </a:lnTo>
                  <a:lnTo>
                    <a:pt x="10" y="91"/>
                  </a:lnTo>
                  <a:lnTo>
                    <a:pt x="10" y="93"/>
                  </a:lnTo>
                  <a:lnTo>
                    <a:pt x="10" y="95"/>
                  </a:lnTo>
                  <a:lnTo>
                    <a:pt x="8" y="95"/>
                  </a:lnTo>
                  <a:lnTo>
                    <a:pt x="8" y="97"/>
                  </a:lnTo>
                  <a:lnTo>
                    <a:pt x="8" y="99"/>
                  </a:lnTo>
                  <a:lnTo>
                    <a:pt x="6" y="99"/>
                  </a:lnTo>
                  <a:lnTo>
                    <a:pt x="6" y="101"/>
                  </a:lnTo>
                  <a:lnTo>
                    <a:pt x="6" y="103"/>
                  </a:lnTo>
                  <a:lnTo>
                    <a:pt x="6" y="105"/>
                  </a:lnTo>
                  <a:lnTo>
                    <a:pt x="8" y="105"/>
                  </a:lnTo>
                  <a:lnTo>
                    <a:pt x="8" y="103"/>
                  </a:lnTo>
                  <a:lnTo>
                    <a:pt x="10" y="103"/>
                  </a:lnTo>
                  <a:lnTo>
                    <a:pt x="10" y="101"/>
                  </a:lnTo>
                  <a:lnTo>
                    <a:pt x="10" y="103"/>
                  </a:lnTo>
                  <a:lnTo>
                    <a:pt x="12" y="103"/>
                  </a:lnTo>
                  <a:lnTo>
                    <a:pt x="12" y="105"/>
                  </a:lnTo>
                  <a:lnTo>
                    <a:pt x="12" y="107"/>
                  </a:lnTo>
                  <a:lnTo>
                    <a:pt x="12" y="105"/>
                  </a:lnTo>
                  <a:lnTo>
                    <a:pt x="12" y="103"/>
                  </a:lnTo>
                  <a:lnTo>
                    <a:pt x="10" y="103"/>
                  </a:lnTo>
                  <a:lnTo>
                    <a:pt x="10" y="101"/>
                  </a:lnTo>
                  <a:lnTo>
                    <a:pt x="10" y="99"/>
                  </a:lnTo>
                  <a:lnTo>
                    <a:pt x="12" y="99"/>
                  </a:lnTo>
                  <a:lnTo>
                    <a:pt x="12" y="97"/>
                  </a:lnTo>
                  <a:lnTo>
                    <a:pt x="14" y="97"/>
                  </a:lnTo>
                  <a:lnTo>
                    <a:pt x="14" y="95"/>
                  </a:lnTo>
                  <a:lnTo>
                    <a:pt x="14" y="93"/>
                  </a:lnTo>
                  <a:lnTo>
                    <a:pt x="14" y="91"/>
                  </a:lnTo>
                  <a:lnTo>
                    <a:pt x="14" y="93"/>
                  </a:lnTo>
                  <a:lnTo>
                    <a:pt x="14" y="95"/>
                  </a:lnTo>
                  <a:lnTo>
                    <a:pt x="14" y="93"/>
                  </a:lnTo>
                  <a:lnTo>
                    <a:pt x="14" y="91"/>
                  </a:lnTo>
                  <a:lnTo>
                    <a:pt x="16" y="91"/>
                  </a:lnTo>
                  <a:lnTo>
                    <a:pt x="18" y="91"/>
                  </a:lnTo>
                  <a:lnTo>
                    <a:pt x="20" y="91"/>
                  </a:lnTo>
                  <a:lnTo>
                    <a:pt x="20" y="93"/>
                  </a:lnTo>
                  <a:lnTo>
                    <a:pt x="22" y="93"/>
                  </a:lnTo>
                  <a:lnTo>
                    <a:pt x="24" y="93"/>
                  </a:lnTo>
                  <a:lnTo>
                    <a:pt x="24" y="95"/>
                  </a:lnTo>
                  <a:lnTo>
                    <a:pt x="24" y="93"/>
                  </a:lnTo>
                  <a:lnTo>
                    <a:pt x="22" y="93"/>
                  </a:lnTo>
                  <a:lnTo>
                    <a:pt x="20" y="93"/>
                  </a:lnTo>
                  <a:lnTo>
                    <a:pt x="20" y="91"/>
                  </a:lnTo>
                  <a:lnTo>
                    <a:pt x="20" y="89"/>
                  </a:lnTo>
                  <a:lnTo>
                    <a:pt x="20" y="91"/>
                  </a:lnTo>
                  <a:lnTo>
                    <a:pt x="20" y="89"/>
                  </a:lnTo>
                  <a:lnTo>
                    <a:pt x="18" y="89"/>
                  </a:lnTo>
                  <a:lnTo>
                    <a:pt x="18" y="87"/>
                  </a:lnTo>
                  <a:lnTo>
                    <a:pt x="18" y="89"/>
                  </a:lnTo>
                  <a:lnTo>
                    <a:pt x="16" y="89"/>
                  </a:lnTo>
                  <a:lnTo>
                    <a:pt x="16" y="87"/>
                  </a:lnTo>
                  <a:lnTo>
                    <a:pt x="14" y="87"/>
                  </a:lnTo>
                  <a:lnTo>
                    <a:pt x="14" y="89"/>
                  </a:lnTo>
                  <a:lnTo>
                    <a:pt x="16" y="89"/>
                  </a:lnTo>
                  <a:lnTo>
                    <a:pt x="14" y="89"/>
                  </a:lnTo>
                  <a:lnTo>
                    <a:pt x="14" y="87"/>
                  </a:lnTo>
                  <a:lnTo>
                    <a:pt x="14" y="85"/>
                  </a:lnTo>
                  <a:lnTo>
                    <a:pt x="12" y="85"/>
                  </a:lnTo>
                  <a:lnTo>
                    <a:pt x="12" y="83"/>
                  </a:lnTo>
                  <a:lnTo>
                    <a:pt x="14" y="83"/>
                  </a:lnTo>
                  <a:lnTo>
                    <a:pt x="14" y="81"/>
                  </a:lnTo>
                  <a:lnTo>
                    <a:pt x="14" y="81"/>
                  </a:lnTo>
                  <a:lnTo>
                    <a:pt x="14" y="79"/>
                  </a:lnTo>
                  <a:lnTo>
                    <a:pt x="16" y="79"/>
                  </a:lnTo>
                  <a:lnTo>
                    <a:pt x="14" y="79"/>
                  </a:lnTo>
                  <a:lnTo>
                    <a:pt x="16" y="79"/>
                  </a:lnTo>
                  <a:lnTo>
                    <a:pt x="16" y="81"/>
                  </a:lnTo>
                  <a:lnTo>
                    <a:pt x="16" y="81"/>
                  </a:lnTo>
                  <a:lnTo>
                    <a:pt x="16" y="81"/>
                  </a:lnTo>
                  <a:lnTo>
                    <a:pt x="16" y="81"/>
                  </a:lnTo>
                  <a:lnTo>
                    <a:pt x="18" y="81"/>
                  </a:lnTo>
                  <a:lnTo>
                    <a:pt x="16" y="81"/>
                  </a:lnTo>
                  <a:lnTo>
                    <a:pt x="16" y="81"/>
                  </a:lnTo>
                  <a:lnTo>
                    <a:pt x="18" y="81"/>
                  </a:lnTo>
                  <a:lnTo>
                    <a:pt x="16" y="81"/>
                  </a:lnTo>
                  <a:lnTo>
                    <a:pt x="18" y="81"/>
                  </a:lnTo>
                  <a:lnTo>
                    <a:pt x="16" y="81"/>
                  </a:lnTo>
                  <a:lnTo>
                    <a:pt x="18" y="81"/>
                  </a:lnTo>
                  <a:lnTo>
                    <a:pt x="20" y="81"/>
                  </a:lnTo>
                  <a:lnTo>
                    <a:pt x="22" y="81"/>
                  </a:lnTo>
                  <a:lnTo>
                    <a:pt x="24" y="81"/>
                  </a:lnTo>
                  <a:lnTo>
                    <a:pt x="26" y="81"/>
                  </a:lnTo>
                  <a:lnTo>
                    <a:pt x="28" y="81"/>
                  </a:lnTo>
                  <a:lnTo>
                    <a:pt x="26" y="81"/>
                  </a:lnTo>
                  <a:lnTo>
                    <a:pt x="26" y="79"/>
                  </a:lnTo>
                  <a:lnTo>
                    <a:pt x="24" y="79"/>
                  </a:lnTo>
                  <a:lnTo>
                    <a:pt x="22" y="79"/>
                  </a:lnTo>
                  <a:lnTo>
                    <a:pt x="24" y="79"/>
                  </a:lnTo>
                  <a:lnTo>
                    <a:pt x="24" y="77"/>
                  </a:lnTo>
                  <a:lnTo>
                    <a:pt x="22" y="77"/>
                  </a:lnTo>
                  <a:lnTo>
                    <a:pt x="20" y="77"/>
                  </a:lnTo>
                  <a:lnTo>
                    <a:pt x="22" y="77"/>
                  </a:lnTo>
                  <a:lnTo>
                    <a:pt x="20" y="77"/>
                  </a:lnTo>
                  <a:lnTo>
                    <a:pt x="22" y="77"/>
                  </a:lnTo>
                  <a:lnTo>
                    <a:pt x="22" y="75"/>
                  </a:lnTo>
                  <a:lnTo>
                    <a:pt x="22" y="73"/>
                  </a:lnTo>
                  <a:lnTo>
                    <a:pt x="20" y="73"/>
                  </a:lnTo>
                  <a:lnTo>
                    <a:pt x="18" y="73"/>
                  </a:lnTo>
                  <a:lnTo>
                    <a:pt x="18" y="75"/>
                  </a:lnTo>
                  <a:lnTo>
                    <a:pt x="16" y="75"/>
                  </a:lnTo>
                  <a:lnTo>
                    <a:pt x="16" y="77"/>
                  </a:lnTo>
                  <a:lnTo>
                    <a:pt x="18" y="77"/>
                  </a:lnTo>
                  <a:lnTo>
                    <a:pt x="16" y="77"/>
                  </a:lnTo>
                  <a:lnTo>
                    <a:pt x="14" y="77"/>
                  </a:lnTo>
                  <a:lnTo>
                    <a:pt x="14" y="75"/>
                  </a:lnTo>
                  <a:lnTo>
                    <a:pt x="16" y="75"/>
                  </a:lnTo>
                  <a:lnTo>
                    <a:pt x="16" y="73"/>
                  </a:lnTo>
                  <a:lnTo>
                    <a:pt x="18" y="73"/>
                  </a:lnTo>
                  <a:lnTo>
                    <a:pt x="18" y="71"/>
                  </a:lnTo>
                  <a:lnTo>
                    <a:pt x="18" y="69"/>
                  </a:lnTo>
                  <a:lnTo>
                    <a:pt x="18" y="67"/>
                  </a:lnTo>
                  <a:lnTo>
                    <a:pt x="20" y="67"/>
                  </a:lnTo>
                  <a:lnTo>
                    <a:pt x="20" y="65"/>
                  </a:lnTo>
                  <a:lnTo>
                    <a:pt x="20" y="63"/>
                  </a:lnTo>
                  <a:lnTo>
                    <a:pt x="20" y="61"/>
                  </a:lnTo>
                  <a:lnTo>
                    <a:pt x="22" y="61"/>
                  </a:lnTo>
                  <a:lnTo>
                    <a:pt x="22" y="59"/>
                  </a:lnTo>
                  <a:lnTo>
                    <a:pt x="22" y="57"/>
                  </a:lnTo>
                  <a:lnTo>
                    <a:pt x="20" y="57"/>
                  </a:lnTo>
                  <a:lnTo>
                    <a:pt x="22" y="57"/>
                  </a:lnTo>
                  <a:lnTo>
                    <a:pt x="22" y="55"/>
                  </a:lnTo>
                  <a:lnTo>
                    <a:pt x="20" y="55"/>
                  </a:lnTo>
                  <a:lnTo>
                    <a:pt x="20" y="53"/>
                  </a:lnTo>
                  <a:lnTo>
                    <a:pt x="22" y="53"/>
                  </a:lnTo>
                  <a:lnTo>
                    <a:pt x="22" y="51"/>
                  </a:lnTo>
                  <a:lnTo>
                    <a:pt x="22" y="49"/>
                  </a:lnTo>
                  <a:lnTo>
                    <a:pt x="22" y="51"/>
                  </a:lnTo>
                  <a:lnTo>
                    <a:pt x="22" y="49"/>
                  </a:lnTo>
                  <a:lnTo>
                    <a:pt x="24" y="49"/>
                  </a:lnTo>
                  <a:lnTo>
                    <a:pt x="24" y="47"/>
                  </a:lnTo>
                  <a:lnTo>
                    <a:pt x="24" y="45"/>
                  </a:lnTo>
                  <a:lnTo>
                    <a:pt x="24" y="43"/>
                  </a:lnTo>
                  <a:lnTo>
                    <a:pt x="26" y="43"/>
                  </a:lnTo>
                  <a:lnTo>
                    <a:pt x="26" y="41"/>
                  </a:lnTo>
                  <a:lnTo>
                    <a:pt x="26" y="38"/>
                  </a:lnTo>
                  <a:lnTo>
                    <a:pt x="26" y="36"/>
                  </a:lnTo>
                  <a:lnTo>
                    <a:pt x="28" y="36"/>
                  </a:lnTo>
                  <a:lnTo>
                    <a:pt x="28" y="34"/>
                  </a:lnTo>
                  <a:lnTo>
                    <a:pt x="28" y="32"/>
                  </a:lnTo>
                  <a:lnTo>
                    <a:pt x="26" y="32"/>
                  </a:lnTo>
                  <a:lnTo>
                    <a:pt x="26" y="32"/>
                  </a:lnTo>
                  <a:lnTo>
                    <a:pt x="28" y="32"/>
                  </a:lnTo>
                  <a:lnTo>
                    <a:pt x="28" y="30"/>
                  </a:lnTo>
                  <a:lnTo>
                    <a:pt x="26" y="30"/>
                  </a:lnTo>
                  <a:lnTo>
                    <a:pt x="26" y="28"/>
                  </a:lnTo>
                  <a:lnTo>
                    <a:pt x="26" y="26"/>
                  </a:lnTo>
                  <a:lnTo>
                    <a:pt x="26" y="24"/>
                  </a:lnTo>
                  <a:lnTo>
                    <a:pt x="24" y="24"/>
                  </a:lnTo>
                  <a:lnTo>
                    <a:pt x="26" y="24"/>
                  </a:lnTo>
                  <a:lnTo>
                    <a:pt x="24" y="24"/>
                  </a:lnTo>
                  <a:lnTo>
                    <a:pt x="26" y="24"/>
                  </a:lnTo>
                  <a:lnTo>
                    <a:pt x="24" y="24"/>
                  </a:lnTo>
                  <a:lnTo>
                    <a:pt x="26" y="24"/>
                  </a:lnTo>
                  <a:lnTo>
                    <a:pt x="26" y="22"/>
                  </a:lnTo>
                  <a:lnTo>
                    <a:pt x="26" y="20"/>
                  </a:lnTo>
                  <a:lnTo>
                    <a:pt x="26" y="18"/>
                  </a:lnTo>
                  <a:lnTo>
                    <a:pt x="28" y="18"/>
                  </a:lnTo>
                  <a:lnTo>
                    <a:pt x="28" y="16"/>
                  </a:lnTo>
                  <a:lnTo>
                    <a:pt x="28" y="14"/>
                  </a:lnTo>
                  <a:lnTo>
                    <a:pt x="28" y="12"/>
                  </a:lnTo>
                  <a:lnTo>
                    <a:pt x="28" y="12"/>
                  </a:lnTo>
                  <a:lnTo>
                    <a:pt x="28" y="12"/>
                  </a:lnTo>
                  <a:lnTo>
                    <a:pt x="28" y="12"/>
                  </a:lnTo>
                  <a:lnTo>
                    <a:pt x="28" y="12"/>
                  </a:lnTo>
                  <a:lnTo>
                    <a:pt x="28" y="10"/>
                  </a:lnTo>
                  <a:lnTo>
                    <a:pt x="28" y="10"/>
                  </a:lnTo>
                  <a:lnTo>
                    <a:pt x="30" y="10"/>
                  </a:lnTo>
                  <a:lnTo>
                    <a:pt x="30" y="8"/>
                  </a:lnTo>
                  <a:lnTo>
                    <a:pt x="32" y="8"/>
                  </a:lnTo>
                  <a:lnTo>
                    <a:pt x="32" y="6"/>
                  </a:lnTo>
                  <a:lnTo>
                    <a:pt x="34" y="6"/>
                  </a:lnTo>
                  <a:lnTo>
                    <a:pt x="34" y="4"/>
                  </a:lnTo>
                  <a:lnTo>
                    <a:pt x="32" y="4"/>
                  </a:lnTo>
                  <a:lnTo>
                    <a:pt x="32" y="2"/>
                  </a:lnTo>
                  <a:lnTo>
                    <a:pt x="32" y="0"/>
                  </a:lnTo>
                  <a:lnTo>
                    <a:pt x="34" y="0"/>
                  </a:lnTo>
                  <a:lnTo>
                    <a:pt x="34" y="2"/>
                  </a:lnTo>
                  <a:lnTo>
                    <a:pt x="34" y="0"/>
                  </a:lnTo>
                  <a:lnTo>
                    <a:pt x="34" y="2"/>
                  </a:lnTo>
                  <a:lnTo>
                    <a:pt x="36" y="2"/>
                  </a:lnTo>
                  <a:lnTo>
                    <a:pt x="36" y="4"/>
                  </a:lnTo>
                  <a:lnTo>
                    <a:pt x="38" y="4"/>
                  </a:lnTo>
                  <a:lnTo>
                    <a:pt x="38" y="6"/>
                  </a:lnTo>
                  <a:lnTo>
                    <a:pt x="38" y="8"/>
                  </a:lnTo>
                  <a:lnTo>
                    <a:pt x="40" y="8"/>
                  </a:lnTo>
                  <a:lnTo>
                    <a:pt x="40" y="10"/>
                  </a:lnTo>
                  <a:lnTo>
                    <a:pt x="40" y="12"/>
                  </a:lnTo>
                  <a:lnTo>
                    <a:pt x="42" y="12"/>
                  </a:lnTo>
                  <a:lnTo>
                    <a:pt x="42" y="14"/>
                  </a:lnTo>
                  <a:lnTo>
                    <a:pt x="44" y="14"/>
                  </a:lnTo>
                  <a:lnTo>
                    <a:pt x="44" y="16"/>
                  </a:lnTo>
                  <a:lnTo>
                    <a:pt x="46" y="16"/>
                  </a:lnTo>
                  <a:lnTo>
                    <a:pt x="46" y="18"/>
                  </a:lnTo>
                  <a:lnTo>
                    <a:pt x="48" y="18"/>
                  </a:lnTo>
                  <a:lnTo>
                    <a:pt x="48" y="20"/>
                  </a:lnTo>
                  <a:lnTo>
                    <a:pt x="48" y="22"/>
                  </a:lnTo>
                  <a:lnTo>
                    <a:pt x="50" y="22"/>
                  </a:lnTo>
                  <a:lnTo>
                    <a:pt x="50" y="24"/>
                  </a:lnTo>
                  <a:lnTo>
                    <a:pt x="52" y="24"/>
                  </a:lnTo>
                  <a:lnTo>
                    <a:pt x="52" y="26"/>
                  </a:lnTo>
                  <a:lnTo>
                    <a:pt x="54" y="26"/>
                  </a:lnTo>
                  <a:lnTo>
                    <a:pt x="56" y="26"/>
                  </a:lnTo>
                  <a:lnTo>
                    <a:pt x="56" y="28"/>
                  </a:lnTo>
                  <a:lnTo>
                    <a:pt x="58" y="28"/>
                  </a:lnTo>
                  <a:lnTo>
                    <a:pt x="60" y="28"/>
                  </a:lnTo>
                  <a:lnTo>
                    <a:pt x="60" y="30"/>
                  </a:lnTo>
                  <a:lnTo>
                    <a:pt x="60" y="32"/>
                  </a:lnTo>
                  <a:lnTo>
                    <a:pt x="62" y="32"/>
                  </a:lnTo>
                  <a:lnTo>
                    <a:pt x="64" y="32"/>
                  </a:lnTo>
                  <a:lnTo>
                    <a:pt x="64" y="32"/>
                  </a:lnTo>
                  <a:lnTo>
                    <a:pt x="66" y="32"/>
                  </a:lnTo>
                  <a:lnTo>
                    <a:pt x="68" y="32"/>
                  </a:lnTo>
                  <a:lnTo>
                    <a:pt x="66" y="32"/>
                  </a:lnTo>
                  <a:lnTo>
                    <a:pt x="66" y="34"/>
                  </a:lnTo>
                  <a:lnTo>
                    <a:pt x="68" y="34"/>
                  </a:lnTo>
                  <a:lnTo>
                    <a:pt x="68" y="36"/>
                  </a:lnTo>
                  <a:lnTo>
                    <a:pt x="70" y="36"/>
                  </a:lnTo>
                  <a:lnTo>
                    <a:pt x="72" y="36"/>
                  </a:lnTo>
                  <a:lnTo>
                    <a:pt x="74" y="36"/>
                  </a:lnTo>
                  <a:lnTo>
                    <a:pt x="76" y="36"/>
                  </a:lnTo>
                  <a:lnTo>
                    <a:pt x="76" y="36"/>
                  </a:lnTo>
                  <a:lnTo>
                    <a:pt x="76" y="36"/>
                  </a:lnTo>
                  <a:lnTo>
                    <a:pt x="74" y="36"/>
                  </a:lnTo>
                  <a:lnTo>
                    <a:pt x="76" y="36"/>
                  </a:lnTo>
                  <a:lnTo>
                    <a:pt x="76" y="38"/>
                  </a:lnTo>
                  <a:lnTo>
                    <a:pt x="76" y="38"/>
                  </a:lnTo>
                  <a:lnTo>
                    <a:pt x="76" y="41"/>
                  </a:lnTo>
                  <a:lnTo>
                    <a:pt x="76" y="43"/>
                  </a:lnTo>
                  <a:lnTo>
                    <a:pt x="76" y="41"/>
                  </a:lnTo>
                  <a:lnTo>
                    <a:pt x="76" y="43"/>
                  </a:lnTo>
                  <a:lnTo>
                    <a:pt x="76" y="41"/>
                  </a:lnTo>
                  <a:lnTo>
                    <a:pt x="76" y="43"/>
                  </a:lnTo>
                  <a:lnTo>
                    <a:pt x="76" y="43"/>
                  </a:lnTo>
                  <a:lnTo>
                    <a:pt x="76" y="43"/>
                  </a:lnTo>
                  <a:lnTo>
                    <a:pt x="76" y="43"/>
                  </a:lnTo>
                  <a:lnTo>
                    <a:pt x="76" y="45"/>
                  </a:lnTo>
                  <a:lnTo>
                    <a:pt x="76" y="45"/>
                  </a:lnTo>
                  <a:lnTo>
                    <a:pt x="76" y="43"/>
                  </a:lnTo>
                  <a:lnTo>
                    <a:pt x="78" y="43"/>
                  </a:lnTo>
                  <a:lnTo>
                    <a:pt x="80" y="43"/>
                  </a:lnTo>
                  <a:lnTo>
                    <a:pt x="80" y="45"/>
                  </a:lnTo>
                  <a:lnTo>
                    <a:pt x="78" y="45"/>
                  </a:lnTo>
                  <a:lnTo>
                    <a:pt x="78" y="47"/>
                  </a:lnTo>
                  <a:lnTo>
                    <a:pt x="80" y="47"/>
                  </a:lnTo>
                  <a:lnTo>
                    <a:pt x="80" y="49"/>
                  </a:lnTo>
                  <a:lnTo>
                    <a:pt x="78" y="49"/>
                  </a:lnTo>
                  <a:lnTo>
                    <a:pt x="80" y="49"/>
                  </a:lnTo>
                  <a:lnTo>
                    <a:pt x="80" y="47"/>
                  </a:lnTo>
                  <a:lnTo>
                    <a:pt x="82" y="47"/>
                  </a:lnTo>
                  <a:lnTo>
                    <a:pt x="80" y="47"/>
                  </a:lnTo>
                  <a:lnTo>
                    <a:pt x="80" y="45"/>
                  </a:lnTo>
                  <a:lnTo>
                    <a:pt x="80" y="43"/>
                  </a:lnTo>
                  <a:lnTo>
                    <a:pt x="82" y="43"/>
                  </a:lnTo>
                  <a:lnTo>
                    <a:pt x="84" y="43"/>
                  </a:lnTo>
                  <a:lnTo>
                    <a:pt x="86" y="43"/>
                  </a:lnTo>
                  <a:lnTo>
                    <a:pt x="86" y="45"/>
                  </a:lnTo>
                  <a:lnTo>
                    <a:pt x="84" y="45"/>
                  </a:lnTo>
                  <a:lnTo>
                    <a:pt x="82" y="45"/>
                  </a:lnTo>
                  <a:lnTo>
                    <a:pt x="82" y="47"/>
                  </a:lnTo>
                  <a:lnTo>
                    <a:pt x="84" y="47"/>
                  </a:lnTo>
                  <a:lnTo>
                    <a:pt x="82" y="47"/>
                  </a:lnTo>
                  <a:lnTo>
                    <a:pt x="84" y="47"/>
                  </a:lnTo>
                  <a:lnTo>
                    <a:pt x="84" y="49"/>
                  </a:lnTo>
                  <a:lnTo>
                    <a:pt x="82" y="49"/>
                  </a:lnTo>
                  <a:lnTo>
                    <a:pt x="84" y="49"/>
                  </a:lnTo>
                  <a:lnTo>
                    <a:pt x="82" y="49"/>
                  </a:lnTo>
                  <a:lnTo>
                    <a:pt x="84" y="49"/>
                  </a:lnTo>
                  <a:lnTo>
                    <a:pt x="82" y="49"/>
                  </a:lnTo>
                  <a:lnTo>
                    <a:pt x="84" y="49"/>
                  </a:lnTo>
                  <a:lnTo>
                    <a:pt x="84" y="51"/>
                  </a:lnTo>
                  <a:lnTo>
                    <a:pt x="82" y="51"/>
                  </a:lnTo>
                  <a:lnTo>
                    <a:pt x="82" y="53"/>
                  </a:lnTo>
                  <a:lnTo>
                    <a:pt x="84" y="53"/>
                  </a:lnTo>
                  <a:lnTo>
                    <a:pt x="84" y="55"/>
                  </a:lnTo>
                  <a:lnTo>
                    <a:pt x="82" y="55"/>
                  </a:lnTo>
                  <a:lnTo>
                    <a:pt x="82" y="57"/>
                  </a:lnTo>
                  <a:lnTo>
                    <a:pt x="82" y="55"/>
                  </a:lnTo>
                  <a:lnTo>
                    <a:pt x="84" y="55"/>
                  </a:lnTo>
                  <a:lnTo>
                    <a:pt x="84" y="57"/>
                  </a:lnTo>
                  <a:lnTo>
                    <a:pt x="82" y="57"/>
                  </a:lnTo>
                  <a:lnTo>
                    <a:pt x="84" y="57"/>
                  </a:lnTo>
                  <a:lnTo>
                    <a:pt x="82" y="57"/>
                  </a:lnTo>
                  <a:lnTo>
                    <a:pt x="84" y="57"/>
                  </a:lnTo>
                  <a:lnTo>
                    <a:pt x="84" y="59"/>
                  </a:lnTo>
                  <a:lnTo>
                    <a:pt x="82" y="59"/>
                  </a:lnTo>
                  <a:lnTo>
                    <a:pt x="80" y="59"/>
                  </a:lnTo>
                  <a:lnTo>
                    <a:pt x="80" y="61"/>
                  </a:lnTo>
                  <a:lnTo>
                    <a:pt x="78" y="61"/>
                  </a:lnTo>
                  <a:lnTo>
                    <a:pt x="78" y="59"/>
                  </a:lnTo>
                  <a:lnTo>
                    <a:pt x="78" y="61"/>
                  </a:lnTo>
                  <a:lnTo>
                    <a:pt x="76" y="61"/>
                  </a:lnTo>
                  <a:lnTo>
                    <a:pt x="76" y="63"/>
                  </a:lnTo>
                  <a:lnTo>
                    <a:pt x="76" y="63"/>
                  </a:lnTo>
                  <a:lnTo>
                    <a:pt x="76" y="65"/>
                  </a:lnTo>
                  <a:lnTo>
                    <a:pt x="74" y="65"/>
                  </a:lnTo>
                  <a:lnTo>
                    <a:pt x="74" y="63"/>
                  </a:lnTo>
                  <a:lnTo>
                    <a:pt x="76" y="63"/>
                  </a:lnTo>
                  <a:lnTo>
                    <a:pt x="76" y="61"/>
                  </a:lnTo>
                  <a:lnTo>
                    <a:pt x="76" y="61"/>
                  </a:lnTo>
                  <a:lnTo>
                    <a:pt x="76" y="59"/>
                  </a:lnTo>
                  <a:lnTo>
                    <a:pt x="76" y="57"/>
                  </a:lnTo>
                  <a:lnTo>
                    <a:pt x="76" y="59"/>
                  </a:lnTo>
                  <a:lnTo>
                    <a:pt x="76" y="59"/>
                  </a:lnTo>
                  <a:lnTo>
                    <a:pt x="76" y="57"/>
                  </a:lnTo>
                  <a:lnTo>
                    <a:pt x="76" y="59"/>
                  </a:lnTo>
                  <a:lnTo>
                    <a:pt x="76" y="61"/>
                  </a:lnTo>
                  <a:lnTo>
                    <a:pt x="74" y="61"/>
                  </a:lnTo>
                  <a:lnTo>
                    <a:pt x="72" y="61"/>
                  </a:lnTo>
                  <a:lnTo>
                    <a:pt x="72" y="63"/>
                  </a:lnTo>
                  <a:lnTo>
                    <a:pt x="72" y="65"/>
                  </a:lnTo>
                  <a:lnTo>
                    <a:pt x="70" y="65"/>
                  </a:lnTo>
                  <a:lnTo>
                    <a:pt x="68" y="65"/>
                  </a:lnTo>
                  <a:lnTo>
                    <a:pt x="66" y="65"/>
                  </a:lnTo>
                  <a:lnTo>
                    <a:pt x="66" y="67"/>
                  </a:lnTo>
                  <a:lnTo>
                    <a:pt x="64" y="67"/>
                  </a:lnTo>
                  <a:lnTo>
                    <a:pt x="64" y="69"/>
                  </a:lnTo>
                  <a:lnTo>
                    <a:pt x="62" y="69"/>
                  </a:lnTo>
                  <a:lnTo>
                    <a:pt x="60" y="69"/>
                  </a:lnTo>
                  <a:lnTo>
                    <a:pt x="60" y="71"/>
                  </a:lnTo>
                  <a:lnTo>
                    <a:pt x="58" y="71"/>
                  </a:lnTo>
                  <a:lnTo>
                    <a:pt x="58" y="73"/>
                  </a:lnTo>
                  <a:lnTo>
                    <a:pt x="56" y="73"/>
                  </a:lnTo>
                  <a:lnTo>
                    <a:pt x="56" y="75"/>
                  </a:lnTo>
                  <a:lnTo>
                    <a:pt x="58" y="75"/>
                  </a:lnTo>
                  <a:lnTo>
                    <a:pt x="58" y="77"/>
                  </a:lnTo>
                  <a:lnTo>
                    <a:pt x="60" y="77"/>
                  </a:lnTo>
                  <a:lnTo>
                    <a:pt x="62" y="77"/>
                  </a:lnTo>
                  <a:lnTo>
                    <a:pt x="64" y="77"/>
                  </a:lnTo>
                  <a:lnTo>
                    <a:pt x="66" y="77"/>
                  </a:lnTo>
                  <a:lnTo>
                    <a:pt x="66" y="75"/>
                  </a:lnTo>
                  <a:lnTo>
                    <a:pt x="68" y="75"/>
                  </a:lnTo>
                  <a:lnTo>
                    <a:pt x="66" y="75"/>
                  </a:lnTo>
                  <a:lnTo>
                    <a:pt x="64" y="75"/>
                  </a:lnTo>
                  <a:lnTo>
                    <a:pt x="62" y="75"/>
                  </a:lnTo>
                  <a:lnTo>
                    <a:pt x="60" y="75"/>
                  </a:lnTo>
                  <a:lnTo>
                    <a:pt x="60" y="77"/>
                  </a:lnTo>
                  <a:lnTo>
                    <a:pt x="60" y="75"/>
                  </a:lnTo>
                  <a:lnTo>
                    <a:pt x="58" y="75"/>
                  </a:lnTo>
                  <a:lnTo>
                    <a:pt x="58" y="73"/>
                  </a:lnTo>
                  <a:lnTo>
                    <a:pt x="60" y="73"/>
                  </a:lnTo>
                  <a:lnTo>
                    <a:pt x="60" y="71"/>
                  </a:lnTo>
                  <a:lnTo>
                    <a:pt x="62" y="71"/>
                  </a:lnTo>
                  <a:lnTo>
                    <a:pt x="62" y="69"/>
                  </a:lnTo>
                  <a:lnTo>
                    <a:pt x="64" y="69"/>
                  </a:lnTo>
                  <a:lnTo>
                    <a:pt x="66" y="69"/>
                  </a:lnTo>
                  <a:lnTo>
                    <a:pt x="66" y="67"/>
                  </a:lnTo>
                  <a:lnTo>
                    <a:pt x="68" y="67"/>
                  </a:lnTo>
                  <a:lnTo>
                    <a:pt x="70" y="67"/>
                  </a:lnTo>
                  <a:lnTo>
                    <a:pt x="70" y="65"/>
                  </a:lnTo>
                  <a:lnTo>
                    <a:pt x="70" y="67"/>
                  </a:lnTo>
                  <a:lnTo>
                    <a:pt x="70" y="65"/>
                  </a:lnTo>
                  <a:lnTo>
                    <a:pt x="72" y="65"/>
                  </a:lnTo>
                  <a:lnTo>
                    <a:pt x="72" y="67"/>
                  </a:lnTo>
                  <a:lnTo>
                    <a:pt x="72" y="65"/>
                  </a:lnTo>
                  <a:lnTo>
                    <a:pt x="74" y="65"/>
                  </a:lnTo>
                  <a:lnTo>
                    <a:pt x="72" y="67"/>
                  </a:lnTo>
                  <a:lnTo>
                    <a:pt x="74" y="67"/>
                  </a:lnTo>
                  <a:lnTo>
                    <a:pt x="76" y="67"/>
                  </a:lnTo>
                  <a:lnTo>
                    <a:pt x="76" y="65"/>
                  </a:lnTo>
                  <a:lnTo>
                    <a:pt x="76" y="65"/>
                  </a:lnTo>
                  <a:lnTo>
                    <a:pt x="76" y="63"/>
                  </a:lnTo>
                  <a:lnTo>
                    <a:pt x="78" y="63"/>
                  </a:lnTo>
                  <a:lnTo>
                    <a:pt x="78" y="61"/>
                  </a:lnTo>
                  <a:lnTo>
                    <a:pt x="80" y="61"/>
                  </a:lnTo>
                  <a:lnTo>
                    <a:pt x="82" y="61"/>
                  </a:lnTo>
                  <a:lnTo>
                    <a:pt x="84" y="61"/>
                  </a:lnTo>
                  <a:lnTo>
                    <a:pt x="84" y="59"/>
                  </a:lnTo>
                  <a:lnTo>
                    <a:pt x="84" y="61"/>
                  </a:lnTo>
                  <a:lnTo>
                    <a:pt x="84" y="63"/>
                  </a:lnTo>
                  <a:lnTo>
                    <a:pt x="82" y="63"/>
                  </a:lnTo>
                  <a:lnTo>
                    <a:pt x="84" y="63"/>
                  </a:lnTo>
                  <a:lnTo>
                    <a:pt x="84" y="61"/>
                  </a:lnTo>
                  <a:lnTo>
                    <a:pt x="84" y="59"/>
                  </a:lnTo>
                  <a:lnTo>
                    <a:pt x="86" y="59"/>
                  </a:lnTo>
                  <a:lnTo>
                    <a:pt x="84" y="59"/>
                  </a:lnTo>
                  <a:lnTo>
                    <a:pt x="86" y="57"/>
                  </a:lnTo>
                  <a:lnTo>
                    <a:pt x="84" y="57"/>
                  </a:lnTo>
                  <a:lnTo>
                    <a:pt x="86" y="57"/>
                  </a:lnTo>
                  <a:lnTo>
                    <a:pt x="86" y="59"/>
                  </a:lnTo>
                  <a:lnTo>
                    <a:pt x="86" y="57"/>
                  </a:lnTo>
                  <a:lnTo>
                    <a:pt x="84" y="57"/>
                  </a:lnTo>
                  <a:lnTo>
                    <a:pt x="84" y="55"/>
                  </a:lnTo>
                  <a:lnTo>
                    <a:pt x="86" y="55"/>
                  </a:lnTo>
                  <a:lnTo>
                    <a:pt x="86" y="57"/>
                  </a:lnTo>
                  <a:lnTo>
                    <a:pt x="86" y="59"/>
                  </a:lnTo>
                  <a:lnTo>
                    <a:pt x="88" y="59"/>
                  </a:lnTo>
                  <a:lnTo>
                    <a:pt x="86" y="59"/>
                  </a:lnTo>
                  <a:lnTo>
                    <a:pt x="86" y="61"/>
                  </a:lnTo>
                  <a:lnTo>
                    <a:pt x="86" y="63"/>
                  </a:lnTo>
                  <a:lnTo>
                    <a:pt x="86" y="65"/>
                  </a:lnTo>
                  <a:lnTo>
                    <a:pt x="84" y="65"/>
                  </a:lnTo>
                  <a:lnTo>
                    <a:pt x="86" y="65"/>
                  </a:lnTo>
                  <a:lnTo>
                    <a:pt x="86" y="67"/>
                  </a:lnTo>
                  <a:lnTo>
                    <a:pt x="84" y="67"/>
                  </a:lnTo>
                  <a:lnTo>
                    <a:pt x="82" y="67"/>
                  </a:lnTo>
                  <a:lnTo>
                    <a:pt x="82" y="65"/>
                  </a:lnTo>
                  <a:lnTo>
                    <a:pt x="82" y="67"/>
                  </a:lnTo>
                  <a:lnTo>
                    <a:pt x="82" y="65"/>
                  </a:lnTo>
                  <a:lnTo>
                    <a:pt x="82" y="67"/>
                  </a:lnTo>
                  <a:lnTo>
                    <a:pt x="80" y="67"/>
                  </a:lnTo>
                  <a:lnTo>
                    <a:pt x="80" y="69"/>
                  </a:lnTo>
                  <a:lnTo>
                    <a:pt x="80" y="67"/>
                  </a:lnTo>
                  <a:lnTo>
                    <a:pt x="78" y="67"/>
                  </a:lnTo>
                  <a:lnTo>
                    <a:pt x="80" y="67"/>
                  </a:lnTo>
                  <a:lnTo>
                    <a:pt x="80" y="65"/>
                  </a:lnTo>
                  <a:lnTo>
                    <a:pt x="78" y="65"/>
                  </a:lnTo>
                  <a:lnTo>
                    <a:pt x="80" y="65"/>
                  </a:lnTo>
                  <a:lnTo>
                    <a:pt x="78" y="65"/>
                  </a:lnTo>
                  <a:lnTo>
                    <a:pt x="78" y="67"/>
                  </a:lnTo>
                  <a:lnTo>
                    <a:pt x="78" y="65"/>
                  </a:lnTo>
                  <a:lnTo>
                    <a:pt x="78" y="67"/>
                  </a:lnTo>
                  <a:lnTo>
                    <a:pt x="80" y="67"/>
                  </a:lnTo>
                  <a:lnTo>
                    <a:pt x="78" y="67"/>
                  </a:lnTo>
                  <a:lnTo>
                    <a:pt x="78" y="69"/>
                  </a:lnTo>
                  <a:lnTo>
                    <a:pt x="78" y="71"/>
                  </a:lnTo>
                  <a:lnTo>
                    <a:pt x="78" y="73"/>
                  </a:lnTo>
                  <a:lnTo>
                    <a:pt x="76" y="73"/>
                  </a:lnTo>
                  <a:lnTo>
                    <a:pt x="76" y="71"/>
                  </a:lnTo>
                  <a:lnTo>
                    <a:pt x="76" y="69"/>
                  </a:lnTo>
                  <a:lnTo>
                    <a:pt x="76" y="69"/>
                  </a:lnTo>
                  <a:lnTo>
                    <a:pt x="76" y="71"/>
                  </a:lnTo>
                  <a:lnTo>
                    <a:pt x="76" y="73"/>
                  </a:lnTo>
                  <a:lnTo>
                    <a:pt x="76" y="71"/>
                  </a:lnTo>
                  <a:lnTo>
                    <a:pt x="76" y="73"/>
                  </a:lnTo>
                  <a:lnTo>
                    <a:pt x="76" y="71"/>
                  </a:lnTo>
                  <a:lnTo>
                    <a:pt x="76" y="71"/>
                  </a:lnTo>
                  <a:lnTo>
                    <a:pt x="76" y="71"/>
                  </a:lnTo>
                  <a:lnTo>
                    <a:pt x="76" y="73"/>
                  </a:lnTo>
                  <a:lnTo>
                    <a:pt x="76" y="71"/>
                  </a:lnTo>
                  <a:lnTo>
                    <a:pt x="76" y="71"/>
                  </a:lnTo>
                  <a:lnTo>
                    <a:pt x="76" y="73"/>
                  </a:lnTo>
                  <a:lnTo>
                    <a:pt x="76" y="73"/>
                  </a:lnTo>
                  <a:lnTo>
                    <a:pt x="74" y="73"/>
                  </a:lnTo>
                  <a:lnTo>
                    <a:pt x="74" y="75"/>
                  </a:lnTo>
                  <a:lnTo>
                    <a:pt x="74" y="73"/>
                  </a:lnTo>
                  <a:lnTo>
                    <a:pt x="74" y="75"/>
                  </a:lnTo>
                  <a:lnTo>
                    <a:pt x="76" y="75"/>
                  </a:lnTo>
                  <a:lnTo>
                    <a:pt x="76" y="73"/>
                  </a:lnTo>
                  <a:lnTo>
                    <a:pt x="76" y="75"/>
                  </a:lnTo>
                  <a:lnTo>
                    <a:pt x="76" y="75"/>
                  </a:lnTo>
                  <a:lnTo>
                    <a:pt x="76" y="73"/>
                  </a:lnTo>
                  <a:lnTo>
                    <a:pt x="78" y="73"/>
                  </a:lnTo>
                  <a:lnTo>
                    <a:pt x="78" y="75"/>
                  </a:lnTo>
                  <a:lnTo>
                    <a:pt x="78" y="77"/>
                  </a:lnTo>
                  <a:lnTo>
                    <a:pt x="76" y="77"/>
                  </a:lnTo>
                  <a:lnTo>
                    <a:pt x="78" y="77"/>
                  </a:lnTo>
                  <a:lnTo>
                    <a:pt x="78" y="79"/>
                  </a:lnTo>
                  <a:lnTo>
                    <a:pt x="76" y="79"/>
                  </a:lnTo>
                  <a:lnTo>
                    <a:pt x="76" y="81"/>
                  </a:lnTo>
                  <a:lnTo>
                    <a:pt x="76" y="81"/>
                  </a:lnTo>
                  <a:lnTo>
                    <a:pt x="76" y="81"/>
                  </a:lnTo>
                  <a:lnTo>
                    <a:pt x="74" y="83"/>
                  </a:lnTo>
                  <a:lnTo>
                    <a:pt x="72" y="83"/>
                  </a:lnTo>
                  <a:lnTo>
                    <a:pt x="74" y="83"/>
                  </a:lnTo>
                  <a:lnTo>
                    <a:pt x="74" y="85"/>
                  </a:lnTo>
                  <a:lnTo>
                    <a:pt x="72" y="85"/>
                  </a:lnTo>
                  <a:lnTo>
                    <a:pt x="72" y="87"/>
                  </a:lnTo>
                  <a:lnTo>
                    <a:pt x="70" y="87"/>
                  </a:lnTo>
                  <a:lnTo>
                    <a:pt x="70" y="85"/>
                  </a:lnTo>
                  <a:lnTo>
                    <a:pt x="72" y="85"/>
                  </a:lnTo>
                  <a:lnTo>
                    <a:pt x="72" y="83"/>
                  </a:lnTo>
                  <a:lnTo>
                    <a:pt x="72" y="85"/>
                  </a:lnTo>
                  <a:lnTo>
                    <a:pt x="72" y="83"/>
                  </a:lnTo>
                  <a:lnTo>
                    <a:pt x="72" y="85"/>
                  </a:lnTo>
                  <a:lnTo>
                    <a:pt x="70" y="85"/>
                  </a:lnTo>
                  <a:lnTo>
                    <a:pt x="70" y="83"/>
                  </a:lnTo>
                  <a:lnTo>
                    <a:pt x="68" y="83"/>
                  </a:lnTo>
                  <a:lnTo>
                    <a:pt x="70" y="83"/>
                  </a:lnTo>
                  <a:lnTo>
                    <a:pt x="68" y="83"/>
                  </a:lnTo>
                  <a:lnTo>
                    <a:pt x="70" y="83"/>
                  </a:lnTo>
                  <a:lnTo>
                    <a:pt x="70" y="81"/>
                  </a:lnTo>
                  <a:lnTo>
                    <a:pt x="70" y="83"/>
                  </a:lnTo>
                  <a:lnTo>
                    <a:pt x="70" y="81"/>
                  </a:lnTo>
                  <a:lnTo>
                    <a:pt x="70" y="83"/>
                  </a:lnTo>
                  <a:lnTo>
                    <a:pt x="70" y="81"/>
                  </a:lnTo>
                  <a:lnTo>
                    <a:pt x="72" y="81"/>
                  </a:lnTo>
                  <a:lnTo>
                    <a:pt x="72" y="81"/>
                  </a:lnTo>
                  <a:lnTo>
                    <a:pt x="74" y="81"/>
                  </a:lnTo>
                  <a:lnTo>
                    <a:pt x="72" y="81"/>
                  </a:lnTo>
                  <a:lnTo>
                    <a:pt x="70" y="81"/>
                  </a:lnTo>
                  <a:lnTo>
                    <a:pt x="70" y="81"/>
                  </a:lnTo>
                  <a:lnTo>
                    <a:pt x="68" y="81"/>
                  </a:lnTo>
                  <a:lnTo>
                    <a:pt x="68" y="81"/>
                  </a:lnTo>
                  <a:lnTo>
                    <a:pt x="68" y="81"/>
                  </a:lnTo>
                  <a:lnTo>
                    <a:pt x="66" y="81"/>
                  </a:lnTo>
                  <a:lnTo>
                    <a:pt x="66" y="83"/>
                  </a:lnTo>
                  <a:lnTo>
                    <a:pt x="66" y="85"/>
                  </a:lnTo>
                  <a:lnTo>
                    <a:pt x="66" y="87"/>
                  </a:lnTo>
                  <a:lnTo>
                    <a:pt x="64" y="87"/>
                  </a:lnTo>
                  <a:lnTo>
                    <a:pt x="64" y="85"/>
                  </a:lnTo>
                  <a:lnTo>
                    <a:pt x="66" y="85"/>
                  </a:lnTo>
                  <a:lnTo>
                    <a:pt x="64" y="85"/>
                  </a:lnTo>
                  <a:lnTo>
                    <a:pt x="64" y="87"/>
                  </a:lnTo>
                  <a:lnTo>
                    <a:pt x="62" y="87"/>
                  </a:lnTo>
                  <a:lnTo>
                    <a:pt x="64" y="85"/>
                  </a:lnTo>
                  <a:lnTo>
                    <a:pt x="64" y="83"/>
                  </a:lnTo>
                  <a:lnTo>
                    <a:pt x="62" y="83"/>
                  </a:lnTo>
                  <a:lnTo>
                    <a:pt x="64" y="83"/>
                  </a:lnTo>
                  <a:lnTo>
                    <a:pt x="64" y="81"/>
                  </a:lnTo>
                  <a:lnTo>
                    <a:pt x="66" y="81"/>
                  </a:lnTo>
                  <a:lnTo>
                    <a:pt x="66" y="81"/>
                  </a:lnTo>
                  <a:lnTo>
                    <a:pt x="68" y="81"/>
                  </a:lnTo>
                  <a:lnTo>
                    <a:pt x="66" y="81"/>
                  </a:lnTo>
                  <a:lnTo>
                    <a:pt x="68" y="81"/>
                  </a:lnTo>
                  <a:lnTo>
                    <a:pt x="68" y="79"/>
                  </a:lnTo>
                  <a:lnTo>
                    <a:pt x="68" y="81"/>
                  </a:lnTo>
                  <a:lnTo>
                    <a:pt x="66" y="81"/>
                  </a:lnTo>
                  <a:lnTo>
                    <a:pt x="66" y="79"/>
                  </a:lnTo>
                  <a:lnTo>
                    <a:pt x="66" y="81"/>
                  </a:lnTo>
                  <a:lnTo>
                    <a:pt x="66" y="79"/>
                  </a:lnTo>
                  <a:lnTo>
                    <a:pt x="68" y="79"/>
                  </a:lnTo>
                  <a:lnTo>
                    <a:pt x="68" y="77"/>
                  </a:lnTo>
                  <a:lnTo>
                    <a:pt x="68" y="79"/>
                  </a:lnTo>
                  <a:lnTo>
                    <a:pt x="66" y="79"/>
                  </a:lnTo>
                  <a:lnTo>
                    <a:pt x="66" y="81"/>
                  </a:lnTo>
                  <a:lnTo>
                    <a:pt x="64" y="81"/>
                  </a:lnTo>
                  <a:lnTo>
                    <a:pt x="62" y="81"/>
                  </a:lnTo>
                  <a:lnTo>
                    <a:pt x="60" y="81"/>
                  </a:lnTo>
                  <a:lnTo>
                    <a:pt x="60" y="81"/>
                  </a:lnTo>
                  <a:lnTo>
                    <a:pt x="60" y="83"/>
                  </a:lnTo>
                  <a:lnTo>
                    <a:pt x="60" y="81"/>
                  </a:lnTo>
                  <a:lnTo>
                    <a:pt x="60" y="83"/>
                  </a:lnTo>
                  <a:lnTo>
                    <a:pt x="58" y="83"/>
                  </a:lnTo>
                  <a:lnTo>
                    <a:pt x="56" y="83"/>
                  </a:lnTo>
                  <a:lnTo>
                    <a:pt x="56" y="81"/>
                  </a:lnTo>
                  <a:lnTo>
                    <a:pt x="54" y="81"/>
                  </a:lnTo>
                  <a:lnTo>
                    <a:pt x="56" y="81"/>
                  </a:lnTo>
                  <a:lnTo>
                    <a:pt x="56" y="81"/>
                  </a:lnTo>
                  <a:lnTo>
                    <a:pt x="58" y="81"/>
                  </a:lnTo>
                  <a:lnTo>
                    <a:pt x="56" y="81"/>
                  </a:lnTo>
                  <a:lnTo>
                    <a:pt x="54" y="81"/>
                  </a:lnTo>
                  <a:lnTo>
                    <a:pt x="54" y="81"/>
                  </a:lnTo>
                  <a:lnTo>
                    <a:pt x="56" y="81"/>
                  </a:lnTo>
                  <a:lnTo>
                    <a:pt x="56" y="83"/>
                  </a:lnTo>
                  <a:lnTo>
                    <a:pt x="58" y="83"/>
                  </a:lnTo>
                  <a:lnTo>
                    <a:pt x="58" y="85"/>
                  </a:lnTo>
                  <a:lnTo>
                    <a:pt x="56" y="85"/>
                  </a:lnTo>
                  <a:lnTo>
                    <a:pt x="56" y="83"/>
                  </a:lnTo>
                  <a:lnTo>
                    <a:pt x="56" y="85"/>
                  </a:lnTo>
                  <a:lnTo>
                    <a:pt x="54" y="83"/>
                  </a:lnTo>
                  <a:lnTo>
                    <a:pt x="54" y="85"/>
                  </a:lnTo>
                  <a:lnTo>
                    <a:pt x="52" y="85"/>
                  </a:lnTo>
                  <a:lnTo>
                    <a:pt x="54" y="85"/>
                  </a:lnTo>
                  <a:lnTo>
                    <a:pt x="52" y="85"/>
                  </a:lnTo>
                  <a:lnTo>
                    <a:pt x="54" y="85"/>
                  </a:lnTo>
                  <a:lnTo>
                    <a:pt x="56" y="85"/>
                  </a:lnTo>
                  <a:lnTo>
                    <a:pt x="54" y="85"/>
                  </a:lnTo>
                  <a:lnTo>
                    <a:pt x="56" y="85"/>
                  </a:lnTo>
                  <a:lnTo>
                    <a:pt x="58" y="85"/>
                  </a:lnTo>
                  <a:lnTo>
                    <a:pt x="58" y="83"/>
                  </a:lnTo>
                  <a:lnTo>
                    <a:pt x="58" y="85"/>
                  </a:lnTo>
                  <a:lnTo>
                    <a:pt x="56" y="85"/>
                  </a:lnTo>
                  <a:lnTo>
                    <a:pt x="56" y="87"/>
                  </a:lnTo>
                  <a:lnTo>
                    <a:pt x="54" y="87"/>
                  </a:lnTo>
                  <a:lnTo>
                    <a:pt x="52" y="87"/>
                  </a:lnTo>
                  <a:lnTo>
                    <a:pt x="52" y="89"/>
                  </a:lnTo>
                  <a:lnTo>
                    <a:pt x="54" y="89"/>
                  </a:lnTo>
                  <a:lnTo>
                    <a:pt x="52" y="89"/>
                  </a:lnTo>
                  <a:lnTo>
                    <a:pt x="54" y="89"/>
                  </a:lnTo>
                  <a:lnTo>
                    <a:pt x="52" y="89"/>
                  </a:lnTo>
                  <a:lnTo>
                    <a:pt x="54" y="89"/>
                  </a:lnTo>
                  <a:lnTo>
                    <a:pt x="52" y="89"/>
                  </a:lnTo>
                  <a:lnTo>
                    <a:pt x="54" y="89"/>
                  </a:lnTo>
                  <a:lnTo>
                    <a:pt x="52" y="89"/>
                  </a:lnTo>
                  <a:lnTo>
                    <a:pt x="54" y="89"/>
                  </a:lnTo>
                  <a:lnTo>
                    <a:pt x="52" y="89"/>
                  </a:lnTo>
                  <a:lnTo>
                    <a:pt x="54" y="89"/>
                  </a:lnTo>
                  <a:lnTo>
                    <a:pt x="54" y="87"/>
                  </a:lnTo>
                  <a:lnTo>
                    <a:pt x="56" y="87"/>
                  </a:lnTo>
                  <a:lnTo>
                    <a:pt x="58" y="87"/>
                  </a:lnTo>
                  <a:lnTo>
                    <a:pt x="58" y="85"/>
                  </a:lnTo>
                  <a:lnTo>
                    <a:pt x="58" y="87"/>
                  </a:lnTo>
                  <a:lnTo>
                    <a:pt x="56" y="87"/>
                  </a:lnTo>
                  <a:lnTo>
                    <a:pt x="56" y="89"/>
                  </a:lnTo>
                  <a:lnTo>
                    <a:pt x="56" y="91"/>
                  </a:lnTo>
                  <a:lnTo>
                    <a:pt x="56" y="93"/>
                  </a:lnTo>
                  <a:lnTo>
                    <a:pt x="56" y="91"/>
                  </a:lnTo>
                  <a:lnTo>
                    <a:pt x="56" y="89"/>
                  </a:lnTo>
                  <a:lnTo>
                    <a:pt x="58" y="89"/>
                  </a:lnTo>
                  <a:lnTo>
                    <a:pt x="58" y="87"/>
                  </a:lnTo>
                  <a:lnTo>
                    <a:pt x="60" y="87"/>
                  </a:lnTo>
                  <a:lnTo>
                    <a:pt x="60" y="89"/>
                  </a:lnTo>
                  <a:lnTo>
                    <a:pt x="60" y="91"/>
                  </a:lnTo>
                  <a:lnTo>
                    <a:pt x="60" y="89"/>
                  </a:lnTo>
                  <a:lnTo>
                    <a:pt x="60" y="87"/>
                  </a:lnTo>
                  <a:lnTo>
                    <a:pt x="62" y="87"/>
                  </a:lnTo>
                  <a:lnTo>
                    <a:pt x="62" y="89"/>
                  </a:lnTo>
                  <a:lnTo>
                    <a:pt x="62" y="91"/>
                  </a:lnTo>
                  <a:lnTo>
                    <a:pt x="62" y="93"/>
                  </a:lnTo>
                  <a:lnTo>
                    <a:pt x="62" y="91"/>
                  </a:lnTo>
                  <a:lnTo>
                    <a:pt x="64" y="91"/>
                  </a:lnTo>
                  <a:lnTo>
                    <a:pt x="62" y="91"/>
                  </a:lnTo>
                  <a:lnTo>
                    <a:pt x="64" y="91"/>
                  </a:lnTo>
                  <a:lnTo>
                    <a:pt x="64" y="93"/>
                  </a:lnTo>
                  <a:lnTo>
                    <a:pt x="64" y="91"/>
                  </a:lnTo>
                  <a:lnTo>
                    <a:pt x="64" y="93"/>
                  </a:lnTo>
                  <a:lnTo>
                    <a:pt x="64" y="91"/>
                  </a:lnTo>
                  <a:lnTo>
                    <a:pt x="64" y="93"/>
                  </a:lnTo>
                  <a:lnTo>
                    <a:pt x="64" y="91"/>
                  </a:lnTo>
                  <a:lnTo>
                    <a:pt x="66" y="91"/>
                  </a:lnTo>
                  <a:lnTo>
                    <a:pt x="68" y="91"/>
                  </a:lnTo>
                  <a:lnTo>
                    <a:pt x="70" y="91"/>
                  </a:lnTo>
                  <a:lnTo>
                    <a:pt x="70" y="89"/>
                  </a:lnTo>
                  <a:lnTo>
                    <a:pt x="72" y="89"/>
                  </a:lnTo>
                  <a:lnTo>
                    <a:pt x="72" y="87"/>
                  </a:lnTo>
                  <a:lnTo>
                    <a:pt x="74" y="87"/>
                  </a:lnTo>
                  <a:lnTo>
                    <a:pt x="74" y="85"/>
                  </a:lnTo>
                  <a:lnTo>
                    <a:pt x="74" y="87"/>
                  </a:lnTo>
                  <a:lnTo>
                    <a:pt x="76" y="87"/>
                  </a:lnTo>
                  <a:lnTo>
                    <a:pt x="76" y="89"/>
                  </a:lnTo>
                  <a:lnTo>
                    <a:pt x="76" y="89"/>
                  </a:lnTo>
                  <a:lnTo>
                    <a:pt x="76" y="89"/>
                  </a:lnTo>
                  <a:lnTo>
                    <a:pt x="76" y="89"/>
                  </a:lnTo>
                  <a:lnTo>
                    <a:pt x="76" y="87"/>
                  </a:lnTo>
                  <a:lnTo>
                    <a:pt x="76" y="89"/>
                  </a:lnTo>
                  <a:lnTo>
                    <a:pt x="76" y="87"/>
                  </a:lnTo>
                  <a:lnTo>
                    <a:pt x="76" y="87"/>
                  </a:lnTo>
                  <a:lnTo>
                    <a:pt x="76" y="87"/>
                  </a:lnTo>
                  <a:lnTo>
                    <a:pt x="78" y="87"/>
                  </a:lnTo>
                  <a:lnTo>
                    <a:pt x="80" y="87"/>
                  </a:lnTo>
                  <a:lnTo>
                    <a:pt x="80" y="85"/>
                  </a:lnTo>
                  <a:lnTo>
                    <a:pt x="80" y="83"/>
                  </a:lnTo>
                  <a:lnTo>
                    <a:pt x="80" y="81"/>
                  </a:lnTo>
                  <a:lnTo>
                    <a:pt x="82" y="81"/>
                  </a:lnTo>
                  <a:lnTo>
                    <a:pt x="80" y="81"/>
                  </a:lnTo>
                  <a:lnTo>
                    <a:pt x="82" y="81"/>
                  </a:lnTo>
                  <a:lnTo>
                    <a:pt x="82" y="81"/>
                  </a:lnTo>
                  <a:lnTo>
                    <a:pt x="82" y="79"/>
                  </a:lnTo>
                  <a:lnTo>
                    <a:pt x="82" y="77"/>
                  </a:lnTo>
                  <a:lnTo>
                    <a:pt x="84" y="77"/>
                  </a:lnTo>
                  <a:lnTo>
                    <a:pt x="84" y="75"/>
                  </a:lnTo>
                  <a:lnTo>
                    <a:pt x="84" y="77"/>
                  </a:lnTo>
                  <a:lnTo>
                    <a:pt x="86" y="77"/>
                  </a:lnTo>
                  <a:lnTo>
                    <a:pt x="86" y="75"/>
                  </a:lnTo>
                  <a:lnTo>
                    <a:pt x="84" y="75"/>
                  </a:lnTo>
                  <a:lnTo>
                    <a:pt x="84" y="73"/>
                  </a:lnTo>
                  <a:lnTo>
                    <a:pt x="84" y="71"/>
                  </a:lnTo>
                  <a:lnTo>
                    <a:pt x="86" y="71"/>
                  </a:lnTo>
                  <a:lnTo>
                    <a:pt x="88" y="71"/>
                  </a:lnTo>
                  <a:lnTo>
                    <a:pt x="88" y="69"/>
                  </a:lnTo>
                  <a:lnTo>
                    <a:pt x="88" y="67"/>
                  </a:lnTo>
                  <a:lnTo>
                    <a:pt x="88" y="65"/>
                  </a:lnTo>
                  <a:lnTo>
                    <a:pt x="90" y="65"/>
                  </a:lnTo>
                  <a:lnTo>
                    <a:pt x="92" y="65"/>
                  </a:lnTo>
                  <a:lnTo>
                    <a:pt x="92" y="63"/>
                  </a:lnTo>
                  <a:lnTo>
                    <a:pt x="94" y="63"/>
                  </a:lnTo>
                  <a:lnTo>
                    <a:pt x="94" y="61"/>
                  </a:lnTo>
                  <a:lnTo>
                    <a:pt x="96" y="61"/>
                  </a:lnTo>
                  <a:lnTo>
                    <a:pt x="98" y="61"/>
                  </a:lnTo>
                  <a:lnTo>
                    <a:pt x="98" y="59"/>
                  </a:lnTo>
                  <a:lnTo>
                    <a:pt x="100" y="59"/>
                  </a:lnTo>
                  <a:lnTo>
                    <a:pt x="98" y="59"/>
                  </a:lnTo>
                  <a:lnTo>
                    <a:pt x="100" y="59"/>
                  </a:lnTo>
                  <a:lnTo>
                    <a:pt x="100" y="57"/>
                  </a:lnTo>
                  <a:lnTo>
                    <a:pt x="100" y="59"/>
                  </a:lnTo>
                  <a:lnTo>
                    <a:pt x="100" y="57"/>
                  </a:lnTo>
                  <a:lnTo>
                    <a:pt x="98" y="57"/>
                  </a:lnTo>
                  <a:lnTo>
                    <a:pt x="98" y="55"/>
                  </a:lnTo>
                  <a:lnTo>
                    <a:pt x="98" y="57"/>
                  </a:lnTo>
                  <a:lnTo>
                    <a:pt x="98" y="55"/>
                  </a:lnTo>
                  <a:lnTo>
                    <a:pt x="98" y="53"/>
                  </a:lnTo>
                  <a:lnTo>
                    <a:pt x="98" y="51"/>
                  </a:lnTo>
                  <a:lnTo>
                    <a:pt x="98" y="49"/>
                  </a:lnTo>
                  <a:lnTo>
                    <a:pt x="100" y="49"/>
                  </a:lnTo>
                  <a:lnTo>
                    <a:pt x="100" y="47"/>
                  </a:lnTo>
                  <a:lnTo>
                    <a:pt x="98" y="47"/>
                  </a:lnTo>
                  <a:lnTo>
                    <a:pt x="100" y="47"/>
                  </a:lnTo>
                  <a:lnTo>
                    <a:pt x="98" y="47"/>
                  </a:lnTo>
                  <a:lnTo>
                    <a:pt x="100" y="47"/>
                  </a:lnTo>
                  <a:lnTo>
                    <a:pt x="100" y="45"/>
                  </a:lnTo>
                  <a:lnTo>
                    <a:pt x="100" y="43"/>
                  </a:lnTo>
                  <a:lnTo>
                    <a:pt x="102" y="43"/>
                  </a:lnTo>
                  <a:lnTo>
                    <a:pt x="102" y="41"/>
                  </a:lnTo>
                  <a:lnTo>
                    <a:pt x="102" y="43"/>
                  </a:lnTo>
                  <a:lnTo>
                    <a:pt x="102" y="41"/>
                  </a:lnTo>
                  <a:lnTo>
                    <a:pt x="100" y="41"/>
                  </a:lnTo>
                  <a:lnTo>
                    <a:pt x="100" y="38"/>
                  </a:lnTo>
                  <a:lnTo>
                    <a:pt x="100" y="36"/>
                  </a:lnTo>
                  <a:lnTo>
                    <a:pt x="100" y="38"/>
                  </a:lnTo>
                  <a:lnTo>
                    <a:pt x="98" y="38"/>
                  </a:lnTo>
                  <a:lnTo>
                    <a:pt x="98" y="36"/>
                  </a:lnTo>
                  <a:lnTo>
                    <a:pt x="100" y="36"/>
                  </a:lnTo>
                  <a:lnTo>
                    <a:pt x="98" y="36"/>
                  </a:lnTo>
                  <a:lnTo>
                    <a:pt x="98" y="34"/>
                  </a:lnTo>
                  <a:lnTo>
                    <a:pt x="98" y="32"/>
                  </a:lnTo>
                  <a:lnTo>
                    <a:pt x="100" y="32"/>
                  </a:lnTo>
                  <a:lnTo>
                    <a:pt x="98" y="32"/>
                  </a:lnTo>
                  <a:lnTo>
                    <a:pt x="96" y="32"/>
                  </a:lnTo>
                  <a:lnTo>
                    <a:pt x="96" y="32"/>
                  </a:lnTo>
                  <a:lnTo>
                    <a:pt x="96" y="30"/>
                  </a:lnTo>
                  <a:lnTo>
                    <a:pt x="98" y="30"/>
                  </a:lnTo>
                  <a:lnTo>
                    <a:pt x="100" y="30"/>
                  </a:lnTo>
                  <a:lnTo>
                    <a:pt x="100" y="32"/>
                  </a:lnTo>
                  <a:lnTo>
                    <a:pt x="98" y="32"/>
                  </a:lnTo>
                  <a:lnTo>
                    <a:pt x="98" y="32"/>
                  </a:lnTo>
                  <a:lnTo>
                    <a:pt x="100" y="32"/>
                  </a:lnTo>
                  <a:lnTo>
                    <a:pt x="100" y="32"/>
                  </a:lnTo>
                  <a:lnTo>
                    <a:pt x="100" y="32"/>
                  </a:lnTo>
                  <a:lnTo>
                    <a:pt x="102" y="32"/>
                  </a:lnTo>
                  <a:lnTo>
                    <a:pt x="100" y="32"/>
                  </a:lnTo>
                  <a:lnTo>
                    <a:pt x="102" y="32"/>
                  </a:lnTo>
                  <a:lnTo>
                    <a:pt x="100" y="32"/>
                  </a:lnTo>
                  <a:lnTo>
                    <a:pt x="102" y="32"/>
                  </a:lnTo>
                  <a:lnTo>
                    <a:pt x="102" y="32"/>
                  </a:lnTo>
                  <a:lnTo>
                    <a:pt x="104" y="32"/>
                  </a:lnTo>
                  <a:lnTo>
                    <a:pt x="104" y="30"/>
                  </a:lnTo>
                  <a:lnTo>
                    <a:pt x="104" y="28"/>
                  </a:lnTo>
                  <a:lnTo>
                    <a:pt x="102" y="28"/>
                  </a:lnTo>
                  <a:lnTo>
                    <a:pt x="104" y="28"/>
                  </a:lnTo>
                  <a:lnTo>
                    <a:pt x="104" y="30"/>
                  </a:lnTo>
                  <a:lnTo>
                    <a:pt x="106" y="30"/>
                  </a:lnTo>
                  <a:lnTo>
                    <a:pt x="108" y="30"/>
                  </a:lnTo>
                  <a:lnTo>
                    <a:pt x="106" y="30"/>
                  </a:lnTo>
                  <a:lnTo>
                    <a:pt x="106" y="28"/>
                  </a:lnTo>
                  <a:lnTo>
                    <a:pt x="106" y="26"/>
                  </a:lnTo>
                  <a:lnTo>
                    <a:pt x="106" y="24"/>
                  </a:lnTo>
                  <a:lnTo>
                    <a:pt x="106" y="26"/>
                  </a:lnTo>
                  <a:lnTo>
                    <a:pt x="106" y="24"/>
                  </a:lnTo>
                  <a:lnTo>
                    <a:pt x="106" y="26"/>
                  </a:lnTo>
                  <a:lnTo>
                    <a:pt x="106" y="24"/>
                  </a:lnTo>
                  <a:lnTo>
                    <a:pt x="108" y="24"/>
                  </a:lnTo>
                  <a:lnTo>
                    <a:pt x="106" y="24"/>
                  </a:lnTo>
                  <a:lnTo>
                    <a:pt x="106" y="22"/>
                  </a:lnTo>
                  <a:lnTo>
                    <a:pt x="108" y="22"/>
                  </a:lnTo>
                  <a:lnTo>
                    <a:pt x="108" y="20"/>
                  </a:lnTo>
                  <a:lnTo>
                    <a:pt x="108" y="22"/>
                  </a:lnTo>
                  <a:lnTo>
                    <a:pt x="108" y="20"/>
                  </a:lnTo>
                  <a:lnTo>
                    <a:pt x="108" y="18"/>
                  </a:lnTo>
                  <a:lnTo>
                    <a:pt x="106" y="18"/>
                  </a:lnTo>
                  <a:lnTo>
                    <a:pt x="104" y="20"/>
                  </a:lnTo>
                  <a:lnTo>
                    <a:pt x="102" y="20"/>
                  </a:lnTo>
                  <a:lnTo>
                    <a:pt x="102" y="18"/>
                  </a:lnTo>
                  <a:lnTo>
                    <a:pt x="104" y="18"/>
                  </a:lnTo>
                  <a:lnTo>
                    <a:pt x="104" y="16"/>
                  </a:lnTo>
                  <a:lnTo>
                    <a:pt x="102" y="16"/>
                  </a:lnTo>
                  <a:lnTo>
                    <a:pt x="104" y="16"/>
                  </a:lnTo>
                  <a:lnTo>
                    <a:pt x="102" y="16"/>
                  </a:lnTo>
                  <a:lnTo>
                    <a:pt x="104" y="16"/>
                  </a:lnTo>
                  <a:lnTo>
                    <a:pt x="102" y="16"/>
                  </a:lnTo>
                  <a:lnTo>
                    <a:pt x="104" y="16"/>
                  </a:lnTo>
                  <a:lnTo>
                    <a:pt x="104" y="14"/>
                  </a:lnTo>
                  <a:lnTo>
                    <a:pt x="104" y="12"/>
                  </a:lnTo>
                  <a:lnTo>
                    <a:pt x="104" y="10"/>
                  </a:lnTo>
                  <a:lnTo>
                    <a:pt x="102" y="10"/>
                  </a:lnTo>
                  <a:lnTo>
                    <a:pt x="104" y="10"/>
                  </a:lnTo>
                  <a:lnTo>
                    <a:pt x="106" y="10"/>
                  </a:lnTo>
                  <a:lnTo>
                    <a:pt x="106" y="8"/>
                  </a:lnTo>
                  <a:lnTo>
                    <a:pt x="104" y="8"/>
                  </a:lnTo>
                  <a:lnTo>
                    <a:pt x="104" y="6"/>
                  </a:lnTo>
                  <a:lnTo>
                    <a:pt x="106" y="6"/>
                  </a:lnTo>
                  <a:lnTo>
                    <a:pt x="106" y="8"/>
                  </a:lnTo>
                  <a:lnTo>
                    <a:pt x="106" y="6"/>
                  </a:lnTo>
                  <a:lnTo>
                    <a:pt x="108" y="6"/>
                  </a:lnTo>
                  <a:lnTo>
                    <a:pt x="110" y="8"/>
                  </a:lnTo>
                  <a:lnTo>
                    <a:pt x="112" y="8"/>
                  </a:lnTo>
                  <a:lnTo>
                    <a:pt x="114" y="8"/>
                  </a:lnTo>
                  <a:lnTo>
                    <a:pt x="114" y="10"/>
                  </a:lnTo>
                  <a:lnTo>
                    <a:pt x="116" y="10"/>
                  </a:lnTo>
                  <a:lnTo>
                    <a:pt x="118" y="10"/>
                  </a:lnTo>
                  <a:lnTo>
                    <a:pt x="118" y="12"/>
                  </a:lnTo>
                  <a:lnTo>
                    <a:pt x="120" y="12"/>
                  </a:lnTo>
                  <a:lnTo>
                    <a:pt x="122" y="14"/>
                  </a:lnTo>
                  <a:lnTo>
                    <a:pt x="124" y="14"/>
                  </a:lnTo>
                  <a:close/>
                </a:path>
              </a:pathLst>
            </a:custGeom>
            <a:solidFill>
              <a:srgbClr val="816767"/>
            </a:solidFill>
            <a:ln w="3175">
              <a:solidFill>
                <a:sysClr val="window" lastClr="FFFF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black"/>
                </a:solidFill>
                <a:effectLst/>
                <a:uLnTx/>
                <a:uFillTx/>
                <a:ea typeface="宋体" panose="02010600030101010101" pitchFamily="2" charset="-122"/>
              </a:endParaRPr>
            </a:p>
          </p:txBody>
        </p:sp>
        <p:sp>
          <p:nvSpPr>
            <p:cNvPr id="13" name="Freeform 1102">
              <a:extLst>
                <a:ext uri="{FF2B5EF4-FFF2-40B4-BE49-F238E27FC236}">
                  <a16:creationId xmlns:a16="http://schemas.microsoft.com/office/drawing/2014/main" id="{B15E2AD9-F79E-CF81-F95E-A4D3F8A34130}"/>
                </a:ext>
              </a:extLst>
            </p:cNvPr>
            <p:cNvSpPr>
              <a:spLocks noEditPoints="1"/>
            </p:cNvSpPr>
            <p:nvPr/>
          </p:nvSpPr>
          <p:spPr bwMode="auto">
            <a:xfrm>
              <a:off x="5316538" y="3568700"/>
              <a:ext cx="344488" cy="304800"/>
            </a:xfrm>
            <a:custGeom>
              <a:avLst/>
              <a:gdLst>
                <a:gd name="T0" fmla="*/ 148 w 217"/>
                <a:gd name="T1" fmla="*/ 2 h 192"/>
                <a:gd name="T2" fmla="*/ 166 w 217"/>
                <a:gd name="T3" fmla="*/ 2 h 192"/>
                <a:gd name="T4" fmla="*/ 188 w 217"/>
                <a:gd name="T5" fmla="*/ 0 h 192"/>
                <a:gd name="T6" fmla="*/ 197 w 217"/>
                <a:gd name="T7" fmla="*/ 4 h 192"/>
                <a:gd name="T8" fmla="*/ 194 w 217"/>
                <a:gd name="T9" fmla="*/ 18 h 192"/>
                <a:gd name="T10" fmla="*/ 186 w 217"/>
                <a:gd name="T11" fmla="*/ 30 h 192"/>
                <a:gd name="T12" fmla="*/ 207 w 217"/>
                <a:gd name="T13" fmla="*/ 28 h 192"/>
                <a:gd name="T14" fmla="*/ 215 w 217"/>
                <a:gd name="T15" fmla="*/ 34 h 192"/>
                <a:gd name="T16" fmla="*/ 213 w 217"/>
                <a:gd name="T17" fmla="*/ 42 h 192"/>
                <a:gd name="T18" fmla="*/ 207 w 217"/>
                <a:gd name="T19" fmla="*/ 46 h 192"/>
                <a:gd name="T20" fmla="*/ 207 w 217"/>
                <a:gd name="T21" fmla="*/ 50 h 192"/>
                <a:gd name="T22" fmla="*/ 203 w 217"/>
                <a:gd name="T23" fmla="*/ 56 h 192"/>
                <a:gd name="T24" fmla="*/ 197 w 217"/>
                <a:gd name="T25" fmla="*/ 58 h 192"/>
                <a:gd name="T26" fmla="*/ 199 w 217"/>
                <a:gd name="T27" fmla="*/ 64 h 192"/>
                <a:gd name="T28" fmla="*/ 201 w 217"/>
                <a:gd name="T29" fmla="*/ 74 h 192"/>
                <a:gd name="T30" fmla="*/ 190 w 217"/>
                <a:gd name="T31" fmla="*/ 82 h 192"/>
                <a:gd name="T32" fmla="*/ 184 w 217"/>
                <a:gd name="T33" fmla="*/ 92 h 192"/>
                <a:gd name="T34" fmla="*/ 180 w 217"/>
                <a:gd name="T35" fmla="*/ 96 h 192"/>
                <a:gd name="T36" fmla="*/ 182 w 217"/>
                <a:gd name="T37" fmla="*/ 100 h 192"/>
                <a:gd name="T38" fmla="*/ 178 w 217"/>
                <a:gd name="T39" fmla="*/ 100 h 192"/>
                <a:gd name="T40" fmla="*/ 178 w 217"/>
                <a:gd name="T41" fmla="*/ 116 h 192"/>
                <a:gd name="T42" fmla="*/ 168 w 217"/>
                <a:gd name="T43" fmla="*/ 118 h 192"/>
                <a:gd name="T44" fmla="*/ 164 w 217"/>
                <a:gd name="T45" fmla="*/ 124 h 192"/>
                <a:gd name="T46" fmla="*/ 164 w 217"/>
                <a:gd name="T47" fmla="*/ 130 h 192"/>
                <a:gd name="T48" fmla="*/ 162 w 217"/>
                <a:gd name="T49" fmla="*/ 138 h 192"/>
                <a:gd name="T50" fmla="*/ 158 w 217"/>
                <a:gd name="T51" fmla="*/ 142 h 192"/>
                <a:gd name="T52" fmla="*/ 160 w 217"/>
                <a:gd name="T53" fmla="*/ 150 h 192"/>
                <a:gd name="T54" fmla="*/ 160 w 217"/>
                <a:gd name="T55" fmla="*/ 154 h 192"/>
                <a:gd name="T56" fmla="*/ 152 w 217"/>
                <a:gd name="T57" fmla="*/ 158 h 192"/>
                <a:gd name="T58" fmla="*/ 150 w 217"/>
                <a:gd name="T59" fmla="*/ 168 h 192"/>
                <a:gd name="T60" fmla="*/ 150 w 217"/>
                <a:gd name="T61" fmla="*/ 172 h 192"/>
                <a:gd name="T62" fmla="*/ 154 w 217"/>
                <a:gd name="T63" fmla="*/ 172 h 192"/>
                <a:gd name="T64" fmla="*/ 156 w 217"/>
                <a:gd name="T65" fmla="*/ 182 h 192"/>
                <a:gd name="T66" fmla="*/ 152 w 217"/>
                <a:gd name="T67" fmla="*/ 192 h 192"/>
                <a:gd name="T68" fmla="*/ 132 w 217"/>
                <a:gd name="T69" fmla="*/ 192 h 192"/>
                <a:gd name="T70" fmla="*/ 114 w 217"/>
                <a:gd name="T71" fmla="*/ 192 h 192"/>
                <a:gd name="T72" fmla="*/ 94 w 217"/>
                <a:gd name="T73" fmla="*/ 192 h 192"/>
                <a:gd name="T74" fmla="*/ 76 w 217"/>
                <a:gd name="T75" fmla="*/ 190 h 192"/>
                <a:gd name="T76" fmla="*/ 58 w 217"/>
                <a:gd name="T77" fmla="*/ 190 h 192"/>
                <a:gd name="T78" fmla="*/ 36 w 217"/>
                <a:gd name="T79" fmla="*/ 190 h 192"/>
                <a:gd name="T80" fmla="*/ 18 w 217"/>
                <a:gd name="T81" fmla="*/ 184 h 192"/>
                <a:gd name="T82" fmla="*/ 18 w 217"/>
                <a:gd name="T83" fmla="*/ 164 h 192"/>
                <a:gd name="T84" fmla="*/ 12 w 217"/>
                <a:gd name="T85" fmla="*/ 160 h 192"/>
                <a:gd name="T86" fmla="*/ 8 w 217"/>
                <a:gd name="T87" fmla="*/ 160 h 192"/>
                <a:gd name="T88" fmla="*/ 2 w 217"/>
                <a:gd name="T89" fmla="*/ 156 h 192"/>
                <a:gd name="T90" fmla="*/ 0 w 217"/>
                <a:gd name="T91" fmla="*/ 142 h 192"/>
                <a:gd name="T92" fmla="*/ 2 w 217"/>
                <a:gd name="T93" fmla="*/ 124 h 192"/>
                <a:gd name="T94" fmla="*/ 4 w 217"/>
                <a:gd name="T95" fmla="*/ 106 h 192"/>
                <a:gd name="T96" fmla="*/ 4 w 217"/>
                <a:gd name="T97" fmla="*/ 88 h 192"/>
                <a:gd name="T98" fmla="*/ 6 w 217"/>
                <a:gd name="T99" fmla="*/ 70 h 192"/>
                <a:gd name="T100" fmla="*/ 6 w 217"/>
                <a:gd name="T101" fmla="*/ 50 h 192"/>
                <a:gd name="T102" fmla="*/ 4 w 217"/>
                <a:gd name="T103" fmla="*/ 34 h 192"/>
                <a:gd name="T104" fmla="*/ 2 w 217"/>
                <a:gd name="T105" fmla="*/ 16 h 192"/>
                <a:gd name="T106" fmla="*/ 2 w 217"/>
                <a:gd name="T107" fmla="*/ 0 h 192"/>
                <a:gd name="T108" fmla="*/ 20 w 217"/>
                <a:gd name="T109" fmla="*/ 0 h 192"/>
                <a:gd name="T110" fmla="*/ 42 w 217"/>
                <a:gd name="T111" fmla="*/ 0 h 192"/>
                <a:gd name="T112" fmla="*/ 64 w 217"/>
                <a:gd name="T113" fmla="*/ 2 h 192"/>
                <a:gd name="T114" fmla="*/ 84 w 217"/>
                <a:gd name="T115" fmla="*/ 2 h 192"/>
                <a:gd name="T116" fmla="*/ 104 w 217"/>
                <a:gd name="T117" fmla="*/ 2 h 192"/>
                <a:gd name="T118" fmla="*/ 122 w 217"/>
                <a:gd name="T119" fmla="*/ 2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17" h="192">
                  <a:moveTo>
                    <a:pt x="130" y="2"/>
                  </a:moveTo>
                  <a:lnTo>
                    <a:pt x="132" y="2"/>
                  </a:lnTo>
                  <a:lnTo>
                    <a:pt x="134" y="2"/>
                  </a:lnTo>
                  <a:lnTo>
                    <a:pt x="136" y="2"/>
                  </a:lnTo>
                  <a:lnTo>
                    <a:pt x="138" y="2"/>
                  </a:lnTo>
                  <a:lnTo>
                    <a:pt x="140" y="2"/>
                  </a:lnTo>
                  <a:lnTo>
                    <a:pt x="142" y="2"/>
                  </a:lnTo>
                  <a:lnTo>
                    <a:pt x="144" y="2"/>
                  </a:lnTo>
                  <a:lnTo>
                    <a:pt x="146" y="2"/>
                  </a:lnTo>
                  <a:lnTo>
                    <a:pt x="148" y="2"/>
                  </a:lnTo>
                  <a:lnTo>
                    <a:pt x="150" y="2"/>
                  </a:lnTo>
                  <a:lnTo>
                    <a:pt x="152" y="2"/>
                  </a:lnTo>
                  <a:lnTo>
                    <a:pt x="154" y="2"/>
                  </a:lnTo>
                  <a:lnTo>
                    <a:pt x="156" y="2"/>
                  </a:lnTo>
                  <a:lnTo>
                    <a:pt x="158" y="2"/>
                  </a:lnTo>
                  <a:lnTo>
                    <a:pt x="160" y="2"/>
                  </a:lnTo>
                  <a:lnTo>
                    <a:pt x="162" y="2"/>
                  </a:lnTo>
                  <a:lnTo>
                    <a:pt x="164" y="2"/>
                  </a:lnTo>
                  <a:lnTo>
                    <a:pt x="164" y="2"/>
                  </a:lnTo>
                  <a:lnTo>
                    <a:pt x="166" y="2"/>
                  </a:lnTo>
                  <a:lnTo>
                    <a:pt x="168" y="2"/>
                  </a:lnTo>
                  <a:lnTo>
                    <a:pt x="170" y="2"/>
                  </a:lnTo>
                  <a:lnTo>
                    <a:pt x="172" y="2"/>
                  </a:lnTo>
                  <a:lnTo>
                    <a:pt x="174" y="2"/>
                  </a:lnTo>
                  <a:lnTo>
                    <a:pt x="176" y="2"/>
                  </a:lnTo>
                  <a:lnTo>
                    <a:pt x="178" y="2"/>
                  </a:lnTo>
                  <a:lnTo>
                    <a:pt x="184" y="2"/>
                  </a:lnTo>
                  <a:lnTo>
                    <a:pt x="186" y="2"/>
                  </a:lnTo>
                  <a:lnTo>
                    <a:pt x="186" y="0"/>
                  </a:lnTo>
                  <a:lnTo>
                    <a:pt x="188" y="0"/>
                  </a:lnTo>
                  <a:lnTo>
                    <a:pt x="190" y="0"/>
                  </a:lnTo>
                  <a:lnTo>
                    <a:pt x="192" y="0"/>
                  </a:lnTo>
                  <a:lnTo>
                    <a:pt x="194" y="0"/>
                  </a:lnTo>
                  <a:lnTo>
                    <a:pt x="194" y="2"/>
                  </a:lnTo>
                  <a:lnTo>
                    <a:pt x="197" y="2"/>
                  </a:lnTo>
                  <a:lnTo>
                    <a:pt x="194" y="2"/>
                  </a:lnTo>
                  <a:lnTo>
                    <a:pt x="197" y="2"/>
                  </a:lnTo>
                  <a:lnTo>
                    <a:pt x="197" y="4"/>
                  </a:lnTo>
                  <a:lnTo>
                    <a:pt x="197" y="6"/>
                  </a:lnTo>
                  <a:lnTo>
                    <a:pt x="197" y="4"/>
                  </a:lnTo>
                  <a:lnTo>
                    <a:pt x="197" y="6"/>
                  </a:lnTo>
                  <a:lnTo>
                    <a:pt x="199" y="6"/>
                  </a:lnTo>
                  <a:lnTo>
                    <a:pt x="199" y="8"/>
                  </a:lnTo>
                  <a:lnTo>
                    <a:pt x="199" y="10"/>
                  </a:lnTo>
                  <a:lnTo>
                    <a:pt x="199" y="12"/>
                  </a:lnTo>
                  <a:lnTo>
                    <a:pt x="199" y="14"/>
                  </a:lnTo>
                  <a:lnTo>
                    <a:pt x="197" y="14"/>
                  </a:lnTo>
                  <a:lnTo>
                    <a:pt x="197" y="16"/>
                  </a:lnTo>
                  <a:lnTo>
                    <a:pt x="194" y="16"/>
                  </a:lnTo>
                  <a:lnTo>
                    <a:pt x="194" y="18"/>
                  </a:lnTo>
                  <a:lnTo>
                    <a:pt x="192" y="18"/>
                  </a:lnTo>
                  <a:lnTo>
                    <a:pt x="192" y="20"/>
                  </a:lnTo>
                  <a:lnTo>
                    <a:pt x="192" y="22"/>
                  </a:lnTo>
                  <a:lnTo>
                    <a:pt x="190" y="22"/>
                  </a:lnTo>
                  <a:lnTo>
                    <a:pt x="188" y="22"/>
                  </a:lnTo>
                  <a:lnTo>
                    <a:pt x="188" y="24"/>
                  </a:lnTo>
                  <a:lnTo>
                    <a:pt x="188" y="26"/>
                  </a:lnTo>
                  <a:lnTo>
                    <a:pt x="186" y="26"/>
                  </a:lnTo>
                  <a:lnTo>
                    <a:pt x="186" y="28"/>
                  </a:lnTo>
                  <a:lnTo>
                    <a:pt x="186" y="30"/>
                  </a:lnTo>
                  <a:lnTo>
                    <a:pt x="188" y="30"/>
                  </a:lnTo>
                  <a:lnTo>
                    <a:pt x="190" y="30"/>
                  </a:lnTo>
                  <a:lnTo>
                    <a:pt x="192" y="28"/>
                  </a:lnTo>
                  <a:lnTo>
                    <a:pt x="194" y="28"/>
                  </a:lnTo>
                  <a:lnTo>
                    <a:pt x="197" y="28"/>
                  </a:lnTo>
                  <a:lnTo>
                    <a:pt x="199" y="28"/>
                  </a:lnTo>
                  <a:lnTo>
                    <a:pt x="201" y="28"/>
                  </a:lnTo>
                  <a:lnTo>
                    <a:pt x="203" y="28"/>
                  </a:lnTo>
                  <a:lnTo>
                    <a:pt x="205" y="28"/>
                  </a:lnTo>
                  <a:lnTo>
                    <a:pt x="207" y="28"/>
                  </a:lnTo>
                  <a:lnTo>
                    <a:pt x="209" y="28"/>
                  </a:lnTo>
                  <a:lnTo>
                    <a:pt x="211" y="28"/>
                  </a:lnTo>
                  <a:lnTo>
                    <a:pt x="213" y="28"/>
                  </a:lnTo>
                  <a:lnTo>
                    <a:pt x="213" y="28"/>
                  </a:lnTo>
                  <a:lnTo>
                    <a:pt x="215" y="28"/>
                  </a:lnTo>
                  <a:lnTo>
                    <a:pt x="215" y="30"/>
                  </a:lnTo>
                  <a:lnTo>
                    <a:pt x="215" y="32"/>
                  </a:lnTo>
                  <a:lnTo>
                    <a:pt x="217" y="32"/>
                  </a:lnTo>
                  <a:lnTo>
                    <a:pt x="217" y="34"/>
                  </a:lnTo>
                  <a:lnTo>
                    <a:pt x="215" y="34"/>
                  </a:lnTo>
                  <a:lnTo>
                    <a:pt x="213" y="34"/>
                  </a:lnTo>
                  <a:lnTo>
                    <a:pt x="213" y="34"/>
                  </a:lnTo>
                  <a:lnTo>
                    <a:pt x="213" y="36"/>
                  </a:lnTo>
                  <a:lnTo>
                    <a:pt x="213" y="36"/>
                  </a:lnTo>
                  <a:lnTo>
                    <a:pt x="215" y="36"/>
                  </a:lnTo>
                  <a:lnTo>
                    <a:pt x="215" y="38"/>
                  </a:lnTo>
                  <a:lnTo>
                    <a:pt x="213" y="40"/>
                  </a:lnTo>
                  <a:lnTo>
                    <a:pt x="213" y="38"/>
                  </a:lnTo>
                  <a:lnTo>
                    <a:pt x="213" y="40"/>
                  </a:lnTo>
                  <a:lnTo>
                    <a:pt x="213" y="42"/>
                  </a:lnTo>
                  <a:lnTo>
                    <a:pt x="211" y="42"/>
                  </a:lnTo>
                  <a:lnTo>
                    <a:pt x="209" y="42"/>
                  </a:lnTo>
                  <a:lnTo>
                    <a:pt x="209" y="44"/>
                  </a:lnTo>
                  <a:lnTo>
                    <a:pt x="209" y="42"/>
                  </a:lnTo>
                  <a:lnTo>
                    <a:pt x="207" y="42"/>
                  </a:lnTo>
                  <a:lnTo>
                    <a:pt x="207" y="44"/>
                  </a:lnTo>
                  <a:lnTo>
                    <a:pt x="205" y="44"/>
                  </a:lnTo>
                  <a:lnTo>
                    <a:pt x="205" y="46"/>
                  </a:lnTo>
                  <a:lnTo>
                    <a:pt x="207" y="46"/>
                  </a:lnTo>
                  <a:lnTo>
                    <a:pt x="207" y="46"/>
                  </a:lnTo>
                  <a:lnTo>
                    <a:pt x="209" y="46"/>
                  </a:lnTo>
                  <a:lnTo>
                    <a:pt x="209" y="46"/>
                  </a:lnTo>
                  <a:lnTo>
                    <a:pt x="211" y="46"/>
                  </a:lnTo>
                  <a:lnTo>
                    <a:pt x="211" y="46"/>
                  </a:lnTo>
                  <a:lnTo>
                    <a:pt x="211" y="48"/>
                  </a:lnTo>
                  <a:lnTo>
                    <a:pt x="209" y="48"/>
                  </a:lnTo>
                  <a:lnTo>
                    <a:pt x="207" y="48"/>
                  </a:lnTo>
                  <a:lnTo>
                    <a:pt x="207" y="50"/>
                  </a:lnTo>
                  <a:lnTo>
                    <a:pt x="205" y="50"/>
                  </a:lnTo>
                  <a:lnTo>
                    <a:pt x="207" y="50"/>
                  </a:lnTo>
                  <a:lnTo>
                    <a:pt x="207" y="52"/>
                  </a:lnTo>
                  <a:lnTo>
                    <a:pt x="209" y="52"/>
                  </a:lnTo>
                  <a:lnTo>
                    <a:pt x="209" y="54"/>
                  </a:lnTo>
                  <a:lnTo>
                    <a:pt x="207" y="54"/>
                  </a:lnTo>
                  <a:lnTo>
                    <a:pt x="207" y="52"/>
                  </a:lnTo>
                  <a:lnTo>
                    <a:pt x="205" y="52"/>
                  </a:lnTo>
                  <a:lnTo>
                    <a:pt x="203" y="52"/>
                  </a:lnTo>
                  <a:lnTo>
                    <a:pt x="201" y="54"/>
                  </a:lnTo>
                  <a:lnTo>
                    <a:pt x="203" y="54"/>
                  </a:lnTo>
                  <a:lnTo>
                    <a:pt x="203" y="56"/>
                  </a:lnTo>
                  <a:lnTo>
                    <a:pt x="203" y="58"/>
                  </a:lnTo>
                  <a:lnTo>
                    <a:pt x="203" y="60"/>
                  </a:lnTo>
                  <a:lnTo>
                    <a:pt x="201" y="60"/>
                  </a:lnTo>
                  <a:lnTo>
                    <a:pt x="203" y="60"/>
                  </a:lnTo>
                  <a:lnTo>
                    <a:pt x="201" y="60"/>
                  </a:lnTo>
                  <a:lnTo>
                    <a:pt x="201" y="58"/>
                  </a:lnTo>
                  <a:lnTo>
                    <a:pt x="201" y="56"/>
                  </a:lnTo>
                  <a:lnTo>
                    <a:pt x="199" y="56"/>
                  </a:lnTo>
                  <a:lnTo>
                    <a:pt x="199" y="58"/>
                  </a:lnTo>
                  <a:lnTo>
                    <a:pt x="197" y="58"/>
                  </a:lnTo>
                  <a:lnTo>
                    <a:pt x="197" y="60"/>
                  </a:lnTo>
                  <a:lnTo>
                    <a:pt x="197" y="62"/>
                  </a:lnTo>
                  <a:lnTo>
                    <a:pt x="199" y="62"/>
                  </a:lnTo>
                  <a:lnTo>
                    <a:pt x="197" y="62"/>
                  </a:lnTo>
                  <a:lnTo>
                    <a:pt x="197" y="60"/>
                  </a:lnTo>
                  <a:lnTo>
                    <a:pt x="199" y="60"/>
                  </a:lnTo>
                  <a:lnTo>
                    <a:pt x="201" y="60"/>
                  </a:lnTo>
                  <a:lnTo>
                    <a:pt x="201" y="62"/>
                  </a:lnTo>
                  <a:lnTo>
                    <a:pt x="199" y="62"/>
                  </a:lnTo>
                  <a:lnTo>
                    <a:pt x="199" y="64"/>
                  </a:lnTo>
                  <a:lnTo>
                    <a:pt x="199" y="66"/>
                  </a:lnTo>
                  <a:lnTo>
                    <a:pt x="197" y="66"/>
                  </a:lnTo>
                  <a:lnTo>
                    <a:pt x="197" y="68"/>
                  </a:lnTo>
                  <a:lnTo>
                    <a:pt x="199" y="68"/>
                  </a:lnTo>
                  <a:lnTo>
                    <a:pt x="201" y="68"/>
                  </a:lnTo>
                  <a:lnTo>
                    <a:pt x="201" y="70"/>
                  </a:lnTo>
                  <a:lnTo>
                    <a:pt x="201" y="72"/>
                  </a:lnTo>
                  <a:lnTo>
                    <a:pt x="199" y="72"/>
                  </a:lnTo>
                  <a:lnTo>
                    <a:pt x="199" y="74"/>
                  </a:lnTo>
                  <a:lnTo>
                    <a:pt x="201" y="74"/>
                  </a:lnTo>
                  <a:lnTo>
                    <a:pt x="201" y="76"/>
                  </a:lnTo>
                  <a:lnTo>
                    <a:pt x="199" y="76"/>
                  </a:lnTo>
                  <a:lnTo>
                    <a:pt x="197" y="76"/>
                  </a:lnTo>
                  <a:lnTo>
                    <a:pt x="197" y="78"/>
                  </a:lnTo>
                  <a:lnTo>
                    <a:pt x="194" y="80"/>
                  </a:lnTo>
                  <a:lnTo>
                    <a:pt x="194" y="82"/>
                  </a:lnTo>
                  <a:lnTo>
                    <a:pt x="192" y="82"/>
                  </a:lnTo>
                  <a:lnTo>
                    <a:pt x="192" y="80"/>
                  </a:lnTo>
                  <a:lnTo>
                    <a:pt x="190" y="80"/>
                  </a:lnTo>
                  <a:lnTo>
                    <a:pt x="190" y="82"/>
                  </a:lnTo>
                  <a:lnTo>
                    <a:pt x="190" y="84"/>
                  </a:lnTo>
                  <a:lnTo>
                    <a:pt x="190" y="86"/>
                  </a:lnTo>
                  <a:lnTo>
                    <a:pt x="192" y="86"/>
                  </a:lnTo>
                  <a:lnTo>
                    <a:pt x="192" y="88"/>
                  </a:lnTo>
                  <a:lnTo>
                    <a:pt x="192" y="90"/>
                  </a:lnTo>
                  <a:lnTo>
                    <a:pt x="190" y="90"/>
                  </a:lnTo>
                  <a:lnTo>
                    <a:pt x="190" y="92"/>
                  </a:lnTo>
                  <a:lnTo>
                    <a:pt x="188" y="92"/>
                  </a:lnTo>
                  <a:lnTo>
                    <a:pt x="186" y="92"/>
                  </a:lnTo>
                  <a:lnTo>
                    <a:pt x="184" y="92"/>
                  </a:lnTo>
                  <a:lnTo>
                    <a:pt x="184" y="90"/>
                  </a:lnTo>
                  <a:lnTo>
                    <a:pt x="182" y="90"/>
                  </a:lnTo>
                  <a:lnTo>
                    <a:pt x="182" y="92"/>
                  </a:lnTo>
                  <a:lnTo>
                    <a:pt x="182" y="94"/>
                  </a:lnTo>
                  <a:lnTo>
                    <a:pt x="182" y="94"/>
                  </a:lnTo>
                  <a:lnTo>
                    <a:pt x="184" y="96"/>
                  </a:lnTo>
                  <a:lnTo>
                    <a:pt x="182" y="96"/>
                  </a:lnTo>
                  <a:lnTo>
                    <a:pt x="182" y="98"/>
                  </a:lnTo>
                  <a:lnTo>
                    <a:pt x="180" y="98"/>
                  </a:lnTo>
                  <a:lnTo>
                    <a:pt x="180" y="96"/>
                  </a:lnTo>
                  <a:lnTo>
                    <a:pt x="180" y="94"/>
                  </a:lnTo>
                  <a:lnTo>
                    <a:pt x="180" y="94"/>
                  </a:lnTo>
                  <a:lnTo>
                    <a:pt x="178" y="94"/>
                  </a:lnTo>
                  <a:lnTo>
                    <a:pt x="180" y="94"/>
                  </a:lnTo>
                  <a:lnTo>
                    <a:pt x="180" y="96"/>
                  </a:lnTo>
                  <a:lnTo>
                    <a:pt x="178" y="96"/>
                  </a:lnTo>
                  <a:lnTo>
                    <a:pt x="178" y="98"/>
                  </a:lnTo>
                  <a:lnTo>
                    <a:pt x="180" y="98"/>
                  </a:lnTo>
                  <a:lnTo>
                    <a:pt x="182" y="98"/>
                  </a:lnTo>
                  <a:lnTo>
                    <a:pt x="182" y="100"/>
                  </a:lnTo>
                  <a:lnTo>
                    <a:pt x="182" y="102"/>
                  </a:lnTo>
                  <a:lnTo>
                    <a:pt x="180" y="102"/>
                  </a:lnTo>
                  <a:lnTo>
                    <a:pt x="178" y="102"/>
                  </a:lnTo>
                  <a:lnTo>
                    <a:pt x="178" y="100"/>
                  </a:lnTo>
                  <a:lnTo>
                    <a:pt x="180" y="100"/>
                  </a:lnTo>
                  <a:lnTo>
                    <a:pt x="178" y="100"/>
                  </a:lnTo>
                  <a:lnTo>
                    <a:pt x="178" y="98"/>
                  </a:lnTo>
                  <a:lnTo>
                    <a:pt x="178" y="100"/>
                  </a:lnTo>
                  <a:lnTo>
                    <a:pt x="176" y="100"/>
                  </a:lnTo>
                  <a:lnTo>
                    <a:pt x="178" y="100"/>
                  </a:lnTo>
                  <a:lnTo>
                    <a:pt x="178" y="102"/>
                  </a:lnTo>
                  <a:lnTo>
                    <a:pt x="178" y="104"/>
                  </a:lnTo>
                  <a:lnTo>
                    <a:pt x="178" y="106"/>
                  </a:lnTo>
                  <a:lnTo>
                    <a:pt x="180" y="106"/>
                  </a:lnTo>
                  <a:lnTo>
                    <a:pt x="180" y="108"/>
                  </a:lnTo>
                  <a:lnTo>
                    <a:pt x="178" y="108"/>
                  </a:lnTo>
                  <a:lnTo>
                    <a:pt x="178" y="110"/>
                  </a:lnTo>
                  <a:lnTo>
                    <a:pt x="178" y="112"/>
                  </a:lnTo>
                  <a:lnTo>
                    <a:pt x="178" y="114"/>
                  </a:lnTo>
                  <a:lnTo>
                    <a:pt x="178" y="116"/>
                  </a:lnTo>
                  <a:lnTo>
                    <a:pt x="176" y="116"/>
                  </a:lnTo>
                  <a:lnTo>
                    <a:pt x="174" y="116"/>
                  </a:lnTo>
                  <a:lnTo>
                    <a:pt x="174" y="118"/>
                  </a:lnTo>
                  <a:lnTo>
                    <a:pt x="174" y="120"/>
                  </a:lnTo>
                  <a:lnTo>
                    <a:pt x="172" y="120"/>
                  </a:lnTo>
                  <a:lnTo>
                    <a:pt x="172" y="118"/>
                  </a:lnTo>
                  <a:lnTo>
                    <a:pt x="174" y="118"/>
                  </a:lnTo>
                  <a:lnTo>
                    <a:pt x="172" y="118"/>
                  </a:lnTo>
                  <a:lnTo>
                    <a:pt x="170" y="118"/>
                  </a:lnTo>
                  <a:lnTo>
                    <a:pt x="168" y="118"/>
                  </a:lnTo>
                  <a:lnTo>
                    <a:pt x="170" y="118"/>
                  </a:lnTo>
                  <a:lnTo>
                    <a:pt x="170" y="120"/>
                  </a:lnTo>
                  <a:lnTo>
                    <a:pt x="170" y="122"/>
                  </a:lnTo>
                  <a:lnTo>
                    <a:pt x="168" y="122"/>
                  </a:lnTo>
                  <a:lnTo>
                    <a:pt x="166" y="122"/>
                  </a:lnTo>
                  <a:lnTo>
                    <a:pt x="166" y="124"/>
                  </a:lnTo>
                  <a:lnTo>
                    <a:pt x="166" y="126"/>
                  </a:lnTo>
                  <a:lnTo>
                    <a:pt x="164" y="126"/>
                  </a:lnTo>
                  <a:lnTo>
                    <a:pt x="164" y="126"/>
                  </a:lnTo>
                  <a:lnTo>
                    <a:pt x="164" y="124"/>
                  </a:lnTo>
                  <a:lnTo>
                    <a:pt x="162" y="126"/>
                  </a:lnTo>
                  <a:lnTo>
                    <a:pt x="164" y="126"/>
                  </a:lnTo>
                  <a:lnTo>
                    <a:pt x="164" y="128"/>
                  </a:lnTo>
                  <a:lnTo>
                    <a:pt x="164" y="128"/>
                  </a:lnTo>
                  <a:lnTo>
                    <a:pt x="166" y="128"/>
                  </a:lnTo>
                  <a:lnTo>
                    <a:pt x="168" y="128"/>
                  </a:lnTo>
                  <a:lnTo>
                    <a:pt x="168" y="130"/>
                  </a:lnTo>
                  <a:lnTo>
                    <a:pt x="166" y="130"/>
                  </a:lnTo>
                  <a:lnTo>
                    <a:pt x="164" y="130"/>
                  </a:lnTo>
                  <a:lnTo>
                    <a:pt x="164" y="130"/>
                  </a:lnTo>
                  <a:lnTo>
                    <a:pt x="162" y="130"/>
                  </a:lnTo>
                  <a:lnTo>
                    <a:pt x="162" y="132"/>
                  </a:lnTo>
                  <a:lnTo>
                    <a:pt x="164" y="132"/>
                  </a:lnTo>
                  <a:lnTo>
                    <a:pt x="164" y="134"/>
                  </a:lnTo>
                  <a:lnTo>
                    <a:pt x="164" y="132"/>
                  </a:lnTo>
                  <a:lnTo>
                    <a:pt x="164" y="134"/>
                  </a:lnTo>
                  <a:lnTo>
                    <a:pt x="164" y="136"/>
                  </a:lnTo>
                  <a:lnTo>
                    <a:pt x="164" y="138"/>
                  </a:lnTo>
                  <a:lnTo>
                    <a:pt x="164" y="138"/>
                  </a:lnTo>
                  <a:lnTo>
                    <a:pt x="162" y="138"/>
                  </a:lnTo>
                  <a:lnTo>
                    <a:pt x="160" y="138"/>
                  </a:lnTo>
                  <a:lnTo>
                    <a:pt x="162" y="138"/>
                  </a:lnTo>
                  <a:lnTo>
                    <a:pt x="162" y="140"/>
                  </a:lnTo>
                  <a:lnTo>
                    <a:pt x="160" y="140"/>
                  </a:lnTo>
                  <a:lnTo>
                    <a:pt x="160" y="138"/>
                  </a:lnTo>
                  <a:lnTo>
                    <a:pt x="158" y="138"/>
                  </a:lnTo>
                  <a:lnTo>
                    <a:pt x="158" y="140"/>
                  </a:lnTo>
                  <a:lnTo>
                    <a:pt x="156" y="140"/>
                  </a:lnTo>
                  <a:lnTo>
                    <a:pt x="156" y="142"/>
                  </a:lnTo>
                  <a:lnTo>
                    <a:pt x="158" y="142"/>
                  </a:lnTo>
                  <a:lnTo>
                    <a:pt x="160" y="142"/>
                  </a:lnTo>
                  <a:lnTo>
                    <a:pt x="160" y="142"/>
                  </a:lnTo>
                  <a:lnTo>
                    <a:pt x="158" y="142"/>
                  </a:lnTo>
                  <a:lnTo>
                    <a:pt x="158" y="144"/>
                  </a:lnTo>
                  <a:lnTo>
                    <a:pt x="156" y="144"/>
                  </a:lnTo>
                  <a:lnTo>
                    <a:pt x="156" y="146"/>
                  </a:lnTo>
                  <a:lnTo>
                    <a:pt x="158" y="146"/>
                  </a:lnTo>
                  <a:lnTo>
                    <a:pt x="158" y="148"/>
                  </a:lnTo>
                  <a:lnTo>
                    <a:pt x="160" y="148"/>
                  </a:lnTo>
                  <a:lnTo>
                    <a:pt x="160" y="150"/>
                  </a:lnTo>
                  <a:lnTo>
                    <a:pt x="158" y="150"/>
                  </a:lnTo>
                  <a:lnTo>
                    <a:pt x="156" y="150"/>
                  </a:lnTo>
                  <a:lnTo>
                    <a:pt x="154" y="150"/>
                  </a:lnTo>
                  <a:lnTo>
                    <a:pt x="154" y="152"/>
                  </a:lnTo>
                  <a:lnTo>
                    <a:pt x="154" y="154"/>
                  </a:lnTo>
                  <a:lnTo>
                    <a:pt x="156" y="154"/>
                  </a:lnTo>
                  <a:lnTo>
                    <a:pt x="156" y="152"/>
                  </a:lnTo>
                  <a:lnTo>
                    <a:pt x="158" y="152"/>
                  </a:lnTo>
                  <a:lnTo>
                    <a:pt x="158" y="154"/>
                  </a:lnTo>
                  <a:lnTo>
                    <a:pt x="160" y="154"/>
                  </a:lnTo>
                  <a:lnTo>
                    <a:pt x="158" y="154"/>
                  </a:lnTo>
                  <a:lnTo>
                    <a:pt x="158" y="156"/>
                  </a:lnTo>
                  <a:lnTo>
                    <a:pt x="156" y="156"/>
                  </a:lnTo>
                  <a:lnTo>
                    <a:pt x="154" y="156"/>
                  </a:lnTo>
                  <a:lnTo>
                    <a:pt x="154" y="154"/>
                  </a:lnTo>
                  <a:lnTo>
                    <a:pt x="152" y="154"/>
                  </a:lnTo>
                  <a:lnTo>
                    <a:pt x="150" y="154"/>
                  </a:lnTo>
                  <a:lnTo>
                    <a:pt x="150" y="156"/>
                  </a:lnTo>
                  <a:lnTo>
                    <a:pt x="152" y="156"/>
                  </a:lnTo>
                  <a:lnTo>
                    <a:pt x="152" y="158"/>
                  </a:lnTo>
                  <a:lnTo>
                    <a:pt x="154" y="158"/>
                  </a:lnTo>
                  <a:lnTo>
                    <a:pt x="154" y="160"/>
                  </a:lnTo>
                  <a:lnTo>
                    <a:pt x="152" y="160"/>
                  </a:lnTo>
                  <a:lnTo>
                    <a:pt x="152" y="162"/>
                  </a:lnTo>
                  <a:lnTo>
                    <a:pt x="150" y="162"/>
                  </a:lnTo>
                  <a:lnTo>
                    <a:pt x="150" y="164"/>
                  </a:lnTo>
                  <a:lnTo>
                    <a:pt x="152" y="164"/>
                  </a:lnTo>
                  <a:lnTo>
                    <a:pt x="152" y="166"/>
                  </a:lnTo>
                  <a:lnTo>
                    <a:pt x="150" y="166"/>
                  </a:lnTo>
                  <a:lnTo>
                    <a:pt x="150" y="168"/>
                  </a:lnTo>
                  <a:lnTo>
                    <a:pt x="150" y="170"/>
                  </a:lnTo>
                  <a:lnTo>
                    <a:pt x="150" y="168"/>
                  </a:lnTo>
                  <a:lnTo>
                    <a:pt x="152" y="168"/>
                  </a:lnTo>
                  <a:lnTo>
                    <a:pt x="152" y="166"/>
                  </a:lnTo>
                  <a:lnTo>
                    <a:pt x="154" y="166"/>
                  </a:lnTo>
                  <a:lnTo>
                    <a:pt x="154" y="168"/>
                  </a:lnTo>
                  <a:lnTo>
                    <a:pt x="154" y="170"/>
                  </a:lnTo>
                  <a:lnTo>
                    <a:pt x="152" y="170"/>
                  </a:lnTo>
                  <a:lnTo>
                    <a:pt x="150" y="170"/>
                  </a:lnTo>
                  <a:lnTo>
                    <a:pt x="150" y="172"/>
                  </a:lnTo>
                  <a:lnTo>
                    <a:pt x="152" y="172"/>
                  </a:lnTo>
                  <a:lnTo>
                    <a:pt x="154" y="172"/>
                  </a:lnTo>
                  <a:lnTo>
                    <a:pt x="156" y="172"/>
                  </a:lnTo>
                  <a:lnTo>
                    <a:pt x="156" y="170"/>
                  </a:lnTo>
                  <a:lnTo>
                    <a:pt x="156" y="168"/>
                  </a:lnTo>
                  <a:lnTo>
                    <a:pt x="158" y="168"/>
                  </a:lnTo>
                  <a:lnTo>
                    <a:pt x="158" y="170"/>
                  </a:lnTo>
                  <a:lnTo>
                    <a:pt x="156" y="170"/>
                  </a:lnTo>
                  <a:lnTo>
                    <a:pt x="156" y="172"/>
                  </a:lnTo>
                  <a:lnTo>
                    <a:pt x="154" y="172"/>
                  </a:lnTo>
                  <a:lnTo>
                    <a:pt x="154" y="174"/>
                  </a:lnTo>
                  <a:lnTo>
                    <a:pt x="154" y="176"/>
                  </a:lnTo>
                  <a:lnTo>
                    <a:pt x="154" y="178"/>
                  </a:lnTo>
                  <a:lnTo>
                    <a:pt x="156" y="178"/>
                  </a:lnTo>
                  <a:lnTo>
                    <a:pt x="156" y="180"/>
                  </a:lnTo>
                  <a:lnTo>
                    <a:pt x="156" y="178"/>
                  </a:lnTo>
                  <a:lnTo>
                    <a:pt x="158" y="178"/>
                  </a:lnTo>
                  <a:lnTo>
                    <a:pt x="158" y="180"/>
                  </a:lnTo>
                  <a:lnTo>
                    <a:pt x="156" y="180"/>
                  </a:lnTo>
                  <a:lnTo>
                    <a:pt x="156" y="182"/>
                  </a:lnTo>
                  <a:lnTo>
                    <a:pt x="156" y="184"/>
                  </a:lnTo>
                  <a:lnTo>
                    <a:pt x="156" y="186"/>
                  </a:lnTo>
                  <a:lnTo>
                    <a:pt x="154" y="186"/>
                  </a:lnTo>
                  <a:lnTo>
                    <a:pt x="152" y="186"/>
                  </a:lnTo>
                  <a:lnTo>
                    <a:pt x="152" y="188"/>
                  </a:lnTo>
                  <a:lnTo>
                    <a:pt x="154" y="188"/>
                  </a:lnTo>
                  <a:lnTo>
                    <a:pt x="154" y="190"/>
                  </a:lnTo>
                  <a:lnTo>
                    <a:pt x="156" y="190"/>
                  </a:lnTo>
                  <a:lnTo>
                    <a:pt x="154" y="190"/>
                  </a:lnTo>
                  <a:lnTo>
                    <a:pt x="152" y="192"/>
                  </a:lnTo>
                  <a:lnTo>
                    <a:pt x="150" y="192"/>
                  </a:lnTo>
                  <a:lnTo>
                    <a:pt x="148" y="192"/>
                  </a:lnTo>
                  <a:lnTo>
                    <a:pt x="146" y="192"/>
                  </a:lnTo>
                  <a:lnTo>
                    <a:pt x="144" y="192"/>
                  </a:lnTo>
                  <a:lnTo>
                    <a:pt x="142" y="192"/>
                  </a:lnTo>
                  <a:lnTo>
                    <a:pt x="140" y="192"/>
                  </a:lnTo>
                  <a:lnTo>
                    <a:pt x="138" y="192"/>
                  </a:lnTo>
                  <a:lnTo>
                    <a:pt x="136" y="192"/>
                  </a:lnTo>
                  <a:lnTo>
                    <a:pt x="134" y="192"/>
                  </a:lnTo>
                  <a:lnTo>
                    <a:pt x="132" y="192"/>
                  </a:lnTo>
                  <a:lnTo>
                    <a:pt x="130" y="192"/>
                  </a:lnTo>
                  <a:lnTo>
                    <a:pt x="128" y="192"/>
                  </a:lnTo>
                  <a:lnTo>
                    <a:pt x="126" y="192"/>
                  </a:lnTo>
                  <a:lnTo>
                    <a:pt x="124" y="192"/>
                  </a:lnTo>
                  <a:lnTo>
                    <a:pt x="122" y="192"/>
                  </a:lnTo>
                  <a:lnTo>
                    <a:pt x="120" y="192"/>
                  </a:lnTo>
                  <a:lnTo>
                    <a:pt x="118" y="192"/>
                  </a:lnTo>
                  <a:lnTo>
                    <a:pt x="116" y="192"/>
                  </a:lnTo>
                  <a:lnTo>
                    <a:pt x="116" y="192"/>
                  </a:lnTo>
                  <a:lnTo>
                    <a:pt x="114" y="192"/>
                  </a:lnTo>
                  <a:lnTo>
                    <a:pt x="112" y="192"/>
                  </a:lnTo>
                  <a:lnTo>
                    <a:pt x="110" y="192"/>
                  </a:lnTo>
                  <a:lnTo>
                    <a:pt x="108" y="192"/>
                  </a:lnTo>
                  <a:lnTo>
                    <a:pt x="106" y="192"/>
                  </a:lnTo>
                  <a:lnTo>
                    <a:pt x="104" y="192"/>
                  </a:lnTo>
                  <a:lnTo>
                    <a:pt x="102" y="192"/>
                  </a:lnTo>
                  <a:lnTo>
                    <a:pt x="100" y="192"/>
                  </a:lnTo>
                  <a:lnTo>
                    <a:pt x="98" y="192"/>
                  </a:lnTo>
                  <a:lnTo>
                    <a:pt x="96" y="192"/>
                  </a:lnTo>
                  <a:lnTo>
                    <a:pt x="94" y="192"/>
                  </a:lnTo>
                  <a:lnTo>
                    <a:pt x="92" y="192"/>
                  </a:lnTo>
                  <a:lnTo>
                    <a:pt x="90" y="192"/>
                  </a:lnTo>
                  <a:lnTo>
                    <a:pt x="88" y="192"/>
                  </a:lnTo>
                  <a:lnTo>
                    <a:pt x="86" y="192"/>
                  </a:lnTo>
                  <a:lnTo>
                    <a:pt x="84" y="192"/>
                  </a:lnTo>
                  <a:lnTo>
                    <a:pt x="84" y="190"/>
                  </a:lnTo>
                  <a:lnTo>
                    <a:pt x="82" y="190"/>
                  </a:lnTo>
                  <a:lnTo>
                    <a:pt x="80" y="190"/>
                  </a:lnTo>
                  <a:lnTo>
                    <a:pt x="78" y="190"/>
                  </a:lnTo>
                  <a:lnTo>
                    <a:pt x="76" y="190"/>
                  </a:lnTo>
                  <a:lnTo>
                    <a:pt x="74" y="190"/>
                  </a:lnTo>
                  <a:lnTo>
                    <a:pt x="72" y="190"/>
                  </a:lnTo>
                  <a:lnTo>
                    <a:pt x="70" y="190"/>
                  </a:lnTo>
                  <a:lnTo>
                    <a:pt x="68" y="190"/>
                  </a:lnTo>
                  <a:lnTo>
                    <a:pt x="68" y="190"/>
                  </a:lnTo>
                  <a:lnTo>
                    <a:pt x="66" y="190"/>
                  </a:lnTo>
                  <a:lnTo>
                    <a:pt x="64" y="190"/>
                  </a:lnTo>
                  <a:lnTo>
                    <a:pt x="62" y="190"/>
                  </a:lnTo>
                  <a:lnTo>
                    <a:pt x="60" y="190"/>
                  </a:lnTo>
                  <a:lnTo>
                    <a:pt x="58" y="190"/>
                  </a:lnTo>
                  <a:lnTo>
                    <a:pt x="56" y="190"/>
                  </a:lnTo>
                  <a:lnTo>
                    <a:pt x="54" y="190"/>
                  </a:lnTo>
                  <a:lnTo>
                    <a:pt x="52" y="190"/>
                  </a:lnTo>
                  <a:lnTo>
                    <a:pt x="48" y="190"/>
                  </a:lnTo>
                  <a:lnTo>
                    <a:pt x="46" y="190"/>
                  </a:lnTo>
                  <a:lnTo>
                    <a:pt x="44" y="190"/>
                  </a:lnTo>
                  <a:lnTo>
                    <a:pt x="42" y="190"/>
                  </a:lnTo>
                  <a:lnTo>
                    <a:pt x="40" y="190"/>
                  </a:lnTo>
                  <a:lnTo>
                    <a:pt x="38" y="190"/>
                  </a:lnTo>
                  <a:lnTo>
                    <a:pt x="36" y="190"/>
                  </a:lnTo>
                  <a:lnTo>
                    <a:pt x="34" y="190"/>
                  </a:lnTo>
                  <a:lnTo>
                    <a:pt x="32" y="190"/>
                  </a:lnTo>
                  <a:lnTo>
                    <a:pt x="30" y="190"/>
                  </a:lnTo>
                  <a:lnTo>
                    <a:pt x="28" y="190"/>
                  </a:lnTo>
                  <a:lnTo>
                    <a:pt x="26" y="190"/>
                  </a:lnTo>
                  <a:lnTo>
                    <a:pt x="20" y="190"/>
                  </a:lnTo>
                  <a:lnTo>
                    <a:pt x="18" y="190"/>
                  </a:lnTo>
                  <a:lnTo>
                    <a:pt x="18" y="188"/>
                  </a:lnTo>
                  <a:lnTo>
                    <a:pt x="18" y="186"/>
                  </a:lnTo>
                  <a:lnTo>
                    <a:pt x="18" y="184"/>
                  </a:lnTo>
                  <a:lnTo>
                    <a:pt x="18" y="182"/>
                  </a:lnTo>
                  <a:lnTo>
                    <a:pt x="18" y="180"/>
                  </a:lnTo>
                  <a:lnTo>
                    <a:pt x="18" y="178"/>
                  </a:lnTo>
                  <a:lnTo>
                    <a:pt x="18" y="176"/>
                  </a:lnTo>
                  <a:lnTo>
                    <a:pt x="18" y="174"/>
                  </a:lnTo>
                  <a:lnTo>
                    <a:pt x="18" y="172"/>
                  </a:lnTo>
                  <a:lnTo>
                    <a:pt x="18" y="170"/>
                  </a:lnTo>
                  <a:lnTo>
                    <a:pt x="18" y="168"/>
                  </a:lnTo>
                  <a:lnTo>
                    <a:pt x="18" y="166"/>
                  </a:lnTo>
                  <a:lnTo>
                    <a:pt x="18" y="164"/>
                  </a:lnTo>
                  <a:lnTo>
                    <a:pt x="18" y="162"/>
                  </a:lnTo>
                  <a:lnTo>
                    <a:pt x="18" y="160"/>
                  </a:lnTo>
                  <a:lnTo>
                    <a:pt x="18" y="160"/>
                  </a:lnTo>
                  <a:lnTo>
                    <a:pt x="16" y="160"/>
                  </a:lnTo>
                  <a:lnTo>
                    <a:pt x="16" y="158"/>
                  </a:lnTo>
                  <a:lnTo>
                    <a:pt x="16" y="160"/>
                  </a:lnTo>
                  <a:lnTo>
                    <a:pt x="16" y="158"/>
                  </a:lnTo>
                  <a:lnTo>
                    <a:pt x="14" y="158"/>
                  </a:lnTo>
                  <a:lnTo>
                    <a:pt x="12" y="158"/>
                  </a:lnTo>
                  <a:lnTo>
                    <a:pt x="12" y="160"/>
                  </a:lnTo>
                  <a:lnTo>
                    <a:pt x="14" y="160"/>
                  </a:lnTo>
                  <a:lnTo>
                    <a:pt x="14" y="158"/>
                  </a:lnTo>
                  <a:lnTo>
                    <a:pt x="14" y="160"/>
                  </a:lnTo>
                  <a:lnTo>
                    <a:pt x="12" y="160"/>
                  </a:lnTo>
                  <a:lnTo>
                    <a:pt x="12" y="158"/>
                  </a:lnTo>
                  <a:lnTo>
                    <a:pt x="10" y="158"/>
                  </a:lnTo>
                  <a:lnTo>
                    <a:pt x="10" y="160"/>
                  </a:lnTo>
                  <a:lnTo>
                    <a:pt x="10" y="158"/>
                  </a:lnTo>
                  <a:lnTo>
                    <a:pt x="8" y="158"/>
                  </a:lnTo>
                  <a:lnTo>
                    <a:pt x="8" y="160"/>
                  </a:lnTo>
                  <a:lnTo>
                    <a:pt x="6" y="160"/>
                  </a:lnTo>
                  <a:lnTo>
                    <a:pt x="4" y="160"/>
                  </a:lnTo>
                  <a:lnTo>
                    <a:pt x="6" y="158"/>
                  </a:lnTo>
                  <a:lnTo>
                    <a:pt x="4" y="158"/>
                  </a:lnTo>
                  <a:lnTo>
                    <a:pt x="4" y="160"/>
                  </a:lnTo>
                  <a:lnTo>
                    <a:pt x="4" y="158"/>
                  </a:lnTo>
                  <a:lnTo>
                    <a:pt x="2" y="158"/>
                  </a:lnTo>
                  <a:lnTo>
                    <a:pt x="0" y="158"/>
                  </a:lnTo>
                  <a:lnTo>
                    <a:pt x="0" y="156"/>
                  </a:lnTo>
                  <a:lnTo>
                    <a:pt x="2" y="156"/>
                  </a:lnTo>
                  <a:lnTo>
                    <a:pt x="2" y="154"/>
                  </a:lnTo>
                  <a:lnTo>
                    <a:pt x="2" y="156"/>
                  </a:lnTo>
                  <a:lnTo>
                    <a:pt x="0" y="156"/>
                  </a:lnTo>
                  <a:lnTo>
                    <a:pt x="0" y="154"/>
                  </a:lnTo>
                  <a:lnTo>
                    <a:pt x="0" y="152"/>
                  </a:lnTo>
                  <a:lnTo>
                    <a:pt x="0" y="150"/>
                  </a:lnTo>
                  <a:lnTo>
                    <a:pt x="0" y="148"/>
                  </a:lnTo>
                  <a:lnTo>
                    <a:pt x="0" y="146"/>
                  </a:lnTo>
                  <a:lnTo>
                    <a:pt x="0" y="144"/>
                  </a:lnTo>
                  <a:lnTo>
                    <a:pt x="0" y="142"/>
                  </a:lnTo>
                  <a:lnTo>
                    <a:pt x="2" y="142"/>
                  </a:lnTo>
                  <a:lnTo>
                    <a:pt x="2" y="140"/>
                  </a:lnTo>
                  <a:lnTo>
                    <a:pt x="2" y="138"/>
                  </a:lnTo>
                  <a:lnTo>
                    <a:pt x="2" y="136"/>
                  </a:lnTo>
                  <a:lnTo>
                    <a:pt x="2" y="134"/>
                  </a:lnTo>
                  <a:lnTo>
                    <a:pt x="2" y="132"/>
                  </a:lnTo>
                  <a:lnTo>
                    <a:pt x="2" y="130"/>
                  </a:lnTo>
                  <a:lnTo>
                    <a:pt x="2" y="128"/>
                  </a:lnTo>
                  <a:lnTo>
                    <a:pt x="2" y="126"/>
                  </a:lnTo>
                  <a:lnTo>
                    <a:pt x="2" y="124"/>
                  </a:lnTo>
                  <a:lnTo>
                    <a:pt x="2" y="122"/>
                  </a:lnTo>
                  <a:lnTo>
                    <a:pt x="2" y="120"/>
                  </a:lnTo>
                  <a:lnTo>
                    <a:pt x="2" y="118"/>
                  </a:lnTo>
                  <a:lnTo>
                    <a:pt x="2" y="116"/>
                  </a:lnTo>
                  <a:lnTo>
                    <a:pt x="2" y="114"/>
                  </a:lnTo>
                  <a:lnTo>
                    <a:pt x="2" y="112"/>
                  </a:lnTo>
                  <a:lnTo>
                    <a:pt x="4" y="112"/>
                  </a:lnTo>
                  <a:lnTo>
                    <a:pt x="4" y="110"/>
                  </a:lnTo>
                  <a:lnTo>
                    <a:pt x="4" y="108"/>
                  </a:lnTo>
                  <a:lnTo>
                    <a:pt x="4" y="106"/>
                  </a:lnTo>
                  <a:lnTo>
                    <a:pt x="4" y="104"/>
                  </a:lnTo>
                  <a:lnTo>
                    <a:pt x="4" y="102"/>
                  </a:lnTo>
                  <a:lnTo>
                    <a:pt x="4" y="100"/>
                  </a:lnTo>
                  <a:lnTo>
                    <a:pt x="4" y="98"/>
                  </a:lnTo>
                  <a:lnTo>
                    <a:pt x="4" y="96"/>
                  </a:lnTo>
                  <a:lnTo>
                    <a:pt x="4" y="94"/>
                  </a:lnTo>
                  <a:lnTo>
                    <a:pt x="4" y="94"/>
                  </a:lnTo>
                  <a:lnTo>
                    <a:pt x="4" y="92"/>
                  </a:lnTo>
                  <a:lnTo>
                    <a:pt x="4" y="90"/>
                  </a:lnTo>
                  <a:lnTo>
                    <a:pt x="4" y="88"/>
                  </a:lnTo>
                  <a:lnTo>
                    <a:pt x="4" y="86"/>
                  </a:lnTo>
                  <a:lnTo>
                    <a:pt x="4" y="84"/>
                  </a:lnTo>
                  <a:lnTo>
                    <a:pt x="6" y="84"/>
                  </a:lnTo>
                  <a:lnTo>
                    <a:pt x="6" y="82"/>
                  </a:lnTo>
                  <a:lnTo>
                    <a:pt x="6" y="80"/>
                  </a:lnTo>
                  <a:lnTo>
                    <a:pt x="6" y="78"/>
                  </a:lnTo>
                  <a:lnTo>
                    <a:pt x="6" y="76"/>
                  </a:lnTo>
                  <a:lnTo>
                    <a:pt x="6" y="74"/>
                  </a:lnTo>
                  <a:lnTo>
                    <a:pt x="6" y="72"/>
                  </a:lnTo>
                  <a:lnTo>
                    <a:pt x="6" y="70"/>
                  </a:lnTo>
                  <a:lnTo>
                    <a:pt x="6" y="68"/>
                  </a:lnTo>
                  <a:lnTo>
                    <a:pt x="6" y="66"/>
                  </a:lnTo>
                  <a:lnTo>
                    <a:pt x="6" y="64"/>
                  </a:lnTo>
                  <a:lnTo>
                    <a:pt x="6" y="62"/>
                  </a:lnTo>
                  <a:lnTo>
                    <a:pt x="6" y="60"/>
                  </a:lnTo>
                  <a:lnTo>
                    <a:pt x="6" y="58"/>
                  </a:lnTo>
                  <a:lnTo>
                    <a:pt x="6" y="56"/>
                  </a:lnTo>
                  <a:lnTo>
                    <a:pt x="6" y="54"/>
                  </a:lnTo>
                  <a:lnTo>
                    <a:pt x="6" y="52"/>
                  </a:lnTo>
                  <a:lnTo>
                    <a:pt x="6" y="50"/>
                  </a:lnTo>
                  <a:lnTo>
                    <a:pt x="6" y="48"/>
                  </a:lnTo>
                  <a:lnTo>
                    <a:pt x="6" y="46"/>
                  </a:lnTo>
                  <a:lnTo>
                    <a:pt x="6" y="46"/>
                  </a:lnTo>
                  <a:lnTo>
                    <a:pt x="6" y="44"/>
                  </a:lnTo>
                  <a:lnTo>
                    <a:pt x="4" y="44"/>
                  </a:lnTo>
                  <a:lnTo>
                    <a:pt x="4" y="42"/>
                  </a:lnTo>
                  <a:lnTo>
                    <a:pt x="4" y="40"/>
                  </a:lnTo>
                  <a:lnTo>
                    <a:pt x="4" y="38"/>
                  </a:lnTo>
                  <a:lnTo>
                    <a:pt x="4" y="36"/>
                  </a:lnTo>
                  <a:lnTo>
                    <a:pt x="4" y="34"/>
                  </a:lnTo>
                  <a:lnTo>
                    <a:pt x="4" y="32"/>
                  </a:lnTo>
                  <a:lnTo>
                    <a:pt x="4" y="30"/>
                  </a:lnTo>
                  <a:lnTo>
                    <a:pt x="4" y="28"/>
                  </a:lnTo>
                  <a:lnTo>
                    <a:pt x="4" y="26"/>
                  </a:lnTo>
                  <a:lnTo>
                    <a:pt x="4" y="24"/>
                  </a:lnTo>
                  <a:lnTo>
                    <a:pt x="2" y="24"/>
                  </a:lnTo>
                  <a:lnTo>
                    <a:pt x="2" y="22"/>
                  </a:lnTo>
                  <a:lnTo>
                    <a:pt x="2" y="20"/>
                  </a:lnTo>
                  <a:lnTo>
                    <a:pt x="2" y="18"/>
                  </a:lnTo>
                  <a:lnTo>
                    <a:pt x="2" y="16"/>
                  </a:lnTo>
                  <a:lnTo>
                    <a:pt x="2" y="14"/>
                  </a:lnTo>
                  <a:lnTo>
                    <a:pt x="2" y="12"/>
                  </a:lnTo>
                  <a:lnTo>
                    <a:pt x="2" y="10"/>
                  </a:lnTo>
                  <a:lnTo>
                    <a:pt x="2" y="8"/>
                  </a:lnTo>
                  <a:lnTo>
                    <a:pt x="2" y="6"/>
                  </a:lnTo>
                  <a:lnTo>
                    <a:pt x="2" y="4"/>
                  </a:lnTo>
                  <a:lnTo>
                    <a:pt x="2" y="2"/>
                  </a:lnTo>
                  <a:lnTo>
                    <a:pt x="0" y="2"/>
                  </a:lnTo>
                  <a:lnTo>
                    <a:pt x="0" y="0"/>
                  </a:lnTo>
                  <a:lnTo>
                    <a:pt x="2" y="0"/>
                  </a:lnTo>
                  <a:lnTo>
                    <a:pt x="4" y="0"/>
                  </a:lnTo>
                  <a:lnTo>
                    <a:pt x="6" y="0"/>
                  </a:lnTo>
                  <a:lnTo>
                    <a:pt x="8" y="0"/>
                  </a:lnTo>
                  <a:lnTo>
                    <a:pt x="10" y="0"/>
                  </a:lnTo>
                  <a:lnTo>
                    <a:pt x="12" y="0"/>
                  </a:lnTo>
                  <a:lnTo>
                    <a:pt x="14" y="0"/>
                  </a:lnTo>
                  <a:lnTo>
                    <a:pt x="16" y="0"/>
                  </a:lnTo>
                  <a:lnTo>
                    <a:pt x="18" y="0"/>
                  </a:lnTo>
                  <a:lnTo>
                    <a:pt x="18" y="0"/>
                  </a:lnTo>
                  <a:lnTo>
                    <a:pt x="20" y="0"/>
                  </a:lnTo>
                  <a:lnTo>
                    <a:pt x="22" y="0"/>
                  </a:lnTo>
                  <a:lnTo>
                    <a:pt x="24" y="0"/>
                  </a:lnTo>
                  <a:lnTo>
                    <a:pt x="26" y="0"/>
                  </a:lnTo>
                  <a:lnTo>
                    <a:pt x="28" y="0"/>
                  </a:lnTo>
                  <a:lnTo>
                    <a:pt x="32" y="0"/>
                  </a:lnTo>
                  <a:lnTo>
                    <a:pt x="34" y="0"/>
                  </a:lnTo>
                  <a:lnTo>
                    <a:pt x="36" y="0"/>
                  </a:lnTo>
                  <a:lnTo>
                    <a:pt x="38" y="0"/>
                  </a:lnTo>
                  <a:lnTo>
                    <a:pt x="40" y="0"/>
                  </a:lnTo>
                  <a:lnTo>
                    <a:pt x="42" y="0"/>
                  </a:lnTo>
                  <a:lnTo>
                    <a:pt x="44" y="0"/>
                  </a:lnTo>
                  <a:lnTo>
                    <a:pt x="46" y="0"/>
                  </a:lnTo>
                  <a:lnTo>
                    <a:pt x="50" y="0"/>
                  </a:lnTo>
                  <a:lnTo>
                    <a:pt x="52" y="0"/>
                  </a:lnTo>
                  <a:lnTo>
                    <a:pt x="54" y="0"/>
                  </a:lnTo>
                  <a:lnTo>
                    <a:pt x="56" y="2"/>
                  </a:lnTo>
                  <a:lnTo>
                    <a:pt x="58" y="2"/>
                  </a:lnTo>
                  <a:lnTo>
                    <a:pt x="60" y="2"/>
                  </a:lnTo>
                  <a:lnTo>
                    <a:pt x="62" y="2"/>
                  </a:lnTo>
                  <a:lnTo>
                    <a:pt x="64" y="2"/>
                  </a:lnTo>
                  <a:lnTo>
                    <a:pt x="66" y="2"/>
                  </a:lnTo>
                  <a:lnTo>
                    <a:pt x="68" y="2"/>
                  </a:lnTo>
                  <a:lnTo>
                    <a:pt x="68" y="2"/>
                  </a:lnTo>
                  <a:lnTo>
                    <a:pt x="70" y="2"/>
                  </a:lnTo>
                  <a:lnTo>
                    <a:pt x="74" y="2"/>
                  </a:lnTo>
                  <a:lnTo>
                    <a:pt x="76" y="2"/>
                  </a:lnTo>
                  <a:lnTo>
                    <a:pt x="78" y="2"/>
                  </a:lnTo>
                  <a:lnTo>
                    <a:pt x="80" y="2"/>
                  </a:lnTo>
                  <a:lnTo>
                    <a:pt x="82" y="2"/>
                  </a:lnTo>
                  <a:lnTo>
                    <a:pt x="84" y="2"/>
                  </a:lnTo>
                  <a:lnTo>
                    <a:pt x="86" y="2"/>
                  </a:lnTo>
                  <a:lnTo>
                    <a:pt x="88" y="2"/>
                  </a:lnTo>
                  <a:lnTo>
                    <a:pt x="90" y="2"/>
                  </a:lnTo>
                  <a:lnTo>
                    <a:pt x="92" y="2"/>
                  </a:lnTo>
                  <a:lnTo>
                    <a:pt x="94" y="2"/>
                  </a:lnTo>
                  <a:lnTo>
                    <a:pt x="96" y="2"/>
                  </a:lnTo>
                  <a:lnTo>
                    <a:pt x="98" y="2"/>
                  </a:lnTo>
                  <a:lnTo>
                    <a:pt x="100" y="2"/>
                  </a:lnTo>
                  <a:lnTo>
                    <a:pt x="102" y="2"/>
                  </a:lnTo>
                  <a:lnTo>
                    <a:pt x="104" y="2"/>
                  </a:lnTo>
                  <a:lnTo>
                    <a:pt x="106" y="2"/>
                  </a:lnTo>
                  <a:lnTo>
                    <a:pt x="108" y="2"/>
                  </a:lnTo>
                  <a:lnTo>
                    <a:pt x="110" y="2"/>
                  </a:lnTo>
                  <a:lnTo>
                    <a:pt x="112" y="2"/>
                  </a:lnTo>
                  <a:lnTo>
                    <a:pt x="114" y="2"/>
                  </a:lnTo>
                  <a:lnTo>
                    <a:pt x="116" y="2"/>
                  </a:lnTo>
                  <a:lnTo>
                    <a:pt x="116" y="2"/>
                  </a:lnTo>
                  <a:lnTo>
                    <a:pt x="118" y="2"/>
                  </a:lnTo>
                  <a:lnTo>
                    <a:pt x="120" y="2"/>
                  </a:lnTo>
                  <a:lnTo>
                    <a:pt x="122" y="2"/>
                  </a:lnTo>
                  <a:lnTo>
                    <a:pt x="124" y="2"/>
                  </a:lnTo>
                  <a:lnTo>
                    <a:pt x="126" y="2"/>
                  </a:lnTo>
                  <a:lnTo>
                    <a:pt x="128" y="2"/>
                  </a:lnTo>
                  <a:lnTo>
                    <a:pt x="130" y="2"/>
                  </a:lnTo>
                  <a:close/>
                  <a:moveTo>
                    <a:pt x="18" y="158"/>
                  </a:moveTo>
                  <a:lnTo>
                    <a:pt x="18" y="160"/>
                  </a:lnTo>
                  <a:lnTo>
                    <a:pt x="18" y="158"/>
                  </a:lnTo>
                  <a:close/>
                </a:path>
              </a:pathLst>
            </a:custGeom>
            <a:solidFill>
              <a:srgbClr val="ABAFCF"/>
            </a:solidFill>
            <a:ln w="3175">
              <a:solidFill>
                <a:sysClr val="window" lastClr="FFFF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black"/>
                </a:solidFill>
                <a:effectLst/>
                <a:uLnTx/>
                <a:uFillTx/>
                <a:ea typeface="宋体" panose="02010600030101010101" pitchFamily="2" charset="-122"/>
              </a:endParaRPr>
            </a:p>
          </p:txBody>
        </p:sp>
        <p:sp>
          <p:nvSpPr>
            <p:cNvPr id="14" name="Freeform 1808">
              <a:extLst>
                <a:ext uri="{FF2B5EF4-FFF2-40B4-BE49-F238E27FC236}">
                  <a16:creationId xmlns:a16="http://schemas.microsoft.com/office/drawing/2014/main" id="{E35916EC-60D8-BC7A-B3E8-09B2251DDDD0}"/>
                </a:ext>
              </a:extLst>
            </p:cNvPr>
            <p:cNvSpPr>
              <a:spLocks/>
            </p:cNvSpPr>
            <p:nvPr/>
          </p:nvSpPr>
          <p:spPr bwMode="auto">
            <a:xfrm>
              <a:off x="3995738" y="2279651"/>
              <a:ext cx="406400" cy="652463"/>
            </a:xfrm>
            <a:custGeom>
              <a:avLst/>
              <a:gdLst>
                <a:gd name="T0" fmla="*/ 162 w 256"/>
                <a:gd name="T1" fmla="*/ 28 h 411"/>
                <a:gd name="T2" fmla="*/ 154 w 256"/>
                <a:gd name="T3" fmla="*/ 50 h 411"/>
                <a:gd name="T4" fmla="*/ 152 w 256"/>
                <a:gd name="T5" fmla="*/ 70 h 411"/>
                <a:gd name="T6" fmla="*/ 152 w 256"/>
                <a:gd name="T7" fmla="*/ 84 h 411"/>
                <a:gd name="T8" fmla="*/ 150 w 256"/>
                <a:gd name="T9" fmla="*/ 90 h 411"/>
                <a:gd name="T10" fmla="*/ 160 w 256"/>
                <a:gd name="T11" fmla="*/ 106 h 411"/>
                <a:gd name="T12" fmla="*/ 164 w 256"/>
                <a:gd name="T13" fmla="*/ 120 h 411"/>
                <a:gd name="T14" fmla="*/ 168 w 256"/>
                <a:gd name="T15" fmla="*/ 134 h 411"/>
                <a:gd name="T16" fmla="*/ 178 w 256"/>
                <a:gd name="T17" fmla="*/ 142 h 411"/>
                <a:gd name="T18" fmla="*/ 176 w 256"/>
                <a:gd name="T19" fmla="*/ 152 h 411"/>
                <a:gd name="T20" fmla="*/ 166 w 256"/>
                <a:gd name="T21" fmla="*/ 168 h 411"/>
                <a:gd name="T22" fmla="*/ 166 w 256"/>
                <a:gd name="T23" fmla="*/ 178 h 411"/>
                <a:gd name="T24" fmla="*/ 154 w 256"/>
                <a:gd name="T25" fmla="*/ 190 h 411"/>
                <a:gd name="T26" fmla="*/ 160 w 256"/>
                <a:gd name="T27" fmla="*/ 200 h 411"/>
                <a:gd name="T28" fmla="*/ 168 w 256"/>
                <a:gd name="T29" fmla="*/ 198 h 411"/>
                <a:gd name="T30" fmla="*/ 178 w 256"/>
                <a:gd name="T31" fmla="*/ 204 h 411"/>
                <a:gd name="T32" fmla="*/ 178 w 256"/>
                <a:gd name="T33" fmla="*/ 212 h 411"/>
                <a:gd name="T34" fmla="*/ 178 w 256"/>
                <a:gd name="T35" fmla="*/ 226 h 411"/>
                <a:gd name="T36" fmla="*/ 178 w 256"/>
                <a:gd name="T37" fmla="*/ 240 h 411"/>
                <a:gd name="T38" fmla="*/ 188 w 256"/>
                <a:gd name="T39" fmla="*/ 256 h 411"/>
                <a:gd name="T40" fmla="*/ 188 w 256"/>
                <a:gd name="T41" fmla="*/ 270 h 411"/>
                <a:gd name="T42" fmla="*/ 202 w 256"/>
                <a:gd name="T43" fmla="*/ 270 h 411"/>
                <a:gd name="T44" fmla="*/ 214 w 256"/>
                <a:gd name="T45" fmla="*/ 272 h 411"/>
                <a:gd name="T46" fmla="*/ 224 w 256"/>
                <a:gd name="T47" fmla="*/ 274 h 411"/>
                <a:gd name="T48" fmla="*/ 238 w 256"/>
                <a:gd name="T49" fmla="*/ 280 h 411"/>
                <a:gd name="T50" fmla="*/ 246 w 256"/>
                <a:gd name="T51" fmla="*/ 272 h 411"/>
                <a:gd name="T52" fmla="*/ 254 w 256"/>
                <a:gd name="T53" fmla="*/ 282 h 411"/>
                <a:gd name="T54" fmla="*/ 250 w 256"/>
                <a:gd name="T55" fmla="*/ 306 h 411"/>
                <a:gd name="T56" fmla="*/ 244 w 256"/>
                <a:gd name="T57" fmla="*/ 328 h 411"/>
                <a:gd name="T58" fmla="*/ 236 w 256"/>
                <a:gd name="T59" fmla="*/ 356 h 411"/>
                <a:gd name="T60" fmla="*/ 228 w 256"/>
                <a:gd name="T61" fmla="*/ 379 h 411"/>
                <a:gd name="T62" fmla="*/ 222 w 256"/>
                <a:gd name="T63" fmla="*/ 403 h 411"/>
                <a:gd name="T64" fmla="*/ 204 w 256"/>
                <a:gd name="T65" fmla="*/ 407 h 411"/>
                <a:gd name="T66" fmla="*/ 182 w 256"/>
                <a:gd name="T67" fmla="*/ 399 h 411"/>
                <a:gd name="T68" fmla="*/ 160 w 256"/>
                <a:gd name="T69" fmla="*/ 391 h 411"/>
                <a:gd name="T70" fmla="*/ 140 w 256"/>
                <a:gd name="T71" fmla="*/ 385 h 411"/>
                <a:gd name="T72" fmla="*/ 122 w 256"/>
                <a:gd name="T73" fmla="*/ 379 h 411"/>
                <a:gd name="T74" fmla="*/ 98 w 256"/>
                <a:gd name="T75" fmla="*/ 370 h 411"/>
                <a:gd name="T76" fmla="*/ 80 w 256"/>
                <a:gd name="T77" fmla="*/ 364 h 411"/>
                <a:gd name="T78" fmla="*/ 58 w 256"/>
                <a:gd name="T79" fmla="*/ 354 h 411"/>
                <a:gd name="T80" fmla="*/ 36 w 256"/>
                <a:gd name="T81" fmla="*/ 346 h 411"/>
                <a:gd name="T82" fmla="*/ 18 w 256"/>
                <a:gd name="T83" fmla="*/ 338 h 411"/>
                <a:gd name="T84" fmla="*/ 0 w 256"/>
                <a:gd name="T85" fmla="*/ 330 h 411"/>
                <a:gd name="T86" fmla="*/ 10 w 256"/>
                <a:gd name="T87" fmla="*/ 308 h 411"/>
                <a:gd name="T88" fmla="*/ 22 w 256"/>
                <a:gd name="T89" fmla="*/ 282 h 411"/>
                <a:gd name="T90" fmla="*/ 32 w 256"/>
                <a:gd name="T91" fmla="*/ 252 h 411"/>
                <a:gd name="T92" fmla="*/ 44 w 256"/>
                <a:gd name="T93" fmla="*/ 236 h 411"/>
                <a:gd name="T94" fmla="*/ 44 w 256"/>
                <a:gd name="T95" fmla="*/ 226 h 411"/>
                <a:gd name="T96" fmla="*/ 42 w 256"/>
                <a:gd name="T97" fmla="*/ 210 h 411"/>
                <a:gd name="T98" fmla="*/ 58 w 256"/>
                <a:gd name="T99" fmla="*/ 200 h 411"/>
                <a:gd name="T100" fmla="*/ 68 w 256"/>
                <a:gd name="T101" fmla="*/ 188 h 411"/>
                <a:gd name="T102" fmla="*/ 80 w 256"/>
                <a:gd name="T103" fmla="*/ 176 h 411"/>
                <a:gd name="T104" fmla="*/ 90 w 256"/>
                <a:gd name="T105" fmla="*/ 162 h 411"/>
                <a:gd name="T106" fmla="*/ 82 w 256"/>
                <a:gd name="T107" fmla="*/ 142 h 411"/>
                <a:gd name="T108" fmla="*/ 86 w 256"/>
                <a:gd name="T109" fmla="*/ 126 h 411"/>
                <a:gd name="T110" fmla="*/ 94 w 256"/>
                <a:gd name="T111" fmla="*/ 104 h 411"/>
                <a:gd name="T112" fmla="*/ 104 w 256"/>
                <a:gd name="T113" fmla="*/ 82 h 411"/>
                <a:gd name="T114" fmla="*/ 114 w 256"/>
                <a:gd name="T115" fmla="*/ 60 h 411"/>
                <a:gd name="T116" fmla="*/ 122 w 256"/>
                <a:gd name="T117" fmla="*/ 40 h 411"/>
                <a:gd name="T118" fmla="*/ 128 w 256"/>
                <a:gd name="T119" fmla="*/ 22 h 411"/>
                <a:gd name="T120" fmla="*/ 136 w 256"/>
                <a:gd name="T121" fmla="*/ 2 h 411"/>
                <a:gd name="T122" fmla="*/ 160 w 256"/>
                <a:gd name="T123" fmla="*/ 8 h 4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56" h="411">
                  <a:moveTo>
                    <a:pt x="168" y="12"/>
                  </a:moveTo>
                  <a:lnTo>
                    <a:pt x="170" y="12"/>
                  </a:lnTo>
                  <a:lnTo>
                    <a:pt x="168" y="14"/>
                  </a:lnTo>
                  <a:lnTo>
                    <a:pt x="168" y="16"/>
                  </a:lnTo>
                  <a:lnTo>
                    <a:pt x="168" y="18"/>
                  </a:lnTo>
                  <a:lnTo>
                    <a:pt x="166" y="18"/>
                  </a:lnTo>
                  <a:lnTo>
                    <a:pt x="166" y="20"/>
                  </a:lnTo>
                  <a:lnTo>
                    <a:pt x="166" y="22"/>
                  </a:lnTo>
                  <a:lnTo>
                    <a:pt x="164" y="22"/>
                  </a:lnTo>
                  <a:lnTo>
                    <a:pt x="164" y="24"/>
                  </a:lnTo>
                  <a:lnTo>
                    <a:pt x="164" y="26"/>
                  </a:lnTo>
                  <a:lnTo>
                    <a:pt x="164" y="28"/>
                  </a:lnTo>
                  <a:lnTo>
                    <a:pt x="162" y="28"/>
                  </a:lnTo>
                  <a:lnTo>
                    <a:pt x="162" y="30"/>
                  </a:lnTo>
                  <a:lnTo>
                    <a:pt x="162" y="32"/>
                  </a:lnTo>
                  <a:lnTo>
                    <a:pt x="160" y="34"/>
                  </a:lnTo>
                  <a:lnTo>
                    <a:pt x="160" y="36"/>
                  </a:lnTo>
                  <a:lnTo>
                    <a:pt x="158" y="38"/>
                  </a:lnTo>
                  <a:lnTo>
                    <a:pt x="158" y="40"/>
                  </a:lnTo>
                  <a:lnTo>
                    <a:pt x="158" y="42"/>
                  </a:lnTo>
                  <a:lnTo>
                    <a:pt x="156" y="42"/>
                  </a:lnTo>
                  <a:lnTo>
                    <a:pt x="156" y="44"/>
                  </a:lnTo>
                  <a:lnTo>
                    <a:pt x="156" y="46"/>
                  </a:lnTo>
                  <a:lnTo>
                    <a:pt x="154" y="46"/>
                  </a:lnTo>
                  <a:lnTo>
                    <a:pt x="154" y="48"/>
                  </a:lnTo>
                  <a:lnTo>
                    <a:pt x="154" y="50"/>
                  </a:lnTo>
                  <a:lnTo>
                    <a:pt x="152" y="50"/>
                  </a:lnTo>
                  <a:lnTo>
                    <a:pt x="152" y="52"/>
                  </a:lnTo>
                  <a:lnTo>
                    <a:pt x="152" y="54"/>
                  </a:lnTo>
                  <a:lnTo>
                    <a:pt x="152" y="56"/>
                  </a:lnTo>
                  <a:lnTo>
                    <a:pt x="150" y="56"/>
                  </a:lnTo>
                  <a:lnTo>
                    <a:pt x="150" y="58"/>
                  </a:lnTo>
                  <a:lnTo>
                    <a:pt x="150" y="60"/>
                  </a:lnTo>
                  <a:lnTo>
                    <a:pt x="150" y="62"/>
                  </a:lnTo>
                  <a:lnTo>
                    <a:pt x="150" y="64"/>
                  </a:lnTo>
                  <a:lnTo>
                    <a:pt x="150" y="66"/>
                  </a:lnTo>
                  <a:lnTo>
                    <a:pt x="150" y="68"/>
                  </a:lnTo>
                  <a:lnTo>
                    <a:pt x="152" y="68"/>
                  </a:lnTo>
                  <a:lnTo>
                    <a:pt x="152" y="70"/>
                  </a:lnTo>
                  <a:lnTo>
                    <a:pt x="152" y="68"/>
                  </a:lnTo>
                  <a:lnTo>
                    <a:pt x="152" y="70"/>
                  </a:lnTo>
                  <a:lnTo>
                    <a:pt x="152" y="68"/>
                  </a:lnTo>
                  <a:lnTo>
                    <a:pt x="152" y="70"/>
                  </a:lnTo>
                  <a:lnTo>
                    <a:pt x="152" y="72"/>
                  </a:lnTo>
                  <a:lnTo>
                    <a:pt x="152" y="74"/>
                  </a:lnTo>
                  <a:lnTo>
                    <a:pt x="154" y="74"/>
                  </a:lnTo>
                  <a:lnTo>
                    <a:pt x="154" y="76"/>
                  </a:lnTo>
                  <a:lnTo>
                    <a:pt x="154" y="78"/>
                  </a:lnTo>
                  <a:lnTo>
                    <a:pt x="154" y="80"/>
                  </a:lnTo>
                  <a:lnTo>
                    <a:pt x="154" y="82"/>
                  </a:lnTo>
                  <a:lnTo>
                    <a:pt x="154" y="84"/>
                  </a:lnTo>
                  <a:lnTo>
                    <a:pt x="152" y="84"/>
                  </a:lnTo>
                  <a:lnTo>
                    <a:pt x="152" y="86"/>
                  </a:lnTo>
                  <a:lnTo>
                    <a:pt x="150" y="86"/>
                  </a:lnTo>
                  <a:lnTo>
                    <a:pt x="152" y="86"/>
                  </a:lnTo>
                  <a:lnTo>
                    <a:pt x="152" y="88"/>
                  </a:lnTo>
                  <a:lnTo>
                    <a:pt x="152" y="90"/>
                  </a:lnTo>
                  <a:lnTo>
                    <a:pt x="154" y="90"/>
                  </a:lnTo>
                  <a:lnTo>
                    <a:pt x="152" y="90"/>
                  </a:lnTo>
                  <a:lnTo>
                    <a:pt x="152" y="90"/>
                  </a:lnTo>
                  <a:lnTo>
                    <a:pt x="152" y="90"/>
                  </a:lnTo>
                  <a:lnTo>
                    <a:pt x="150" y="90"/>
                  </a:lnTo>
                  <a:lnTo>
                    <a:pt x="148" y="90"/>
                  </a:lnTo>
                  <a:lnTo>
                    <a:pt x="148" y="90"/>
                  </a:lnTo>
                  <a:lnTo>
                    <a:pt x="150" y="90"/>
                  </a:lnTo>
                  <a:lnTo>
                    <a:pt x="150" y="92"/>
                  </a:lnTo>
                  <a:lnTo>
                    <a:pt x="150" y="94"/>
                  </a:lnTo>
                  <a:lnTo>
                    <a:pt x="152" y="94"/>
                  </a:lnTo>
                  <a:lnTo>
                    <a:pt x="152" y="96"/>
                  </a:lnTo>
                  <a:lnTo>
                    <a:pt x="154" y="96"/>
                  </a:lnTo>
                  <a:lnTo>
                    <a:pt x="154" y="98"/>
                  </a:lnTo>
                  <a:lnTo>
                    <a:pt x="154" y="100"/>
                  </a:lnTo>
                  <a:lnTo>
                    <a:pt x="156" y="100"/>
                  </a:lnTo>
                  <a:lnTo>
                    <a:pt x="156" y="102"/>
                  </a:lnTo>
                  <a:lnTo>
                    <a:pt x="158" y="102"/>
                  </a:lnTo>
                  <a:lnTo>
                    <a:pt x="158" y="104"/>
                  </a:lnTo>
                  <a:lnTo>
                    <a:pt x="160" y="104"/>
                  </a:lnTo>
                  <a:lnTo>
                    <a:pt x="160" y="106"/>
                  </a:lnTo>
                  <a:lnTo>
                    <a:pt x="158" y="106"/>
                  </a:lnTo>
                  <a:lnTo>
                    <a:pt x="158" y="108"/>
                  </a:lnTo>
                  <a:lnTo>
                    <a:pt x="160" y="108"/>
                  </a:lnTo>
                  <a:lnTo>
                    <a:pt x="160" y="110"/>
                  </a:lnTo>
                  <a:lnTo>
                    <a:pt x="162" y="110"/>
                  </a:lnTo>
                  <a:lnTo>
                    <a:pt x="162" y="112"/>
                  </a:lnTo>
                  <a:lnTo>
                    <a:pt x="162" y="114"/>
                  </a:lnTo>
                  <a:lnTo>
                    <a:pt x="162" y="116"/>
                  </a:lnTo>
                  <a:lnTo>
                    <a:pt x="164" y="116"/>
                  </a:lnTo>
                  <a:lnTo>
                    <a:pt x="164" y="118"/>
                  </a:lnTo>
                  <a:lnTo>
                    <a:pt x="164" y="120"/>
                  </a:lnTo>
                  <a:lnTo>
                    <a:pt x="162" y="120"/>
                  </a:lnTo>
                  <a:lnTo>
                    <a:pt x="164" y="120"/>
                  </a:lnTo>
                  <a:lnTo>
                    <a:pt x="164" y="122"/>
                  </a:lnTo>
                  <a:lnTo>
                    <a:pt x="164" y="124"/>
                  </a:lnTo>
                  <a:lnTo>
                    <a:pt x="166" y="124"/>
                  </a:lnTo>
                  <a:lnTo>
                    <a:pt x="166" y="126"/>
                  </a:lnTo>
                  <a:lnTo>
                    <a:pt x="166" y="128"/>
                  </a:lnTo>
                  <a:lnTo>
                    <a:pt x="164" y="128"/>
                  </a:lnTo>
                  <a:lnTo>
                    <a:pt x="166" y="128"/>
                  </a:lnTo>
                  <a:lnTo>
                    <a:pt x="164" y="128"/>
                  </a:lnTo>
                  <a:lnTo>
                    <a:pt x="164" y="130"/>
                  </a:lnTo>
                  <a:lnTo>
                    <a:pt x="166" y="130"/>
                  </a:lnTo>
                  <a:lnTo>
                    <a:pt x="166" y="132"/>
                  </a:lnTo>
                  <a:lnTo>
                    <a:pt x="166" y="134"/>
                  </a:lnTo>
                  <a:lnTo>
                    <a:pt x="168" y="134"/>
                  </a:lnTo>
                  <a:lnTo>
                    <a:pt x="168" y="136"/>
                  </a:lnTo>
                  <a:lnTo>
                    <a:pt x="168" y="138"/>
                  </a:lnTo>
                  <a:lnTo>
                    <a:pt x="170" y="138"/>
                  </a:lnTo>
                  <a:lnTo>
                    <a:pt x="172" y="138"/>
                  </a:lnTo>
                  <a:lnTo>
                    <a:pt x="172" y="138"/>
                  </a:lnTo>
                  <a:lnTo>
                    <a:pt x="172" y="140"/>
                  </a:lnTo>
                  <a:lnTo>
                    <a:pt x="172" y="142"/>
                  </a:lnTo>
                  <a:lnTo>
                    <a:pt x="174" y="142"/>
                  </a:lnTo>
                  <a:lnTo>
                    <a:pt x="176" y="142"/>
                  </a:lnTo>
                  <a:lnTo>
                    <a:pt x="176" y="144"/>
                  </a:lnTo>
                  <a:lnTo>
                    <a:pt x="176" y="144"/>
                  </a:lnTo>
                  <a:lnTo>
                    <a:pt x="176" y="142"/>
                  </a:lnTo>
                  <a:lnTo>
                    <a:pt x="178" y="142"/>
                  </a:lnTo>
                  <a:lnTo>
                    <a:pt x="180" y="142"/>
                  </a:lnTo>
                  <a:lnTo>
                    <a:pt x="180" y="144"/>
                  </a:lnTo>
                  <a:lnTo>
                    <a:pt x="180" y="146"/>
                  </a:lnTo>
                  <a:lnTo>
                    <a:pt x="178" y="146"/>
                  </a:lnTo>
                  <a:lnTo>
                    <a:pt x="178" y="148"/>
                  </a:lnTo>
                  <a:lnTo>
                    <a:pt x="178" y="150"/>
                  </a:lnTo>
                  <a:lnTo>
                    <a:pt x="176" y="150"/>
                  </a:lnTo>
                  <a:lnTo>
                    <a:pt x="176" y="152"/>
                  </a:lnTo>
                  <a:lnTo>
                    <a:pt x="176" y="150"/>
                  </a:lnTo>
                  <a:lnTo>
                    <a:pt x="176" y="152"/>
                  </a:lnTo>
                  <a:lnTo>
                    <a:pt x="176" y="150"/>
                  </a:lnTo>
                  <a:lnTo>
                    <a:pt x="176" y="150"/>
                  </a:lnTo>
                  <a:lnTo>
                    <a:pt x="176" y="152"/>
                  </a:lnTo>
                  <a:lnTo>
                    <a:pt x="176" y="154"/>
                  </a:lnTo>
                  <a:lnTo>
                    <a:pt x="176" y="156"/>
                  </a:lnTo>
                  <a:lnTo>
                    <a:pt x="174" y="156"/>
                  </a:lnTo>
                  <a:lnTo>
                    <a:pt x="174" y="158"/>
                  </a:lnTo>
                  <a:lnTo>
                    <a:pt x="172" y="158"/>
                  </a:lnTo>
                  <a:lnTo>
                    <a:pt x="172" y="160"/>
                  </a:lnTo>
                  <a:lnTo>
                    <a:pt x="172" y="162"/>
                  </a:lnTo>
                  <a:lnTo>
                    <a:pt x="170" y="162"/>
                  </a:lnTo>
                  <a:lnTo>
                    <a:pt x="170" y="164"/>
                  </a:lnTo>
                  <a:lnTo>
                    <a:pt x="170" y="166"/>
                  </a:lnTo>
                  <a:lnTo>
                    <a:pt x="168" y="166"/>
                  </a:lnTo>
                  <a:lnTo>
                    <a:pt x="166" y="166"/>
                  </a:lnTo>
                  <a:lnTo>
                    <a:pt x="166" y="168"/>
                  </a:lnTo>
                  <a:lnTo>
                    <a:pt x="166" y="170"/>
                  </a:lnTo>
                  <a:lnTo>
                    <a:pt x="166" y="172"/>
                  </a:lnTo>
                  <a:lnTo>
                    <a:pt x="166" y="170"/>
                  </a:lnTo>
                  <a:lnTo>
                    <a:pt x="166" y="172"/>
                  </a:lnTo>
                  <a:lnTo>
                    <a:pt x="164" y="172"/>
                  </a:lnTo>
                  <a:lnTo>
                    <a:pt x="164" y="174"/>
                  </a:lnTo>
                  <a:lnTo>
                    <a:pt x="166" y="174"/>
                  </a:lnTo>
                  <a:lnTo>
                    <a:pt x="164" y="174"/>
                  </a:lnTo>
                  <a:lnTo>
                    <a:pt x="164" y="176"/>
                  </a:lnTo>
                  <a:lnTo>
                    <a:pt x="166" y="176"/>
                  </a:lnTo>
                  <a:lnTo>
                    <a:pt x="166" y="178"/>
                  </a:lnTo>
                  <a:lnTo>
                    <a:pt x="164" y="178"/>
                  </a:lnTo>
                  <a:lnTo>
                    <a:pt x="166" y="178"/>
                  </a:lnTo>
                  <a:lnTo>
                    <a:pt x="166" y="180"/>
                  </a:lnTo>
                  <a:lnTo>
                    <a:pt x="166" y="182"/>
                  </a:lnTo>
                  <a:lnTo>
                    <a:pt x="164" y="182"/>
                  </a:lnTo>
                  <a:lnTo>
                    <a:pt x="162" y="182"/>
                  </a:lnTo>
                  <a:lnTo>
                    <a:pt x="160" y="182"/>
                  </a:lnTo>
                  <a:lnTo>
                    <a:pt x="160" y="184"/>
                  </a:lnTo>
                  <a:lnTo>
                    <a:pt x="158" y="184"/>
                  </a:lnTo>
                  <a:lnTo>
                    <a:pt x="158" y="186"/>
                  </a:lnTo>
                  <a:lnTo>
                    <a:pt x="158" y="186"/>
                  </a:lnTo>
                  <a:lnTo>
                    <a:pt x="158" y="188"/>
                  </a:lnTo>
                  <a:lnTo>
                    <a:pt x="158" y="190"/>
                  </a:lnTo>
                  <a:lnTo>
                    <a:pt x="156" y="190"/>
                  </a:lnTo>
                  <a:lnTo>
                    <a:pt x="154" y="190"/>
                  </a:lnTo>
                  <a:lnTo>
                    <a:pt x="156" y="190"/>
                  </a:lnTo>
                  <a:lnTo>
                    <a:pt x="156" y="192"/>
                  </a:lnTo>
                  <a:lnTo>
                    <a:pt x="154" y="192"/>
                  </a:lnTo>
                  <a:lnTo>
                    <a:pt x="154" y="194"/>
                  </a:lnTo>
                  <a:lnTo>
                    <a:pt x="156" y="194"/>
                  </a:lnTo>
                  <a:lnTo>
                    <a:pt x="158" y="194"/>
                  </a:lnTo>
                  <a:lnTo>
                    <a:pt x="156" y="196"/>
                  </a:lnTo>
                  <a:lnTo>
                    <a:pt x="158" y="196"/>
                  </a:lnTo>
                  <a:lnTo>
                    <a:pt x="158" y="198"/>
                  </a:lnTo>
                  <a:lnTo>
                    <a:pt x="158" y="200"/>
                  </a:lnTo>
                  <a:lnTo>
                    <a:pt x="160" y="200"/>
                  </a:lnTo>
                  <a:lnTo>
                    <a:pt x="158" y="200"/>
                  </a:lnTo>
                  <a:lnTo>
                    <a:pt x="160" y="200"/>
                  </a:lnTo>
                  <a:lnTo>
                    <a:pt x="158" y="200"/>
                  </a:lnTo>
                  <a:lnTo>
                    <a:pt x="160" y="200"/>
                  </a:lnTo>
                  <a:lnTo>
                    <a:pt x="160" y="202"/>
                  </a:lnTo>
                  <a:lnTo>
                    <a:pt x="162" y="202"/>
                  </a:lnTo>
                  <a:lnTo>
                    <a:pt x="162" y="200"/>
                  </a:lnTo>
                  <a:lnTo>
                    <a:pt x="164" y="200"/>
                  </a:lnTo>
                  <a:lnTo>
                    <a:pt x="164" y="198"/>
                  </a:lnTo>
                  <a:lnTo>
                    <a:pt x="166" y="198"/>
                  </a:lnTo>
                  <a:lnTo>
                    <a:pt x="166" y="200"/>
                  </a:lnTo>
                  <a:lnTo>
                    <a:pt x="166" y="198"/>
                  </a:lnTo>
                  <a:lnTo>
                    <a:pt x="166" y="200"/>
                  </a:lnTo>
                  <a:lnTo>
                    <a:pt x="168" y="200"/>
                  </a:lnTo>
                  <a:lnTo>
                    <a:pt x="168" y="198"/>
                  </a:lnTo>
                  <a:lnTo>
                    <a:pt x="170" y="198"/>
                  </a:lnTo>
                  <a:lnTo>
                    <a:pt x="172" y="198"/>
                  </a:lnTo>
                  <a:lnTo>
                    <a:pt x="172" y="196"/>
                  </a:lnTo>
                  <a:lnTo>
                    <a:pt x="174" y="196"/>
                  </a:lnTo>
                  <a:lnTo>
                    <a:pt x="174" y="194"/>
                  </a:lnTo>
                  <a:lnTo>
                    <a:pt x="176" y="194"/>
                  </a:lnTo>
                  <a:lnTo>
                    <a:pt x="176" y="194"/>
                  </a:lnTo>
                  <a:lnTo>
                    <a:pt x="176" y="196"/>
                  </a:lnTo>
                  <a:lnTo>
                    <a:pt x="176" y="198"/>
                  </a:lnTo>
                  <a:lnTo>
                    <a:pt x="176" y="200"/>
                  </a:lnTo>
                  <a:lnTo>
                    <a:pt x="178" y="200"/>
                  </a:lnTo>
                  <a:lnTo>
                    <a:pt x="178" y="202"/>
                  </a:lnTo>
                  <a:lnTo>
                    <a:pt x="178" y="204"/>
                  </a:lnTo>
                  <a:lnTo>
                    <a:pt x="176" y="204"/>
                  </a:lnTo>
                  <a:lnTo>
                    <a:pt x="176" y="206"/>
                  </a:lnTo>
                  <a:lnTo>
                    <a:pt x="176" y="204"/>
                  </a:lnTo>
                  <a:lnTo>
                    <a:pt x="176" y="206"/>
                  </a:lnTo>
                  <a:lnTo>
                    <a:pt x="178" y="206"/>
                  </a:lnTo>
                  <a:lnTo>
                    <a:pt x="178" y="208"/>
                  </a:lnTo>
                  <a:lnTo>
                    <a:pt x="176" y="208"/>
                  </a:lnTo>
                  <a:lnTo>
                    <a:pt x="178" y="210"/>
                  </a:lnTo>
                  <a:lnTo>
                    <a:pt x="176" y="210"/>
                  </a:lnTo>
                  <a:lnTo>
                    <a:pt x="178" y="210"/>
                  </a:lnTo>
                  <a:lnTo>
                    <a:pt x="176" y="210"/>
                  </a:lnTo>
                  <a:lnTo>
                    <a:pt x="176" y="212"/>
                  </a:lnTo>
                  <a:lnTo>
                    <a:pt x="178" y="212"/>
                  </a:lnTo>
                  <a:lnTo>
                    <a:pt x="178" y="214"/>
                  </a:lnTo>
                  <a:lnTo>
                    <a:pt x="176" y="214"/>
                  </a:lnTo>
                  <a:lnTo>
                    <a:pt x="178" y="214"/>
                  </a:lnTo>
                  <a:lnTo>
                    <a:pt x="176" y="214"/>
                  </a:lnTo>
                  <a:lnTo>
                    <a:pt x="176" y="216"/>
                  </a:lnTo>
                  <a:lnTo>
                    <a:pt x="176" y="218"/>
                  </a:lnTo>
                  <a:lnTo>
                    <a:pt x="178" y="218"/>
                  </a:lnTo>
                  <a:lnTo>
                    <a:pt x="178" y="220"/>
                  </a:lnTo>
                  <a:lnTo>
                    <a:pt x="176" y="220"/>
                  </a:lnTo>
                  <a:lnTo>
                    <a:pt x="178" y="220"/>
                  </a:lnTo>
                  <a:lnTo>
                    <a:pt x="178" y="222"/>
                  </a:lnTo>
                  <a:lnTo>
                    <a:pt x="178" y="224"/>
                  </a:lnTo>
                  <a:lnTo>
                    <a:pt x="178" y="226"/>
                  </a:lnTo>
                  <a:lnTo>
                    <a:pt x="180" y="226"/>
                  </a:lnTo>
                  <a:lnTo>
                    <a:pt x="180" y="228"/>
                  </a:lnTo>
                  <a:lnTo>
                    <a:pt x="178" y="228"/>
                  </a:lnTo>
                  <a:lnTo>
                    <a:pt x="180" y="230"/>
                  </a:lnTo>
                  <a:lnTo>
                    <a:pt x="180" y="232"/>
                  </a:lnTo>
                  <a:lnTo>
                    <a:pt x="182" y="232"/>
                  </a:lnTo>
                  <a:lnTo>
                    <a:pt x="182" y="234"/>
                  </a:lnTo>
                  <a:lnTo>
                    <a:pt x="182" y="234"/>
                  </a:lnTo>
                  <a:lnTo>
                    <a:pt x="180" y="234"/>
                  </a:lnTo>
                  <a:lnTo>
                    <a:pt x="180" y="236"/>
                  </a:lnTo>
                  <a:lnTo>
                    <a:pt x="178" y="236"/>
                  </a:lnTo>
                  <a:lnTo>
                    <a:pt x="178" y="238"/>
                  </a:lnTo>
                  <a:lnTo>
                    <a:pt x="178" y="240"/>
                  </a:lnTo>
                  <a:lnTo>
                    <a:pt x="178" y="242"/>
                  </a:lnTo>
                  <a:lnTo>
                    <a:pt x="180" y="242"/>
                  </a:lnTo>
                  <a:lnTo>
                    <a:pt x="180" y="244"/>
                  </a:lnTo>
                  <a:lnTo>
                    <a:pt x="180" y="246"/>
                  </a:lnTo>
                  <a:lnTo>
                    <a:pt x="182" y="246"/>
                  </a:lnTo>
                  <a:lnTo>
                    <a:pt x="184" y="246"/>
                  </a:lnTo>
                  <a:lnTo>
                    <a:pt x="186" y="246"/>
                  </a:lnTo>
                  <a:lnTo>
                    <a:pt x="186" y="248"/>
                  </a:lnTo>
                  <a:lnTo>
                    <a:pt x="188" y="248"/>
                  </a:lnTo>
                  <a:lnTo>
                    <a:pt x="188" y="250"/>
                  </a:lnTo>
                  <a:lnTo>
                    <a:pt x="188" y="252"/>
                  </a:lnTo>
                  <a:lnTo>
                    <a:pt x="188" y="254"/>
                  </a:lnTo>
                  <a:lnTo>
                    <a:pt x="188" y="256"/>
                  </a:lnTo>
                  <a:lnTo>
                    <a:pt x="188" y="258"/>
                  </a:lnTo>
                  <a:lnTo>
                    <a:pt x="186" y="258"/>
                  </a:lnTo>
                  <a:lnTo>
                    <a:pt x="186" y="260"/>
                  </a:lnTo>
                  <a:lnTo>
                    <a:pt x="188" y="260"/>
                  </a:lnTo>
                  <a:lnTo>
                    <a:pt x="186" y="260"/>
                  </a:lnTo>
                  <a:lnTo>
                    <a:pt x="188" y="260"/>
                  </a:lnTo>
                  <a:lnTo>
                    <a:pt x="188" y="262"/>
                  </a:lnTo>
                  <a:lnTo>
                    <a:pt x="188" y="264"/>
                  </a:lnTo>
                  <a:lnTo>
                    <a:pt x="186" y="264"/>
                  </a:lnTo>
                  <a:lnTo>
                    <a:pt x="186" y="266"/>
                  </a:lnTo>
                  <a:lnTo>
                    <a:pt x="188" y="266"/>
                  </a:lnTo>
                  <a:lnTo>
                    <a:pt x="188" y="268"/>
                  </a:lnTo>
                  <a:lnTo>
                    <a:pt x="188" y="270"/>
                  </a:lnTo>
                  <a:lnTo>
                    <a:pt x="190" y="270"/>
                  </a:lnTo>
                  <a:lnTo>
                    <a:pt x="190" y="272"/>
                  </a:lnTo>
                  <a:lnTo>
                    <a:pt x="190" y="274"/>
                  </a:lnTo>
                  <a:lnTo>
                    <a:pt x="192" y="274"/>
                  </a:lnTo>
                  <a:lnTo>
                    <a:pt x="192" y="272"/>
                  </a:lnTo>
                  <a:lnTo>
                    <a:pt x="192" y="270"/>
                  </a:lnTo>
                  <a:lnTo>
                    <a:pt x="194" y="270"/>
                  </a:lnTo>
                  <a:lnTo>
                    <a:pt x="194" y="268"/>
                  </a:lnTo>
                  <a:lnTo>
                    <a:pt x="196" y="268"/>
                  </a:lnTo>
                  <a:lnTo>
                    <a:pt x="198" y="268"/>
                  </a:lnTo>
                  <a:lnTo>
                    <a:pt x="200" y="268"/>
                  </a:lnTo>
                  <a:lnTo>
                    <a:pt x="200" y="270"/>
                  </a:lnTo>
                  <a:lnTo>
                    <a:pt x="202" y="270"/>
                  </a:lnTo>
                  <a:lnTo>
                    <a:pt x="202" y="272"/>
                  </a:lnTo>
                  <a:lnTo>
                    <a:pt x="204" y="272"/>
                  </a:lnTo>
                  <a:lnTo>
                    <a:pt x="206" y="272"/>
                  </a:lnTo>
                  <a:lnTo>
                    <a:pt x="208" y="272"/>
                  </a:lnTo>
                  <a:lnTo>
                    <a:pt x="208" y="274"/>
                  </a:lnTo>
                  <a:lnTo>
                    <a:pt x="210" y="274"/>
                  </a:lnTo>
                  <a:lnTo>
                    <a:pt x="210" y="276"/>
                  </a:lnTo>
                  <a:lnTo>
                    <a:pt x="210" y="274"/>
                  </a:lnTo>
                  <a:lnTo>
                    <a:pt x="212" y="274"/>
                  </a:lnTo>
                  <a:lnTo>
                    <a:pt x="212" y="272"/>
                  </a:lnTo>
                  <a:lnTo>
                    <a:pt x="212" y="270"/>
                  </a:lnTo>
                  <a:lnTo>
                    <a:pt x="212" y="272"/>
                  </a:lnTo>
                  <a:lnTo>
                    <a:pt x="214" y="272"/>
                  </a:lnTo>
                  <a:lnTo>
                    <a:pt x="214" y="270"/>
                  </a:lnTo>
                  <a:lnTo>
                    <a:pt x="216" y="270"/>
                  </a:lnTo>
                  <a:lnTo>
                    <a:pt x="218" y="272"/>
                  </a:lnTo>
                  <a:lnTo>
                    <a:pt x="216" y="272"/>
                  </a:lnTo>
                  <a:lnTo>
                    <a:pt x="218" y="272"/>
                  </a:lnTo>
                  <a:lnTo>
                    <a:pt x="216" y="272"/>
                  </a:lnTo>
                  <a:lnTo>
                    <a:pt x="218" y="272"/>
                  </a:lnTo>
                  <a:lnTo>
                    <a:pt x="218" y="274"/>
                  </a:lnTo>
                  <a:lnTo>
                    <a:pt x="220" y="274"/>
                  </a:lnTo>
                  <a:lnTo>
                    <a:pt x="222" y="274"/>
                  </a:lnTo>
                  <a:lnTo>
                    <a:pt x="224" y="274"/>
                  </a:lnTo>
                  <a:lnTo>
                    <a:pt x="224" y="276"/>
                  </a:lnTo>
                  <a:lnTo>
                    <a:pt x="224" y="274"/>
                  </a:lnTo>
                  <a:lnTo>
                    <a:pt x="224" y="276"/>
                  </a:lnTo>
                  <a:lnTo>
                    <a:pt x="224" y="276"/>
                  </a:lnTo>
                  <a:lnTo>
                    <a:pt x="224" y="274"/>
                  </a:lnTo>
                  <a:lnTo>
                    <a:pt x="224" y="276"/>
                  </a:lnTo>
                  <a:lnTo>
                    <a:pt x="226" y="274"/>
                  </a:lnTo>
                  <a:lnTo>
                    <a:pt x="226" y="276"/>
                  </a:lnTo>
                  <a:lnTo>
                    <a:pt x="228" y="276"/>
                  </a:lnTo>
                  <a:lnTo>
                    <a:pt x="228" y="278"/>
                  </a:lnTo>
                  <a:lnTo>
                    <a:pt x="230" y="278"/>
                  </a:lnTo>
                  <a:lnTo>
                    <a:pt x="232" y="278"/>
                  </a:lnTo>
                  <a:lnTo>
                    <a:pt x="234" y="278"/>
                  </a:lnTo>
                  <a:lnTo>
                    <a:pt x="236" y="278"/>
                  </a:lnTo>
                  <a:lnTo>
                    <a:pt x="238" y="280"/>
                  </a:lnTo>
                  <a:lnTo>
                    <a:pt x="238" y="278"/>
                  </a:lnTo>
                  <a:lnTo>
                    <a:pt x="238" y="280"/>
                  </a:lnTo>
                  <a:lnTo>
                    <a:pt x="240" y="280"/>
                  </a:lnTo>
                  <a:lnTo>
                    <a:pt x="240" y="282"/>
                  </a:lnTo>
                  <a:lnTo>
                    <a:pt x="242" y="280"/>
                  </a:lnTo>
                  <a:lnTo>
                    <a:pt x="242" y="282"/>
                  </a:lnTo>
                  <a:lnTo>
                    <a:pt x="242" y="280"/>
                  </a:lnTo>
                  <a:lnTo>
                    <a:pt x="242" y="278"/>
                  </a:lnTo>
                  <a:lnTo>
                    <a:pt x="242" y="276"/>
                  </a:lnTo>
                  <a:lnTo>
                    <a:pt x="244" y="276"/>
                  </a:lnTo>
                  <a:lnTo>
                    <a:pt x="244" y="274"/>
                  </a:lnTo>
                  <a:lnTo>
                    <a:pt x="244" y="272"/>
                  </a:lnTo>
                  <a:lnTo>
                    <a:pt x="246" y="272"/>
                  </a:lnTo>
                  <a:lnTo>
                    <a:pt x="246" y="274"/>
                  </a:lnTo>
                  <a:lnTo>
                    <a:pt x="248" y="274"/>
                  </a:lnTo>
                  <a:lnTo>
                    <a:pt x="248" y="272"/>
                  </a:lnTo>
                  <a:lnTo>
                    <a:pt x="250" y="272"/>
                  </a:lnTo>
                  <a:lnTo>
                    <a:pt x="250" y="274"/>
                  </a:lnTo>
                  <a:lnTo>
                    <a:pt x="250" y="272"/>
                  </a:lnTo>
                  <a:lnTo>
                    <a:pt x="250" y="274"/>
                  </a:lnTo>
                  <a:lnTo>
                    <a:pt x="252" y="274"/>
                  </a:lnTo>
                  <a:lnTo>
                    <a:pt x="252" y="276"/>
                  </a:lnTo>
                  <a:lnTo>
                    <a:pt x="252" y="278"/>
                  </a:lnTo>
                  <a:lnTo>
                    <a:pt x="252" y="280"/>
                  </a:lnTo>
                  <a:lnTo>
                    <a:pt x="252" y="282"/>
                  </a:lnTo>
                  <a:lnTo>
                    <a:pt x="254" y="282"/>
                  </a:lnTo>
                  <a:lnTo>
                    <a:pt x="254" y="282"/>
                  </a:lnTo>
                  <a:lnTo>
                    <a:pt x="254" y="284"/>
                  </a:lnTo>
                  <a:lnTo>
                    <a:pt x="254" y="286"/>
                  </a:lnTo>
                  <a:lnTo>
                    <a:pt x="256" y="286"/>
                  </a:lnTo>
                  <a:lnTo>
                    <a:pt x="256" y="288"/>
                  </a:lnTo>
                  <a:lnTo>
                    <a:pt x="256" y="290"/>
                  </a:lnTo>
                  <a:lnTo>
                    <a:pt x="256" y="292"/>
                  </a:lnTo>
                  <a:lnTo>
                    <a:pt x="254" y="294"/>
                  </a:lnTo>
                  <a:lnTo>
                    <a:pt x="254" y="296"/>
                  </a:lnTo>
                  <a:lnTo>
                    <a:pt x="254" y="298"/>
                  </a:lnTo>
                  <a:lnTo>
                    <a:pt x="252" y="300"/>
                  </a:lnTo>
                  <a:lnTo>
                    <a:pt x="252" y="306"/>
                  </a:lnTo>
                  <a:lnTo>
                    <a:pt x="250" y="306"/>
                  </a:lnTo>
                  <a:lnTo>
                    <a:pt x="250" y="308"/>
                  </a:lnTo>
                  <a:lnTo>
                    <a:pt x="250" y="310"/>
                  </a:lnTo>
                  <a:lnTo>
                    <a:pt x="250" y="312"/>
                  </a:lnTo>
                  <a:lnTo>
                    <a:pt x="248" y="312"/>
                  </a:lnTo>
                  <a:lnTo>
                    <a:pt x="248" y="314"/>
                  </a:lnTo>
                  <a:lnTo>
                    <a:pt x="248" y="316"/>
                  </a:lnTo>
                  <a:lnTo>
                    <a:pt x="248" y="318"/>
                  </a:lnTo>
                  <a:lnTo>
                    <a:pt x="246" y="320"/>
                  </a:lnTo>
                  <a:lnTo>
                    <a:pt x="246" y="322"/>
                  </a:lnTo>
                  <a:lnTo>
                    <a:pt x="246" y="324"/>
                  </a:lnTo>
                  <a:lnTo>
                    <a:pt x="246" y="326"/>
                  </a:lnTo>
                  <a:lnTo>
                    <a:pt x="244" y="326"/>
                  </a:lnTo>
                  <a:lnTo>
                    <a:pt x="244" y="328"/>
                  </a:lnTo>
                  <a:lnTo>
                    <a:pt x="244" y="330"/>
                  </a:lnTo>
                  <a:lnTo>
                    <a:pt x="242" y="334"/>
                  </a:lnTo>
                  <a:lnTo>
                    <a:pt x="242" y="336"/>
                  </a:lnTo>
                  <a:lnTo>
                    <a:pt x="240" y="336"/>
                  </a:lnTo>
                  <a:lnTo>
                    <a:pt x="240" y="338"/>
                  </a:lnTo>
                  <a:lnTo>
                    <a:pt x="240" y="340"/>
                  </a:lnTo>
                  <a:lnTo>
                    <a:pt x="240" y="342"/>
                  </a:lnTo>
                  <a:lnTo>
                    <a:pt x="238" y="344"/>
                  </a:lnTo>
                  <a:lnTo>
                    <a:pt x="238" y="348"/>
                  </a:lnTo>
                  <a:lnTo>
                    <a:pt x="236" y="350"/>
                  </a:lnTo>
                  <a:lnTo>
                    <a:pt x="236" y="352"/>
                  </a:lnTo>
                  <a:lnTo>
                    <a:pt x="236" y="354"/>
                  </a:lnTo>
                  <a:lnTo>
                    <a:pt x="236" y="356"/>
                  </a:lnTo>
                  <a:lnTo>
                    <a:pt x="234" y="356"/>
                  </a:lnTo>
                  <a:lnTo>
                    <a:pt x="234" y="358"/>
                  </a:lnTo>
                  <a:lnTo>
                    <a:pt x="234" y="360"/>
                  </a:lnTo>
                  <a:lnTo>
                    <a:pt x="234" y="362"/>
                  </a:lnTo>
                  <a:lnTo>
                    <a:pt x="232" y="362"/>
                  </a:lnTo>
                  <a:lnTo>
                    <a:pt x="232" y="366"/>
                  </a:lnTo>
                  <a:lnTo>
                    <a:pt x="232" y="368"/>
                  </a:lnTo>
                  <a:lnTo>
                    <a:pt x="230" y="368"/>
                  </a:lnTo>
                  <a:lnTo>
                    <a:pt x="230" y="370"/>
                  </a:lnTo>
                  <a:lnTo>
                    <a:pt x="230" y="372"/>
                  </a:lnTo>
                  <a:lnTo>
                    <a:pt x="230" y="374"/>
                  </a:lnTo>
                  <a:lnTo>
                    <a:pt x="228" y="377"/>
                  </a:lnTo>
                  <a:lnTo>
                    <a:pt x="228" y="379"/>
                  </a:lnTo>
                  <a:lnTo>
                    <a:pt x="228" y="379"/>
                  </a:lnTo>
                  <a:lnTo>
                    <a:pt x="226" y="381"/>
                  </a:lnTo>
                  <a:lnTo>
                    <a:pt x="226" y="383"/>
                  </a:lnTo>
                  <a:lnTo>
                    <a:pt x="226" y="385"/>
                  </a:lnTo>
                  <a:lnTo>
                    <a:pt x="224" y="387"/>
                  </a:lnTo>
                  <a:lnTo>
                    <a:pt x="224" y="389"/>
                  </a:lnTo>
                  <a:lnTo>
                    <a:pt x="224" y="393"/>
                  </a:lnTo>
                  <a:lnTo>
                    <a:pt x="224" y="395"/>
                  </a:lnTo>
                  <a:lnTo>
                    <a:pt x="224" y="397"/>
                  </a:lnTo>
                  <a:lnTo>
                    <a:pt x="224" y="399"/>
                  </a:lnTo>
                  <a:lnTo>
                    <a:pt x="222" y="399"/>
                  </a:lnTo>
                  <a:lnTo>
                    <a:pt x="222" y="401"/>
                  </a:lnTo>
                  <a:lnTo>
                    <a:pt x="222" y="403"/>
                  </a:lnTo>
                  <a:lnTo>
                    <a:pt x="222" y="405"/>
                  </a:lnTo>
                  <a:lnTo>
                    <a:pt x="220" y="405"/>
                  </a:lnTo>
                  <a:lnTo>
                    <a:pt x="220" y="407"/>
                  </a:lnTo>
                  <a:lnTo>
                    <a:pt x="220" y="409"/>
                  </a:lnTo>
                  <a:lnTo>
                    <a:pt x="220" y="411"/>
                  </a:lnTo>
                  <a:lnTo>
                    <a:pt x="218" y="411"/>
                  </a:lnTo>
                  <a:lnTo>
                    <a:pt x="216" y="411"/>
                  </a:lnTo>
                  <a:lnTo>
                    <a:pt x="214" y="411"/>
                  </a:lnTo>
                  <a:lnTo>
                    <a:pt x="212" y="409"/>
                  </a:lnTo>
                  <a:lnTo>
                    <a:pt x="210" y="409"/>
                  </a:lnTo>
                  <a:lnTo>
                    <a:pt x="208" y="409"/>
                  </a:lnTo>
                  <a:lnTo>
                    <a:pt x="206" y="407"/>
                  </a:lnTo>
                  <a:lnTo>
                    <a:pt x="204" y="407"/>
                  </a:lnTo>
                  <a:lnTo>
                    <a:pt x="202" y="407"/>
                  </a:lnTo>
                  <a:lnTo>
                    <a:pt x="200" y="407"/>
                  </a:lnTo>
                  <a:lnTo>
                    <a:pt x="200" y="405"/>
                  </a:lnTo>
                  <a:lnTo>
                    <a:pt x="198" y="405"/>
                  </a:lnTo>
                  <a:lnTo>
                    <a:pt x="196" y="405"/>
                  </a:lnTo>
                  <a:lnTo>
                    <a:pt x="194" y="403"/>
                  </a:lnTo>
                  <a:lnTo>
                    <a:pt x="192" y="403"/>
                  </a:lnTo>
                  <a:lnTo>
                    <a:pt x="190" y="403"/>
                  </a:lnTo>
                  <a:lnTo>
                    <a:pt x="188" y="403"/>
                  </a:lnTo>
                  <a:lnTo>
                    <a:pt x="188" y="401"/>
                  </a:lnTo>
                  <a:lnTo>
                    <a:pt x="186" y="401"/>
                  </a:lnTo>
                  <a:lnTo>
                    <a:pt x="184" y="401"/>
                  </a:lnTo>
                  <a:lnTo>
                    <a:pt x="182" y="399"/>
                  </a:lnTo>
                  <a:lnTo>
                    <a:pt x="180" y="399"/>
                  </a:lnTo>
                  <a:lnTo>
                    <a:pt x="178" y="399"/>
                  </a:lnTo>
                  <a:lnTo>
                    <a:pt x="176" y="399"/>
                  </a:lnTo>
                  <a:lnTo>
                    <a:pt x="176" y="397"/>
                  </a:lnTo>
                  <a:lnTo>
                    <a:pt x="176" y="397"/>
                  </a:lnTo>
                  <a:lnTo>
                    <a:pt x="174" y="397"/>
                  </a:lnTo>
                  <a:lnTo>
                    <a:pt x="170" y="395"/>
                  </a:lnTo>
                  <a:lnTo>
                    <a:pt x="168" y="395"/>
                  </a:lnTo>
                  <a:lnTo>
                    <a:pt x="166" y="395"/>
                  </a:lnTo>
                  <a:lnTo>
                    <a:pt x="164" y="393"/>
                  </a:lnTo>
                  <a:lnTo>
                    <a:pt x="162" y="393"/>
                  </a:lnTo>
                  <a:lnTo>
                    <a:pt x="160" y="393"/>
                  </a:lnTo>
                  <a:lnTo>
                    <a:pt x="160" y="391"/>
                  </a:lnTo>
                  <a:lnTo>
                    <a:pt x="158" y="391"/>
                  </a:lnTo>
                  <a:lnTo>
                    <a:pt x="156" y="391"/>
                  </a:lnTo>
                  <a:lnTo>
                    <a:pt x="154" y="391"/>
                  </a:lnTo>
                  <a:lnTo>
                    <a:pt x="154" y="389"/>
                  </a:lnTo>
                  <a:lnTo>
                    <a:pt x="152" y="389"/>
                  </a:lnTo>
                  <a:lnTo>
                    <a:pt x="150" y="389"/>
                  </a:lnTo>
                  <a:lnTo>
                    <a:pt x="148" y="389"/>
                  </a:lnTo>
                  <a:lnTo>
                    <a:pt x="148" y="387"/>
                  </a:lnTo>
                  <a:lnTo>
                    <a:pt x="146" y="387"/>
                  </a:lnTo>
                  <a:lnTo>
                    <a:pt x="144" y="387"/>
                  </a:lnTo>
                  <a:lnTo>
                    <a:pt x="142" y="387"/>
                  </a:lnTo>
                  <a:lnTo>
                    <a:pt x="142" y="385"/>
                  </a:lnTo>
                  <a:lnTo>
                    <a:pt x="140" y="385"/>
                  </a:lnTo>
                  <a:lnTo>
                    <a:pt x="138" y="385"/>
                  </a:lnTo>
                  <a:lnTo>
                    <a:pt x="136" y="385"/>
                  </a:lnTo>
                  <a:lnTo>
                    <a:pt x="136" y="383"/>
                  </a:lnTo>
                  <a:lnTo>
                    <a:pt x="134" y="383"/>
                  </a:lnTo>
                  <a:lnTo>
                    <a:pt x="132" y="383"/>
                  </a:lnTo>
                  <a:lnTo>
                    <a:pt x="130" y="383"/>
                  </a:lnTo>
                  <a:lnTo>
                    <a:pt x="130" y="381"/>
                  </a:lnTo>
                  <a:lnTo>
                    <a:pt x="128" y="381"/>
                  </a:lnTo>
                  <a:lnTo>
                    <a:pt x="128" y="381"/>
                  </a:lnTo>
                  <a:lnTo>
                    <a:pt x="126" y="381"/>
                  </a:lnTo>
                  <a:lnTo>
                    <a:pt x="126" y="379"/>
                  </a:lnTo>
                  <a:lnTo>
                    <a:pt x="124" y="379"/>
                  </a:lnTo>
                  <a:lnTo>
                    <a:pt x="122" y="379"/>
                  </a:lnTo>
                  <a:lnTo>
                    <a:pt x="120" y="379"/>
                  </a:lnTo>
                  <a:lnTo>
                    <a:pt x="118" y="379"/>
                  </a:lnTo>
                  <a:lnTo>
                    <a:pt x="116" y="379"/>
                  </a:lnTo>
                  <a:lnTo>
                    <a:pt x="114" y="379"/>
                  </a:lnTo>
                  <a:lnTo>
                    <a:pt x="114" y="377"/>
                  </a:lnTo>
                  <a:lnTo>
                    <a:pt x="112" y="377"/>
                  </a:lnTo>
                  <a:lnTo>
                    <a:pt x="110" y="377"/>
                  </a:lnTo>
                  <a:lnTo>
                    <a:pt x="108" y="374"/>
                  </a:lnTo>
                  <a:lnTo>
                    <a:pt x="106" y="374"/>
                  </a:lnTo>
                  <a:lnTo>
                    <a:pt x="104" y="372"/>
                  </a:lnTo>
                  <a:lnTo>
                    <a:pt x="102" y="372"/>
                  </a:lnTo>
                  <a:lnTo>
                    <a:pt x="100" y="372"/>
                  </a:lnTo>
                  <a:lnTo>
                    <a:pt x="98" y="370"/>
                  </a:lnTo>
                  <a:lnTo>
                    <a:pt x="96" y="370"/>
                  </a:lnTo>
                  <a:lnTo>
                    <a:pt x="94" y="370"/>
                  </a:lnTo>
                  <a:lnTo>
                    <a:pt x="94" y="368"/>
                  </a:lnTo>
                  <a:lnTo>
                    <a:pt x="92" y="368"/>
                  </a:lnTo>
                  <a:lnTo>
                    <a:pt x="90" y="368"/>
                  </a:lnTo>
                  <a:lnTo>
                    <a:pt x="88" y="368"/>
                  </a:lnTo>
                  <a:lnTo>
                    <a:pt x="88" y="366"/>
                  </a:lnTo>
                  <a:lnTo>
                    <a:pt x="86" y="366"/>
                  </a:lnTo>
                  <a:lnTo>
                    <a:pt x="84" y="366"/>
                  </a:lnTo>
                  <a:lnTo>
                    <a:pt x="84" y="364"/>
                  </a:lnTo>
                  <a:lnTo>
                    <a:pt x="82" y="364"/>
                  </a:lnTo>
                  <a:lnTo>
                    <a:pt x="80" y="364"/>
                  </a:lnTo>
                  <a:lnTo>
                    <a:pt x="80" y="364"/>
                  </a:lnTo>
                  <a:lnTo>
                    <a:pt x="80" y="362"/>
                  </a:lnTo>
                  <a:lnTo>
                    <a:pt x="78" y="362"/>
                  </a:lnTo>
                  <a:lnTo>
                    <a:pt x="76" y="362"/>
                  </a:lnTo>
                  <a:lnTo>
                    <a:pt x="74" y="360"/>
                  </a:lnTo>
                  <a:lnTo>
                    <a:pt x="72" y="360"/>
                  </a:lnTo>
                  <a:lnTo>
                    <a:pt x="70" y="360"/>
                  </a:lnTo>
                  <a:lnTo>
                    <a:pt x="70" y="358"/>
                  </a:lnTo>
                  <a:lnTo>
                    <a:pt x="68" y="358"/>
                  </a:lnTo>
                  <a:lnTo>
                    <a:pt x="64" y="358"/>
                  </a:lnTo>
                  <a:lnTo>
                    <a:pt x="64" y="356"/>
                  </a:lnTo>
                  <a:lnTo>
                    <a:pt x="62" y="356"/>
                  </a:lnTo>
                  <a:lnTo>
                    <a:pt x="60" y="356"/>
                  </a:lnTo>
                  <a:lnTo>
                    <a:pt x="58" y="354"/>
                  </a:lnTo>
                  <a:lnTo>
                    <a:pt x="56" y="354"/>
                  </a:lnTo>
                  <a:lnTo>
                    <a:pt x="54" y="354"/>
                  </a:lnTo>
                  <a:lnTo>
                    <a:pt x="54" y="352"/>
                  </a:lnTo>
                  <a:lnTo>
                    <a:pt x="52" y="352"/>
                  </a:lnTo>
                  <a:lnTo>
                    <a:pt x="50" y="352"/>
                  </a:lnTo>
                  <a:lnTo>
                    <a:pt x="48" y="352"/>
                  </a:lnTo>
                  <a:lnTo>
                    <a:pt x="48" y="350"/>
                  </a:lnTo>
                  <a:lnTo>
                    <a:pt x="46" y="350"/>
                  </a:lnTo>
                  <a:lnTo>
                    <a:pt x="42" y="348"/>
                  </a:lnTo>
                  <a:lnTo>
                    <a:pt x="40" y="348"/>
                  </a:lnTo>
                  <a:lnTo>
                    <a:pt x="38" y="348"/>
                  </a:lnTo>
                  <a:lnTo>
                    <a:pt x="38" y="346"/>
                  </a:lnTo>
                  <a:lnTo>
                    <a:pt x="36" y="346"/>
                  </a:lnTo>
                  <a:lnTo>
                    <a:pt x="34" y="346"/>
                  </a:lnTo>
                  <a:lnTo>
                    <a:pt x="34" y="344"/>
                  </a:lnTo>
                  <a:lnTo>
                    <a:pt x="32" y="344"/>
                  </a:lnTo>
                  <a:lnTo>
                    <a:pt x="32" y="344"/>
                  </a:lnTo>
                  <a:lnTo>
                    <a:pt x="30" y="342"/>
                  </a:lnTo>
                  <a:lnTo>
                    <a:pt x="28" y="342"/>
                  </a:lnTo>
                  <a:lnTo>
                    <a:pt x="26" y="342"/>
                  </a:lnTo>
                  <a:lnTo>
                    <a:pt x="26" y="340"/>
                  </a:lnTo>
                  <a:lnTo>
                    <a:pt x="24" y="340"/>
                  </a:lnTo>
                  <a:lnTo>
                    <a:pt x="22" y="340"/>
                  </a:lnTo>
                  <a:lnTo>
                    <a:pt x="20" y="340"/>
                  </a:lnTo>
                  <a:lnTo>
                    <a:pt x="20" y="338"/>
                  </a:lnTo>
                  <a:lnTo>
                    <a:pt x="18" y="338"/>
                  </a:lnTo>
                  <a:lnTo>
                    <a:pt x="16" y="338"/>
                  </a:lnTo>
                  <a:lnTo>
                    <a:pt x="16" y="336"/>
                  </a:lnTo>
                  <a:lnTo>
                    <a:pt x="14" y="336"/>
                  </a:lnTo>
                  <a:lnTo>
                    <a:pt x="12" y="336"/>
                  </a:lnTo>
                  <a:lnTo>
                    <a:pt x="12" y="334"/>
                  </a:lnTo>
                  <a:lnTo>
                    <a:pt x="10" y="334"/>
                  </a:lnTo>
                  <a:lnTo>
                    <a:pt x="8" y="334"/>
                  </a:lnTo>
                  <a:lnTo>
                    <a:pt x="6" y="334"/>
                  </a:lnTo>
                  <a:lnTo>
                    <a:pt x="6" y="332"/>
                  </a:lnTo>
                  <a:lnTo>
                    <a:pt x="4" y="332"/>
                  </a:lnTo>
                  <a:lnTo>
                    <a:pt x="2" y="332"/>
                  </a:lnTo>
                  <a:lnTo>
                    <a:pt x="2" y="330"/>
                  </a:lnTo>
                  <a:lnTo>
                    <a:pt x="0" y="330"/>
                  </a:lnTo>
                  <a:lnTo>
                    <a:pt x="0" y="330"/>
                  </a:lnTo>
                  <a:lnTo>
                    <a:pt x="2" y="328"/>
                  </a:lnTo>
                  <a:lnTo>
                    <a:pt x="2" y="326"/>
                  </a:lnTo>
                  <a:lnTo>
                    <a:pt x="4" y="324"/>
                  </a:lnTo>
                  <a:lnTo>
                    <a:pt x="4" y="322"/>
                  </a:lnTo>
                  <a:lnTo>
                    <a:pt x="4" y="320"/>
                  </a:lnTo>
                  <a:lnTo>
                    <a:pt x="6" y="320"/>
                  </a:lnTo>
                  <a:lnTo>
                    <a:pt x="6" y="318"/>
                  </a:lnTo>
                  <a:lnTo>
                    <a:pt x="6" y="316"/>
                  </a:lnTo>
                  <a:lnTo>
                    <a:pt x="8" y="314"/>
                  </a:lnTo>
                  <a:lnTo>
                    <a:pt x="8" y="312"/>
                  </a:lnTo>
                  <a:lnTo>
                    <a:pt x="10" y="310"/>
                  </a:lnTo>
                  <a:lnTo>
                    <a:pt x="10" y="308"/>
                  </a:lnTo>
                  <a:lnTo>
                    <a:pt x="12" y="302"/>
                  </a:lnTo>
                  <a:lnTo>
                    <a:pt x="14" y="300"/>
                  </a:lnTo>
                  <a:lnTo>
                    <a:pt x="14" y="298"/>
                  </a:lnTo>
                  <a:lnTo>
                    <a:pt x="14" y="296"/>
                  </a:lnTo>
                  <a:lnTo>
                    <a:pt x="16" y="296"/>
                  </a:lnTo>
                  <a:lnTo>
                    <a:pt x="16" y="294"/>
                  </a:lnTo>
                  <a:lnTo>
                    <a:pt x="16" y="292"/>
                  </a:lnTo>
                  <a:lnTo>
                    <a:pt x="18" y="290"/>
                  </a:lnTo>
                  <a:lnTo>
                    <a:pt x="18" y="288"/>
                  </a:lnTo>
                  <a:lnTo>
                    <a:pt x="18" y="286"/>
                  </a:lnTo>
                  <a:lnTo>
                    <a:pt x="20" y="284"/>
                  </a:lnTo>
                  <a:lnTo>
                    <a:pt x="20" y="282"/>
                  </a:lnTo>
                  <a:lnTo>
                    <a:pt x="22" y="282"/>
                  </a:lnTo>
                  <a:lnTo>
                    <a:pt x="22" y="282"/>
                  </a:lnTo>
                  <a:lnTo>
                    <a:pt x="22" y="280"/>
                  </a:lnTo>
                  <a:lnTo>
                    <a:pt x="24" y="278"/>
                  </a:lnTo>
                  <a:lnTo>
                    <a:pt x="24" y="276"/>
                  </a:lnTo>
                  <a:lnTo>
                    <a:pt x="24" y="274"/>
                  </a:lnTo>
                  <a:lnTo>
                    <a:pt x="26" y="274"/>
                  </a:lnTo>
                  <a:lnTo>
                    <a:pt x="28" y="270"/>
                  </a:lnTo>
                  <a:lnTo>
                    <a:pt x="28" y="268"/>
                  </a:lnTo>
                  <a:lnTo>
                    <a:pt x="28" y="266"/>
                  </a:lnTo>
                  <a:lnTo>
                    <a:pt x="32" y="258"/>
                  </a:lnTo>
                  <a:lnTo>
                    <a:pt x="32" y="256"/>
                  </a:lnTo>
                  <a:lnTo>
                    <a:pt x="32" y="254"/>
                  </a:lnTo>
                  <a:lnTo>
                    <a:pt x="32" y="252"/>
                  </a:lnTo>
                  <a:lnTo>
                    <a:pt x="32" y="250"/>
                  </a:lnTo>
                  <a:lnTo>
                    <a:pt x="34" y="250"/>
                  </a:lnTo>
                  <a:lnTo>
                    <a:pt x="34" y="248"/>
                  </a:lnTo>
                  <a:lnTo>
                    <a:pt x="34" y="246"/>
                  </a:lnTo>
                  <a:lnTo>
                    <a:pt x="36" y="244"/>
                  </a:lnTo>
                  <a:lnTo>
                    <a:pt x="36" y="242"/>
                  </a:lnTo>
                  <a:lnTo>
                    <a:pt x="38" y="242"/>
                  </a:lnTo>
                  <a:lnTo>
                    <a:pt x="38" y="240"/>
                  </a:lnTo>
                  <a:lnTo>
                    <a:pt x="40" y="240"/>
                  </a:lnTo>
                  <a:lnTo>
                    <a:pt x="40" y="238"/>
                  </a:lnTo>
                  <a:lnTo>
                    <a:pt x="42" y="238"/>
                  </a:lnTo>
                  <a:lnTo>
                    <a:pt x="42" y="236"/>
                  </a:lnTo>
                  <a:lnTo>
                    <a:pt x="44" y="236"/>
                  </a:lnTo>
                  <a:lnTo>
                    <a:pt x="44" y="234"/>
                  </a:lnTo>
                  <a:lnTo>
                    <a:pt x="42" y="234"/>
                  </a:lnTo>
                  <a:lnTo>
                    <a:pt x="42" y="234"/>
                  </a:lnTo>
                  <a:lnTo>
                    <a:pt x="44" y="234"/>
                  </a:lnTo>
                  <a:lnTo>
                    <a:pt x="46" y="232"/>
                  </a:lnTo>
                  <a:lnTo>
                    <a:pt x="48" y="232"/>
                  </a:lnTo>
                  <a:lnTo>
                    <a:pt x="48" y="230"/>
                  </a:lnTo>
                  <a:lnTo>
                    <a:pt x="48" y="228"/>
                  </a:lnTo>
                  <a:lnTo>
                    <a:pt x="46" y="228"/>
                  </a:lnTo>
                  <a:lnTo>
                    <a:pt x="46" y="226"/>
                  </a:lnTo>
                  <a:lnTo>
                    <a:pt x="46" y="224"/>
                  </a:lnTo>
                  <a:lnTo>
                    <a:pt x="44" y="224"/>
                  </a:lnTo>
                  <a:lnTo>
                    <a:pt x="44" y="226"/>
                  </a:lnTo>
                  <a:lnTo>
                    <a:pt x="44" y="224"/>
                  </a:lnTo>
                  <a:lnTo>
                    <a:pt x="42" y="224"/>
                  </a:lnTo>
                  <a:lnTo>
                    <a:pt x="42" y="222"/>
                  </a:lnTo>
                  <a:lnTo>
                    <a:pt x="40" y="222"/>
                  </a:lnTo>
                  <a:lnTo>
                    <a:pt x="40" y="220"/>
                  </a:lnTo>
                  <a:lnTo>
                    <a:pt x="38" y="220"/>
                  </a:lnTo>
                  <a:lnTo>
                    <a:pt x="38" y="218"/>
                  </a:lnTo>
                  <a:lnTo>
                    <a:pt x="40" y="218"/>
                  </a:lnTo>
                  <a:lnTo>
                    <a:pt x="40" y="216"/>
                  </a:lnTo>
                  <a:lnTo>
                    <a:pt x="40" y="214"/>
                  </a:lnTo>
                  <a:lnTo>
                    <a:pt x="42" y="214"/>
                  </a:lnTo>
                  <a:lnTo>
                    <a:pt x="42" y="212"/>
                  </a:lnTo>
                  <a:lnTo>
                    <a:pt x="42" y="210"/>
                  </a:lnTo>
                  <a:lnTo>
                    <a:pt x="44" y="210"/>
                  </a:lnTo>
                  <a:lnTo>
                    <a:pt x="44" y="208"/>
                  </a:lnTo>
                  <a:lnTo>
                    <a:pt x="46" y="208"/>
                  </a:lnTo>
                  <a:lnTo>
                    <a:pt x="46" y="206"/>
                  </a:lnTo>
                  <a:lnTo>
                    <a:pt x="48" y="206"/>
                  </a:lnTo>
                  <a:lnTo>
                    <a:pt x="48" y="204"/>
                  </a:lnTo>
                  <a:lnTo>
                    <a:pt x="50" y="204"/>
                  </a:lnTo>
                  <a:lnTo>
                    <a:pt x="50" y="202"/>
                  </a:lnTo>
                  <a:lnTo>
                    <a:pt x="52" y="202"/>
                  </a:lnTo>
                  <a:lnTo>
                    <a:pt x="52" y="200"/>
                  </a:lnTo>
                  <a:lnTo>
                    <a:pt x="54" y="200"/>
                  </a:lnTo>
                  <a:lnTo>
                    <a:pt x="56" y="200"/>
                  </a:lnTo>
                  <a:lnTo>
                    <a:pt x="58" y="200"/>
                  </a:lnTo>
                  <a:lnTo>
                    <a:pt x="60" y="200"/>
                  </a:lnTo>
                  <a:lnTo>
                    <a:pt x="60" y="198"/>
                  </a:lnTo>
                  <a:lnTo>
                    <a:pt x="62" y="198"/>
                  </a:lnTo>
                  <a:lnTo>
                    <a:pt x="62" y="196"/>
                  </a:lnTo>
                  <a:lnTo>
                    <a:pt x="64" y="196"/>
                  </a:lnTo>
                  <a:lnTo>
                    <a:pt x="64" y="194"/>
                  </a:lnTo>
                  <a:lnTo>
                    <a:pt x="66" y="194"/>
                  </a:lnTo>
                  <a:lnTo>
                    <a:pt x="66" y="192"/>
                  </a:lnTo>
                  <a:lnTo>
                    <a:pt x="66" y="190"/>
                  </a:lnTo>
                  <a:lnTo>
                    <a:pt x="66" y="192"/>
                  </a:lnTo>
                  <a:lnTo>
                    <a:pt x="66" y="190"/>
                  </a:lnTo>
                  <a:lnTo>
                    <a:pt x="66" y="188"/>
                  </a:lnTo>
                  <a:lnTo>
                    <a:pt x="68" y="188"/>
                  </a:lnTo>
                  <a:lnTo>
                    <a:pt x="70" y="188"/>
                  </a:lnTo>
                  <a:lnTo>
                    <a:pt x="70" y="186"/>
                  </a:lnTo>
                  <a:lnTo>
                    <a:pt x="72" y="186"/>
                  </a:lnTo>
                  <a:lnTo>
                    <a:pt x="72" y="186"/>
                  </a:lnTo>
                  <a:lnTo>
                    <a:pt x="74" y="186"/>
                  </a:lnTo>
                  <a:lnTo>
                    <a:pt x="74" y="184"/>
                  </a:lnTo>
                  <a:lnTo>
                    <a:pt x="76" y="184"/>
                  </a:lnTo>
                  <a:lnTo>
                    <a:pt x="76" y="182"/>
                  </a:lnTo>
                  <a:lnTo>
                    <a:pt x="78" y="182"/>
                  </a:lnTo>
                  <a:lnTo>
                    <a:pt x="78" y="180"/>
                  </a:lnTo>
                  <a:lnTo>
                    <a:pt x="78" y="178"/>
                  </a:lnTo>
                  <a:lnTo>
                    <a:pt x="80" y="178"/>
                  </a:lnTo>
                  <a:lnTo>
                    <a:pt x="80" y="176"/>
                  </a:lnTo>
                  <a:lnTo>
                    <a:pt x="80" y="176"/>
                  </a:lnTo>
                  <a:lnTo>
                    <a:pt x="82" y="176"/>
                  </a:lnTo>
                  <a:lnTo>
                    <a:pt x="82" y="174"/>
                  </a:lnTo>
                  <a:lnTo>
                    <a:pt x="84" y="174"/>
                  </a:lnTo>
                  <a:lnTo>
                    <a:pt x="84" y="172"/>
                  </a:lnTo>
                  <a:lnTo>
                    <a:pt x="86" y="172"/>
                  </a:lnTo>
                  <a:lnTo>
                    <a:pt x="86" y="170"/>
                  </a:lnTo>
                  <a:lnTo>
                    <a:pt x="88" y="170"/>
                  </a:lnTo>
                  <a:lnTo>
                    <a:pt x="88" y="168"/>
                  </a:lnTo>
                  <a:lnTo>
                    <a:pt x="90" y="168"/>
                  </a:lnTo>
                  <a:lnTo>
                    <a:pt x="90" y="166"/>
                  </a:lnTo>
                  <a:lnTo>
                    <a:pt x="90" y="164"/>
                  </a:lnTo>
                  <a:lnTo>
                    <a:pt x="90" y="162"/>
                  </a:lnTo>
                  <a:lnTo>
                    <a:pt x="90" y="160"/>
                  </a:lnTo>
                  <a:lnTo>
                    <a:pt x="90" y="158"/>
                  </a:lnTo>
                  <a:lnTo>
                    <a:pt x="88" y="156"/>
                  </a:lnTo>
                  <a:lnTo>
                    <a:pt x="86" y="156"/>
                  </a:lnTo>
                  <a:lnTo>
                    <a:pt x="86" y="154"/>
                  </a:lnTo>
                  <a:lnTo>
                    <a:pt x="86" y="152"/>
                  </a:lnTo>
                  <a:lnTo>
                    <a:pt x="84" y="152"/>
                  </a:lnTo>
                  <a:lnTo>
                    <a:pt x="84" y="150"/>
                  </a:lnTo>
                  <a:lnTo>
                    <a:pt x="84" y="148"/>
                  </a:lnTo>
                  <a:lnTo>
                    <a:pt x="82" y="148"/>
                  </a:lnTo>
                  <a:lnTo>
                    <a:pt x="82" y="146"/>
                  </a:lnTo>
                  <a:lnTo>
                    <a:pt x="82" y="144"/>
                  </a:lnTo>
                  <a:lnTo>
                    <a:pt x="82" y="142"/>
                  </a:lnTo>
                  <a:lnTo>
                    <a:pt x="82" y="140"/>
                  </a:lnTo>
                  <a:lnTo>
                    <a:pt x="82" y="138"/>
                  </a:lnTo>
                  <a:lnTo>
                    <a:pt x="82" y="138"/>
                  </a:lnTo>
                  <a:lnTo>
                    <a:pt x="84" y="138"/>
                  </a:lnTo>
                  <a:lnTo>
                    <a:pt x="84" y="136"/>
                  </a:lnTo>
                  <a:lnTo>
                    <a:pt x="86" y="136"/>
                  </a:lnTo>
                  <a:lnTo>
                    <a:pt x="86" y="134"/>
                  </a:lnTo>
                  <a:lnTo>
                    <a:pt x="84" y="134"/>
                  </a:lnTo>
                  <a:lnTo>
                    <a:pt x="84" y="132"/>
                  </a:lnTo>
                  <a:lnTo>
                    <a:pt x="86" y="132"/>
                  </a:lnTo>
                  <a:lnTo>
                    <a:pt x="86" y="130"/>
                  </a:lnTo>
                  <a:lnTo>
                    <a:pt x="86" y="128"/>
                  </a:lnTo>
                  <a:lnTo>
                    <a:pt x="86" y="126"/>
                  </a:lnTo>
                  <a:lnTo>
                    <a:pt x="84" y="124"/>
                  </a:lnTo>
                  <a:lnTo>
                    <a:pt x="86" y="124"/>
                  </a:lnTo>
                  <a:lnTo>
                    <a:pt x="86" y="122"/>
                  </a:lnTo>
                  <a:lnTo>
                    <a:pt x="86" y="120"/>
                  </a:lnTo>
                  <a:lnTo>
                    <a:pt x="88" y="120"/>
                  </a:lnTo>
                  <a:lnTo>
                    <a:pt x="88" y="118"/>
                  </a:lnTo>
                  <a:lnTo>
                    <a:pt x="90" y="116"/>
                  </a:lnTo>
                  <a:lnTo>
                    <a:pt x="92" y="112"/>
                  </a:lnTo>
                  <a:lnTo>
                    <a:pt x="92" y="110"/>
                  </a:lnTo>
                  <a:lnTo>
                    <a:pt x="92" y="108"/>
                  </a:lnTo>
                  <a:lnTo>
                    <a:pt x="92" y="106"/>
                  </a:lnTo>
                  <a:lnTo>
                    <a:pt x="94" y="106"/>
                  </a:lnTo>
                  <a:lnTo>
                    <a:pt x="94" y="104"/>
                  </a:lnTo>
                  <a:lnTo>
                    <a:pt x="94" y="102"/>
                  </a:lnTo>
                  <a:lnTo>
                    <a:pt x="96" y="102"/>
                  </a:lnTo>
                  <a:lnTo>
                    <a:pt x="96" y="100"/>
                  </a:lnTo>
                  <a:lnTo>
                    <a:pt x="98" y="96"/>
                  </a:lnTo>
                  <a:lnTo>
                    <a:pt x="98" y="94"/>
                  </a:lnTo>
                  <a:lnTo>
                    <a:pt x="98" y="92"/>
                  </a:lnTo>
                  <a:lnTo>
                    <a:pt x="100" y="92"/>
                  </a:lnTo>
                  <a:lnTo>
                    <a:pt x="100" y="90"/>
                  </a:lnTo>
                  <a:lnTo>
                    <a:pt x="100" y="90"/>
                  </a:lnTo>
                  <a:lnTo>
                    <a:pt x="102" y="88"/>
                  </a:lnTo>
                  <a:lnTo>
                    <a:pt x="102" y="86"/>
                  </a:lnTo>
                  <a:lnTo>
                    <a:pt x="104" y="84"/>
                  </a:lnTo>
                  <a:lnTo>
                    <a:pt x="104" y="82"/>
                  </a:lnTo>
                  <a:lnTo>
                    <a:pt x="104" y="80"/>
                  </a:lnTo>
                  <a:lnTo>
                    <a:pt x="106" y="78"/>
                  </a:lnTo>
                  <a:lnTo>
                    <a:pt x="106" y="76"/>
                  </a:lnTo>
                  <a:lnTo>
                    <a:pt x="108" y="74"/>
                  </a:lnTo>
                  <a:lnTo>
                    <a:pt x="108" y="72"/>
                  </a:lnTo>
                  <a:lnTo>
                    <a:pt x="108" y="70"/>
                  </a:lnTo>
                  <a:lnTo>
                    <a:pt x="110" y="70"/>
                  </a:lnTo>
                  <a:lnTo>
                    <a:pt x="110" y="68"/>
                  </a:lnTo>
                  <a:lnTo>
                    <a:pt x="110" y="66"/>
                  </a:lnTo>
                  <a:lnTo>
                    <a:pt x="112" y="64"/>
                  </a:lnTo>
                  <a:lnTo>
                    <a:pt x="112" y="62"/>
                  </a:lnTo>
                  <a:lnTo>
                    <a:pt x="112" y="60"/>
                  </a:lnTo>
                  <a:lnTo>
                    <a:pt x="114" y="60"/>
                  </a:lnTo>
                  <a:lnTo>
                    <a:pt x="114" y="58"/>
                  </a:lnTo>
                  <a:lnTo>
                    <a:pt x="114" y="56"/>
                  </a:lnTo>
                  <a:lnTo>
                    <a:pt x="116" y="56"/>
                  </a:lnTo>
                  <a:lnTo>
                    <a:pt x="116" y="54"/>
                  </a:lnTo>
                  <a:lnTo>
                    <a:pt x="116" y="52"/>
                  </a:lnTo>
                  <a:lnTo>
                    <a:pt x="118" y="50"/>
                  </a:lnTo>
                  <a:lnTo>
                    <a:pt x="118" y="48"/>
                  </a:lnTo>
                  <a:lnTo>
                    <a:pt x="118" y="46"/>
                  </a:lnTo>
                  <a:lnTo>
                    <a:pt x="120" y="46"/>
                  </a:lnTo>
                  <a:lnTo>
                    <a:pt x="120" y="44"/>
                  </a:lnTo>
                  <a:lnTo>
                    <a:pt x="120" y="42"/>
                  </a:lnTo>
                  <a:lnTo>
                    <a:pt x="122" y="42"/>
                  </a:lnTo>
                  <a:lnTo>
                    <a:pt x="122" y="40"/>
                  </a:lnTo>
                  <a:lnTo>
                    <a:pt x="122" y="38"/>
                  </a:lnTo>
                  <a:lnTo>
                    <a:pt x="124" y="38"/>
                  </a:lnTo>
                  <a:lnTo>
                    <a:pt x="124" y="36"/>
                  </a:lnTo>
                  <a:lnTo>
                    <a:pt x="124" y="34"/>
                  </a:lnTo>
                  <a:lnTo>
                    <a:pt x="126" y="34"/>
                  </a:lnTo>
                  <a:lnTo>
                    <a:pt x="126" y="32"/>
                  </a:lnTo>
                  <a:lnTo>
                    <a:pt x="126" y="30"/>
                  </a:lnTo>
                  <a:lnTo>
                    <a:pt x="128" y="30"/>
                  </a:lnTo>
                  <a:lnTo>
                    <a:pt x="128" y="28"/>
                  </a:lnTo>
                  <a:lnTo>
                    <a:pt x="128" y="26"/>
                  </a:lnTo>
                  <a:lnTo>
                    <a:pt x="128" y="24"/>
                  </a:lnTo>
                  <a:lnTo>
                    <a:pt x="128" y="24"/>
                  </a:lnTo>
                  <a:lnTo>
                    <a:pt x="128" y="22"/>
                  </a:lnTo>
                  <a:lnTo>
                    <a:pt x="128" y="20"/>
                  </a:lnTo>
                  <a:lnTo>
                    <a:pt x="130" y="20"/>
                  </a:lnTo>
                  <a:lnTo>
                    <a:pt x="130" y="18"/>
                  </a:lnTo>
                  <a:lnTo>
                    <a:pt x="130" y="16"/>
                  </a:lnTo>
                  <a:lnTo>
                    <a:pt x="132" y="14"/>
                  </a:lnTo>
                  <a:lnTo>
                    <a:pt x="132" y="12"/>
                  </a:lnTo>
                  <a:lnTo>
                    <a:pt x="132" y="10"/>
                  </a:lnTo>
                  <a:lnTo>
                    <a:pt x="134" y="10"/>
                  </a:lnTo>
                  <a:lnTo>
                    <a:pt x="134" y="8"/>
                  </a:lnTo>
                  <a:lnTo>
                    <a:pt x="134" y="6"/>
                  </a:lnTo>
                  <a:lnTo>
                    <a:pt x="136" y="6"/>
                  </a:lnTo>
                  <a:lnTo>
                    <a:pt x="136" y="4"/>
                  </a:lnTo>
                  <a:lnTo>
                    <a:pt x="136" y="2"/>
                  </a:lnTo>
                  <a:lnTo>
                    <a:pt x="138" y="0"/>
                  </a:lnTo>
                  <a:lnTo>
                    <a:pt x="140" y="0"/>
                  </a:lnTo>
                  <a:lnTo>
                    <a:pt x="142" y="2"/>
                  </a:lnTo>
                  <a:lnTo>
                    <a:pt x="144" y="2"/>
                  </a:lnTo>
                  <a:lnTo>
                    <a:pt x="146" y="4"/>
                  </a:lnTo>
                  <a:lnTo>
                    <a:pt x="148" y="4"/>
                  </a:lnTo>
                  <a:lnTo>
                    <a:pt x="150" y="4"/>
                  </a:lnTo>
                  <a:lnTo>
                    <a:pt x="152" y="6"/>
                  </a:lnTo>
                  <a:lnTo>
                    <a:pt x="154" y="6"/>
                  </a:lnTo>
                  <a:lnTo>
                    <a:pt x="156" y="6"/>
                  </a:lnTo>
                  <a:lnTo>
                    <a:pt x="156" y="8"/>
                  </a:lnTo>
                  <a:lnTo>
                    <a:pt x="158" y="8"/>
                  </a:lnTo>
                  <a:lnTo>
                    <a:pt x="160" y="8"/>
                  </a:lnTo>
                  <a:lnTo>
                    <a:pt x="162" y="10"/>
                  </a:lnTo>
                  <a:lnTo>
                    <a:pt x="164" y="10"/>
                  </a:lnTo>
                  <a:lnTo>
                    <a:pt x="166" y="12"/>
                  </a:lnTo>
                  <a:lnTo>
                    <a:pt x="168" y="12"/>
                  </a:lnTo>
                  <a:close/>
                </a:path>
              </a:pathLst>
            </a:custGeom>
            <a:solidFill>
              <a:srgbClr val="816767"/>
            </a:solidFill>
            <a:ln w="3175">
              <a:solidFill>
                <a:sysClr val="window" lastClr="FFFF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black"/>
                </a:solidFill>
                <a:effectLst/>
                <a:uLnTx/>
                <a:uFillTx/>
                <a:ea typeface="宋体" panose="02010600030101010101" pitchFamily="2" charset="-122"/>
              </a:endParaRPr>
            </a:p>
          </p:txBody>
        </p:sp>
        <p:sp>
          <p:nvSpPr>
            <p:cNvPr id="15" name="Freeform 1811">
              <a:extLst>
                <a:ext uri="{FF2B5EF4-FFF2-40B4-BE49-F238E27FC236}">
                  <a16:creationId xmlns:a16="http://schemas.microsoft.com/office/drawing/2014/main" id="{71D51178-BC4D-F2F0-A024-EDBB42A57141}"/>
                </a:ext>
              </a:extLst>
            </p:cNvPr>
            <p:cNvSpPr>
              <a:spLocks/>
            </p:cNvSpPr>
            <p:nvPr/>
          </p:nvSpPr>
          <p:spPr bwMode="auto">
            <a:xfrm>
              <a:off x="4814888" y="3224213"/>
              <a:ext cx="514350" cy="301625"/>
            </a:xfrm>
            <a:custGeom>
              <a:avLst/>
              <a:gdLst>
                <a:gd name="T0" fmla="*/ 46 w 324"/>
                <a:gd name="T1" fmla="*/ 2 h 190"/>
                <a:gd name="T2" fmla="*/ 64 w 324"/>
                <a:gd name="T3" fmla="*/ 6 h 190"/>
                <a:gd name="T4" fmla="*/ 82 w 324"/>
                <a:gd name="T5" fmla="*/ 8 h 190"/>
                <a:gd name="T6" fmla="*/ 98 w 324"/>
                <a:gd name="T7" fmla="*/ 10 h 190"/>
                <a:gd name="T8" fmla="*/ 114 w 324"/>
                <a:gd name="T9" fmla="*/ 12 h 190"/>
                <a:gd name="T10" fmla="*/ 130 w 324"/>
                <a:gd name="T11" fmla="*/ 14 h 190"/>
                <a:gd name="T12" fmla="*/ 146 w 324"/>
                <a:gd name="T13" fmla="*/ 16 h 190"/>
                <a:gd name="T14" fmla="*/ 162 w 324"/>
                <a:gd name="T15" fmla="*/ 18 h 190"/>
                <a:gd name="T16" fmla="*/ 178 w 324"/>
                <a:gd name="T17" fmla="*/ 20 h 190"/>
                <a:gd name="T18" fmla="*/ 192 w 324"/>
                <a:gd name="T19" fmla="*/ 22 h 190"/>
                <a:gd name="T20" fmla="*/ 212 w 324"/>
                <a:gd name="T21" fmla="*/ 22 h 190"/>
                <a:gd name="T22" fmla="*/ 228 w 324"/>
                <a:gd name="T23" fmla="*/ 24 h 190"/>
                <a:gd name="T24" fmla="*/ 244 w 324"/>
                <a:gd name="T25" fmla="*/ 24 h 190"/>
                <a:gd name="T26" fmla="*/ 260 w 324"/>
                <a:gd name="T27" fmla="*/ 26 h 190"/>
                <a:gd name="T28" fmla="*/ 280 w 324"/>
                <a:gd name="T29" fmla="*/ 26 h 190"/>
                <a:gd name="T30" fmla="*/ 296 w 324"/>
                <a:gd name="T31" fmla="*/ 28 h 190"/>
                <a:gd name="T32" fmla="*/ 308 w 324"/>
                <a:gd name="T33" fmla="*/ 36 h 190"/>
                <a:gd name="T34" fmla="*/ 312 w 324"/>
                <a:gd name="T35" fmla="*/ 42 h 190"/>
                <a:gd name="T36" fmla="*/ 306 w 324"/>
                <a:gd name="T37" fmla="*/ 48 h 190"/>
                <a:gd name="T38" fmla="*/ 308 w 324"/>
                <a:gd name="T39" fmla="*/ 60 h 190"/>
                <a:gd name="T40" fmla="*/ 314 w 324"/>
                <a:gd name="T41" fmla="*/ 70 h 190"/>
                <a:gd name="T42" fmla="*/ 324 w 324"/>
                <a:gd name="T43" fmla="*/ 78 h 190"/>
                <a:gd name="T44" fmla="*/ 322 w 324"/>
                <a:gd name="T45" fmla="*/ 92 h 190"/>
                <a:gd name="T46" fmla="*/ 322 w 324"/>
                <a:gd name="T47" fmla="*/ 110 h 190"/>
                <a:gd name="T48" fmla="*/ 322 w 324"/>
                <a:gd name="T49" fmla="*/ 126 h 190"/>
                <a:gd name="T50" fmla="*/ 320 w 324"/>
                <a:gd name="T51" fmla="*/ 142 h 190"/>
                <a:gd name="T52" fmla="*/ 320 w 324"/>
                <a:gd name="T53" fmla="*/ 160 h 190"/>
                <a:gd name="T54" fmla="*/ 318 w 324"/>
                <a:gd name="T55" fmla="*/ 174 h 190"/>
                <a:gd name="T56" fmla="*/ 316 w 324"/>
                <a:gd name="T57" fmla="*/ 190 h 190"/>
                <a:gd name="T58" fmla="*/ 300 w 324"/>
                <a:gd name="T59" fmla="*/ 188 h 190"/>
                <a:gd name="T60" fmla="*/ 282 w 324"/>
                <a:gd name="T61" fmla="*/ 188 h 190"/>
                <a:gd name="T62" fmla="*/ 264 w 324"/>
                <a:gd name="T63" fmla="*/ 186 h 190"/>
                <a:gd name="T64" fmla="*/ 246 w 324"/>
                <a:gd name="T65" fmla="*/ 186 h 190"/>
                <a:gd name="T66" fmla="*/ 232 w 324"/>
                <a:gd name="T67" fmla="*/ 184 h 190"/>
                <a:gd name="T68" fmla="*/ 214 w 324"/>
                <a:gd name="T69" fmla="*/ 182 h 190"/>
                <a:gd name="T70" fmla="*/ 196 w 324"/>
                <a:gd name="T71" fmla="*/ 180 h 190"/>
                <a:gd name="T72" fmla="*/ 180 w 324"/>
                <a:gd name="T73" fmla="*/ 180 h 190"/>
                <a:gd name="T74" fmla="*/ 162 w 324"/>
                <a:gd name="T75" fmla="*/ 178 h 190"/>
                <a:gd name="T76" fmla="*/ 146 w 324"/>
                <a:gd name="T77" fmla="*/ 176 h 190"/>
                <a:gd name="T78" fmla="*/ 132 w 324"/>
                <a:gd name="T79" fmla="*/ 174 h 190"/>
                <a:gd name="T80" fmla="*/ 114 w 324"/>
                <a:gd name="T81" fmla="*/ 172 h 190"/>
                <a:gd name="T82" fmla="*/ 96 w 324"/>
                <a:gd name="T83" fmla="*/ 170 h 190"/>
                <a:gd name="T84" fmla="*/ 76 w 324"/>
                <a:gd name="T85" fmla="*/ 166 h 190"/>
                <a:gd name="T86" fmla="*/ 60 w 324"/>
                <a:gd name="T87" fmla="*/ 166 h 190"/>
                <a:gd name="T88" fmla="*/ 46 w 324"/>
                <a:gd name="T89" fmla="*/ 164 h 190"/>
                <a:gd name="T90" fmla="*/ 30 w 324"/>
                <a:gd name="T91" fmla="*/ 162 h 190"/>
                <a:gd name="T92" fmla="*/ 14 w 324"/>
                <a:gd name="T93" fmla="*/ 160 h 190"/>
                <a:gd name="T94" fmla="*/ 0 w 324"/>
                <a:gd name="T95" fmla="*/ 154 h 190"/>
                <a:gd name="T96" fmla="*/ 4 w 324"/>
                <a:gd name="T97" fmla="*/ 136 h 190"/>
                <a:gd name="T98" fmla="*/ 6 w 324"/>
                <a:gd name="T99" fmla="*/ 118 h 190"/>
                <a:gd name="T100" fmla="*/ 8 w 324"/>
                <a:gd name="T101" fmla="*/ 102 h 190"/>
                <a:gd name="T102" fmla="*/ 12 w 324"/>
                <a:gd name="T103" fmla="*/ 84 h 190"/>
                <a:gd name="T104" fmla="*/ 14 w 324"/>
                <a:gd name="T105" fmla="*/ 70 h 190"/>
                <a:gd name="T106" fmla="*/ 16 w 324"/>
                <a:gd name="T107" fmla="*/ 52 h 190"/>
                <a:gd name="T108" fmla="*/ 20 w 324"/>
                <a:gd name="T109" fmla="*/ 38 h 190"/>
                <a:gd name="T110" fmla="*/ 22 w 324"/>
                <a:gd name="T111" fmla="*/ 22 h 190"/>
                <a:gd name="T112" fmla="*/ 24 w 324"/>
                <a:gd name="T113" fmla="*/ 8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24" h="190">
                  <a:moveTo>
                    <a:pt x="32" y="0"/>
                  </a:moveTo>
                  <a:lnTo>
                    <a:pt x="34" y="0"/>
                  </a:lnTo>
                  <a:lnTo>
                    <a:pt x="36" y="0"/>
                  </a:lnTo>
                  <a:lnTo>
                    <a:pt x="36" y="2"/>
                  </a:lnTo>
                  <a:lnTo>
                    <a:pt x="38" y="2"/>
                  </a:lnTo>
                  <a:lnTo>
                    <a:pt x="40" y="2"/>
                  </a:lnTo>
                  <a:lnTo>
                    <a:pt x="42" y="2"/>
                  </a:lnTo>
                  <a:lnTo>
                    <a:pt x="44" y="2"/>
                  </a:lnTo>
                  <a:lnTo>
                    <a:pt x="46" y="2"/>
                  </a:lnTo>
                  <a:lnTo>
                    <a:pt x="46" y="2"/>
                  </a:lnTo>
                  <a:lnTo>
                    <a:pt x="46" y="4"/>
                  </a:lnTo>
                  <a:lnTo>
                    <a:pt x="48" y="4"/>
                  </a:lnTo>
                  <a:lnTo>
                    <a:pt x="50" y="4"/>
                  </a:lnTo>
                  <a:lnTo>
                    <a:pt x="52" y="4"/>
                  </a:lnTo>
                  <a:lnTo>
                    <a:pt x="54" y="4"/>
                  </a:lnTo>
                  <a:lnTo>
                    <a:pt x="56" y="4"/>
                  </a:lnTo>
                  <a:lnTo>
                    <a:pt x="62" y="6"/>
                  </a:lnTo>
                  <a:lnTo>
                    <a:pt x="64" y="6"/>
                  </a:lnTo>
                  <a:lnTo>
                    <a:pt x="66" y="6"/>
                  </a:lnTo>
                  <a:lnTo>
                    <a:pt x="68" y="6"/>
                  </a:lnTo>
                  <a:lnTo>
                    <a:pt x="70" y="6"/>
                  </a:lnTo>
                  <a:lnTo>
                    <a:pt x="72" y="6"/>
                  </a:lnTo>
                  <a:lnTo>
                    <a:pt x="74" y="8"/>
                  </a:lnTo>
                  <a:lnTo>
                    <a:pt x="76" y="8"/>
                  </a:lnTo>
                  <a:lnTo>
                    <a:pt x="78" y="8"/>
                  </a:lnTo>
                  <a:lnTo>
                    <a:pt x="80" y="8"/>
                  </a:lnTo>
                  <a:lnTo>
                    <a:pt x="82" y="8"/>
                  </a:lnTo>
                  <a:lnTo>
                    <a:pt x="84" y="8"/>
                  </a:lnTo>
                  <a:lnTo>
                    <a:pt x="86" y="8"/>
                  </a:lnTo>
                  <a:lnTo>
                    <a:pt x="88" y="10"/>
                  </a:lnTo>
                  <a:lnTo>
                    <a:pt x="90" y="10"/>
                  </a:lnTo>
                  <a:lnTo>
                    <a:pt x="92" y="10"/>
                  </a:lnTo>
                  <a:lnTo>
                    <a:pt x="94" y="10"/>
                  </a:lnTo>
                  <a:lnTo>
                    <a:pt x="94" y="10"/>
                  </a:lnTo>
                  <a:lnTo>
                    <a:pt x="96" y="10"/>
                  </a:lnTo>
                  <a:lnTo>
                    <a:pt x="98" y="10"/>
                  </a:lnTo>
                  <a:lnTo>
                    <a:pt x="100" y="10"/>
                  </a:lnTo>
                  <a:lnTo>
                    <a:pt x="100" y="12"/>
                  </a:lnTo>
                  <a:lnTo>
                    <a:pt x="100" y="10"/>
                  </a:lnTo>
                  <a:lnTo>
                    <a:pt x="102" y="12"/>
                  </a:lnTo>
                  <a:lnTo>
                    <a:pt x="104" y="12"/>
                  </a:lnTo>
                  <a:lnTo>
                    <a:pt x="108" y="12"/>
                  </a:lnTo>
                  <a:lnTo>
                    <a:pt x="110" y="12"/>
                  </a:lnTo>
                  <a:lnTo>
                    <a:pt x="112" y="12"/>
                  </a:lnTo>
                  <a:lnTo>
                    <a:pt x="114" y="12"/>
                  </a:lnTo>
                  <a:lnTo>
                    <a:pt x="116" y="12"/>
                  </a:lnTo>
                  <a:lnTo>
                    <a:pt x="116" y="14"/>
                  </a:lnTo>
                  <a:lnTo>
                    <a:pt x="118" y="14"/>
                  </a:lnTo>
                  <a:lnTo>
                    <a:pt x="120" y="14"/>
                  </a:lnTo>
                  <a:lnTo>
                    <a:pt x="122" y="14"/>
                  </a:lnTo>
                  <a:lnTo>
                    <a:pt x="124" y="14"/>
                  </a:lnTo>
                  <a:lnTo>
                    <a:pt x="126" y="14"/>
                  </a:lnTo>
                  <a:lnTo>
                    <a:pt x="128" y="14"/>
                  </a:lnTo>
                  <a:lnTo>
                    <a:pt x="130" y="14"/>
                  </a:lnTo>
                  <a:lnTo>
                    <a:pt x="132" y="14"/>
                  </a:lnTo>
                  <a:lnTo>
                    <a:pt x="132" y="16"/>
                  </a:lnTo>
                  <a:lnTo>
                    <a:pt x="134" y="16"/>
                  </a:lnTo>
                  <a:lnTo>
                    <a:pt x="136" y="16"/>
                  </a:lnTo>
                  <a:lnTo>
                    <a:pt x="138" y="16"/>
                  </a:lnTo>
                  <a:lnTo>
                    <a:pt x="142" y="16"/>
                  </a:lnTo>
                  <a:lnTo>
                    <a:pt x="142" y="16"/>
                  </a:lnTo>
                  <a:lnTo>
                    <a:pt x="144" y="16"/>
                  </a:lnTo>
                  <a:lnTo>
                    <a:pt x="146" y="16"/>
                  </a:lnTo>
                  <a:lnTo>
                    <a:pt x="148" y="16"/>
                  </a:lnTo>
                  <a:lnTo>
                    <a:pt x="148" y="18"/>
                  </a:lnTo>
                  <a:lnTo>
                    <a:pt x="150" y="18"/>
                  </a:lnTo>
                  <a:lnTo>
                    <a:pt x="152" y="18"/>
                  </a:lnTo>
                  <a:lnTo>
                    <a:pt x="154" y="18"/>
                  </a:lnTo>
                  <a:lnTo>
                    <a:pt x="156" y="18"/>
                  </a:lnTo>
                  <a:lnTo>
                    <a:pt x="158" y="18"/>
                  </a:lnTo>
                  <a:lnTo>
                    <a:pt x="160" y="18"/>
                  </a:lnTo>
                  <a:lnTo>
                    <a:pt x="162" y="18"/>
                  </a:lnTo>
                  <a:lnTo>
                    <a:pt x="164" y="18"/>
                  </a:lnTo>
                  <a:lnTo>
                    <a:pt x="166" y="18"/>
                  </a:lnTo>
                  <a:lnTo>
                    <a:pt x="166" y="20"/>
                  </a:lnTo>
                  <a:lnTo>
                    <a:pt x="168" y="20"/>
                  </a:lnTo>
                  <a:lnTo>
                    <a:pt x="170" y="20"/>
                  </a:lnTo>
                  <a:lnTo>
                    <a:pt x="172" y="20"/>
                  </a:lnTo>
                  <a:lnTo>
                    <a:pt x="174" y="20"/>
                  </a:lnTo>
                  <a:lnTo>
                    <a:pt x="176" y="20"/>
                  </a:lnTo>
                  <a:lnTo>
                    <a:pt x="178" y="20"/>
                  </a:lnTo>
                  <a:lnTo>
                    <a:pt x="180" y="20"/>
                  </a:lnTo>
                  <a:lnTo>
                    <a:pt x="182" y="20"/>
                  </a:lnTo>
                  <a:lnTo>
                    <a:pt x="184" y="20"/>
                  </a:lnTo>
                  <a:lnTo>
                    <a:pt x="186" y="20"/>
                  </a:lnTo>
                  <a:lnTo>
                    <a:pt x="186" y="22"/>
                  </a:lnTo>
                  <a:lnTo>
                    <a:pt x="188" y="22"/>
                  </a:lnTo>
                  <a:lnTo>
                    <a:pt x="190" y="22"/>
                  </a:lnTo>
                  <a:lnTo>
                    <a:pt x="190" y="22"/>
                  </a:lnTo>
                  <a:lnTo>
                    <a:pt x="192" y="22"/>
                  </a:lnTo>
                  <a:lnTo>
                    <a:pt x="194" y="22"/>
                  </a:lnTo>
                  <a:lnTo>
                    <a:pt x="196" y="22"/>
                  </a:lnTo>
                  <a:lnTo>
                    <a:pt x="200" y="22"/>
                  </a:lnTo>
                  <a:lnTo>
                    <a:pt x="202" y="22"/>
                  </a:lnTo>
                  <a:lnTo>
                    <a:pt x="204" y="22"/>
                  </a:lnTo>
                  <a:lnTo>
                    <a:pt x="206" y="22"/>
                  </a:lnTo>
                  <a:lnTo>
                    <a:pt x="208" y="22"/>
                  </a:lnTo>
                  <a:lnTo>
                    <a:pt x="210" y="22"/>
                  </a:lnTo>
                  <a:lnTo>
                    <a:pt x="212" y="22"/>
                  </a:lnTo>
                  <a:lnTo>
                    <a:pt x="214" y="22"/>
                  </a:lnTo>
                  <a:lnTo>
                    <a:pt x="216" y="22"/>
                  </a:lnTo>
                  <a:lnTo>
                    <a:pt x="218" y="22"/>
                  </a:lnTo>
                  <a:lnTo>
                    <a:pt x="220" y="22"/>
                  </a:lnTo>
                  <a:lnTo>
                    <a:pt x="222" y="22"/>
                  </a:lnTo>
                  <a:lnTo>
                    <a:pt x="224" y="22"/>
                  </a:lnTo>
                  <a:lnTo>
                    <a:pt x="226" y="22"/>
                  </a:lnTo>
                  <a:lnTo>
                    <a:pt x="228" y="22"/>
                  </a:lnTo>
                  <a:lnTo>
                    <a:pt x="228" y="24"/>
                  </a:lnTo>
                  <a:lnTo>
                    <a:pt x="230" y="24"/>
                  </a:lnTo>
                  <a:lnTo>
                    <a:pt x="232" y="24"/>
                  </a:lnTo>
                  <a:lnTo>
                    <a:pt x="234" y="24"/>
                  </a:lnTo>
                  <a:lnTo>
                    <a:pt x="236" y="24"/>
                  </a:lnTo>
                  <a:lnTo>
                    <a:pt x="238" y="24"/>
                  </a:lnTo>
                  <a:lnTo>
                    <a:pt x="238" y="24"/>
                  </a:lnTo>
                  <a:lnTo>
                    <a:pt x="240" y="24"/>
                  </a:lnTo>
                  <a:lnTo>
                    <a:pt x="242" y="24"/>
                  </a:lnTo>
                  <a:lnTo>
                    <a:pt x="244" y="24"/>
                  </a:lnTo>
                  <a:lnTo>
                    <a:pt x="246" y="24"/>
                  </a:lnTo>
                  <a:lnTo>
                    <a:pt x="248" y="24"/>
                  </a:lnTo>
                  <a:lnTo>
                    <a:pt x="250" y="24"/>
                  </a:lnTo>
                  <a:lnTo>
                    <a:pt x="252" y="24"/>
                  </a:lnTo>
                  <a:lnTo>
                    <a:pt x="252" y="26"/>
                  </a:lnTo>
                  <a:lnTo>
                    <a:pt x="254" y="26"/>
                  </a:lnTo>
                  <a:lnTo>
                    <a:pt x="256" y="26"/>
                  </a:lnTo>
                  <a:lnTo>
                    <a:pt x="258" y="26"/>
                  </a:lnTo>
                  <a:lnTo>
                    <a:pt x="260" y="26"/>
                  </a:lnTo>
                  <a:lnTo>
                    <a:pt x="262" y="26"/>
                  </a:lnTo>
                  <a:lnTo>
                    <a:pt x="264" y="26"/>
                  </a:lnTo>
                  <a:lnTo>
                    <a:pt x="266" y="26"/>
                  </a:lnTo>
                  <a:lnTo>
                    <a:pt x="268" y="26"/>
                  </a:lnTo>
                  <a:lnTo>
                    <a:pt x="270" y="26"/>
                  </a:lnTo>
                  <a:lnTo>
                    <a:pt x="274" y="26"/>
                  </a:lnTo>
                  <a:lnTo>
                    <a:pt x="276" y="26"/>
                  </a:lnTo>
                  <a:lnTo>
                    <a:pt x="278" y="26"/>
                  </a:lnTo>
                  <a:lnTo>
                    <a:pt x="280" y="26"/>
                  </a:lnTo>
                  <a:lnTo>
                    <a:pt x="282" y="26"/>
                  </a:lnTo>
                  <a:lnTo>
                    <a:pt x="282" y="28"/>
                  </a:lnTo>
                  <a:lnTo>
                    <a:pt x="284" y="28"/>
                  </a:lnTo>
                  <a:lnTo>
                    <a:pt x="286" y="28"/>
                  </a:lnTo>
                  <a:lnTo>
                    <a:pt x="288" y="28"/>
                  </a:lnTo>
                  <a:lnTo>
                    <a:pt x="290" y="28"/>
                  </a:lnTo>
                  <a:lnTo>
                    <a:pt x="292" y="28"/>
                  </a:lnTo>
                  <a:lnTo>
                    <a:pt x="294" y="28"/>
                  </a:lnTo>
                  <a:lnTo>
                    <a:pt x="296" y="28"/>
                  </a:lnTo>
                  <a:lnTo>
                    <a:pt x="296" y="30"/>
                  </a:lnTo>
                  <a:lnTo>
                    <a:pt x="298" y="30"/>
                  </a:lnTo>
                  <a:lnTo>
                    <a:pt x="298" y="32"/>
                  </a:lnTo>
                  <a:lnTo>
                    <a:pt x="300" y="32"/>
                  </a:lnTo>
                  <a:lnTo>
                    <a:pt x="300" y="34"/>
                  </a:lnTo>
                  <a:lnTo>
                    <a:pt x="302" y="34"/>
                  </a:lnTo>
                  <a:lnTo>
                    <a:pt x="304" y="36"/>
                  </a:lnTo>
                  <a:lnTo>
                    <a:pt x="306" y="36"/>
                  </a:lnTo>
                  <a:lnTo>
                    <a:pt x="308" y="36"/>
                  </a:lnTo>
                  <a:lnTo>
                    <a:pt x="308" y="34"/>
                  </a:lnTo>
                  <a:lnTo>
                    <a:pt x="310" y="34"/>
                  </a:lnTo>
                  <a:lnTo>
                    <a:pt x="312" y="34"/>
                  </a:lnTo>
                  <a:lnTo>
                    <a:pt x="312" y="36"/>
                  </a:lnTo>
                  <a:lnTo>
                    <a:pt x="312" y="38"/>
                  </a:lnTo>
                  <a:lnTo>
                    <a:pt x="314" y="38"/>
                  </a:lnTo>
                  <a:lnTo>
                    <a:pt x="314" y="40"/>
                  </a:lnTo>
                  <a:lnTo>
                    <a:pt x="312" y="40"/>
                  </a:lnTo>
                  <a:lnTo>
                    <a:pt x="312" y="42"/>
                  </a:lnTo>
                  <a:lnTo>
                    <a:pt x="314" y="42"/>
                  </a:lnTo>
                  <a:lnTo>
                    <a:pt x="314" y="44"/>
                  </a:lnTo>
                  <a:lnTo>
                    <a:pt x="312" y="44"/>
                  </a:lnTo>
                  <a:lnTo>
                    <a:pt x="310" y="42"/>
                  </a:lnTo>
                  <a:lnTo>
                    <a:pt x="310" y="44"/>
                  </a:lnTo>
                  <a:lnTo>
                    <a:pt x="310" y="46"/>
                  </a:lnTo>
                  <a:lnTo>
                    <a:pt x="308" y="46"/>
                  </a:lnTo>
                  <a:lnTo>
                    <a:pt x="306" y="46"/>
                  </a:lnTo>
                  <a:lnTo>
                    <a:pt x="306" y="48"/>
                  </a:lnTo>
                  <a:lnTo>
                    <a:pt x="306" y="50"/>
                  </a:lnTo>
                  <a:lnTo>
                    <a:pt x="306" y="52"/>
                  </a:lnTo>
                  <a:lnTo>
                    <a:pt x="304" y="52"/>
                  </a:lnTo>
                  <a:lnTo>
                    <a:pt x="304" y="54"/>
                  </a:lnTo>
                  <a:lnTo>
                    <a:pt x="304" y="56"/>
                  </a:lnTo>
                  <a:lnTo>
                    <a:pt x="306" y="56"/>
                  </a:lnTo>
                  <a:lnTo>
                    <a:pt x="306" y="58"/>
                  </a:lnTo>
                  <a:lnTo>
                    <a:pt x="308" y="58"/>
                  </a:lnTo>
                  <a:lnTo>
                    <a:pt x="308" y="60"/>
                  </a:lnTo>
                  <a:lnTo>
                    <a:pt x="310" y="60"/>
                  </a:lnTo>
                  <a:lnTo>
                    <a:pt x="310" y="62"/>
                  </a:lnTo>
                  <a:lnTo>
                    <a:pt x="312" y="62"/>
                  </a:lnTo>
                  <a:lnTo>
                    <a:pt x="312" y="64"/>
                  </a:lnTo>
                  <a:lnTo>
                    <a:pt x="312" y="66"/>
                  </a:lnTo>
                  <a:lnTo>
                    <a:pt x="312" y="68"/>
                  </a:lnTo>
                  <a:lnTo>
                    <a:pt x="314" y="68"/>
                  </a:lnTo>
                  <a:lnTo>
                    <a:pt x="314" y="70"/>
                  </a:lnTo>
                  <a:lnTo>
                    <a:pt x="314" y="70"/>
                  </a:lnTo>
                  <a:lnTo>
                    <a:pt x="316" y="70"/>
                  </a:lnTo>
                  <a:lnTo>
                    <a:pt x="316" y="72"/>
                  </a:lnTo>
                  <a:lnTo>
                    <a:pt x="318" y="72"/>
                  </a:lnTo>
                  <a:lnTo>
                    <a:pt x="320" y="72"/>
                  </a:lnTo>
                  <a:lnTo>
                    <a:pt x="322" y="72"/>
                  </a:lnTo>
                  <a:lnTo>
                    <a:pt x="322" y="74"/>
                  </a:lnTo>
                  <a:lnTo>
                    <a:pt x="324" y="74"/>
                  </a:lnTo>
                  <a:lnTo>
                    <a:pt x="324" y="76"/>
                  </a:lnTo>
                  <a:lnTo>
                    <a:pt x="324" y="78"/>
                  </a:lnTo>
                  <a:lnTo>
                    <a:pt x="324" y="80"/>
                  </a:lnTo>
                  <a:lnTo>
                    <a:pt x="324" y="82"/>
                  </a:lnTo>
                  <a:lnTo>
                    <a:pt x="324" y="84"/>
                  </a:lnTo>
                  <a:lnTo>
                    <a:pt x="324" y="86"/>
                  </a:lnTo>
                  <a:lnTo>
                    <a:pt x="322" y="88"/>
                  </a:lnTo>
                  <a:lnTo>
                    <a:pt x="324" y="88"/>
                  </a:lnTo>
                  <a:lnTo>
                    <a:pt x="322" y="88"/>
                  </a:lnTo>
                  <a:lnTo>
                    <a:pt x="322" y="90"/>
                  </a:lnTo>
                  <a:lnTo>
                    <a:pt x="322" y="92"/>
                  </a:lnTo>
                  <a:lnTo>
                    <a:pt x="322" y="94"/>
                  </a:lnTo>
                  <a:lnTo>
                    <a:pt x="322" y="96"/>
                  </a:lnTo>
                  <a:lnTo>
                    <a:pt x="322" y="98"/>
                  </a:lnTo>
                  <a:lnTo>
                    <a:pt x="322" y="100"/>
                  </a:lnTo>
                  <a:lnTo>
                    <a:pt x="322" y="102"/>
                  </a:lnTo>
                  <a:lnTo>
                    <a:pt x="322" y="104"/>
                  </a:lnTo>
                  <a:lnTo>
                    <a:pt x="322" y="106"/>
                  </a:lnTo>
                  <a:lnTo>
                    <a:pt x="322" y="108"/>
                  </a:lnTo>
                  <a:lnTo>
                    <a:pt x="322" y="110"/>
                  </a:lnTo>
                  <a:lnTo>
                    <a:pt x="322" y="112"/>
                  </a:lnTo>
                  <a:lnTo>
                    <a:pt x="322" y="114"/>
                  </a:lnTo>
                  <a:lnTo>
                    <a:pt x="322" y="116"/>
                  </a:lnTo>
                  <a:lnTo>
                    <a:pt x="322" y="118"/>
                  </a:lnTo>
                  <a:lnTo>
                    <a:pt x="322" y="118"/>
                  </a:lnTo>
                  <a:lnTo>
                    <a:pt x="322" y="120"/>
                  </a:lnTo>
                  <a:lnTo>
                    <a:pt x="322" y="122"/>
                  </a:lnTo>
                  <a:lnTo>
                    <a:pt x="322" y="124"/>
                  </a:lnTo>
                  <a:lnTo>
                    <a:pt x="322" y="126"/>
                  </a:lnTo>
                  <a:lnTo>
                    <a:pt x="320" y="126"/>
                  </a:lnTo>
                  <a:lnTo>
                    <a:pt x="320" y="128"/>
                  </a:lnTo>
                  <a:lnTo>
                    <a:pt x="320" y="130"/>
                  </a:lnTo>
                  <a:lnTo>
                    <a:pt x="320" y="132"/>
                  </a:lnTo>
                  <a:lnTo>
                    <a:pt x="320" y="134"/>
                  </a:lnTo>
                  <a:lnTo>
                    <a:pt x="320" y="136"/>
                  </a:lnTo>
                  <a:lnTo>
                    <a:pt x="320" y="138"/>
                  </a:lnTo>
                  <a:lnTo>
                    <a:pt x="320" y="140"/>
                  </a:lnTo>
                  <a:lnTo>
                    <a:pt x="320" y="142"/>
                  </a:lnTo>
                  <a:lnTo>
                    <a:pt x="320" y="144"/>
                  </a:lnTo>
                  <a:lnTo>
                    <a:pt x="320" y="146"/>
                  </a:lnTo>
                  <a:lnTo>
                    <a:pt x="320" y="148"/>
                  </a:lnTo>
                  <a:lnTo>
                    <a:pt x="320" y="150"/>
                  </a:lnTo>
                  <a:lnTo>
                    <a:pt x="320" y="152"/>
                  </a:lnTo>
                  <a:lnTo>
                    <a:pt x="320" y="154"/>
                  </a:lnTo>
                  <a:lnTo>
                    <a:pt x="320" y="156"/>
                  </a:lnTo>
                  <a:lnTo>
                    <a:pt x="320" y="158"/>
                  </a:lnTo>
                  <a:lnTo>
                    <a:pt x="320" y="160"/>
                  </a:lnTo>
                  <a:lnTo>
                    <a:pt x="320" y="162"/>
                  </a:lnTo>
                  <a:lnTo>
                    <a:pt x="320" y="164"/>
                  </a:lnTo>
                  <a:lnTo>
                    <a:pt x="320" y="166"/>
                  </a:lnTo>
                  <a:lnTo>
                    <a:pt x="320" y="166"/>
                  </a:lnTo>
                  <a:lnTo>
                    <a:pt x="318" y="166"/>
                  </a:lnTo>
                  <a:lnTo>
                    <a:pt x="318" y="168"/>
                  </a:lnTo>
                  <a:lnTo>
                    <a:pt x="318" y="170"/>
                  </a:lnTo>
                  <a:lnTo>
                    <a:pt x="318" y="172"/>
                  </a:lnTo>
                  <a:lnTo>
                    <a:pt x="318" y="174"/>
                  </a:lnTo>
                  <a:lnTo>
                    <a:pt x="318" y="176"/>
                  </a:lnTo>
                  <a:lnTo>
                    <a:pt x="318" y="178"/>
                  </a:lnTo>
                  <a:lnTo>
                    <a:pt x="318" y="180"/>
                  </a:lnTo>
                  <a:lnTo>
                    <a:pt x="318" y="182"/>
                  </a:lnTo>
                  <a:lnTo>
                    <a:pt x="318" y="184"/>
                  </a:lnTo>
                  <a:lnTo>
                    <a:pt x="318" y="186"/>
                  </a:lnTo>
                  <a:lnTo>
                    <a:pt x="318" y="188"/>
                  </a:lnTo>
                  <a:lnTo>
                    <a:pt x="318" y="190"/>
                  </a:lnTo>
                  <a:lnTo>
                    <a:pt x="316" y="190"/>
                  </a:lnTo>
                  <a:lnTo>
                    <a:pt x="314" y="190"/>
                  </a:lnTo>
                  <a:lnTo>
                    <a:pt x="314" y="188"/>
                  </a:lnTo>
                  <a:lnTo>
                    <a:pt x="312" y="188"/>
                  </a:lnTo>
                  <a:lnTo>
                    <a:pt x="310" y="188"/>
                  </a:lnTo>
                  <a:lnTo>
                    <a:pt x="308" y="188"/>
                  </a:lnTo>
                  <a:lnTo>
                    <a:pt x="306" y="188"/>
                  </a:lnTo>
                  <a:lnTo>
                    <a:pt x="304" y="188"/>
                  </a:lnTo>
                  <a:lnTo>
                    <a:pt x="302" y="188"/>
                  </a:lnTo>
                  <a:lnTo>
                    <a:pt x="300" y="188"/>
                  </a:lnTo>
                  <a:lnTo>
                    <a:pt x="298" y="188"/>
                  </a:lnTo>
                  <a:lnTo>
                    <a:pt x="294" y="188"/>
                  </a:lnTo>
                  <a:lnTo>
                    <a:pt x="292" y="188"/>
                  </a:lnTo>
                  <a:lnTo>
                    <a:pt x="290" y="188"/>
                  </a:lnTo>
                  <a:lnTo>
                    <a:pt x="288" y="188"/>
                  </a:lnTo>
                  <a:lnTo>
                    <a:pt x="286" y="188"/>
                  </a:lnTo>
                  <a:lnTo>
                    <a:pt x="286" y="188"/>
                  </a:lnTo>
                  <a:lnTo>
                    <a:pt x="284" y="188"/>
                  </a:lnTo>
                  <a:lnTo>
                    <a:pt x="282" y="188"/>
                  </a:lnTo>
                  <a:lnTo>
                    <a:pt x="280" y="188"/>
                  </a:lnTo>
                  <a:lnTo>
                    <a:pt x="278" y="188"/>
                  </a:lnTo>
                  <a:lnTo>
                    <a:pt x="276" y="186"/>
                  </a:lnTo>
                  <a:lnTo>
                    <a:pt x="274" y="186"/>
                  </a:lnTo>
                  <a:lnTo>
                    <a:pt x="272" y="186"/>
                  </a:lnTo>
                  <a:lnTo>
                    <a:pt x="270" y="186"/>
                  </a:lnTo>
                  <a:lnTo>
                    <a:pt x="268" y="186"/>
                  </a:lnTo>
                  <a:lnTo>
                    <a:pt x="266" y="186"/>
                  </a:lnTo>
                  <a:lnTo>
                    <a:pt x="264" y="186"/>
                  </a:lnTo>
                  <a:lnTo>
                    <a:pt x="262" y="186"/>
                  </a:lnTo>
                  <a:lnTo>
                    <a:pt x="260" y="186"/>
                  </a:lnTo>
                  <a:lnTo>
                    <a:pt x="258" y="186"/>
                  </a:lnTo>
                  <a:lnTo>
                    <a:pt x="256" y="186"/>
                  </a:lnTo>
                  <a:lnTo>
                    <a:pt x="254" y="186"/>
                  </a:lnTo>
                  <a:lnTo>
                    <a:pt x="252" y="186"/>
                  </a:lnTo>
                  <a:lnTo>
                    <a:pt x="250" y="186"/>
                  </a:lnTo>
                  <a:lnTo>
                    <a:pt x="248" y="186"/>
                  </a:lnTo>
                  <a:lnTo>
                    <a:pt x="246" y="186"/>
                  </a:lnTo>
                  <a:lnTo>
                    <a:pt x="246" y="184"/>
                  </a:lnTo>
                  <a:lnTo>
                    <a:pt x="244" y="184"/>
                  </a:lnTo>
                  <a:lnTo>
                    <a:pt x="242" y="184"/>
                  </a:lnTo>
                  <a:lnTo>
                    <a:pt x="240" y="184"/>
                  </a:lnTo>
                  <a:lnTo>
                    <a:pt x="238" y="184"/>
                  </a:lnTo>
                  <a:lnTo>
                    <a:pt x="238" y="184"/>
                  </a:lnTo>
                  <a:lnTo>
                    <a:pt x="236" y="184"/>
                  </a:lnTo>
                  <a:lnTo>
                    <a:pt x="234" y="184"/>
                  </a:lnTo>
                  <a:lnTo>
                    <a:pt x="232" y="184"/>
                  </a:lnTo>
                  <a:lnTo>
                    <a:pt x="230" y="184"/>
                  </a:lnTo>
                  <a:lnTo>
                    <a:pt x="228" y="184"/>
                  </a:lnTo>
                  <a:lnTo>
                    <a:pt x="226" y="184"/>
                  </a:lnTo>
                  <a:lnTo>
                    <a:pt x="224" y="184"/>
                  </a:lnTo>
                  <a:lnTo>
                    <a:pt x="222" y="184"/>
                  </a:lnTo>
                  <a:lnTo>
                    <a:pt x="220" y="182"/>
                  </a:lnTo>
                  <a:lnTo>
                    <a:pt x="218" y="182"/>
                  </a:lnTo>
                  <a:lnTo>
                    <a:pt x="216" y="182"/>
                  </a:lnTo>
                  <a:lnTo>
                    <a:pt x="214" y="182"/>
                  </a:lnTo>
                  <a:lnTo>
                    <a:pt x="212" y="182"/>
                  </a:lnTo>
                  <a:lnTo>
                    <a:pt x="210" y="182"/>
                  </a:lnTo>
                  <a:lnTo>
                    <a:pt x="208" y="182"/>
                  </a:lnTo>
                  <a:lnTo>
                    <a:pt x="206" y="182"/>
                  </a:lnTo>
                  <a:lnTo>
                    <a:pt x="204" y="182"/>
                  </a:lnTo>
                  <a:lnTo>
                    <a:pt x="202" y="182"/>
                  </a:lnTo>
                  <a:lnTo>
                    <a:pt x="200" y="182"/>
                  </a:lnTo>
                  <a:lnTo>
                    <a:pt x="198" y="182"/>
                  </a:lnTo>
                  <a:lnTo>
                    <a:pt x="196" y="180"/>
                  </a:lnTo>
                  <a:lnTo>
                    <a:pt x="194" y="180"/>
                  </a:lnTo>
                  <a:lnTo>
                    <a:pt x="192" y="180"/>
                  </a:lnTo>
                  <a:lnTo>
                    <a:pt x="190" y="180"/>
                  </a:lnTo>
                  <a:lnTo>
                    <a:pt x="190" y="180"/>
                  </a:lnTo>
                  <a:lnTo>
                    <a:pt x="188" y="180"/>
                  </a:lnTo>
                  <a:lnTo>
                    <a:pt x="186" y="180"/>
                  </a:lnTo>
                  <a:lnTo>
                    <a:pt x="184" y="180"/>
                  </a:lnTo>
                  <a:lnTo>
                    <a:pt x="182" y="180"/>
                  </a:lnTo>
                  <a:lnTo>
                    <a:pt x="180" y="180"/>
                  </a:lnTo>
                  <a:lnTo>
                    <a:pt x="178" y="180"/>
                  </a:lnTo>
                  <a:lnTo>
                    <a:pt x="176" y="178"/>
                  </a:lnTo>
                  <a:lnTo>
                    <a:pt x="174" y="178"/>
                  </a:lnTo>
                  <a:lnTo>
                    <a:pt x="172" y="178"/>
                  </a:lnTo>
                  <a:lnTo>
                    <a:pt x="170" y="178"/>
                  </a:lnTo>
                  <a:lnTo>
                    <a:pt x="168" y="178"/>
                  </a:lnTo>
                  <a:lnTo>
                    <a:pt x="166" y="178"/>
                  </a:lnTo>
                  <a:lnTo>
                    <a:pt x="164" y="178"/>
                  </a:lnTo>
                  <a:lnTo>
                    <a:pt x="162" y="178"/>
                  </a:lnTo>
                  <a:lnTo>
                    <a:pt x="160" y="178"/>
                  </a:lnTo>
                  <a:lnTo>
                    <a:pt x="158" y="178"/>
                  </a:lnTo>
                  <a:lnTo>
                    <a:pt x="156" y="178"/>
                  </a:lnTo>
                  <a:lnTo>
                    <a:pt x="156" y="176"/>
                  </a:lnTo>
                  <a:lnTo>
                    <a:pt x="154" y="176"/>
                  </a:lnTo>
                  <a:lnTo>
                    <a:pt x="152" y="176"/>
                  </a:lnTo>
                  <a:lnTo>
                    <a:pt x="150" y="176"/>
                  </a:lnTo>
                  <a:lnTo>
                    <a:pt x="148" y="176"/>
                  </a:lnTo>
                  <a:lnTo>
                    <a:pt x="146" y="176"/>
                  </a:lnTo>
                  <a:lnTo>
                    <a:pt x="144" y="176"/>
                  </a:lnTo>
                  <a:lnTo>
                    <a:pt x="142" y="176"/>
                  </a:lnTo>
                  <a:lnTo>
                    <a:pt x="142" y="176"/>
                  </a:lnTo>
                  <a:lnTo>
                    <a:pt x="140" y="176"/>
                  </a:lnTo>
                  <a:lnTo>
                    <a:pt x="140" y="174"/>
                  </a:lnTo>
                  <a:lnTo>
                    <a:pt x="138" y="174"/>
                  </a:lnTo>
                  <a:lnTo>
                    <a:pt x="136" y="174"/>
                  </a:lnTo>
                  <a:lnTo>
                    <a:pt x="134" y="174"/>
                  </a:lnTo>
                  <a:lnTo>
                    <a:pt x="132" y="174"/>
                  </a:lnTo>
                  <a:lnTo>
                    <a:pt x="130" y="174"/>
                  </a:lnTo>
                  <a:lnTo>
                    <a:pt x="128" y="174"/>
                  </a:lnTo>
                  <a:lnTo>
                    <a:pt x="126" y="174"/>
                  </a:lnTo>
                  <a:lnTo>
                    <a:pt x="124" y="174"/>
                  </a:lnTo>
                  <a:lnTo>
                    <a:pt x="122" y="174"/>
                  </a:lnTo>
                  <a:lnTo>
                    <a:pt x="120" y="172"/>
                  </a:lnTo>
                  <a:lnTo>
                    <a:pt x="118" y="172"/>
                  </a:lnTo>
                  <a:lnTo>
                    <a:pt x="116" y="172"/>
                  </a:lnTo>
                  <a:lnTo>
                    <a:pt x="114" y="172"/>
                  </a:lnTo>
                  <a:lnTo>
                    <a:pt x="112" y="172"/>
                  </a:lnTo>
                  <a:lnTo>
                    <a:pt x="110" y="172"/>
                  </a:lnTo>
                  <a:lnTo>
                    <a:pt x="108" y="172"/>
                  </a:lnTo>
                  <a:lnTo>
                    <a:pt x="106" y="172"/>
                  </a:lnTo>
                  <a:lnTo>
                    <a:pt x="104" y="170"/>
                  </a:lnTo>
                  <a:lnTo>
                    <a:pt x="102" y="170"/>
                  </a:lnTo>
                  <a:lnTo>
                    <a:pt x="100" y="170"/>
                  </a:lnTo>
                  <a:lnTo>
                    <a:pt x="98" y="170"/>
                  </a:lnTo>
                  <a:lnTo>
                    <a:pt x="96" y="170"/>
                  </a:lnTo>
                  <a:lnTo>
                    <a:pt x="94" y="170"/>
                  </a:lnTo>
                  <a:lnTo>
                    <a:pt x="94" y="170"/>
                  </a:lnTo>
                  <a:lnTo>
                    <a:pt x="88" y="168"/>
                  </a:lnTo>
                  <a:lnTo>
                    <a:pt x="86" y="168"/>
                  </a:lnTo>
                  <a:lnTo>
                    <a:pt x="84" y="168"/>
                  </a:lnTo>
                  <a:lnTo>
                    <a:pt x="82" y="168"/>
                  </a:lnTo>
                  <a:lnTo>
                    <a:pt x="80" y="168"/>
                  </a:lnTo>
                  <a:lnTo>
                    <a:pt x="78" y="168"/>
                  </a:lnTo>
                  <a:lnTo>
                    <a:pt x="76" y="166"/>
                  </a:lnTo>
                  <a:lnTo>
                    <a:pt x="74" y="166"/>
                  </a:lnTo>
                  <a:lnTo>
                    <a:pt x="72" y="166"/>
                  </a:lnTo>
                  <a:lnTo>
                    <a:pt x="70" y="166"/>
                  </a:lnTo>
                  <a:lnTo>
                    <a:pt x="68" y="166"/>
                  </a:lnTo>
                  <a:lnTo>
                    <a:pt x="66" y="166"/>
                  </a:lnTo>
                  <a:lnTo>
                    <a:pt x="64" y="166"/>
                  </a:lnTo>
                  <a:lnTo>
                    <a:pt x="62" y="166"/>
                  </a:lnTo>
                  <a:lnTo>
                    <a:pt x="62" y="166"/>
                  </a:lnTo>
                  <a:lnTo>
                    <a:pt x="60" y="166"/>
                  </a:lnTo>
                  <a:lnTo>
                    <a:pt x="58" y="166"/>
                  </a:lnTo>
                  <a:lnTo>
                    <a:pt x="56" y="166"/>
                  </a:lnTo>
                  <a:lnTo>
                    <a:pt x="54" y="166"/>
                  </a:lnTo>
                  <a:lnTo>
                    <a:pt x="52" y="166"/>
                  </a:lnTo>
                  <a:lnTo>
                    <a:pt x="50" y="166"/>
                  </a:lnTo>
                  <a:lnTo>
                    <a:pt x="48" y="166"/>
                  </a:lnTo>
                  <a:lnTo>
                    <a:pt x="46" y="166"/>
                  </a:lnTo>
                  <a:lnTo>
                    <a:pt x="46" y="164"/>
                  </a:lnTo>
                  <a:lnTo>
                    <a:pt x="46" y="164"/>
                  </a:lnTo>
                  <a:lnTo>
                    <a:pt x="44" y="164"/>
                  </a:lnTo>
                  <a:lnTo>
                    <a:pt x="42" y="164"/>
                  </a:lnTo>
                  <a:lnTo>
                    <a:pt x="40" y="164"/>
                  </a:lnTo>
                  <a:lnTo>
                    <a:pt x="38" y="164"/>
                  </a:lnTo>
                  <a:lnTo>
                    <a:pt x="36" y="164"/>
                  </a:lnTo>
                  <a:lnTo>
                    <a:pt x="34" y="164"/>
                  </a:lnTo>
                  <a:lnTo>
                    <a:pt x="34" y="162"/>
                  </a:lnTo>
                  <a:lnTo>
                    <a:pt x="32" y="162"/>
                  </a:lnTo>
                  <a:lnTo>
                    <a:pt x="30" y="162"/>
                  </a:lnTo>
                  <a:lnTo>
                    <a:pt x="28" y="162"/>
                  </a:lnTo>
                  <a:lnTo>
                    <a:pt x="26" y="162"/>
                  </a:lnTo>
                  <a:lnTo>
                    <a:pt x="24" y="162"/>
                  </a:lnTo>
                  <a:lnTo>
                    <a:pt x="22" y="162"/>
                  </a:lnTo>
                  <a:lnTo>
                    <a:pt x="20" y="162"/>
                  </a:lnTo>
                  <a:lnTo>
                    <a:pt x="20" y="160"/>
                  </a:lnTo>
                  <a:lnTo>
                    <a:pt x="18" y="160"/>
                  </a:lnTo>
                  <a:lnTo>
                    <a:pt x="16" y="160"/>
                  </a:lnTo>
                  <a:lnTo>
                    <a:pt x="14" y="160"/>
                  </a:lnTo>
                  <a:lnTo>
                    <a:pt x="12" y="160"/>
                  </a:lnTo>
                  <a:lnTo>
                    <a:pt x="10" y="160"/>
                  </a:lnTo>
                  <a:lnTo>
                    <a:pt x="8" y="160"/>
                  </a:lnTo>
                  <a:lnTo>
                    <a:pt x="6" y="158"/>
                  </a:lnTo>
                  <a:lnTo>
                    <a:pt x="4" y="158"/>
                  </a:lnTo>
                  <a:lnTo>
                    <a:pt x="2" y="158"/>
                  </a:lnTo>
                  <a:lnTo>
                    <a:pt x="0" y="158"/>
                  </a:lnTo>
                  <a:lnTo>
                    <a:pt x="0" y="156"/>
                  </a:lnTo>
                  <a:lnTo>
                    <a:pt x="0" y="154"/>
                  </a:lnTo>
                  <a:lnTo>
                    <a:pt x="0" y="152"/>
                  </a:lnTo>
                  <a:lnTo>
                    <a:pt x="0" y="150"/>
                  </a:lnTo>
                  <a:lnTo>
                    <a:pt x="2" y="146"/>
                  </a:lnTo>
                  <a:lnTo>
                    <a:pt x="2" y="144"/>
                  </a:lnTo>
                  <a:lnTo>
                    <a:pt x="2" y="142"/>
                  </a:lnTo>
                  <a:lnTo>
                    <a:pt x="2" y="140"/>
                  </a:lnTo>
                  <a:lnTo>
                    <a:pt x="2" y="138"/>
                  </a:lnTo>
                  <a:lnTo>
                    <a:pt x="2" y="136"/>
                  </a:lnTo>
                  <a:lnTo>
                    <a:pt x="4" y="136"/>
                  </a:lnTo>
                  <a:lnTo>
                    <a:pt x="4" y="134"/>
                  </a:lnTo>
                  <a:lnTo>
                    <a:pt x="4" y="132"/>
                  </a:lnTo>
                  <a:lnTo>
                    <a:pt x="4" y="130"/>
                  </a:lnTo>
                  <a:lnTo>
                    <a:pt x="4" y="128"/>
                  </a:lnTo>
                  <a:lnTo>
                    <a:pt x="4" y="126"/>
                  </a:lnTo>
                  <a:lnTo>
                    <a:pt x="4" y="124"/>
                  </a:lnTo>
                  <a:lnTo>
                    <a:pt x="6" y="122"/>
                  </a:lnTo>
                  <a:lnTo>
                    <a:pt x="6" y="120"/>
                  </a:lnTo>
                  <a:lnTo>
                    <a:pt x="6" y="118"/>
                  </a:lnTo>
                  <a:lnTo>
                    <a:pt x="6" y="118"/>
                  </a:lnTo>
                  <a:lnTo>
                    <a:pt x="6" y="116"/>
                  </a:lnTo>
                  <a:lnTo>
                    <a:pt x="6" y="114"/>
                  </a:lnTo>
                  <a:lnTo>
                    <a:pt x="8" y="112"/>
                  </a:lnTo>
                  <a:lnTo>
                    <a:pt x="8" y="110"/>
                  </a:lnTo>
                  <a:lnTo>
                    <a:pt x="8" y="108"/>
                  </a:lnTo>
                  <a:lnTo>
                    <a:pt x="8" y="106"/>
                  </a:lnTo>
                  <a:lnTo>
                    <a:pt x="8" y="104"/>
                  </a:lnTo>
                  <a:lnTo>
                    <a:pt x="8" y="102"/>
                  </a:lnTo>
                  <a:lnTo>
                    <a:pt x="8" y="100"/>
                  </a:lnTo>
                  <a:lnTo>
                    <a:pt x="10" y="98"/>
                  </a:lnTo>
                  <a:lnTo>
                    <a:pt x="10" y="96"/>
                  </a:lnTo>
                  <a:lnTo>
                    <a:pt x="10" y="94"/>
                  </a:lnTo>
                  <a:lnTo>
                    <a:pt x="10" y="92"/>
                  </a:lnTo>
                  <a:lnTo>
                    <a:pt x="10" y="90"/>
                  </a:lnTo>
                  <a:lnTo>
                    <a:pt x="12" y="88"/>
                  </a:lnTo>
                  <a:lnTo>
                    <a:pt x="12" y="86"/>
                  </a:lnTo>
                  <a:lnTo>
                    <a:pt x="12" y="84"/>
                  </a:lnTo>
                  <a:lnTo>
                    <a:pt x="12" y="82"/>
                  </a:lnTo>
                  <a:lnTo>
                    <a:pt x="12" y="80"/>
                  </a:lnTo>
                  <a:lnTo>
                    <a:pt x="12" y="78"/>
                  </a:lnTo>
                  <a:lnTo>
                    <a:pt x="12" y="76"/>
                  </a:lnTo>
                  <a:lnTo>
                    <a:pt x="14" y="76"/>
                  </a:lnTo>
                  <a:lnTo>
                    <a:pt x="14" y="74"/>
                  </a:lnTo>
                  <a:lnTo>
                    <a:pt x="14" y="72"/>
                  </a:lnTo>
                  <a:lnTo>
                    <a:pt x="14" y="70"/>
                  </a:lnTo>
                  <a:lnTo>
                    <a:pt x="14" y="70"/>
                  </a:lnTo>
                  <a:lnTo>
                    <a:pt x="14" y="68"/>
                  </a:lnTo>
                  <a:lnTo>
                    <a:pt x="14" y="66"/>
                  </a:lnTo>
                  <a:lnTo>
                    <a:pt x="16" y="64"/>
                  </a:lnTo>
                  <a:lnTo>
                    <a:pt x="16" y="62"/>
                  </a:lnTo>
                  <a:lnTo>
                    <a:pt x="16" y="60"/>
                  </a:lnTo>
                  <a:lnTo>
                    <a:pt x="16" y="58"/>
                  </a:lnTo>
                  <a:lnTo>
                    <a:pt x="16" y="56"/>
                  </a:lnTo>
                  <a:lnTo>
                    <a:pt x="16" y="54"/>
                  </a:lnTo>
                  <a:lnTo>
                    <a:pt x="16" y="52"/>
                  </a:lnTo>
                  <a:lnTo>
                    <a:pt x="18" y="52"/>
                  </a:lnTo>
                  <a:lnTo>
                    <a:pt x="18" y="50"/>
                  </a:lnTo>
                  <a:lnTo>
                    <a:pt x="18" y="48"/>
                  </a:lnTo>
                  <a:lnTo>
                    <a:pt x="18" y="46"/>
                  </a:lnTo>
                  <a:lnTo>
                    <a:pt x="18" y="44"/>
                  </a:lnTo>
                  <a:lnTo>
                    <a:pt x="18" y="42"/>
                  </a:lnTo>
                  <a:lnTo>
                    <a:pt x="18" y="40"/>
                  </a:lnTo>
                  <a:lnTo>
                    <a:pt x="20" y="40"/>
                  </a:lnTo>
                  <a:lnTo>
                    <a:pt x="20" y="38"/>
                  </a:lnTo>
                  <a:lnTo>
                    <a:pt x="20" y="36"/>
                  </a:lnTo>
                  <a:lnTo>
                    <a:pt x="20" y="34"/>
                  </a:lnTo>
                  <a:lnTo>
                    <a:pt x="20" y="32"/>
                  </a:lnTo>
                  <a:lnTo>
                    <a:pt x="20" y="30"/>
                  </a:lnTo>
                  <a:lnTo>
                    <a:pt x="20" y="28"/>
                  </a:lnTo>
                  <a:lnTo>
                    <a:pt x="20" y="26"/>
                  </a:lnTo>
                  <a:lnTo>
                    <a:pt x="22" y="26"/>
                  </a:lnTo>
                  <a:lnTo>
                    <a:pt x="22" y="24"/>
                  </a:lnTo>
                  <a:lnTo>
                    <a:pt x="22" y="22"/>
                  </a:lnTo>
                  <a:lnTo>
                    <a:pt x="22" y="22"/>
                  </a:lnTo>
                  <a:lnTo>
                    <a:pt x="22" y="20"/>
                  </a:lnTo>
                  <a:lnTo>
                    <a:pt x="22" y="18"/>
                  </a:lnTo>
                  <a:lnTo>
                    <a:pt x="22" y="16"/>
                  </a:lnTo>
                  <a:lnTo>
                    <a:pt x="24" y="16"/>
                  </a:lnTo>
                  <a:lnTo>
                    <a:pt x="24" y="14"/>
                  </a:lnTo>
                  <a:lnTo>
                    <a:pt x="24" y="12"/>
                  </a:lnTo>
                  <a:lnTo>
                    <a:pt x="24" y="10"/>
                  </a:lnTo>
                  <a:lnTo>
                    <a:pt x="24" y="8"/>
                  </a:lnTo>
                  <a:lnTo>
                    <a:pt x="24" y="6"/>
                  </a:lnTo>
                  <a:lnTo>
                    <a:pt x="24" y="4"/>
                  </a:lnTo>
                  <a:lnTo>
                    <a:pt x="26" y="2"/>
                  </a:lnTo>
                  <a:lnTo>
                    <a:pt x="26" y="0"/>
                  </a:lnTo>
                  <a:lnTo>
                    <a:pt x="28" y="0"/>
                  </a:lnTo>
                  <a:lnTo>
                    <a:pt x="32" y="0"/>
                  </a:lnTo>
                  <a:close/>
                </a:path>
              </a:pathLst>
            </a:custGeom>
            <a:solidFill>
              <a:srgbClr val="EDFD51"/>
            </a:solidFill>
            <a:ln w="3175">
              <a:solidFill>
                <a:sysClr val="window" lastClr="FFFF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black"/>
                </a:solidFill>
                <a:effectLst/>
                <a:uLnTx/>
                <a:uFillTx/>
                <a:ea typeface="宋体" panose="02010600030101010101" pitchFamily="2" charset="-122"/>
              </a:endParaRPr>
            </a:p>
          </p:txBody>
        </p:sp>
        <p:sp>
          <p:nvSpPr>
            <p:cNvPr id="16" name="Freeform 1813">
              <a:extLst>
                <a:ext uri="{FF2B5EF4-FFF2-40B4-BE49-F238E27FC236}">
                  <a16:creationId xmlns:a16="http://schemas.microsoft.com/office/drawing/2014/main" id="{73143F18-DEA0-FF52-A84B-551A45AE5E6A}"/>
                </a:ext>
              </a:extLst>
            </p:cNvPr>
            <p:cNvSpPr>
              <a:spLocks noEditPoints="1"/>
            </p:cNvSpPr>
            <p:nvPr/>
          </p:nvSpPr>
          <p:spPr bwMode="auto">
            <a:xfrm>
              <a:off x="5345113" y="3870326"/>
              <a:ext cx="388938" cy="366713"/>
            </a:xfrm>
            <a:custGeom>
              <a:avLst/>
              <a:gdLst>
                <a:gd name="T0" fmla="*/ 229 w 245"/>
                <a:gd name="T1" fmla="*/ 223 h 231"/>
                <a:gd name="T2" fmla="*/ 231 w 245"/>
                <a:gd name="T3" fmla="*/ 223 h 231"/>
                <a:gd name="T4" fmla="*/ 239 w 245"/>
                <a:gd name="T5" fmla="*/ 221 h 231"/>
                <a:gd name="T6" fmla="*/ 239 w 245"/>
                <a:gd name="T7" fmla="*/ 221 h 231"/>
                <a:gd name="T8" fmla="*/ 231 w 245"/>
                <a:gd name="T9" fmla="*/ 221 h 231"/>
                <a:gd name="T10" fmla="*/ 225 w 245"/>
                <a:gd name="T11" fmla="*/ 218 h 231"/>
                <a:gd name="T12" fmla="*/ 227 w 245"/>
                <a:gd name="T13" fmla="*/ 218 h 231"/>
                <a:gd name="T14" fmla="*/ 239 w 245"/>
                <a:gd name="T15" fmla="*/ 218 h 231"/>
                <a:gd name="T16" fmla="*/ 235 w 245"/>
                <a:gd name="T17" fmla="*/ 218 h 231"/>
                <a:gd name="T18" fmla="*/ 243 w 245"/>
                <a:gd name="T19" fmla="*/ 216 h 231"/>
                <a:gd name="T20" fmla="*/ 237 w 245"/>
                <a:gd name="T21" fmla="*/ 218 h 231"/>
                <a:gd name="T22" fmla="*/ 241 w 245"/>
                <a:gd name="T23" fmla="*/ 214 h 231"/>
                <a:gd name="T24" fmla="*/ 243 w 245"/>
                <a:gd name="T25" fmla="*/ 214 h 231"/>
                <a:gd name="T26" fmla="*/ 243 w 245"/>
                <a:gd name="T27" fmla="*/ 212 h 231"/>
                <a:gd name="T28" fmla="*/ 243 w 245"/>
                <a:gd name="T29" fmla="*/ 212 h 231"/>
                <a:gd name="T30" fmla="*/ 239 w 245"/>
                <a:gd name="T31" fmla="*/ 212 h 231"/>
                <a:gd name="T32" fmla="*/ 150 w 245"/>
                <a:gd name="T33" fmla="*/ 212 h 231"/>
                <a:gd name="T34" fmla="*/ 239 w 245"/>
                <a:gd name="T35" fmla="*/ 208 h 231"/>
                <a:gd name="T36" fmla="*/ 235 w 245"/>
                <a:gd name="T37" fmla="*/ 208 h 231"/>
                <a:gd name="T38" fmla="*/ 237 w 245"/>
                <a:gd name="T39" fmla="*/ 208 h 231"/>
                <a:gd name="T40" fmla="*/ 235 w 245"/>
                <a:gd name="T41" fmla="*/ 206 h 231"/>
                <a:gd name="T42" fmla="*/ 235 w 245"/>
                <a:gd name="T43" fmla="*/ 208 h 231"/>
                <a:gd name="T44" fmla="*/ 195 w 245"/>
                <a:gd name="T45" fmla="*/ 206 h 231"/>
                <a:gd name="T46" fmla="*/ 193 w 245"/>
                <a:gd name="T47" fmla="*/ 206 h 231"/>
                <a:gd name="T48" fmla="*/ 201 w 245"/>
                <a:gd name="T49" fmla="*/ 206 h 231"/>
                <a:gd name="T50" fmla="*/ 203 w 245"/>
                <a:gd name="T51" fmla="*/ 204 h 231"/>
                <a:gd name="T52" fmla="*/ 205 w 245"/>
                <a:gd name="T53" fmla="*/ 204 h 231"/>
                <a:gd name="T54" fmla="*/ 195 w 245"/>
                <a:gd name="T55" fmla="*/ 204 h 231"/>
                <a:gd name="T56" fmla="*/ 203 w 245"/>
                <a:gd name="T57" fmla="*/ 202 h 231"/>
                <a:gd name="T58" fmla="*/ 203 w 245"/>
                <a:gd name="T59" fmla="*/ 200 h 231"/>
                <a:gd name="T60" fmla="*/ 195 w 245"/>
                <a:gd name="T61" fmla="*/ 198 h 231"/>
                <a:gd name="T62" fmla="*/ 195 w 245"/>
                <a:gd name="T63" fmla="*/ 196 h 231"/>
                <a:gd name="T64" fmla="*/ 96 w 245"/>
                <a:gd name="T65" fmla="*/ 192 h 231"/>
                <a:gd name="T66" fmla="*/ 215 w 245"/>
                <a:gd name="T67" fmla="*/ 186 h 231"/>
                <a:gd name="T68" fmla="*/ 112 w 245"/>
                <a:gd name="T69" fmla="*/ 184 h 231"/>
                <a:gd name="T70" fmla="*/ 94 w 245"/>
                <a:gd name="T71" fmla="*/ 184 h 231"/>
                <a:gd name="T72" fmla="*/ 40 w 245"/>
                <a:gd name="T73" fmla="*/ 0 h 231"/>
                <a:gd name="T74" fmla="*/ 136 w 245"/>
                <a:gd name="T75" fmla="*/ 12 h 231"/>
                <a:gd name="T76" fmla="*/ 142 w 245"/>
                <a:gd name="T77" fmla="*/ 48 h 231"/>
                <a:gd name="T78" fmla="*/ 118 w 245"/>
                <a:gd name="T79" fmla="*/ 92 h 231"/>
                <a:gd name="T80" fmla="*/ 197 w 245"/>
                <a:gd name="T81" fmla="*/ 112 h 231"/>
                <a:gd name="T82" fmla="*/ 199 w 245"/>
                <a:gd name="T83" fmla="*/ 154 h 231"/>
                <a:gd name="T84" fmla="*/ 211 w 245"/>
                <a:gd name="T85" fmla="*/ 158 h 231"/>
                <a:gd name="T86" fmla="*/ 223 w 245"/>
                <a:gd name="T87" fmla="*/ 168 h 231"/>
                <a:gd name="T88" fmla="*/ 223 w 245"/>
                <a:gd name="T89" fmla="*/ 186 h 231"/>
                <a:gd name="T90" fmla="*/ 211 w 245"/>
                <a:gd name="T91" fmla="*/ 186 h 231"/>
                <a:gd name="T92" fmla="*/ 217 w 245"/>
                <a:gd name="T93" fmla="*/ 200 h 231"/>
                <a:gd name="T94" fmla="*/ 235 w 245"/>
                <a:gd name="T95" fmla="*/ 218 h 231"/>
                <a:gd name="T96" fmla="*/ 221 w 245"/>
                <a:gd name="T97" fmla="*/ 210 h 231"/>
                <a:gd name="T98" fmla="*/ 207 w 245"/>
                <a:gd name="T99" fmla="*/ 204 h 231"/>
                <a:gd name="T100" fmla="*/ 195 w 245"/>
                <a:gd name="T101" fmla="*/ 200 h 231"/>
                <a:gd name="T102" fmla="*/ 191 w 245"/>
                <a:gd name="T103" fmla="*/ 210 h 231"/>
                <a:gd name="T104" fmla="*/ 179 w 245"/>
                <a:gd name="T105" fmla="*/ 208 h 231"/>
                <a:gd name="T106" fmla="*/ 170 w 245"/>
                <a:gd name="T107" fmla="*/ 206 h 231"/>
                <a:gd name="T108" fmla="*/ 162 w 245"/>
                <a:gd name="T109" fmla="*/ 218 h 231"/>
                <a:gd name="T110" fmla="*/ 146 w 245"/>
                <a:gd name="T111" fmla="*/ 210 h 231"/>
                <a:gd name="T112" fmla="*/ 126 w 245"/>
                <a:gd name="T113" fmla="*/ 190 h 231"/>
                <a:gd name="T114" fmla="*/ 90 w 245"/>
                <a:gd name="T115" fmla="*/ 180 h 231"/>
                <a:gd name="T116" fmla="*/ 72 w 245"/>
                <a:gd name="T117" fmla="*/ 194 h 231"/>
                <a:gd name="T118" fmla="*/ 30 w 245"/>
                <a:gd name="T119" fmla="*/ 182 h 231"/>
                <a:gd name="T120" fmla="*/ 8 w 245"/>
                <a:gd name="T121" fmla="*/ 148 h 231"/>
                <a:gd name="T122" fmla="*/ 16 w 245"/>
                <a:gd name="T123" fmla="*/ 92 h 231"/>
                <a:gd name="T124" fmla="*/ 10 w 245"/>
                <a:gd name="T125" fmla="*/ 0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45" h="231">
                  <a:moveTo>
                    <a:pt x="225" y="231"/>
                  </a:moveTo>
                  <a:lnTo>
                    <a:pt x="225" y="229"/>
                  </a:lnTo>
                  <a:lnTo>
                    <a:pt x="225" y="231"/>
                  </a:lnTo>
                  <a:close/>
                  <a:moveTo>
                    <a:pt x="227" y="229"/>
                  </a:moveTo>
                  <a:lnTo>
                    <a:pt x="225" y="229"/>
                  </a:lnTo>
                  <a:lnTo>
                    <a:pt x="227" y="229"/>
                  </a:lnTo>
                  <a:close/>
                  <a:moveTo>
                    <a:pt x="225" y="229"/>
                  </a:moveTo>
                  <a:lnTo>
                    <a:pt x="227" y="229"/>
                  </a:lnTo>
                  <a:lnTo>
                    <a:pt x="225" y="229"/>
                  </a:lnTo>
                  <a:close/>
                  <a:moveTo>
                    <a:pt x="225" y="229"/>
                  </a:moveTo>
                  <a:lnTo>
                    <a:pt x="227" y="229"/>
                  </a:lnTo>
                  <a:lnTo>
                    <a:pt x="225" y="229"/>
                  </a:lnTo>
                  <a:close/>
                  <a:moveTo>
                    <a:pt x="225" y="229"/>
                  </a:moveTo>
                  <a:lnTo>
                    <a:pt x="227" y="229"/>
                  </a:lnTo>
                  <a:lnTo>
                    <a:pt x="225" y="229"/>
                  </a:lnTo>
                  <a:close/>
                  <a:moveTo>
                    <a:pt x="225" y="229"/>
                  </a:moveTo>
                  <a:lnTo>
                    <a:pt x="225" y="227"/>
                  </a:lnTo>
                  <a:lnTo>
                    <a:pt x="225" y="229"/>
                  </a:lnTo>
                  <a:close/>
                  <a:moveTo>
                    <a:pt x="227" y="229"/>
                  </a:moveTo>
                  <a:lnTo>
                    <a:pt x="227" y="227"/>
                  </a:lnTo>
                  <a:lnTo>
                    <a:pt x="227" y="229"/>
                  </a:lnTo>
                  <a:close/>
                  <a:moveTo>
                    <a:pt x="227" y="227"/>
                  </a:moveTo>
                  <a:lnTo>
                    <a:pt x="225" y="229"/>
                  </a:lnTo>
                  <a:lnTo>
                    <a:pt x="225" y="227"/>
                  </a:lnTo>
                  <a:lnTo>
                    <a:pt x="227" y="227"/>
                  </a:lnTo>
                  <a:close/>
                  <a:moveTo>
                    <a:pt x="227" y="227"/>
                  </a:moveTo>
                  <a:lnTo>
                    <a:pt x="227" y="229"/>
                  </a:lnTo>
                  <a:lnTo>
                    <a:pt x="227" y="227"/>
                  </a:lnTo>
                  <a:close/>
                  <a:moveTo>
                    <a:pt x="225" y="227"/>
                  </a:moveTo>
                  <a:lnTo>
                    <a:pt x="227" y="227"/>
                  </a:lnTo>
                  <a:lnTo>
                    <a:pt x="225" y="227"/>
                  </a:lnTo>
                  <a:close/>
                  <a:moveTo>
                    <a:pt x="225" y="227"/>
                  </a:moveTo>
                  <a:lnTo>
                    <a:pt x="227" y="227"/>
                  </a:lnTo>
                  <a:lnTo>
                    <a:pt x="225" y="227"/>
                  </a:lnTo>
                  <a:close/>
                  <a:moveTo>
                    <a:pt x="227" y="227"/>
                  </a:moveTo>
                  <a:lnTo>
                    <a:pt x="225" y="227"/>
                  </a:lnTo>
                  <a:lnTo>
                    <a:pt x="227" y="227"/>
                  </a:lnTo>
                  <a:lnTo>
                    <a:pt x="225" y="227"/>
                  </a:lnTo>
                  <a:lnTo>
                    <a:pt x="227" y="227"/>
                  </a:lnTo>
                  <a:close/>
                  <a:moveTo>
                    <a:pt x="229" y="225"/>
                  </a:moveTo>
                  <a:lnTo>
                    <a:pt x="229" y="227"/>
                  </a:lnTo>
                  <a:lnTo>
                    <a:pt x="229" y="225"/>
                  </a:lnTo>
                  <a:close/>
                  <a:moveTo>
                    <a:pt x="227" y="225"/>
                  </a:moveTo>
                  <a:lnTo>
                    <a:pt x="229" y="225"/>
                  </a:lnTo>
                  <a:lnTo>
                    <a:pt x="227" y="225"/>
                  </a:lnTo>
                  <a:close/>
                  <a:moveTo>
                    <a:pt x="229" y="225"/>
                  </a:moveTo>
                  <a:lnTo>
                    <a:pt x="227" y="225"/>
                  </a:lnTo>
                  <a:lnTo>
                    <a:pt x="229" y="225"/>
                  </a:lnTo>
                  <a:close/>
                  <a:moveTo>
                    <a:pt x="239" y="225"/>
                  </a:moveTo>
                  <a:lnTo>
                    <a:pt x="239" y="223"/>
                  </a:lnTo>
                  <a:lnTo>
                    <a:pt x="239" y="225"/>
                  </a:lnTo>
                  <a:close/>
                  <a:moveTo>
                    <a:pt x="239" y="225"/>
                  </a:moveTo>
                  <a:lnTo>
                    <a:pt x="239" y="223"/>
                  </a:lnTo>
                  <a:lnTo>
                    <a:pt x="239" y="225"/>
                  </a:lnTo>
                  <a:close/>
                  <a:moveTo>
                    <a:pt x="229" y="225"/>
                  </a:moveTo>
                  <a:lnTo>
                    <a:pt x="227" y="225"/>
                  </a:lnTo>
                  <a:lnTo>
                    <a:pt x="227" y="227"/>
                  </a:lnTo>
                  <a:lnTo>
                    <a:pt x="227" y="229"/>
                  </a:lnTo>
                  <a:lnTo>
                    <a:pt x="227" y="227"/>
                  </a:lnTo>
                  <a:lnTo>
                    <a:pt x="227" y="225"/>
                  </a:lnTo>
                  <a:lnTo>
                    <a:pt x="229" y="225"/>
                  </a:lnTo>
                  <a:close/>
                  <a:moveTo>
                    <a:pt x="239" y="225"/>
                  </a:moveTo>
                  <a:lnTo>
                    <a:pt x="239" y="223"/>
                  </a:lnTo>
                  <a:lnTo>
                    <a:pt x="239" y="225"/>
                  </a:lnTo>
                  <a:close/>
                  <a:moveTo>
                    <a:pt x="229" y="223"/>
                  </a:moveTo>
                  <a:lnTo>
                    <a:pt x="229" y="225"/>
                  </a:lnTo>
                  <a:lnTo>
                    <a:pt x="229" y="223"/>
                  </a:lnTo>
                  <a:lnTo>
                    <a:pt x="229" y="225"/>
                  </a:lnTo>
                  <a:lnTo>
                    <a:pt x="229" y="223"/>
                  </a:lnTo>
                  <a:close/>
                  <a:moveTo>
                    <a:pt x="231" y="223"/>
                  </a:moveTo>
                  <a:lnTo>
                    <a:pt x="229" y="223"/>
                  </a:lnTo>
                  <a:lnTo>
                    <a:pt x="231" y="223"/>
                  </a:lnTo>
                  <a:close/>
                  <a:moveTo>
                    <a:pt x="229" y="225"/>
                  </a:moveTo>
                  <a:lnTo>
                    <a:pt x="229" y="223"/>
                  </a:lnTo>
                  <a:lnTo>
                    <a:pt x="229" y="225"/>
                  </a:lnTo>
                  <a:close/>
                  <a:moveTo>
                    <a:pt x="231" y="225"/>
                  </a:moveTo>
                  <a:lnTo>
                    <a:pt x="231" y="223"/>
                  </a:lnTo>
                  <a:lnTo>
                    <a:pt x="231" y="225"/>
                  </a:lnTo>
                  <a:close/>
                  <a:moveTo>
                    <a:pt x="237" y="223"/>
                  </a:moveTo>
                  <a:lnTo>
                    <a:pt x="239" y="223"/>
                  </a:lnTo>
                  <a:lnTo>
                    <a:pt x="239" y="225"/>
                  </a:lnTo>
                  <a:lnTo>
                    <a:pt x="237" y="225"/>
                  </a:lnTo>
                  <a:lnTo>
                    <a:pt x="237" y="223"/>
                  </a:lnTo>
                  <a:close/>
                  <a:moveTo>
                    <a:pt x="239" y="223"/>
                  </a:moveTo>
                  <a:lnTo>
                    <a:pt x="237" y="223"/>
                  </a:lnTo>
                  <a:lnTo>
                    <a:pt x="239" y="223"/>
                  </a:lnTo>
                  <a:close/>
                  <a:moveTo>
                    <a:pt x="229" y="223"/>
                  </a:moveTo>
                  <a:lnTo>
                    <a:pt x="231" y="223"/>
                  </a:lnTo>
                  <a:lnTo>
                    <a:pt x="229" y="223"/>
                  </a:lnTo>
                  <a:close/>
                  <a:moveTo>
                    <a:pt x="229" y="223"/>
                  </a:moveTo>
                  <a:lnTo>
                    <a:pt x="229" y="225"/>
                  </a:lnTo>
                  <a:lnTo>
                    <a:pt x="229" y="223"/>
                  </a:lnTo>
                  <a:close/>
                  <a:moveTo>
                    <a:pt x="239" y="223"/>
                  </a:moveTo>
                  <a:lnTo>
                    <a:pt x="237" y="223"/>
                  </a:lnTo>
                  <a:lnTo>
                    <a:pt x="239" y="223"/>
                  </a:lnTo>
                  <a:close/>
                  <a:moveTo>
                    <a:pt x="239" y="223"/>
                  </a:moveTo>
                  <a:lnTo>
                    <a:pt x="237" y="223"/>
                  </a:lnTo>
                  <a:lnTo>
                    <a:pt x="239" y="223"/>
                  </a:lnTo>
                  <a:close/>
                  <a:moveTo>
                    <a:pt x="237" y="223"/>
                  </a:moveTo>
                  <a:lnTo>
                    <a:pt x="235" y="223"/>
                  </a:lnTo>
                  <a:lnTo>
                    <a:pt x="237" y="223"/>
                  </a:lnTo>
                  <a:close/>
                  <a:moveTo>
                    <a:pt x="239" y="223"/>
                  </a:moveTo>
                  <a:lnTo>
                    <a:pt x="237" y="223"/>
                  </a:lnTo>
                  <a:lnTo>
                    <a:pt x="239" y="223"/>
                  </a:lnTo>
                  <a:close/>
                  <a:moveTo>
                    <a:pt x="229" y="223"/>
                  </a:moveTo>
                  <a:lnTo>
                    <a:pt x="231" y="223"/>
                  </a:lnTo>
                  <a:lnTo>
                    <a:pt x="229" y="223"/>
                  </a:lnTo>
                  <a:close/>
                  <a:moveTo>
                    <a:pt x="239" y="223"/>
                  </a:moveTo>
                  <a:lnTo>
                    <a:pt x="239" y="221"/>
                  </a:lnTo>
                  <a:lnTo>
                    <a:pt x="239" y="223"/>
                  </a:lnTo>
                  <a:close/>
                  <a:moveTo>
                    <a:pt x="239" y="221"/>
                  </a:moveTo>
                  <a:lnTo>
                    <a:pt x="239" y="223"/>
                  </a:lnTo>
                  <a:lnTo>
                    <a:pt x="239" y="221"/>
                  </a:lnTo>
                  <a:close/>
                  <a:moveTo>
                    <a:pt x="235" y="223"/>
                  </a:moveTo>
                  <a:lnTo>
                    <a:pt x="237" y="223"/>
                  </a:lnTo>
                  <a:lnTo>
                    <a:pt x="235" y="223"/>
                  </a:lnTo>
                  <a:close/>
                  <a:moveTo>
                    <a:pt x="231" y="223"/>
                  </a:moveTo>
                  <a:lnTo>
                    <a:pt x="229" y="223"/>
                  </a:lnTo>
                  <a:lnTo>
                    <a:pt x="231" y="223"/>
                  </a:lnTo>
                  <a:close/>
                  <a:moveTo>
                    <a:pt x="237" y="223"/>
                  </a:moveTo>
                  <a:lnTo>
                    <a:pt x="237" y="221"/>
                  </a:lnTo>
                  <a:lnTo>
                    <a:pt x="237" y="223"/>
                  </a:lnTo>
                  <a:close/>
                  <a:moveTo>
                    <a:pt x="239" y="221"/>
                  </a:moveTo>
                  <a:lnTo>
                    <a:pt x="239" y="223"/>
                  </a:lnTo>
                  <a:lnTo>
                    <a:pt x="239" y="221"/>
                  </a:lnTo>
                  <a:close/>
                  <a:moveTo>
                    <a:pt x="235" y="223"/>
                  </a:moveTo>
                  <a:lnTo>
                    <a:pt x="235" y="221"/>
                  </a:lnTo>
                  <a:lnTo>
                    <a:pt x="235" y="223"/>
                  </a:lnTo>
                  <a:close/>
                  <a:moveTo>
                    <a:pt x="237" y="221"/>
                  </a:moveTo>
                  <a:lnTo>
                    <a:pt x="237" y="223"/>
                  </a:lnTo>
                  <a:lnTo>
                    <a:pt x="237" y="221"/>
                  </a:lnTo>
                  <a:close/>
                  <a:moveTo>
                    <a:pt x="231" y="223"/>
                  </a:moveTo>
                  <a:lnTo>
                    <a:pt x="231" y="221"/>
                  </a:lnTo>
                  <a:lnTo>
                    <a:pt x="231" y="223"/>
                  </a:lnTo>
                  <a:lnTo>
                    <a:pt x="231" y="221"/>
                  </a:lnTo>
                  <a:lnTo>
                    <a:pt x="231" y="223"/>
                  </a:lnTo>
                  <a:close/>
                  <a:moveTo>
                    <a:pt x="231" y="221"/>
                  </a:moveTo>
                  <a:lnTo>
                    <a:pt x="231" y="223"/>
                  </a:lnTo>
                  <a:lnTo>
                    <a:pt x="231" y="221"/>
                  </a:lnTo>
                  <a:close/>
                  <a:moveTo>
                    <a:pt x="229" y="223"/>
                  </a:moveTo>
                  <a:lnTo>
                    <a:pt x="229" y="221"/>
                  </a:lnTo>
                  <a:lnTo>
                    <a:pt x="229" y="223"/>
                  </a:lnTo>
                  <a:close/>
                  <a:moveTo>
                    <a:pt x="233" y="221"/>
                  </a:moveTo>
                  <a:lnTo>
                    <a:pt x="233" y="223"/>
                  </a:lnTo>
                  <a:lnTo>
                    <a:pt x="233" y="221"/>
                  </a:lnTo>
                  <a:close/>
                  <a:moveTo>
                    <a:pt x="229" y="223"/>
                  </a:moveTo>
                  <a:lnTo>
                    <a:pt x="229" y="221"/>
                  </a:lnTo>
                  <a:lnTo>
                    <a:pt x="229" y="223"/>
                  </a:lnTo>
                  <a:close/>
                  <a:moveTo>
                    <a:pt x="233" y="221"/>
                  </a:moveTo>
                  <a:lnTo>
                    <a:pt x="233" y="223"/>
                  </a:lnTo>
                  <a:lnTo>
                    <a:pt x="231" y="223"/>
                  </a:lnTo>
                  <a:lnTo>
                    <a:pt x="231" y="221"/>
                  </a:lnTo>
                  <a:lnTo>
                    <a:pt x="233" y="221"/>
                  </a:lnTo>
                  <a:close/>
                  <a:moveTo>
                    <a:pt x="239" y="221"/>
                  </a:moveTo>
                  <a:lnTo>
                    <a:pt x="239" y="223"/>
                  </a:lnTo>
                  <a:lnTo>
                    <a:pt x="239" y="221"/>
                  </a:lnTo>
                  <a:lnTo>
                    <a:pt x="239" y="223"/>
                  </a:lnTo>
                  <a:lnTo>
                    <a:pt x="239" y="221"/>
                  </a:lnTo>
                  <a:lnTo>
                    <a:pt x="239" y="223"/>
                  </a:lnTo>
                  <a:lnTo>
                    <a:pt x="237" y="223"/>
                  </a:lnTo>
                  <a:lnTo>
                    <a:pt x="237" y="221"/>
                  </a:lnTo>
                  <a:lnTo>
                    <a:pt x="239" y="221"/>
                  </a:lnTo>
                  <a:close/>
                  <a:moveTo>
                    <a:pt x="233" y="221"/>
                  </a:moveTo>
                  <a:lnTo>
                    <a:pt x="233" y="223"/>
                  </a:lnTo>
                  <a:lnTo>
                    <a:pt x="233" y="221"/>
                  </a:lnTo>
                  <a:close/>
                  <a:moveTo>
                    <a:pt x="231" y="223"/>
                  </a:moveTo>
                  <a:lnTo>
                    <a:pt x="231" y="221"/>
                  </a:lnTo>
                  <a:lnTo>
                    <a:pt x="231" y="223"/>
                  </a:lnTo>
                  <a:close/>
                  <a:moveTo>
                    <a:pt x="229" y="223"/>
                  </a:moveTo>
                  <a:lnTo>
                    <a:pt x="229" y="221"/>
                  </a:lnTo>
                  <a:lnTo>
                    <a:pt x="229" y="223"/>
                  </a:lnTo>
                  <a:close/>
                  <a:moveTo>
                    <a:pt x="239" y="221"/>
                  </a:moveTo>
                  <a:lnTo>
                    <a:pt x="237" y="221"/>
                  </a:lnTo>
                  <a:lnTo>
                    <a:pt x="239" y="221"/>
                  </a:lnTo>
                  <a:close/>
                  <a:moveTo>
                    <a:pt x="231" y="221"/>
                  </a:moveTo>
                  <a:lnTo>
                    <a:pt x="233" y="221"/>
                  </a:lnTo>
                  <a:lnTo>
                    <a:pt x="231" y="221"/>
                  </a:lnTo>
                  <a:lnTo>
                    <a:pt x="231" y="223"/>
                  </a:lnTo>
                  <a:lnTo>
                    <a:pt x="231" y="221"/>
                  </a:lnTo>
                  <a:lnTo>
                    <a:pt x="231" y="223"/>
                  </a:lnTo>
                  <a:lnTo>
                    <a:pt x="231" y="221"/>
                  </a:lnTo>
                  <a:close/>
                  <a:moveTo>
                    <a:pt x="237" y="221"/>
                  </a:moveTo>
                  <a:lnTo>
                    <a:pt x="235" y="221"/>
                  </a:lnTo>
                  <a:lnTo>
                    <a:pt x="237" y="221"/>
                  </a:lnTo>
                  <a:lnTo>
                    <a:pt x="235" y="221"/>
                  </a:lnTo>
                  <a:lnTo>
                    <a:pt x="237" y="221"/>
                  </a:lnTo>
                  <a:close/>
                  <a:moveTo>
                    <a:pt x="239" y="221"/>
                  </a:moveTo>
                  <a:lnTo>
                    <a:pt x="237" y="221"/>
                  </a:lnTo>
                  <a:lnTo>
                    <a:pt x="239" y="221"/>
                  </a:lnTo>
                  <a:close/>
                  <a:moveTo>
                    <a:pt x="237" y="221"/>
                  </a:moveTo>
                  <a:lnTo>
                    <a:pt x="239" y="221"/>
                  </a:lnTo>
                  <a:lnTo>
                    <a:pt x="237" y="221"/>
                  </a:lnTo>
                  <a:lnTo>
                    <a:pt x="239" y="221"/>
                  </a:lnTo>
                  <a:lnTo>
                    <a:pt x="237" y="221"/>
                  </a:lnTo>
                  <a:close/>
                  <a:moveTo>
                    <a:pt x="241" y="221"/>
                  </a:moveTo>
                  <a:lnTo>
                    <a:pt x="243" y="221"/>
                  </a:lnTo>
                  <a:lnTo>
                    <a:pt x="241" y="221"/>
                  </a:lnTo>
                  <a:close/>
                  <a:moveTo>
                    <a:pt x="237" y="221"/>
                  </a:moveTo>
                  <a:lnTo>
                    <a:pt x="239" y="221"/>
                  </a:lnTo>
                  <a:lnTo>
                    <a:pt x="237" y="221"/>
                  </a:lnTo>
                  <a:lnTo>
                    <a:pt x="239" y="221"/>
                  </a:lnTo>
                  <a:lnTo>
                    <a:pt x="237" y="221"/>
                  </a:lnTo>
                  <a:close/>
                  <a:moveTo>
                    <a:pt x="243" y="221"/>
                  </a:moveTo>
                  <a:lnTo>
                    <a:pt x="241" y="221"/>
                  </a:lnTo>
                  <a:lnTo>
                    <a:pt x="243" y="221"/>
                  </a:lnTo>
                  <a:close/>
                  <a:moveTo>
                    <a:pt x="241" y="221"/>
                  </a:moveTo>
                  <a:lnTo>
                    <a:pt x="239" y="221"/>
                  </a:lnTo>
                  <a:lnTo>
                    <a:pt x="241" y="221"/>
                  </a:lnTo>
                  <a:close/>
                  <a:moveTo>
                    <a:pt x="239" y="221"/>
                  </a:moveTo>
                  <a:lnTo>
                    <a:pt x="241" y="221"/>
                  </a:lnTo>
                  <a:lnTo>
                    <a:pt x="239" y="221"/>
                  </a:lnTo>
                  <a:close/>
                  <a:moveTo>
                    <a:pt x="233" y="221"/>
                  </a:moveTo>
                  <a:lnTo>
                    <a:pt x="231" y="221"/>
                  </a:lnTo>
                  <a:lnTo>
                    <a:pt x="233" y="221"/>
                  </a:lnTo>
                  <a:lnTo>
                    <a:pt x="231" y="221"/>
                  </a:lnTo>
                  <a:lnTo>
                    <a:pt x="231" y="223"/>
                  </a:lnTo>
                  <a:lnTo>
                    <a:pt x="231" y="221"/>
                  </a:lnTo>
                  <a:lnTo>
                    <a:pt x="233" y="221"/>
                  </a:lnTo>
                  <a:close/>
                  <a:moveTo>
                    <a:pt x="243" y="221"/>
                  </a:moveTo>
                  <a:lnTo>
                    <a:pt x="241" y="221"/>
                  </a:lnTo>
                  <a:lnTo>
                    <a:pt x="243" y="221"/>
                  </a:lnTo>
                  <a:close/>
                  <a:moveTo>
                    <a:pt x="239" y="221"/>
                  </a:moveTo>
                  <a:lnTo>
                    <a:pt x="237" y="221"/>
                  </a:lnTo>
                  <a:lnTo>
                    <a:pt x="239" y="221"/>
                  </a:lnTo>
                  <a:close/>
                  <a:moveTo>
                    <a:pt x="237" y="221"/>
                  </a:moveTo>
                  <a:lnTo>
                    <a:pt x="239" y="221"/>
                  </a:lnTo>
                  <a:lnTo>
                    <a:pt x="237" y="221"/>
                  </a:lnTo>
                  <a:close/>
                  <a:moveTo>
                    <a:pt x="239" y="221"/>
                  </a:moveTo>
                  <a:lnTo>
                    <a:pt x="237" y="221"/>
                  </a:lnTo>
                  <a:lnTo>
                    <a:pt x="239" y="221"/>
                  </a:lnTo>
                  <a:lnTo>
                    <a:pt x="237" y="221"/>
                  </a:lnTo>
                  <a:lnTo>
                    <a:pt x="239" y="221"/>
                  </a:lnTo>
                  <a:close/>
                  <a:moveTo>
                    <a:pt x="239" y="221"/>
                  </a:moveTo>
                  <a:lnTo>
                    <a:pt x="237" y="221"/>
                  </a:lnTo>
                  <a:lnTo>
                    <a:pt x="239" y="221"/>
                  </a:lnTo>
                  <a:close/>
                  <a:moveTo>
                    <a:pt x="229" y="221"/>
                  </a:moveTo>
                  <a:lnTo>
                    <a:pt x="227" y="221"/>
                  </a:lnTo>
                  <a:lnTo>
                    <a:pt x="229" y="221"/>
                  </a:lnTo>
                  <a:close/>
                  <a:moveTo>
                    <a:pt x="241" y="221"/>
                  </a:moveTo>
                  <a:lnTo>
                    <a:pt x="241" y="218"/>
                  </a:lnTo>
                  <a:lnTo>
                    <a:pt x="241" y="221"/>
                  </a:lnTo>
                  <a:close/>
                  <a:moveTo>
                    <a:pt x="241" y="221"/>
                  </a:moveTo>
                  <a:lnTo>
                    <a:pt x="241" y="218"/>
                  </a:lnTo>
                  <a:lnTo>
                    <a:pt x="241" y="221"/>
                  </a:lnTo>
                  <a:close/>
                  <a:moveTo>
                    <a:pt x="229" y="221"/>
                  </a:moveTo>
                  <a:lnTo>
                    <a:pt x="227" y="221"/>
                  </a:lnTo>
                  <a:lnTo>
                    <a:pt x="229" y="221"/>
                  </a:lnTo>
                  <a:close/>
                  <a:moveTo>
                    <a:pt x="241" y="221"/>
                  </a:moveTo>
                  <a:lnTo>
                    <a:pt x="239" y="221"/>
                  </a:lnTo>
                  <a:lnTo>
                    <a:pt x="239" y="218"/>
                  </a:lnTo>
                  <a:lnTo>
                    <a:pt x="241" y="218"/>
                  </a:lnTo>
                  <a:lnTo>
                    <a:pt x="241" y="221"/>
                  </a:lnTo>
                  <a:close/>
                  <a:moveTo>
                    <a:pt x="241" y="221"/>
                  </a:moveTo>
                  <a:lnTo>
                    <a:pt x="241" y="218"/>
                  </a:lnTo>
                  <a:lnTo>
                    <a:pt x="241" y="221"/>
                  </a:lnTo>
                  <a:close/>
                  <a:moveTo>
                    <a:pt x="239" y="221"/>
                  </a:moveTo>
                  <a:lnTo>
                    <a:pt x="239" y="218"/>
                  </a:lnTo>
                  <a:lnTo>
                    <a:pt x="239" y="221"/>
                  </a:lnTo>
                  <a:close/>
                  <a:moveTo>
                    <a:pt x="239" y="221"/>
                  </a:moveTo>
                  <a:lnTo>
                    <a:pt x="239" y="218"/>
                  </a:lnTo>
                  <a:lnTo>
                    <a:pt x="239" y="221"/>
                  </a:lnTo>
                  <a:close/>
                  <a:moveTo>
                    <a:pt x="239" y="221"/>
                  </a:moveTo>
                  <a:lnTo>
                    <a:pt x="241" y="221"/>
                  </a:lnTo>
                  <a:lnTo>
                    <a:pt x="239" y="221"/>
                  </a:lnTo>
                  <a:lnTo>
                    <a:pt x="241" y="221"/>
                  </a:lnTo>
                  <a:lnTo>
                    <a:pt x="239" y="221"/>
                  </a:lnTo>
                  <a:lnTo>
                    <a:pt x="239" y="218"/>
                  </a:lnTo>
                  <a:lnTo>
                    <a:pt x="239" y="221"/>
                  </a:lnTo>
                  <a:close/>
                  <a:moveTo>
                    <a:pt x="239" y="221"/>
                  </a:moveTo>
                  <a:lnTo>
                    <a:pt x="239" y="218"/>
                  </a:lnTo>
                  <a:lnTo>
                    <a:pt x="239" y="221"/>
                  </a:lnTo>
                  <a:close/>
                  <a:moveTo>
                    <a:pt x="237" y="221"/>
                  </a:moveTo>
                  <a:lnTo>
                    <a:pt x="237" y="218"/>
                  </a:lnTo>
                  <a:lnTo>
                    <a:pt x="237" y="221"/>
                  </a:lnTo>
                  <a:close/>
                  <a:moveTo>
                    <a:pt x="239" y="221"/>
                  </a:moveTo>
                  <a:lnTo>
                    <a:pt x="239" y="218"/>
                  </a:lnTo>
                  <a:lnTo>
                    <a:pt x="239" y="221"/>
                  </a:lnTo>
                  <a:close/>
                  <a:moveTo>
                    <a:pt x="237" y="221"/>
                  </a:moveTo>
                  <a:lnTo>
                    <a:pt x="237" y="218"/>
                  </a:lnTo>
                  <a:lnTo>
                    <a:pt x="237" y="221"/>
                  </a:lnTo>
                  <a:close/>
                  <a:moveTo>
                    <a:pt x="239" y="218"/>
                  </a:moveTo>
                  <a:lnTo>
                    <a:pt x="239" y="221"/>
                  </a:lnTo>
                  <a:lnTo>
                    <a:pt x="239" y="218"/>
                  </a:lnTo>
                  <a:lnTo>
                    <a:pt x="239" y="221"/>
                  </a:lnTo>
                  <a:lnTo>
                    <a:pt x="239" y="218"/>
                  </a:lnTo>
                  <a:close/>
                  <a:moveTo>
                    <a:pt x="239" y="218"/>
                  </a:moveTo>
                  <a:lnTo>
                    <a:pt x="241" y="218"/>
                  </a:lnTo>
                  <a:lnTo>
                    <a:pt x="239" y="218"/>
                  </a:lnTo>
                  <a:close/>
                  <a:moveTo>
                    <a:pt x="239" y="221"/>
                  </a:moveTo>
                  <a:lnTo>
                    <a:pt x="239" y="218"/>
                  </a:lnTo>
                  <a:lnTo>
                    <a:pt x="239" y="221"/>
                  </a:lnTo>
                  <a:close/>
                  <a:moveTo>
                    <a:pt x="237" y="221"/>
                  </a:moveTo>
                  <a:lnTo>
                    <a:pt x="237" y="218"/>
                  </a:lnTo>
                  <a:lnTo>
                    <a:pt x="237" y="221"/>
                  </a:lnTo>
                  <a:close/>
                  <a:moveTo>
                    <a:pt x="241" y="218"/>
                  </a:moveTo>
                  <a:lnTo>
                    <a:pt x="241" y="221"/>
                  </a:lnTo>
                  <a:lnTo>
                    <a:pt x="241" y="218"/>
                  </a:lnTo>
                  <a:lnTo>
                    <a:pt x="241" y="221"/>
                  </a:lnTo>
                  <a:lnTo>
                    <a:pt x="241" y="218"/>
                  </a:lnTo>
                  <a:close/>
                  <a:moveTo>
                    <a:pt x="239" y="221"/>
                  </a:moveTo>
                  <a:lnTo>
                    <a:pt x="239" y="218"/>
                  </a:lnTo>
                  <a:lnTo>
                    <a:pt x="239" y="221"/>
                  </a:lnTo>
                  <a:close/>
                  <a:moveTo>
                    <a:pt x="241" y="218"/>
                  </a:moveTo>
                  <a:lnTo>
                    <a:pt x="239" y="218"/>
                  </a:lnTo>
                  <a:lnTo>
                    <a:pt x="241" y="218"/>
                  </a:lnTo>
                  <a:close/>
                  <a:moveTo>
                    <a:pt x="235" y="221"/>
                  </a:moveTo>
                  <a:lnTo>
                    <a:pt x="235" y="218"/>
                  </a:lnTo>
                  <a:lnTo>
                    <a:pt x="235" y="221"/>
                  </a:lnTo>
                  <a:close/>
                  <a:moveTo>
                    <a:pt x="241" y="218"/>
                  </a:moveTo>
                  <a:lnTo>
                    <a:pt x="239" y="218"/>
                  </a:lnTo>
                  <a:lnTo>
                    <a:pt x="241" y="218"/>
                  </a:lnTo>
                  <a:close/>
                  <a:moveTo>
                    <a:pt x="235" y="218"/>
                  </a:moveTo>
                  <a:lnTo>
                    <a:pt x="235" y="221"/>
                  </a:lnTo>
                  <a:lnTo>
                    <a:pt x="235" y="218"/>
                  </a:lnTo>
                  <a:close/>
                  <a:moveTo>
                    <a:pt x="233" y="221"/>
                  </a:moveTo>
                  <a:lnTo>
                    <a:pt x="233" y="218"/>
                  </a:lnTo>
                  <a:lnTo>
                    <a:pt x="233" y="221"/>
                  </a:lnTo>
                  <a:close/>
                  <a:moveTo>
                    <a:pt x="231" y="221"/>
                  </a:moveTo>
                  <a:lnTo>
                    <a:pt x="231" y="218"/>
                  </a:lnTo>
                  <a:lnTo>
                    <a:pt x="231" y="221"/>
                  </a:lnTo>
                  <a:close/>
                  <a:moveTo>
                    <a:pt x="231" y="221"/>
                  </a:moveTo>
                  <a:lnTo>
                    <a:pt x="231" y="218"/>
                  </a:lnTo>
                  <a:lnTo>
                    <a:pt x="231" y="221"/>
                  </a:lnTo>
                  <a:close/>
                  <a:moveTo>
                    <a:pt x="227" y="221"/>
                  </a:moveTo>
                  <a:lnTo>
                    <a:pt x="225" y="221"/>
                  </a:lnTo>
                  <a:lnTo>
                    <a:pt x="227" y="221"/>
                  </a:lnTo>
                  <a:close/>
                  <a:moveTo>
                    <a:pt x="239" y="218"/>
                  </a:moveTo>
                  <a:lnTo>
                    <a:pt x="239" y="221"/>
                  </a:lnTo>
                  <a:lnTo>
                    <a:pt x="239" y="218"/>
                  </a:lnTo>
                  <a:close/>
                  <a:moveTo>
                    <a:pt x="239" y="218"/>
                  </a:moveTo>
                  <a:lnTo>
                    <a:pt x="239" y="221"/>
                  </a:lnTo>
                  <a:lnTo>
                    <a:pt x="239" y="218"/>
                  </a:lnTo>
                  <a:close/>
                  <a:moveTo>
                    <a:pt x="233" y="218"/>
                  </a:moveTo>
                  <a:lnTo>
                    <a:pt x="233" y="221"/>
                  </a:lnTo>
                  <a:lnTo>
                    <a:pt x="231" y="221"/>
                  </a:lnTo>
                  <a:lnTo>
                    <a:pt x="231" y="223"/>
                  </a:lnTo>
                  <a:lnTo>
                    <a:pt x="229" y="223"/>
                  </a:lnTo>
                  <a:lnTo>
                    <a:pt x="229" y="225"/>
                  </a:lnTo>
                  <a:lnTo>
                    <a:pt x="229" y="227"/>
                  </a:lnTo>
                  <a:lnTo>
                    <a:pt x="227" y="227"/>
                  </a:lnTo>
                  <a:lnTo>
                    <a:pt x="229" y="227"/>
                  </a:lnTo>
                  <a:lnTo>
                    <a:pt x="227" y="227"/>
                  </a:lnTo>
                  <a:lnTo>
                    <a:pt x="227" y="229"/>
                  </a:lnTo>
                  <a:lnTo>
                    <a:pt x="227" y="227"/>
                  </a:lnTo>
                  <a:lnTo>
                    <a:pt x="229" y="227"/>
                  </a:lnTo>
                  <a:lnTo>
                    <a:pt x="229" y="225"/>
                  </a:lnTo>
                  <a:lnTo>
                    <a:pt x="229" y="223"/>
                  </a:lnTo>
                  <a:lnTo>
                    <a:pt x="231" y="223"/>
                  </a:lnTo>
                  <a:lnTo>
                    <a:pt x="231" y="221"/>
                  </a:lnTo>
                  <a:lnTo>
                    <a:pt x="233" y="221"/>
                  </a:lnTo>
                  <a:lnTo>
                    <a:pt x="233" y="218"/>
                  </a:lnTo>
                  <a:close/>
                  <a:moveTo>
                    <a:pt x="227" y="229"/>
                  </a:moveTo>
                  <a:lnTo>
                    <a:pt x="227" y="227"/>
                  </a:lnTo>
                  <a:lnTo>
                    <a:pt x="227" y="229"/>
                  </a:lnTo>
                  <a:lnTo>
                    <a:pt x="227" y="227"/>
                  </a:lnTo>
                  <a:lnTo>
                    <a:pt x="227" y="229"/>
                  </a:lnTo>
                  <a:close/>
                  <a:moveTo>
                    <a:pt x="239" y="218"/>
                  </a:moveTo>
                  <a:lnTo>
                    <a:pt x="239" y="221"/>
                  </a:lnTo>
                  <a:lnTo>
                    <a:pt x="239" y="218"/>
                  </a:lnTo>
                  <a:close/>
                  <a:moveTo>
                    <a:pt x="229" y="221"/>
                  </a:moveTo>
                  <a:lnTo>
                    <a:pt x="229" y="218"/>
                  </a:lnTo>
                  <a:lnTo>
                    <a:pt x="229" y="221"/>
                  </a:lnTo>
                  <a:close/>
                  <a:moveTo>
                    <a:pt x="233" y="218"/>
                  </a:moveTo>
                  <a:lnTo>
                    <a:pt x="233" y="221"/>
                  </a:lnTo>
                  <a:lnTo>
                    <a:pt x="233" y="218"/>
                  </a:lnTo>
                  <a:lnTo>
                    <a:pt x="233" y="221"/>
                  </a:lnTo>
                  <a:lnTo>
                    <a:pt x="233" y="218"/>
                  </a:lnTo>
                  <a:close/>
                  <a:moveTo>
                    <a:pt x="239" y="218"/>
                  </a:moveTo>
                  <a:lnTo>
                    <a:pt x="237" y="218"/>
                  </a:lnTo>
                  <a:lnTo>
                    <a:pt x="239" y="218"/>
                  </a:lnTo>
                  <a:close/>
                  <a:moveTo>
                    <a:pt x="237" y="218"/>
                  </a:moveTo>
                  <a:lnTo>
                    <a:pt x="237" y="221"/>
                  </a:lnTo>
                  <a:lnTo>
                    <a:pt x="235" y="221"/>
                  </a:lnTo>
                  <a:lnTo>
                    <a:pt x="235" y="218"/>
                  </a:lnTo>
                  <a:lnTo>
                    <a:pt x="237" y="218"/>
                  </a:lnTo>
                  <a:close/>
                  <a:moveTo>
                    <a:pt x="227" y="221"/>
                  </a:moveTo>
                  <a:lnTo>
                    <a:pt x="227" y="218"/>
                  </a:lnTo>
                  <a:lnTo>
                    <a:pt x="227" y="221"/>
                  </a:lnTo>
                  <a:close/>
                  <a:moveTo>
                    <a:pt x="233" y="221"/>
                  </a:moveTo>
                  <a:lnTo>
                    <a:pt x="233" y="218"/>
                  </a:lnTo>
                  <a:lnTo>
                    <a:pt x="233" y="221"/>
                  </a:lnTo>
                  <a:close/>
                  <a:moveTo>
                    <a:pt x="227" y="221"/>
                  </a:moveTo>
                  <a:lnTo>
                    <a:pt x="227" y="218"/>
                  </a:lnTo>
                  <a:lnTo>
                    <a:pt x="227" y="221"/>
                  </a:lnTo>
                  <a:close/>
                  <a:moveTo>
                    <a:pt x="227" y="218"/>
                  </a:moveTo>
                  <a:lnTo>
                    <a:pt x="227" y="221"/>
                  </a:lnTo>
                  <a:lnTo>
                    <a:pt x="227" y="218"/>
                  </a:lnTo>
                  <a:close/>
                  <a:moveTo>
                    <a:pt x="227" y="221"/>
                  </a:moveTo>
                  <a:lnTo>
                    <a:pt x="227" y="218"/>
                  </a:lnTo>
                  <a:lnTo>
                    <a:pt x="227" y="221"/>
                  </a:lnTo>
                  <a:close/>
                  <a:moveTo>
                    <a:pt x="243" y="218"/>
                  </a:moveTo>
                  <a:lnTo>
                    <a:pt x="243" y="218"/>
                  </a:lnTo>
                  <a:lnTo>
                    <a:pt x="243" y="218"/>
                  </a:lnTo>
                  <a:close/>
                  <a:moveTo>
                    <a:pt x="241" y="218"/>
                  </a:moveTo>
                  <a:lnTo>
                    <a:pt x="239" y="218"/>
                  </a:lnTo>
                  <a:lnTo>
                    <a:pt x="241" y="218"/>
                  </a:lnTo>
                  <a:close/>
                  <a:moveTo>
                    <a:pt x="227" y="218"/>
                  </a:moveTo>
                  <a:lnTo>
                    <a:pt x="225" y="218"/>
                  </a:lnTo>
                  <a:lnTo>
                    <a:pt x="227" y="218"/>
                  </a:lnTo>
                  <a:close/>
                  <a:moveTo>
                    <a:pt x="227" y="221"/>
                  </a:moveTo>
                  <a:lnTo>
                    <a:pt x="225" y="221"/>
                  </a:lnTo>
                  <a:lnTo>
                    <a:pt x="225" y="218"/>
                  </a:lnTo>
                  <a:lnTo>
                    <a:pt x="227" y="218"/>
                  </a:lnTo>
                  <a:lnTo>
                    <a:pt x="227" y="221"/>
                  </a:lnTo>
                  <a:lnTo>
                    <a:pt x="227" y="218"/>
                  </a:lnTo>
                  <a:lnTo>
                    <a:pt x="227" y="221"/>
                  </a:lnTo>
                  <a:close/>
                  <a:moveTo>
                    <a:pt x="227" y="218"/>
                  </a:moveTo>
                  <a:lnTo>
                    <a:pt x="227" y="221"/>
                  </a:lnTo>
                  <a:lnTo>
                    <a:pt x="227" y="218"/>
                  </a:lnTo>
                  <a:close/>
                  <a:moveTo>
                    <a:pt x="241" y="218"/>
                  </a:moveTo>
                  <a:lnTo>
                    <a:pt x="241" y="221"/>
                  </a:lnTo>
                  <a:lnTo>
                    <a:pt x="241" y="218"/>
                  </a:lnTo>
                  <a:close/>
                  <a:moveTo>
                    <a:pt x="241" y="218"/>
                  </a:moveTo>
                  <a:lnTo>
                    <a:pt x="239" y="218"/>
                  </a:lnTo>
                  <a:lnTo>
                    <a:pt x="241" y="218"/>
                  </a:lnTo>
                  <a:close/>
                  <a:moveTo>
                    <a:pt x="229" y="218"/>
                  </a:moveTo>
                  <a:lnTo>
                    <a:pt x="227" y="218"/>
                  </a:lnTo>
                  <a:lnTo>
                    <a:pt x="229" y="218"/>
                  </a:lnTo>
                  <a:close/>
                  <a:moveTo>
                    <a:pt x="243" y="218"/>
                  </a:moveTo>
                  <a:lnTo>
                    <a:pt x="243" y="221"/>
                  </a:lnTo>
                  <a:lnTo>
                    <a:pt x="243" y="218"/>
                  </a:lnTo>
                  <a:lnTo>
                    <a:pt x="243" y="221"/>
                  </a:lnTo>
                  <a:lnTo>
                    <a:pt x="243" y="218"/>
                  </a:lnTo>
                  <a:lnTo>
                    <a:pt x="243" y="221"/>
                  </a:lnTo>
                  <a:lnTo>
                    <a:pt x="243" y="218"/>
                  </a:lnTo>
                  <a:lnTo>
                    <a:pt x="243" y="221"/>
                  </a:lnTo>
                  <a:lnTo>
                    <a:pt x="243" y="218"/>
                  </a:lnTo>
                  <a:lnTo>
                    <a:pt x="243" y="221"/>
                  </a:lnTo>
                  <a:lnTo>
                    <a:pt x="243" y="218"/>
                  </a:lnTo>
                  <a:close/>
                  <a:moveTo>
                    <a:pt x="237" y="218"/>
                  </a:moveTo>
                  <a:lnTo>
                    <a:pt x="239" y="218"/>
                  </a:lnTo>
                  <a:lnTo>
                    <a:pt x="237" y="218"/>
                  </a:lnTo>
                  <a:close/>
                  <a:moveTo>
                    <a:pt x="237" y="218"/>
                  </a:moveTo>
                  <a:lnTo>
                    <a:pt x="235" y="218"/>
                  </a:lnTo>
                  <a:lnTo>
                    <a:pt x="237" y="218"/>
                  </a:lnTo>
                  <a:close/>
                  <a:moveTo>
                    <a:pt x="241" y="218"/>
                  </a:moveTo>
                  <a:lnTo>
                    <a:pt x="239" y="218"/>
                  </a:lnTo>
                  <a:lnTo>
                    <a:pt x="241" y="218"/>
                  </a:lnTo>
                  <a:close/>
                  <a:moveTo>
                    <a:pt x="239" y="218"/>
                  </a:moveTo>
                  <a:lnTo>
                    <a:pt x="237" y="218"/>
                  </a:lnTo>
                  <a:lnTo>
                    <a:pt x="239" y="218"/>
                  </a:lnTo>
                  <a:close/>
                  <a:moveTo>
                    <a:pt x="233" y="218"/>
                  </a:moveTo>
                  <a:lnTo>
                    <a:pt x="231" y="218"/>
                  </a:lnTo>
                  <a:lnTo>
                    <a:pt x="233" y="218"/>
                  </a:lnTo>
                  <a:lnTo>
                    <a:pt x="231" y="218"/>
                  </a:lnTo>
                  <a:lnTo>
                    <a:pt x="233" y="218"/>
                  </a:lnTo>
                  <a:lnTo>
                    <a:pt x="231" y="218"/>
                  </a:lnTo>
                  <a:lnTo>
                    <a:pt x="233" y="218"/>
                  </a:lnTo>
                  <a:lnTo>
                    <a:pt x="231" y="218"/>
                  </a:lnTo>
                  <a:lnTo>
                    <a:pt x="233" y="218"/>
                  </a:lnTo>
                  <a:close/>
                  <a:moveTo>
                    <a:pt x="233" y="218"/>
                  </a:moveTo>
                  <a:lnTo>
                    <a:pt x="235" y="218"/>
                  </a:lnTo>
                  <a:lnTo>
                    <a:pt x="233" y="218"/>
                  </a:lnTo>
                  <a:close/>
                  <a:moveTo>
                    <a:pt x="227" y="218"/>
                  </a:moveTo>
                  <a:lnTo>
                    <a:pt x="227" y="221"/>
                  </a:lnTo>
                  <a:lnTo>
                    <a:pt x="227" y="218"/>
                  </a:lnTo>
                  <a:lnTo>
                    <a:pt x="227" y="221"/>
                  </a:lnTo>
                  <a:lnTo>
                    <a:pt x="227" y="218"/>
                  </a:lnTo>
                  <a:lnTo>
                    <a:pt x="227" y="221"/>
                  </a:lnTo>
                  <a:lnTo>
                    <a:pt x="227" y="218"/>
                  </a:lnTo>
                  <a:close/>
                  <a:moveTo>
                    <a:pt x="241" y="218"/>
                  </a:moveTo>
                  <a:lnTo>
                    <a:pt x="243" y="218"/>
                  </a:lnTo>
                  <a:lnTo>
                    <a:pt x="241" y="218"/>
                  </a:lnTo>
                  <a:lnTo>
                    <a:pt x="241" y="221"/>
                  </a:lnTo>
                  <a:lnTo>
                    <a:pt x="243" y="221"/>
                  </a:lnTo>
                  <a:lnTo>
                    <a:pt x="241" y="221"/>
                  </a:lnTo>
                  <a:lnTo>
                    <a:pt x="241" y="218"/>
                  </a:lnTo>
                  <a:close/>
                  <a:moveTo>
                    <a:pt x="225" y="218"/>
                  </a:moveTo>
                  <a:lnTo>
                    <a:pt x="227" y="218"/>
                  </a:lnTo>
                  <a:lnTo>
                    <a:pt x="225" y="218"/>
                  </a:lnTo>
                  <a:close/>
                  <a:moveTo>
                    <a:pt x="231" y="218"/>
                  </a:moveTo>
                  <a:lnTo>
                    <a:pt x="233" y="218"/>
                  </a:lnTo>
                  <a:lnTo>
                    <a:pt x="231" y="218"/>
                  </a:lnTo>
                  <a:close/>
                  <a:moveTo>
                    <a:pt x="235" y="218"/>
                  </a:moveTo>
                  <a:lnTo>
                    <a:pt x="237" y="218"/>
                  </a:lnTo>
                  <a:lnTo>
                    <a:pt x="235" y="218"/>
                  </a:lnTo>
                  <a:lnTo>
                    <a:pt x="235" y="221"/>
                  </a:lnTo>
                  <a:lnTo>
                    <a:pt x="235" y="218"/>
                  </a:lnTo>
                  <a:close/>
                  <a:moveTo>
                    <a:pt x="233" y="218"/>
                  </a:moveTo>
                  <a:lnTo>
                    <a:pt x="231" y="218"/>
                  </a:lnTo>
                  <a:lnTo>
                    <a:pt x="233" y="218"/>
                  </a:lnTo>
                  <a:close/>
                  <a:moveTo>
                    <a:pt x="233" y="218"/>
                  </a:moveTo>
                  <a:lnTo>
                    <a:pt x="233" y="221"/>
                  </a:lnTo>
                  <a:lnTo>
                    <a:pt x="231" y="221"/>
                  </a:lnTo>
                  <a:lnTo>
                    <a:pt x="231" y="218"/>
                  </a:lnTo>
                  <a:lnTo>
                    <a:pt x="233" y="218"/>
                  </a:lnTo>
                  <a:close/>
                  <a:moveTo>
                    <a:pt x="237" y="218"/>
                  </a:moveTo>
                  <a:lnTo>
                    <a:pt x="239" y="218"/>
                  </a:lnTo>
                  <a:lnTo>
                    <a:pt x="237" y="218"/>
                  </a:lnTo>
                  <a:lnTo>
                    <a:pt x="239" y="218"/>
                  </a:lnTo>
                  <a:lnTo>
                    <a:pt x="237" y="218"/>
                  </a:lnTo>
                  <a:close/>
                  <a:moveTo>
                    <a:pt x="239" y="218"/>
                  </a:moveTo>
                  <a:lnTo>
                    <a:pt x="237" y="218"/>
                  </a:lnTo>
                  <a:lnTo>
                    <a:pt x="239" y="218"/>
                  </a:lnTo>
                  <a:close/>
                  <a:moveTo>
                    <a:pt x="227" y="221"/>
                  </a:moveTo>
                  <a:lnTo>
                    <a:pt x="227" y="218"/>
                  </a:lnTo>
                  <a:lnTo>
                    <a:pt x="227" y="221"/>
                  </a:lnTo>
                  <a:close/>
                  <a:moveTo>
                    <a:pt x="239" y="218"/>
                  </a:moveTo>
                  <a:lnTo>
                    <a:pt x="237" y="218"/>
                  </a:lnTo>
                  <a:lnTo>
                    <a:pt x="239" y="218"/>
                  </a:lnTo>
                  <a:close/>
                  <a:moveTo>
                    <a:pt x="243" y="218"/>
                  </a:moveTo>
                  <a:lnTo>
                    <a:pt x="243" y="216"/>
                  </a:lnTo>
                  <a:lnTo>
                    <a:pt x="243" y="218"/>
                  </a:lnTo>
                  <a:close/>
                  <a:moveTo>
                    <a:pt x="243" y="218"/>
                  </a:moveTo>
                  <a:lnTo>
                    <a:pt x="243" y="216"/>
                  </a:lnTo>
                  <a:lnTo>
                    <a:pt x="243" y="218"/>
                  </a:lnTo>
                  <a:close/>
                  <a:moveTo>
                    <a:pt x="231" y="218"/>
                  </a:moveTo>
                  <a:lnTo>
                    <a:pt x="229" y="218"/>
                  </a:lnTo>
                  <a:lnTo>
                    <a:pt x="231" y="218"/>
                  </a:lnTo>
                  <a:close/>
                  <a:moveTo>
                    <a:pt x="239" y="218"/>
                  </a:moveTo>
                  <a:lnTo>
                    <a:pt x="241" y="218"/>
                  </a:lnTo>
                  <a:lnTo>
                    <a:pt x="239" y="218"/>
                  </a:lnTo>
                  <a:close/>
                  <a:moveTo>
                    <a:pt x="189" y="221"/>
                  </a:moveTo>
                  <a:lnTo>
                    <a:pt x="189" y="218"/>
                  </a:lnTo>
                  <a:lnTo>
                    <a:pt x="189" y="221"/>
                  </a:lnTo>
                  <a:close/>
                  <a:moveTo>
                    <a:pt x="243" y="218"/>
                  </a:moveTo>
                  <a:lnTo>
                    <a:pt x="243" y="216"/>
                  </a:lnTo>
                  <a:lnTo>
                    <a:pt x="243" y="218"/>
                  </a:lnTo>
                  <a:close/>
                  <a:moveTo>
                    <a:pt x="243" y="216"/>
                  </a:moveTo>
                  <a:lnTo>
                    <a:pt x="243" y="218"/>
                  </a:lnTo>
                  <a:lnTo>
                    <a:pt x="243" y="216"/>
                  </a:lnTo>
                  <a:close/>
                  <a:moveTo>
                    <a:pt x="243" y="218"/>
                  </a:moveTo>
                  <a:lnTo>
                    <a:pt x="243" y="216"/>
                  </a:lnTo>
                  <a:lnTo>
                    <a:pt x="243" y="218"/>
                  </a:lnTo>
                  <a:close/>
                  <a:moveTo>
                    <a:pt x="227" y="218"/>
                  </a:moveTo>
                  <a:lnTo>
                    <a:pt x="225" y="218"/>
                  </a:lnTo>
                  <a:lnTo>
                    <a:pt x="227" y="218"/>
                  </a:lnTo>
                  <a:close/>
                  <a:moveTo>
                    <a:pt x="231" y="218"/>
                  </a:moveTo>
                  <a:lnTo>
                    <a:pt x="229" y="218"/>
                  </a:lnTo>
                  <a:lnTo>
                    <a:pt x="231" y="218"/>
                  </a:lnTo>
                  <a:lnTo>
                    <a:pt x="229" y="218"/>
                  </a:lnTo>
                  <a:lnTo>
                    <a:pt x="231" y="218"/>
                  </a:lnTo>
                  <a:close/>
                  <a:moveTo>
                    <a:pt x="239" y="216"/>
                  </a:moveTo>
                  <a:lnTo>
                    <a:pt x="239" y="218"/>
                  </a:lnTo>
                  <a:lnTo>
                    <a:pt x="239" y="216"/>
                  </a:lnTo>
                  <a:close/>
                  <a:moveTo>
                    <a:pt x="239" y="218"/>
                  </a:moveTo>
                  <a:lnTo>
                    <a:pt x="239" y="216"/>
                  </a:lnTo>
                  <a:lnTo>
                    <a:pt x="239" y="218"/>
                  </a:lnTo>
                  <a:close/>
                  <a:moveTo>
                    <a:pt x="239" y="216"/>
                  </a:moveTo>
                  <a:lnTo>
                    <a:pt x="239" y="218"/>
                  </a:lnTo>
                  <a:lnTo>
                    <a:pt x="239" y="216"/>
                  </a:lnTo>
                  <a:close/>
                  <a:moveTo>
                    <a:pt x="239" y="218"/>
                  </a:moveTo>
                  <a:lnTo>
                    <a:pt x="239" y="216"/>
                  </a:lnTo>
                  <a:lnTo>
                    <a:pt x="239" y="218"/>
                  </a:lnTo>
                  <a:close/>
                  <a:moveTo>
                    <a:pt x="227" y="218"/>
                  </a:moveTo>
                  <a:lnTo>
                    <a:pt x="225" y="218"/>
                  </a:lnTo>
                  <a:lnTo>
                    <a:pt x="227" y="218"/>
                  </a:lnTo>
                  <a:close/>
                  <a:moveTo>
                    <a:pt x="237" y="218"/>
                  </a:moveTo>
                  <a:lnTo>
                    <a:pt x="237" y="216"/>
                  </a:lnTo>
                  <a:lnTo>
                    <a:pt x="237" y="218"/>
                  </a:lnTo>
                  <a:close/>
                  <a:moveTo>
                    <a:pt x="225" y="218"/>
                  </a:moveTo>
                  <a:lnTo>
                    <a:pt x="227" y="218"/>
                  </a:lnTo>
                  <a:lnTo>
                    <a:pt x="225" y="218"/>
                  </a:lnTo>
                  <a:close/>
                  <a:moveTo>
                    <a:pt x="231" y="218"/>
                  </a:moveTo>
                  <a:lnTo>
                    <a:pt x="233" y="218"/>
                  </a:lnTo>
                  <a:lnTo>
                    <a:pt x="231" y="218"/>
                  </a:lnTo>
                  <a:close/>
                  <a:moveTo>
                    <a:pt x="241" y="218"/>
                  </a:moveTo>
                  <a:lnTo>
                    <a:pt x="241" y="216"/>
                  </a:lnTo>
                  <a:lnTo>
                    <a:pt x="241" y="218"/>
                  </a:lnTo>
                  <a:lnTo>
                    <a:pt x="241" y="216"/>
                  </a:lnTo>
                  <a:lnTo>
                    <a:pt x="241" y="218"/>
                  </a:lnTo>
                  <a:close/>
                  <a:moveTo>
                    <a:pt x="239" y="218"/>
                  </a:moveTo>
                  <a:lnTo>
                    <a:pt x="239" y="216"/>
                  </a:lnTo>
                  <a:lnTo>
                    <a:pt x="239" y="218"/>
                  </a:lnTo>
                  <a:close/>
                  <a:moveTo>
                    <a:pt x="239" y="216"/>
                  </a:moveTo>
                  <a:lnTo>
                    <a:pt x="239" y="218"/>
                  </a:lnTo>
                  <a:lnTo>
                    <a:pt x="239" y="216"/>
                  </a:lnTo>
                  <a:lnTo>
                    <a:pt x="239" y="218"/>
                  </a:lnTo>
                  <a:lnTo>
                    <a:pt x="239" y="216"/>
                  </a:lnTo>
                  <a:lnTo>
                    <a:pt x="237" y="216"/>
                  </a:lnTo>
                  <a:lnTo>
                    <a:pt x="239" y="216"/>
                  </a:lnTo>
                  <a:close/>
                  <a:moveTo>
                    <a:pt x="235" y="216"/>
                  </a:moveTo>
                  <a:lnTo>
                    <a:pt x="235" y="218"/>
                  </a:lnTo>
                  <a:lnTo>
                    <a:pt x="235" y="216"/>
                  </a:lnTo>
                  <a:close/>
                  <a:moveTo>
                    <a:pt x="231" y="218"/>
                  </a:moveTo>
                  <a:lnTo>
                    <a:pt x="233" y="218"/>
                  </a:lnTo>
                  <a:lnTo>
                    <a:pt x="231" y="218"/>
                  </a:lnTo>
                  <a:lnTo>
                    <a:pt x="231" y="216"/>
                  </a:lnTo>
                  <a:lnTo>
                    <a:pt x="231" y="218"/>
                  </a:lnTo>
                  <a:close/>
                  <a:moveTo>
                    <a:pt x="233" y="218"/>
                  </a:moveTo>
                  <a:lnTo>
                    <a:pt x="233" y="216"/>
                  </a:lnTo>
                  <a:lnTo>
                    <a:pt x="233" y="218"/>
                  </a:lnTo>
                  <a:close/>
                  <a:moveTo>
                    <a:pt x="237" y="218"/>
                  </a:moveTo>
                  <a:lnTo>
                    <a:pt x="237" y="216"/>
                  </a:lnTo>
                  <a:lnTo>
                    <a:pt x="237" y="218"/>
                  </a:lnTo>
                  <a:close/>
                  <a:moveTo>
                    <a:pt x="229" y="218"/>
                  </a:moveTo>
                  <a:lnTo>
                    <a:pt x="229" y="216"/>
                  </a:lnTo>
                  <a:lnTo>
                    <a:pt x="229" y="218"/>
                  </a:lnTo>
                  <a:close/>
                  <a:moveTo>
                    <a:pt x="237" y="216"/>
                  </a:moveTo>
                  <a:lnTo>
                    <a:pt x="237" y="218"/>
                  </a:lnTo>
                  <a:lnTo>
                    <a:pt x="237" y="216"/>
                  </a:lnTo>
                  <a:close/>
                  <a:moveTo>
                    <a:pt x="243" y="216"/>
                  </a:moveTo>
                  <a:lnTo>
                    <a:pt x="243" y="216"/>
                  </a:lnTo>
                  <a:lnTo>
                    <a:pt x="243" y="218"/>
                  </a:lnTo>
                  <a:lnTo>
                    <a:pt x="243" y="218"/>
                  </a:lnTo>
                  <a:lnTo>
                    <a:pt x="243" y="218"/>
                  </a:lnTo>
                  <a:lnTo>
                    <a:pt x="243" y="216"/>
                  </a:lnTo>
                  <a:lnTo>
                    <a:pt x="243" y="216"/>
                  </a:lnTo>
                  <a:close/>
                  <a:moveTo>
                    <a:pt x="233" y="218"/>
                  </a:moveTo>
                  <a:lnTo>
                    <a:pt x="233" y="216"/>
                  </a:lnTo>
                  <a:lnTo>
                    <a:pt x="233" y="218"/>
                  </a:lnTo>
                  <a:close/>
                  <a:moveTo>
                    <a:pt x="235" y="216"/>
                  </a:moveTo>
                  <a:lnTo>
                    <a:pt x="235" y="218"/>
                  </a:lnTo>
                  <a:lnTo>
                    <a:pt x="235" y="216"/>
                  </a:lnTo>
                  <a:close/>
                  <a:moveTo>
                    <a:pt x="231" y="218"/>
                  </a:moveTo>
                  <a:lnTo>
                    <a:pt x="231" y="216"/>
                  </a:lnTo>
                  <a:lnTo>
                    <a:pt x="231" y="218"/>
                  </a:lnTo>
                  <a:close/>
                  <a:moveTo>
                    <a:pt x="239" y="216"/>
                  </a:moveTo>
                  <a:lnTo>
                    <a:pt x="241" y="216"/>
                  </a:lnTo>
                  <a:lnTo>
                    <a:pt x="241" y="218"/>
                  </a:lnTo>
                  <a:lnTo>
                    <a:pt x="239" y="218"/>
                  </a:lnTo>
                  <a:lnTo>
                    <a:pt x="239" y="216"/>
                  </a:lnTo>
                  <a:lnTo>
                    <a:pt x="239" y="218"/>
                  </a:lnTo>
                  <a:lnTo>
                    <a:pt x="239" y="216"/>
                  </a:lnTo>
                  <a:close/>
                  <a:moveTo>
                    <a:pt x="229" y="218"/>
                  </a:moveTo>
                  <a:lnTo>
                    <a:pt x="229" y="216"/>
                  </a:lnTo>
                  <a:lnTo>
                    <a:pt x="229" y="218"/>
                  </a:lnTo>
                  <a:close/>
                  <a:moveTo>
                    <a:pt x="237" y="218"/>
                  </a:moveTo>
                  <a:lnTo>
                    <a:pt x="235" y="218"/>
                  </a:lnTo>
                  <a:lnTo>
                    <a:pt x="235" y="216"/>
                  </a:lnTo>
                  <a:lnTo>
                    <a:pt x="237" y="216"/>
                  </a:lnTo>
                  <a:lnTo>
                    <a:pt x="237" y="218"/>
                  </a:lnTo>
                  <a:close/>
                  <a:moveTo>
                    <a:pt x="235" y="216"/>
                  </a:moveTo>
                  <a:lnTo>
                    <a:pt x="235" y="218"/>
                  </a:lnTo>
                  <a:lnTo>
                    <a:pt x="235" y="216"/>
                  </a:lnTo>
                  <a:lnTo>
                    <a:pt x="235" y="218"/>
                  </a:lnTo>
                  <a:lnTo>
                    <a:pt x="235" y="216"/>
                  </a:lnTo>
                  <a:close/>
                  <a:moveTo>
                    <a:pt x="227" y="218"/>
                  </a:moveTo>
                  <a:lnTo>
                    <a:pt x="227" y="216"/>
                  </a:lnTo>
                  <a:lnTo>
                    <a:pt x="227" y="218"/>
                  </a:lnTo>
                  <a:lnTo>
                    <a:pt x="227" y="216"/>
                  </a:lnTo>
                  <a:lnTo>
                    <a:pt x="227" y="218"/>
                  </a:lnTo>
                  <a:close/>
                  <a:moveTo>
                    <a:pt x="237" y="216"/>
                  </a:moveTo>
                  <a:lnTo>
                    <a:pt x="237" y="218"/>
                  </a:lnTo>
                  <a:lnTo>
                    <a:pt x="237" y="216"/>
                  </a:lnTo>
                  <a:close/>
                  <a:moveTo>
                    <a:pt x="229" y="218"/>
                  </a:moveTo>
                  <a:lnTo>
                    <a:pt x="229" y="216"/>
                  </a:lnTo>
                  <a:lnTo>
                    <a:pt x="229" y="218"/>
                  </a:lnTo>
                  <a:close/>
                  <a:moveTo>
                    <a:pt x="241" y="216"/>
                  </a:moveTo>
                  <a:lnTo>
                    <a:pt x="239" y="216"/>
                  </a:lnTo>
                  <a:lnTo>
                    <a:pt x="241" y="216"/>
                  </a:lnTo>
                  <a:close/>
                  <a:moveTo>
                    <a:pt x="241" y="216"/>
                  </a:moveTo>
                  <a:lnTo>
                    <a:pt x="239" y="216"/>
                  </a:lnTo>
                  <a:lnTo>
                    <a:pt x="241" y="216"/>
                  </a:lnTo>
                  <a:close/>
                  <a:moveTo>
                    <a:pt x="239" y="216"/>
                  </a:moveTo>
                  <a:lnTo>
                    <a:pt x="237" y="216"/>
                  </a:lnTo>
                  <a:lnTo>
                    <a:pt x="239" y="216"/>
                  </a:lnTo>
                  <a:close/>
                  <a:moveTo>
                    <a:pt x="237" y="216"/>
                  </a:moveTo>
                  <a:lnTo>
                    <a:pt x="235" y="216"/>
                  </a:lnTo>
                  <a:lnTo>
                    <a:pt x="237" y="216"/>
                  </a:lnTo>
                  <a:close/>
                  <a:moveTo>
                    <a:pt x="229" y="216"/>
                  </a:moveTo>
                  <a:lnTo>
                    <a:pt x="229" y="218"/>
                  </a:lnTo>
                  <a:lnTo>
                    <a:pt x="229" y="216"/>
                  </a:lnTo>
                  <a:lnTo>
                    <a:pt x="227" y="216"/>
                  </a:lnTo>
                  <a:lnTo>
                    <a:pt x="227" y="218"/>
                  </a:lnTo>
                  <a:lnTo>
                    <a:pt x="227" y="216"/>
                  </a:lnTo>
                  <a:lnTo>
                    <a:pt x="229" y="216"/>
                  </a:lnTo>
                  <a:close/>
                  <a:moveTo>
                    <a:pt x="241" y="216"/>
                  </a:moveTo>
                  <a:lnTo>
                    <a:pt x="239" y="216"/>
                  </a:lnTo>
                  <a:lnTo>
                    <a:pt x="241" y="216"/>
                  </a:lnTo>
                  <a:close/>
                  <a:moveTo>
                    <a:pt x="241" y="216"/>
                  </a:moveTo>
                  <a:lnTo>
                    <a:pt x="243" y="216"/>
                  </a:lnTo>
                  <a:lnTo>
                    <a:pt x="241" y="216"/>
                  </a:lnTo>
                  <a:lnTo>
                    <a:pt x="243" y="216"/>
                  </a:lnTo>
                  <a:lnTo>
                    <a:pt x="243" y="218"/>
                  </a:lnTo>
                  <a:lnTo>
                    <a:pt x="243" y="216"/>
                  </a:lnTo>
                  <a:lnTo>
                    <a:pt x="243" y="218"/>
                  </a:lnTo>
                  <a:lnTo>
                    <a:pt x="243" y="216"/>
                  </a:lnTo>
                  <a:lnTo>
                    <a:pt x="241" y="216"/>
                  </a:lnTo>
                  <a:close/>
                  <a:moveTo>
                    <a:pt x="243" y="216"/>
                  </a:moveTo>
                  <a:lnTo>
                    <a:pt x="243" y="216"/>
                  </a:lnTo>
                  <a:lnTo>
                    <a:pt x="243" y="216"/>
                  </a:lnTo>
                  <a:close/>
                  <a:moveTo>
                    <a:pt x="229" y="218"/>
                  </a:moveTo>
                  <a:lnTo>
                    <a:pt x="229" y="216"/>
                  </a:lnTo>
                  <a:lnTo>
                    <a:pt x="229" y="218"/>
                  </a:lnTo>
                  <a:close/>
                  <a:moveTo>
                    <a:pt x="243" y="216"/>
                  </a:moveTo>
                  <a:lnTo>
                    <a:pt x="243" y="216"/>
                  </a:lnTo>
                  <a:lnTo>
                    <a:pt x="243" y="216"/>
                  </a:lnTo>
                  <a:close/>
                  <a:moveTo>
                    <a:pt x="225" y="216"/>
                  </a:moveTo>
                  <a:lnTo>
                    <a:pt x="225" y="218"/>
                  </a:lnTo>
                  <a:lnTo>
                    <a:pt x="227" y="218"/>
                  </a:lnTo>
                  <a:lnTo>
                    <a:pt x="225" y="218"/>
                  </a:lnTo>
                  <a:lnTo>
                    <a:pt x="227" y="218"/>
                  </a:lnTo>
                  <a:lnTo>
                    <a:pt x="225" y="218"/>
                  </a:lnTo>
                  <a:lnTo>
                    <a:pt x="225" y="216"/>
                  </a:lnTo>
                  <a:lnTo>
                    <a:pt x="225" y="218"/>
                  </a:lnTo>
                  <a:lnTo>
                    <a:pt x="225" y="216"/>
                  </a:lnTo>
                  <a:close/>
                  <a:moveTo>
                    <a:pt x="227" y="216"/>
                  </a:moveTo>
                  <a:lnTo>
                    <a:pt x="227" y="218"/>
                  </a:lnTo>
                  <a:lnTo>
                    <a:pt x="227" y="216"/>
                  </a:lnTo>
                  <a:lnTo>
                    <a:pt x="227" y="218"/>
                  </a:lnTo>
                  <a:lnTo>
                    <a:pt x="227" y="216"/>
                  </a:lnTo>
                  <a:lnTo>
                    <a:pt x="227" y="218"/>
                  </a:lnTo>
                  <a:lnTo>
                    <a:pt x="227" y="216"/>
                  </a:lnTo>
                  <a:close/>
                  <a:moveTo>
                    <a:pt x="229" y="216"/>
                  </a:moveTo>
                  <a:lnTo>
                    <a:pt x="227" y="216"/>
                  </a:lnTo>
                  <a:lnTo>
                    <a:pt x="227" y="218"/>
                  </a:lnTo>
                  <a:lnTo>
                    <a:pt x="227" y="216"/>
                  </a:lnTo>
                  <a:lnTo>
                    <a:pt x="229" y="216"/>
                  </a:lnTo>
                  <a:close/>
                  <a:moveTo>
                    <a:pt x="237" y="216"/>
                  </a:moveTo>
                  <a:lnTo>
                    <a:pt x="239" y="216"/>
                  </a:lnTo>
                  <a:lnTo>
                    <a:pt x="237" y="216"/>
                  </a:lnTo>
                  <a:close/>
                  <a:moveTo>
                    <a:pt x="229" y="216"/>
                  </a:moveTo>
                  <a:lnTo>
                    <a:pt x="227" y="216"/>
                  </a:lnTo>
                  <a:lnTo>
                    <a:pt x="229" y="216"/>
                  </a:lnTo>
                  <a:close/>
                  <a:moveTo>
                    <a:pt x="243" y="216"/>
                  </a:moveTo>
                  <a:lnTo>
                    <a:pt x="243" y="216"/>
                  </a:lnTo>
                  <a:lnTo>
                    <a:pt x="243" y="216"/>
                  </a:lnTo>
                  <a:close/>
                  <a:moveTo>
                    <a:pt x="231" y="216"/>
                  </a:moveTo>
                  <a:lnTo>
                    <a:pt x="229" y="216"/>
                  </a:lnTo>
                  <a:lnTo>
                    <a:pt x="231" y="216"/>
                  </a:lnTo>
                  <a:close/>
                  <a:moveTo>
                    <a:pt x="227" y="216"/>
                  </a:moveTo>
                  <a:lnTo>
                    <a:pt x="227" y="218"/>
                  </a:lnTo>
                  <a:lnTo>
                    <a:pt x="227" y="216"/>
                  </a:lnTo>
                  <a:lnTo>
                    <a:pt x="227" y="218"/>
                  </a:lnTo>
                  <a:lnTo>
                    <a:pt x="225" y="216"/>
                  </a:lnTo>
                  <a:lnTo>
                    <a:pt x="227" y="216"/>
                  </a:lnTo>
                  <a:lnTo>
                    <a:pt x="225" y="216"/>
                  </a:lnTo>
                  <a:lnTo>
                    <a:pt x="227" y="216"/>
                  </a:lnTo>
                  <a:lnTo>
                    <a:pt x="225" y="216"/>
                  </a:lnTo>
                  <a:lnTo>
                    <a:pt x="227" y="216"/>
                  </a:lnTo>
                  <a:lnTo>
                    <a:pt x="225" y="216"/>
                  </a:lnTo>
                  <a:lnTo>
                    <a:pt x="227" y="216"/>
                  </a:lnTo>
                  <a:close/>
                  <a:moveTo>
                    <a:pt x="239" y="216"/>
                  </a:moveTo>
                  <a:lnTo>
                    <a:pt x="237" y="216"/>
                  </a:lnTo>
                  <a:lnTo>
                    <a:pt x="239" y="216"/>
                  </a:lnTo>
                  <a:close/>
                  <a:moveTo>
                    <a:pt x="241" y="216"/>
                  </a:moveTo>
                  <a:lnTo>
                    <a:pt x="243" y="216"/>
                  </a:lnTo>
                  <a:lnTo>
                    <a:pt x="241" y="216"/>
                  </a:lnTo>
                  <a:lnTo>
                    <a:pt x="239" y="216"/>
                  </a:lnTo>
                  <a:lnTo>
                    <a:pt x="241" y="216"/>
                  </a:lnTo>
                  <a:close/>
                  <a:moveTo>
                    <a:pt x="237" y="216"/>
                  </a:moveTo>
                  <a:lnTo>
                    <a:pt x="239" y="216"/>
                  </a:lnTo>
                  <a:lnTo>
                    <a:pt x="237" y="216"/>
                  </a:lnTo>
                  <a:lnTo>
                    <a:pt x="239" y="216"/>
                  </a:lnTo>
                  <a:lnTo>
                    <a:pt x="239" y="218"/>
                  </a:lnTo>
                  <a:lnTo>
                    <a:pt x="237" y="218"/>
                  </a:lnTo>
                  <a:lnTo>
                    <a:pt x="239" y="218"/>
                  </a:lnTo>
                  <a:lnTo>
                    <a:pt x="237" y="218"/>
                  </a:lnTo>
                  <a:lnTo>
                    <a:pt x="239" y="218"/>
                  </a:lnTo>
                  <a:lnTo>
                    <a:pt x="237" y="218"/>
                  </a:lnTo>
                  <a:lnTo>
                    <a:pt x="237" y="216"/>
                  </a:lnTo>
                  <a:lnTo>
                    <a:pt x="237" y="218"/>
                  </a:lnTo>
                  <a:lnTo>
                    <a:pt x="237" y="216"/>
                  </a:lnTo>
                  <a:lnTo>
                    <a:pt x="237" y="218"/>
                  </a:lnTo>
                  <a:lnTo>
                    <a:pt x="237" y="216"/>
                  </a:lnTo>
                  <a:close/>
                  <a:moveTo>
                    <a:pt x="241" y="216"/>
                  </a:moveTo>
                  <a:lnTo>
                    <a:pt x="239" y="216"/>
                  </a:lnTo>
                  <a:lnTo>
                    <a:pt x="241" y="216"/>
                  </a:lnTo>
                  <a:lnTo>
                    <a:pt x="239" y="216"/>
                  </a:lnTo>
                  <a:lnTo>
                    <a:pt x="241" y="216"/>
                  </a:lnTo>
                  <a:close/>
                  <a:moveTo>
                    <a:pt x="227" y="216"/>
                  </a:moveTo>
                  <a:lnTo>
                    <a:pt x="225" y="216"/>
                  </a:lnTo>
                  <a:lnTo>
                    <a:pt x="227" y="216"/>
                  </a:lnTo>
                  <a:lnTo>
                    <a:pt x="225" y="216"/>
                  </a:lnTo>
                  <a:lnTo>
                    <a:pt x="227" y="216"/>
                  </a:lnTo>
                  <a:close/>
                  <a:moveTo>
                    <a:pt x="237" y="216"/>
                  </a:moveTo>
                  <a:lnTo>
                    <a:pt x="235" y="216"/>
                  </a:lnTo>
                  <a:lnTo>
                    <a:pt x="237" y="216"/>
                  </a:lnTo>
                  <a:lnTo>
                    <a:pt x="235" y="216"/>
                  </a:lnTo>
                  <a:lnTo>
                    <a:pt x="237" y="216"/>
                  </a:lnTo>
                  <a:close/>
                  <a:moveTo>
                    <a:pt x="235" y="216"/>
                  </a:moveTo>
                  <a:lnTo>
                    <a:pt x="235" y="218"/>
                  </a:lnTo>
                  <a:lnTo>
                    <a:pt x="235" y="221"/>
                  </a:lnTo>
                  <a:lnTo>
                    <a:pt x="235" y="218"/>
                  </a:lnTo>
                  <a:lnTo>
                    <a:pt x="233" y="218"/>
                  </a:lnTo>
                  <a:lnTo>
                    <a:pt x="233" y="216"/>
                  </a:lnTo>
                  <a:lnTo>
                    <a:pt x="235" y="216"/>
                  </a:lnTo>
                  <a:lnTo>
                    <a:pt x="233" y="216"/>
                  </a:lnTo>
                  <a:lnTo>
                    <a:pt x="233" y="218"/>
                  </a:lnTo>
                  <a:lnTo>
                    <a:pt x="233" y="221"/>
                  </a:lnTo>
                  <a:lnTo>
                    <a:pt x="233" y="218"/>
                  </a:lnTo>
                  <a:lnTo>
                    <a:pt x="233" y="216"/>
                  </a:lnTo>
                  <a:lnTo>
                    <a:pt x="235" y="216"/>
                  </a:lnTo>
                  <a:close/>
                  <a:moveTo>
                    <a:pt x="239" y="216"/>
                  </a:moveTo>
                  <a:lnTo>
                    <a:pt x="237" y="216"/>
                  </a:lnTo>
                  <a:lnTo>
                    <a:pt x="239" y="216"/>
                  </a:lnTo>
                  <a:close/>
                  <a:moveTo>
                    <a:pt x="229" y="216"/>
                  </a:moveTo>
                  <a:lnTo>
                    <a:pt x="227" y="216"/>
                  </a:lnTo>
                  <a:lnTo>
                    <a:pt x="229" y="216"/>
                  </a:lnTo>
                  <a:close/>
                  <a:moveTo>
                    <a:pt x="239" y="216"/>
                  </a:moveTo>
                  <a:lnTo>
                    <a:pt x="237" y="216"/>
                  </a:lnTo>
                  <a:lnTo>
                    <a:pt x="239" y="216"/>
                  </a:lnTo>
                  <a:close/>
                  <a:moveTo>
                    <a:pt x="243" y="214"/>
                  </a:moveTo>
                  <a:lnTo>
                    <a:pt x="243" y="216"/>
                  </a:lnTo>
                  <a:lnTo>
                    <a:pt x="243" y="214"/>
                  </a:lnTo>
                  <a:lnTo>
                    <a:pt x="243" y="216"/>
                  </a:lnTo>
                  <a:lnTo>
                    <a:pt x="243" y="214"/>
                  </a:lnTo>
                  <a:close/>
                  <a:moveTo>
                    <a:pt x="239" y="214"/>
                  </a:moveTo>
                  <a:lnTo>
                    <a:pt x="239" y="216"/>
                  </a:lnTo>
                  <a:lnTo>
                    <a:pt x="239" y="214"/>
                  </a:lnTo>
                  <a:lnTo>
                    <a:pt x="239" y="216"/>
                  </a:lnTo>
                  <a:lnTo>
                    <a:pt x="239" y="214"/>
                  </a:lnTo>
                  <a:close/>
                  <a:moveTo>
                    <a:pt x="227" y="216"/>
                  </a:moveTo>
                  <a:lnTo>
                    <a:pt x="225" y="216"/>
                  </a:lnTo>
                  <a:lnTo>
                    <a:pt x="227" y="216"/>
                  </a:lnTo>
                  <a:close/>
                  <a:moveTo>
                    <a:pt x="225" y="216"/>
                  </a:moveTo>
                  <a:lnTo>
                    <a:pt x="227" y="216"/>
                  </a:lnTo>
                  <a:lnTo>
                    <a:pt x="225" y="216"/>
                  </a:lnTo>
                  <a:close/>
                  <a:moveTo>
                    <a:pt x="241" y="214"/>
                  </a:moveTo>
                  <a:lnTo>
                    <a:pt x="241" y="216"/>
                  </a:lnTo>
                  <a:lnTo>
                    <a:pt x="241" y="214"/>
                  </a:lnTo>
                  <a:lnTo>
                    <a:pt x="241" y="216"/>
                  </a:lnTo>
                  <a:lnTo>
                    <a:pt x="241" y="214"/>
                  </a:lnTo>
                  <a:lnTo>
                    <a:pt x="241" y="216"/>
                  </a:lnTo>
                  <a:lnTo>
                    <a:pt x="239" y="216"/>
                  </a:lnTo>
                  <a:lnTo>
                    <a:pt x="239" y="214"/>
                  </a:lnTo>
                  <a:lnTo>
                    <a:pt x="241" y="214"/>
                  </a:lnTo>
                  <a:close/>
                  <a:moveTo>
                    <a:pt x="239" y="214"/>
                  </a:moveTo>
                  <a:lnTo>
                    <a:pt x="237" y="214"/>
                  </a:lnTo>
                  <a:lnTo>
                    <a:pt x="239" y="214"/>
                  </a:lnTo>
                  <a:lnTo>
                    <a:pt x="239" y="216"/>
                  </a:lnTo>
                  <a:lnTo>
                    <a:pt x="237" y="216"/>
                  </a:lnTo>
                  <a:lnTo>
                    <a:pt x="237" y="214"/>
                  </a:lnTo>
                  <a:lnTo>
                    <a:pt x="237" y="216"/>
                  </a:lnTo>
                  <a:lnTo>
                    <a:pt x="237" y="214"/>
                  </a:lnTo>
                  <a:lnTo>
                    <a:pt x="239" y="214"/>
                  </a:lnTo>
                  <a:close/>
                  <a:moveTo>
                    <a:pt x="227" y="216"/>
                  </a:moveTo>
                  <a:lnTo>
                    <a:pt x="225" y="216"/>
                  </a:lnTo>
                  <a:lnTo>
                    <a:pt x="227" y="216"/>
                  </a:lnTo>
                  <a:close/>
                  <a:moveTo>
                    <a:pt x="227" y="216"/>
                  </a:moveTo>
                  <a:lnTo>
                    <a:pt x="229" y="216"/>
                  </a:lnTo>
                  <a:lnTo>
                    <a:pt x="227" y="216"/>
                  </a:lnTo>
                  <a:close/>
                  <a:moveTo>
                    <a:pt x="229" y="216"/>
                  </a:moveTo>
                  <a:lnTo>
                    <a:pt x="229" y="214"/>
                  </a:lnTo>
                  <a:lnTo>
                    <a:pt x="229" y="216"/>
                  </a:lnTo>
                  <a:close/>
                  <a:moveTo>
                    <a:pt x="231" y="216"/>
                  </a:moveTo>
                  <a:lnTo>
                    <a:pt x="231" y="214"/>
                  </a:lnTo>
                  <a:lnTo>
                    <a:pt x="231" y="216"/>
                  </a:lnTo>
                  <a:close/>
                  <a:moveTo>
                    <a:pt x="225" y="214"/>
                  </a:moveTo>
                  <a:lnTo>
                    <a:pt x="225" y="216"/>
                  </a:lnTo>
                  <a:lnTo>
                    <a:pt x="225" y="214"/>
                  </a:lnTo>
                  <a:close/>
                  <a:moveTo>
                    <a:pt x="229" y="216"/>
                  </a:moveTo>
                  <a:lnTo>
                    <a:pt x="229" y="214"/>
                  </a:lnTo>
                  <a:lnTo>
                    <a:pt x="229" y="216"/>
                  </a:lnTo>
                  <a:close/>
                  <a:moveTo>
                    <a:pt x="239" y="214"/>
                  </a:moveTo>
                  <a:lnTo>
                    <a:pt x="239" y="216"/>
                  </a:lnTo>
                  <a:lnTo>
                    <a:pt x="239" y="214"/>
                  </a:lnTo>
                  <a:lnTo>
                    <a:pt x="239" y="216"/>
                  </a:lnTo>
                  <a:lnTo>
                    <a:pt x="239" y="214"/>
                  </a:lnTo>
                  <a:close/>
                  <a:moveTo>
                    <a:pt x="227" y="214"/>
                  </a:moveTo>
                  <a:lnTo>
                    <a:pt x="227" y="216"/>
                  </a:lnTo>
                  <a:lnTo>
                    <a:pt x="227" y="214"/>
                  </a:lnTo>
                  <a:close/>
                  <a:moveTo>
                    <a:pt x="227" y="216"/>
                  </a:moveTo>
                  <a:lnTo>
                    <a:pt x="227" y="214"/>
                  </a:lnTo>
                  <a:lnTo>
                    <a:pt x="227" y="216"/>
                  </a:lnTo>
                  <a:close/>
                  <a:moveTo>
                    <a:pt x="229" y="216"/>
                  </a:moveTo>
                  <a:lnTo>
                    <a:pt x="229" y="214"/>
                  </a:lnTo>
                  <a:lnTo>
                    <a:pt x="229" y="216"/>
                  </a:lnTo>
                  <a:close/>
                  <a:moveTo>
                    <a:pt x="239" y="214"/>
                  </a:moveTo>
                  <a:lnTo>
                    <a:pt x="237" y="214"/>
                  </a:lnTo>
                  <a:lnTo>
                    <a:pt x="239" y="214"/>
                  </a:lnTo>
                  <a:close/>
                  <a:moveTo>
                    <a:pt x="245" y="214"/>
                  </a:moveTo>
                  <a:lnTo>
                    <a:pt x="243" y="214"/>
                  </a:lnTo>
                  <a:lnTo>
                    <a:pt x="245" y="214"/>
                  </a:lnTo>
                  <a:close/>
                  <a:moveTo>
                    <a:pt x="227" y="214"/>
                  </a:moveTo>
                  <a:lnTo>
                    <a:pt x="227" y="216"/>
                  </a:lnTo>
                  <a:lnTo>
                    <a:pt x="227" y="214"/>
                  </a:lnTo>
                  <a:close/>
                  <a:moveTo>
                    <a:pt x="181" y="216"/>
                  </a:moveTo>
                  <a:lnTo>
                    <a:pt x="183" y="216"/>
                  </a:lnTo>
                  <a:lnTo>
                    <a:pt x="181" y="216"/>
                  </a:lnTo>
                  <a:close/>
                  <a:moveTo>
                    <a:pt x="239" y="214"/>
                  </a:moveTo>
                  <a:lnTo>
                    <a:pt x="237" y="214"/>
                  </a:lnTo>
                  <a:lnTo>
                    <a:pt x="239" y="214"/>
                  </a:lnTo>
                  <a:close/>
                  <a:moveTo>
                    <a:pt x="225" y="214"/>
                  </a:moveTo>
                  <a:lnTo>
                    <a:pt x="227" y="214"/>
                  </a:lnTo>
                  <a:lnTo>
                    <a:pt x="225" y="214"/>
                  </a:lnTo>
                  <a:close/>
                  <a:moveTo>
                    <a:pt x="227" y="214"/>
                  </a:moveTo>
                  <a:lnTo>
                    <a:pt x="229" y="214"/>
                  </a:lnTo>
                  <a:lnTo>
                    <a:pt x="227" y="214"/>
                  </a:lnTo>
                  <a:close/>
                  <a:moveTo>
                    <a:pt x="243" y="214"/>
                  </a:moveTo>
                  <a:lnTo>
                    <a:pt x="245" y="214"/>
                  </a:lnTo>
                  <a:lnTo>
                    <a:pt x="243" y="214"/>
                  </a:lnTo>
                  <a:lnTo>
                    <a:pt x="245" y="214"/>
                  </a:lnTo>
                  <a:lnTo>
                    <a:pt x="243" y="214"/>
                  </a:lnTo>
                  <a:close/>
                  <a:moveTo>
                    <a:pt x="243" y="214"/>
                  </a:moveTo>
                  <a:lnTo>
                    <a:pt x="243" y="214"/>
                  </a:lnTo>
                  <a:lnTo>
                    <a:pt x="243" y="214"/>
                  </a:lnTo>
                  <a:close/>
                  <a:moveTo>
                    <a:pt x="241" y="214"/>
                  </a:moveTo>
                  <a:lnTo>
                    <a:pt x="239" y="214"/>
                  </a:lnTo>
                  <a:lnTo>
                    <a:pt x="241" y="214"/>
                  </a:lnTo>
                  <a:close/>
                  <a:moveTo>
                    <a:pt x="243" y="214"/>
                  </a:moveTo>
                  <a:lnTo>
                    <a:pt x="241" y="214"/>
                  </a:lnTo>
                  <a:lnTo>
                    <a:pt x="243" y="214"/>
                  </a:lnTo>
                  <a:close/>
                  <a:moveTo>
                    <a:pt x="245" y="214"/>
                  </a:moveTo>
                  <a:lnTo>
                    <a:pt x="245" y="212"/>
                  </a:lnTo>
                  <a:lnTo>
                    <a:pt x="245" y="214"/>
                  </a:lnTo>
                  <a:close/>
                  <a:moveTo>
                    <a:pt x="245" y="212"/>
                  </a:moveTo>
                  <a:lnTo>
                    <a:pt x="245" y="214"/>
                  </a:lnTo>
                  <a:lnTo>
                    <a:pt x="245" y="212"/>
                  </a:lnTo>
                  <a:close/>
                  <a:moveTo>
                    <a:pt x="241" y="214"/>
                  </a:moveTo>
                  <a:lnTo>
                    <a:pt x="239" y="214"/>
                  </a:lnTo>
                  <a:lnTo>
                    <a:pt x="241" y="214"/>
                  </a:lnTo>
                  <a:close/>
                  <a:moveTo>
                    <a:pt x="227" y="214"/>
                  </a:moveTo>
                  <a:lnTo>
                    <a:pt x="225" y="214"/>
                  </a:lnTo>
                  <a:lnTo>
                    <a:pt x="227" y="214"/>
                  </a:lnTo>
                  <a:lnTo>
                    <a:pt x="225" y="214"/>
                  </a:lnTo>
                  <a:lnTo>
                    <a:pt x="227" y="214"/>
                  </a:lnTo>
                  <a:close/>
                  <a:moveTo>
                    <a:pt x="243" y="214"/>
                  </a:moveTo>
                  <a:lnTo>
                    <a:pt x="243" y="212"/>
                  </a:lnTo>
                  <a:lnTo>
                    <a:pt x="243" y="214"/>
                  </a:lnTo>
                  <a:close/>
                  <a:moveTo>
                    <a:pt x="241" y="214"/>
                  </a:moveTo>
                  <a:lnTo>
                    <a:pt x="239" y="214"/>
                  </a:lnTo>
                  <a:lnTo>
                    <a:pt x="241" y="214"/>
                  </a:lnTo>
                  <a:close/>
                  <a:moveTo>
                    <a:pt x="243" y="214"/>
                  </a:moveTo>
                  <a:lnTo>
                    <a:pt x="243" y="212"/>
                  </a:lnTo>
                  <a:lnTo>
                    <a:pt x="243" y="214"/>
                  </a:lnTo>
                  <a:close/>
                  <a:moveTo>
                    <a:pt x="239" y="214"/>
                  </a:moveTo>
                  <a:lnTo>
                    <a:pt x="239" y="212"/>
                  </a:lnTo>
                  <a:lnTo>
                    <a:pt x="239" y="214"/>
                  </a:lnTo>
                  <a:close/>
                  <a:moveTo>
                    <a:pt x="241" y="212"/>
                  </a:moveTo>
                  <a:lnTo>
                    <a:pt x="241" y="214"/>
                  </a:lnTo>
                  <a:lnTo>
                    <a:pt x="241" y="212"/>
                  </a:lnTo>
                  <a:close/>
                  <a:moveTo>
                    <a:pt x="183" y="216"/>
                  </a:moveTo>
                  <a:lnTo>
                    <a:pt x="183" y="214"/>
                  </a:lnTo>
                  <a:lnTo>
                    <a:pt x="183" y="216"/>
                  </a:lnTo>
                  <a:close/>
                  <a:moveTo>
                    <a:pt x="241" y="212"/>
                  </a:moveTo>
                  <a:lnTo>
                    <a:pt x="241" y="214"/>
                  </a:lnTo>
                  <a:lnTo>
                    <a:pt x="241" y="212"/>
                  </a:lnTo>
                  <a:close/>
                  <a:moveTo>
                    <a:pt x="243" y="212"/>
                  </a:moveTo>
                  <a:lnTo>
                    <a:pt x="243" y="214"/>
                  </a:lnTo>
                  <a:lnTo>
                    <a:pt x="241" y="214"/>
                  </a:lnTo>
                  <a:lnTo>
                    <a:pt x="243" y="214"/>
                  </a:lnTo>
                  <a:lnTo>
                    <a:pt x="241" y="214"/>
                  </a:lnTo>
                  <a:lnTo>
                    <a:pt x="243" y="214"/>
                  </a:lnTo>
                  <a:lnTo>
                    <a:pt x="241" y="214"/>
                  </a:lnTo>
                  <a:lnTo>
                    <a:pt x="243" y="214"/>
                  </a:lnTo>
                  <a:lnTo>
                    <a:pt x="241" y="214"/>
                  </a:lnTo>
                  <a:lnTo>
                    <a:pt x="243" y="214"/>
                  </a:lnTo>
                  <a:lnTo>
                    <a:pt x="241" y="214"/>
                  </a:lnTo>
                  <a:lnTo>
                    <a:pt x="243" y="212"/>
                  </a:lnTo>
                  <a:close/>
                  <a:moveTo>
                    <a:pt x="241" y="212"/>
                  </a:moveTo>
                  <a:lnTo>
                    <a:pt x="241" y="214"/>
                  </a:lnTo>
                  <a:lnTo>
                    <a:pt x="241" y="212"/>
                  </a:lnTo>
                  <a:close/>
                  <a:moveTo>
                    <a:pt x="243" y="212"/>
                  </a:moveTo>
                  <a:lnTo>
                    <a:pt x="243" y="212"/>
                  </a:lnTo>
                  <a:lnTo>
                    <a:pt x="243" y="214"/>
                  </a:lnTo>
                  <a:lnTo>
                    <a:pt x="243" y="212"/>
                  </a:lnTo>
                  <a:lnTo>
                    <a:pt x="243" y="212"/>
                  </a:lnTo>
                  <a:lnTo>
                    <a:pt x="243" y="214"/>
                  </a:lnTo>
                  <a:lnTo>
                    <a:pt x="243" y="212"/>
                  </a:lnTo>
                  <a:lnTo>
                    <a:pt x="243" y="214"/>
                  </a:lnTo>
                  <a:lnTo>
                    <a:pt x="243" y="212"/>
                  </a:lnTo>
                  <a:close/>
                  <a:moveTo>
                    <a:pt x="239" y="212"/>
                  </a:moveTo>
                  <a:lnTo>
                    <a:pt x="241" y="212"/>
                  </a:lnTo>
                  <a:lnTo>
                    <a:pt x="239" y="212"/>
                  </a:lnTo>
                  <a:close/>
                  <a:moveTo>
                    <a:pt x="241" y="212"/>
                  </a:moveTo>
                  <a:lnTo>
                    <a:pt x="239" y="212"/>
                  </a:lnTo>
                  <a:lnTo>
                    <a:pt x="241" y="212"/>
                  </a:lnTo>
                  <a:close/>
                  <a:moveTo>
                    <a:pt x="183" y="214"/>
                  </a:moveTo>
                  <a:lnTo>
                    <a:pt x="183" y="216"/>
                  </a:lnTo>
                  <a:lnTo>
                    <a:pt x="183" y="214"/>
                  </a:lnTo>
                  <a:lnTo>
                    <a:pt x="183" y="216"/>
                  </a:lnTo>
                  <a:lnTo>
                    <a:pt x="181" y="216"/>
                  </a:lnTo>
                  <a:lnTo>
                    <a:pt x="183" y="216"/>
                  </a:lnTo>
                  <a:lnTo>
                    <a:pt x="183" y="214"/>
                  </a:lnTo>
                  <a:close/>
                  <a:moveTo>
                    <a:pt x="243" y="212"/>
                  </a:moveTo>
                  <a:lnTo>
                    <a:pt x="241" y="212"/>
                  </a:lnTo>
                  <a:lnTo>
                    <a:pt x="243" y="212"/>
                  </a:lnTo>
                  <a:close/>
                  <a:moveTo>
                    <a:pt x="229" y="214"/>
                  </a:moveTo>
                  <a:lnTo>
                    <a:pt x="229" y="216"/>
                  </a:lnTo>
                  <a:lnTo>
                    <a:pt x="229" y="214"/>
                  </a:lnTo>
                  <a:close/>
                  <a:moveTo>
                    <a:pt x="164" y="216"/>
                  </a:moveTo>
                  <a:lnTo>
                    <a:pt x="164" y="214"/>
                  </a:lnTo>
                  <a:lnTo>
                    <a:pt x="164" y="216"/>
                  </a:lnTo>
                  <a:close/>
                  <a:moveTo>
                    <a:pt x="229" y="214"/>
                  </a:moveTo>
                  <a:lnTo>
                    <a:pt x="229" y="212"/>
                  </a:lnTo>
                  <a:lnTo>
                    <a:pt x="229" y="214"/>
                  </a:lnTo>
                  <a:close/>
                  <a:moveTo>
                    <a:pt x="239" y="212"/>
                  </a:moveTo>
                  <a:lnTo>
                    <a:pt x="239" y="214"/>
                  </a:lnTo>
                  <a:lnTo>
                    <a:pt x="239" y="212"/>
                  </a:lnTo>
                  <a:lnTo>
                    <a:pt x="239" y="214"/>
                  </a:lnTo>
                  <a:lnTo>
                    <a:pt x="239" y="212"/>
                  </a:lnTo>
                  <a:lnTo>
                    <a:pt x="239" y="214"/>
                  </a:lnTo>
                  <a:lnTo>
                    <a:pt x="239" y="212"/>
                  </a:lnTo>
                  <a:lnTo>
                    <a:pt x="239" y="214"/>
                  </a:lnTo>
                  <a:lnTo>
                    <a:pt x="239" y="212"/>
                  </a:lnTo>
                  <a:close/>
                  <a:moveTo>
                    <a:pt x="229" y="214"/>
                  </a:moveTo>
                  <a:lnTo>
                    <a:pt x="229" y="212"/>
                  </a:lnTo>
                  <a:lnTo>
                    <a:pt x="229" y="214"/>
                  </a:lnTo>
                  <a:close/>
                  <a:moveTo>
                    <a:pt x="243" y="212"/>
                  </a:moveTo>
                  <a:lnTo>
                    <a:pt x="245" y="212"/>
                  </a:lnTo>
                  <a:lnTo>
                    <a:pt x="243" y="212"/>
                  </a:lnTo>
                  <a:lnTo>
                    <a:pt x="245" y="212"/>
                  </a:lnTo>
                  <a:lnTo>
                    <a:pt x="243" y="212"/>
                  </a:lnTo>
                  <a:lnTo>
                    <a:pt x="245" y="212"/>
                  </a:lnTo>
                  <a:lnTo>
                    <a:pt x="243" y="212"/>
                  </a:lnTo>
                  <a:lnTo>
                    <a:pt x="245" y="212"/>
                  </a:lnTo>
                  <a:lnTo>
                    <a:pt x="243" y="212"/>
                  </a:lnTo>
                  <a:close/>
                  <a:moveTo>
                    <a:pt x="195" y="214"/>
                  </a:moveTo>
                  <a:lnTo>
                    <a:pt x="193" y="214"/>
                  </a:lnTo>
                  <a:lnTo>
                    <a:pt x="195" y="214"/>
                  </a:lnTo>
                  <a:close/>
                  <a:moveTo>
                    <a:pt x="241" y="212"/>
                  </a:moveTo>
                  <a:lnTo>
                    <a:pt x="239" y="212"/>
                  </a:lnTo>
                  <a:lnTo>
                    <a:pt x="241" y="212"/>
                  </a:lnTo>
                  <a:close/>
                  <a:moveTo>
                    <a:pt x="241" y="212"/>
                  </a:moveTo>
                  <a:lnTo>
                    <a:pt x="239" y="212"/>
                  </a:lnTo>
                  <a:lnTo>
                    <a:pt x="241" y="212"/>
                  </a:lnTo>
                  <a:close/>
                  <a:moveTo>
                    <a:pt x="243" y="212"/>
                  </a:moveTo>
                  <a:lnTo>
                    <a:pt x="241" y="212"/>
                  </a:lnTo>
                  <a:lnTo>
                    <a:pt x="243" y="212"/>
                  </a:lnTo>
                  <a:close/>
                  <a:moveTo>
                    <a:pt x="183" y="214"/>
                  </a:moveTo>
                  <a:lnTo>
                    <a:pt x="181" y="214"/>
                  </a:lnTo>
                  <a:lnTo>
                    <a:pt x="183" y="214"/>
                  </a:lnTo>
                  <a:close/>
                  <a:moveTo>
                    <a:pt x="243" y="212"/>
                  </a:moveTo>
                  <a:lnTo>
                    <a:pt x="241" y="212"/>
                  </a:lnTo>
                  <a:lnTo>
                    <a:pt x="243" y="212"/>
                  </a:lnTo>
                  <a:close/>
                  <a:moveTo>
                    <a:pt x="239" y="212"/>
                  </a:moveTo>
                  <a:lnTo>
                    <a:pt x="241" y="212"/>
                  </a:lnTo>
                  <a:lnTo>
                    <a:pt x="239" y="212"/>
                  </a:lnTo>
                  <a:lnTo>
                    <a:pt x="241" y="212"/>
                  </a:lnTo>
                  <a:lnTo>
                    <a:pt x="239" y="212"/>
                  </a:lnTo>
                  <a:close/>
                  <a:moveTo>
                    <a:pt x="241" y="212"/>
                  </a:moveTo>
                  <a:lnTo>
                    <a:pt x="243" y="212"/>
                  </a:lnTo>
                  <a:lnTo>
                    <a:pt x="241" y="212"/>
                  </a:lnTo>
                  <a:close/>
                  <a:moveTo>
                    <a:pt x="243" y="212"/>
                  </a:moveTo>
                  <a:lnTo>
                    <a:pt x="243" y="212"/>
                  </a:lnTo>
                  <a:lnTo>
                    <a:pt x="243" y="212"/>
                  </a:lnTo>
                  <a:close/>
                  <a:moveTo>
                    <a:pt x="239" y="212"/>
                  </a:moveTo>
                  <a:lnTo>
                    <a:pt x="239" y="214"/>
                  </a:lnTo>
                  <a:lnTo>
                    <a:pt x="237" y="214"/>
                  </a:lnTo>
                  <a:lnTo>
                    <a:pt x="237" y="212"/>
                  </a:lnTo>
                  <a:lnTo>
                    <a:pt x="239" y="212"/>
                  </a:lnTo>
                  <a:close/>
                  <a:moveTo>
                    <a:pt x="243" y="212"/>
                  </a:moveTo>
                  <a:lnTo>
                    <a:pt x="243" y="212"/>
                  </a:lnTo>
                  <a:lnTo>
                    <a:pt x="243" y="212"/>
                  </a:lnTo>
                  <a:close/>
                  <a:moveTo>
                    <a:pt x="241" y="212"/>
                  </a:moveTo>
                  <a:lnTo>
                    <a:pt x="239" y="212"/>
                  </a:lnTo>
                  <a:lnTo>
                    <a:pt x="241" y="212"/>
                  </a:lnTo>
                  <a:lnTo>
                    <a:pt x="239" y="212"/>
                  </a:lnTo>
                  <a:lnTo>
                    <a:pt x="241" y="212"/>
                  </a:lnTo>
                  <a:lnTo>
                    <a:pt x="239" y="212"/>
                  </a:lnTo>
                  <a:lnTo>
                    <a:pt x="241" y="212"/>
                  </a:lnTo>
                  <a:close/>
                  <a:moveTo>
                    <a:pt x="239" y="212"/>
                  </a:moveTo>
                  <a:lnTo>
                    <a:pt x="241" y="212"/>
                  </a:lnTo>
                  <a:lnTo>
                    <a:pt x="239" y="212"/>
                  </a:lnTo>
                  <a:close/>
                  <a:moveTo>
                    <a:pt x="235" y="212"/>
                  </a:moveTo>
                  <a:lnTo>
                    <a:pt x="233" y="212"/>
                  </a:lnTo>
                  <a:lnTo>
                    <a:pt x="235" y="212"/>
                  </a:lnTo>
                  <a:close/>
                  <a:moveTo>
                    <a:pt x="166" y="214"/>
                  </a:moveTo>
                  <a:lnTo>
                    <a:pt x="164" y="214"/>
                  </a:lnTo>
                  <a:lnTo>
                    <a:pt x="166" y="214"/>
                  </a:lnTo>
                  <a:close/>
                  <a:moveTo>
                    <a:pt x="241" y="212"/>
                  </a:moveTo>
                  <a:lnTo>
                    <a:pt x="239" y="212"/>
                  </a:lnTo>
                  <a:lnTo>
                    <a:pt x="241" y="212"/>
                  </a:lnTo>
                  <a:lnTo>
                    <a:pt x="239" y="212"/>
                  </a:lnTo>
                  <a:lnTo>
                    <a:pt x="241" y="212"/>
                  </a:lnTo>
                  <a:close/>
                  <a:moveTo>
                    <a:pt x="243" y="212"/>
                  </a:moveTo>
                  <a:lnTo>
                    <a:pt x="243" y="210"/>
                  </a:lnTo>
                  <a:lnTo>
                    <a:pt x="243" y="212"/>
                  </a:lnTo>
                  <a:close/>
                  <a:moveTo>
                    <a:pt x="243" y="210"/>
                  </a:moveTo>
                  <a:lnTo>
                    <a:pt x="243" y="212"/>
                  </a:lnTo>
                  <a:lnTo>
                    <a:pt x="243" y="210"/>
                  </a:lnTo>
                  <a:close/>
                  <a:moveTo>
                    <a:pt x="243" y="212"/>
                  </a:moveTo>
                  <a:lnTo>
                    <a:pt x="243" y="210"/>
                  </a:lnTo>
                  <a:lnTo>
                    <a:pt x="243" y="212"/>
                  </a:lnTo>
                  <a:close/>
                  <a:moveTo>
                    <a:pt x="243" y="212"/>
                  </a:moveTo>
                  <a:lnTo>
                    <a:pt x="243" y="212"/>
                  </a:lnTo>
                  <a:lnTo>
                    <a:pt x="243" y="212"/>
                  </a:lnTo>
                  <a:lnTo>
                    <a:pt x="243" y="210"/>
                  </a:lnTo>
                  <a:lnTo>
                    <a:pt x="243" y="212"/>
                  </a:lnTo>
                  <a:close/>
                  <a:moveTo>
                    <a:pt x="243" y="212"/>
                  </a:moveTo>
                  <a:lnTo>
                    <a:pt x="243" y="210"/>
                  </a:lnTo>
                  <a:lnTo>
                    <a:pt x="243" y="212"/>
                  </a:lnTo>
                  <a:close/>
                  <a:moveTo>
                    <a:pt x="243" y="212"/>
                  </a:moveTo>
                  <a:lnTo>
                    <a:pt x="243" y="210"/>
                  </a:lnTo>
                  <a:lnTo>
                    <a:pt x="243" y="212"/>
                  </a:lnTo>
                  <a:close/>
                  <a:moveTo>
                    <a:pt x="243" y="210"/>
                  </a:moveTo>
                  <a:lnTo>
                    <a:pt x="243" y="212"/>
                  </a:lnTo>
                  <a:lnTo>
                    <a:pt x="243" y="210"/>
                  </a:lnTo>
                  <a:close/>
                  <a:moveTo>
                    <a:pt x="241" y="212"/>
                  </a:moveTo>
                  <a:lnTo>
                    <a:pt x="239" y="212"/>
                  </a:lnTo>
                  <a:lnTo>
                    <a:pt x="241" y="212"/>
                  </a:lnTo>
                  <a:lnTo>
                    <a:pt x="241" y="210"/>
                  </a:lnTo>
                  <a:lnTo>
                    <a:pt x="241" y="212"/>
                  </a:lnTo>
                  <a:close/>
                  <a:moveTo>
                    <a:pt x="166" y="214"/>
                  </a:moveTo>
                  <a:lnTo>
                    <a:pt x="164" y="214"/>
                  </a:lnTo>
                  <a:lnTo>
                    <a:pt x="166" y="214"/>
                  </a:lnTo>
                  <a:lnTo>
                    <a:pt x="164" y="214"/>
                  </a:lnTo>
                  <a:lnTo>
                    <a:pt x="166" y="214"/>
                  </a:lnTo>
                  <a:close/>
                  <a:moveTo>
                    <a:pt x="152" y="214"/>
                  </a:moveTo>
                  <a:lnTo>
                    <a:pt x="150" y="214"/>
                  </a:lnTo>
                  <a:lnTo>
                    <a:pt x="152" y="214"/>
                  </a:lnTo>
                  <a:close/>
                  <a:moveTo>
                    <a:pt x="241" y="210"/>
                  </a:moveTo>
                  <a:lnTo>
                    <a:pt x="241" y="212"/>
                  </a:lnTo>
                  <a:lnTo>
                    <a:pt x="241" y="210"/>
                  </a:lnTo>
                  <a:lnTo>
                    <a:pt x="241" y="212"/>
                  </a:lnTo>
                  <a:lnTo>
                    <a:pt x="241" y="210"/>
                  </a:lnTo>
                  <a:close/>
                  <a:moveTo>
                    <a:pt x="241" y="212"/>
                  </a:moveTo>
                  <a:lnTo>
                    <a:pt x="241" y="210"/>
                  </a:lnTo>
                  <a:lnTo>
                    <a:pt x="241" y="212"/>
                  </a:lnTo>
                  <a:close/>
                  <a:moveTo>
                    <a:pt x="237" y="212"/>
                  </a:moveTo>
                  <a:lnTo>
                    <a:pt x="235" y="212"/>
                  </a:lnTo>
                  <a:lnTo>
                    <a:pt x="237" y="212"/>
                  </a:lnTo>
                  <a:lnTo>
                    <a:pt x="237" y="210"/>
                  </a:lnTo>
                  <a:lnTo>
                    <a:pt x="237" y="212"/>
                  </a:lnTo>
                  <a:close/>
                  <a:moveTo>
                    <a:pt x="193" y="212"/>
                  </a:moveTo>
                  <a:lnTo>
                    <a:pt x="191" y="212"/>
                  </a:lnTo>
                  <a:lnTo>
                    <a:pt x="193" y="212"/>
                  </a:lnTo>
                  <a:close/>
                  <a:moveTo>
                    <a:pt x="168" y="214"/>
                  </a:moveTo>
                  <a:lnTo>
                    <a:pt x="168" y="212"/>
                  </a:lnTo>
                  <a:lnTo>
                    <a:pt x="168" y="214"/>
                  </a:lnTo>
                  <a:close/>
                  <a:moveTo>
                    <a:pt x="241" y="212"/>
                  </a:moveTo>
                  <a:lnTo>
                    <a:pt x="241" y="210"/>
                  </a:lnTo>
                  <a:lnTo>
                    <a:pt x="241" y="212"/>
                  </a:lnTo>
                  <a:close/>
                  <a:moveTo>
                    <a:pt x="152" y="214"/>
                  </a:moveTo>
                  <a:lnTo>
                    <a:pt x="152" y="212"/>
                  </a:lnTo>
                  <a:lnTo>
                    <a:pt x="152" y="214"/>
                  </a:lnTo>
                  <a:close/>
                  <a:moveTo>
                    <a:pt x="239" y="210"/>
                  </a:moveTo>
                  <a:lnTo>
                    <a:pt x="241" y="210"/>
                  </a:lnTo>
                  <a:lnTo>
                    <a:pt x="241" y="212"/>
                  </a:lnTo>
                  <a:lnTo>
                    <a:pt x="239" y="212"/>
                  </a:lnTo>
                  <a:lnTo>
                    <a:pt x="237" y="212"/>
                  </a:lnTo>
                  <a:lnTo>
                    <a:pt x="239" y="212"/>
                  </a:lnTo>
                  <a:lnTo>
                    <a:pt x="237" y="212"/>
                  </a:lnTo>
                  <a:lnTo>
                    <a:pt x="237" y="214"/>
                  </a:lnTo>
                  <a:lnTo>
                    <a:pt x="235" y="214"/>
                  </a:lnTo>
                  <a:lnTo>
                    <a:pt x="233" y="214"/>
                  </a:lnTo>
                  <a:lnTo>
                    <a:pt x="233" y="212"/>
                  </a:lnTo>
                  <a:lnTo>
                    <a:pt x="235" y="212"/>
                  </a:lnTo>
                  <a:lnTo>
                    <a:pt x="237" y="212"/>
                  </a:lnTo>
                  <a:lnTo>
                    <a:pt x="235" y="212"/>
                  </a:lnTo>
                  <a:lnTo>
                    <a:pt x="237" y="212"/>
                  </a:lnTo>
                  <a:lnTo>
                    <a:pt x="237" y="210"/>
                  </a:lnTo>
                  <a:lnTo>
                    <a:pt x="237" y="212"/>
                  </a:lnTo>
                  <a:lnTo>
                    <a:pt x="237" y="210"/>
                  </a:lnTo>
                  <a:lnTo>
                    <a:pt x="237" y="212"/>
                  </a:lnTo>
                  <a:lnTo>
                    <a:pt x="237" y="210"/>
                  </a:lnTo>
                  <a:lnTo>
                    <a:pt x="237" y="212"/>
                  </a:lnTo>
                  <a:lnTo>
                    <a:pt x="237" y="210"/>
                  </a:lnTo>
                  <a:lnTo>
                    <a:pt x="239" y="210"/>
                  </a:lnTo>
                  <a:lnTo>
                    <a:pt x="237" y="210"/>
                  </a:lnTo>
                  <a:lnTo>
                    <a:pt x="239" y="210"/>
                  </a:lnTo>
                  <a:lnTo>
                    <a:pt x="237" y="210"/>
                  </a:lnTo>
                  <a:lnTo>
                    <a:pt x="239" y="210"/>
                  </a:lnTo>
                  <a:close/>
                  <a:moveTo>
                    <a:pt x="241" y="210"/>
                  </a:moveTo>
                  <a:lnTo>
                    <a:pt x="239" y="210"/>
                  </a:lnTo>
                  <a:lnTo>
                    <a:pt x="241" y="210"/>
                  </a:lnTo>
                  <a:close/>
                  <a:moveTo>
                    <a:pt x="150" y="212"/>
                  </a:moveTo>
                  <a:lnTo>
                    <a:pt x="152" y="212"/>
                  </a:lnTo>
                  <a:lnTo>
                    <a:pt x="152" y="214"/>
                  </a:lnTo>
                  <a:lnTo>
                    <a:pt x="150" y="214"/>
                  </a:lnTo>
                  <a:lnTo>
                    <a:pt x="152" y="214"/>
                  </a:lnTo>
                  <a:lnTo>
                    <a:pt x="150" y="214"/>
                  </a:lnTo>
                  <a:lnTo>
                    <a:pt x="150" y="212"/>
                  </a:lnTo>
                  <a:lnTo>
                    <a:pt x="150" y="214"/>
                  </a:lnTo>
                  <a:lnTo>
                    <a:pt x="150" y="212"/>
                  </a:lnTo>
                  <a:close/>
                  <a:moveTo>
                    <a:pt x="239" y="210"/>
                  </a:moveTo>
                  <a:lnTo>
                    <a:pt x="237" y="210"/>
                  </a:lnTo>
                  <a:lnTo>
                    <a:pt x="239" y="210"/>
                  </a:lnTo>
                  <a:lnTo>
                    <a:pt x="237" y="210"/>
                  </a:lnTo>
                  <a:lnTo>
                    <a:pt x="239" y="210"/>
                  </a:lnTo>
                  <a:close/>
                  <a:moveTo>
                    <a:pt x="239" y="210"/>
                  </a:moveTo>
                  <a:lnTo>
                    <a:pt x="241" y="210"/>
                  </a:lnTo>
                  <a:lnTo>
                    <a:pt x="239" y="210"/>
                  </a:lnTo>
                  <a:close/>
                  <a:moveTo>
                    <a:pt x="237" y="210"/>
                  </a:moveTo>
                  <a:lnTo>
                    <a:pt x="235" y="210"/>
                  </a:lnTo>
                  <a:lnTo>
                    <a:pt x="237" y="210"/>
                  </a:lnTo>
                  <a:lnTo>
                    <a:pt x="235" y="210"/>
                  </a:lnTo>
                  <a:lnTo>
                    <a:pt x="237" y="210"/>
                  </a:lnTo>
                  <a:close/>
                  <a:moveTo>
                    <a:pt x="142" y="212"/>
                  </a:moveTo>
                  <a:lnTo>
                    <a:pt x="144" y="212"/>
                  </a:lnTo>
                  <a:lnTo>
                    <a:pt x="142" y="212"/>
                  </a:lnTo>
                  <a:close/>
                  <a:moveTo>
                    <a:pt x="239" y="210"/>
                  </a:moveTo>
                  <a:lnTo>
                    <a:pt x="241" y="210"/>
                  </a:lnTo>
                  <a:lnTo>
                    <a:pt x="239" y="210"/>
                  </a:lnTo>
                  <a:close/>
                  <a:moveTo>
                    <a:pt x="237" y="210"/>
                  </a:moveTo>
                  <a:lnTo>
                    <a:pt x="239" y="210"/>
                  </a:lnTo>
                  <a:lnTo>
                    <a:pt x="237" y="210"/>
                  </a:lnTo>
                  <a:lnTo>
                    <a:pt x="237" y="212"/>
                  </a:lnTo>
                  <a:lnTo>
                    <a:pt x="237" y="210"/>
                  </a:lnTo>
                  <a:lnTo>
                    <a:pt x="237" y="212"/>
                  </a:lnTo>
                  <a:lnTo>
                    <a:pt x="237" y="210"/>
                  </a:lnTo>
                  <a:close/>
                  <a:moveTo>
                    <a:pt x="241" y="210"/>
                  </a:moveTo>
                  <a:lnTo>
                    <a:pt x="241" y="208"/>
                  </a:lnTo>
                  <a:lnTo>
                    <a:pt x="241" y="210"/>
                  </a:lnTo>
                  <a:close/>
                  <a:moveTo>
                    <a:pt x="235" y="210"/>
                  </a:moveTo>
                  <a:lnTo>
                    <a:pt x="237" y="210"/>
                  </a:lnTo>
                  <a:lnTo>
                    <a:pt x="235" y="210"/>
                  </a:lnTo>
                  <a:close/>
                  <a:moveTo>
                    <a:pt x="235" y="210"/>
                  </a:moveTo>
                  <a:lnTo>
                    <a:pt x="235" y="208"/>
                  </a:lnTo>
                  <a:lnTo>
                    <a:pt x="235" y="210"/>
                  </a:lnTo>
                  <a:close/>
                  <a:moveTo>
                    <a:pt x="235" y="210"/>
                  </a:moveTo>
                  <a:lnTo>
                    <a:pt x="235" y="208"/>
                  </a:lnTo>
                  <a:lnTo>
                    <a:pt x="235" y="210"/>
                  </a:lnTo>
                  <a:close/>
                  <a:moveTo>
                    <a:pt x="237" y="210"/>
                  </a:moveTo>
                  <a:lnTo>
                    <a:pt x="237" y="208"/>
                  </a:lnTo>
                  <a:lnTo>
                    <a:pt x="237" y="210"/>
                  </a:lnTo>
                  <a:close/>
                  <a:moveTo>
                    <a:pt x="239" y="208"/>
                  </a:moveTo>
                  <a:lnTo>
                    <a:pt x="239" y="210"/>
                  </a:lnTo>
                  <a:lnTo>
                    <a:pt x="239" y="208"/>
                  </a:lnTo>
                  <a:close/>
                  <a:moveTo>
                    <a:pt x="235" y="210"/>
                  </a:moveTo>
                  <a:lnTo>
                    <a:pt x="235" y="208"/>
                  </a:lnTo>
                  <a:lnTo>
                    <a:pt x="235" y="210"/>
                  </a:lnTo>
                  <a:close/>
                  <a:moveTo>
                    <a:pt x="193" y="210"/>
                  </a:moveTo>
                  <a:lnTo>
                    <a:pt x="195" y="210"/>
                  </a:lnTo>
                  <a:lnTo>
                    <a:pt x="193" y="210"/>
                  </a:lnTo>
                  <a:close/>
                  <a:moveTo>
                    <a:pt x="239" y="208"/>
                  </a:moveTo>
                  <a:lnTo>
                    <a:pt x="239" y="210"/>
                  </a:lnTo>
                  <a:lnTo>
                    <a:pt x="239" y="208"/>
                  </a:lnTo>
                  <a:lnTo>
                    <a:pt x="239" y="210"/>
                  </a:lnTo>
                  <a:lnTo>
                    <a:pt x="237" y="210"/>
                  </a:lnTo>
                  <a:lnTo>
                    <a:pt x="237" y="208"/>
                  </a:lnTo>
                  <a:lnTo>
                    <a:pt x="237" y="210"/>
                  </a:lnTo>
                  <a:lnTo>
                    <a:pt x="237" y="208"/>
                  </a:lnTo>
                  <a:lnTo>
                    <a:pt x="239" y="208"/>
                  </a:lnTo>
                  <a:lnTo>
                    <a:pt x="237" y="208"/>
                  </a:lnTo>
                  <a:lnTo>
                    <a:pt x="237" y="210"/>
                  </a:lnTo>
                  <a:lnTo>
                    <a:pt x="239" y="208"/>
                  </a:lnTo>
                  <a:close/>
                  <a:moveTo>
                    <a:pt x="237" y="208"/>
                  </a:moveTo>
                  <a:lnTo>
                    <a:pt x="237" y="210"/>
                  </a:lnTo>
                  <a:lnTo>
                    <a:pt x="237" y="208"/>
                  </a:lnTo>
                  <a:lnTo>
                    <a:pt x="237" y="210"/>
                  </a:lnTo>
                  <a:lnTo>
                    <a:pt x="237" y="208"/>
                  </a:lnTo>
                  <a:lnTo>
                    <a:pt x="237" y="210"/>
                  </a:lnTo>
                  <a:lnTo>
                    <a:pt x="237" y="208"/>
                  </a:lnTo>
                  <a:close/>
                  <a:moveTo>
                    <a:pt x="197" y="210"/>
                  </a:moveTo>
                  <a:lnTo>
                    <a:pt x="197" y="212"/>
                  </a:lnTo>
                  <a:lnTo>
                    <a:pt x="195" y="212"/>
                  </a:lnTo>
                  <a:lnTo>
                    <a:pt x="195" y="212"/>
                  </a:lnTo>
                  <a:lnTo>
                    <a:pt x="195" y="214"/>
                  </a:lnTo>
                  <a:lnTo>
                    <a:pt x="195" y="212"/>
                  </a:lnTo>
                  <a:lnTo>
                    <a:pt x="195" y="212"/>
                  </a:lnTo>
                  <a:lnTo>
                    <a:pt x="195" y="210"/>
                  </a:lnTo>
                  <a:lnTo>
                    <a:pt x="197" y="210"/>
                  </a:lnTo>
                  <a:close/>
                  <a:moveTo>
                    <a:pt x="239" y="208"/>
                  </a:moveTo>
                  <a:lnTo>
                    <a:pt x="237" y="208"/>
                  </a:lnTo>
                  <a:lnTo>
                    <a:pt x="239" y="208"/>
                  </a:lnTo>
                  <a:lnTo>
                    <a:pt x="237" y="208"/>
                  </a:lnTo>
                  <a:lnTo>
                    <a:pt x="239" y="208"/>
                  </a:lnTo>
                  <a:close/>
                  <a:moveTo>
                    <a:pt x="235" y="208"/>
                  </a:moveTo>
                  <a:lnTo>
                    <a:pt x="237" y="208"/>
                  </a:lnTo>
                  <a:lnTo>
                    <a:pt x="235" y="208"/>
                  </a:lnTo>
                  <a:lnTo>
                    <a:pt x="237" y="208"/>
                  </a:lnTo>
                  <a:lnTo>
                    <a:pt x="235" y="208"/>
                  </a:lnTo>
                  <a:lnTo>
                    <a:pt x="237" y="208"/>
                  </a:lnTo>
                  <a:lnTo>
                    <a:pt x="237" y="210"/>
                  </a:lnTo>
                  <a:lnTo>
                    <a:pt x="237" y="208"/>
                  </a:lnTo>
                  <a:lnTo>
                    <a:pt x="237" y="210"/>
                  </a:lnTo>
                  <a:lnTo>
                    <a:pt x="237" y="208"/>
                  </a:lnTo>
                  <a:lnTo>
                    <a:pt x="237" y="210"/>
                  </a:lnTo>
                  <a:lnTo>
                    <a:pt x="237" y="208"/>
                  </a:lnTo>
                  <a:lnTo>
                    <a:pt x="237" y="210"/>
                  </a:lnTo>
                  <a:lnTo>
                    <a:pt x="237" y="208"/>
                  </a:lnTo>
                  <a:lnTo>
                    <a:pt x="237" y="210"/>
                  </a:lnTo>
                  <a:lnTo>
                    <a:pt x="237" y="208"/>
                  </a:lnTo>
                  <a:lnTo>
                    <a:pt x="237" y="210"/>
                  </a:lnTo>
                  <a:lnTo>
                    <a:pt x="235" y="210"/>
                  </a:lnTo>
                  <a:lnTo>
                    <a:pt x="237" y="210"/>
                  </a:lnTo>
                  <a:lnTo>
                    <a:pt x="235" y="210"/>
                  </a:lnTo>
                  <a:lnTo>
                    <a:pt x="235" y="208"/>
                  </a:lnTo>
                  <a:lnTo>
                    <a:pt x="235" y="210"/>
                  </a:lnTo>
                  <a:lnTo>
                    <a:pt x="235" y="208"/>
                  </a:lnTo>
                  <a:lnTo>
                    <a:pt x="235" y="210"/>
                  </a:lnTo>
                  <a:lnTo>
                    <a:pt x="235" y="208"/>
                  </a:lnTo>
                  <a:lnTo>
                    <a:pt x="237" y="208"/>
                  </a:lnTo>
                  <a:lnTo>
                    <a:pt x="235" y="208"/>
                  </a:lnTo>
                  <a:close/>
                  <a:moveTo>
                    <a:pt x="191" y="210"/>
                  </a:moveTo>
                  <a:lnTo>
                    <a:pt x="193" y="210"/>
                  </a:lnTo>
                  <a:lnTo>
                    <a:pt x="191" y="210"/>
                  </a:lnTo>
                  <a:close/>
                  <a:moveTo>
                    <a:pt x="237" y="208"/>
                  </a:moveTo>
                  <a:lnTo>
                    <a:pt x="235" y="208"/>
                  </a:lnTo>
                  <a:lnTo>
                    <a:pt x="237" y="208"/>
                  </a:lnTo>
                  <a:close/>
                  <a:moveTo>
                    <a:pt x="193" y="210"/>
                  </a:moveTo>
                  <a:lnTo>
                    <a:pt x="191" y="210"/>
                  </a:lnTo>
                  <a:lnTo>
                    <a:pt x="193" y="210"/>
                  </a:lnTo>
                  <a:close/>
                  <a:moveTo>
                    <a:pt x="235" y="208"/>
                  </a:moveTo>
                  <a:lnTo>
                    <a:pt x="233" y="208"/>
                  </a:lnTo>
                  <a:lnTo>
                    <a:pt x="235" y="208"/>
                  </a:lnTo>
                  <a:close/>
                  <a:moveTo>
                    <a:pt x="237" y="208"/>
                  </a:moveTo>
                  <a:lnTo>
                    <a:pt x="235" y="208"/>
                  </a:lnTo>
                  <a:lnTo>
                    <a:pt x="237" y="208"/>
                  </a:lnTo>
                  <a:close/>
                  <a:moveTo>
                    <a:pt x="235" y="208"/>
                  </a:moveTo>
                  <a:lnTo>
                    <a:pt x="235" y="210"/>
                  </a:lnTo>
                  <a:lnTo>
                    <a:pt x="233" y="210"/>
                  </a:lnTo>
                  <a:lnTo>
                    <a:pt x="235" y="210"/>
                  </a:lnTo>
                  <a:lnTo>
                    <a:pt x="233" y="210"/>
                  </a:lnTo>
                  <a:lnTo>
                    <a:pt x="235" y="210"/>
                  </a:lnTo>
                  <a:lnTo>
                    <a:pt x="233" y="210"/>
                  </a:lnTo>
                  <a:lnTo>
                    <a:pt x="235" y="210"/>
                  </a:lnTo>
                  <a:lnTo>
                    <a:pt x="237" y="210"/>
                  </a:lnTo>
                  <a:lnTo>
                    <a:pt x="235" y="210"/>
                  </a:lnTo>
                  <a:lnTo>
                    <a:pt x="237" y="210"/>
                  </a:lnTo>
                  <a:lnTo>
                    <a:pt x="235" y="210"/>
                  </a:lnTo>
                  <a:lnTo>
                    <a:pt x="235" y="212"/>
                  </a:lnTo>
                  <a:lnTo>
                    <a:pt x="233" y="212"/>
                  </a:lnTo>
                  <a:lnTo>
                    <a:pt x="233" y="210"/>
                  </a:lnTo>
                  <a:lnTo>
                    <a:pt x="235" y="210"/>
                  </a:lnTo>
                  <a:lnTo>
                    <a:pt x="235" y="208"/>
                  </a:lnTo>
                  <a:close/>
                  <a:moveTo>
                    <a:pt x="237" y="208"/>
                  </a:moveTo>
                  <a:lnTo>
                    <a:pt x="235" y="208"/>
                  </a:lnTo>
                  <a:lnTo>
                    <a:pt x="237" y="208"/>
                  </a:lnTo>
                  <a:close/>
                  <a:moveTo>
                    <a:pt x="239" y="208"/>
                  </a:moveTo>
                  <a:lnTo>
                    <a:pt x="237" y="208"/>
                  </a:lnTo>
                  <a:lnTo>
                    <a:pt x="239" y="208"/>
                  </a:lnTo>
                  <a:close/>
                  <a:moveTo>
                    <a:pt x="239" y="208"/>
                  </a:moveTo>
                  <a:lnTo>
                    <a:pt x="237" y="208"/>
                  </a:lnTo>
                  <a:lnTo>
                    <a:pt x="239" y="208"/>
                  </a:lnTo>
                  <a:close/>
                  <a:moveTo>
                    <a:pt x="170" y="210"/>
                  </a:moveTo>
                  <a:lnTo>
                    <a:pt x="172" y="210"/>
                  </a:lnTo>
                  <a:lnTo>
                    <a:pt x="170" y="210"/>
                  </a:lnTo>
                  <a:close/>
                  <a:moveTo>
                    <a:pt x="195" y="210"/>
                  </a:moveTo>
                  <a:lnTo>
                    <a:pt x="195" y="208"/>
                  </a:lnTo>
                  <a:lnTo>
                    <a:pt x="195" y="210"/>
                  </a:lnTo>
                  <a:close/>
                  <a:moveTo>
                    <a:pt x="191" y="208"/>
                  </a:moveTo>
                  <a:lnTo>
                    <a:pt x="193" y="208"/>
                  </a:lnTo>
                  <a:lnTo>
                    <a:pt x="193" y="210"/>
                  </a:lnTo>
                  <a:lnTo>
                    <a:pt x="193" y="208"/>
                  </a:lnTo>
                  <a:lnTo>
                    <a:pt x="191" y="208"/>
                  </a:lnTo>
                  <a:close/>
                  <a:moveTo>
                    <a:pt x="197" y="208"/>
                  </a:moveTo>
                  <a:lnTo>
                    <a:pt x="199" y="208"/>
                  </a:lnTo>
                  <a:lnTo>
                    <a:pt x="197" y="208"/>
                  </a:lnTo>
                  <a:close/>
                  <a:moveTo>
                    <a:pt x="239" y="208"/>
                  </a:moveTo>
                  <a:lnTo>
                    <a:pt x="237" y="208"/>
                  </a:lnTo>
                  <a:lnTo>
                    <a:pt x="239" y="208"/>
                  </a:lnTo>
                  <a:lnTo>
                    <a:pt x="237" y="208"/>
                  </a:lnTo>
                  <a:lnTo>
                    <a:pt x="239" y="208"/>
                  </a:lnTo>
                  <a:close/>
                  <a:moveTo>
                    <a:pt x="239" y="208"/>
                  </a:moveTo>
                  <a:lnTo>
                    <a:pt x="239" y="206"/>
                  </a:lnTo>
                  <a:lnTo>
                    <a:pt x="239" y="208"/>
                  </a:lnTo>
                  <a:close/>
                  <a:moveTo>
                    <a:pt x="239" y="208"/>
                  </a:moveTo>
                  <a:lnTo>
                    <a:pt x="239" y="206"/>
                  </a:lnTo>
                  <a:lnTo>
                    <a:pt x="239" y="208"/>
                  </a:lnTo>
                  <a:close/>
                  <a:moveTo>
                    <a:pt x="239" y="208"/>
                  </a:moveTo>
                  <a:lnTo>
                    <a:pt x="239" y="206"/>
                  </a:lnTo>
                  <a:lnTo>
                    <a:pt x="239" y="208"/>
                  </a:lnTo>
                  <a:close/>
                  <a:moveTo>
                    <a:pt x="237" y="208"/>
                  </a:moveTo>
                  <a:lnTo>
                    <a:pt x="237" y="206"/>
                  </a:lnTo>
                  <a:lnTo>
                    <a:pt x="237" y="208"/>
                  </a:lnTo>
                  <a:close/>
                  <a:moveTo>
                    <a:pt x="239" y="208"/>
                  </a:moveTo>
                  <a:lnTo>
                    <a:pt x="239" y="206"/>
                  </a:lnTo>
                  <a:lnTo>
                    <a:pt x="239" y="208"/>
                  </a:lnTo>
                  <a:close/>
                  <a:moveTo>
                    <a:pt x="237" y="206"/>
                  </a:moveTo>
                  <a:lnTo>
                    <a:pt x="237" y="208"/>
                  </a:lnTo>
                  <a:lnTo>
                    <a:pt x="237" y="206"/>
                  </a:lnTo>
                  <a:lnTo>
                    <a:pt x="237" y="208"/>
                  </a:lnTo>
                  <a:lnTo>
                    <a:pt x="237" y="206"/>
                  </a:lnTo>
                  <a:close/>
                  <a:moveTo>
                    <a:pt x="237" y="208"/>
                  </a:moveTo>
                  <a:lnTo>
                    <a:pt x="237" y="206"/>
                  </a:lnTo>
                  <a:lnTo>
                    <a:pt x="237" y="208"/>
                  </a:lnTo>
                  <a:close/>
                  <a:moveTo>
                    <a:pt x="237" y="208"/>
                  </a:moveTo>
                  <a:lnTo>
                    <a:pt x="237" y="206"/>
                  </a:lnTo>
                  <a:lnTo>
                    <a:pt x="237" y="208"/>
                  </a:lnTo>
                  <a:close/>
                  <a:moveTo>
                    <a:pt x="239" y="208"/>
                  </a:moveTo>
                  <a:lnTo>
                    <a:pt x="239" y="206"/>
                  </a:lnTo>
                  <a:lnTo>
                    <a:pt x="239" y="208"/>
                  </a:lnTo>
                  <a:close/>
                  <a:moveTo>
                    <a:pt x="237" y="208"/>
                  </a:moveTo>
                  <a:lnTo>
                    <a:pt x="237" y="206"/>
                  </a:lnTo>
                  <a:lnTo>
                    <a:pt x="237" y="208"/>
                  </a:lnTo>
                  <a:close/>
                  <a:moveTo>
                    <a:pt x="199" y="208"/>
                  </a:moveTo>
                  <a:lnTo>
                    <a:pt x="197" y="208"/>
                  </a:lnTo>
                  <a:lnTo>
                    <a:pt x="199" y="208"/>
                  </a:lnTo>
                  <a:close/>
                  <a:moveTo>
                    <a:pt x="237" y="208"/>
                  </a:moveTo>
                  <a:lnTo>
                    <a:pt x="237" y="206"/>
                  </a:lnTo>
                  <a:lnTo>
                    <a:pt x="237" y="208"/>
                  </a:lnTo>
                  <a:lnTo>
                    <a:pt x="237" y="206"/>
                  </a:lnTo>
                  <a:lnTo>
                    <a:pt x="237" y="208"/>
                  </a:lnTo>
                  <a:lnTo>
                    <a:pt x="237" y="206"/>
                  </a:lnTo>
                  <a:lnTo>
                    <a:pt x="237" y="208"/>
                  </a:lnTo>
                  <a:lnTo>
                    <a:pt x="237" y="206"/>
                  </a:lnTo>
                  <a:lnTo>
                    <a:pt x="237" y="208"/>
                  </a:lnTo>
                  <a:close/>
                  <a:moveTo>
                    <a:pt x="237" y="208"/>
                  </a:moveTo>
                  <a:lnTo>
                    <a:pt x="235" y="208"/>
                  </a:lnTo>
                  <a:lnTo>
                    <a:pt x="237" y="206"/>
                  </a:lnTo>
                  <a:lnTo>
                    <a:pt x="237" y="208"/>
                  </a:lnTo>
                  <a:close/>
                  <a:moveTo>
                    <a:pt x="170" y="210"/>
                  </a:moveTo>
                  <a:lnTo>
                    <a:pt x="172" y="210"/>
                  </a:lnTo>
                  <a:lnTo>
                    <a:pt x="170" y="210"/>
                  </a:lnTo>
                  <a:close/>
                  <a:moveTo>
                    <a:pt x="235" y="208"/>
                  </a:moveTo>
                  <a:lnTo>
                    <a:pt x="235" y="206"/>
                  </a:lnTo>
                  <a:lnTo>
                    <a:pt x="235" y="208"/>
                  </a:lnTo>
                  <a:close/>
                  <a:moveTo>
                    <a:pt x="193" y="208"/>
                  </a:moveTo>
                  <a:lnTo>
                    <a:pt x="193" y="210"/>
                  </a:lnTo>
                  <a:lnTo>
                    <a:pt x="193" y="208"/>
                  </a:lnTo>
                  <a:close/>
                  <a:moveTo>
                    <a:pt x="211" y="208"/>
                  </a:moveTo>
                  <a:lnTo>
                    <a:pt x="213" y="208"/>
                  </a:lnTo>
                  <a:lnTo>
                    <a:pt x="213" y="210"/>
                  </a:lnTo>
                  <a:lnTo>
                    <a:pt x="213" y="208"/>
                  </a:lnTo>
                  <a:lnTo>
                    <a:pt x="213" y="210"/>
                  </a:lnTo>
                  <a:lnTo>
                    <a:pt x="213" y="208"/>
                  </a:lnTo>
                  <a:lnTo>
                    <a:pt x="211" y="208"/>
                  </a:lnTo>
                  <a:close/>
                  <a:moveTo>
                    <a:pt x="235" y="208"/>
                  </a:moveTo>
                  <a:lnTo>
                    <a:pt x="235" y="206"/>
                  </a:lnTo>
                  <a:lnTo>
                    <a:pt x="235" y="208"/>
                  </a:lnTo>
                  <a:close/>
                  <a:moveTo>
                    <a:pt x="239" y="206"/>
                  </a:moveTo>
                  <a:lnTo>
                    <a:pt x="237" y="206"/>
                  </a:lnTo>
                  <a:lnTo>
                    <a:pt x="239" y="206"/>
                  </a:lnTo>
                  <a:lnTo>
                    <a:pt x="237" y="206"/>
                  </a:lnTo>
                  <a:lnTo>
                    <a:pt x="237" y="208"/>
                  </a:lnTo>
                  <a:lnTo>
                    <a:pt x="239" y="208"/>
                  </a:lnTo>
                  <a:lnTo>
                    <a:pt x="237" y="208"/>
                  </a:lnTo>
                  <a:lnTo>
                    <a:pt x="237" y="206"/>
                  </a:lnTo>
                  <a:lnTo>
                    <a:pt x="239" y="206"/>
                  </a:lnTo>
                  <a:close/>
                  <a:moveTo>
                    <a:pt x="235" y="208"/>
                  </a:moveTo>
                  <a:lnTo>
                    <a:pt x="235" y="206"/>
                  </a:lnTo>
                  <a:lnTo>
                    <a:pt x="235" y="208"/>
                  </a:lnTo>
                  <a:close/>
                  <a:moveTo>
                    <a:pt x="211" y="208"/>
                  </a:moveTo>
                  <a:lnTo>
                    <a:pt x="213" y="208"/>
                  </a:lnTo>
                  <a:lnTo>
                    <a:pt x="211" y="208"/>
                  </a:lnTo>
                  <a:close/>
                  <a:moveTo>
                    <a:pt x="239" y="206"/>
                  </a:moveTo>
                  <a:lnTo>
                    <a:pt x="239" y="208"/>
                  </a:lnTo>
                  <a:lnTo>
                    <a:pt x="239" y="206"/>
                  </a:lnTo>
                  <a:close/>
                  <a:moveTo>
                    <a:pt x="233" y="206"/>
                  </a:moveTo>
                  <a:lnTo>
                    <a:pt x="233" y="208"/>
                  </a:lnTo>
                  <a:lnTo>
                    <a:pt x="233" y="206"/>
                  </a:lnTo>
                  <a:close/>
                  <a:moveTo>
                    <a:pt x="235" y="208"/>
                  </a:moveTo>
                  <a:lnTo>
                    <a:pt x="235" y="206"/>
                  </a:lnTo>
                  <a:lnTo>
                    <a:pt x="235" y="208"/>
                  </a:lnTo>
                  <a:close/>
                  <a:moveTo>
                    <a:pt x="239" y="208"/>
                  </a:moveTo>
                  <a:lnTo>
                    <a:pt x="239" y="206"/>
                  </a:lnTo>
                  <a:lnTo>
                    <a:pt x="239" y="208"/>
                  </a:lnTo>
                  <a:close/>
                  <a:moveTo>
                    <a:pt x="168" y="208"/>
                  </a:moveTo>
                  <a:lnTo>
                    <a:pt x="168" y="210"/>
                  </a:lnTo>
                  <a:lnTo>
                    <a:pt x="168" y="208"/>
                  </a:lnTo>
                  <a:close/>
                  <a:moveTo>
                    <a:pt x="168" y="210"/>
                  </a:moveTo>
                  <a:lnTo>
                    <a:pt x="168" y="208"/>
                  </a:lnTo>
                  <a:lnTo>
                    <a:pt x="168" y="210"/>
                  </a:lnTo>
                  <a:close/>
                  <a:moveTo>
                    <a:pt x="197" y="208"/>
                  </a:moveTo>
                  <a:lnTo>
                    <a:pt x="197" y="210"/>
                  </a:lnTo>
                  <a:lnTo>
                    <a:pt x="195" y="210"/>
                  </a:lnTo>
                  <a:lnTo>
                    <a:pt x="197" y="210"/>
                  </a:lnTo>
                  <a:lnTo>
                    <a:pt x="195" y="210"/>
                  </a:lnTo>
                  <a:lnTo>
                    <a:pt x="195" y="208"/>
                  </a:lnTo>
                  <a:lnTo>
                    <a:pt x="197" y="208"/>
                  </a:lnTo>
                  <a:lnTo>
                    <a:pt x="195" y="208"/>
                  </a:lnTo>
                  <a:lnTo>
                    <a:pt x="197" y="208"/>
                  </a:lnTo>
                  <a:close/>
                  <a:moveTo>
                    <a:pt x="233" y="206"/>
                  </a:moveTo>
                  <a:lnTo>
                    <a:pt x="235" y="206"/>
                  </a:lnTo>
                  <a:lnTo>
                    <a:pt x="235" y="208"/>
                  </a:lnTo>
                  <a:lnTo>
                    <a:pt x="233" y="206"/>
                  </a:lnTo>
                  <a:lnTo>
                    <a:pt x="235" y="206"/>
                  </a:lnTo>
                  <a:lnTo>
                    <a:pt x="233" y="206"/>
                  </a:lnTo>
                  <a:lnTo>
                    <a:pt x="233" y="208"/>
                  </a:lnTo>
                  <a:lnTo>
                    <a:pt x="233" y="206"/>
                  </a:lnTo>
                  <a:lnTo>
                    <a:pt x="233" y="208"/>
                  </a:lnTo>
                  <a:lnTo>
                    <a:pt x="235" y="208"/>
                  </a:lnTo>
                  <a:lnTo>
                    <a:pt x="233" y="208"/>
                  </a:lnTo>
                  <a:lnTo>
                    <a:pt x="235" y="208"/>
                  </a:lnTo>
                  <a:lnTo>
                    <a:pt x="233" y="208"/>
                  </a:lnTo>
                  <a:lnTo>
                    <a:pt x="233" y="206"/>
                  </a:lnTo>
                  <a:close/>
                  <a:moveTo>
                    <a:pt x="237" y="206"/>
                  </a:moveTo>
                  <a:lnTo>
                    <a:pt x="237" y="208"/>
                  </a:lnTo>
                  <a:lnTo>
                    <a:pt x="237" y="206"/>
                  </a:lnTo>
                  <a:close/>
                  <a:moveTo>
                    <a:pt x="170" y="208"/>
                  </a:moveTo>
                  <a:lnTo>
                    <a:pt x="172" y="208"/>
                  </a:lnTo>
                  <a:lnTo>
                    <a:pt x="170" y="208"/>
                  </a:lnTo>
                  <a:lnTo>
                    <a:pt x="172" y="208"/>
                  </a:lnTo>
                  <a:lnTo>
                    <a:pt x="170" y="208"/>
                  </a:lnTo>
                  <a:lnTo>
                    <a:pt x="172" y="208"/>
                  </a:lnTo>
                  <a:lnTo>
                    <a:pt x="172" y="210"/>
                  </a:lnTo>
                  <a:lnTo>
                    <a:pt x="170" y="208"/>
                  </a:lnTo>
                  <a:close/>
                  <a:moveTo>
                    <a:pt x="170" y="208"/>
                  </a:moveTo>
                  <a:lnTo>
                    <a:pt x="170" y="210"/>
                  </a:lnTo>
                  <a:lnTo>
                    <a:pt x="170" y="208"/>
                  </a:lnTo>
                  <a:close/>
                  <a:moveTo>
                    <a:pt x="237" y="206"/>
                  </a:moveTo>
                  <a:lnTo>
                    <a:pt x="239" y="206"/>
                  </a:lnTo>
                  <a:lnTo>
                    <a:pt x="237" y="206"/>
                  </a:lnTo>
                  <a:close/>
                  <a:moveTo>
                    <a:pt x="233" y="206"/>
                  </a:moveTo>
                  <a:lnTo>
                    <a:pt x="233" y="208"/>
                  </a:lnTo>
                  <a:lnTo>
                    <a:pt x="233" y="206"/>
                  </a:lnTo>
                  <a:lnTo>
                    <a:pt x="233" y="208"/>
                  </a:lnTo>
                  <a:lnTo>
                    <a:pt x="233" y="206"/>
                  </a:lnTo>
                  <a:close/>
                  <a:moveTo>
                    <a:pt x="199" y="208"/>
                  </a:moveTo>
                  <a:lnTo>
                    <a:pt x="201" y="208"/>
                  </a:lnTo>
                  <a:lnTo>
                    <a:pt x="199" y="208"/>
                  </a:lnTo>
                  <a:close/>
                  <a:moveTo>
                    <a:pt x="191" y="208"/>
                  </a:moveTo>
                  <a:lnTo>
                    <a:pt x="193" y="208"/>
                  </a:lnTo>
                  <a:lnTo>
                    <a:pt x="191" y="208"/>
                  </a:lnTo>
                  <a:close/>
                  <a:moveTo>
                    <a:pt x="235" y="206"/>
                  </a:moveTo>
                  <a:lnTo>
                    <a:pt x="235" y="208"/>
                  </a:lnTo>
                  <a:lnTo>
                    <a:pt x="235" y="210"/>
                  </a:lnTo>
                  <a:lnTo>
                    <a:pt x="235" y="208"/>
                  </a:lnTo>
                  <a:lnTo>
                    <a:pt x="233" y="208"/>
                  </a:lnTo>
                  <a:lnTo>
                    <a:pt x="235" y="208"/>
                  </a:lnTo>
                  <a:lnTo>
                    <a:pt x="233" y="208"/>
                  </a:lnTo>
                  <a:lnTo>
                    <a:pt x="235" y="208"/>
                  </a:lnTo>
                  <a:lnTo>
                    <a:pt x="235" y="206"/>
                  </a:lnTo>
                  <a:lnTo>
                    <a:pt x="235" y="208"/>
                  </a:lnTo>
                  <a:lnTo>
                    <a:pt x="235" y="206"/>
                  </a:lnTo>
                  <a:lnTo>
                    <a:pt x="235" y="208"/>
                  </a:lnTo>
                  <a:lnTo>
                    <a:pt x="235" y="206"/>
                  </a:lnTo>
                  <a:close/>
                  <a:moveTo>
                    <a:pt x="201" y="208"/>
                  </a:moveTo>
                  <a:lnTo>
                    <a:pt x="199" y="208"/>
                  </a:lnTo>
                  <a:lnTo>
                    <a:pt x="201" y="208"/>
                  </a:lnTo>
                  <a:close/>
                  <a:moveTo>
                    <a:pt x="233" y="206"/>
                  </a:moveTo>
                  <a:lnTo>
                    <a:pt x="233" y="208"/>
                  </a:lnTo>
                  <a:lnTo>
                    <a:pt x="233" y="206"/>
                  </a:lnTo>
                  <a:lnTo>
                    <a:pt x="233" y="208"/>
                  </a:lnTo>
                  <a:lnTo>
                    <a:pt x="233" y="206"/>
                  </a:lnTo>
                  <a:close/>
                  <a:moveTo>
                    <a:pt x="209" y="206"/>
                  </a:moveTo>
                  <a:lnTo>
                    <a:pt x="209" y="208"/>
                  </a:lnTo>
                  <a:lnTo>
                    <a:pt x="211" y="208"/>
                  </a:lnTo>
                  <a:lnTo>
                    <a:pt x="209" y="208"/>
                  </a:lnTo>
                  <a:lnTo>
                    <a:pt x="209" y="206"/>
                  </a:lnTo>
                  <a:close/>
                  <a:moveTo>
                    <a:pt x="233" y="206"/>
                  </a:moveTo>
                  <a:lnTo>
                    <a:pt x="235" y="206"/>
                  </a:lnTo>
                  <a:lnTo>
                    <a:pt x="235" y="208"/>
                  </a:lnTo>
                  <a:lnTo>
                    <a:pt x="235" y="206"/>
                  </a:lnTo>
                  <a:lnTo>
                    <a:pt x="235" y="208"/>
                  </a:lnTo>
                  <a:lnTo>
                    <a:pt x="235" y="206"/>
                  </a:lnTo>
                  <a:lnTo>
                    <a:pt x="233" y="206"/>
                  </a:lnTo>
                  <a:close/>
                  <a:moveTo>
                    <a:pt x="213" y="208"/>
                  </a:moveTo>
                  <a:lnTo>
                    <a:pt x="213" y="206"/>
                  </a:lnTo>
                  <a:lnTo>
                    <a:pt x="213" y="208"/>
                  </a:lnTo>
                  <a:close/>
                  <a:moveTo>
                    <a:pt x="201" y="208"/>
                  </a:moveTo>
                  <a:lnTo>
                    <a:pt x="201" y="206"/>
                  </a:lnTo>
                  <a:lnTo>
                    <a:pt x="203" y="206"/>
                  </a:lnTo>
                  <a:lnTo>
                    <a:pt x="203" y="208"/>
                  </a:lnTo>
                  <a:lnTo>
                    <a:pt x="201" y="208"/>
                  </a:lnTo>
                  <a:close/>
                  <a:moveTo>
                    <a:pt x="195" y="208"/>
                  </a:moveTo>
                  <a:lnTo>
                    <a:pt x="195" y="206"/>
                  </a:lnTo>
                  <a:lnTo>
                    <a:pt x="195" y="208"/>
                  </a:lnTo>
                  <a:close/>
                  <a:moveTo>
                    <a:pt x="193" y="208"/>
                  </a:moveTo>
                  <a:lnTo>
                    <a:pt x="193" y="206"/>
                  </a:lnTo>
                  <a:lnTo>
                    <a:pt x="193" y="208"/>
                  </a:lnTo>
                  <a:close/>
                  <a:moveTo>
                    <a:pt x="193" y="208"/>
                  </a:moveTo>
                  <a:lnTo>
                    <a:pt x="193" y="206"/>
                  </a:lnTo>
                  <a:lnTo>
                    <a:pt x="193" y="208"/>
                  </a:lnTo>
                  <a:close/>
                  <a:moveTo>
                    <a:pt x="193" y="206"/>
                  </a:moveTo>
                  <a:lnTo>
                    <a:pt x="193" y="208"/>
                  </a:lnTo>
                  <a:lnTo>
                    <a:pt x="193" y="206"/>
                  </a:lnTo>
                  <a:close/>
                  <a:moveTo>
                    <a:pt x="195" y="206"/>
                  </a:moveTo>
                  <a:lnTo>
                    <a:pt x="197" y="206"/>
                  </a:lnTo>
                  <a:lnTo>
                    <a:pt x="197" y="208"/>
                  </a:lnTo>
                  <a:lnTo>
                    <a:pt x="195" y="208"/>
                  </a:lnTo>
                  <a:lnTo>
                    <a:pt x="195" y="206"/>
                  </a:lnTo>
                  <a:close/>
                  <a:moveTo>
                    <a:pt x="191" y="206"/>
                  </a:moveTo>
                  <a:lnTo>
                    <a:pt x="191" y="208"/>
                  </a:lnTo>
                  <a:lnTo>
                    <a:pt x="191" y="206"/>
                  </a:lnTo>
                  <a:close/>
                  <a:moveTo>
                    <a:pt x="193" y="206"/>
                  </a:moveTo>
                  <a:lnTo>
                    <a:pt x="193" y="208"/>
                  </a:lnTo>
                  <a:lnTo>
                    <a:pt x="193" y="206"/>
                  </a:lnTo>
                  <a:lnTo>
                    <a:pt x="193" y="208"/>
                  </a:lnTo>
                  <a:lnTo>
                    <a:pt x="191" y="208"/>
                  </a:lnTo>
                  <a:lnTo>
                    <a:pt x="191" y="206"/>
                  </a:lnTo>
                  <a:lnTo>
                    <a:pt x="193" y="206"/>
                  </a:lnTo>
                  <a:close/>
                  <a:moveTo>
                    <a:pt x="195" y="206"/>
                  </a:moveTo>
                  <a:lnTo>
                    <a:pt x="195" y="208"/>
                  </a:lnTo>
                  <a:lnTo>
                    <a:pt x="195" y="206"/>
                  </a:lnTo>
                  <a:lnTo>
                    <a:pt x="195" y="208"/>
                  </a:lnTo>
                  <a:lnTo>
                    <a:pt x="195" y="206"/>
                  </a:lnTo>
                  <a:close/>
                  <a:moveTo>
                    <a:pt x="172" y="208"/>
                  </a:moveTo>
                  <a:lnTo>
                    <a:pt x="170" y="208"/>
                  </a:lnTo>
                  <a:lnTo>
                    <a:pt x="172" y="208"/>
                  </a:lnTo>
                  <a:close/>
                  <a:moveTo>
                    <a:pt x="203" y="206"/>
                  </a:moveTo>
                  <a:lnTo>
                    <a:pt x="205" y="206"/>
                  </a:lnTo>
                  <a:lnTo>
                    <a:pt x="203" y="206"/>
                  </a:lnTo>
                  <a:close/>
                  <a:moveTo>
                    <a:pt x="170" y="208"/>
                  </a:moveTo>
                  <a:lnTo>
                    <a:pt x="172" y="208"/>
                  </a:lnTo>
                  <a:lnTo>
                    <a:pt x="170" y="208"/>
                  </a:lnTo>
                  <a:lnTo>
                    <a:pt x="170" y="210"/>
                  </a:lnTo>
                  <a:lnTo>
                    <a:pt x="170" y="208"/>
                  </a:lnTo>
                  <a:lnTo>
                    <a:pt x="170" y="210"/>
                  </a:lnTo>
                  <a:lnTo>
                    <a:pt x="170" y="208"/>
                  </a:lnTo>
                  <a:lnTo>
                    <a:pt x="170" y="210"/>
                  </a:lnTo>
                  <a:lnTo>
                    <a:pt x="170" y="208"/>
                  </a:lnTo>
                  <a:close/>
                  <a:moveTo>
                    <a:pt x="237" y="206"/>
                  </a:moveTo>
                  <a:lnTo>
                    <a:pt x="237" y="204"/>
                  </a:lnTo>
                  <a:lnTo>
                    <a:pt x="237" y="206"/>
                  </a:lnTo>
                  <a:close/>
                  <a:moveTo>
                    <a:pt x="170" y="208"/>
                  </a:moveTo>
                  <a:lnTo>
                    <a:pt x="172" y="208"/>
                  </a:lnTo>
                  <a:lnTo>
                    <a:pt x="170" y="208"/>
                  </a:lnTo>
                  <a:close/>
                  <a:moveTo>
                    <a:pt x="205" y="206"/>
                  </a:moveTo>
                  <a:lnTo>
                    <a:pt x="207" y="206"/>
                  </a:lnTo>
                  <a:lnTo>
                    <a:pt x="205" y="206"/>
                  </a:lnTo>
                  <a:close/>
                  <a:moveTo>
                    <a:pt x="233" y="206"/>
                  </a:moveTo>
                  <a:lnTo>
                    <a:pt x="233" y="204"/>
                  </a:lnTo>
                  <a:lnTo>
                    <a:pt x="233" y="206"/>
                  </a:lnTo>
                  <a:close/>
                  <a:moveTo>
                    <a:pt x="170" y="206"/>
                  </a:moveTo>
                  <a:lnTo>
                    <a:pt x="170" y="208"/>
                  </a:lnTo>
                  <a:lnTo>
                    <a:pt x="172" y="208"/>
                  </a:lnTo>
                  <a:lnTo>
                    <a:pt x="170" y="208"/>
                  </a:lnTo>
                  <a:lnTo>
                    <a:pt x="170" y="206"/>
                  </a:lnTo>
                  <a:close/>
                  <a:moveTo>
                    <a:pt x="205" y="206"/>
                  </a:moveTo>
                  <a:lnTo>
                    <a:pt x="203" y="206"/>
                  </a:lnTo>
                  <a:lnTo>
                    <a:pt x="205" y="206"/>
                  </a:lnTo>
                  <a:lnTo>
                    <a:pt x="203" y="206"/>
                  </a:lnTo>
                  <a:lnTo>
                    <a:pt x="205" y="206"/>
                  </a:lnTo>
                  <a:lnTo>
                    <a:pt x="203" y="206"/>
                  </a:lnTo>
                  <a:lnTo>
                    <a:pt x="205" y="206"/>
                  </a:lnTo>
                  <a:close/>
                  <a:moveTo>
                    <a:pt x="174" y="208"/>
                  </a:moveTo>
                  <a:lnTo>
                    <a:pt x="174" y="206"/>
                  </a:lnTo>
                  <a:lnTo>
                    <a:pt x="174" y="208"/>
                  </a:lnTo>
                  <a:lnTo>
                    <a:pt x="174" y="206"/>
                  </a:lnTo>
                  <a:lnTo>
                    <a:pt x="174" y="208"/>
                  </a:lnTo>
                  <a:lnTo>
                    <a:pt x="172" y="208"/>
                  </a:lnTo>
                  <a:lnTo>
                    <a:pt x="174" y="208"/>
                  </a:lnTo>
                  <a:lnTo>
                    <a:pt x="174" y="206"/>
                  </a:lnTo>
                  <a:lnTo>
                    <a:pt x="174" y="208"/>
                  </a:lnTo>
                  <a:close/>
                  <a:moveTo>
                    <a:pt x="172" y="208"/>
                  </a:moveTo>
                  <a:lnTo>
                    <a:pt x="172" y="206"/>
                  </a:lnTo>
                  <a:lnTo>
                    <a:pt x="170" y="206"/>
                  </a:lnTo>
                  <a:lnTo>
                    <a:pt x="172" y="206"/>
                  </a:lnTo>
                  <a:lnTo>
                    <a:pt x="172" y="208"/>
                  </a:lnTo>
                  <a:close/>
                  <a:moveTo>
                    <a:pt x="195" y="206"/>
                  </a:moveTo>
                  <a:lnTo>
                    <a:pt x="197" y="206"/>
                  </a:lnTo>
                  <a:lnTo>
                    <a:pt x="195" y="206"/>
                  </a:lnTo>
                  <a:close/>
                  <a:moveTo>
                    <a:pt x="172" y="206"/>
                  </a:moveTo>
                  <a:lnTo>
                    <a:pt x="170" y="206"/>
                  </a:lnTo>
                  <a:lnTo>
                    <a:pt x="172" y="206"/>
                  </a:lnTo>
                  <a:close/>
                  <a:moveTo>
                    <a:pt x="172" y="206"/>
                  </a:moveTo>
                  <a:lnTo>
                    <a:pt x="170" y="206"/>
                  </a:lnTo>
                  <a:lnTo>
                    <a:pt x="172" y="206"/>
                  </a:lnTo>
                  <a:close/>
                  <a:moveTo>
                    <a:pt x="193" y="206"/>
                  </a:moveTo>
                  <a:lnTo>
                    <a:pt x="191" y="206"/>
                  </a:lnTo>
                  <a:lnTo>
                    <a:pt x="193" y="206"/>
                  </a:lnTo>
                  <a:lnTo>
                    <a:pt x="191" y="206"/>
                  </a:lnTo>
                  <a:lnTo>
                    <a:pt x="193" y="206"/>
                  </a:lnTo>
                  <a:close/>
                  <a:moveTo>
                    <a:pt x="207" y="206"/>
                  </a:moveTo>
                  <a:lnTo>
                    <a:pt x="205" y="206"/>
                  </a:lnTo>
                  <a:lnTo>
                    <a:pt x="207" y="206"/>
                  </a:lnTo>
                  <a:close/>
                  <a:moveTo>
                    <a:pt x="195" y="206"/>
                  </a:moveTo>
                  <a:lnTo>
                    <a:pt x="193" y="206"/>
                  </a:lnTo>
                  <a:lnTo>
                    <a:pt x="195" y="206"/>
                  </a:lnTo>
                  <a:close/>
                  <a:moveTo>
                    <a:pt x="235" y="206"/>
                  </a:moveTo>
                  <a:lnTo>
                    <a:pt x="235" y="204"/>
                  </a:lnTo>
                  <a:lnTo>
                    <a:pt x="235" y="206"/>
                  </a:lnTo>
                  <a:lnTo>
                    <a:pt x="235" y="204"/>
                  </a:lnTo>
                  <a:lnTo>
                    <a:pt x="235" y="206"/>
                  </a:lnTo>
                  <a:lnTo>
                    <a:pt x="235" y="204"/>
                  </a:lnTo>
                  <a:lnTo>
                    <a:pt x="235" y="206"/>
                  </a:lnTo>
                  <a:close/>
                  <a:moveTo>
                    <a:pt x="237" y="204"/>
                  </a:moveTo>
                  <a:lnTo>
                    <a:pt x="237" y="206"/>
                  </a:lnTo>
                  <a:lnTo>
                    <a:pt x="237" y="204"/>
                  </a:lnTo>
                  <a:close/>
                  <a:moveTo>
                    <a:pt x="207" y="206"/>
                  </a:moveTo>
                  <a:lnTo>
                    <a:pt x="205" y="206"/>
                  </a:lnTo>
                  <a:lnTo>
                    <a:pt x="207" y="206"/>
                  </a:lnTo>
                  <a:close/>
                  <a:moveTo>
                    <a:pt x="191" y="206"/>
                  </a:moveTo>
                  <a:lnTo>
                    <a:pt x="193" y="206"/>
                  </a:lnTo>
                  <a:lnTo>
                    <a:pt x="191" y="206"/>
                  </a:lnTo>
                  <a:close/>
                  <a:moveTo>
                    <a:pt x="170" y="206"/>
                  </a:moveTo>
                  <a:lnTo>
                    <a:pt x="170" y="208"/>
                  </a:lnTo>
                  <a:lnTo>
                    <a:pt x="170" y="206"/>
                  </a:lnTo>
                  <a:close/>
                  <a:moveTo>
                    <a:pt x="170" y="206"/>
                  </a:moveTo>
                  <a:lnTo>
                    <a:pt x="170" y="208"/>
                  </a:lnTo>
                  <a:lnTo>
                    <a:pt x="170" y="206"/>
                  </a:lnTo>
                  <a:close/>
                  <a:moveTo>
                    <a:pt x="191" y="206"/>
                  </a:moveTo>
                  <a:lnTo>
                    <a:pt x="191" y="208"/>
                  </a:lnTo>
                  <a:lnTo>
                    <a:pt x="191" y="206"/>
                  </a:lnTo>
                  <a:close/>
                  <a:moveTo>
                    <a:pt x="237" y="204"/>
                  </a:moveTo>
                  <a:lnTo>
                    <a:pt x="237" y="206"/>
                  </a:lnTo>
                  <a:lnTo>
                    <a:pt x="235" y="206"/>
                  </a:lnTo>
                  <a:lnTo>
                    <a:pt x="235" y="208"/>
                  </a:lnTo>
                  <a:lnTo>
                    <a:pt x="235" y="206"/>
                  </a:lnTo>
                  <a:lnTo>
                    <a:pt x="235" y="204"/>
                  </a:lnTo>
                  <a:lnTo>
                    <a:pt x="237" y="204"/>
                  </a:lnTo>
                  <a:close/>
                  <a:moveTo>
                    <a:pt x="172" y="206"/>
                  </a:moveTo>
                  <a:lnTo>
                    <a:pt x="170" y="206"/>
                  </a:lnTo>
                  <a:lnTo>
                    <a:pt x="172" y="206"/>
                  </a:lnTo>
                  <a:lnTo>
                    <a:pt x="170" y="206"/>
                  </a:lnTo>
                  <a:lnTo>
                    <a:pt x="172" y="206"/>
                  </a:lnTo>
                  <a:close/>
                  <a:moveTo>
                    <a:pt x="128" y="208"/>
                  </a:moveTo>
                  <a:lnTo>
                    <a:pt x="126" y="208"/>
                  </a:lnTo>
                  <a:lnTo>
                    <a:pt x="128" y="208"/>
                  </a:lnTo>
                  <a:close/>
                  <a:moveTo>
                    <a:pt x="207" y="206"/>
                  </a:moveTo>
                  <a:lnTo>
                    <a:pt x="205" y="206"/>
                  </a:lnTo>
                  <a:lnTo>
                    <a:pt x="207" y="206"/>
                  </a:lnTo>
                  <a:close/>
                  <a:moveTo>
                    <a:pt x="195" y="206"/>
                  </a:moveTo>
                  <a:lnTo>
                    <a:pt x="197" y="206"/>
                  </a:lnTo>
                  <a:lnTo>
                    <a:pt x="195" y="206"/>
                  </a:lnTo>
                  <a:close/>
                  <a:moveTo>
                    <a:pt x="172" y="206"/>
                  </a:moveTo>
                  <a:lnTo>
                    <a:pt x="172" y="208"/>
                  </a:lnTo>
                  <a:lnTo>
                    <a:pt x="170" y="208"/>
                  </a:lnTo>
                  <a:lnTo>
                    <a:pt x="172" y="208"/>
                  </a:lnTo>
                  <a:lnTo>
                    <a:pt x="170" y="208"/>
                  </a:lnTo>
                  <a:lnTo>
                    <a:pt x="172" y="208"/>
                  </a:lnTo>
                  <a:lnTo>
                    <a:pt x="172" y="206"/>
                  </a:lnTo>
                  <a:lnTo>
                    <a:pt x="172" y="208"/>
                  </a:lnTo>
                  <a:lnTo>
                    <a:pt x="172" y="206"/>
                  </a:lnTo>
                  <a:lnTo>
                    <a:pt x="172" y="208"/>
                  </a:lnTo>
                  <a:lnTo>
                    <a:pt x="172" y="206"/>
                  </a:lnTo>
                  <a:close/>
                  <a:moveTo>
                    <a:pt x="199" y="206"/>
                  </a:moveTo>
                  <a:lnTo>
                    <a:pt x="201" y="206"/>
                  </a:lnTo>
                  <a:lnTo>
                    <a:pt x="199" y="206"/>
                  </a:lnTo>
                  <a:close/>
                  <a:moveTo>
                    <a:pt x="201" y="206"/>
                  </a:moveTo>
                  <a:lnTo>
                    <a:pt x="201" y="208"/>
                  </a:lnTo>
                  <a:lnTo>
                    <a:pt x="201" y="206"/>
                  </a:lnTo>
                  <a:lnTo>
                    <a:pt x="199" y="206"/>
                  </a:lnTo>
                  <a:lnTo>
                    <a:pt x="201" y="206"/>
                  </a:lnTo>
                  <a:close/>
                  <a:moveTo>
                    <a:pt x="209" y="206"/>
                  </a:moveTo>
                  <a:lnTo>
                    <a:pt x="209" y="204"/>
                  </a:lnTo>
                  <a:lnTo>
                    <a:pt x="209" y="206"/>
                  </a:lnTo>
                  <a:close/>
                  <a:moveTo>
                    <a:pt x="235" y="204"/>
                  </a:moveTo>
                  <a:lnTo>
                    <a:pt x="237" y="204"/>
                  </a:lnTo>
                  <a:lnTo>
                    <a:pt x="235" y="204"/>
                  </a:lnTo>
                  <a:close/>
                  <a:moveTo>
                    <a:pt x="207" y="206"/>
                  </a:moveTo>
                  <a:lnTo>
                    <a:pt x="207" y="204"/>
                  </a:lnTo>
                  <a:lnTo>
                    <a:pt x="207" y="206"/>
                  </a:lnTo>
                  <a:close/>
                  <a:moveTo>
                    <a:pt x="205" y="204"/>
                  </a:moveTo>
                  <a:lnTo>
                    <a:pt x="205" y="206"/>
                  </a:lnTo>
                  <a:lnTo>
                    <a:pt x="205" y="204"/>
                  </a:lnTo>
                  <a:close/>
                  <a:moveTo>
                    <a:pt x="207" y="204"/>
                  </a:moveTo>
                  <a:lnTo>
                    <a:pt x="207" y="206"/>
                  </a:lnTo>
                  <a:lnTo>
                    <a:pt x="207" y="204"/>
                  </a:lnTo>
                  <a:close/>
                  <a:moveTo>
                    <a:pt x="229" y="204"/>
                  </a:moveTo>
                  <a:lnTo>
                    <a:pt x="227" y="204"/>
                  </a:lnTo>
                  <a:lnTo>
                    <a:pt x="229" y="204"/>
                  </a:lnTo>
                  <a:close/>
                  <a:moveTo>
                    <a:pt x="170" y="206"/>
                  </a:moveTo>
                  <a:lnTo>
                    <a:pt x="172" y="206"/>
                  </a:lnTo>
                  <a:lnTo>
                    <a:pt x="170" y="206"/>
                  </a:lnTo>
                  <a:lnTo>
                    <a:pt x="172" y="206"/>
                  </a:lnTo>
                  <a:lnTo>
                    <a:pt x="170" y="206"/>
                  </a:lnTo>
                  <a:close/>
                  <a:moveTo>
                    <a:pt x="205" y="204"/>
                  </a:moveTo>
                  <a:lnTo>
                    <a:pt x="205" y="206"/>
                  </a:lnTo>
                  <a:lnTo>
                    <a:pt x="205" y="204"/>
                  </a:lnTo>
                  <a:close/>
                  <a:moveTo>
                    <a:pt x="227" y="204"/>
                  </a:moveTo>
                  <a:lnTo>
                    <a:pt x="225" y="204"/>
                  </a:lnTo>
                  <a:lnTo>
                    <a:pt x="227" y="204"/>
                  </a:lnTo>
                  <a:close/>
                  <a:moveTo>
                    <a:pt x="201" y="204"/>
                  </a:moveTo>
                  <a:lnTo>
                    <a:pt x="201" y="206"/>
                  </a:lnTo>
                  <a:lnTo>
                    <a:pt x="201" y="204"/>
                  </a:lnTo>
                  <a:close/>
                  <a:moveTo>
                    <a:pt x="205" y="204"/>
                  </a:moveTo>
                  <a:lnTo>
                    <a:pt x="205" y="206"/>
                  </a:lnTo>
                  <a:lnTo>
                    <a:pt x="203" y="206"/>
                  </a:lnTo>
                  <a:lnTo>
                    <a:pt x="205" y="206"/>
                  </a:lnTo>
                  <a:lnTo>
                    <a:pt x="203" y="206"/>
                  </a:lnTo>
                  <a:lnTo>
                    <a:pt x="203" y="204"/>
                  </a:lnTo>
                  <a:lnTo>
                    <a:pt x="205" y="204"/>
                  </a:lnTo>
                  <a:lnTo>
                    <a:pt x="205" y="206"/>
                  </a:lnTo>
                  <a:lnTo>
                    <a:pt x="205" y="204"/>
                  </a:lnTo>
                  <a:lnTo>
                    <a:pt x="205" y="206"/>
                  </a:lnTo>
                  <a:lnTo>
                    <a:pt x="205" y="204"/>
                  </a:lnTo>
                  <a:close/>
                  <a:moveTo>
                    <a:pt x="227" y="204"/>
                  </a:moveTo>
                  <a:lnTo>
                    <a:pt x="229" y="204"/>
                  </a:lnTo>
                  <a:lnTo>
                    <a:pt x="227" y="204"/>
                  </a:lnTo>
                  <a:close/>
                  <a:moveTo>
                    <a:pt x="235" y="204"/>
                  </a:moveTo>
                  <a:lnTo>
                    <a:pt x="237" y="204"/>
                  </a:lnTo>
                  <a:lnTo>
                    <a:pt x="235" y="204"/>
                  </a:lnTo>
                  <a:close/>
                  <a:moveTo>
                    <a:pt x="205" y="204"/>
                  </a:moveTo>
                  <a:lnTo>
                    <a:pt x="207" y="204"/>
                  </a:lnTo>
                  <a:lnTo>
                    <a:pt x="207" y="206"/>
                  </a:lnTo>
                  <a:lnTo>
                    <a:pt x="207" y="204"/>
                  </a:lnTo>
                  <a:lnTo>
                    <a:pt x="207" y="206"/>
                  </a:lnTo>
                  <a:lnTo>
                    <a:pt x="205" y="206"/>
                  </a:lnTo>
                  <a:lnTo>
                    <a:pt x="205" y="204"/>
                  </a:lnTo>
                  <a:lnTo>
                    <a:pt x="205" y="206"/>
                  </a:lnTo>
                  <a:lnTo>
                    <a:pt x="207" y="206"/>
                  </a:lnTo>
                  <a:lnTo>
                    <a:pt x="205" y="206"/>
                  </a:lnTo>
                  <a:lnTo>
                    <a:pt x="205" y="204"/>
                  </a:lnTo>
                  <a:lnTo>
                    <a:pt x="207" y="204"/>
                  </a:lnTo>
                  <a:lnTo>
                    <a:pt x="205" y="204"/>
                  </a:lnTo>
                  <a:close/>
                  <a:moveTo>
                    <a:pt x="203" y="204"/>
                  </a:moveTo>
                  <a:lnTo>
                    <a:pt x="203" y="206"/>
                  </a:lnTo>
                  <a:lnTo>
                    <a:pt x="203" y="204"/>
                  </a:lnTo>
                  <a:lnTo>
                    <a:pt x="205" y="204"/>
                  </a:lnTo>
                  <a:lnTo>
                    <a:pt x="203" y="204"/>
                  </a:lnTo>
                  <a:lnTo>
                    <a:pt x="203" y="206"/>
                  </a:lnTo>
                  <a:lnTo>
                    <a:pt x="203" y="204"/>
                  </a:lnTo>
                  <a:close/>
                  <a:moveTo>
                    <a:pt x="170" y="206"/>
                  </a:moveTo>
                  <a:lnTo>
                    <a:pt x="170" y="204"/>
                  </a:lnTo>
                  <a:lnTo>
                    <a:pt x="170" y="206"/>
                  </a:lnTo>
                  <a:close/>
                  <a:moveTo>
                    <a:pt x="225" y="204"/>
                  </a:moveTo>
                  <a:lnTo>
                    <a:pt x="227" y="204"/>
                  </a:lnTo>
                  <a:lnTo>
                    <a:pt x="225" y="204"/>
                  </a:lnTo>
                  <a:close/>
                  <a:moveTo>
                    <a:pt x="170" y="206"/>
                  </a:moveTo>
                  <a:lnTo>
                    <a:pt x="170" y="204"/>
                  </a:lnTo>
                  <a:lnTo>
                    <a:pt x="170" y="206"/>
                  </a:lnTo>
                  <a:close/>
                  <a:moveTo>
                    <a:pt x="231" y="204"/>
                  </a:moveTo>
                  <a:lnTo>
                    <a:pt x="231" y="202"/>
                  </a:lnTo>
                  <a:lnTo>
                    <a:pt x="231" y="204"/>
                  </a:lnTo>
                  <a:close/>
                  <a:moveTo>
                    <a:pt x="231" y="202"/>
                  </a:moveTo>
                  <a:lnTo>
                    <a:pt x="231" y="204"/>
                  </a:lnTo>
                  <a:lnTo>
                    <a:pt x="231" y="202"/>
                  </a:lnTo>
                  <a:lnTo>
                    <a:pt x="231" y="204"/>
                  </a:lnTo>
                  <a:lnTo>
                    <a:pt x="231" y="202"/>
                  </a:lnTo>
                  <a:close/>
                  <a:moveTo>
                    <a:pt x="207" y="204"/>
                  </a:moveTo>
                  <a:lnTo>
                    <a:pt x="205" y="204"/>
                  </a:lnTo>
                  <a:lnTo>
                    <a:pt x="207" y="204"/>
                  </a:lnTo>
                  <a:close/>
                  <a:moveTo>
                    <a:pt x="231" y="204"/>
                  </a:moveTo>
                  <a:lnTo>
                    <a:pt x="231" y="202"/>
                  </a:lnTo>
                  <a:lnTo>
                    <a:pt x="231" y="204"/>
                  </a:lnTo>
                  <a:close/>
                  <a:moveTo>
                    <a:pt x="128" y="206"/>
                  </a:moveTo>
                  <a:lnTo>
                    <a:pt x="128" y="208"/>
                  </a:lnTo>
                  <a:lnTo>
                    <a:pt x="128" y="206"/>
                  </a:lnTo>
                  <a:lnTo>
                    <a:pt x="128" y="208"/>
                  </a:lnTo>
                  <a:lnTo>
                    <a:pt x="128" y="206"/>
                  </a:lnTo>
                  <a:lnTo>
                    <a:pt x="128" y="208"/>
                  </a:lnTo>
                  <a:lnTo>
                    <a:pt x="128" y="206"/>
                  </a:lnTo>
                  <a:close/>
                  <a:moveTo>
                    <a:pt x="126" y="206"/>
                  </a:moveTo>
                  <a:lnTo>
                    <a:pt x="128" y="206"/>
                  </a:lnTo>
                  <a:lnTo>
                    <a:pt x="126" y="206"/>
                  </a:lnTo>
                  <a:close/>
                  <a:moveTo>
                    <a:pt x="227" y="204"/>
                  </a:moveTo>
                  <a:lnTo>
                    <a:pt x="227" y="202"/>
                  </a:lnTo>
                  <a:lnTo>
                    <a:pt x="227" y="204"/>
                  </a:lnTo>
                  <a:close/>
                  <a:moveTo>
                    <a:pt x="227" y="204"/>
                  </a:moveTo>
                  <a:lnTo>
                    <a:pt x="225" y="204"/>
                  </a:lnTo>
                  <a:lnTo>
                    <a:pt x="227" y="204"/>
                  </a:lnTo>
                  <a:lnTo>
                    <a:pt x="227" y="202"/>
                  </a:lnTo>
                  <a:lnTo>
                    <a:pt x="227" y="204"/>
                  </a:lnTo>
                  <a:close/>
                  <a:moveTo>
                    <a:pt x="195" y="204"/>
                  </a:moveTo>
                  <a:lnTo>
                    <a:pt x="195" y="206"/>
                  </a:lnTo>
                  <a:lnTo>
                    <a:pt x="195" y="204"/>
                  </a:lnTo>
                  <a:close/>
                  <a:moveTo>
                    <a:pt x="203" y="204"/>
                  </a:moveTo>
                  <a:lnTo>
                    <a:pt x="201" y="204"/>
                  </a:lnTo>
                  <a:lnTo>
                    <a:pt x="203" y="204"/>
                  </a:lnTo>
                  <a:lnTo>
                    <a:pt x="201" y="204"/>
                  </a:lnTo>
                  <a:lnTo>
                    <a:pt x="203" y="204"/>
                  </a:lnTo>
                  <a:close/>
                  <a:moveTo>
                    <a:pt x="227" y="202"/>
                  </a:moveTo>
                  <a:lnTo>
                    <a:pt x="225" y="202"/>
                  </a:lnTo>
                  <a:lnTo>
                    <a:pt x="227" y="202"/>
                  </a:lnTo>
                  <a:close/>
                  <a:moveTo>
                    <a:pt x="207" y="204"/>
                  </a:moveTo>
                  <a:lnTo>
                    <a:pt x="209" y="204"/>
                  </a:lnTo>
                  <a:lnTo>
                    <a:pt x="207" y="204"/>
                  </a:lnTo>
                  <a:close/>
                  <a:moveTo>
                    <a:pt x="126" y="206"/>
                  </a:moveTo>
                  <a:lnTo>
                    <a:pt x="126" y="204"/>
                  </a:lnTo>
                  <a:lnTo>
                    <a:pt x="126" y="206"/>
                  </a:lnTo>
                  <a:close/>
                  <a:moveTo>
                    <a:pt x="205" y="204"/>
                  </a:moveTo>
                  <a:lnTo>
                    <a:pt x="203" y="204"/>
                  </a:lnTo>
                  <a:lnTo>
                    <a:pt x="205" y="204"/>
                  </a:lnTo>
                  <a:close/>
                  <a:moveTo>
                    <a:pt x="205" y="204"/>
                  </a:moveTo>
                  <a:lnTo>
                    <a:pt x="203" y="204"/>
                  </a:lnTo>
                  <a:lnTo>
                    <a:pt x="205" y="204"/>
                  </a:lnTo>
                  <a:close/>
                  <a:moveTo>
                    <a:pt x="128" y="204"/>
                  </a:moveTo>
                  <a:lnTo>
                    <a:pt x="128" y="206"/>
                  </a:lnTo>
                  <a:lnTo>
                    <a:pt x="126" y="206"/>
                  </a:lnTo>
                  <a:lnTo>
                    <a:pt x="126" y="204"/>
                  </a:lnTo>
                  <a:lnTo>
                    <a:pt x="128" y="204"/>
                  </a:lnTo>
                  <a:close/>
                  <a:moveTo>
                    <a:pt x="205" y="204"/>
                  </a:moveTo>
                  <a:lnTo>
                    <a:pt x="203" y="204"/>
                  </a:lnTo>
                  <a:lnTo>
                    <a:pt x="205" y="204"/>
                  </a:lnTo>
                  <a:close/>
                  <a:moveTo>
                    <a:pt x="227" y="202"/>
                  </a:moveTo>
                  <a:lnTo>
                    <a:pt x="229" y="202"/>
                  </a:lnTo>
                  <a:lnTo>
                    <a:pt x="227" y="202"/>
                  </a:lnTo>
                  <a:close/>
                  <a:moveTo>
                    <a:pt x="227" y="202"/>
                  </a:moveTo>
                  <a:lnTo>
                    <a:pt x="225" y="202"/>
                  </a:lnTo>
                  <a:lnTo>
                    <a:pt x="227" y="202"/>
                  </a:lnTo>
                  <a:close/>
                  <a:moveTo>
                    <a:pt x="134" y="204"/>
                  </a:moveTo>
                  <a:lnTo>
                    <a:pt x="134" y="206"/>
                  </a:lnTo>
                  <a:lnTo>
                    <a:pt x="134" y="208"/>
                  </a:lnTo>
                  <a:lnTo>
                    <a:pt x="136" y="208"/>
                  </a:lnTo>
                  <a:lnTo>
                    <a:pt x="138" y="208"/>
                  </a:lnTo>
                  <a:lnTo>
                    <a:pt x="138" y="210"/>
                  </a:lnTo>
                  <a:lnTo>
                    <a:pt x="138" y="212"/>
                  </a:lnTo>
                  <a:lnTo>
                    <a:pt x="140" y="212"/>
                  </a:lnTo>
                  <a:lnTo>
                    <a:pt x="138" y="212"/>
                  </a:lnTo>
                  <a:lnTo>
                    <a:pt x="138" y="214"/>
                  </a:lnTo>
                  <a:lnTo>
                    <a:pt x="140" y="214"/>
                  </a:lnTo>
                  <a:lnTo>
                    <a:pt x="138" y="214"/>
                  </a:lnTo>
                  <a:lnTo>
                    <a:pt x="136" y="214"/>
                  </a:lnTo>
                  <a:lnTo>
                    <a:pt x="134" y="214"/>
                  </a:lnTo>
                  <a:lnTo>
                    <a:pt x="134" y="212"/>
                  </a:lnTo>
                  <a:lnTo>
                    <a:pt x="132" y="212"/>
                  </a:lnTo>
                  <a:lnTo>
                    <a:pt x="130" y="212"/>
                  </a:lnTo>
                  <a:lnTo>
                    <a:pt x="130" y="210"/>
                  </a:lnTo>
                  <a:lnTo>
                    <a:pt x="128" y="210"/>
                  </a:lnTo>
                  <a:lnTo>
                    <a:pt x="128" y="208"/>
                  </a:lnTo>
                  <a:lnTo>
                    <a:pt x="130" y="208"/>
                  </a:lnTo>
                  <a:lnTo>
                    <a:pt x="132" y="208"/>
                  </a:lnTo>
                  <a:lnTo>
                    <a:pt x="132" y="206"/>
                  </a:lnTo>
                  <a:lnTo>
                    <a:pt x="132" y="204"/>
                  </a:lnTo>
                  <a:lnTo>
                    <a:pt x="132" y="206"/>
                  </a:lnTo>
                  <a:lnTo>
                    <a:pt x="132" y="204"/>
                  </a:lnTo>
                  <a:lnTo>
                    <a:pt x="134" y="204"/>
                  </a:lnTo>
                  <a:close/>
                  <a:moveTo>
                    <a:pt x="207" y="202"/>
                  </a:moveTo>
                  <a:lnTo>
                    <a:pt x="207" y="204"/>
                  </a:lnTo>
                  <a:lnTo>
                    <a:pt x="207" y="202"/>
                  </a:lnTo>
                  <a:close/>
                  <a:moveTo>
                    <a:pt x="203" y="204"/>
                  </a:moveTo>
                  <a:lnTo>
                    <a:pt x="203" y="202"/>
                  </a:lnTo>
                  <a:lnTo>
                    <a:pt x="203" y="204"/>
                  </a:lnTo>
                  <a:close/>
                  <a:moveTo>
                    <a:pt x="227" y="202"/>
                  </a:moveTo>
                  <a:lnTo>
                    <a:pt x="225" y="202"/>
                  </a:lnTo>
                  <a:lnTo>
                    <a:pt x="227" y="202"/>
                  </a:lnTo>
                  <a:close/>
                  <a:moveTo>
                    <a:pt x="195" y="204"/>
                  </a:moveTo>
                  <a:lnTo>
                    <a:pt x="195" y="206"/>
                  </a:lnTo>
                  <a:lnTo>
                    <a:pt x="195" y="204"/>
                  </a:lnTo>
                  <a:lnTo>
                    <a:pt x="195" y="206"/>
                  </a:lnTo>
                  <a:lnTo>
                    <a:pt x="195" y="204"/>
                  </a:lnTo>
                  <a:lnTo>
                    <a:pt x="195" y="206"/>
                  </a:lnTo>
                  <a:lnTo>
                    <a:pt x="195" y="206"/>
                  </a:lnTo>
                  <a:lnTo>
                    <a:pt x="195" y="204"/>
                  </a:lnTo>
                  <a:lnTo>
                    <a:pt x="195" y="204"/>
                  </a:lnTo>
                  <a:lnTo>
                    <a:pt x="195" y="204"/>
                  </a:lnTo>
                  <a:lnTo>
                    <a:pt x="195" y="204"/>
                  </a:lnTo>
                  <a:lnTo>
                    <a:pt x="195" y="204"/>
                  </a:lnTo>
                  <a:lnTo>
                    <a:pt x="195" y="204"/>
                  </a:lnTo>
                  <a:lnTo>
                    <a:pt x="195" y="204"/>
                  </a:lnTo>
                  <a:lnTo>
                    <a:pt x="195" y="204"/>
                  </a:lnTo>
                  <a:close/>
                  <a:moveTo>
                    <a:pt x="225" y="202"/>
                  </a:moveTo>
                  <a:lnTo>
                    <a:pt x="227" y="202"/>
                  </a:lnTo>
                  <a:lnTo>
                    <a:pt x="225" y="202"/>
                  </a:lnTo>
                  <a:close/>
                  <a:moveTo>
                    <a:pt x="227" y="202"/>
                  </a:moveTo>
                  <a:lnTo>
                    <a:pt x="229" y="202"/>
                  </a:lnTo>
                  <a:lnTo>
                    <a:pt x="227" y="202"/>
                  </a:lnTo>
                  <a:close/>
                  <a:moveTo>
                    <a:pt x="207" y="202"/>
                  </a:moveTo>
                  <a:lnTo>
                    <a:pt x="207" y="204"/>
                  </a:lnTo>
                  <a:lnTo>
                    <a:pt x="207" y="202"/>
                  </a:lnTo>
                  <a:close/>
                  <a:moveTo>
                    <a:pt x="227" y="202"/>
                  </a:moveTo>
                  <a:lnTo>
                    <a:pt x="225" y="202"/>
                  </a:lnTo>
                  <a:lnTo>
                    <a:pt x="227" y="202"/>
                  </a:lnTo>
                  <a:close/>
                  <a:moveTo>
                    <a:pt x="229" y="202"/>
                  </a:moveTo>
                  <a:lnTo>
                    <a:pt x="227" y="202"/>
                  </a:lnTo>
                  <a:lnTo>
                    <a:pt x="229" y="202"/>
                  </a:lnTo>
                  <a:close/>
                  <a:moveTo>
                    <a:pt x="201" y="204"/>
                  </a:moveTo>
                  <a:lnTo>
                    <a:pt x="201" y="202"/>
                  </a:lnTo>
                  <a:lnTo>
                    <a:pt x="201" y="204"/>
                  </a:lnTo>
                  <a:close/>
                  <a:moveTo>
                    <a:pt x="201" y="204"/>
                  </a:moveTo>
                  <a:lnTo>
                    <a:pt x="201" y="202"/>
                  </a:lnTo>
                  <a:lnTo>
                    <a:pt x="201" y="204"/>
                  </a:lnTo>
                  <a:close/>
                  <a:moveTo>
                    <a:pt x="203" y="202"/>
                  </a:moveTo>
                  <a:lnTo>
                    <a:pt x="203" y="204"/>
                  </a:lnTo>
                  <a:lnTo>
                    <a:pt x="203" y="202"/>
                  </a:lnTo>
                  <a:close/>
                  <a:moveTo>
                    <a:pt x="203" y="202"/>
                  </a:moveTo>
                  <a:lnTo>
                    <a:pt x="201" y="202"/>
                  </a:lnTo>
                  <a:lnTo>
                    <a:pt x="203" y="202"/>
                  </a:lnTo>
                  <a:lnTo>
                    <a:pt x="203" y="204"/>
                  </a:lnTo>
                  <a:lnTo>
                    <a:pt x="201" y="204"/>
                  </a:lnTo>
                  <a:lnTo>
                    <a:pt x="201" y="202"/>
                  </a:lnTo>
                  <a:lnTo>
                    <a:pt x="203" y="202"/>
                  </a:lnTo>
                  <a:close/>
                  <a:moveTo>
                    <a:pt x="227" y="202"/>
                  </a:moveTo>
                  <a:lnTo>
                    <a:pt x="225" y="202"/>
                  </a:lnTo>
                  <a:lnTo>
                    <a:pt x="227" y="202"/>
                  </a:lnTo>
                  <a:close/>
                  <a:moveTo>
                    <a:pt x="207" y="202"/>
                  </a:moveTo>
                  <a:lnTo>
                    <a:pt x="207" y="204"/>
                  </a:lnTo>
                  <a:lnTo>
                    <a:pt x="207" y="202"/>
                  </a:lnTo>
                  <a:close/>
                  <a:moveTo>
                    <a:pt x="225" y="202"/>
                  </a:moveTo>
                  <a:lnTo>
                    <a:pt x="223" y="202"/>
                  </a:lnTo>
                  <a:lnTo>
                    <a:pt x="225" y="202"/>
                  </a:lnTo>
                  <a:close/>
                  <a:moveTo>
                    <a:pt x="124" y="204"/>
                  </a:moveTo>
                  <a:lnTo>
                    <a:pt x="126" y="204"/>
                  </a:lnTo>
                  <a:lnTo>
                    <a:pt x="124" y="204"/>
                  </a:lnTo>
                  <a:lnTo>
                    <a:pt x="126" y="204"/>
                  </a:lnTo>
                  <a:lnTo>
                    <a:pt x="124" y="204"/>
                  </a:lnTo>
                  <a:close/>
                  <a:moveTo>
                    <a:pt x="227" y="202"/>
                  </a:moveTo>
                  <a:lnTo>
                    <a:pt x="225" y="202"/>
                  </a:lnTo>
                  <a:lnTo>
                    <a:pt x="227" y="202"/>
                  </a:lnTo>
                  <a:close/>
                  <a:moveTo>
                    <a:pt x="195" y="202"/>
                  </a:moveTo>
                  <a:lnTo>
                    <a:pt x="195" y="202"/>
                  </a:lnTo>
                  <a:lnTo>
                    <a:pt x="195" y="202"/>
                  </a:lnTo>
                  <a:lnTo>
                    <a:pt x="195" y="202"/>
                  </a:lnTo>
                  <a:lnTo>
                    <a:pt x="195" y="204"/>
                  </a:lnTo>
                  <a:lnTo>
                    <a:pt x="195" y="204"/>
                  </a:lnTo>
                  <a:lnTo>
                    <a:pt x="195" y="202"/>
                  </a:lnTo>
                  <a:lnTo>
                    <a:pt x="195" y="204"/>
                  </a:lnTo>
                  <a:lnTo>
                    <a:pt x="195" y="202"/>
                  </a:lnTo>
                  <a:close/>
                  <a:moveTo>
                    <a:pt x="122" y="204"/>
                  </a:moveTo>
                  <a:lnTo>
                    <a:pt x="124" y="204"/>
                  </a:lnTo>
                  <a:lnTo>
                    <a:pt x="122" y="204"/>
                  </a:lnTo>
                  <a:close/>
                  <a:moveTo>
                    <a:pt x="201" y="202"/>
                  </a:moveTo>
                  <a:lnTo>
                    <a:pt x="203" y="202"/>
                  </a:lnTo>
                  <a:lnTo>
                    <a:pt x="201" y="202"/>
                  </a:lnTo>
                  <a:close/>
                  <a:moveTo>
                    <a:pt x="203" y="202"/>
                  </a:moveTo>
                  <a:lnTo>
                    <a:pt x="201" y="202"/>
                  </a:lnTo>
                  <a:lnTo>
                    <a:pt x="203" y="202"/>
                  </a:lnTo>
                  <a:close/>
                  <a:moveTo>
                    <a:pt x="205" y="202"/>
                  </a:moveTo>
                  <a:lnTo>
                    <a:pt x="203" y="202"/>
                  </a:lnTo>
                  <a:lnTo>
                    <a:pt x="205" y="202"/>
                  </a:lnTo>
                  <a:close/>
                  <a:moveTo>
                    <a:pt x="221" y="202"/>
                  </a:moveTo>
                  <a:lnTo>
                    <a:pt x="221" y="200"/>
                  </a:lnTo>
                  <a:lnTo>
                    <a:pt x="223" y="200"/>
                  </a:lnTo>
                  <a:lnTo>
                    <a:pt x="223" y="202"/>
                  </a:lnTo>
                  <a:lnTo>
                    <a:pt x="221" y="202"/>
                  </a:lnTo>
                  <a:close/>
                  <a:moveTo>
                    <a:pt x="205" y="202"/>
                  </a:moveTo>
                  <a:lnTo>
                    <a:pt x="203" y="202"/>
                  </a:lnTo>
                  <a:lnTo>
                    <a:pt x="205" y="202"/>
                  </a:lnTo>
                  <a:close/>
                  <a:moveTo>
                    <a:pt x="219" y="200"/>
                  </a:moveTo>
                  <a:lnTo>
                    <a:pt x="219" y="202"/>
                  </a:lnTo>
                  <a:lnTo>
                    <a:pt x="219" y="200"/>
                  </a:lnTo>
                  <a:close/>
                  <a:moveTo>
                    <a:pt x="205" y="202"/>
                  </a:moveTo>
                  <a:lnTo>
                    <a:pt x="207" y="202"/>
                  </a:lnTo>
                  <a:lnTo>
                    <a:pt x="205" y="202"/>
                  </a:lnTo>
                  <a:close/>
                  <a:moveTo>
                    <a:pt x="195" y="202"/>
                  </a:moveTo>
                  <a:lnTo>
                    <a:pt x="195" y="202"/>
                  </a:lnTo>
                  <a:lnTo>
                    <a:pt x="195" y="202"/>
                  </a:lnTo>
                  <a:lnTo>
                    <a:pt x="195" y="202"/>
                  </a:lnTo>
                  <a:lnTo>
                    <a:pt x="195" y="202"/>
                  </a:lnTo>
                  <a:lnTo>
                    <a:pt x="195" y="202"/>
                  </a:lnTo>
                  <a:lnTo>
                    <a:pt x="195" y="202"/>
                  </a:lnTo>
                  <a:close/>
                  <a:moveTo>
                    <a:pt x="219" y="200"/>
                  </a:moveTo>
                  <a:lnTo>
                    <a:pt x="217" y="200"/>
                  </a:lnTo>
                  <a:lnTo>
                    <a:pt x="219" y="200"/>
                  </a:lnTo>
                  <a:close/>
                  <a:moveTo>
                    <a:pt x="205" y="202"/>
                  </a:moveTo>
                  <a:lnTo>
                    <a:pt x="203" y="202"/>
                  </a:lnTo>
                  <a:lnTo>
                    <a:pt x="205" y="202"/>
                  </a:lnTo>
                  <a:close/>
                  <a:moveTo>
                    <a:pt x="195" y="202"/>
                  </a:moveTo>
                  <a:lnTo>
                    <a:pt x="195" y="202"/>
                  </a:lnTo>
                  <a:lnTo>
                    <a:pt x="195" y="202"/>
                  </a:lnTo>
                  <a:lnTo>
                    <a:pt x="195" y="202"/>
                  </a:lnTo>
                  <a:lnTo>
                    <a:pt x="195" y="202"/>
                  </a:lnTo>
                  <a:close/>
                  <a:moveTo>
                    <a:pt x="207" y="202"/>
                  </a:moveTo>
                  <a:lnTo>
                    <a:pt x="207" y="200"/>
                  </a:lnTo>
                  <a:lnTo>
                    <a:pt x="207" y="202"/>
                  </a:lnTo>
                  <a:close/>
                  <a:moveTo>
                    <a:pt x="203" y="202"/>
                  </a:moveTo>
                  <a:lnTo>
                    <a:pt x="205" y="202"/>
                  </a:lnTo>
                  <a:lnTo>
                    <a:pt x="203" y="202"/>
                  </a:lnTo>
                  <a:lnTo>
                    <a:pt x="203" y="200"/>
                  </a:lnTo>
                  <a:lnTo>
                    <a:pt x="203" y="202"/>
                  </a:lnTo>
                  <a:close/>
                  <a:moveTo>
                    <a:pt x="219" y="200"/>
                  </a:moveTo>
                  <a:lnTo>
                    <a:pt x="217" y="200"/>
                  </a:lnTo>
                  <a:lnTo>
                    <a:pt x="219" y="200"/>
                  </a:lnTo>
                  <a:close/>
                  <a:moveTo>
                    <a:pt x="195" y="202"/>
                  </a:moveTo>
                  <a:lnTo>
                    <a:pt x="195" y="202"/>
                  </a:lnTo>
                  <a:lnTo>
                    <a:pt x="195" y="202"/>
                  </a:lnTo>
                  <a:close/>
                  <a:moveTo>
                    <a:pt x="207" y="200"/>
                  </a:moveTo>
                  <a:lnTo>
                    <a:pt x="207" y="202"/>
                  </a:lnTo>
                  <a:lnTo>
                    <a:pt x="209" y="202"/>
                  </a:lnTo>
                  <a:lnTo>
                    <a:pt x="207" y="202"/>
                  </a:lnTo>
                  <a:lnTo>
                    <a:pt x="207" y="200"/>
                  </a:lnTo>
                  <a:close/>
                  <a:moveTo>
                    <a:pt x="217" y="200"/>
                  </a:moveTo>
                  <a:lnTo>
                    <a:pt x="219" y="200"/>
                  </a:lnTo>
                  <a:lnTo>
                    <a:pt x="217" y="200"/>
                  </a:lnTo>
                  <a:close/>
                  <a:moveTo>
                    <a:pt x="205" y="200"/>
                  </a:moveTo>
                  <a:lnTo>
                    <a:pt x="205" y="202"/>
                  </a:lnTo>
                  <a:lnTo>
                    <a:pt x="205" y="200"/>
                  </a:lnTo>
                  <a:close/>
                  <a:moveTo>
                    <a:pt x="201" y="200"/>
                  </a:moveTo>
                  <a:lnTo>
                    <a:pt x="201" y="202"/>
                  </a:lnTo>
                  <a:lnTo>
                    <a:pt x="201" y="200"/>
                  </a:lnTo>
                  <a:lnTo>
                    <a:pt x="201" y="202"/>
                  </a:lnTo>
                  <a:lnTo>
                    <a:pt x="201" y="200"/>
                  </a:lnTo>
                  <a:close/>
                  <a:moveTo>
                    <a:pt x="205" y="200"/>
                  </a:moveTo>
                  <a:lnTo>
                    <a:pt x="203" y="200"/>
                  </a:lnTo>
                  <a:lnTo>
                    <a:pt x="205" y="200"/>
                  </a:lnTo>
                  <a:close/>
                  <a:moveTo>
                    <a:pt x="203" y="200"/>
                  </a:moveTo>
                  <a:lnTo>
                    <a:pt x="205" y="200"/>
                  </a:lnTo>
                  <a:lnTo>
                    <a:pt x="203" y="200"/>
                  </a:lnTo>
                  <a:close/>
                  <a:moveTo>
                    <a:pt x="203" y="200"/>
                  </a:moveTo>
                  <a:lnTo>
                    <a:pt x="201" y="200"/>
                  </a:lnTo>
                  <a:lnTo>
                    <a:pt x="203" y="200"/>
                  </a:lnTo>
                  <a:close/>
                  <a:moveTo>
                    <a:pt x="195" y="200"/>
                  </a:moveTo>
                  <a:lnTo>
                    <a:pt x="195" y="202"/>
                  </a:lnTo>
                  <a:lnTo>
                    <a:pt x="195" y="200"/>
                  </a:lnTo>
                  <a:close/>
                  <a:moveTo>
                    <a:pt x="219" y="200"/>
                  </a:moveTo>
                  <a:lnTo>
                    <a:pt x="217" y="200"/>
                  </a:lnTo>
                  <a:lnTo>
                    <a:pt x="219" y="200"/>
                  </a:lnTo>
                  <a:close/>
                  <a:moveTo>
                    <a:pt x="195" y="200"/>
                  </a:moveTo>
                  <a:lnTo>
                    <a:pt x="195" y="202"/>
                  </a:lnTo>
                  <a:lnTo>
                    <a:pt x="195" y="200"/>
                  </a:lnTo>
                  <a:close/>
                  <a:moveTo>
                    <a:pt x="219" y="200"/>
                  </a:moveTo>
                  <a:lnTo>
                    <a:pt x="217" y="200"/>
                  </a:lnTo>
                  <a:lnTo>
                    <a:pt x="219" y="200"/>
                  </a:lnTo>
                  <a:close/>
                  <a:moveTo>
                    <a:pt x="203" y="200"/>
                  </a:moveTo>
                  <a:lnTo>
                    <a:pt x="201" y="200"/>
                  </a:lnTo>
                  <a:lnTo>
                    <a:pt x="203" y="200"/>
                  </a:lnTo>
                  <a:close/>
                  <a:moveTo>
                    <a:pt x="203" y="200"/>
                  </a:moveTo>
                  <a:lnTo>
                    <a:pt x="201" y="200"/>
                  </a:lnTo>
                  <a:lnTo>
                    <a:pt x="203" y="200"/>
                  </a:lnTo>
                  <a:close/>
                  <a:moveTo>
                    <a:pt x="219" y="200"/>
                  </a:moveTo>
                  <a:lnTo>
                    <a:pt x="217" y="200"/>
                  </a:lnTo>
                  <a:lnTo>
                    <a:pt x="219" y="200"/>
                  </a:lnTo>
                  <a:close/>
                  <a:moveTo>
                    <a:pt x="219" y="198"/>
                  </a:moveTo>
                  <a:lnTo>
                    <a:pt x="219" y="200"/>
                  </a:lnTo>
                  <a:lnTo>
                    <a:pt x="219" y="198"/>
                  </a:lnTo>
                  <a:close/>
                  <a:moveTo>
                    <a:pt x="104" y="202"/>
                  </a:moveTo>
                  <a:lnTo>
                    <a:pt x="102" y="202"/>
                  </a:lnTo>
                  <a:lnTo>
                    <a:pt x="104" y="202"/>
                  </a:lnTo>
                  <a:lnTo>
                    <a:pt x="104" y="200"/>
                  </a:lnTo>
                  <a:lnTo>
                    <a:pt x="104" y="202"/>
                  </a:lnTo>
                  <a:close/>
                  <a:moveTo>
                    <a:pt x="128" y="200"/>
                  </a:moveTo>
                  <a:lnTo>
                    <a:pt x="130" y="200"/>
                  </a:lnTo>
                  <a:lnTo>
                    <a:pt x="128" y="200"/>
                  </a:lnTo>
                  <a:close/>
                  <a:moveTo>
                    <a:pt x="197" y="198"/>
                  </a:moveTo>
                  <a:lnTo>
                    <a:pt x="197" y="200"/>
                  </a:lnTo>
                  <a:lnTo>
                    <a:pt x="197" y="198"/>
                  </a:lnTo>
                  <a:lnTo>
                    <a:pt x="197" y="200"/>
                  </a:lnTo>
                  <a:lnTo>
                    <a:pt x="197" y="198"/>
                  </a:lnTo>
                  <a:lnTo>
                    <a:pt x="199" y="198"/>
                  </a:lnTo>
                  <a:lnTo>
                    <a:pt x="199" y="200"/>
                  </a:lnTo>
                  <a:lnTo>
                    <a:pt x="197" y="200"/>
                  </a:lnTo>
                  <a:lnTo>
                    <a:pt x="197" y="198"/>
                  </a:lnTo>
                  <a:close/>
                  <a:moveTo>
                    <a:pt x="199" y="198"/>
                  </a:moveTo>
                  <a:lnTo>
                    <a:pt x="197" y="198"/>
                  </a:lnTo>
                  <a:lnTo>
                    <a:pt x="199" y="198"/>
                  </a:lnTo>
                  <a:close/>
                  <a:moveTo>
                    <a:pt x="195" y="198"/>
                  </a:moveTo>
                  <a:lnTo>
                    <a:pt x="195" y="198"/>
                  </a:lnTo>
                  <a:lnTo>
                    <a:pt x="195" y="198"/>
                  </a:lnTo>
                  <a:close/>
                  <a:moveTo>
                    <a:pt x="201" y="198"/>
                  </a:moveTo>
                  <a:lnTo>
                    <a:pt x="199" y="198"/>
                  </a:lnTo>
                  <a:lnTo>
                    <a:pt x="199" y="200"/>
                  </a:lnTo>
                  <a:lnTo>
                    <a:pt x="199" y="198"/>
                  </a:lnTo>
                  <a:lnTo>
                    <a:pt x="199" y="200"/>
                  </a:lnTo>
                  <a:lnTo>
                    <a:pt x="199" y="198"/>
                  </a:lnTo>
                  <a:lnTo>
                    <a:pt x="199" y="200"/>
                  </a:lnTo>
                  <a:lnTo>
                    <a:pt x="199" y="198"/>
                  </a:lnTo>
                  <a:lnTo>
                    <a:pt x="201" y="198"/>
                  </a:lnTo>
                  <a:close/>
                  <a:moveTo>
                    <a:pt x="197" y="198"/>
                  </a:moveTo>
                  <a:lnTo>
                    <a:pt x="199" y="198"/>
                  </a:lnTo>
                  <a:lnTo>
                    <a:pt x="197" y="198"/>
                  </a:lnTo>
                  <a:close/>
                  <a:moveTo>
                    <a:pt x="195" y="198"/>
                  </a:moveTo>
                  <a:lnTo>
                    <a:pt x="195" y="200"/>
                  </a:lnTo>
                  <a:lnTo>
                    <a:pt x="195" y="198"/>
                  </a:lnTo>
                  <a:close/>
                  <a:moveTo>
                    <a:pt x="104" y="200"/>
                  </a:moveTo>
                  <a:lnTo>
                    <a:pt x="104" y="198"/>
                  </a:lnTo>
                  <a:lnTo>
                    <a:pt x="104" y="200"/>
                  </a:lnTo>
                  <a:close/>
                  <a:moveTo>
                    <a:pt x="217" y="196"/>
                  </a:moveTo>
                  <a:lnTo>
                    <a:pt x="217" y="198"/>
                  </a:lnTo>
                  <a:lnTo>
                    <a:pt x="217" y="196"/>
                  </a:lnTo>
                  <a:lnTo>
                    <a:pt x="217" y="198"/>
                  </a:lnTo>
                  <a:lnTo>
                    <a:pt x="217" y="196"/>
                  </a:lnTo>
                  <a:close/>
                  <a:moveTo>
                    <a:pt x="201" y="198"/>
                  </a:moveTo>
                  <a:lnTo>
                    <a:pt x="201" y="200"/>
                  </a:lnTo>
                  <a:lnTo>
                    <a:pt x="201" y="198"/>
                  </a:lnTo>
                  <a:lnTo>
                    <a:pt x="201" y="200"/>
                  </a:lnTo>
                  <a:lnTo>
                    <a:pt x="199" y="200"/>
                  </a:lnTo>
                  <a:lnTo>
                    <a:pt x="199" y="198"/>
                  </a:lnTo>
                  <a:lnTo>
                    <a:pt x="201" y="198"/>
                  </a:lnTo>
                  <a:lnTo>
                    <a:pt x="201" y="200"/>
                  </a:lnTo>
                  <a:lnTo>
                    <a:pt x="201" y="198"/>
                  </a:lnTo>
                  <a:lnTo>
                    <a:pt x="201" y="200"/>
                  </a:lnTo>
                  <a:lnTo>
                    <a:pt x="201" y="198"/>
                  </a:lnTo>
                  <a:close/>
                  <a:moveTo>
                    <a:pt x="201" y="196"/>
                  </a:moveTo>
                  <a:lnTo>
                    <a:pt x="201" y="198"/>
                  </a:lnTo>
                  <a:lnTo>
                    <a:pt x="201" y="196"/>
                  </a:lnTo>
                  <a:close/>
                  <a:moveTo>
                    <a:pt x="201" y="198"/>
                  </a:moveTo>
                  <a:lnTo>
                    <a:pt x="201" y="196"/>
                  </a:lnTo>
                  <a:lnTo>
                    <a:pt x="201" y="198"/>
                  </a:lnTo>
                  <a:close/>
                  <a:moveTo>
                    <a:pt x="199" y="198"/>
                  </a:moveTo>
                  <a:lnTo>
                    <a:pt x="199" y="196"/>
                  </a:lnTo>
                  <a:lnTo>
                    <a:pt x="199" y="198"/>
                  </a:lnTo>
                  <a:close/>
                  <a:moveTo>
                    <a:pt x="197" y="198"/>
                  </a:moveTo>
                  <a:lnTo>
                    <a:pt x="197" y="196"/>
                  </a:lnTo>
                  <a:lnTo>
                    <a:pt x="197" y="198"/>
                  </a:lnTo>
                  <a:close/>
                  <a:moveTo>
                    <a:pt x="195" y="196"/>
                  </a:moveTo>
                  <a:lnTo>
                    <a:pt x="195" y="198"/>
                  </a:lnTo>
                  <a:lnTo>
                    <a:pt x="195" y="196"/>
                  </a:lnTo>
                  <a:close/>
                  <a:moveTo>
                    <a:pt x="195" y="196"/>
                  </a:moveTo>
                  <a:lnTo>
                    <a:pt x="195" y="198"/>
                  </a:lnTo>
                  <a:lnTo>
                    <a:pt x="195" y="196"/>
                  </a:lnTo>
                  <a:close/>
                  <a:moveTo>
                    <a:pt x="197" y="196"/>
                  </a:moveTo>
                  <a:lnTo>
                    <a:pt x="199" y="196"/>
                  </a:lnTo>
                  <a:lnTo>
                    <a:pt x="197" y="196"/>
                  </a:lnTo>
                  <a:close/>
                  <a:moveTo>
                    <a:pt x="195" y="196"/>
                  </a:moveTo>
                  <a:lnTo>
                    <a:pt x="195" y="198"/>
                  </a:lnTo>
                  <a:lnTo>
                    <a:pt x="195" y="196"/>
                  </a:lnTo>
                  <a:close/>
                  <a:moveTo>
                    <a:pt x="197" y="196"/>
                  </a:moveTo>
                  <a:lnTo>
                    <a:pt x="197" y="198"/>
                  </a:lnTo>
                  <a:lnTo>
                    <a:pt x="195" y="198"/>
                  </a:lnTo>
                  <a:lnTo>
                    <a:pt x="197" y="198"/>
                  </a:lnTo>
                  <a:lnTo>
                    <a:pt x="195" y="198"/>
                  </a:lnTo>
                  <a:lnTo>
                    <a:pt x="195" y="196"/>
                  </a:lnTo>
                  <a:lnTo>
                    <a:pt x="197" y="196"/>
                  </a:lnTo>
                  <a:lnTo>
                    <a:pt x="197" y="198"/>
                  </a:lnTo>
                  <a:lnTo>
                    <a:pt x="197" y="196"/>
                  </a:lnTo>
                  <a:lnTo>
                    <a:pt x="195" y="196"/>
                  </a:lnTo>
                  <a:lnTo>
                    <a:pt x="197" y="196"/>
                  </a:lnTo>
                  <a:close/>
                  <a:moveTo>
                    <a:pt x="132" y="198"/>
                  </a:moveTo>
                  <a:lnTo>
                    <a:pt x="130" y="198"/>
                  </a:lnTo>
                  <a:lnTo>
                    <a:pt x="130" y="196"/>
                  </a:lnTo>
                  <a:lnTo>
                    <a:pt x="132" y="196"/>
                  </a:lnTo>
                  <a:lnTo>
                    <a:pt x="132" y="198"/>
                  </a:lnTo>
                  <a:close/>
                  <a:moveTo>
                    <a:pt x="195" y="194"/>
                  </a:moveTo>
                  <a:lnTo>
                    <a:pt x="195" y="196"/>
                  </a:lnTo>
                  <a:lnTo>
                    <a:pt x="195" y="194"/>
                  </a:lnTo>
                  <a:lnTo>
                    <a:pt x="195" y="196"/>
                  </a:lnTo>
                  <a:lnTo>
                    <a:pt x="197" y="196"/>
                  </a:lnTo>
                  <a:lnTo>
                    <a:pt x="195" y="196"/>
                  </a:lnTo>
                  <a:lnTo>
                    <a:pt x="195" y="194"/>
                  </a:lnTo>
                  <a:close/>
                  <a:moveTo>
                    <a:pt x="98" y="196"/>
                  </a:moveTo>
                  <a:lnTo>
                    <a:pt x="96" y="196"/>
                  </a:lnTo>
                  <a:lnTo>
                    <a:pt x="98" y="196"/>
                  </a:lnTo>
                  <a:close/>
                  <a:moveTo>
                    <a:pt x="197" y="194"/>
                  </a:moveTo>
                  <a:lnTo>
                    <a:pt x="197" y="196"/>
                  </a:lnTo>
                  <a:lnTo>
                    <a:pt x="195" y="196"/>
                  </a:lnTo>
                  <a:lnTo>
                    <a:pt x="195" y="194"/>
                  </a:lnTo>
                  <a:lnTo>
                    <a:pt x="195" y="196"/>
                  </a:lnTo>
                  <a:lnTo>
                    <a:pt x="195" y="194"/>
                  </a:lnTo>
                  <a:lnTo>
                    <a:pt x="195" y="196"/>
                  </a:lnTo>
                  <a:lnTo>
                    <a:pt x="197" y="196"/>
                  </a:lnTo>
                  <a:lnTo>
                    <a:pt x="195" y="196"/>
                  </a:lnTo>
                  <a:lnTo>
                    <a:pt x="195" y="194"/>
                  </a:lnTo>
                  <a:lnTo>
                    <a:pt x="197" y="194"/>
                  </a:lnTo>
                  <a:lnTo>
                    <a:pt x="195" y="194"/>
                  </a:lnTo>
                  <a:lnTo>
                    <a:pt x="197" y="194"/>
                  </a:lnTo>
                  <a:lnTo>
                    <a:pt x="197" y="196"/>
                  </a:lnTo>
                  <a:lnTo>
                    <a:pt x="197" y="194"/>
                  </a:lnTo>
                  <a:lnTo>
                    <a:pt x="197" y="196"/>
                  </a:lnTo>
                  <a:lnTo>
                    <a:pt x="195" y="196"/>
                  </a:lnTo>
                  <a:lnTo>
                    <a:pt x="197" y="196"/>
                  </a:lnTo>
                  <a:lnTo>
                    <a:pt x="197" y="194"/>
                  </a:lnTo>
                  <a:lnTo>
                    <a:pt x="197" y="196"/>
                  </a:lnTo>
                  <a:lnTo>
                    <a:pt x="197" y="194"/>
                  </a:lnTo>
                  <a:close/>
                  <a:moveTo>
                    <a:pt x="122" y="194"/>
                  </a:moveTo>
                  <a:lnTo>
                    <a:pt x="122" y="196"/>
                  </a:lnTo>
                  <a:lnTo>
                    <a:pt x="122" y="194"/>
                  </a:lnTo>
                  <a:lnTo>
                    <a:pt x="122" y="196"/>
                  </a:lnTo>
                  <a:lnTo>
                    <a:pt x="122" y="194"/>
                  </a:lnTo>
                  <a:close/>
                  <a:moveTo>
                    <a:pt x="96" y="194"/>
                  </a:moveTo>
                  <a:lnTo>
                    <a:pt x="98" y="194"/>
                  </a:lnTo>
                  <a:lnTo>
                    <a:pt x="96" y="194"/>
                  </a:lnTo>
                  <a:close/>
                  <a:moveTo>
                    <a:pt x="124" y="194"/>
                  </a:moveTo>
                  <a:lnTo>
                    <a:pt x="126" y="194"/>
                  </a:lnTo>
                  <a:lnTo>
                    <a:pt x="126" y="196"/>
                  </a:lnTo>
                  <a:lnTo>
                    <a:pt x="124" y="196"/>
                  </a:lnTo>
                  <a:lnTo>
                    <a:pt x="124" y="194"/>
                  </a:lnTo>
                  <a:close/>
                  <a:moveTo>
                    <a:pt x="100" y="192"/>
                  </a:moveTo>
                  <a:lnTo>
                    <a:pt x="102" y="192"/>
                  </a:lnTo>
                  <a:lnTo>
                    <a:pt x="104" y="192"/>
                  </a:lnTo>
                  <a:lnTo>
                    <a:pt x="104" y="192"/>
                  </a:lnTo>
                  <a:lnTo>
                    <a:pt x="104" y="194"/>
                  </a:lnTo>
                  <a:lnTo>
                    <a:pt x="104" y="192"/>
                  </a:lnTo>
                  <a:lnTo>
                    <a:pt x="104" y="194"/>
                  </a:lnTo>
                  <a:lnTo>
                    <a:pt x="104" y="192"/>
                  </a:lnTo>
                  <a:lnTo>
                    <a:pt x="106" y="192"/>
                  </a:lnTo>
                  <a:lnTo>
                    <a:pt x="106" y="194"/>
                  </a:lnTo>
                  <a:lnTo>
                    <a:pt x="106" y="192"/>
                  </a:lnTo>
                  <a:lnTo>
                    <a:pt x="108" y="192"/>
                  </a:lnTo>
                  <a:lnTo>
                    <a:pt x="108" y="194"/>
                  </a:lnTo>
                  <a:lnTo>
                    <a:pt x="110" y="194"/>
                  </a:lnTo>
                  <a:lnTo>
                    <a:pt x="108" y="194"/>
                  </a:lnTo>
                  <a:lnTo>
                    <a:pt x="108" y="196"/>
                  </a:lnTo>
                  <a:lnTo>
                    <a:pt x="106" y="196"/>
                  </a:lnTo>
                  <a:lnTo>
                    <a:pt x="106" y="198"/>
                  </a:lnTo>
                  <a:lnTo>
                    <a:pt x="104" y="198"/>
                  </a:lnTo>
                  <a:lnTo>
                    <a:pt x="102" y="198"/>
                  </a:lnTo>
                  <a:lnTo>
                    <a:pt x="100" y="198"/>
                  </a:lnTo>
                  <a:lnTo>
                    <a:pt x="100" y="196"/>
                  </a:lnTo>
                  <a:lnTo>
                    <a:pt x="98" y="196"/>
                  </a:lnTo>
                  <a:lnTo>
                    <a:pt x="98" y="196"/>
                  </a:lnTo>
                  <a:lnTo>
                    <a:pt x="98" y="194"/>
                  </a:lnTo>
                  <a:lnTo>
                    <a:pt x="96" y="194"/>
                  </a:lnTo>
                  <a:lnTo>
                    <a:pt x="94" y="194"/>
                  </a:lnTo>
                  <a:lnTo>
                    <a:pt x="94" y="192"/>
                  </a:lnTo>
                  <a:lnTo>
                    <a:pt x="96" y="192"/>
                  </a:lnTo>
                  <a:lnTo>
                    <a:pt x="96" y="192"/>
                  </a:lnTo>
                  <a:lnTo>
                    <a:pt x="98" y="192"/>
                  </a:lnTo>
                  <a:lnTo>
                    <a:pt x="96" y="192"/>
                  </a:lnTo>
                  <a:lnTo>
                    <a:pt x="98" y="192"/>
                  </a:lnTo>
                  <a:lnTo>
                    <a:pt x="98" y="192"/>
                  </a:lnTo>
                  <a:lnTo>
                    <a:pt x="96" y="192"/>
                  </a:lnTo>
                  <a:lnTo>
                    <a:pt x="98" y="192"/>
                  </a:lnTo>
                  <a:lnTo>
                    <a:pt x="98" y="192"/>
                  </a:lnTo>
                  <a:lnTo>
                    <a:pt x="100" y="192"/>
                  </a:lnTo>
                  <a:close/>
                  <a:moveTo>
                    <a:pt x="219" y="188"/>
                  </a:moveTo>
                  <a:lnTo>
                    <a:pt x="219" y="190"/>
                  </a:lnTo>
                  <a:lnTo>
                    <a:pt x="219" y="188"/>
                  </a:lnTo>
                  <a:close/>
                  <a:moveTo>
                    <a:pt x="217" y="188"/>
                  </a:moveTo>
                  <a:lnTo>
                    <a:pt x="219" y="188"/>
                  </a:lnTo>
                  <a:lnTo>
                    <a:pt x="217" y="188"/>
                  </a:lnTo>
                  <a:close/>
                  <a:moveTo>
                    <a:pt x="221" y="188"/>
                  </a:moveTo>
                  <a:lnTo>
                    <a:pt x="223" y="188"/>
                  </a:lnTo>
                  <a:lnTo>
                    <a:pt x="221" y="188"/>
                  </a:lnTo>
                  <a:close/>
                  <a:moveTo>
                    <a:pt x="211" y="188"/>
                  </a:moveTo>
                  <a:lnTo>
                    <a:pt x="213" y="188"/>
                  </a:lnTo>
                  <a:lnTo>
                    <a:pt x="211" y="188"/>
                  </a:lnTo>
                  <a:close/>
                  <a:moveTo>
                    <a:pt x="223" y="188"/>
                  </a:moveTo>
                  <a:lnTo>
                    <a:pt x="221" y="188"/>
                  </a:lnTo>
                  <a:lnTo>
                    <a:pt x="223" y="188"/>
                  </a:lnTo>
                  <a:close/>
                  <a:moveTo>
                    <a:pt x="211" y="188"/>
                  </a:moveTo>
                  <a:lnTo>
                    <a:pt x="209" y="188"/>
                  </a:lnTo>
                  <a:lnTo>
                    <a:pt x="211" y="188"/>
                  </a:lnTo>
                  <a:close/>
                  <a:moveTo>
                    <a:pt x="221" y="186"/>
                  </a:moveTo>
                  <a:lnTo>
                    <a:pt x="221" y="188"/>
                  </a:lnTo>
                  <a:lnTo>
                    <a:pt x="221" y="186"/>
                  </a:lnTo>
                  <a:close/>
                  <a:moveTo>
                    <a:pt x="223" y="186"/>
                  </a:moveTo>
                  <a:lnTo>
                    <a:pt x="223" y="188"/>
                  </a:lnTo>
                  <a:lnTo>
                    <a:pt x="223" y="186"/>
                  </a:lnTo>
                  <a:lnTo>
                    <a:pt x="221" y="186"/>
                  </a:lnTo>
                  <a:lnTo>
                    <a:pt x="223" y="186"/>
                  </a:lnTo>
                  <a:lnTo>
                    <a:pt x="221" y="186"/>
                  </a:lnTo>
                  <a:lnTo>
                    <a:pt x="223" y="186"/>
                  </a:lnTo>
                  <a:close/>
                  <a:moveTo>
                    <a:pt x="223" y="188"/>
                  </a:moveTo>
                  <a:lnTo>
                    <a:pt x="221" y="188"/>
                  </a:lnTo>
                  <a:lnTo>
                    <a:pt x="221" y="186"/>
                  </a:lnTo>
                  <a:lnTo>
                    <a:pt x="223" y="186"/>
                  </a:lnTo>
                  <a:lnTo>
                    <a:pt x="221" y="186"/>
                  </a:lnTo>
                  <a:lnTo>
                    <a:pt x="223" y="186"/>
                  </a:lnTo>
                  <a:lnTo>
                    <a:pt x="221" y="186"/>
                  </a:lnTo>
                  <a:lnTo>
                    <a:pt x="223" y="186"/>
                  </a:lnTo>
                  <a:lnTo>
                    <a:pt x="221" y="186"/>
                  </a:lnTo>
                  <a:lnTo>
                    <a:pt x="221" y="188"/>
                  </a:lnTo>
                  <a:lnTo>
                    <a:pt x="223" y="188"/>
                  </a:lnTo>
                  <a:close/>
                  <a:moveTo>
                    <a:pt x="215" y="186"/>
                  </a:moveTo>
                  <a:lnTo>
                    <a:pt x="215" y="184"/>
                  </a:lnTo>
                  <a:lnTo>
                    <a:pt x="215" y="186"/>
                  </a:lnTo>
                  <a:close/>
                  <a:moveTo>
                    <a:pt x="215" y="186"/>
                  </a:moveTo>
                  <a:lnTo>
                    <a:pt x="213" y="186"/>
                  </a:lnTo>
                  <a:lnTo>
                    <a:pt x="215" y="186"/>
                  </a:lnTo>
                  <a:lnTo>
                    <a:pt x="213" y="186"/>
                  </a:lnTo>
                  <a:lnTo>
                    <a:pt x="213" y="184"/>
                  </a:lnTo>
                  <a:lnTo>
                    <a:pt x="213" y="186"/>
                  </a:lnTo>
                  <a:lnTo>
                    <a:pt x="215" y="186"/>
                  </a:lnTo>
                  <a:close/>
                  <a:moveTo>
                    <a:pt x="217" y="186"/>
                  </a:moveTo>
                  <a:lnTo>
                    <a:pt x="215" y="186"/>
                  </a:lnTo>
                  <a:lnTo>
                    <a:pt x="217" y="186"/>
                  </a:lnTo>
                  <a:lnTo>
                    <a:pt x="217" y="184"/>
                  </a:lnTo>
                  <a:lnTo>
                    <a:pt x="217" y="186"/>
                  </a:lnTo>
                  <a:close/>
                  <a:moveTo>
                    <a:pt x="215" y="184"/>
                  </a:moveTo>
                  <a:lnTo>
                    <a:pt x="215" y="186"/>
                  </a:lnTo>
                  <a:lnTo>
                    <a:pt x="215" y="184"/>
                  </a:lnTo>
                  <a:close/>
                  <a:moveTo>
                    <a:pt x="215" y="186"/>
                  </a:moveTo>
                  <a:lnTo>
                    <a:pt x="215" y="184"/>
                  </a:lnTo>
                  <a:lnTo>
                    <a:pt x="215" y="186"/>
                  </a:lnTo>
                  <a:lnTo>
                    <a:pt x="215" y="184"/>
                  </a:lnTo>
                  <a:lnTo>
                    <a:pt x="213" y="184"/>
                  </a:lnTo>
                  <a:lnTo>
                    <a:pt x="215" y="184"/>
                  </a:lnTo>
                  <a:lnTo>
                    <a:pt x="215" y="186"/>
                  </a:lnTo>
                  <a:close/>
                  <a:moveTo>
                    <a:pt x="219" y="184"/>
                  </a:moveTo>
                  <a:lnTo>
                    <a:pt x="217" y="184"/>
                  </a:lnTo>
                  <a:lnTo>
                    <a:pt x="219" y="184"/>
                  </a:lnTo>
                  <a:close/>
                  <a:moveTo>
                    <a:pt x="217" y="184"/>
                  </a:moveTo>
                  <a:lnTo>
                    <a:pt x="215" y="184"/>
                  </a:lnTo>
                  <a:lnTo>
                    <a:pt x="217" y="184"/>
                  </a:lnTo>
                  <a:close/>
                  <a:moveTo>
                    <a:pt x="219" y="184"/>
                  </a:moveTo>
                  <a:lnTo>
                    <a:pt x="217" y="184"/>
                  </a:lnTo>
                  <a:lnTo>
                    <a:pt x="219" y="184"/>
                  </a:lnTo>
                  <a:lnTo>
                    <a:pt x="217" y="184"/>
                  </a:lnTo>
                  <a:lnTo>
                    <a:pt x="219" y="184"/>
                  </a:lnTo>
                  <a:close/>
                  <a:moveTo>
                    <a:pt x="90" y="186"/>
                  </a:moveTo>
                  <a:lnTo>
                    <a:pt x="90" y="184"/>
                  </a:lnTo>
                  <a:lnTo>
                    <a:pt x="90" y="186"/>
                  </a:lnTo>
                  <a:close/>
                  <a:moveTo>
                    <a:pt x="90" y="186"/>
                  </a:moveTo>
                  <a:lnTo>
                    <a:pt x="88" y="186"/>
                  </a:lnTo>
                  <a:lnTo>
                    <a:pt x="90" y="186"/>
                  </a:lnTo>
                  <a:lnTo>
                    <a:pt x="90" y="184"/>
                  </a:lnTo>
                  <a:lnTo>
                    <a:pt x="90" y="186"/>
                  </a:lnTo>
                  <a:close/>
                  <a:moveTo>
                    <a:pt x="114" y="184"/>
                  </a:moveTo>
                  <a:lnTo>
                    <a:pt x="112" y="184"/>
                  </a:lnTo>
                  <a:lnTo>
                    <a:pt x="114" y="184"/>
                  </a:lnTo>
                  <a:close/>
                  <a:moveTo>
                    <a:pt x="44" y="184"/>
                  </a:moveTo>
                  <a:lnTo>
                    <a:pt x="46" y="184"/>
                  </a:lnTo>
                  <a:lnTo>
                    <a:pt x="44" y="184"/>
                  </a:lnTo>
                  <a:close/>
                  <a:moveTo>
                    <a:pt x="44" y="184"/>
                  </a:moveTo>
                  <a:lnTo>
                    <a:pt x="46" y="184"/>
                  </a:lnTo>
                  <a:lnTo>
                    <a:pt x="46" y="186"/>
                  </a:lnTo>
                  <a:lnTo>
                    <a:pt x="44" y="186"/>
                  </a:lnTo>
                  <a:lnTo>
                    <a:pt x="44" y="184"/>
                  </a:lnTo>
                  <a:lnTo>
                    <a:pt x="42" y="184"/>
                  </a:lnTo>
                  <a:lnTo>
                    <a:pt x="40" y="184"/>
                  </a:lnTo>
                  <a:lnTo>
                    <a:pt x="42" y="184"/>
                  </a:lnTo>
                  <a:lnTo>
                    <a:pt x="44" y="184"/>
                  </a:lnTo>
                  <a:close/>
                  <a:moveTo>
                    <a:pt x="88" y="184"/>
                  </a:moveTo>
                  <a:lnTo>
                    <a:pt x="88" y="186"/>
                  </a:lnTo>
                  <a:lnTo>
                    <a:pt x="86" y="186"/>
                  </a:lnTo>
                  <a:lnTo>
                    <a:pt x="86" y="184"/>
                  </a:lnTo>
                  <a:lnTo>
                    <a:pt x="88" y="184"/>
                  </a:lnTo>
                  <a:lnTo>
                    <a:pt x="88" y="182"/>
                  </a:lnTo>
                  <a:lnTo>
                    <a:pt x="88" y="184"/>
                  </a:lnTo>
                  <a:close/>
                  <a:moveTo>
                    <a:pt x="88" y="182"/>
                  </a:moveTo>
                  <a:lnTo>
                    <a:pt x="90" y="182"/>
                  </a:lnTo>
                  <a:lnTo>
                    <a:pt x="90" y="184"/>
                  </a:lnTo>
                  <a:lnTo>
                    <a:pt x="88" y="184"/>
                  </a:lnTo>
                  <a:lnTo>
                    <a:pt x="90" y="184"/>
                  </a:lnTo>
                  <a:lnTo>
                    <a:pt x="88" y="184"/>
                  </a:lnTo>
                  <a:lnTo>
                    <a:pt x="88" y="182"/>
                  </a:lnTo>
                  <a:close/>
                  <a:moveTo>
                    <a:pt x="90" y="182"/>
                  </a:moveTo>
                  <a:lnTo>
                    <a:pt x="88" y="182"/>
                  </a:lnTo>
                  <a:lnTo>
                    <a:pt x="90" y="182"/>
                  </a:lnTo>
                  <a:close/>
                  <a:moveTo>
                    <a:pt x="104" y="182"/>
                  </a:moveTo>
                  <a:lnTo>
                    <a:pt x="104" y="184"/>
                  </a:lnTo>
                  <a:lnTo>
                    <a:pt x="106" y="184"/>
                  </a:lnTo>
                  <a:lnTo>
                    <a:pt x="108" y="184"/>
                  </a:lnTo>
                  <a:lnTo>
                    <a:pt x="110" y="184"/>
                  </a:lnTo>
                  <a:lnTo>
                    <a:pt x="112" y="184"/>
                  </a:lnTo>
                  <a:lnTo>
                    <a:pt x="114" y="184"/>
                  </a:lnTo>
                  <a:lnTo>
                    <a:pt x="114" y="186"/>
                  </a:lnTo>
                  <a:lnTo>
                    <a:pt x="112" y="186"/>
                  </a:lnTo>
                  <a:lnTo>
                    <a:pt x="112" y="184"/>
                  </a:lnTo>
                  <a:lnTo>
                    <a:pt x="110" y="184"/>
                  </a:lnTo>
                  <a:lnTo>
                    <a:pt x="110" y="186"/>
                  </a:lnTo>
                  <a:lnTo>
                    <a:pt x="108" y="186"/>
                  </a:lnTo>
                  <a:lnTo>
                    <a:pt x="108" y="184"/>
                  </a:lnTo>
                  <a:lnTo>
                    <a:pt x="106" y="184"/>
                  </a:lnTo>
                  <a:lnTo>
                    <a:pt x="106" y="186"/>
                  </a:lnTo>
                  <a:lnTo>
                    <a:pt x="106" y="184"/>
                  </a:lnTo>
                  <a:lnTo>
                    <a:pt x="106" y="186"/>
                  </a:lnTo>
                  <a:lnTo>
                    <a:pt x="104" y="186"/>
                  </a:lnTo>
                  <a:lnTo>
                    <a:pt x="102" y="186"/>
                  </a:lnTo>
                  <a:lnTo>
                    <a:pt x="102" y="188"/>
                  </a:lnTo>
                  <a:lnTo>
                    <a:pt x="102" y="186"/>
                  </a:lnTo>
                  <a:lnTo>
                    <a:pt x="102" y="188"/>
                  </a:lnTo>
                  <a:lnTo>
                    <a:pt x="102" y="186"/>
                  </a:lnTo>
                  <a:lnTo>
                    <a:pt x="102" y="188"/>
                  </a:lnTo>
                  <a:lnTo>
                    <a:pt x="102" y="186"/>
                  </a:lnTo>
                  <a:lnTo>
                    <a:pt x="100" y="186"/>
                  </a:lnTo>
                  <a:lnTo>
                    <a:pt x="102" y="186"/>
                  </a:lnTo>
                  <a:lnTo>
                    <a:pt x="102" y="184"/>
                  </a:lnTo>
                  <a:lnTo>
                    <a:pt x="102" y="186"/>
                  </a:lnTo>
                  <a:lnTo>
                    <a:pt x="102" y="184"/>
                  </a:lnTo>
                  <a:lnTo>
                    <a:pt x="100" y="184"/>
                  </a:lnTo>
                  <a:lnTo>
                    <a:pt x="102" y="184"/>
                  </a:lnTo>
                  <a:lnTo>
                    <a:pt x="100" y="184"/>
                  </a:lnTo>
                  <a:lnTo>
                    <a:pt x="102" y="184"/>
                  </a:lnTo>
                  <a:lnTo>
                    <a:pt x="102" y="182"/>
                  </a:lnTo>
                  <a:lnTo>
                    <a:pt x="102" y="184"/>
                  </a:lnTo>
                  <a:lnTo>
                    <a:pt x="102" y="182"/>
                  </a:lnTo>
                  <a:lnTo>
                    <a:pt x="104" y="182"/>
                  </a:lnTo>
                  <a:lnTo>
                    <a:pt x="104" y="184"/>
                  </a:lnTo>
                  <a:lnTo>
                    <a:pt x="104" y="182"/>
                  </a:lnTo>
                  <a:lnTo>
                    <a:pt x="104" y="180"/>
                  </a:lnTo>
                  <a:lnTo>
                    <a:pt x="102" y="180"/>
                  </a:lnTo>
                  <a:lnTo>
                    <a:pt x="104" y="180"/>
                  </a:lnTo>
                  <a:lnTo>
                    <a:pt x="104" y="182"/>
                  </a:lnTo>
                  <a:close/>
                  <a:moveTo>
                    <a:pt x="227" y="178"/>
                  </a:moveTo>
                  <a:lnTo>
                    <a:pt x="225" y="178"/>
                  </a:lnTo>
                  <a:lnTo>
                    <a:pt x="223" y="178"/>
                  </a:lnTo>
                  <a:lnTo>
                    <a:pt x="225" y="178"/>
                  </a:lnTo>
                  <a:lnTo>
                    <a:pt x="227" y="178"/>
                  </a:lnTo>
                  <a:lnTo>
                    <a:pt x="225" y="178"/>
                  </a:lnTo>
                  <a:lnTo>
                    <a:pt x="227" y="178"/>
                  </a:lnTo>
                  <a:close/>
                  <a:moveTo>
                    <a:pt x="98" y="180"/>
                  </a:moveTo>
                  <a:lnTo>
                    <a:pt x="98" y="180"/>
                  </a:lnTo>
                  <a:lnTo>
                    <a:pt x="98" y="180"/>
                  </a:lnTo>
                  <a:close/>
                  <a:moveTo>
                    <a:pt x="229" y="176"/>
                  </a:moveTo>
                  <a:lnTo>
                    <a:pt x="229" y="178"/>
                  </a:lnTo>
                  <a:lnTo>
                    <a:pt x="229" y="176"/>
                  </a:lnTo>
                  <a:close/>
                  <a:moveTo>
                    <a:pt x="102" y="180"/>
                  </a:moveTo>
                  <a:lnTo>
                    <a:pt x="104" y="180"/>
                  </a:lnTo>
                  <a:lnTo>
                    <a:pt x="102" y="180"/>
                  </a:lnTo>
                  <a:close/>
                  <a:moveTo>
                    <a:pt x="102" y="180"/>
                  </a:moveTo>
                  <a:lnTo>
                    <a:pt x="104" y="180"/>
                  </a:lnTo>
                  <a:lnTo>
                    <a:pt x="102" y="180"/>
                  </a:lnTo>
                  <a:lnTo>
                    <a:pt x="100" y="180"/>
                  </a:lnTo>
                  <a:lnTo>
                    <a:pt x="98" y="180"/>
                  </a:lnTo>
                  <a:lnTo>
                    <a:pt x="100" y="180"/>
                  </a:lnTo>
                  <a:lnTo>
                    <a:pt x="98" y="180"/>
                  </a:lnTo>
                  <a:lnTo>
                    <a:pt x="98" y="180"/>
                  </a:lnTo>
                  <a:lnTo>
                    <a:pt x="98" y="180"/>
                  </a:lnTo>
                  <a:lnTo>
                    <a:pt x="98" y="180"/>
                  </a:lnTo>
                  <a:lnTo>
                    <a:pt x="96" y="180"/>
                  </a:lnTo>
                  <a:lnTo>
                    <a:pt x="98" y="180"/>
                  </a:lnTo>
                  <a:lnTo>
                    <a:pt x="98" y="182"/>
                  </a:lnTo>
                  <a:lnTo>
                    <a:pt x="96" y="182"/>
                  </a:lnTo>
                  <a:lnTo>
                    <a:pt x="94" y="182"/>
                  </a:lnTo>
                  <a:lnTo>
                    <a:pt x="94" y="184"/>
                  </a:lnTo>
                  <a:lnTo>
                    <a:pt x="92" y="184"/>
                  </a:lnTo>
                  <a:lnTo>
                    <a:pt x="90" y="184"/>
                  </a:lnTo>
                  <a:lnTo>
                    <a:pt x="90" y="186"/>
                  </a:lnTo>
                  <a:lnTo>
                    <a:pt x="90" y="184"/>
                  </a:lnTo>
                  <a:lnTo>
                    <a:pt x="90" y="182"/>
                  </a:lnTo>
                  <a:lnTo>
                    <a:pt x="92" y="182"/>
                  </a:lnTo>
                  <a:lnTo>
                    <a:pt x="94" y="182"/>
                  </a:lnTo>
                  <a:lnTo>
                    <a:pt x="94" y="180"/>
                  </a:lnTo>
                  <a:lnTo>
                    <a:pt x="96" y="180"/>
                  </a:lnTo>
                  <a:lnTo>
                    <a:pt x="98" y="180"/>
                  </a:lnTo>
                  <a:lnTo>
                    <a:pt x="98" y="180"/>
                  </a:lnTo>
                  <a:lnTo>
                    <a:pt x="100" y="180"/>
                  </a:lnTo>
                  <a:lnTo>
                    <a:pt x="102" y="180"/>
                  </a:lnTo>
                  <a:close/>
                  <a:moveTo>
                    <a:pt x="227" y="176"/>
                  </a:moveTo>
                  <a:lnTo>
                    <a:pt x="229" y="176"/>
                  </a:lnTo>
                  <a:lnTo>
                    <a:pt x="229" y="178"/>
                  </a:lnTo>
                  <a:lnTo>
                    <a:pt x="227" y="178"/>
                  </a:lnTo>
                  <a:lnTo>
                    <a:pt x="227" y="176"/>
                  </a:lnTo>
                  <a:close/>
                  <a:moveTo>
                    <a:pt x="231" y="176"/>
                  </a:moveTo>
                  <a:lnTo>
                    <a:pt x="229" y="176"/>
                  </a:lnTo>
                  <a:lnTo>
                    <a:pt x="231" y="176"/>
                  </a:lnTo>
                  <a:close/>
                  <a:moveTo>
                    <a:pt x="227" y="176"/>
                  </a:moveTo>
                  <a:lnTo>
                    <a:pt x="229" y="176"/>
                  </a:lnTo>
                  <a:lnTo>
                    <a:pt x="227" y="176"/>
                  </a:lnTo>
                  <a:close/>
                  <a:moveTo>
                    <a:pt x="229" y="174"/>
                  </a:moveTo>
                  <a:lnTo>
                    <a:pt x="231" y="174"/>
                  </a:lnTo>
                  <a:lnTo>
                    <a:pt x="229" y="174"/>
                  </a:lnTo>
                  <a:close/>
                  <a:moveTo>
                    <a:pt x="231" y="174"/>
                  </a:moveTo>
                  <a:lnTo>
                    <a:pt x="229" y="174"/>
                  </a:lnTo>
                  <a:lnTo>
                    <a:pt x="231" y="174"/>
                  </a:lnTo>
                  <a:lnTo>
                    <a:pt x="229" y="174"/>
                  </a:lnTo>
                  <a:lnTo>
                    <a:pt x="231" y="174"/>
                  </a:lnTo>
                  <a:close/>
                  <a:moveTo>
                    <a:pt x="233" y="174"/>
                  </a:moveTo>
                  <a:lnTo>
                    <a:pt x="231" y="174"/>
                  </a:lnTo>
                  <a:lnTo>
                    <a:pt x="231" y="176"/>
                  </a:lnTo>
                  <a:lnTo>
                    <a:pt x="231" y="174"/>
                  </a:lnTo>
                  <a:lnTo>
                    <a:pt x="233" y="174"/>
                  </a:lnTo>
                  <a:close/>
                  <a:moveTo>
                    <a:pt x="229" y="174"/>
                  </a:moveTo>
                  <a:lnTo>
                    <a:pt x="227" y="174"/>
                  </a:lnTo>
                  <a:lnTo>
                    <a:pt x="229" y="174"/>
                  </a:lnTo>
                  <a:close/>
                  <a:moveTo>
                    <a:pt x="227" y="172"/>
                  </a:moveTo>
                  <a:lnTo>
                    <a:pt x="227" y="174"/>
                  </a:lnTo>
                  <a:lnTo>
                    <a:pt x="227" y="172"/>
                  </a:lnTo>
                  <a:close/>
                  <a:moveTo>
                    <a:pt x="223" y="168"/>
                  </a:moveTo>
                  <a:lnTo>
                    <a:pt x="221" y="168"/>
                  </a:lnTo>
                  <a:lnTo>
                    <a:pt x="223" y="168"/>
                  </a:lnTo>
                  <a:close/>
                  <a:moveTo>
                    <a:pt x="225" y="164"/>
                  </a:moveTo>
                  <a:lnTo>
                    <a:pt x="225" y="166"/>
                  </a:lnTo>
                  <a:lnTo>
                    <a:pt x="225" y="164"/>
                  </a:lnTo>
                  <a:lnTo>
                    <a:pt x="223" y="164"/>
                  </a:lnTo>
                  <a:lnTo>
                    <a:pt x="225" y="164"/>
                  </a:lnTo>
                  <a:close/>
                  <a:moveTo>
                    <a:pt x="201" y="128"/>
                  </a:moveTo>
                  <a:lnTo>
                    <a:pt x="201" y="126"/>
                  </a:lnTo>
                  <a:lnTo>
                    <a:pt x="201" y="128"/>
                  </a:lnTo>
                  <a:close/>
                  <a:moveTo>
                    <a:pt x="14" y="0"/>
                  </a:moveTo>
                  <a:lnTo>
                    <a:pt x="16" y="0"/>
                  </a:lnTo>
                  <a:lnTo>
                    <a:pt x="18" y="0"/>
                  </a:lnTo>
                  <a:lnTo>
                    <a:pt x="20" y="0"/>
                  </a:lnTo>
                  <a:lnTo>
                    <a:pt x="22" y="0"/>
                  </a:lnTo>
                  <a:lnTo>
                    <a:pt x="24" y="0"/>
                  </a:lnTo>
                  <a:lnTo>
                    <a:pt x="26" y="0"/>
                  </a:lnTo>
                  <a:lnTo>
                    <a:pt x="28" y="0"/>
                  </a:lnTo>
                  <a:lnTo>
                    <a:pt x="30" y="0"/>
                  </a:lnTo>
                  <a:lnTo>
                    <a:pt x="34" y="0"/>
                  </a:lnTo>
                  <a:lnTo>
                    <a:pt x="36" y="0"/>
                  </a:lnTo>
                  <a:lnTo>
                    <a:pt x="38" y="0"/>
                  </a:lnTo>
                  <a:lnTo>
                    <a:pt x="40" y="0"/>
                  </a:lnTo>
                  <a:lnTo>
                    <a:pt x="42" y="0"/>
                  </a:lnTo>
                  <a:lnTo>
                    <a:pt x="44" y="0"/>
                  </a:lnTo>
                  <a:lnTo>
                    <a:pt x="46" y="0"/>
                  </a:lnTo>
                  <a:lnTo>
                    <a:pt x="48" y="0"/>
                  </a:lnTo>
                  <a:lnTo>
                    <a:pt x="50" y="0"/>
                  </a:lnTo>
                  <a:lnTo>
                    <a:pt x="50" y="0"/>
                  </a:lnTo>
                  <a:lnTo>
                    <a:pt x="52" y="0"/>
                  </a:lnTo>
                  <a:lnTo>
                    <a:pt x="54" y="0"/>
                  </a:lnTo>
                  <a:lnTo>
                    <a:pt x="56" y="0"/>
                  </a:lnTo>
                  <a:lnTo>
                    <a:pt x="58" y="0"/>
                  </a:lnTo>
                  <a:lnTo>
                    <a:pt x="60" y="0"/>
                  </a:lnTo>
                  <a:lnTo>
                    <a:pt x="62" y="0"/>
                  </a:lnTo>
                  <a:lnTo>
                    <a:pt x="64" y="0"/>
                  </a:lnTo>
                  <a:lnTo>
                    <a:pt x="66" y="0"/>
                  </a:lnTo>
                  <a:lnTo>
                    <a:pt x="66" y="2"/>
                  </a:lnTo>
                  <a:lnTo>
                    <a:pt x="68" y="2"/>
                  </a:lnTo>
                  <a:lnTo>
                    <a:pt x="70" y="2"/>
                  </a:lnTo>
                  <a:lnTo>
                    <a:pt x="72" y="2"/>
                  </a:lnTo>
                  <a:lnTo>
                    <a:pt x="74" y="2"/>
                  </a:lnTo>
                  <a:lnTo>
                    <a:pt x="76" y="2"/>
                  </a:lnTo>
                  <a:lnTo>
                    <a:pt x="78" y="2"/>
                  </a:lnTo>
                  <a:lnTo>
                    <a:pt x="80" y="2"/>
                  </a:lnTo>
                  <a:lnTo>
                    <a:pt x="82" y="2"/>
                  </a:lnTo>
                  <a:lnTo>
                    <a:pt x="84" y="2"/>
                  </a:lnTo>
                  <a:lnTo>
                    <a:pt x="86" y="2"/>
                  </a:lnTo>
                  <a:lnTo>
                    <a:pt x="88" y="2"/>
                  </a:lnTo>
                  <a:lnTo>
                    <a:pt x="90" y="2"/>
                  </a:lnTo>
                  <a:lnTo>
                    <a:pt x="92" y="2"/>
                  </a:lnTo>
                  <a:lnTo>
                    <a:pt x="94" y="2"/>
                  </a:lnTo>
                  <a:lnTo>
                    <a:pt x="96" y="2"/>
                  </a:lnTo>
                  <a:lnTo>
                    <a:pt x="98" y="2"/>
                  </a:lnTo>
                  <a:lnTo>
                    <a:pt x="98" y="2"/>
                  </a:lnTo>
                  <a:lnTo>
                    <a:pt x="100" y="2"/>
                  </a:lnTo>
                  <a:lnTo>
                    <a:pt x="102" y="2"/>
                  </a:lnTo>
                  <a:lnTo>
                    <a:pt x="104" y="2"/>
                  </a:lnTo>
                  <a:lnTo>
                    <a:pt x="106" y="2"/>
                  </a:lnTo>
                  <a:lnTo>
                    <a:pt x="108" y="2"/>
                  </a:lnTo>
                  <a:lnTo>
                    <a:pt x="110" y="2"/>
                  </a:lnTo>
                  <a:lnTo>
                    <a:pt x="112" y="2"/>
                  </a:lnTo>
                  <a:lnTo>
                    <a:pt x="114" y="2"/>
                  </a:lnTo>
                  <a:lnTo>
                    <a:pt x="116" y="2"/>
                  </a:lnTo>
                  <a:lnTo>
                    <a:pt x="118" y="2"/>
                  </a:lnTo>
                  <a:lnTo>
                    <a:pt x="120" y="2"/>
                  </a:lnTo>
                  <a:lnTo>
                    <a:pt x="122" y="2"/>
                  </a:lnTo>
                  <a:lnTo>
                    <a:pt x="124" y="2"/>
                  </a:lnTo>
                  <a:lnTo>
                    <a:pt x="126" y="2"/>
                  </a:lnTo>
                  <a:lnTo>
                    <a:pt x="128" y="2"/>
                  </a:lnTo>
                  <a:lnTo>
                    <a:pt x="130" y="2"/>
                  </a:lnTo>
                  <a:lnTo>
                    <a:pt x="132" y="2"/>
                  </a:lnTo>
                  <a:lnTo>
                    <a:pt x="134" y="2"/>
                  </a:lnTo>
                  <a:lnTo>
                    <a:pt x="134" y="4"/>
                  </a:lnTo>
                  <a:lnTo>
                    <a:pt x="132" y="6"/>
                  </a:lnTo>
                  <a:lnTo>
                    <a:pt x="134" y="6"/>
                  </a:lnTo>
                  <a:lnTo>
                    <a:pt x="134" y="8"/>
                  </a:lnTo>
                  <a:lnTo>
                    <a:pt x="136" y="8"/>
                  </a:lnTo>
                  <a:lnTo>
                    <a:pt x="136" y="6"/>
                  </a:lnTo>
                  <a:lnTo>
                    <a:pt x="136" y="4"/>
                  </a:lnTo>
                  <a:lnTo>
                    <a:pt x="136" y="2"/>
                  </a:lnTo>
                  <a:lnTo>
                    <a:pt x="138" y="2"/>
                  </a:lnTo>
                  <a:lnTo>
                    <a:pt x="138" y="4"/>
                  </a:lnTo>
                  <a:lnTo>
                    <a:pt x="140" y="4"/>
                  </a:lnTo>
                  <a:lnTo>
                    <a:pt x="140" y="6"/>
                  </a:lnTo>
                  <a:lnTo>
                    <a:pt x="140" y="8"/>
                  </a:lnTo>
                  <a:lnTo>
                    <a:pt x="138" y="8"/>
                  </a:lnTo>
                  <a:lnTo>
                    <a:pt x="138" y="10"/>
                  </a:lnTo>
                  <a:lnTo>
                    <a:pt x="136" y="10"/>
                  </a:lnTo>
                  <a:lnTo>
                    <a:pt x="136" y="12"/>
                  </a:lnTo>
                  <a:lnTo>
                    <a:pt x="136" y="14"/>
                  </a:lnTo>
                  <a:lnTo>
                    <a:pt x="136" y="16"/>
                  </a:lnTo>
                  <a:lnTo>
                    <a:pt x="138" y="16"/>
                  </a:lnTo>
                  <a:lnTo>
                    <a:pt x="140" y="18"/>
                  </a:lnTo>
                  <a:lnTo>
                    <a:pt x="140" y="20"/>
                  </a:lnTo>
                  <a:lnTo>
                    <a:pt x="138" y="20"/>
                  </a:lnTo>
                  <a:lnTo>
                    <a:pt x="138" y="22"/>
                  </a:lnTo>
                  <a:lnTo>
                    <a:pt x="136" y="22"/>
                  </a:lnTo>
                  <a:lnTo>
                    <a:pt x="136" y="24"/>
                  </a:lnTo>
                  <a:lnTo>
                    <a:pt x="136" y="26"/>
                  </a:lnTo>
                  <a:lnTo>
                    <a:pt x="138" y="26"/>
                  </a:lnTo>
                  <a:lnTo>
                    <a:pt x="138" y="24"/>
                  </a:lnTo>
                  <a:lnTo>
                    <a:pt x="140" y="24"/>
                  </a:lnTo>
                  <a:lnTo>
                    <a:pt x="142" y="24"/>
                  </a:lnTo>
                  <a:lnTo>
                    <a:pt x="142" y="22"/>
                  </a:lnTo>
                  <a:lnTo>
                    <a:pt x="144" y="24"/>
                  </a:lnTo>
                  <a:lnTo>
                    <a:pt x="142" y="24"/>
                  </a:lnTo>
                  <a:lnTo>
                    <a:pt x="142" y="26"/>
                  </a:lnTo>
                  <a:lnTo>
                    <a:pt x="140" y="26"/>
                  </a:lnTo>
                  <a:lnTo>
                    <a:pt x="140" y="28"/>
                  </a:lnTo>
                  <a:lnTo>
                    <a:pt x="142" y="28"/>
                  </a:lnTo>
                  <a:lnTo>
                    <a:pt x="142" y="30"/>
                  </a:lnTo>
                  <a:lnTo>
                    <a:pt x="144" y="30"/>
                  </a:lnTo>
                  <a:lnTo>
                    <a:pt x="144" y="32"/>
                  </a:lnTo>
                  <a:lnTo>
                    <a:pt x="142" y="32"/>
                  </a:lnTo>
                  <a:lnTo>
                    <a:pt x="142" y="30"/>
                  </a:lnTo>
                  <a:lnTo>
                    <a:pt x="140" y="30"/>
                  </a:lnTo>
                  <a:lnTo>
                    <a:pt x="140" y="28"/>
                  </a:lnTo>
                  <a:lnTo>
                    <a:pt x="138" y="28"/>
                  </a:lnTo>
                  <a:lnTo>
                    <a:pt x="138" y="30"/>
                  </a:lnTo>
                  <a:lnTo>
                    <a:pt x="138" y="32"/>
                  </a:lnTo>
                  <a:lnTo>
                    <a:pt x="140" y="34"/>
                  </a:lnTo>
                  <a:lnTo>
                    <a:pt x="142" y="34"/>
                  </a:lnTo>
                  <a:lnTo>
                    <a:pt x="144" y="34"/>
                  </a:lnTo>
                  <a:lnTo>
                    <a:pt x="146" y="34"/>
                  </a:lnTo>
                  <a:lnTo>
                    <a:pt x="146" y="36"/>
                  </a:lnTo>
                  <a:lnTo>
                    <a:pt x="144" y="36"/>
                  </a:lnTo>
                  <a:lnTo>
                    <a:pt x="144" y="38"/>
                  </a:lnTo>
                  <a:lnTo>
                    <a:pt x="144" y="40"/>
                  </a:lnTo>
                  <a:lnTo>
                    <a:pt x="146" y="40"/>
                  </a:lnTo>
                  <a:lnTo>
                    <a:pt x="146" y="40"/>
                  </a:lnTo>
                  <a:lnTo>
                    <a:pt x="146" y="38"/>
                  </a:lnTo>
                  <a:lnTo>
                    <a:pt x="148" y="38"/>
                  </a:lnTo>
                  <a:lnTo>
                    <a:pt x="146" y="40"/>
                  </a:lnTo>
                  <a:lnTo>
                    <a:pt x="146" y="42"/>
                  </a:lnTo>
                  <a:lnTo>
                    <a:pt x="146" y="42"/>
                  </a:lnTo>
                  <a:lnTo>
                    <a:pt x="144" y="42"/>
                  </a:lnTo>
                  <a:lnTo>
                    <a:pt x="144" y="44"/>
                  </a:lnTo>
                  <a:lnTo>
                    <a:pt x="146" y="44"/>
                  </a:lnTo>
                  <a:lnTo>
                    <a:pt x="144" y="44"/>
                  </a:lnTo>
                  <a:lnTo>
                    <a:pt x="144" y="46"/>
                  </a:lnTo>
                  <a:lnTo>
                    <a:pt x="144" y="48"/>
                  </a:lnTo>
                  <a:lnTo>
                    <a:pt x="144" y="46"/>
                  </a:lnTo>
                  <a:lnTo>
                    <a:pt x="142" y="46"/>
                  </a:lnTo>
                  <a:lnTo>
                    <a:pt x="140" y="46"/>
                  </a:lnTo>
                  <a:lnTo>
                    <a:pt x="138" y="46"/>
                  </a:lnTo>
                  <a:lnTo>
                    <a:pt x="138" y="48"/>
                  </a:lnTo>
                  <a:lnTo>
                    <a:pt x="136" y="48"/>
                  </a:lnTo>
                  <a:lnTo>
                    <a:pt x="136" y="48"/>
                  </a:lnTo>
                  <a:lnTo>
                    <a:pt x="136" y="50"/>
                  </a:lnTo>
                  <a:lnTo>
                    <a:pt x="138" y="50"/>
                  </a:lnTo>
                  <a:lnTo>
                    <a:pt x="140" y="50"/>
                  </a:lnTo>
                  <a:lnTo>
                    <a:pt x="142" y="50"/>
                  </a:lnTo>
                  <a:lnTo>
                    <a:pt x="142" y="48"/>
                  </a:lnTo>
                  <a:lnTo>
                    <a:pt x="140" y="48"/>
                  </a:lnTo>
                  <a:lnTo>
                    <a:pt x="140" y="48"/>
                  </a:lnTo>
                  <a:lnTo>
                    <a:pt x="142" y="48"/>
                  </a:lnTo>
                  <a:lnTo>
                    <a:pt x="144" y="48"/>
                  </a:lnTo>
                  <a:lnTo>
                    <a:pt x="144" y="50"/>
                  </a:lnTo>
                  <a:lnTo>
                    <a:pt x="142" y="50"/>
                  </a:lnTo>
                  <a:lnTo>
                    <a:pt x="142" y="52"/>
                  </a:lnTo>
                  <a:lnTo>
                    <a:pt x="140" y="52"/>
                  </a:lnTo>
                  <a:lnTo>
                    <a:pt x="140" y="54"/>
                  </a:lnTo>
                  <a:lnTo>
                    <a:pt x="138" y="54"/>
                  </a:lnTo>
                  <a:lnTo>
                    <a:pt x="138" y="52"/>
                  </a:lnTo>
                  <a:lnTo>
                    <a:pt x="136" y="52"/>
                  </a:lnTo>
                  <a:lnTo>
                    <a:pt x="136" y="54"/>
                  </a:lnTo>
                  <a:lnTo>
                    <a:pt x="138" y="54"/>
                  </a:lnTo>
                  <a:lnTo>
                    <a:pt x="138" y="56"/>
                  </a:lnTo>
                  <a:lnTo>
                    <a:pt x="140" y="56"/>
                  </a:lnTo>
                  <a:lnTo>
                    <a:pt x="140" y="58"/>
                  </a:lnTo>
                  <a:lnTo>
                    <a:pt x="138" y="58"/>
                  </a:lnTo>
                  <a:lnTo>
                    <a:pt x="136" y="58"/>
                  </a:lnTo>
                  <a:lnTo>
                    <a:pt x="134" y="60"/>
                  </a:lnTo>
                  <a:lnTo>
                    <a:pt x="134" y="62"/>
                  </a:lnTo>
                  <a:lnTo>
                    <a:pt x="134" y="64"/>
                  </a:lnTo>
                  <a:lnTo>
                    <a:pt x="132" y="64"/>
                  </a:lnTo>
                  <a:lnTo>
                    <a:pt x="130" y="66"/>
                  </a:lnTo>
                  <a:lnTo>
                    <a:pt x="132" y="66"/>
                  </a:lnTo>
                  <a:lnTo>
                    <a:pt x="132" y="68"/>
                  </a:lnTo>
                  <a:lnTo>
                    <a:pt x="130" y="68"/>
                  </a:lnTo>
                  <a:lnTo>
                    <a:pt x="130" y="66"/>
                  </a:lnTo>
                  <a:lnTo>
                    <a:pt x="128" y="66"/>
                  </a:lnTo>
                  <a:lnTo>
                    <a:pt x="126" y="66"/>
                  </a:lnTo>
                  <a:lnTo>
                    <a:pt x="126" y="68"/>
                  </a:lnTo>
                  <a:lnTo>
                    <a:pt x="126" y="70"/>
                  </a:lnTo>
                  <a:lnTo>
                    <a:pt x="126" y="72"/>
                  </a:lnTo>
                  <a:lnTo>
                    <a:pt x="128" y="72"/>
                  </a:lnTo>
                  <a:lnTo>
                    <a:pt x="128" y="70"/>
                  </a:lnTo>
                  <a:lnTo>
                    <a:pt x="130" y="70"/>
                  </a:lnTo>
                  <a:lnTo>
                    <a:pt x="132" y="72"/>
                  </a:lnTo>
                  <a:lnTo>
                    <a:pt x="130" y="72"/>
                  </a:lnTo>
                  <a:lnTo>
                    <a:pt x="128" y="72"/>
                  </a:lnTo>
                  <a:lnTo>
                    <a:pt x="126" y="72"/>
                  </a:lnTo>
                  <a:lnTo>
                    <a:pt x="126" y="74"/>
                  </a:lnTo>
                  <a:lnTo>
                    <a:pt x="124" y="74"/>
                  </a:lnTo>
                  <a:lnTo>
                    <a:pt x="124" y="76"/>
                  </a:lnTo>
                  <a:lnTo>
                    <a:pt x="124" y="78"/>
                  </a:lnTo>
                  <a:lnTo>
                    <a:pt x="124" y="80"/>
                  </a:lnTo>
                  <a:lnTo>
                    <a:pt x="122" y="80"/>
                  </a:lnTo>
                  <a:lnTo>
                    <a:pt x="120" y="80"/>
                  </a:lnTo>
                  <a:lnTo>
                    <a:pt x="120" y="78"/>
                  </a:lnTo>
                  <a:lnTo>
                    <a:pt x="118" y="78"/>
                  </a:lnTo>
                  <a:lnTo>
                    <a:pt x="118" y="80"/>
                  </a:lnTo>
                  <a:lnTo>
                    <a:pt x="120" y="80"/>
                  </a:lnTo>
                  <a:lnTo>
                    <a:pt x="120" y="82"/>
                  </a:lnTo>
                  <a:lnTo>
                    <a:pt x="122" y="82"/>
                  </a:lnTo>
                  <a:lnTo>
                    <a:pt x="122" y="80"/>
                  </a:lnTo>
                  <a:lnTo>
                    <a:pt x="124" y="80"/>
                  </a:lnTo>
                  <a:lnTo>
                    <a:pt x="124" y="82"/>
                  </a:lnTo>
                  <a:lnTo>
                    <a:pt x="124" y="84"/>
                  </a:lnTo>
                  <a:lnTo>
                    <a:pt x="122" y="84"/>
                  </a:lnTo>
                  <a:lnTo>
                    <a:pt x="120" y="84"/>
                  </a:lnTo>
                  <a:lnTo>
                    <a:pt x="118" y="84"/>
                  </a:lnTo>
                  <a:lnTo>
                    <a:pt x="118" y="86"/>
                  </a:lnTo>
                  <a:lnTo>
                    <a:pt x="118" y="88"/>
                  </a:lnTo>
                  <a:lnTo>
                    <a:pt x="118" y="90"/>
                  </a:lnTo>
                  <a:lnTo>
                    <a:pt x="120" y="90"/>
                  </a:lnTo>
                  <a:lnTo>
                    <a:pt x="120" y="92"/>
                  </a:lnTo>
                  <a:lnTo>
                    <a:pt x="122" y="92"/>
                  </a:lnTo>
                  <a:lnTo>
                    <a:pt x="122" y="94"/>
                  </a:lnTo>
                  <a:lnTo>
                    <a:pt x="120" y="94"/>
                  </a:lnTo>
                  <a:lnTo>
                    <a:pt x="118" y="94"/>
                  </a:lnTo>
                  <a:lnTo>
                    <a:pt x="118" y="92"/>
                  </a:lnTo>
                  <a:lnTo>
                    <a:pt x="118" y="90"/>
                  </a:lnTo>
                  <a:lnTo>
                    <a:pt x="116" y="90"/>
                  </a:lnTo>
                  <a:lnTo>
                    <a:pt x="116" y="92"/>
                  </a:lnTo>
                  <a:lnTo>
                    <a:pt x="116" y="94"/>
                  </a:lnTo>
                  <a:lnTo>
                    <a:pt x="118" y="94"/>
                  </a:lnTo>
                  <a:lnTo>
                    <a:pt x="116" y="94"/>
                  </a:lnTo>
                  <a:lnTo>
                    <a:pt x="116" y="96"/>
                  </a:lnTo>
                  <a:lnTo>
                    <a:pt x="118" y="96"/>
                  </a:lnTo>
                  <a:lnTo>
                    <a:pt x="118" y="96"/>
                  </a:lnTo>
                  <a:lnTo>
                    <a:pt x="118" y="98"/>
                  </a:lnTo>
                  <a:lnTo>
                    <a:pt x="116" y="98"/>
                  </a:lnTo>
                  <a:lnTo>
                    <a:pt x="114" y="98"/>
                  </a:lnTo>
                  <a:lnTo>
                    <a:pt x="112" y="98"/>
                  </a:lnTo>
                  <a:lnTo>
                    <a:pt x="112" y="100"/>
                  </a:lnTo>
                  <a:lnTo>
                    <a:pt x="114" y="100"/>
                  </a:lnTo>
                  <a:lnTo>
                    <a:pt x="114" y="102"/>
                  </a:lnTo>
                  <a:lnTo>
                    <a:pt x="114" y="104"/>
                  </a:lnTo>
                  <a:lnTo>
                    <a:pt x="114" y="106"/>
                  </a:lnTo>
                  <a:lnTo>
                    <a:pt x="114" y="108"/>
                  </a:lnTo>
                  <a:lnTo>
                    <a:pt x="116" y="108"/>
                  </a:lnTo>
                  <a:lnTo>
                    <a:pt x="116" y="110"/>
                  </a:lnTo>
                  <a:lnTo>
                    <a:pt x="116" y="112"/>
                  </a:lnTo>
                  <a:lnTo>
                    <a:pt x="114" y="112"/>
                  </a:lnTo>
                  <a:lnTo>
                    <a:pt x="114" y="114"/>
                  </a:lnTo>
                  <a:lnTo>
                    <a:pt x="112" y="114"/>
                  </a:lnTo>
                  <a:lnTo>
                    <a:pt x="114" y="114"/>
                  </a:lnTo>
                  <a:lnTo>
                    <a:pt x="116" y="114"/>
                  </a:lnTo>
                  <a:lnTo>
                    <a:pt x="118" y="114"/>
                  </a:lnTo>
                  <a:lnTo>
                    <a:pt x="120" y="114"/>
                  </a:lnTo>
                  <a:lnTo>
                    <a:pt x="122" y="114"/>
                  </a:lnTo>
                  <a:lnTo>
                    <a:pt x="124" y="114"/>
                  </a:lnTo>
                  <a:lnTo>
                    <a:pt x="126" y="114"/>
                  </a:lnTo>
                  <a:lnTo>
                    <a:pt x="128" y="114"/>
                  </a:lnTo>
                  <a:lnTo>
                    <a:pt x="130" y="114"/>
                  </a:lnTo>
                  <a:lnTo>
                    <a:pt x="132" y="114"/>
                  </a:lnTo>
                  <a:lnTo>
                    <a:pt x="134" y="114"/>
                  </a:lnTo>
                  <a:lnTo>
                    <a:pt x="136" y="114"/>
                  </a:lnTo>
                  <a:lnTo>
                    <a:pt x="138" y="114"/>
                  </a:lnTo>
                  <a:lnTo>
                    <a:pt x="142" y="114"/>
                  </a:lnTo>
                  <a:lnTo>
                    <a:pt x="144" y="114"/>
                  </a:lnTo>
                  <a:lnTo>
                    <a:pt x="146" y="114"/>
                  </a:lnTo>
                  <a:lnTo>
                    <a:pt x="146" y="114"/>
                  </a:lnTo>
                  <a:lnTo>
                    <a:pt x="148" y="114"/>
                  </a:lnTo>
                  <a:lnTo>
                    <a:pt x="150" y="114"/>
                  </a:lnTo>
                  <a:lnTo>
                    <a:pt x="152" y="114"/>
                  </a:lnTo>
                  <a:lnTo>
                    <a:pt x="154" y="114"/>
                  </a:lnTo>
                  <a:lnTo>
                    <a:pt x="156" y="114"/>
                  </a:lnTo>
                  <a:lnTo>
                    <a:pt x="158" y="114"/>
                  </a:lnTo>
                  <a:lnTo>
                    <a:pt x="162" y="112"/>
                  </a:lnTo>
                  <a:lnTo>
                    <a:pt x="164" y="112"/>
                  </a:lnTo>
                  <a:lnTo>
                    <a:pt x="166" y="112"/>
                  </a:lnTo>
                  <a:lnTo>
                    <a:pt x="168" y="112"/>
                  </a:lnTo>
                  <a:lnTo>
                    <a:pt x="170" y="112"/>
                  </a:lnTo>
                  <a:lnTo>
                    <a:pt x="172" y="112"/>
                  </a:lnTo>
                  <a:lnTo>
                    <a:pt x="174" y="112"/>
                  </a:lnTo>
                  <a:lnTo>
                    <a:pt x="176" y="112"/>
                  </a:lnTo>
                  <a:lnTo>
                    <a:pt x="179" y="112"/>
                  </a:lnTo>
                  <a:lnTo>
                    <a:pt x="181" y="112"/>
                  </a:lnTo>
                  <a:lnTo>
                    <a:pt x="183" y="112"/>
                  </a:lnTo>
                  <a:lnTo>
                    <a:pt x="185" y="112"/>
                  </a:lnTo>
                  <a:lnTo>
                    <a:pt x="187" y="112"/>
                  </a:lnTo>
                  <a:lnTo>
                    <a:pt x="189" y="112"/>
                  </a:lnTo>
                  <a:lnTo>
                    <a:pt x="191" y="112"/>
                  </a:lnTo>
                  <a:lnTo>
                    <a:pt x="193" y="112"/>
                  </a:lnTo>
                  <a:lnTo>
                    <a:pt x="195" y="112"/>
                  </a:lnTo>
                  <a:lnTo>
                    <a:pt x="195" y="112"/>
                  </a:lnTo>
                  <a:lnTo>
                    <a:pt x="197" y="112"/>
                  </a:lnTo>
                  <a:lnTo>
                    <a:pt x="199" y="112"/>
                  </a:lnTo>
                  <a:lnTo>
                    <a:pt x="201" y="112"/>
                  </a:lnTo>
                  <a:lnTo>
                    <a:pt x="203" y="112"/>
                  </a:lnTo>
                  <a:lnTo>
                    <a:pt x="205" y="112"/>
                  </a:lnTo>
                  <a:lnTo>
                    <a:pt x="205" y="114"/>
                  </a:lnTo>
                  <a:lnTo>
                    <a:pt x="205" y="116"/>
                  </a:lnTo>
                  <a:lnTo>
                    <a:pt x="203" y="116"/>
                  </a:lnTo>
                  <a:lnTo>
                    <a:pt x="203" y="118"/>
                  </a:lnTo>
                  <a:lnTo>
                    <a:pt x="205" y="118"/>
                  </a:lnTo>
                  <a:lnTo>
                    <a:pt x="203" y="118"/>
                  </a:lnTo>
                  <a:lnTo>
                    <a:pt x="203" y="120"/>
                  </a:lnTo>
                  <a:lnTo>
                    <a:pt x="203" y="122"/>
                  </a:lnTo>
                  <a:lnTo>
                    <a:pt x="201" y="124"/>
                  </a:lnTo>
                  <a:lnTo>
                    <a:pt x="201" y="126"/>
                  </a:lnTo>
                  <a:lnTo>
                    <a:pt x="201" y="128"/>
                  </a:lnTo>
                  <a:lnTo>
                    <a:pt x="199" y="130"/>
                  </a:lnTo>
                  <a:lnTo>
                    <a:pt x="201" y="130"/>
                  </a:lnTo>
                  <a:lnTo>
                    <a:pt x="199" y="130"/>
                  </a:lnTo>
                  <a:lnTo>
                    <a:pt x="201" y="130"/>
                  </a:lnTo>
                  <a:lnTo>
                    <a:pt x="199" y="132"/>
                  </a:lnTo>
                  <a:lnTo>
                    <a:pt x="201" y="132"/>
                  </a:lnTo>
                  <a:lnTo>
                    <a:pt x="201" y="130"/>
                  </a:lnTo>
                  <a:lnTo>
                    <a:pt x="201" y="132"/>
                  </a:lnTo>
                  <a:lnTo>
                    <a:pt x="199" y="132"/>
                  </a:lnTo>
                  <a:lnTo>
                    <a:pt x="201" y="132"/>
                  </a:lnTo>
                  <a:lnTo>
                    <a:pt x="201" y="134"/>
                  </a:lnTo>
                  <a:lnTo>
                    <a:pt x="201" y="136"/>
                  </a:lnTo>
                  <a:lnTo>
                    <a:pt x="203" y="136"/>
                  </a:lnTo>
                  <a:lnTo>
                    <a:pt x="201" y="136"/>
                  </a:lnTo>
                  <a:lnTo>
                    <a:pt x="203" y="136"/>
                  </a:lnTo>
                  <a:lnTo>
                    <a:pt x="203" y="138"/>
                  </a:lnTo>
                  <a:lnTo>
                    <a:pt x="203" y="136"/>
                  </a:lnTo>
                  <a:lnTo>
                    <a:pt x="203" y="138"/>
                  </a:lnTo>
                  <a:lnTo>
                    <a:pt x="203" y="140"/>
                  </a:lnTo>
                  <a:lnTo>
                    <a:pt x="205" y="140"/>
                  </a:lnTo>
                  <a:lnTo>
                    <a:pt x="205" y="142"/>
                  </a:lnTo>
                  <a:lnTo>
                    <a:pt x="207" y="142"/>
                  </a:lnTo>
                  <a:lnTo>
                    <a:pt x="209" y="144"/>
                  </a:lnTo>
                  <a:lnTo>
                    <a:pt x="209" y="144"/>
                  </a:lnTo>
                  <a:lnTo>
                    <a:pt x="209" y="146"/>
                  </a:lnTo>
                  <a:lnTo>
                    <a:pt x="211" y="146"/>
                  </a:lnTo>
                  <a:lnTo>
                    <a:pt x="211" y="148"/>
                  </a:lnTo>
                  <a:lnTo>
                    <a:pt x="211" y="150"/>
                  </a:lnTo>
                  <a:lnTo>
                    <a:pt x="211" y="152"/>
                  </a:lnTo>
                  <a:lnTo>
                    <a:pt x="211" y="154"/>
                  </a:lnTo>
                  <a:lnTo>
                    <a:pt x="213" y="154"/>
                  </a:lnTo>
                  <a:lnTo>
                    <a:pt x="213" y="156"/>
                  </a:lnTo>
                  <a:lnTo>
                    <a:pt x="215" y="156"/>
                  </a:lnTo>
                  <a:lnTo>
                    <a:pt x="215" y="158"/>
                  </a:lnTo>
                  <a:lnTo>
                    <a:pt x="215" y="156"/>
                  </a:lnTo>
                  <a:lnTo>
                    <a:pt x="217" y="156"/>
                  </a:lnTo>
                  <a:lnTo>
                    <a:pt x="217" y="158"/>
                  </a:lnTo>
                  <a:lnTo>
                    <a:pt x="215" y="158"/>
                  </a:lnTo>
                  <a:lnTo>
                    <a:pt x="215" y="160"/>
                  </a:lnTo>
                  <a:lnTo>
                    <a:pt x="213" y="160"/>
                  </a:lnTo>
                  <a:lnTo>
                    <a:pt x="213" y="158"/>
                  </a:lnTo>
                  <a:lnTo>
                    <a:pt x="215" y="158"/>
                  </a:lnTo>
                  <a:lnTo>
                    <a:pt x="213" y="158"/>
                  </a:lnTo>
                  <a:lnTo>
                    <a:pt x="211" y="158"/>
                  </a:lnTo>
                  <a:lnTo>
                    <a:pt x="209" y="158"/>
                  </a:lnTo>
                  <a:lnTo>
                    <a:pt x="207" y="158"/>
                  </a:lnTo>
                  <a:lnTo>
                    <a:pt x="205" y="158"/>
                  </a:lnTo>
                  <a:lnTo>
                    <a:pt x="205" y="156"/>
                  </a:lnTo>
                  <a:lnTo>
                    <a:pt x="203" y="156"/>
                  </a:lnTo>
                  <a:lnTo>
                    <a:pt x="201" y="156"/>
                  </a:lnTo>
                  <a:lnTo>
                    <a:pt x="201" y="154"/>
                  </a:lnTo>
                  <a:lnTo>
                    <a:pt x="199" y="154"/>
                  </a:lnTo>
                  <a:lnTo>
                    <a:pt x="197" y="154"/>
                  </a:lnTo>
                  <a:lnTo>
                    <a:pt x="195" y="154"/>
                  </a:lnTo>
                  <a:lnTo>
                    <a:pt x="195" y="154"/>
                  </a:lnTo>
                  <a:lnTo>
                    <a:pt x="195" y="152"/>
                  </a:lnTo>
                  <a:lnTo>
                    <a:pt x="195" y="150"/>
                  </a:lnTo>
                  <a:lnTo>
                    <a:pt x="193" y="150"/>
                  </a:lnTo>
                  <a:lnTo>
                    <a:pt x="193" y="148"/>
                  </a:lnTo>
                  <a:lnTo>
                    <a:pt x="191" y="148"/>
                  </a:lnTo>
                  <a:lnTo>
                    <a:pt x="189" y="148"/>
                  </a:lnTo>
                  <a:lnTo>
                    <a:pt x="187" y="148"/>
                  </a:lnTo>
                  <a:lnTo>
                    <a:pt x="187" y="146"/>
                  </a:lnTo>
                  <a:lnTo>
                    <a:pt x="185" y="146"/>
                  </a:lnTo>
                  <a:lnTo>
                    <a:pt x="183" y="146"/>
                  </a:lnTo>
                  <a:lnTo>
                    <a:pt x="183" y="148"/>
                  </a:lnTo>
                  <a:lnTo>
                    <a:pt x="181" y="148"/>
                  </a:lnTo>
                  <a:lnTo>
                    <a:pt x="181" y="150"/>
                  </a:lnTo>
                  <a:lnTo>
                    <a:pt x="179" y="152"/>
                  </a:lnTo>
                  <a:lnTo>
                    <a:pt x="179" y="154"/>
                  </a:lnTo>
                  <a:lnTo>
                    <a:pt x="176" y="154"/>
                  </a:lnTo>
                  <a:lnTo>
                    <a:pt x="176" y="156"/>
                  </a:lnTo>
                  <a:lnTo>
                    <a:pt x="174" y="156"/>
                  </a:lnTo>
                  <a:lnTo>
                    <a:pt x="174" y="158"/>
                  </a:lnTo>
                  <a:lnTo>
                    <a:pt x="172" y="158"/>
                  </a:lnTo>
                  <a:lnTo>
                    <a:pt x="172" y="160"/>
                  </a:lnTo>
                  <a:lnTo>
                    <a:pt x="172" y="162"/>
                  </a:lnTo>
                  <a:lnTo>
                    <a:pt x="172" y="164"/>
                  </a:lnTo>
                  <a:lnTo>
                    <a:pt x="174" y="164"/>
                  </a:lnTo>
                  <a:lnTo>
                    <a:pt x="174" y="166"/>
                  </a:lnTo>
                  <a:lnTo>
                    <a:pt x="176" y="166"/>
                  </a:lnTo>
                  <a:lnTo>
                    <a:pt x="179" y="166"/>
                  </a:lnTo>
                  <a:lnTo>
                    <a:pt x="181" y="166"/>
                  </a:lnTo>
                  <a:lnTo>
                    <a:pt x="183" y="166"/>
                  </a:lnTo>
                  <a:lnTo>
                    <a:pt x="185" y="166"/>
                  </a:lnTo>
                  <a:lnTo>
                    <a:pt x="185" y="168"/>
                  </a:lnTo>
                  <a:lnTo>
                    <a:pt x="187" y="168"/>
                  </a:lnTo>
                  <a:lnTo>
                    <a:pt x="189" y="168"/>
                  </a:lnTo>
                  <a:lnTo>
                    <a:pt x="191" y="168"/>
                  </a:lnTo>
                  <a:lnTo>
                    <a:pt x="191" y="166"/>
                  </a:lnTo>
                  <a:lnTo>
                    <a:pt x="191" y="168"/>
                  </a:lnTo>
                  <a:lnTo>
                    <a:pt x="191" y="166"/>
                  </a:lnTo>
                  <a:lnTo>
                    <a:pt x="193" y="166"/>
                  </a:lnTo>
                  <a:lnTo>
                    <a:pt x="195" y="166"/>
                  </a:lnTo>
                  <a:lnTo>
                    <a:pt x="195" y="166"/>
                  </a:lnTo>
                  <a:lnTo>
                    <a:pt x="195" y="164"/>
                  </a:lnTo>
                  <a:lnTo>
                    <a:pt x="197" y="164"/>
                  </a:lnTo>
                  <a:lnTo>
                    <a:pt x="197" y="162"/>
                  </a:lnTo>
                  <a:lnTo>
                    <a:pt x="199" y="162"/>
                  </a:lnTo>
                  <a:lnTo>
                    <a:pt x="199" y="160"/>
                  </a:lnTo>
                  <a:lnTo>
                    <a:pt x="201" y="160"/>
                  </a:lnTo>
                  <a:lnTo>
                    <a:pt x="201" y="162"/>
                  </a:lnTo>
                  <a:lnTo>
                    <a:pt x="203" y="162"/>
                  </a:lnTo>
                  <a:lnTo>
                    <a:pt x="205" y="162"/>
                  </a:lnTo>
                  <a:lnTo>
                    <a:pt x="205" y="160"/>
                  </a:lnTo>
                  <a:lnTo>
                    <a:pt x="207" y="160"/>
                  </a:lnTo>
                  <a:lnTo>
                    <a:pt x="207" y="158"/>
                  </a:lnTo>
                  <a:lnTo>
                    <a:pt x="205" y="158"/>
                  </a:lnTo>
                  <a:lnTo>
                    <a:pt x="207" y="158"/>
                  </a:lnTo>
                  <a:lnTo>
                    <a:pt x="207" y="160"/>
                  </a:lnTo>
                  <a:lnTo>
                    <a:pt x="207" y="158"/>
                  </a:lnTo>
                  <a:lnTo>
                    <a:pt x="207" y="160"/>
                  </a:lnTo>
                  <a:lnTo>
                    <a:pt x="207" y="158"/>
                  </a:lnTo>
                  <a:lnTo>
                    <a:pt x="209" y="158"/>
                  </a:lnTo>
                  <a:lnTo>
                    <a:pt x="211" y="158"/>
                  </a:lnTo>
                  <a:lnTo>
                    <a:pt x="211" y="160"/>
                  </a:lnTo>
                  <a:lnTo>
                    <a:pt x="211" y="158"/>
                  </a:lnTo>
                  <a:lnTo>
                    <a:pt x="211" y="160"/>
                  </a:lnTo>
                  <a:lnTo>
                    <a:pt x="211" y="158"/>
                  </a:lnTo>
                  <a:lnTo>
                    <a:pt x="211" y="160"/>
                  </a:lnTo>
                  <a:lnTo>
                    <a:pt x="211" y="158"/>
                  </a:lnTo>
                  <a:lnTo>
                    <a:pt x="211" y="160"/>
                  </a:lnTo>
                  <a:lnTo>
                    <a:pt x="213" y="160"/>
                  </a:lnTo>
                  <a:lnTo>
                    <a:pt x="211" y="160"/>
                  </a:lnTo>
                  <a:lnTo>
                    <a:pt x="211" y="162"/>
                  </a:lnTo>
                  <a:lnTo>
                    <a:pt x="209" y="162"/>
                  </a:lnTo>
                  <a:lnTo>
                    <a:pt x="209" y="164"/>
                  </a:lnTo>
                  <a:lnTo>
                    <a:pt x="207" y="164"/>
                  </a:lnTo>
                  <a:lnTo>
                    <a:pt x="207" y="166"/>
                  </a:lnTo>
                  <a:lnTo>
                    <a:pt x="205" y="166"/>
                  </a:lnTo>
                  <a:lnTo>
                    <a:pt x="203" y="166"/>
                  </a:lnTo>
                  <a:lnTo>
                    <a:pt x="201" y="166"/>
                  </a:lnTo>
                  <a:lnTo>
                    <a:pt x="201" y="168"/>
                  </a:lnTo>
                  <a:lnTo>
                    <a:pt x="201" y="170"/>
                  </a:lnTo>
                  <a:lnTo>
                    <a:pt x="201" y="172"/>
                  </a:lnTo>
                  <a:lnTo>
                    <a:pt x="203" y="172"/>
                  </a:lnTo>
                  <a:lnTo>
                    <a:pt x="205" y="172"/>
                  </a:lnTo>
                  <a:lnTo>
                    <a:pt x="207" y="172"/>
                  </a:lnTo>
                  <a:lnTo>
                    <a:pt x="207" y="170"/>
                  </a:lnTo>
                  <a:lnTo>
                    <a:pt x="209" y="172"/>
                  </a:lnTo>
                  <a:lnTo>
                    <a:pt x="207" y="172"/>
                  </a:lnTo>
                  <a:lnTo>
                    <a:pt x="205" y="172"/>
                  </a:lnTo>
                  <a:lnTo>
                    <a:pt x="207" y="172"/>
                  </a:lnTo>
                  <a:lnTo>
                    <a:pt x="207" y="174"/>
                  </a:lnTo>
                  <a:lnTo>
                    <a:pt x="207" y="172"/>
                  </a:lnTo>
                  <a:lnTo>
                    <a:pt x="205" y="172"/>
                  </a:lnTo>
                  <a:lnTo>
                    <a:pt x="207" y="172"/>
                  </a:lnTo>
                  <a:lnTo>
                    <a:pt x="207" y="174"/>
                  </a:lnTo>
                  <a:lnTo>
                    <a:pt x="209" y="174"/>
                  </a:lnTo>
                  <a:lnTo>
                    <a:pt x="209" y="176"/>
                  </a:lnTo>
                  <a:lnTo>
                    <a:pt x="209" y="174"/>
                  </a:lnTo>
                  <a:lnTo>
                    <a:pt x="207" y="174"/>
                  </a:lnTo>
                  <a:lnTo>
                    <a:pt x="209" y="174"/>
                  </a:lnTo>
                  <a:lnTo>
                    <a:pt x="209" y="176"/>
                  </a:lnTo>
                  <a:lnTo>
                    <a:pt x="211" y="176"/>
                  </a:lnTo>
                  <a:lnTo>
                    <a:pt x="213" y="176"/>
                  </a:lnTo>
                  <a:lnTo>
                    <a:pt x="213" y="174"/>
                  </a:lnTo>
                  <a:lnTo>
                    <a:pt x="215" y="174"/>
                  </a:lnTo>
                  <a:lnTo>
                    <a:pt x="215" y="172"/>
                  </a:lnTo>
                  <a:lnTo>
                    <a:pt x="215" y="170"/>
                  </a:lnTo>
                  <a:lnTo>
                    <a:pt x="215" y="172"/>
                  </a:lnTo>
                  <a:lnTo>
                    <a:pt x="215" y="170"/>
                  </a:lnTo>
                  <a:lnTo>
                    <a:pt x="215" y="168"/>
                  </a:lnTo>
                  <a:lnTo>
                    <a:pt x="217" y="168"/>
                  </a:lnTo>
                  <a:lnTo>
                    <a:pt x="217" y="166"/>
                  </a:lnTo>
                  <a:lnTo>
                    <a:pt x="219" y="166"/>
                  </a:lnTo>
                  <a:lnTo>
                    <a:pt x="219" y="164"/>
                  </a:lnTo>
                  <a:lnTo>
                    <a:pt x="219" y="162"/>
                  </a:lnTo>
                  <a:lnTo>
                    <a:pt x="219" y="164"/>
                  </a:lnTo>
                  <a:lnTo>
                    <a:pt x="221" y="164"/>
                  </a:lnTo>
                  <a:lnTo>
                    <a:pt x="223" y="164"/>
                  </a:lnTo>
                  <a:lnTo>
                    <a:pt x="221" y="164"/>
                  </a:lnTo>
                  <a:lnTo>
                    <a:pt x="221" y="166"/>
                  </a:lnTo>
                  <a:lnTo>
                    <a:pt x="223" y="166"/>
                  </a:lnTo>
                  <a:lnTo>
                    <a:pt x="223" y="164"/>
                  </a:lnTo>
                  <a:lnTo>
                    <a:pt x="223" y="166"/>
                  </a:lnTo>
                  <a:lnTo>
                    <a:pt x="225" y="166"/>
                  </a:lnTo>
                  <a:lnTo>
                    <a:pt x="223" y="166"/>
                  </a:lnTo>
                  <a:lnTo>
                    <a:pt x="225" y="168"/>
                  </a:lnTo>
                  <a:lnTo>
                    <a:pt x="223" y="168"/>
                  </a:lnTo>
                  <a:lnTo>
                    <a:pt x="223" y="166"/>
                  </a:lnTo>
                  <a:lnTo>
                    <a:pt x="221" y="166"/>
                  </a:lnTo>
                  <a:lnTo>
                    <a:pt x="221" y="168"/>
                  </a:lnTo>
                  <a:lnTo>
                    <a:pt x="221" y="166"/>
                  </a:lnTo>
                  <a:lnTo>
                    <a:pt x="221" y="168"/>
                  </a:lnTo>
                  <a:lnTo>
                    <a:pt x="223" y="168"/>
                  </a:lnTo>
                  <a:lnTo>
                    <a:pt x="221" y="168"/>
                  </a:lnTo>
                  <a:lnTo>
                    <a:pt x="221" y="170"/>
                  </a:lnTo>
                  <a:lnTo>
                    <a:pt x="223" y="170"/>
                  </a:lnTo>
                  <a:lnTo>
                    <a:pt x="223" y="168"/>
                  </a:lnTo>
                  <a:lnTo>
                    <a:pt x="223" y="170"/>
                  </a:lnTo>
                  <a:lnTo>
                    <a:pt x="225" y="170"/>
                  </a:lnTo>
                  <a:lnTo>
                    <a:pt x="225" y="172"/>
                  </a:lnTo>
                  <a:lnTo>
                    <a:pt x="225" y="174"/>
                  </a:lnTo>
                  <a:lnTo>
                    <a:pt x="227" y="174"/>
                  </a:lnTo>
                  <a:lnTo>
                    <a:pt x="225" y="174"/>
                  </a:lnTo>
                  <a:lnTo>
                    <a:pt x="227" y="174"/>
                  </a:lnTo>
                  <a:lnTo>
                    <a:pt x="227" y="172"/>
                  </a:lnTo>
                  <a:lnTo>
                    <a:pt x="227" y="174"/>
                  </a:lnTo>
                  <a:lnTo>
                    <a:pt x="229" y="174"/>
                  </a:lnTo>
                  <a:lnTo>
                    <a:pt x="227" y="174"/>
                  </a:lnTo>
                  <a:lnTo>
                    <a:pt x="227" y="176"/>
                  </a:lnTo>
                  <a:lnTo>
                    <a:pt x="229" y="176"/>
                  </a:lnTo>
                  <a:lnTo>
                    <a:pt x="229" y="174"/>
                  </a:lnTo>
                  <a:lnTo>
                    <a:pt x="229" y="176"/>
                  </a:lnTo>
                  <a:lnTo>
                    <a:pt x="227" y="176"/>
                  </a:lnTo>
                  <a:lnTo>
                    <a:pt x="229" y="176"/>
                  </a:lnTo>
                  <a:lnTo>
                    <a:pt x="229" y="174"/>
                  </a:lnTo>
                  <a:lnTo>
                    <a:pt x="229" y="176"/>
                  </a:lnTo>
                  <a:lnTo>
                    <a:pt x="229" y="174"/>
                  </a:lnTo>
                  <a:lnTo>
                    <a:pt x="229" y="176"/>
                  </a:lnTo>
                  <a:lnTo>
                    <a:pt x="231" y="176"/>
                  </a:lnTo>
                  <a:lnTo>
                    <a:pt x="231" y="174"/>
                  </a:lnTo>
                  <a:lnTo>
                    <a:pt x="231" y="176"/>
                  </a:lnTo>
                  <a:lnTo>
                    <a:pt x="229" y="176"/>
                  </a:lnTo>
                  <a:lnTo>
                    <a:pt x="231" y="176"/>
                  </a:lnTo>
                  <a:lnTo>
                    <a:pt x="229" y="176"/>
                  </a:lnTo>
                  <a:lnTo>
                    <a:pt x="227" y="176"/>
                  </a:lnTo>
                  <a:lnTo>
                    <a:pt x="225" y="176"/>
                  </a:lnTo>
                  <a:lnTo>
                    <a:pt x="225" y="178"/>
                  </a:lnTo>
                  <a:lnTo>
                    <a:pt x="223" y="178"/>
                  </a:lnTo>
                  <a:lnTo>
                    <a:pt x="225" y="178"/>
                  </a:lnTo>
                  <a:lnTo>
                    <a:pt x="225" y="180"/>
                  </a:lnTo>
                  <a:lnTo>
                    <a:pt x="225" y="178"/>
                  </a:lnTo>
                  <a:lnTo>
                    <a:pt x="227" y="178"/>
                  </a:lnTo>
                  <a:lnTo>
                    <a:pt x="227" y="180"/>
                  </a:lnTo>
                  <a:lnTo>
                    <a:pt x="229" y="180"/>
                  </a:lnTo>
                  <a:lnTo>
                    <a:pt x="229" y="178"/>
                  </a:lnTo>
                  <a:lnTo>
                    <a:pt x="231" y="178"/>
                  </a:lnTo>
                  <a:lnTo>
                    <a:pt x="231" y="180"/>
                  </a:lnTo>
                  <a:lnTo>
                    <a:pt x="229" y="180"/>
                  </a:lnTo>
                  <a:lnTo>
                    <a:pt x="231" y="180"/>
                  </a:lnTo>
                  <a:lnTo>
                    <a:pt x="231" y="182"/>
                  </a:lnTo>
                  <a:lnTo>
                    <a:pt x="229" y="182"/>
                  </a:lnTo>
                  <a:lnTo>
                    <a:pt x="229" y="180"/>
                  </a:lnTo>
                  <a:lnTo>
                    <a:pt x="227" y="180"/>
                  </a:lnTo>
                  <a:lnTo>
                    <a:pt x="225" y="180"/>
                  </a:lnTo>
                  <a:lnTo>
                    <a:pt x="225" y="182"/>
                  </a:lnTo>
                  <a:lnTo>
                    <a:pt x="223" y="182"/>
                  </a:lnTo>
                  <a:lnTo>
                    <a:pt x="223" y="180"/>
                  </a:lnTo>
                  <a:lnTo>
                    <a:pt x="221" y="180"/>
                  </a:lnTo>
                  <a:lnTo>
                    <a:pt x="221" y="178"/>
                  </a:lnTo>
                  <a:lnTo>
                    <a:pt x="221" y="180"/>
                  </a:lnTo>
                  <a:lnTo>
                    <a:pt x="221" y="182"/>
                  </a:lnTo>
                  <a:lnTo>
                    <a:pt x="223" y="182"/>
                  </a:lnTo>
                  <a:lnTo>
                    <a:pt x="223" y="184"/>
                  </a:lnTo>
                  <a:lnTo>
                    <a:pt x="223" y="182"/>
                  </a:lnTo>
                  <a:lnTo>
                    <a:pt x="221" y="182"/>
                  </a:lnTo>
                  <a:lnTo>
                    <a:pt x="221" y="184"/>
                  </a:lnTo>
                  <a:lnTo>
                    <a:pt x="223" y="184"/>
                  </a:lnTo>
                  <a:lnTo>
                    <a:pt x="223" y="186"/>
                  </a:lnTo>
                  <a:lnTo>
                    <a:pt x="221" y="186"/>
                  </a:lnTo>
                  <a:lnTo>
                    <a:pt x="223" y="186"/>
                  </a:lnTo>
                  <a:lnTo>
                    <a:pt x="221" y="186"/>
                  </a:lnTo>
                  <a:lnTo>
                    <a:pt x="223" y="186"/>
                  </a:lnTo>
                  <a:lnTo>
                    <a:pt x="221" y="186"/>
                  </a:lnTo>
                  <a:lnTo>
                    <a:pt x="221" y="184"/>
                  </a:lnTo>
                  <a:lnTo>
                    <a:pt x="221" y="186"/>
                  </a:lnTo>
                  <a:lnTo>
                    <a:pt x="221" y="184"/>
                  </a:lnTo>
                  <a:lnTo>
                    <a:pt x="219" y="184"/>
                  </a:lnTo>
                  <a:lnTo>
                    <a:pt x="219" y="182"/>
                  </a:lnTo>
                  <a:lnTo>
                    <a:pt x="219" y="184"/>
                  </a:lnTo>
                  <a:lnTo>
                    <a:pt x="219" y="182"/>
                  </a:lnTo>
                  <a:lnTo>
                    <a:pt x="217" y="182"/>
                  </a:lnTo>
                  <a:lnTo>
                    <a:pt x="217" y="184"/>
                  </a:lnTo>
                  <a:lnTo>
                    <a:pt x="217" y="182"/>
                  </a:lnTo>
                  <a:lnTo>
                    <a:pt x="215" y="182"/>
                  </a:lnTo>
                  <a:lnTo>
                    <a:pt x="215" y="184"/>
                  </a:lnTo>
                  <a:lnTo>
                    <a:pt x="213" y="184"/>
                  </a:lnTo>
                  <a:lnTo>
                    <a:pt x="215" y="184"/>
                  </a:lnTo>
                  <a:lnTo>
                    <a:pt x="213" y="184"/>
                  </a:lnTo>
                  <a:lnTo>
                    <a:pt x="215" y="184"/>
                  </a:lnTo>
                  <a:lnTo>
                    <a:pt x="213" y="184"/>
                  </a:lnTo>
                  <a:lnTo>
                    <a:pt x="213" y="182"/>
                  </a:lnTo>
                  <a:lnTo>
                    <a:pt x="211" y="182"/>
                  </a:lnTo>
                  <a:lnTo>
                    <a:pt x="211" y="184"/>
                  </a:lnTo>
                  <a:lnTo>
                    <a:pt x="213" y="184"/>
                  </a:lnTo>
                  <a:lnTo>
                    <a:pt x="211" y="184"/>
                  </a:lnTo>
                  <a:lnTo>
                    <a:pt x="213" y="184"/>
                  </a:lnTo>
                  <a:lnTo>
                    <a:pt x="211" y="184"/>
                  </a:lnTo>
                  <a:lnTo>
                    <a:pt x="213" y="184"/>
                  </a:lnTo>
                  <a:lnTo>
                    <a:pt x="213" y="186"/>
                  </a:lnTo>
                  <a:lnTo>
                    <a:pt x="213" y="184"/>
                  </a:lnTo>
                  <a:lnTo>
                    <a:pt x="213" y="186"/>
                  </a:lnTo>
                  <a:lnTo>
                    <a:pt x="213" y="184"/>
                  </a:lnTo>
                  <a:lnTo>
                    <a:pt x="213" y="186"/>
                  </a:lnTo>
                  <a:lnTo>
                    <a:pt x="215" y="186"/>
                  </a:lnTo>
                  <a:lnTo>
                    <a:pt x="213" y="186"/>
                  </a:lnTo>
                  <a:lnTo>
                    <a:pt x="215" y="186"/>
                  </a:lnTo>
                  <a:lnTo>
                    <a:pt x="215" y="188"/>
                  </a:lnTo>
                  <a:lnTo>
                    <a:pt x="217" y="188"/>
                  </a:lnTo>
                  <a:lnTo>
                    <a:pt x="217" y="186"/>
                  </a:lnTo>
                  <a:lnTo>
                    <a:pt x="219" y="186"/>
                  </a:lnTo>
                  <a:lnTo>
                    <a:pt x="217" y="186"/>
                  </a:lnTo>
                  <a:lnTo>
                    <a:pt x="219" y="186"/>
                  </a:lnTo>
                  <a:lnTo>
                    <a:pt x="217" y="186"/>
                  </a:lnTo>
                  <a:lnTo>
                    <a:pt x="217" y="184"/>
                  </a:lnTo>
                  <a:lnTo>
                    <a:pt x="219" y="184"/>
                  </a:lnTo>
                  <a:lnTo>
                    <a:pt x="217" y="184"/>
                  </a:lnTo>
                  <a:lnTo>
                    <a:pt x="219" y="184"/>
                  </a:lnTo>
                  <a:lnTo>
                    <a:pt x="219" y="186"/>
                  </a:lnTo>
                  <a:lnTo>
                    <a:pt x="219" y="188"/>
                  </a:lnTo>
                  <a:lnTo>
                    <a:pt x="219" y="186"/>
                  </a:lnTo>
                  <a:lnTo>
                    <a:pt x="217" y="186"/>
                  </a:lnTo>
                  <a:lnTo>
                    <a:pt x="217" y="188"/>
                  </a:lnTo>
                  <a:lnTo>
                    <a:pt x="219" y="188"/>
                  </a:lnTo>
                  <a:lnTo>
                    <a:pt x="219" y="190"/>
                  </a:lnTo>
                  <a:lnTo>
                    <a:pt x="221" y="190"/>
                  </a:lnTo>
                  <a:lnTo>
                    <a:pt x="219" y="190"/>
                  </a:lnTo>
                  <a:lnTo>
                    <a:pt x="219" y="188"/>
                  </a:lnTo>
                  <a:lnTo>
                    <a:pt x="217" y="188"/>
                  </a:lnTo>
                  <a:lnTo>
                    <a:pt x="215" y="188"/>
                  </a:lnTo>
                  <a:lnTo>
                    <a:pt x="213" y="188"/>
                  </a:lnTo>
                  <a:lnTo>
                    <a:pt x="213" y="186"/>
                  </a:lnTo>
                  <a:lnTo>
                    <a:pt x="213" y="188"/>
                  </a:lnTo>
                  <a:lnTo>
                    <a:pt x="213" y="186"/>
                  </a:lnTo>
                  <a:lnTo>
                    <a:pt x="211" y="188"/>
                  </a:lnTo>
                  <a:lnTo>
                    <a:pt x="211" y="186"/>
                  </a:lnTo>
                  <a:lnTo>
                    <a:pt x="209" y="186"/>
                  </a:lnTo>
                  <a:lnTo>
                    <a:pt x="211" y="186"/>
                  </a:lnTo>
                  <a:lnTo>
                    <a:pt x="209" y="186"/>
                  </a:lnTo>
                  <a:lnTo>
                    <a:pt x="211" y="186"/>
                  </a:lnTo>
                  <a:lnTo>
                    <a:pt x="211" y="188"/>
                  </a:lnTo>
                  <a:lnTo>
                    <a:pt x="211" y="186"/>
                  </a:lnTo>
                  <a:lnTo>
                    <a:pt x="211" y="188"/>
                  </a:lnTo>
                  <a:lnTo>
                    <a:pt x="211" y="186"/>
                  </a:lnTo>
                  <a:lnTo>
                    <a:pt x="209" y="186"/>
                  </a:lnTo>
                  <a:lnTo>
                    <a:pt x="211" y="186"/>
                  </a:lnTo>
                  <a:lnTo>
                    <a:pt x="211" y="188"/>
                  </a:lnTo>
                  <a:lnTo>
                    <a:pt x="209" y="188"/>
                  </a:lnTo>
                  <a:lnTo>
                    <a:pt x="211" y="188"/>
                  </a:lnTo>
                  <a:lnTo>
                    <a:pt x="213" y="188"/>
                  </a:lnTo>
                  <a:lnTo>
                    <a:pt x="211" y="188"/>
                  </a:lnTo>
                  <a:lnTo>
                    <a:pt x="213" y="188"/>
                  </a:lnTo>
                  <a:lnTo>
                    <a:pt x="211" y="188"/>
                  </a:lnTo>
                  <a:lnTo>
                    <a:pt x="211" y="190"/>
                  </a:lnTo>
                  <a:lnTo>
                    <a:pt x="213" y="190"/>
                  </a:lnTo>
                  <a:lnTo>
                    <a:pt x="211" y="190"/>
                  </a:lnTo>
                  <a:lnTo>
                    <a:pt x="209" y="190"/>
                  </a:lnTo>
                  <a:lnTo>
                    <a:pt x="211" y="190"/>
                  </a:lnTo>
                  <a:lnTo>
                    <a:pt x="209" y="190"/>
                  </a:lnTo>
                  <a:lnTo>
                    <a:pt x="209" y="192"/>
                  </a:lnTo>
                  <a:lnTo>
                    <a:pt x="207" y="192"/>
                  </a:lnTo>
                  <a:lnTo>
                    <a:pt x="207" y="190"/>
                  </a:lnTo>
                  <a:lnTo>
                    <a:pt x="207" y="192"/>
                  </a:lnTo>
                  <a:lnTo>
                    <a:pt x="207" y="190"/>
                  </a:lnTo>
                  <a:lnTo>
                    <a:pt x="207" y="192"/>
                  </a:lnTo>
                  <a:lnTo>
                    <a:pt x="209" y="192"/>
                  </a:lnTo>
                  <a:lnTo>
                    <a:pt x="207" y="192"/>
                  </a:lnTo>
                  <a:lnTo>
                    <a:pt x="209" y="192"/>
                  </a:lnTo>
                  <a:lnTo>
                    <a:pt x="207" y="192"/>
                  </a:lnTo>
                  <a:lnTo>
                    <a:pt x="209" y="192"/>
                  </a:lnTo>
                  <a:lnTo>
                    <a:pt x="209" y="192"/>
                  </a:lnTo>
                  <a:lnTo>
                    <a:pt x="209" y="192"/>
                  </a:lnTo>
                  <a:lnTo>
                    <a:pt x="209" y="192"/>
                  </a:lnTo>
                  <a:lnTo>
                    <a:pt x="211" y="192"/>
                  </a:lnTo>
                  <a:lnTo>
                    <a:pt x="211" y="194"/>
                  </a:lnTo>
                  <a:lnTo>
                    <a:pt x="211" y="192"/>
                  </a:lnTo>
                  <a:lnTo>
                    <a:pt x="211" y="194"/>
                  </a:lnTo>
                  <a:lnTo>
                    <a:pt x="211" y="192"/>
                  </a:lnTo>
                  <a:lnTo>
                    <a:pt x="211" y="194"/>
                  </a:lnTo>
                  <a:lnTo>
                    <a:pt x="209" y="194"/>
                  </a:lnTo>
                  <a:lnTo>
                    <a:pt x="209" y="192"/>
                  </a:lnTo>
                  <a:lnTo>
                    <a:pt x="209" y="194"/>
                  </a:lnTo>
                  <a:lnTo>
                    <a:pt x="211" y="194"/>
                  </a:lnTo>
                  <a:lnTo>
                    <a:pt x="211" y="192"/>
                  </a:lnTo>
                  <a:lnTo>
                    <a:pt x="211" y="194"/>
                  </a:lnTo>
                  <a:lnTo>
                    <a:pt x="213" y="194"/>
                  </a:lnTo>
                  <a:lnTo>
                    <a:pt x="213" y="196"/>
                  </a:lnTo>
                  <a:lnTo>
                    <a:pt x="213" y="194"/>
                  </a:lnTo>
                  <a:lnTo>
                    <a:pt x="213" y="196"/>
                  </a:lnTo>
                  <a:lnTo>
                    <a:pt x="215" y="196"/>
                  </a:lnTo>
                  <a:lnTo>
                    <a:pt x="213" y="196"/>
                  </a:lnTo>
                  <a:lnTo>
                    <a:pt x="215" y="196"/>
                  </a:lnTo>
                  <a:lnTo>
                    <a:pt x="213" y="196"/>
                  </a:lnTo>
                  <a:lnTo>
                    <a:pt x="215" y="196"/>
                  </a:lnTo>
                  <a:lnTo>
                    <a:pt x="215" y="198"/>
                  </a:lnTo>
                  <a:lnTo>
                    <a:pt x="217" y="198"/>
                  </a:lnTo>
                  <a:lnTo>
                    <a:pt x="219" y="198"/>
                  </a:lnTo>
                  <a:lnTo>
                    <a:pt x="217" y="198"/>
                  </a:lnTo>
                  <a:lnTo>
                    <a:pt x="219" y="198"/>
                  </a:lnTo>
                  <a:lnTo>
                    <a:pt x="217" y="198"/>
                  </a:lnTo>
                  <a:lnTo>
                    <a:pt x="219" y="198"/>
                  </a:lnTo>
                  <a:lnTo>
                    <a:pt x="217" y="198"/>
                  </a:lnTo>
                  <a:lnTo>
                    <a:pt x="217" y="200"/>
                  </a:lnTo>
                  <a:lnTo>
                    <a:pt x="217" y="198"/>
                  </a:lnTo>
                  <a:lnTo>
                    <a:pt x="217" y="200"/>
                  </a:lnTo>
                  <a:lnTo>
                    <a:pt x="219" y="200"/>
                  </a:lnTo>
                  <a:lnTo>
                    <a:pt x="217" y="200"/>
                  </a:lnTo>
                  <a:lnTo>
                    <a:pt x="217" y="202"/>
                  </a:lnTo>
                  <a:lnTo>
                    <a:pt x="217" y="200"/>
                  </a:lnTo>
                  <a:lnTo>
                    <a:pt x="217" y="202"/>
                  </a:lnTo>
                  <a:lnTo>
                    <a:pt x="217" y="200"/>
                  </a:lnTo>
                  <a:lnTo>
                    <a:pt x="217" y="202"/>
                  </a:lnTo>
                  <a:lnTo>
                    <a:pt x="219" y="202"/>
                  </a:lnTo>
                  <a:lnTo>
                    <a:pt x="221" y="202"/>
                  </a:lnTo>
                  <a:lnTo>
                    <a:pt x="223" y="202"/>
                  </a:lnTo>
                  <a:lnTo>
                    <a:pt x="225" y="202"/>
                  </a:lnTo>
                  <a:lnTo>
                    <a:pt x="223" y="202"/>
                  </a:lnTo>
                  <a:lnTo>
                    <a:pt x="225" y="202"/>
                  </a:lnTo>
                  <a:lnTo>
                    <a:pt x="223" y="202"/>
                  </a:lnTo>
                  <a:lnTo>
                    <a:pt x="225" y="202"/>
                  </a:lnTo>
                  <a:lnTo>
                    <a:pt x="223" y="202"/>
                  </a:lnTo>
                  <a:lnTo>
                    <a:pt x="225" y="202"/>
                  </a:lnTo>
                  <a:lnTo>
                    <a:pt x="225" y="204"/>
                  </a:lnTo>
                  <a:lnTo>
                    <a:pt x="225" y="202"/>
                  </a:lnTo>
                  <a:lnTo>
                    <a:pt x="225" y="204"/>
                  </a:lnTo>
                  <a:lnTo>
                    <a:pt x="225" y="202"/>
                  </a:lnTo>
                  <a:lnTo>
                    <a:pt x="225" y="204"/>
                  </a:lnTo>
                  <a:lnTo>
                    <a:pt x="227" y="204"/>
                  </a:lnTo>
                  <a:lnTo>
                    <a:pt x="225" y="204"/>
                  </a:lnTo>
                  <a:lnTo>
                    <a:pt x="227" y="204"/>
                  </a:lnTo>
                  <a:lnTo>
                    <a:pt x="225" y="204"/>
                  </a:lnTo>
                  <a:lnTo>
                    <a:pt x="227" y="204"/>
                  </a:lnTo>
                  <a:lnTo>
                    <a:pt x="227" y="206"/>
                  </a:lnTo>
                  <a:lnTo>
                    <a:pt x="229" y="206"/>
                  </a:lnTo>
                  <a:lnTo>
                    <a:pt x="227" y="204"/>
                  </a:lnTo>
                  <a:lnTo>
                    <a:pt x="229" y="204"/>
                  </a:lnTo>
                  <a:lnTo>
                    <a:pt x="229" y="206"/>
                  </a:lnTo>
                  <a:lnTo>
                    <a:pt x="229" y="204"/>
                  </a:lnTo>
                  <a:lnTo>
                    <a:pt x="229" y="206"/>
                  </a:lnTo>
                  <a:lnTo>
                    <a:pt x="229" y="204"/>
                  </a:lnTo>
                  <a:lnTo>
                    <a:pt x="229" y="206"/>
                  </a:lnTo>
                  <a:lnTo>
                    <a:pt x="229" y="204"/>
                  </a:lnTo>
                  <a:lnTo>
                    <a:pt x="231" y="204"/>
                  </a:lnTo>
                  <a:lnTo>
                    <a:pt x="233" y="204"/>
                  </a:lnTo>
                  <a:lnTo>
                    <a:pt x="233" y="206"/>
                  </a:lnTo>
                  <a:lnTo>
                    <a:pt x="233" y="204"/>
                  </a:lnTo>
                  <a:lnTo>
                    <a:pt x="233" y="206"/>
                  </a:lnTo>
                  <a:lnTo>
                    <a:pt x="231" y="206"/>
                  </a:lnTo>
                  <a:lnTo>
                    <a:pt x="231" y="208"/>
                  </a:lnTo>
                  <a:lnTo>
                    <a:pt x="233" y="208"/>
                  </a:lnTo>
                  <a:lnTo>
                    <a:pt x="233" y="206"/>
                  </a:lnTo>
                  <a:lnTo>
                    <a:pt x="233" y="208"/>
                  </a:lnTo>
                  <a:lnTo>
                    <a:pt x="231" y="208"/>
                  </a:lnTo>
                  <a:lnTo>
                    <a:pt x="233" y="208"/>
                  </a:lnTo>
                  <a:lnTo>
                    <a:pt x="235" y="208"/>
                  </a:lnTo>
                  <a:lnTo>
                    <a:pt x="235" y="210"/>
                  </a:lnTo>
                  <a:lnTo>
                    <a:pt x="233" y="210"/>
                  </a:lnTo>
                  <a:lnTo>
                    <a:pt x="233" y="212"/>
                  </a:lnTo>
                  <a:lnTo>
                    <a:pt x="233" y="210"/>
                  </a:lnTo>
                  <a:lnTo>
                    <a:pt x="233" y="212"/>
                  </a:lnTo>
                  <a:lnTo>
                    <a:pt x="233" y="214"/>
                  </a:lnTo>
                  <a:lnTo>
                    <a:pt x="235" y="214"/>
                  </a:lnTo>
                  <a:lnTo>
                    <a:pt x="237" y="214"/>
                  </a:lnTo>
                  <a:lnTo>
                    <a:pt x="239" y="214"/>
                  </a:lnTo>
                  <a:lnTo>
                    <a:pt x="237" y="214"/>
                  </a:lnTo>
                  <a:lnTo>
                    <a:pt x="237" y="216"/>
                  </a:lnTo>
                  <a:lnTo>
                    <a:pt x="235" y="216"/>
                  </a:lnTo>
                  <a:lnTo>
                    <a:pt x="235" y="214"/>
                  </a:lnTo>
                  <a:lnTo>
                    <a:pt x="235" y="216"/>
                  </a:lnTo>
                  <a:lnTo>
                    <a:pt x="233" y="216"/>
                  </a:lnTo>
                  <a:lnTo>
                    <a:pt x="235" y="216"/>
                  </a:lnTo>
                  <a:lnTo>
                    <a:pt x="235" y="218"/>
                  </a:lnTo>
                  <a:lnTo>
                    <a:pt x="235" y="216"/>
                  </a:lnTo>
                  <a:lnTo>
                    <a:pt x="235" y="218"/>
                  </a:lnTo>
                  <a:lnTo>
                    <a:pt x="235" y="221"/>
                  </a:lnTo>
                  <a:lnTo>
                    <a:pt x="237" y="221"/>
                  </a:lnTo>
                  <a:lnTo>
                    <a:pt x="237" y="223"/>
                  </a:lnTo>
                  <a:lnTo>
                    <a:pt x="239" y="223"/>
                  </a:lnTo>
                  <a:lnTo>
                    <a:pt x="237" y="223"/>
                  </a:lnTo>
                  <a:lnTo>
                    <a:pt x="237" y="221"/>
                  </a:lnTo>
                  <a:lnTo>
                    <a:pt x="237" y="223"/>
                  </a:lnTo>
                  <a:lnTo>
                    <a:pt x="237" y="221"/>
                  </a:lnTo>
                  <a:lnTo>
                    <a:pt x="237" y="223"/>
                  </a:lnTo>
                  <a:lnTo>
                    <a:pt x="237" y="221"/>
                  </a:lnTo>
                  <a:lnTo>
                    <a:pt x="237" y="223"/>
                  </a:lnTo>
                  <a:lnTo>
                    <a:pt x="237" y="221"/>
                  </a:lnTo>
                  <a:lnTo>
                    <a:pt x="237" y="223"/>
                  </a:lnTo>
                  <a:lnTo>
                    <a:pt x="239" y="223"/>
                  </a:lnTo>
                  <a:lnTo>
                    <a:pt x="237" y="223"/>
                  </a:lnTo>
                  <a:lnTo>
                    <a:pt x="239" y="223"/>
                  </a:lnTo>
                  <a:lnTo>
                    <a:pt x="237" y="223"/>
                  </a:lnTo>
                  <a:lnTo>
                    <a:pt x="237" y="221"/>
                  </a:lnTo>
                  <a:lnTo>
                    <a:pt x="235" y="221"/>
                  </a:lnTo>
                  <a:lnTo>
                    <a:pt x="235" y="218"/>
                  </a:lnTo>
                  <a:lnTo>
                    <a:pt x="235" y="216"/>
                  </a:lnTo>
                  <a:lnTo>
                    <a:pt x="233" y="216"/>
                  </a:lnTo>
                  <a:lnTo>
                    <a:pt x="233" y="214"/>
                  </a:lnTo>
                  <a:lnTo>
                    <a:pt x="233" y="216"/>
                  </a:lnTo>
                  <a:lnTo>
                    <a:pt x="231" y="216"/>
                  </a:lnTo>
                  <a:lnTo>
                    <a:pt x="233" y="216"/>
                  </a:lnTo>
                  <a:lnTo>
                    <a:pt x="233" y="214"/>
                  </a:lnTo>
                  <a:lnTo>
                    <a:pt x="231" y="216"/>
                  </a:lnTo>
                  <a:lnTo>
                    <a:pt x="231" y="214"/>
                  </a:lnTo>
                  <a:lnTo>
                    <a:pt x="233" y="214"/>
                  </a:lnTo>
                  <a:lnTo>
                    <a:pt x="231" y="214"/>
                  </a:lnTo>
                  <a:lnTo>
                    <a:pt x="231" y="216"/>
                  </a:lnTo>
                  <a:lnTo>
                    <a:pt x="231" y="214"/>
                  </a:lnTo>
                  <a:lnTo>
                    <a:pt x="231" y="216"/>
                  </a:lnTo>
                  <a:lnTo>
                    <a:pt x="231" y="214"/>
                  </a:lnTo>
                  <a:lnTo>
                    <a:pt x="231" y="216"/>
                  </a:lnTo>
                  <a:lnTo>
                    <a:pt x="231" y="214"/>
                  </a:lnTo>
                  <a:lnTo>
                    <a:pt x="231" y="216"/>
                  </a:lnTo>
                  <a:lnTo>
                    <a:pt x="231" y="214"/>
                  </a:lnTo>
                  <a:lnTo>
                    <a:pt x="229" y="214"/>
                  </a:lnTo>
                  <a:lnTo>
                    <a:pt x="229" y="212"/>
                  </a:lnTo>
                  <a:lnTo>
                    <a:pt x="229" y="214"/>
                  </a:lnTo>
                  <a:lnTo>
                    <a:pt x="229" y="212"/>
                  </a:lnTo>
                  <a:lnTo>
                    <a:pt x="229" y="214"/>
                  </a:lnTo>
                  <a:lnTo>
                    <a:pt x="229" y="212"/>
                  </a:lnTo>
                  <a:lnTo>
                    <a:pt x="229" y="214"/>
                  </a:lnTo>
                  <a:lnTo>
                    <a:pt x="229" y="212"/>
                  </a:lnTo>
                  <a:lnTo>
                    <a:pt x="229" y="214"/>
                  </a:lnTo>
                  <a:lnTo>
                    <a:pt x="229" y="212"/>
                  </a:lnTo>
                  <a:lnTo>
                    <a:pt x="229" y="214"/>
                  </a:lnTo>
                  <a:lnTo>
                    <a:pt x="227" y="214"/>
                  </a:lnTo>
                  <a:lnTo>
                    <a:pt x="225" y="214"/>
                  </a:lnTo>
                  <a:lnTo>
                    <a:pt x="225" y="216"/>
                  </a:lnTo>
                  <a:lnTo>
                    <a:pt x="227" y="216"/>
                  </a:lnTo>
                  <a:lnTo>
                    <a:pt x="225" y="216"/>
                  </a:lnTo>
                  <a:lnTo>
                    <a:pt x="223" y="214"/>
                  </a:lnTo>
                  <a:lnTo>
                    <a:pt x="223" y="212"/>
                  </a:lnTo>
                  <a:lnTo>
                    <a:pt x="221" y="212"/>
                  </a:lnTo>
                  <a:lnTo>
                    <a:pt x="221" y="210"/>
                  </a:lnTo>
                  <a:lnTo>
                    <a:pt x="223" y="210"/>
                  </a:lnTo>
                  <a:lnTo>
                    <a:pt x="221" y="210"/>
                  </a:lnTo>
                  <a:lnTo>
                    <a:pt x="223" y="210"/>
                  </a:lnTo>
                  <a:lnTo>
                    <a:pt x="221" y="210"/>
                  </a:lnTo>
                  <a:lnTo>
                    <a:pt x="219" y="210"/>
                  </a:lnTo>
                  <a:lnTo>
                    <a:pt x="221" y="210"/>
                  </a:lnTo>
                  <a:lnTo>
                    <a:pt x="221" y="212"/>
                  </a:lnTo>
                  <a:lnTo>
                    <a:pt x="221" y="210"/>
                  </a:lnTo>
                  <a:lnTo>
                    <a:pt x="221" y="212"/>
                  </a:lnTo>
                  <a:lnTo>
                    <a:pt x="219" y="212"/>
                  </a:lnTo>
                  <a:lnTo>
                    <a:pt x="219" y="210"/>
                  </a:lnTo>
                  <a:lnTo>
                    <a:pt x="217" y="210"/>
                  </a:lnTo>
                  <a:lnTo>
                    <a:pt x="215" y="210"/>
                  </a:lnTo>
                  <a:lnTo>
                    <a:pt x="213" y="210"/>
                  </a:lnTo>
                  <a:lnTo>
                    <a:pt x="215" y="210"/>
                  </a:lnTo>
                  <a:lnTo>
                    <a:pt x="215" y="208"/>
                  </a:lnTo>
                  <a:lnTo>
                    <a:pt x="213" y="208"/>
                  </a:lnTo>
                  <a:lnTo>
                    <a:pt x="215" y="208"/>
                  </a:lnTo>
                  <a:lnTo>
                    <a:pt x="215" y="210"/>
                  </a:lnTo>
                  <a:lnTo>
                    <a:pt x="215" y="208"/>
                  </a:lnTo>
                  <a:lnTo>
                    <a:pt x="213" y="208"/>
                  </a:lnTo>
                  <a:lnTo>
                    <a:pt x="213" y="206"/>
                  </a:lnTo>
                  <a:lnTo>
                    <a:pt x="215" y="206"/>
                  </a:lnTo>
                  <a:lnTo>
                    <a:pt x="213" y="206"/>
                  </a:lnTo>
                  <a:lnTo>
                    <a:pt x="215" y="206"/>
                  </a:lnTo>
                  <a:lnTo>
                    <a:pt x="213" y="206"/>
                  </a:lnTo>
                  <a:lnTo>
                    <a:pt x="211" y="206"/>
                  </a:lnTo>
                  <a:lnTo>
                    <a:pt x="211" y="208"/>
                  </a:lnTo>
                  <a:lnTo>
                    <a:pt x="211" y="206"/>
                  </a:lnTo>
                  <a:lnTo>
                    <a:pt x="211" y="208"/>
                  </a:lnTo>
                  <a:lnTo>
                    <a:pt x="211" y="206"/>
                  </a:lnTo>
                  <a:lnTo>
                    <a:pt x="209" y="206"/>
                  </a:lnTo>
                  <a:lnTo>
                    <a:pt x="209" y="208"/>
                  </a:lnTo>
                  <a:lnTo>
                    <a:pt x="209" y="206"/>
                  </a:lnTo>
                  <a:lnTo>
                    <a:pt x="209" y="208"/>
                  </a:lnTo>
                  <a:lnTo>
                    <a:pt x="209" y="206"/>
                  </a:lnTo>
                  <a:lnTo>
                    <a:pt x="207" y="206"/>
                  </a:lnTo>
                  <a:lnTo>
                    <a:pt x="209" y="206"/>
                  </a:lnTo>
                  <a:lnTo>
                    <a:pt x="207" y="206"/>
                  </a:lnTo>
                  <a:lnTo>
                    <a:pt x="205" y="206"/>
                  </a:lnTo>
                  <a:lnTo>
                    <a:pt x="207" y="206"/>
                  </a:lnTo>
                  <a:lnTo>
                    <a:pt x="205" y="206"/>
                  </a:lnTo>
                  <a:lnTo>
                    <a:pt x="207" y="206"/>
                  </a:lnTo>
                  <a:lnTo>
                    <a:pt x="205" y="206"/>
                  </a:lnTo>
                  <a:lnTo>
                    <a:pt x="207" y="206"/>
                  </a:lnTo>
                  <a:lnTo>
                    <a:pt x="207" y="204"/>
                  </a:lnTo>
                  <a:lnTo>
                    <a:pt x="207" y="206"/>
                  </a:lnTo>
                  <a:lnTo>
                    <a:pt x="207" y="204"/>
                  </a:lnTo>
                  <a:lnTo>
                    <a:pt x="207" y="206"/>
                  </a:lnTo>
                  <a:lnTo>
                    <a:pt x="207" y="204"/>
                  </a:lnTo>
                  <a:lnTo>
                    <a:pt x="207" y="206"/>
                  </a:lnTo>
                  <a:lnTo>
                    <a:pt x="209" y="206"/>
                  </a:lnTo>
                  <a:lnTo>
                    <a:pt x="209" y="204"/>
                  </a:lnTo>
                  <a:lnTo>
                    <a:pt x="209" y="206"/>
                  </a:lnTo>
                  <a:lnTo>
                    <a:pt x="209" y="204"/>
                  </a:lnTo>
                  <a:lnTo>
                    <a:pt x="209" y="202"/>
                  </a:lnTo>
                  <a:lnTo>
                    <a:pt x="209" y="204"/>
                  </a:lnTo>
                  <a:lnTo>
                    <a:pt x="209" y="202"/>
                  </a:lnTo>
                  <a:lnTo>
                    <a:pt x="209" y="204"/>
                  </a:lnTo>
                  <a:lnTo>
                    <a:pt x="207" y="204"/>
                  </a:lnTo>
                  <a:lnTo>
                    <a:pt x="209" y="204"/>
                  </a:lnTo>
                  <a:lnTo>
                    <a:pt x="207" y="204"/>
                  </a:lnTo>
                  <a:lnTo>
                    <a:pt x="209" y="202"/>
                  </a:lnTo>
                  <a:lnTo>
                    <a:pt x="209" y="204"/>
                  </a:lnTo>
                  <a:lnTo>
                    <a:pt x="209" y="202"/>
                  </a:lnTo>
                  <a:lnTo>
                    <a:pt x="209" y="200"/>
                  </a:lnTo>
                  <a:lnTo>
                    <a:pt x="207" y="200"/>
                  </a:lnTo>
                  <a:lnTo>
                    <a:pt x="207" y="202"/>
                  </a:lnTo>
                  <a:lnTo>
                    <a:pt x="207" y="204"/>
                  </a:lnTo>
                  <a:lnTo>
                    <a:pt x="207" y="202"/>
                  </a:lnTo>
                  <a:lnTo>
                    <a:pt x="207" y="204"/>
                  </a:lnTo>
                  <a:lnTo>
                    <a:pt x="207" y="202"/>
                  </a:lnTo>
                  <a:lnTo>
                    <a:pt x="207" y="204"/>
                  </a:lnTo>
                  <a:lnTo>
                    <a:pt x="207" y="202"/>
                  </a:lnTo>
                  <a:lnTo>
                    <a:pt x="205" y="202"/>
                  </a:lnTo>
                  <a:lnTo>
                    <a:pt x="207" y="202"/>
                  </a:lnTo>
                  <a:lnTo>
                    <a:pt x="205" y="202"/>
                  </a:lnTo>
                  <a:lnTo>
                    <a:pt x="205" y="204"/>
                  </a:lnTo>
                  <a:lnTo>
                    <a:pt x="207" y="204"/>
                  </a:lnTo>
                  <a:lnTo>
                    <a:pt x="207" y="202"/>
                  </a:lnTo>
                  <a:lnTo>
                    <a:pt x="207" y="204"/>
                  </a:lnTo>
                  <a:lnTo>
                    <a:pt x="205" y="204"/>
                  </a:lnTo>
                  <a:lnTo>
                    <a:pt x="205" y="202"/>
                  </a:lnTo>
                  <a:lnTo>
                    <a:pt x="207" y="202"/>
                  </a:lnTo>
                  <a:lnTo>
                    <a:pt x="205" y="202"/>
                  </a:lnTo>
                  <a:lnTo>
                    <a:pt x="205" y="200"/>
                  </a:lnTo>
                  <a:lnTo>
                    <a:pt x="207" y="200"/>
                  </a:lnTo>
                  <a:lnTo>
                    <a:pt x="207" y="202"/>
                  </a:lnTo>
                  <a:lnTo>
                    <a:pt x="207" y="200"/>
                  </a:lnTo>
                  <a:lnTo>
                    <a:pt x="207" y="202"/>
                  </a:lnTo>
                  <a:lnTo>
                    <a:pt x="207" y="200"/>
                  </a:lnTo>
                  <a:lnTo>
                    <a:pt x="207" y="202"/>
                  </a:lnTo>
                  <a:lnTo>
                    <a:pt x="207" y="200"/>
                  </a:lnTo>
                  <a:lnTo>
                    <a:pt x="205" y="200"/>
                  </a:lnTo>
                  <a:lnTo>
                    <a:pt x="205" y="202"/>
                  </a:lnTo>
                  <a:lnTo>
                    <a:pt x="203" y="202"/>
                  </a:lnTo>
                  <a:lnTo>
                    <a:pt x="203" y="200"/>
                  </a:lnTo>
                  <a:lnTo>
                    <a:pt x="205" y="200"/>
                  </a:lnTo>
                  <a:lnTo>
                    <a:pt x="203" y="200"/>
                  </a:lnTo>
                  <a:lnTo>
                    <a:pt x="205" y="200"/>
                  </a:lnTo>
                  <a:lnTo>
                    <a:pt x="203" y="200"/>
                  </a:lnTo>
                  <a:lnTo>
                    <a:pt x="203" y="198"/>
                  </a:lnTo>
                  <a:lnTo>
                    <a:pt x="201" y="198"/>
                  </a:lnTo>
                  <a:lnTo>
                    <a:pt x="201" y="196"/>
                  </a:lnTo>
                  <a:lnTo>
                    <a:pt x="201" y="198"/>
                  </a:lnTo>
                  <a:lnTo>
                    <a:pt x="199" y="198"/>
                  </a:lnTo>
                  <a:lnTo>
                    <a:pt x="201" y="198"/>
                  </a:lnTo>
                  <a:lnTo>
                    <a:pt x="199" y="198"/>
                  </a:lnTo>
                  <a:lnTo>
                    <a:pt x="201" y="198"/>
                  </a:lnTo>
                  <a:lnTo>
                    <a:pt x="201" y="196"/>
                  </a:lnTo>
                  <a:lnTo>
                    <a:pt x="199" y="196"/>
                  </a:lnTo>
                  <a:lnTo>
                    <a:pt x="199" y="198"/>
                  </a:lnTo>
                  <a:lnTo>
                    <a:pt x="199" y="196"/>
                  </a:lnTo>
                  <a:lnTo>
                    <a:pt x="197" y="196"/>
                  </a:lnTo>
                  <a:lnTo>
                    <a:pt x="199" y="196"/>
                  </a:lnTo>
                  <a:lnTo>
                    <a:pt x="197" y="196"/>
                  </a:lnTo>
                  <a:lnTo>
                    <a:pt x="199" y="196"/>
                  </a:lnTo>
                  <a:lnTo>
                    <a:pt x="197" y="196"/>
                  </a:lnTo>
                  <a:lnTo>
                    <a:pt x="197" y="198"/>
                  </a:lnTo>
                  <a:lnTo>
                    <a:pt x="197" y="196"/>
                  </a:lnTo>
                  <a:lnTo>
                    <a:pt x="197" y="198"/>
                  </a:lnTo>
                  <a:lnTo>
                    <a:pt x="197" y="196"/>
                  </a:lnTo>
                  <a:lnTo>
                    <a:pt x="197" y="198"/>
                  </a:lnTo>
                  <a:lnTo>
                    <a:pt x="199" y="198"/>
                  </a:lnTo>
                  <a:lnTo>
                    <a:pt x="197" y="198"/>
                  </a:lnTo>
                  <a:lnTo>
                    <a:pt x="197" y="196"/>
                  </a:lnTo>
                  <a:lnTo>
                    <a:pt x="197" y="194"/>
                  </a:lnTo>
                  <a:lnTo>
                    <a:pt x="195" y="194"/>
                  </a:lnTo>
                  <a:lnTo>
                    <a:pt x="197" y="194"/>
                  </a:lnTo>
                  <a:lnTo>
                    <a:pt x="195" y="194"/>
                  </a:lnTo>
                  <a:lnTo>
                    <a:pt x="195" y="194"/>
                  </a:lnTo>
                  <a:lnTo>
                    <a:pt x="195" y="196"/>
                  </a:lnTo>
                  <a:lnTo>
                    <a:pt x="195" y="196"/>
                  </a:lnTo>
                  <a:lnTo>
                    <a:pt x="195" y="196"/>
                  </a:lnTo>
                  <a:lnTo>
                    <a:pt x="195" y="196"/>
                  </a:lnTo>
                  <a:lnTo>
                    <a:pt x="195" y="198"/>
                  </a:lnTo>
                  <a:lnTo>
                    <a:pt x="195" y="198"/>
                  </a:lnTo>
                  <a:lnTo>
                    <a:pt x="195" y="198"/>
                  </a:lnTo>
                  <a:lnTo>
                    <a:pt x="195" y="198"/>
                  </a:lnTo>
                  <a:lnTo>
                    <a:pt x="195" y="200"/>
                  </a:lnTo>
                  <a:lnTo>
                    <a:pt x="195" y="198"/>
                  </a:lnTo>
                  <a:lnTo>
                    <a:pt x="195" y="198"/>
                  </a:lnTo>
                  <a:lnTo>
                    <a:pt x="195" y="200"/>
                  </a:lnTo>
                  <a:lnTo>
                    <a:pt x="195" y="198"/>
                  </a:lnTo>
                  <a:lnTo>
                    <a:pt x="195" y="200"/>
                  </a:lnTo>
                  <a:lnTo>
                    <a:pt x="195" y="200"/>
                  </a:lnTo>
                  <a:lnTo>
                    <a:pt x="195" y="200"/>
                  </a:lnTo>
                  <a:lnTo>
                    <a:pt x="195" y="200"/>
                  </a:lnTo>
                  <a:lnTo>
                    <a:pt x="195" y="200"/>
                  </a:lnTo>
                  <a:lnTo>
                    <a:pt x="195" y="200"/>
                  </a:lnTo>
                  <a:lnTo>
                    <a:pt x="195" y="202"/>
                  </a:lnTo>
                  <a:lnTo>
                    <a:pt x="195" y="204"/>
                  </a:lnTo>
                  <a:lnTo>
                    <a:pt x="193" y="204"/>
                  </a:lnTo>
                  <a:lnTo>
                    <a:pt x="195" y="204"/>
                  </a:lnTo>
                  <a:lnTo>
                    <a:pt x="193" y="204"/>
                  </a:lnTo>
                  <a:lnTo>
                    <a:pt x="193" y="206"/>
                  </a:lnTo>
                  <a:lnTo>
                    <a:pt x="195" y="206"/>
                  </a:lnTo>
                  <a:lnTo>
                    <a:pt x="195" y="204"/>
                  </a:lnTo>
                  <a:lnTo>
                    <a:pt x="195" y="206"/>
                  </a:lnTo>
                  <a:lnTo>
                    <a:pt x="195" y="204"/>
                  </a:lnTo>
                  <a:lnTo>
                    <a:pt x="195" y="206"/>
                  </a:lnTo>
                  <a:lnTo>
                    <a:pt x="193" y="206"/>
                  </a:lnTo>
                  <a:lnTo>
                    <a:pt x="193" y="204"/>
                  </a:lnTo>
                  <a:lnTo>
                    <a:pt x="193" y="206"/>
                  </a:lnTo>
                  <a:lnTo>
                    <a:pt x="193" y="204"/>
                  </a:lnTo>
                  <a:lnTo>
                    <a:pt x="193" y="206"/>
                  </a:lnTo>
                  <a:lnTo>
                    <a:pt x="195" y="206"/>
                  </a:lnTo>
                  <a:lnTo>
                    <a:pt x="193" y="206"/>
                  </a:lnTo>
                  <a:lnTo>
                    <a:pt x="195" y="206"/>
                  </a:lnTo>
                  <a:lnTo>
                    <a:pt x="195" y="208"/>
                  </a:lnTo>
                  <a:lnTo>
                    <a:pt x="195" y="206"/>
                  </a:lnTo>
                  <a:lnTo>
                    <a:pt x="193" y="206"/>
                  </a:lnTo>
                  <a:lnTo>
                    <a:pt x="195" y="206"/>
                  </a:lnTo>
                  <a:lnTo>
                    <a:pt x="195" y="208"/>
                  </a:lnTo>
                  <a:lnTo>
                    <a:pt x="193" y="208"/>
                  </a:lnTo>
                  <a:lnTo>
                    <a:pt x="193" y="206"/>
                  </a:lnTo>
                  <a:lnTo>
                    <a:pt x="193" y="208"/>
                  </a:lnTo>
                  <a:lnTo>
                    <a:pt x="193" y="206"/>
                  </a:lnTo>
                  <a:lnTo>
                    <a:pt x="193" y="208"/>
                  </a:lnTo>
                  <a:lnTo>
                    <a:pt x="195" y="208"/>
                  </a:lnTo>
                  <a:lnTo>
                    <a:pt x="193" y="208"/>
                  </a:lnTo>
                  <a:lnTo>
                    <a:pt x="195" y="208"/>
                  </a:lnTo>
                  <a:lnTo>
                    <a:pt x="193" y="208"/>
                  </a:lnTo>
                  <a:lnTo>
                    <a:pt x="193" y="206"/>
                  </a:lnTo>
                  <a:lnTo>
                    <a:pt x="193" y="208"/>
                  </a:lnTo>
                  <a:lnTo>
                    <a:pt x="193" y="206"/>
                  </a:lnTo>
                  <a:lnTo>
                    <a:pt x="191" y="206"/>
                  </a:lnTo>
                  <a:lnTo>
                    <a:pt x="191" y="204"/>
                  </a:lnTo>
                  <a:lnTo>
                    <a:pt x="191" y="206"/>
                  </a:lnTo>
                  <a:lnTo>
                    <a:pt x="193" y="206"/>
                  </a:lnTo>
                  <a:lnTo>
                    <a:pt x="191" y="206"/>
                  </a:lnTo>
                  <a:lnTo>
                    <a:pt x="189" y="206"/>
                  </a:lnTo>
                  <a:lnTo>
                    <a:pt x="191" y="206"/>
                  </a:lnTo>
                  <a:lnTo>
                    <a:pt x="189" y="206"/>
                  </a:lnTo>
                  <a:lnTo>
                    <a:pt x="189" y="204"/>
                  </a:lnTo>
                  <a:lnTo>
                    <a:pt x="189" y="206"/>
                  </a:lnTo>
                  <a:lnTo>
                    <a:pt x="191" y="206"/>
                  </a:lnTo>
                  <a:lnTo>
                    <a:pt x="189" y="206"/>
                  </a:lnTo>
                  <a:lnTo>
                    <a:pt x="191" y="206"/>
                  </a:lnTo>
                  <a:lnTo>
                    <a:pt x="191" y="208"/>
                  </a:lnTo>
                  <a:lnTo>
                    <a:pt x="189" y="208"/>
                  </a:lnTo>
                  <a:lnTo>
                    <a:pt x="189" y="206"/>
                  </a:lnTo>
                  <a:lnTo>
                    <a:pt x="189" y="208"/>
                  </a:lnTo>
                  <a:lnTo>
                    <a:pt x="191" y="208"/>
                  </a:lnTo>
                  <a:lnTo>
                    <a:pt x="191" y="210"/>
                  </a:lnTo>
                  <a:lnTo>
                    <a:pt x="191" y="208"/>
                  </a:lnTo>
                  <a:lnTo>
                    <a:pt x="191" y="210"/>
                  </a:lnTo>
                  <a:lnTo>
                    <a:pt x="191" y="212"/>
                  </a:lnTo>
                  <a:lnTo>
                    <a:pt x="193" y="212"/>
                  </a:lnTo>
                  <a:lnTo>
                    <a:pt x="191" y="212"/>
                  </a:lnTo>
                  <a:lnTo>
                    <a:pt x="191" y="214"/>
                  </a:lnTo>
                  <a:lnTo>
                    <a:pt x="193" y="214"/>
                  </a:lnTo>
                  <a:lnTo>
                    <a:pt x="193" y="212"/>
                  </a:lnTo>
                  <a:lnTo>
                    <a:pt x="193" y="214"/>
                  </a:lnTo>
                  <a:lnTo>
                    <a:pt x="193" y="212"/>
                  </a:lnTo>
                  <a:lnTo>
                    <a:pt x="193" y="214"/>
                  </a:lnTo>
                  <a:lnTo>
                    <a:pt x="195" y="214"/>
                  </a:lnTo>
                  <a:lnTo>
                    <a:pt x="195" y="212"/>
                  </a:lnTo>
                  <a:lnTo>
                    <a:pt x="195" y="214"/>
                  </a:lnTo>
                  <a:lnTo>
                    <a:pt x="195" y="212"/>
                  </a:lnTo>
                  <a:lnTo>
                    <a:pt x="195" y="214"/>
                  </a:lnTo>
                  <a:lnTo>
                    <a:pt x="193" y="214"/>
                  </a:lnTo>
                  <a:lnTo>
                    <a:pt x="193" y="216"/>
                  </a:lnTo>
                  <a:lnTo>
                    <a:pt x="193" y="214"/>
                  </a:lnTo>
                  <a:lnTo>
                    <a:pt x="195" y="214"/>
                  </a:lnTo>
                  <a:lnTo>
                    <a:pt x="193" y="214"/>
                  </a:lnTo>
                  <a:lnTo>
                    <a:pt x="195" y="214"/>
                  </a:lnTo>
                  <a:lnTo>
                    <a:pt x="193" y="214"/>
                  </a:lnTo>
                  <a:lnTo>
                    <a:pt x="193" y="216"/>
                  </a:lnTo>
                  <a:lnTo>
                    <a:pt x="191" y="216"/>
                  </a:lnTo>
                  <a:lnTo>
                    <a:pt x="191" y="218"/>
                  </a:lnTo>
                  <a:lnTo>
                    <a:pt x="189" y="218"/>
                  </a:lnTo>
                  <a:lnTo>
                    <a:pt x="187" y="218"/>
                  </a:lnTo>
                  <a:lnTo>
                    <a:pt x="189" y="218"/>
                  </a:lnTo>
                  <a:lnTo>
                    <a:pt x="187" y="218"/>
                  </a:lnTo>
                  <a:lnTo>
                    <a:pt x="187" y="221"/>
                  </a:lnTo>
                  <a:lnTo>
                    <a:pt x="189" y="221"/>
                  </a:lnTo>
                  <a:lnTo>
                    <a:pt x="187" y="221"/>
                  </a:lnTo>
                  <a:lnTo>
                    <a:pt x="189" y="221"/>
                  </a:lnTo>
                  <a:lnTo>
                    <a:pt x="189" y="218"/>
                  </a:lnTo>
                  <a:lnTo>
                    <a:pt x="189" y="221"/>
                  </a:lnTo>
                  <a:lnTo>
                    <a:pt x="187" y="221"/>
                  </a:lnTo>
                  <a:lnTo>
                    <a:pt x="185" y="221"/>
                  </a:lnTo>
                  <a:lnTo>
                    <a:pt x="187" y="221"/>
                  </a:lnTo>
                  <a:lnTo>
                    <a:pt x="187" y="218"/>
                  </a:lnTo>
                  <a:lnTo>
                    <a:pt x="185" y="218"/>
                  </a:lnTo>
                  <a:lnTo>
                    <a:pt x="187" y="221"/>
                  </a:lnTo>
                  <a:lnTo>
                    <a:pt x="185" y="221"/>
                  </a:lnTo>
                  <a:lnTo>
                    <a:pt x="183" y="221"/>
                  </a:lnTo>
                  <a:lnTo>
                    <a:pt x="185" y="221"/>
                  </a:lnTo>
                  <a:lnTo>
                    <a:pt x="185" y="218"/>
                  </a:lnTo>
                  <a:lnTo>
                    <a:pt x="183" y="218"/>
                  </a:lnTo>
                  <a:lnTo>
                    <a:pt x="185" y="218"/>
                  </a:lnTo>
                  <a:lnTo>
                    <a:pt x="185" y="216"/>
                  </a:lnTo>
                  <a:lnTo>
                    <a:pt x="183" y="216"/>
                  </a:lnTo>
                  <a:lnTo>
                    <a:pt x="181" y="216"/>
                  </a:lnTo>
                  <a:lnTo>
                    <a:pt x="183" y="216"/>
                  </a:lnTo>
                  <a:lnTo>
                    <a:pt x="183" y="214"/>
                  </a:lnTo>
                  <a:lnTo>
                    <a:pt x="183" y="216"/>
                  </a:lnTo>
                  <a:lnTo>
                    <a:pt x="183" y="214"/>
                  </a:lnTo>
                  <a:lnTo>
                    <a:pt x="183" y="212"/>
                  </a:lnTo>
                  <a:lnTo>
                    <a:pt x="183" y="214"/>
                  </a:lnTo>
                  <a:lnTo>
                    <a:pt x="181" y="212"/>
                  </a:lnTo>
                  <a:lnTo>
                    <a:pt x="181" y="210"/>
                  </a:lnTo>
                  <a:lnTo>
                    <a:pt x="181" y="212"/>
                  </a:lnTo>
                  <a:lnTo>
                    <a:pt x="181" y="210"/>
                  </a:lnTo>
                  <a:lnTo>
                    <a:pt x="179" y="210"/>
                  </a:lnTo>
                  <a:lnTo>
                    <a:pt x="181" y="210"/>
                  </a:lnTo>
                  <a:lnTo>
                    <a:pt x="179" y="210"/>
                  </a:lnTo>
                  <a:lnTo>
                    <a:pt x="179" y="208"/>
                  </a:lnTo>
                  <a:lnTo>
                    <a:pt x="179" y="210"/>
                  </a:lnTo>
                  <a:lnTo>
                    <a:pt x="179" y="208"/>
                  </a:lnTo>
                  <a:lnTo>
                    <a:pt x="179" y="210"/>
                  </a:lnTo>
                  <a:lnTo>
                    <a:pt x="179" y="208"/>
                  </a:lnTo>
                  <a:lnTo>
                    <a:pt x="179" y="210"/>
                  </a:lnTo>
                  <a:lnTo>
                    <a:pt x="179" y="208"/>
                  </a:lnTo>
                  <a:lnTo>
                    <a:pt x="179" y="206"/>
                  </a:lnTo>
                  <a:lnTo>
                    <a:pt x="179" y="208"/>
                  </a:lnTo>
                  <a:lnTo>
                    <a:pt x="179" y="206"/>
                  </a:lnTo>
                  <a:lnTo>
                    <a:pt x="179" y="208"/>
                  </a:lnTo>
                  <a:lnTo>
                    <a:pt x="179" y="206"/>
                  </a:lnTo>
                  <a:lnTo>
                    <a:pt x="179" y="208"/>
                  </a:lnTo>
                  <a:lnTo>
                    <a:pt x="176" y="208"/>
                  </a:lnTo>
                  <a:lnTo>
                    <a:pt x="179" y="208"/>
                  </a:lnTo>
                  <a:lnTo>
                    <a:pt x="176" y="208"/>
                  </a:lnTo>
                  <a:lnTo>
                    <a:pt x="179" y="208"/>
                  </a:lnTo>
                  <a:lnTo>
                    <a:pt x="179" y="210"/>
                  </a:lnTo>
                  <a:lnTo>
                    <a:pt x="176" y="210"/>
                  </a:lnTo>
                  <a:lnTo>
                    <a:pt x="176" y="208"/>
                  </a:lnTo>
                  <a:lnTo>
                    <a:pt x="176" y="210"/>
                  </a:lnTo>
                  <a:lnTo>
                    <a:pt x="176" y="208"/>
                  </a:lnTo>
                  <a:lnTo>
                    <a:pt x="176" y="210"/>
                  </a:lnTo>
                  <a:lnTo>
                    <a:pt x="176" y="212"/>
                  </a:lnTo>
                  <a:lnTo>
                    <a:pt x="174" y="212"/>
                  </a:lnTo>
                  <a:lnTo>
                    <a:pt x="176" y="212"/>
                  </a:lnTo>
                  <a:lnTo>
                    <a:pt x="174" y="212"/>
                  </a:lnTo>
                  <a:lnTo>
                    <a:pt x="176" y="212"/>
                  </a:lnTo>
                  <a:lnTo>
                    <a:pt x="174" y="212"/>
                  </a:lnTo>
                  <a:lnTo>
                    <a:pt x="176" y="212"/>
                  </a:lnTo>
                  <a:lnTo>
                    <a:pt x="174" y="212"/>
                  </a:lnTo>
                  <a:lnTo>
                    <a:pt x="176" y="212"/>
                  </a:lnTo>
                  <a:lnTo>
                    <a:pt x="174" y="212"/>
                  </a:lnTo>
                  <a:lnTo>
                    <a:pt x="174" y="210"/>
                  </a:lnTo>
                  <a:lnTo>
                    <a:pt x="176" y="210"/>
                  </a:lnTo>
                  <a:lnTo>
                    <a:pt x="174" y="210"/>
                  </a:lnTo>
                  <a:lnTo>
                    <a:pt x="176" y="210"/>
                  </a:lnTo>
                  <a:lnTo>
                    <a:pt x="174" y="210"/>
                  </a:lnTo>
                  <a:lnTo>
                    <a:pt x="176" y="210"/>
                  </a:lnTo>
                  <a:lnTo>
                    <a:pt x="174" y="210"/>
                  </a:lnTo>
                  <a:lnTo>
                    <a:pt x="176" y="210"/>
                  </a:lnTo>
                  <a:lnTo>
                    <a:pt x="174" y="210"/>
                  </a:lnTo>
                  <a:lnTo>
                    <a:pt x="176" y="210"/>
                  </a:lnTo>
                  <a:lnTo>
                    <a:pt x="176" y="208"/>
                  </a:lnTo>
                  <a:lnTo>
                    <a:pt x="176" y="210"/>
                  </a:lnTo>
                  <a:lnTo>
                    <a:pt x="176" y="208"/>
                  </a:lnTo>
                  <a:lnTo>
                    <a:pt x="176" y="210"/>
                  </a:lnTo>
                  <a:lnTo>
                    <a:pt x="176" y="208"/>
                  </a:lnTo>
                  <a:lnTo>
                    <a:pt x="174" y="208"/>
                  </a:lnTo>
                  <a:lnTo>
                    <a:pt x="174" y="206"/>
                  </a:lnTo>
                  <a:lnTo>
                    <a:pt x="172" y="206"/>
                  </a:lnTo>
                  <a:lnTo>
                    <a:pt x="172" y="204"/>
                  </a:lnTo>
                  <a:lnTo>
                    <a:pt x="172" y="206"/>
                  </a:lnTo>
                  <a:lnTo>
                    <a:pt x="170" y="206"/>
                  </a:lnTo>
                  <a:lnTo>
                    <a:pt x="172" y="206"/>
                  </a:lnTo>
                  <a:lnTo>
                    <a:pt x="172" y="204"/>
                  </a:lnTo>
                  <a:lnTo>
                    <a:pt x="170" y="204"/>
                  </a:lnTo>
                  <a:lnTo>
                    <a:pt x="172" y="204"/>
                  </a:lnTo>
                  <a:lnTo>
                    <a:pt x="172" y="206"/>
                  </a:lnTo>
                  <a:lnTo>
                    <a:pt x="170" y="206"/>
                  </a:lnTo>
                  <a:lnTo>
                    <a:pt x="172" y="206"/>
                  </a:lnTo>
                  <a:lnTo>
                    <a:pt x="170" y="206"/>
                  </a:lnTo>
                  <a:lnTo>
                    <a:pt x="172" y="206"/>
                  </a:lnTo>
                  <a:lnTo>
                    <a:pt x="170" y="206"/>
                  </a:lnTo>
                  <a:lnTo>
                    <a:pt x="170" y="204"/>
                  </a:lnTo>
                  <a:lnTo>
                    <a:pt x="170" y="206"/>
                  </a:lnTo>
                  <a:lnTo>
                    <a:pt x="170" y="204"/>
                  </a:lnTo>
                  <a:lnTo>
                    <a:pt x="170" y="206"/>
                  </a:lnTo>
                  <a:lnTo>
                    <a:pt x="170" y="204"/>
                  </a:lnTo>
                  <a:lnTo>
                    <a:pt x="170" y="206"/>
                  </a:lnTo>
                  <a:lnTo>
                    <a:pt x="170" y="204"/>
                  </a:lnTo>
                  <a:lnTo>
                    <a:pt x="170" y="206"/>
                  </a:lnTo>
                  <a:lnTo>
                    <a:pt x="168" y="206"/>
                  </a:lnTo>
                  <a:lnTo>
                    <a:pt x="168" y="204"/>
                  </a:lnTo>
                  <a:lnTo>
                    <a:pt x="168" y="206"/>
                  </a:lnTo>
                  <a:lnTo>
                    <a:pt x="168" y="204"/>
                  </a:lnTo>
                  <a:lnTo>
                    <a:pt x="168" y="206"/>
                  </a:lnTo>
                  <a:lnTo>
                    <a:pt x="168" y="204"/>
                  </a:lnTo>
                  <a:lnTo>
                    <a:pt x="168" y="206"/>
                  </a:lnTo>
                  <a:lnTo>
                    <a:pt x="168" y="204"/>
                  </a:lnTo>
                  <a:lnTo>
                    <a:pt x="168" y="206"/>
                  </a:lnTo>
                  <a:lnTo>
                    <a:pt x="168" y="208"/>
                  </a:lnTo>
                  <a:lnTo>
                    <a:pt x="168" y="206"/>
                  </a:lnTo>
                  <a:lnTo>
                    <a:pt x="168" y="208"/>
                  </a:lnTo>
                  <a:lnTo>
                    <a:pt x="170" y="208"/>
                  </a:lnTo>
                  <a:lnTo>
                    <a:pt x="170" y="206"/>
                  </a:lnTo>
                  <a:lnTo>
                    <a:pt x="170" y="208"/>
                  </a:lnTo>
                  <a:lnTo>
                    <a:pt x="170" y="210"/>
                  </a:lnTo>
                  <a:lnTo>
                    <a:pt x="170" y="208"/>
                  </a:lnTo>
                  <a:lnTo>
                    <a:pt x="168" y="210"/>
                  </a:lnTo>
                  <a:lnTo>
                    <a:pt x="168" y="208"/>
                  </a:lnTo>
                  <a:lnTo>
                    <a:pt x="168" y="210"/>
                  </a:lnTo>
                  <a:lnTo>
                    <a:pt x="166" y="210"/>
                  </a:lnTo>
                  <a:lnTo>
                    <a:pt x="166" y="212"/>
                  </a:lnTo>
                  <a:lnTo>
                    <a:pt x="168" y="212"/>
                  </a:lnTo>
                  <a:lnTo>
                    <a:pt x="166" y="212"/>
                  </a:lnTo>
                  <a:lnTo>
                    <a:pt x="168" y="212"/>
                  </a:lnTo>
                  <a:lnTo>
                    <a:pt x="166" y="212"/>
                  </a:lnTo>
                  <a:lnTo>
                    <a:pt x="166" y="214"/>
                  </a:lnTo>
                  <a:lnTo>
                    <a:pt x="166" y="212"/>
                  </a:lnTo>
                  <a:lnTo>
                    <a:pt x="166" y="214"/>
                  </a:lnTo>
                  <a:lnTo>
                    <a:pt x="168" y="214"/>
                  </a:lnTo>
                  <a:lnTo>
                    <a:pt x="168" y="212"/>
                  </a:lnTo>
                  <a:lnTo>
                    <a:pt x="168" y="214"/>
                  </a:lnTo>
                  <a:lnTo>
                    <a:pt x="166" y="214"/>
                  </a:lnTo>
                  <a:lnTo>
                    <a:pt x="166" y="212"/>
                  </a:lnTo>
                  <a:lnTo>
                    <a:pt x="166" y="214"/>
                  </a:lnTo>
                  <a:lnTo>
                    <a:pt x="166" y="212"/>
                  </a:lnTo>
                  <a:lnTo>
                    <a:pt x="166" y="214"/>
                  </a:lnTo>
                  <a:lnTo>
                    <a:pt x="166" y="212"/>
                  </a:lnTo>
                  <a:lnTo>
                    <a:pt x="164" y="212"/>
                  </a:lnTo>
                  <a:lnTo>
                    <a:pt x="162" y="212"/>
                  </a:lnTo>
                  <a:lnTo>
                    <a:pt x="164" y="212"/>
                  </a:lnTo>
                  <a:lnTo>
                    <a:pt x="164" y="214"/>
                  </a:lnTo>
                  <a:lnTo>
                    <a:pt x="166" y="214"/>
                  </a:lnTo>
                  <a:lnTo>
                    <a:pt x="164" y="214"/>
                  </a:lnTo>
                  <a:lnTo>
                    <a:pt x="164" y="212"/>
                  </a:lnTo>
                  <a:lnTo>
                    <a:pt x="164" y="214"/>
                  </a:lnTo>
                  <a:lnTo>
                    <a:pt x="164" y="212"/>
                  </a:lnTo>
                  <a:lnTo>
                    <a:pt x="162" y="212"/>
                  </a:lnTo>
                  <a:lnTo>
                    <a:pt x="164" y="212"/>
                  </a:lnTo>
                  <a:lnTo>
                    <a:pt x="162" y="212"/>
                  </a:lnTo>
                  <a:lnTo>
                    <a:pt x="164" y="212"/>
                  </a:lnTo>
                  <a:lnTo>
                    <a:pt x="164" y="214"/>
                  </a:lnTo>
                  <a:lnTo>
                    <a:pt x="162" y="214"/>
                  </a:lnTo>
                  <a:lnTo>
                    <a:pt x="162" y="212"/>
                  </a:lnTo>
                  <a:lnTo>
                    <a:pt x="162" y="214"/>
                  </a:lnTo>
                  <a:lnTo>
                    <a:pt x="164" y="214"/>
                  </a:lnTo>
                  <a:lnTo>
                    <a:pt x="162" y="214"/>
                  </a:lnTo>
                  <a:lnTo>
                    <a:pt x="164" y="214"/>
                  </a:lnTo>
                  <a:lnTo>
                    <a:pt x="162" y="214"/>
                  </a:lnTo>
                  <a:lnTo>
                    <a:pt x="162" y="216"/>
                  </a:lnTo>
                  <a:lnTo>
                    <a:pt x="162" y="218"/>
                  </a:lnTo>
                  <a:lnTo>
                    <a:pt x="162" y="216"/>
                  </a:lnTo>
                  <a:lnTo>
                    <a:pt x="162" y="218"/>
                  </a:lnTo>
                  <a:lnTo>
                    <a:pt x="162" y="216"/>
                  </a:lnTo>
                  <a:lnTo>
                    <a:pt x="162" y="218"/>
                  </a:lnTo>
                  <a:lnTo>
                    <a:pt x="160" y="218"/>
                  </a:lnTo>
                  <a:lnTo>
                    <a:pt x="162" y="218"/>
                  </a:lnTo>
                  <a:lnTo>
                    <a:pt x="160" y="218"/>
                  </a:lnTo>
                  <a:lnTo>
                    <a:pt x="160" y="221"/>
                  </a:lnTo>
                  <a:lnTo>
                    <a:pt x="160" y="218"/>
                  </a:lnTo>
                  <a:lnTo>
                    <a:pt x="160" y="221"/>
                  </a:lnTo>
                  <a:lnTo>
                    <a:pt x="158" y="221"/>
                  </a:lnTo>
                  <a:lnTo>
                    <a:pt x="158" y="218"/>
                  </a:lnTo>
                  <a:lnTo>
                    <a:pt x="158" y="221"/>
                  </a:lnTo>
                  <a:lnTo>
                    <a:pt x="156" y="221"/>
                  </a:lnTo>
                  <a:lnTo>
                    <a:pt x="154" y="221"/>
                  </a:lnTo>
                  <a:lnTo>
                    <a:pt x="152" y="221"/>
                  </a:lnTo>
                  <a:lnTo>
                    <a:pt x="152" y="223"/>
                  </a:lnTo>
                  <a:lnTo>
                    <a:pt x="152" y="221"/>
                  </a:lnTo>
                  <a:lnTo>
                    <a:pt x="152" y="223"/>
                  </a:lnTo>
                  <a:lnTo>
                    <a:pt x="152" y="221"/>
                  </a:lnTo>
                  <a:lnTo>
                    <a:pt x="150" y="221"/>
                  </a:lnTo>
                  <a:lnTo>
                    <a:pt x="150" y="218"/>
                  </a:lnTo>
                  <a:lnTo>
                    <a:pt x="148" y="218"/>
                  </a:lnTo>
                  <a:lnTo>
                    <a:pt x="148" y="216"/>
                  </a:lnTo>
                  <a:lnTo>
                    <a:pt x="146" y="216"/>
                  </a:lnTo>
                  <a:lnTo>
                    <a:pt x="148" y="216"/>
                  </a:lnTo>
                  <a:lnTo>
                    <a:pt x="148" y="214"/>
                  </a:lnTo>
                  <a:lnTo>
                    <a:pt x="150" y="214"/>
                  </a:lnTo>
                  <a:lnTo>
                    <a:pt x="152" y="214"/>
                  </a:lnTo>
                  <a:lnTo>
                    <a:pt x="152" y="212"/>
                  </a:lnTo>
                  <a:lnTo>
                    <a:pt x="150" y="212"/>
                  </a:lnTo>
                  <a:lnTo>
                    <a:pt x="150" y="210"/>
                  </a:lnTo>
                  <a:lnTo>
                    <a:pt x="150" y="212"/>
                  </a:lnTo>
                  <a:lnTo>
                    <a:pt x="150" y="210"/>
                  </a:lnTo>
                  <a:lnTo>
                    <a:pt x="148" y="210"/>
                  </a:lnTo>
                  <a:lnTo>
                    <a:pt x="148" y="212"/>
                  </a:lnTo>
                  <a:lnTo>
                    <a:pt x="148" y="210"/>
                  </a:lnTo>
                  <a:lnTo>
                    <a:pt x="148" y="212"/>
                  </a:lnTo>
                  <a:lnTo>
                    <a:pt x="148" y="210"/>
                  </a:lnTo>
                  <a:lnTo>
                    <a:pt x="148" y="212"/>
                  </a:lnTo>
                  <a:lnTo>
                    <a:pt x="148" y="210"/>
                  </a:lnTo>
                  <a:lnTo>
                    <a:pt x="148" y="212"/>
                  </a:lnTo>
                  <a:lnTo>
                    <a:pt x="148" y="210"/>
                  </a:lnTo>
                  <a:lnTo>
                    <a:pt x="148" y="208"/>
                  </a:lnTo>
                  <a:lnTo>
                    <a:pt x="148" y="206"/>
                  </a:lnTo>
                  <a:lnTo>
                    <a:pt x="148" y="208"/>
                  </a:lnTo>
                  <a:lnTo>
                    <a:pt x="146" y="206"/>
                  </a:lnTo>
                  <a:lnTo>
                    <a:pt x="146" y="208"/>
                  </a:lnTo>
                  <a:lnTo>
                    <a:pt x="146" y="208"/>
                  </a:lnTo>
                  <a:lnTo>
                    <a:pt x="146" y="206"/>
                  </a:lnTo>
                  <a:lnTo>
                    <a:pt x="146" y="208"/>
                  </a:lnTo>
                  <a:lnTo>
                    <a:pt x="146" y="210"/>
                  </a:lnTo>
                  <a:lnTo>
                    <a:pt x="146" y="208"/>
                  </a:lnTo>
                  <a:lnTo>
                    <a:pt x="146" y="210"/>
                  </a:lnTo>
                  <a:lnTo>
                    <a:pt x="146" y="208"/>
                  </a:lnTo>
                  <a:lnTo>
                    <a:pt x="146" y="208"/>
                  </a:lnTo>
                  <a:lnTo>
                    <a:pt x="146" y="210"/>
                  </a:lnTo>
                  <a:lnTo>
                    <a:pt x="146" y="208"/>
                  </a:lnTo>
                  <a:lnTo>
                    <a:pt x="146" y="210"/>
                  </a:lnTo>
                  <a:lnTo>
                    <a:pt x="148" y="210"/>
                  </a:lnTo>
                  <a:lnTo>
                    <a:pt x="148" y="212"/>
                  </a:lnTo>
                  <a:lnTo>
                    <a:pt x="146" y="212"/>
                  </a:lnTo>
                  <a:lnTo>
                    <a:pt x="146" y="214"/>
                  </a:lnTo>
                  <a:lnTo>
                    <a:pt x="146" y="212"/>
                  </a:lnTo>
                  <a:lnTo>
                    <a:pt x="146" y="212"/>
                  </a:lnTo>
                  <a:lnTo>
                    <a:pt x="146" y="212"/>
                  </a:lnTo>
                  <a:lnTo>
                    <a:pt x="146" y="212"/>
                  </a:lnTo>
                  <a:lnTo>
                    <a:pt x="146" y="212"/>
                  </a:lnTo>
                  <a:lnTo>
                    <a:pt x="146" y="212"/>
                  </a:lnTo>
                  <a:lnTo>
                    <a:pt x="146" y="212"/>
                  </a:lnTo>
                  <a:lnTo>
                    <a:pt x="146" y="212"/>
                  </a:lnTo>
                  <a:lnTo>
                    <a:pt x="146" y="212"/>
                  </a:lnTo>
                  <a:lnTo>
                    <a:pt x="146" y="210"/>
                  </a:lnTo>
                  <a:lnTo>
                    <a:pt x="146" y="212"/>
                  </a:lnTo>
                  <a:lnTo>
                    <a:pt x="146" y="210"/>
                  </a:lnTo>
                  <a:lnTo>
                    <a:pt x="146" y="210"/>
                  </a:lnTo>
                  <a:lnTo>
                    <a:pt x="146" y="212"/>
                  </a:lnTo>
                  <a:lnTo>
                    <a:pt x="146" y="214"/>
                  </a:lnTo>
                  <a:lnTo>
                    <a:pt x="146" y="214"/>
                  </a:lnTo>
                  <a:lnTo>
                    <a:pt x="148" y="214"/>
                  </a:lnTo>
                  <a:lnTo>
                    <a:pt x="150" y="214"/>
                  </a:lnTo>
                  <a:lnTo>
                    <a:pt x="148" y="214"/>
                  </a:lnTo>
                  <a:lnTo>
                    <a:pt x="148" y="216"/>
                  </a:lnTo>
                  <a:lnTo>
                    <a:pt x="146" y="216"/>
                  </a:lnTo>
                  <a:lnTo>
                    <a:pt x="146" y="216"/>
                  </a:lnTo>
                  <a:lnTo>
                    <a:pt x="144" y="216"/>
                  </a:lnTo>
                  <a:lnTo>
                    <a:pt x="144" y="214"/>
                  </a:lnTo>
                  <a:lnTo>
                    <a:pt x="144" y="212"/>
                  </a:lnTo>
                  <a:lnTo>
                    <a:pt x="146" y="212"/>
                  </a:lnTo>
                  <a:lnTo>
                    <a:pt x="144" y="212"/>
                  </a:lnTo>
                  <a:lnTo>
                    <a:pt x="144" y="210"/>
                  </a:lnTo>
                  <a:lnTo>
                    <a:pt x="144" y="212"/>
                  </a:lnTo>
                  <a:lnTo>
                    <a:pt x="142" y="212"/>
                  </a:lnTo>
                  <a:lnTo>
                    <a:pt x="142" y="214"/>
                  </a:lnTo>
                  <a:lnTo>
                    <a:pt x="142" y="212"/>
                  </a:lnTo>
                  <a:lnTo>
                    <a:pt x="142" y="214"/>
                  </a:lnTo>
                  <a:lnTo>
                    <a:pt x="144" y="214"/>
                  </a:lnTo>
                  <a:lnTo>
                    <a:pt x="144" y="212"/>
                  </a:lnTo>
                  <a:lnTo>
                    <a:pt x="144" y="214"/>
                  </a:lnTo>
                  <a:lnTo>
                    <a:pt x="144" y="212"/>
                  </a:lnTo>
                  <a:lnTo>
                    <a:pt x="144" y="214"/>
                  </a:lnTo>
                  <a:lnTo>
                    <a:pt x="144" y="216"/>
                  </a:lnTo>
                  <a:lnTo>
                    <a:pt x="142" y="216"/>
                  </a:lnTo>
                  <a:lnTo>
                    <a:pt x="140" y="216"/>
                  </a:lnTo>
                  <a:lnTo>
                    <a:pt x="140" y="214"/>
                  </a:lnTo>
                  <a:lnTo>
                    <a:pt x="138" y="212"/>
                  </a:lnTo>
                  <a:lnTo>
                    <a:pt x="140" y="212"/>
                  </a:lnTo>
                  <a:lnTo>
                    <a:pt x="140" y="210"/>
                  </a:lnTo>
                  <a:lnTo>
                    <a:pt x="138" y="210"/>
                  </a:lnTo>
                  <a:lnTo>
                    <a:pt x="140" y="210"/>
                  </a:lnTo>
                  <a:lnTo>
                    <a:pt x="140" y="208"/>
                  </a:lnTo>
                  <a:lnTo>
                    <a:pt x="140" y="206"/>
                  </a:lnTo>
                  <a:lnTo>
                    <a:pt x="138" y="206"/>
                  </a:lnTo>
                  <a:lnTo>
                    <a:pt x="136" y="206"/>
                  </a:lnTo>
                  <a:lnTo>
                    <a:pt x="136" y="204"/>
                  </a:lnTo>
                  <a:lnTo>
                    <a:pt x="134" y="204"/>
                  </a:lnTo>
                  <a:lnTo>
                    <a:pt x="134" y="202"/>
                  </a:lnTo>
                  <a:lnTo>
                    <a:pt x="134" y="200"/>
                  </a:lnTo>
                  <a:lnTo>
                    <a:pt x="132" y="200"/>
                  </a:lnTo>
                  <a:lnTo>
                    <a:pt x="132" y="198"/>
                  </a:lnTo>
                  <a:lnTo>
                    <a:pt x="132" y="196"/>
                  </a:lnTo>
                  <a:lnTo>
                    <a:pt x="132" y="194"/>
                  </a:lnTo>
                  <a:lnTo>
                    <a:pt x="130" y="194"/>
                  </a:lnTo>
                  <a:lnTo>
                    <a:pt x="130" y="196"/>
                  </a:lnTo>
                  <a:lnTo>
                    <a:pt x="132" y="196"/>
                  </a:lnTo>
                  <a:lnTo>
                    <a:pt x="130" y="196"/>
                  </a:lnTo>
                  <a:lnTo>
                    <a:pt x="130" y="198"/>
                  </a:lnTo>
                  <a:lnTo>
                    <a:pt x="128" y="198"/>
                  </a:lnTo>
                  <a:lnTo>
                    <a:pt x="130" y="198"/>
                  </a:lnTo>
                  <a:lnTo>
                    <a:pt x="128" y="198"/>
                  </a:lnTo>
                  <a:lnTo>
                    <a:pt x="128" y="196"/>
                  </a:lnTo>
                  <a:lnTo>
                    <a:pt x="126" y="196"/>
                  </a:lnTo>
                  <a:lnTo>
                    <a:pt x="124" y="196"/>
                  </a:lnTo>
                  <a:lnTo>
                    <a:pt x="126" y="196"/>
                  </a:lnTo>
                  <a:lnTo>
                    <a:pt x="126" y="194"/>
                  </a:lnTo>
                  <a:lnTo>
                    <a:pt x="124" y="194"/>
                  </a:lnTo>
                  <a:lnTo>
                    <a:pt x="124" y="192"/>
                  </a:lnTo>
                  <a:lnTo>
                    <a:pt x="124" y="192"/>
                  </a:lnTo>
                  <a:lnTo>
                    <a:pt x="126" y="192"/>
                  </a:lnTo>
                  <a:lnTo>
                    <a:pt x="126" y="190"/>
                  </a:lnTo>
                  <a:lnTo>
                    <a:pt x="126" y="192"/>
                  </a:lnTo>
                  <a:lnTo>
                    <a:pt x="124" y="192"/>
                  </a:lnTo>
                  <a:lnTo>
                    <a:pt x="124" y="192"/>
                  </a:lnTo>
                  <a:lnTo>
                    <a:pt x="124" y="194"/>
                  </a:lnTo>
                  <a:lnTo>
                    <a:pt x="122" y="194"/>
                  </a:lnTo>
                  <a:lnTo>
                    <a:pt x="124" y="194"/>
                  </a:lnTo>
                  <a:lnTo>
                    <a:pt x="122" y="194"/>
                  </a:lnTo>
                  <a:lnTo>
                    <a:pt x="120" y="194"/>
                  </a:lnTo>
                  <a:lnTo>
                    <a:pt x="120" y="196"/>
                  </a:lnTo>
                  <a:lnTo>
                    <a:pt x="118" y="196"/>
                  </a:lnTo>
                  <a:lnTo>
                    <a:pt x="118" y="194"/>
                  </a:lnTo>
                  <a:lnTo>
                    <a:pt x="118" y="192"/>
                  </a:lnTo>
                  <a:lnTo>
                    <a:pt x="118" y="192"/>
                  </a:lnTo>
                  <a:lnTo>
                    <a:pt x="116" y="192"/>
                  </a:lnTo>
                  <a:lnTo>
                    <a:pt x="116" y="190"/>
                  </a:lnTo>
                  <a:lnTo>
                    <a:pt x="116" y="192"/>
                  </a:lnTo>
                  <a:lnTo>
                    <a:pt x="114" y="192"/>
                  </a:lnTo>
                  <a:lnTo>
                    <a:pt x="112" y="192"/>
                  </a:lnTo>
                  <a:lnTo>
                    <a:pt x="112" y="190"/>
                  </a:lnTo>
                  <a:lnTo>
                    <a:pt x="114" y="190"/>
                  </a:lnTo>
                  <a:lnTo>
                    <a:pt x="114" y="188"/>
                  </a:lnTo>
                  <a:lnTo>
                    <a:pt x="114" y="186"/>
                  </a:lnTo>
                  <a:lnTo>
                    <a:pt x="114" y="184"/>
                  </a:lnTo>
                  <a:lnTo>
                    <a:pt x="116" y="184"/>
                  </a:lnTo>
                  <a:lnTo>
                    <a:pt x="116" y="186"/>
                  </a:lnTo>
                  <a:lnTo>
                    <a:pt x="118" y="186"/>
                  </a:lnTo>
                  <a:lnTo>
                    <a:pt x="118" y="188"/>
                  </a:lnTo>
                  <a:lnTo>
                    <a:pt x="120" y="188"/>
                  </a:lnTo>
                  <a:lnTo>
                    <a:pt x="122" y="188"/>
                  </a:lnTo>
                  <a:lnTo>
                    <a:pt x="122" y="190"/>
                  </a:lnTo>
                  <a:lnTo>
                    <a:pt x="124" y="190"/>
                  </a:lnTo>
                  <a:lnTo>
                    <a:pt x="126" y="190"/>
                  </a:lnTo>
                  <a:lnTo>
                    <a:pt x="124" y="190"/>
                  </a:lnTo>
                  <a:lnTo>
                    <a:pt x="126" y="190"/>
                  </a:lnTo>
                  <a:lnTo>
                    <a:pt x="124" y="190"/>
                  </a:lnTo>
                  <a:lnTo>
                    <a:pt x="122" y="190"/>
                  </a:lnTo>
                  <a:lnTo>
                    <a:pt x="122" y="188"/>
                  </a:lnTo>
                  <a:lnTo>
                    <a:pt x="120" y="188"/>
                  </a:lnTo>
                  <a:lnTo>
                    <a:pt x="118" y="188"/>
                  </a:lnTo>
                  <a:lnTo>
                    <a:pt x="118" y="186"/>
                  </a:lnTo>
                  <a:lnTo>
                    <a:pt x="116" y="186"/>
                  </a:lnTo>
                  <a:lnTo>
                    <a:pt x="116" y="184"/>
                  </a:lnTo>
                  <a:lnTo>
                    <a:pt x="114" y="184"/>
                  </a:lnTo>
                  <a:lnTo>
                    <a:pt x="116" y="184"/>
                  </a:lnTo>
                  <a:lnTo>
                    <a:pt x="114" y="184"/>
                  </a:lnTo>
                  <a:lnTo>
                    <a:pt x="112" y="184"/>
                  </a:lnTo>
                  <a:lnTo>
                    <a:pt x="110" y="184"/>
                  </a:lnTo>
                  <a:lnTo>
                    <a:pt x="108" y="184"/>
                  </a:lnTo>
                  <a:lnTo>
                    <a:pt x="106" y="184"/>
                  </a:lnTo>
                  <a:lnTo>
                    <a:pt x="104" y="182"/>
                  </a:lnTo>
                  <a:lnTo>
                    <a:pt x="104" y="180"/>
                  </a:lnTo>
                  <a:lnTo>
                    <a:pt x="104" y="178"/>
                  </a:lnTo>
                  <a:lnTo>
                    <a:pt x="104" y="180"/>
                  </a:lnTo>
                  <a:lnTo>
                    <a:pt x="102" y="180"/>
                  </a:lnTo>
                  <a:lnTo>
                    <a:pt x="102" y="178"/>
                  </a:lnTo>
                  <a:lnTo>
                    <a:pt x="102" y="180"/>
                  </a:lnTo>
                  <a:lnTo>
                    <a:pt x="100" y="180"/>
                  </a:lnTo>
                  <a:lnTo>
                    <a:pt x="98" y="180"/>
                  </a:lnTo>
                  <a:lnTo>
                    <a:pt x="98" y="180"/>
                  </a:lnTo>
                  <a:lnTo>
                    <a:pt x="96" y="180"/>
                  </a:lnTo>
                  <a:lnTo>
                    <a:pt x="94" y="180"/>
                  </a:lnTo>
                  <a:lnTo>
                    <a:pt x="94" y="182"/>
                  </a:lnTo>
                  <a:lnTo>
                    <a:pt x="92" y="182"/>
                  </a:lnTo>
                  <a:lnTo>
                    <a:pt x="90" y="182"/>
                  </a:lnTo>
                  <a:lnTo>
                    <a:pt x="88" y="182"/>
                  </a:lnTo>
                  <a:lnTo>
                    <a:pt x="90" y="182"/>
                  </a:lnTo>
                  <a:lnTo>
                    <a:pt x="90" y="180"/>
                  </a:lnTo>
                  <a:lnTo>
                    <a:pt x="90" y="178"/>
                  </a:lnTo>
                  <a:lnTo>
                    <a:pt x="90" y="180"/>
                  </a:lnTo>
                  <a:lnTo>
                    <a:pt x="88" y="180"/>
                  </a:lnTo>
                  <a:lnTo>
                    <a:pt x="88" y="178"/>
                  </a:lnTo>
                  <a:lnTo>
                    <a:pt x="88" y="180"/>
                  </a:lnTo>
                  <a:lnTo>
                    <a:pt x="90" y="180"/>
                  </a:lnTo>
                  <a:lnTo>
                    <a:pt x="90" y="182"/>
                  </a:lnTo>
                  <a:lnTo>
                    <a:pt x="90" y="180"/>
                  </a:lnTo>
                  <a:lnTo>
                    <a:pt x="90" y="182"/>
                  </a:lnTo>
                  <a:lnTo>
                    <a:pt x="88" y="182"/>
                  </a:lnTo>
                  <a:lnTo>
                    <a:pt x="88" y="184"/>
                  </a:lnTo>
                  <a:lnTo>
                    <a:pt x="88" y="182"/>
                  </a:lnTo>
                  <a:lnTo>
                    <a:pt x="88" y="184"/>
                  </a:lnTo>
                  <a:lnTo>
                    <a:pt x="88" y="182"/>
                  </a:lnTo>
                  <a:lnTo>
                    <a:pt x="86" y="182"/>
                  </a:lnTo>
                  <a:lnTo>
                    <a:pt x="86" y="184"/>
                  </a:lnTo>
                  <a:lnTo>
                    <a:pt x="88" y="184"/>
                  </a:lnTo>
                  <a:lnTo>
                    <a:pt x="86" y="184"/>
                  </a:lnTo>
                  <a:lnTo>
                    <a:pt x="86" y="186"/>
                  </a:lnTo>
                  <a:lnTo>
                    <a:pt x="88" y="186"/>
                  </a:lnTo>
                  <a:lnTo>
                    <a:pt x="88" y="188"/>
                  </a:lnTo>
                  <a:lnTo>
                    <a:pt x="90" y="188"/>
                  </a:lnTo>
                  <a:lnTo>
                    <a:pt x="92" y="188"/>
                  </a:lnTo>
                  <a:lnTo>
                    <a:pt x="90" y="188"/>
                  </a:lnTo>
                  <a:lnTo>
                    <a:pt x="90" y="190"/>
                  </a:lnTo>
                  <a:lnTo>
                    <a:pt x="90" y="188"/>
                  </a:lnTo>
                  <a:lnTo>
                    <a:pt x="88" y="188"/>
                  </a:lnTo>
                  <a:lnTo>
                    <a:pt x="88" y="190"/>
                  </a:lnTo>
                  <a:lnTo>
                    <a:pt x="88" y="188"/>
                  </a:lnTo>
                  <a:lnTo>
                    <a:pt x="86" y="188"/>
                  </a:lnTo>
                  <a:lnTo>
                    <a:pt x="88" y="188"/>
                  </a:lnTo>
                  <a:lnTo>
                    <a:pt x="88" y="190"/>
                  </a:lnTo>
                  <a:lnTo>
                    <a:pt x="88" y="188"/>
                  </a:lnTo>
                  <a:lnTo>
                    <a:pt x="88" y="190"/>
                  </a:lnTo>
                  <a:lnTo>
                    <a:pt x="90" y="190"/>
                  </a:lnTo>
                  <a:lnTo>
                    <a:pt x="90" y="192"/>
                  </a:lnTo>
                  <a:lnTo>
                    <a:pt x="88" y="192"/>
                  </a:lnTo>
                  <a:lnTo>
                    <a:pt x="90" y="192"/>
                  </a:lnTo>
                  <a:lnTo>
                    <a:pt x="92" y="192"/>
                  </a:lnTo>
                  <a:lnTo>
                    <a:pt x="92" y="192"/>
                  </a:lnTo>
                  <a:lnTo>
                    <a:pt x="92" y="192"/>
                  </a:lnTo>
                  <a:lnTo>
                    <a:pt x="90" y="192"/>
                  </a:lnTo>
                  <a:lnTo>
                    <a:pt x="90" y="192"/>
                  </a:lnTo>
                  <a:lnTo>
                    <a:pt x="92" y="192"/>
                  </a:lnTo>
                  <a:lnTo>
                    <a:pt x="92" y="192"/>
                  </a:lnTo>
                  <a:lnTo>
                    <a:pt x="90" y="192"/>
                  </a:lnTo>
                  <a:lnTo>
                    <a:pt x="92" y="192"/>
                  </a:lnTo>
                  <a:lnTo>
                    <a:pt x="94" y="192"/>
                  </a:lnTo>
                  <a:lnTo>
                    <a:pt x="96" y="192"/>
                  </a:lnTo>
                  <a:lnTo>
                    <a:pt x="94" y="192"/>
                  </a:lnTo>
                  <a:lnTo>
                    <a:pt x="94" y="192"/>
                  </a:lnTo>
                  <a:lnTo>
                    <a:pt x="92" y="192"/>
                  </a:lnTo>
                  <a:lnTo>
                    <a:pt x="94" y="192"/>
                  </a:lnTo>
                  <a:lnTo>
                    <a:pt x="92" y="192"/>
                  </a:lnTo>
                  <a:lnTo>
                    <a:pt x="90" y="192"/>
                  </a:lnTo>
                  <a:lnTo>
                    <a:pt x="88" y="192"/>
                  </a:lnTo>
                  <a:lnTo>
                    <a:pt x="86" y="192"/>
                  </a:lnTo>
                  <a:lnTo>
                    <a:pt x="86" y="194"/>
                  </a:lnTo>
                  <a:lnTo>
                    <a:pt x="84" y="194"/>
                  </a:lnTo>
                  <a:lnTo>
                    <a:pt x="84" y="196"/>
                  </a:lnTo>
                  <a:lnTo>
                    <a:pt x="82" y="196"/>
                  </a:lnTo>
                  <a:lnTo>
                    <a:pt x="80" y="196"/>
                  </a:lnTo>
                  <a:lnTo>
                    <a:pt x="78" y="196"/>
                  </a:lnTo>
                  <a:lnTo>
                    <a:pt x="78" y="194"/>
                  </a:lnTo>
                  <a:lnTo>
                    <a:pt x="76" y="194"/>
                  </a:lnTo>
                  <a:lnTo>
                    <a:pt x="74" y="194"/>
                  </a:lnTo>
                  <a:lnTo>
                    <a:pt x="72" y="194"/>
                  </a:lnTo>
                  <a:lnTo>
                    <a:pt x="70" y="194"/>
                  </a:lnTo>
                  <a:lnTo>
                    <a:pt x="68" y="194"/>
                  </a:lnTo>
                  <a:lnTo>
                    <a:pt x="68" y="192"/>
                  </a:lnTo>
                  <a:lnTo>
                    <a:pt x="66" y="192"/>
                  </a:lnTo>
                  <a:lnTo>
                    <a:pt x="64" y="192"/>
                  </a:lnTo>
                  <a:lnTo>
                    <a:pt x="62" y="192"/>
                  </a:lnTo>
                  <a:lnTo>
                    <a:pt x="60" y="192"/>
                  </a:lnTo>
                  <a:lnTo>
                    <a:pt x="60" y="192"/>
                  </a:lnTo>
                  <a:lnTo>
                    <a:pt x="58" y="192"/>
                  </a:lnTo>
                  <a:lnTo>
                    <a:pt x="56" y="192"/>
                  </a:lnTo>
                  <a:lnTo>
                    <a:pt x="56" y="190"/>
                  </a:lnTo>
                  <a:lnTo>
                    <a:pt x="54" y="190"/>
                  </a:lnTo>
                  <a:lnTo>
                    <a:pt x="52" y="190"/>
                  </a:lnTo>
                  <a:lnTo>
                    <a:pt x="52" y="188"/>
                  </a:lnTo>
                  <a:lnTo>
                    <a:pt x="50" y="188"/>
                  </a:lnTo>
                  <a:lnTo>
                    <a:pt x="50" y="188"/>
                  </a:lnTo>
                  <a:lnTo>
                    <a:pt x="50" y="186"/>
                  </a:lnTo>
                  <a:lnTo>
                    <a:pt x="48" y="186"/>
                  </a:lnTo>
                  <a:lnTo>
                    <a:pt x="46" y="186"/>
                  </a:lnTo>
                  <a:lnTo>
                    <a:pt x="46" y="184"/>
                  </a:lnTo>
                  <a:lnTo>
                    <a:pt x="44" y="184"/>
                  </a:lnTo>
                  <a:lnTo>
                    <a:pt x="44" y="182"/>
                  </a:lnTo>
                  <a:lnTo>
                    <a:pt x="44" y="184"/>
                  </a:lnTo>
                  <a:lnTo>
                    <a:pt x="42" y="184"/>
                  </a:lnTo>
                  <a:lnTo>
                    <a:pt x="40" y="184"/>
                  </a:lnTo>
                  <a:lnTo>
                    <a:pt x="38" y="184"/>
                  </a:lnTo>
                  <a:lnTo>
                    <a:pt x="38" y="182"/>
                  </a:lnTo>
                  <a:lnTo>
                    <a:pt x="36" y="182"/>
                  </a:lnTo>
                  <a:lnTo>
                    <a:pt x="34" y="182"/>
                  </a:lnTo>
                  <a:lnTo>
                    <a:pt x="32" y="182"/>
                  </a:lnTo>
                  <a:lnTo>
                    <a:pt x="30" y="182"/>
                  </a:lnTo>
                  <a:lnTo>
                    <a:pt x="30" y="180"/>
                  </a:lnTo>
                  <a:lnTo>
                    <a:pt x="30" y="178"/>
                  </a:lnTo>
                  <a:lnTo>
                    <a:pt x="32" y="178"/>
                  </a:lnTo>
                  <a:lnTo>
                    <a:pt x="34" y="178"/>
                  </a:lnTo>
                  <a:lnTo>
                    <a:pt x="36" y="178"/>
                  </a:lnTo>
                  <a:lnTo>
                    <a:pt x="36" y="176"/>
                  </a:lnTo>
                  <a:lnTo>
                    <a:pt x="34" y="176"/>
                  </a:lnTo>
                  <a:lnTo>
                    <a:pt x="36" y="176"/>
                  </a:lnTo>
                  <a:lnTo>
                    <a:pt x="34" y="176"/>
                  </a:lnTo>
                  <a:lnTo>
                    <a:pt x="36" y="176"/>
                  </a:lnTo>
                  <a:lnTo>
                    <a:pt x="36" y="174"/>
                  </a:lnTo>
                  <a:lnTo>
                    <a:pt x="34" y="174"/>
                  </a:lnTo>
                  <a:lnTo>
                    <a:pt x="34" y="172"/>
                  </a:lnTo>
                  <a:lnTo>
                    <a:pt x="34" y="170"/>
                  </a:lnTo>
                  <a:lnTo>
                    <a:pt x="34" y="168"/>
                  </a:lnTo>
                  <a:lnTo>
                    <a:pt x="32" y="168"/>
                  </a:lnTo>
                  <a:lnTo>
                    <a:pt x="32" y="166"/>
                  </a:lnTo>
                  <a:lnTo>
                    <a:pt x="30" y="166"/>
                  </a:lnTo>
                  <a:lnTo>
                    <a:pt x="30" y="168"/>
                  </a:lnTo>
                  <a:lnTo>
                    <a:pt x="30" y="170"/>
                  </a:lnTo>
                  <a:lnTo>
                    <a:pt x="30" y="172"/>
                  </a:lnTo>
                  <a:lnTo>
                    <a:pt x="30" y="174"/>
                  </a:lnTo>
                  <a:lnTo>
                    <a:pt x="30" y="172"/>
                  </a:lnTo>
                  <a:lnTo>
                    <a:pt x="30" y="174"/>
                  </a:lnTo>
                  <a:lnTo>
                    <a:pt x="30" y="176"/>
                  </a:lnTo>
                  <a:lnTo>
                    <a:pt x="30" y="178"/>
                  </a:lnTo>
                  <a:lnTo>
                    <a:pt x="30" y="176"/>
                  </a:lnTo>
                  <a:lnTo>
                    <a:pt x="28" y="176"/>
                  </a:lnTo>
                  <a:lnTo>
                    <a:pt x="26" y="176"/>
                  </a:lnTo>
                  <a:lnTo>
                    <a:pt x="24" y="176"/>
                  </a:lnTo>
                  <a:lnTo>
                    <a:pt x="24" y="178"/>
                  </a:lnTo>
                  <a:lnTo>
                    <a:pt x="26" y="178"/>
                  </a:lnTo>
                  <a:lnTo>
                    <a:pt x="28" y="178"/>
                  </a:lnTo>
                  <a:lnTo>
                    <a:pt x="28" y="180"/>
                  </a:lnTo>
                  <a:lnTo>
                    <a:pt x="30" y="180"/>
                  </a:lnTo>
                  <a:lnTo>
                    <a:pt x="30" y="182"/>
                  </a:lnTo>
                  <a:lnTo>
                    <a:pt x="30" y="184"/>
                  </a:lnTo>
                  <a:lnTo>
                    <a:pt x="28" y="184"/>
                  </a:lnTo>
                  <a:lnTo>
                    <a:pt x="28" y="182"/>
                  </a:lnTo>
                  <a:lnTo>
                    <a:pt x="28" y="184"/>
                  </a:lnTo>
                  <a:lnTo>
                    <a:pt x="28" y="182"/>
                  </a:lnTo>
                  <a:lnTo>
                    <a:pt x="26" y="182"/>
                  </a:lnTo>
                  <a:lnTo>
                    <a:pt x="24" y="182"/>
                  </a:lnTo>
                  <a:lnTo>
                    <a:pt x="22" y="182"/>
                  </a:lnTo>
                  <a:lnTo>
                    <a:pt x="20" y="182"/>
                  </a:lnTo>
                  <a:lnTo>
                    <a:pt x="18" y="182"/>
                  </a:lnTo>
                  <a:lnTo>
                    <a:pt x="18" y="184"/>
                  </a:lnTo>
                  <a:lnTo>
                    <a:pt x="16" y="184"/>
                  </a:lnTo>
                  <a:lnTo>
                    <a:pt x="14" y="184"/>
                  </a:lnTo>
                  <a:lnTo>
                    <a:pt x="12" y="184"/>
                  </a:lnTo>
                  <a:lnTo>
                    <a:pt x="10" y="184"/>
                  </a:lnTo>
                  <a:lnTo>
                    <a:pt x="8" y="184"/>
                  </a:lnTo>
                  <a:lnTo>
                    <a:pt x="6" y="184"/>
                  </a:lnTo>
                  <a:lnTo>
                    <a:pt x="6" y="186"/>
                  </a:lnTo>
                  <a:lnTo>
                    <a:pt x="4" y="186"/>
                  </a:lnTo>
                  <a:lnTo>
                    <a:pt x="4" y="184"/>
                  </a:lnTo>
                  <a:lnTo>
                    <a:pt x="4" y="186"/>
                  </a:lnTo>
                  <a:lnTo>
                    <a:pt x="4" y="184"/>
                  </a:lnTo>
                  <a:lnTo>
                    <a:pt x="2" y="184"/>
                  </a:lnTo>
                  <a:lnTo>
                    <a:pt x="2" y="182"/>
                  </a:lnTo>
                  <a:lnTo>
                    <a:pt x="0" y="182"/>
                  </a:lnTo>
                  <a:lnTo>
                    <a:pt x="0" y="180"/>
                  </a:lnTo>
                  <a:lnTo>
                    <a:pt x="2" y="180"/>
                  </a:lnTo>
                  <a:lnTo>
                    <a:pt x="4" y="180"/>
                  </a:lnTo>
                  <a:lnTo>
                    <a:pt x="4" y="178"/>
                  </a:lnTo>
                  <a:lnTo>
                    <a:pt x="6" y="178"/>
                  </a:lnTo>
                  <a:lnTo>
                    <a:pt x="6" y="180"/>
                  </a:lnTo>
                  <a:lnTo>
                    <a:pt x="6" y="178"/>
                  </a:lnTo>
                  <a:lnTo>
                    <a:pt x="6" y="176"/>
                  </a:lnTo>
                  <a:lnTo>
                    <a:pt x="8" y="176"/>
                  </a:lnTo>
                  <a:lnTo>
                    <a:pt x="8" y="174"/>
                  </a:lnTo>
                  <a:lnTo>
                    <a:pt x="8" y="172"/>
                  </a:lnTo>
                  <a:lnTo>
                    <a:pt x="8" y="170"/>
                  </a:lnTo>
                  <a:lnTo>
                    <a:pt x="8" y="168"/>
                  </a:lnTo>
                  <a:lnTo>
                    <a:pt x="8" y="170"/>
                  </a:lnTo>
                  <a:lnTo>
                    <a:pt x="6" y="170"/>
                  </a:lnTo>
                  <a:lnTo>
                    <a:pt x="8" y="170"/>
                  </a:lnTo>
                  <a:lnTo>
                    <a:pt x="8" y="168"/>
                  </a:lnTo>
                  <a:lnTo>
                    <a:pt x="10" y="168"/>
                  </a:lnTo>
                  <a:lnTo>
                    <a:pt x="10" y="166"/>
                  </a:lnTo>
                  <a:lnTo>
                    <a:pt x="10" y="164"/>
                  </a:lnTo>
                  <a:lnTo>
                    <a:pt x="10" y="166"/>
                  </a:lnTo>
                  <a:lnTo>
                    <a:pt x="12" y="166"/>
                  </a:lnTo>
                  <a:lnTo>
                    <a:pt x="12" y="164"/>
                  </a:lnTo>
                  <a:lnTo>
                    <a:pt x="10" y="164"/>
                  </a:lnTo>
                  <a:lnTo>
                    <a:pt x="10" y="162"/>
                  </a:lnTo>
                  <a:lnTo>
                    <a:pt x="12" y="162"/>
                  </a:lnTo>
                  <a:lnTo>
                    <a:pt x="12" y="160"/>
                  </a:lnTo>
                  <a:lnTo>
                    <a:pt x="12" y="158"/>
                  </a:lnTo>
                  <a:lnTo>
                    <a:pt x="10" y="158"/>
                  </a:lnTo>
                  <a:lnTo>
                    <a:pt x="12" y="158"/>
                  </a:lnTo>
                  <a:lnTo>
                    <a:pt x="10" y="156"/>
                  </a:lnTo>
                  <a:lnTo>
                    <a:pt x="12" y="156"/>
                  </a:lnTo>
                  <a:lnTo>
                    <a:pt x="10" y="156"/>
                  </a:lnTo>
                  <a:lnTo>
                    <a:pt x="12" y="156"/>
                  </a:lnTo>
                  <a:lnTo>
                    <a:pt x="12" y="154"/>
                  </a:lnTo>
                  <a:lnTo>
                    <a:pt x="12" y="152"/>
                  </a:lnTo>
                  <a:lnTo>
                    <a:pt x="10" y="152"/>
                  </a:lnTo>
                  <a:lnTo>
                    <a:pt x="10" y="150"/>
                  </a:lnTo>
                  <a:lnTo>
                    <a:pt x="8" y="150"/>
                  </a:lnTo>
                  <a:lnTo>
                    <a:pt x="8" y="148"/>
                  </a:lnTo>
                  <a:lnTo>
                    <a:pt x="10" y="148"/>
                  </a:lnTo>
                  <a:lnTo>
                    <a:pt x="8" y="148"/>
                  </a:lnTo>
                  <a:lnTo>
                    <a:pt x="10" y="148"/>
                  </a:lnTo>
                  <a:lnTo>
                    <a:pt x="8" y="148"/>
                  </a:lnTo>
                  <a:lnTo>
                    <a:pt x="10" y="148"/>
                  </a:lnTo>
                  <a:lnTo>
                    <a:pt x="8" y="148"/>
                  </a:lnTo>
                  <a:lnTo>
                    <a:pt x="10" y="148"/>
                  </a:lnTo>
                  <a:lnTo>
                    <a:pt x="10" y="146"/>
                  </a:lnTo>
                  <a:lnTo>
                    <a:pt x="10" y="148"/>
                  </a:lnTo>
                  <a:lnTo>
                    <a:pt x="10" y="146"/>
                  </a:lnTo>
                  <a:lnTo>
                    <a:pt x="10" y="144"/>
                  </a:lnTo>
                  <a:lnTo>
                    <a:pt x="12" y="144"/>
                  </a:lnTo>
                  <a:lnTo>
                    <a:pt x="10" y="144"/>
                  </a:lnTo>
                  <a:lnTo>
                    <a:pt x="12" y="144"/>
                  </a:lnTo>
                  <a:lnTo>
                    <a:pt x="12" y="144"/>
                  </a:lnTo>
                  <a:lnTo>
                    <a:pt x="12" y="142"/>
                  </a:lnTo>
                  <a:lnTo>
                    <a:pt x="12" y="140"/>
                  </a:lnTo>
                  <a:lnTo>
                    <a:pt x="10" y="140"/>
                  </a:lnTo>
                  <a:lnTo>
                    <a:pt x="10" y="138"/>
                  </a:lnTo>
                  <a:lnTo>
                    <a:pt x="12" y="138"/>
                  </a:lnTo>
                  <a:lnTo>
                    <a:pt x="12" y="136"/>
                  </a:lnTo>
                  <a:lnTo>
                    <a:pt x="14" y="136"/>
                  </a:lnTo>
                  <a:lnTo>
                    <a:pt x="12" y="136"/>
                  </a:lnTo>
                  <a:lnTo>
                    <a:pt x="14" y="136"/>
                  </a:lnTo>
                  <a:lnTo>
                    <a:pt x="14" y="134"/>
                  </a:lnTo>
                  <a:lnTo>
                    <a:pt x="14" y="132"/>
                  </a:lnTo>
                  <a:lnTo>
                    <a:pt x="16" y="132"/>
                  </a:lnTo>
                  <a:lnTo>
                    <a:pt x="16" y="130"/>
                  </a:lnTo>
                  <a:lnTo>
                    <a:pt x="16" y="128"/>
                  </a:lnTo>
                  <a:lnTo>
                    <a:pt x="18" y="128"/>
                  </a:lnTo>
                  <a:lnTo>
                    <a:pt x="16" y="128"/>
                  </a:lnTo>
                  <a:lnTo>
                    <a:pt x="18" y="128"/>
                  </a:lnTo>
                  <a:lnTo>
                    <a:pt x="18" y="126"/>
                  </a:lnTo>
                  <a:lnTo>
                    <a:pt x="18" y="124"/>
                  </a:lnTo>
                  <a:lnTo>
                    <a:pt x="20" y="124"/>
                  </a:lnTo>
                  <a:lnTo>
                    <a:pt x="20" y="122"/>
                  </a:lnTo>
                  <a:lnTo>
                    <a:pt x="20" y="120"/>
                  </a:lnTo>
                  <a:lnTo>
                    <a:pt x="20" y="118"/>
                  </a:lnTo>
                  <a:lnTo>
                    <a:pt x="20" y="116"/>
                  </a:lnTo>
                  <a:lnTo>
                    <a:pt x="20" y="118"/>
                  </a:lnTo>
                  <a:lnTo>
                    <a:pt x="22" y="116"/>
                  </a:lnTo>
                  <a:lnTo>
                    <a:pt x="22" y="114"/>
                  </a:lnTo>
                  <a:lnTo>
                    <a:pt x="20" y="114"/>
                  </a:lnTo>
                  <a:lnTo>
                    <a:pt x="20" y="112"/>
                  </a:lnTo>
                  <a:lnTo>
                    <a:pt x="22" y="112"/>
                  </a:lnTo>
                  <a:lnTo>
                    <a:pt x="22" y="110"/>
                  </a:lnTo>
                  <a:lnTo>
                    <a:pt x="22" y="108"/>
                  </a:lnTo>
                  <a:lnTo>
                    <a:pt x="20" y="108"/>
                  </a:lnTo>
                  <a:lnTo>
                    <a:pt x="20" y="106"/>
                  </a:lnTo>
                  <a:lnTo>
                    <a:pt x="22" y="106"/>
                  </a:lnTo>
                  <a:lnTo>
                    <a:pt x="22" y="104"/>
                  </a:lnTo>
                  <a:lnTo>
                    <a:pt x="22" y="102"/>
                  </a:lnTo>
                  <a:lnTo>
                    <a:pt x="20" y="102"/>
                  </a:lnTo>
                  <a:lnTo>
                    <a:pt x="18" y="102"/>
                  </a:lnTo>
                  <a:lnTo>
                    <a:pt x="18" y="100"/>
                  </a:lnTo>
                  <a:lnTo>
                    <a:pt x="18" y="98"/>
                  </a:lnTo>
                  <a:lnTo>
                    <a:pt x="18" y="100"/>
                  </a:lnTo>
                  <a:lnTo>
                    <a:pt x="18" y="98"/>
                  </a:lnTo>
                  <a:lnTo>
                    <a:pt x="18" y="96"/>
                  </a:lnTo>
                  <a:lnTo>
                    <a:pt x="16" y="96"/>
                  </a:lnTo>
                  <a:lnTo>
                    <a:pt x="16" y="96"/>
                  </a:lnTo>
                  <a:lnTo>
                    <a:pt x="14" y="96"/>
                  </a:lnTo>
                  <a:lnTo>
                    <a:pt x="16" y="96"/>
                  </a:lnTo>
                  <a:lnTo>
                    <a:pt x="14" y="96"/>
                  </a:lnTo>
                  <a:lnTo>
                    <a:pt x="14" y="94"/>
                  </a:lnTo>
                  <a:lnTo>
                    <a:pt x="16" y="94"/>
                  </a:lnTo>
                  <a:lnTo>
                    <a:pt x="16" y="92"/>
                  </a:lnTo>
                  <a:lnTo>
                    <a:pt x="16" y="94"/>
                  </a:lnTo>
                  <a:lnTo>
                    <a:pt x="16" y="92"/>
                  </a:lnTo>
                  <a:lnTo>
                    <a:pt x="14" y="92"/>
                  </a:lnTo>
                  <a:lnTo>
                    <a:pt x="14" y="90"/>
                  </a:lnTo>
                  <a:lnTo>
                    <a:pt x="14" y="88"/>
                  </a:lnTo>
                  <a:lnTo>
                    <a:pt x="12" y="88"/>
                  </a:lnTo>
                  <a:lnTo>
                    <a:pt x="12" y="86"/>
                  </a:lnTo>
                  <a:lnTo>
                    <a:pt x="14" y="86"/>
                  </a:lnTo>
                  <a:lnTo>
                    <a:pt x="14" y="84"/>
                  </a:lnTo>
                  <a:lnTo>
                    <a:pt x="12" y="84"/>
                  </a:lnTo>
                  <a:lnTo>
                    <a:pt x="10" y="84"/>
                  </a:lnTo>
                  <a:lnTo>
                    <a:pt x="10" y="82"/>
                  </a:lnTo>
                  <a:lnTo>
                    <a:pt x="8" y="82"/>
                  </a:lnTo>
                  <a:lnTo>
                    <a:pt x="10" y="82"/>
                  </a:lnTo>
                  <a:lnTo>
                    <a:pt x="8" y="82"/>
                  </a:lnTo>
                  <a:lnTo>
                    <a:pt x="8" y="80"/>
                  </a:lnTo>
                  <a:lnTo>
                    <a:pt x="8" y="78"/>
                  </a:lnTo>
                  <a:lnTo>
                    <a:pt x="8" y="76"/>
                  </a:lnTo>
                  <a:lnTo>
                    <a:pt x="8" y="74"/>
                  </a:lnTo>
                  <a:lnTo>
                    <a:pt x="8" y="76"/>
                  </a:lnTo>
                  <a:lnTo>
                    <a:pt x="8" y="74"/>
                  </a:lnTo>
                  <a:lnTo>
                    <a:pt x="10" y="74"/>
                  </a:lnTo>
                  <a:lnTo>
                    <a:pt x="8" y="74"/>
                  </a:lnTo>
                  <a:lnTo>
                    <a:pt x="8" y="72"/>
                  </a:lnTo>
                  <a:lnTo>
                    <a:pt x="8" y="70"/>
                  </a:lnTo>
                  <a:lnTo>
                    <a:pt x="8" y="68"/>
                  </a:lnTo>
                  <a:lnTo>
                    <a:pt x="6" y="68"/>
                  </a:lnTo>
                  <a:lnTo>
                    <a:pt x="6" y="66"/>
                  </a:lnTo>
                  <a:lnTo>
                    <a:pt x="6" y="64"/>
                  </a:lnTo>
                  <a:lnTo>
                    <a:pt x="4" y="64"/>
                  </a:lnTo>
                  <a:lnTo>
                    <a:pt x="4" y="62"/>
                  </a:lnTo>
                  <a:lnTo>
                    <a:pt x="4" y="60"/>
                  </a:lnTo>
                  <a:lnTo>
                    <a:pt x="4" y="62"/>
                  </a:lnTo>
                  <a:lnTo>
                    <a:pt x="2" y="62"/>
                  </a:lnTo>
                  <a:lnTo>
                    <a:pt x="2" y="60"/>
                  </a:lnTo>
                  <a:lnTo>
                    <a:pt x="0" y="60"/>
                  </a:lnTo>
                  <a:lnTo>
                    <a:pt x="0" y="58"/>
                  </a:lnTo>
                  <a:lnTo>
                    <a:pt x="0" y="56"/>
                  </a:lnTo>
                  <a:lnTo>
                    <a:pt x="0" y="56"/>
                  </a:lnTo>
                  <a:lnTo>
                    <a:pt x="0" y="54"/>
                  </a:lnTo>
                  <a:lnTo>
                    <a:pt x="0" y="52"/>
                  </a:lnTo>
                  <a:lnTo>
                    <a:pt x="0" y="50"/>
                  </a:lnTo>
                  <a:lnTo>
                    <a:pt x="0" y="48"/>
                  </a:lnTo>
                  <a:lnTo>
                    <a:pt x="0" y="48"/>
                  </a:lnTo>
                  <a:lnTo>
                    <a:pt x="0" y="46"/>
                  </a:lnTo>
                  <a:lnTo>
                    <a:pt x="0" y="44"/>
                  </a:lnTo>
                  <a:lnTo>
                    <a:pt x="0" y="42"/>
                  </a:lnTo>
                  <a:lnTo>
                    <a:pt x="0" y="38"/>
                  </a:lnTo>
                  <a:lnTo>
                    <a:pt x="0" y="36"/>
                  </a:lnTo>
                  <a:lnTo>
                    <a:pt x="0" y="34"/>
                  </a:lnTo>
                  <a:lnTo>
                    <a:pt x="0" y="32"/>
                  </a:lnTo>
                  <a:lnTo>
                    <a:pt x="0" y="30"/>
                  </a:lnTo>
                  <a:lnTo>
                    <a:pt x="0" y="28"/>
                  </a:lnTo>
                  <a:lnTo>
                    <a:pt x="0" y="28"/>
                  </a:lnTo>
                  <a:lnTo>
                    <a:pt x="0" y="26"/>
                  </a:lnTo>
                  <a:lnTo>
                    <a:pt x="0" y="24"/>
                  </a:lnTo>
                  <a:lnTo>
                    <a:pt x="0" y="22"/>
                  </a:lnTo>
                  <a:lnTo>
                    <a:pt x="0" y="20"/>
                  </a:lnTo>
                  <a:lnTo>
                    <a:pt x="0" y="18"/>
                  </a:lnTo>
                  <a:lnTo>
                    <a:pt x="0" y="14"/>
                  </a:lnTo>
                  <a:lnTo>
                    <a:pt x="0" y="12"/>
                  </a:lnTo>
                  <a:lnTo>
                    <a:pt x="0" y="8"/>
                  </a:lnTo>
                  <a:lnTo>
                    <a:pt x="0" y="6"/>
                  </a:lnTo>
                  <a:lnTo>
                    <a:pt x="0" y="4"/>
                  </a:lnTo>
                  <a:lnTo>
                    <a:pt x="0" y="2"/>
                  </a:lnTo>
                  <a:lnTo>
                    <a:pt x="0" y="0"/>
                  </a:lnTo>
                  <a:lnTo>
                    <a:pt x="2" y="0"/>
                  </a:lnTo>
                  <a:lnTo>
                    <a:pt x="8" y="0"/>
                  </a:lnTo>
                  <a:lnTo>
                    <a:pt x="10" y="0"/>
                  </a:lnTo>
                  <a:lnTo>
                    <a:pt x="12" y="0"/>
                  </a:lnTo>
                  <a:lnTo>
                    <a:pt x="14" y="0"/>
                  </a:lnTo>
                  <a:close/>
                  <a:moveTo>
                    <a:pt x="170" y="150"/>
                  </a:moveTo>
                  <a:lnTo>
                    <a:pt x="168" y="150"/>
                  </a:lnTo>
                  <a:lnTo>
                    <a:pt x="166" y="150"/>
                  </a:lnTo>
                  <a:lnTo>
                    <a:pt x="166" y="152"/>
                  </a:lnTo>
                  <a:lnTo>
                    <a:pt x="164" y="152"/>
                  </a:lnTo>
                  <a:lnTo>
                    <a:pt x="164" y="154"/>
                  </a:lnTo>
                  <a:lnTo>
                    <a:pt x="164" y="156"/>
                  </a:lnTo>
                  <a:lnTo>
                    <a:pt x="164" y="158"/>
                  </a:lnTo>
                  <a:lnTo>
                    <a:pt x="164" y="160"/>
                  </a:lnTo>
                  <a:lnTo>
                    <a:pt x="166" y="160"/>
                  </a:lnTo>
                  <a:lnTo>
                    <a:pt x="168" y="160"/>
                  </a:lnTo>
                  <a:lnTo>
                    <a:pt x="170" y="158"/>
                  </a:lnTo>
                  <a:lnTo>
                    <a:pt x="172" y="158"/>
                  </a:lnTo>
                  <a:lnTo>
                    <a:pt x="172" y="156"/>
                  </a:lnTo>
                  <a:lnTo>
                    <a:pt x="172" y="154"/>
                  </a:lnTo>
                  <a:lnTo>
                    <a:pt x="174" y="154"/>
                  </a:lnTo>
                  <a:lnTo>
                    <a:pt x="174" y="152"/>
                  </a:lnTo>
                  <a:lnTo>
                    <a:pt x="172" y="152"/>
                  </a:lnTo>
                  <a:lnTo>
                    <a:pt x="172" y="150"/>
                  </a:lnTo>
                  <a:lnTo>
                    <a:pt x="170" y="150"/>
                  </a:lnTo>
                  <a:close/>
                </a:path>
              </a:pathLst>
            </a:custGeom>
            <a:solidFill>
              <a:srgbClr val="ABAFCF"/>
            </a:solidFill>
            <a:ln w="3175">
              <a:solidFill>
                <a:sysClr val="window" lastClr="FFFF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sng" strike="noStrike" kern="0" cap="none" spc="0" normalizeH="0" baseline="0" noProof="0">
                <a:ln>
                  <a:noFill/>
                </a:ln>
                <a:solidFill>
                  <a:prstClr val="black"/>
                </a:solidFill>
                <a:effectLst/>
                <a:uLnTx/>
                <a:uFillTx/>
                <a:ea typeface="宋体" panose="02010600030101010101" pitchFamily="2" charset="-122"/>
              </a:endParaRPr>
            </a:p>
          </p:txBody>
        </p:sp>
        <p:sp>
          <p:nvSpPr>
            <p:cNvPr id="17" name="Freeform 2796">
              <a:extLst>
                <a:ext uri="{FF2B5EF4-FFF2-40B4-BE49-F238E27FC236}">
                  <a16:creationId xmlns:a16="http://schemas.microsoft.com/office/drawing/2014/main" id="{FAABACB8-65B1-5DA8-44EA-F19B7DE5BD82}"/>
                </a:ext>
              </a:extLst>
            </p:cNvPr>
            <p:cNvSpPr>
              <a:spLocks noEditPoints="1"/>
            </p:cNvSpPr>
            <p:nvPr/>
          </p:nvSpPr>
          <p:spPr bwMode="auto">
            <a:xfrm>
              <a:off x="5221288" y="2501900"/>
              <a:ext cx="417513" cy="484188"/>
            </a:xfrm>
            <a:custGeom>
              <a:avLst/>
              <a:gdLst>
                <a:gd name="T0" fmla="*/ 174 w 263"/>
                <a:gd name="T1" fmla="*/ 138 h 305"/>
                <a:gd name="T2" fmla="*/ 106 w 263"/>
                <a:gd name="T3" fmla="*/ 40 h 305"/>
                <a:gd name="T4" fmla="*/ 124 w 263"/>
                <a:gd name="T5" fmla="*/ 46 h 305"/>
                <a:gd name="T6" fmla="*/ 144 w 263"/>
                <a:gd name="T7" fmla="*/ 42 h 305"/>
                <a:gd name="T8" fmla="*/ 160 w 263"/>
                <a:gd name="T9" fmla="*/ 52 h 305"/>
                <a:gd name="T10" fmla="*/ 172 w 263"/>
                <a:gd name="T11" fmla="*/ 54 h 305"/>
                <a:gd name="T12" fmla="*/ 184 w 263"/>
                <a:gd name="T13" fmla="*/ 66 h 305"/>
                <a:gd name="T14" fmla="*/ 196 w 263"/>
                <a:gd name="T15" fmla="*/ 72 h 305"/>
                <a:gd name="T16" fmla="*/ 214 w 263"/>
                <a:gd name="T17" fmla="*/ 60 h 305"/>
                <a:gd name="T18" fmla="*/ 224 w 263"/>
                <a:gd name="T19" fmla="*/ 68 h 305"/>
                <a:gd name="T20" fmla="*/ 244 w 263"/>
                <a:gd name="T21" fmla="*/ 72 h 305"/>
                <a:gd name="T22" fmla="*/ 263 w 263"/>
                <a:gd name="T23" fmla="*/ 72 h 305"/>
                <a:gd name="T24" fmla="*/ 254 w 263"/>
                <a:gd name="T25" fmla="*/ 74 h 305"/>
                <a:gd name="T26" fmla="*/ 236 w 263"/>
                <a:gd name="T27" fmla="*/ 84 h 305"/>
                <a:gd name="T28" fmla="*/ 224 w 263"/>
                <a:gd name="T29" fmla="*/ 90 h 305"/>
                <a:gd name="T30" fmla="*/ 208 w 263"/>
                <a:gd name="T31" fmla="*/ 102 h 305"/>
                <a:gd name="T32" fmla="*/ 198 w 263"/>
                <a:gd name="T33" fmla="*/ 112 h 305"/>
                <a:gd name="T34" fmla="*/ 184 w 263"/>
                <a:gd name="T35" fmla="*/ 126 h 305"/>
                <a:gd name="T36" fmla="*/ 174 w 263"/>
                <a:gd name="T37" fmla="*/ 136 h 305"/>
                <a:gd name="T38" fmla="*/ 168 w 263"/>
                <a:gd name="T39" fmla="*/ 142 h 305"/>
                <a:gd name="T40" fmla="*/ 166 w 263"/>
                <a:gd name="T41" fmla="*/ 158 h 305"/>
                <a:gd name="T42" fmla="*/ 160 w 263"/>
                <a:gd name="T43" fmla="*/ 176 h 305"/>
                <a:gd name="T44" fmla="*/ 148 w 263"/>
                <a:gd name="T45" fmla="*/ 186 h 305"/>
                <a:gd name="T46" fmla="*/ 144 w 263"/>
                <a:gd name="T47" fmla="*/ 198 h 305"/>
                <a:gd name="T48" fmla="*/ 148 w 263"/>
                <a:gd name="T49" fmla="*/ 210 h 305"/>
                <a:gd name="T50" fmla="*/ 148 w 263"/>
                <a:gd name="T51" fmla="*/ 230 h 305"/>
                <a:gd name="T52" fmla="*/ 152 w 263"/>
                <a:gd name="T53" fmla="*/ 245 h 305"/>
                <a:gd name="T54" fmla="*/ 170 w 263"/>
                <a:gd name="T55" fmla="*/ 257 h 305"/>
                <a:gd name="T56" fmla="*/ 180 w 263"/>
                <a:gd name="T57" fmla="*/ 271 h 305"/>
                <a:gd name="T58" fmla="*/ 198 w 263"/>
                <a:gd name="T59" fmla="*/ 281 h 305"/>
                <a:gd name="T60" fmla="*/ 202 w 263"/>
                <a:gd name="T61" fmla="*/ 299 h 305"/>
                <a:gd name="T62" fmla="*/ 184 w 263"/>
                <a:gd name="T63" fmla="*/ 305 h 305"/>
                <a:gd name="T64" fmla="*/ 156 w 263"/>
                <a:gd name="T65" fmla="*/ 305 h 305"/>
                <a:gd name="T66" fmla="*/ 128 w 263"/>
                <a:gd name="T67" fmla="*/ 305 h 305"/>
                <a:gd name="T68" fmla="*/ 86 w 263"/>
                <a:gd name="T69" fmla="*/ 303 h 305"/>
                <a:gd name="T70" fmla="*/ 54 w 263"/>
                <a:gd name="T71" fmla="*/ 301 h 305"/>
                <a:gd name="T72" fmla="*/ 24 w 263"/>
                <a:gd name="T73" fmla="*/ 299 h 305"/>
                <a:gd name="T74" fmla="*/ 8 w 263"/>
                <a:gd name="T75" fmla="*/ 287 h 305"/>
                <a:gd name="T76" fmla="*/ 10 w 263"/>
                <a:gd name="T77" fmla="*/ 259 h 305"/>
                <a:gd name="T78" fmla="*/ 12 w 263"/>
                <a:gd name="T79" fmla="*/ 230 h 305"/>
                <a:gd name="T80" fmla="*/ 14 w 263"/>
                <a:gd name="T81" fmla="*/ 204 h 305"/>
                <a:gd name="T82" fmla="*/ 2 w 263"/>
                <a:gd name="T83" fmla="*/ 190 h 305"/>
                <a:gd name="T84" fmla="*/ 12 w 263"/>
                <a:gd name="T85" fmla="*/ 174 h 305"/>
                <a:gd name="T86" fmla="*/ 14 w 263"/>
                <a:gd name="T87" fmla="*/ 160 h 305"/>
                <a:gd name="T88" fmla="*/ 14 w 263"/>
                <a:gd name="T89" fmla="*/ 156 h 305"/>
                <a:gd name="T90" fmla="*/ 14 w 263"/>
                <a:gd name="T91" fmla="*/ 152 h 305"/>
                <a:gd name="T92" fmla="*/ 8 w 263"/>
                <a:gd name="T93" fmla="*/ 140 h 305"/>
                <a:gd name="T94" fmla="*/ 8 w 263"/>
                <a:gd name="T95" fmla="*/ 124 h 305"/>
                <a:gd name="T96" fmla="*/ 8 w 263"/>
                <a:gd name="T97" fmla="*/ 108 h 305"/>
                <a:gd name="T98" fmla="*/ 8 w 263"/>
                <a:gd name="T99" fmla="*/ 90 h 305"/>
                <a:gd name="T100" fmla="*/ 8 w 263"/>
                <a:gd name="T101" fmla="*/ 86 h 305"/>
                <a:gd name="T102" fmla="*/ 6 w 263"/>
                <a:gd name="T103" fmla="*/ 76 h 305"/>
                <a:gd name="T104" fmla="*/ 2 w 263"/>
                <a:gd name="T105" fmla="*/ 56 h 305"/>
                <a:gd name="T106" fmla="*/ 2 w 263"/>
                <a:gd name="T107" fmla="*/ 46 h 305"/>
                <a:gd name="T108" fmla="*/ 2 w 263"/>
                <a:gd name="T109" fmla="*/ 38 h 305"/>
                <a:gd name="T110" fmla="*/ 2 w 263"/>
                <a:gd name="T111" fmla="*/ 26 h 305"/>
                <a:gd name="T112" fmla="*/ 2 w 263"/>
                <a:gd name="T113" fmla="*/ 18 h 305"/>
                <a:gd name="T114" fmla="*/ 54 w 263"/>
                <a:gd name="T115" fmla="*/ 20 h 305"/>
                <a:gd name="T116" fmla="*/ 82 w 263"/>
                <a:gd name="T117" fmla="*/ 4 h 305"/>
                <a:gd name="T118" fmla="*/ 86 w 263"/>
                <a:gd name="T119" fmla="*/ 34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63" h="305">
                  <a:moveTo>
                    <a:pt x="168" y="140"/>
                  </a:moveTo>
                  <a:lnTo>
                    <a:pt x="168" y="142"/>
                  </a:lnTo>
                  <a:lnTo>
                    <a:pt x="168" y="140"/>
                  </a:lnTo>
                  <a:close/>
                  <a:moveTo>
                    <a:pt x="174" y="138"/>
                  </a:moveTo>
                  <a:lnTo>
                    <a:pt x="176" y="140"/>
                  </a:lnTo>
                  <a:lnTo>
                    <a:pt x="174" y="138"/>
                  </a:lnTo>
                  <a:close/>
                  <a:moveTo>
                    <a:pt x="174" y="138"/>
                  </a:moveTo>
                  <a:lnTo>
                    <a:pt x="176" y="140"/>
                  </a:lnTo>
                  <a:lnTo>
                    <a:pt x="174" y="140"/>
                  </a:lnTo>
                  <a:lnTo>
                    <a:pt x="174" y="138"/>
                  </a:lnTo>
                  <a:lnTo>
                    <a:pt x="172" y="138"/>
                  </a:lnTo>
                  <a:lnTo>
                    <a:pt x="172" y="136"/>
                  </a:lnTo>
                  <a:lnTo>
                    <a:pt x="174" y="136"/>
                  </a:lnTo>
                  <a:lnTo>
                    <a:pt x="174" y="138"/>
                  </a:lnTo>
                  <a:close/>
                  <a:moveTo>
                    <a:pt x="261" y="74"/>
                  </a:moveTo>
                  <a:lnTo>
                    <a:pt x="259" y="74"/>
                  </a:lnTo>
                  <a:lnTo>
                    <a:pt x="261" y="74"/>
                  </a:lnTo>
                  <a:close/>
                  <a:moveTo>
                    <a:pt x="94" y="38"/>
                  </a:moveTo>
                  <a:lnTo>
                    <a:pt x="94" y="36"/>
                  </a:lnTo>
                  <a:lnTo>
                    <a:pt x="94" y="38"/>
                  </a:lnTo>
                  <a:lnTo>
                    <a:pt x="96" y="36"/>
                  </a:lnTo>
                  <a:lnTo>
                    <a:pt x="96" y="38"/>
                  </a:lnTo>
                  <a:lnTo>
                    <a:pt x="98" y="38"/>
                  </a:lnTo>
                  <a:lnTo>
                    <a:pt x="100" y="38"/>
                  </a:lnTo>
                  <a:lnTo>
                    <a:pt x="100" y="40"/>
                  </a:lnTo>
                  <a:lnTo>
                    <a:pt x="102" y="40"/>
                  </a:lnTo>
                  <a:lnTo>
                    <a:pt x="104" y="40"/>
                  </a:lnTo>
                  <a:lnTo>
                    <a:pt x="106" y="40"/>
                  </a:lnTo>
                  <a:lnTo>
                    <a:pt x="108" y="42"/>
                  </a:lnTo>
                  <a:lnTo>
                    <a:pt x="110" y="42"/>
                  </a:lnTo>
                  <a:lnTo>
                    <a:pt x="112" y="42"/>
                  </a:lnTo>
                  <a:lnTo>
                    <a:pt x="114" y="42"/>
                  </a:lnTo>
                  <a:lnTo>
                    <a:pt x="114" y="44"/>
                  </a:lnTo>
                  <a:lnTo>
                    <a:pt x="116" y="44"/>
                  </a:lnTo>
                  <a:lnTo>
                    <a:pt x="116" y="46"/>
                  </a:lnTo>
                  <a:lnTo>
                    <a:pt x="114" y="46"/>
                  </a:lnTo>
                  <a:lnTo>
                    <a:pt x="114" y="46"/>
                  </a:lnTo>
                  <a:lnTo>
                    <a:pt x="116" y="46"/>
                  </a:lnTo>
                  <a:lnTo>
                    <a:pt x="118" y="46"/>
                  </a:lnTo>
                  <a:lnTo>
                    <a:pt x="120" y="46"/>
                  </a:lnTo>
                  <a:lnTo>
                    <a:pt x="122" y="46"/>
                  </a:lnTo>
                  <a:lnTo>
                    <a:pt x="124" y="46"/>
                  </a:lnTo>
                  <a:lnTo>
                    <a:pt x="126" y="46"/>
                  </a:lnTo>
                  <a:lnTo>
                    <a:pt x="126" y="46"/>
                  </a:lnTo>
                  <a:lnTo>
                    <a:pt x="128" y="46"/>
                  </a:lnTo>
                  <a:lnTo>
                    <a:pt x="128" y="44"/>
                  </a:lnTo>
                  <a:lnTo>
                    <a:pt x="128" y="44"/>
                  </a:lnTo>
                  <a:lnTo>
                    <a:pt x="130" y="44"/>
                  </a:lnTo>
                  <a:lnTo>
                    <a:pt x="130" y="42"/>
                  </a:lnTo>
                  <a:lnTo>
                    <a:pt x="132" y="42"/>
                  </a:lnTo>
                  <a:lnTo>
                    <a:pt x="134" y="42"/>
                  </a:lnTo>
                  <a:lnTo>
                    <a:pt x="136" y="42"/>
                  </a:lnTo>
                  <a:lnTo>
                    <a:pt x="138" y="42"/>
                  </a:lnTo>
                  <a:lnTo>
                    <a:pt x="140" y="42"/>
                  </a:lnTo>
                  <a:lnTo>
                    <a:pt x="142" y="42"/>
                  </a:lnTo>
                  <a:lnTo>
                    <a:pt x="144" y="42"/>
                  </a:lnTo>
                  <a:lnTo>
                    <a:pt x="144" y="44"/>
                  </a:lnTo>
                  <a:lnTo>
                    <a:pt x="146" y="44"/>
                  </a:lnTo>
                  <a:lnTo>
                    <a:pt x="150" y="46"/>
                  </a:lnTo>
                  <a:lnTo>
                    <a:pt x="152" y="46"/>
                  </a:lnTo>
                  <a:lnTo>
                    <a:pt x="154" y="46"/>
                  </a:lnTo>
                  <a:lnTo>
                    <a:pt x="154" y="48"/>
                  </a:lnTo>
                  <a:lnTo>
                    <a:pt x="152" y="48"/>
                  </a:lnTo>
                  <a:lnTo>
                    <a:pt x="152" y="50"/>
                  </a:lnTo>
                  <a:lnTo>
                    <a:pt x="154" y="50"/>
                  </a:lnTo>
                  <a:lnTo>
                    <a:pt x="154" y="52"/>
                  </a:lnTo>
                  <a:lnTo>
                    <a:pt x="154" y="50"/>
                  </a:lnTo>
                  <a:lnTo>
                    <a:pt x="156" y="50"/>
                  </a:lnTo>
                  <a:lnTo>
                    <a:pt x="158" y="50"/>
                  </a:lnTo>
                  <a:lnTo>
                    <a:pt x="160" y="52"/>
                  </a:lnTo>
                  <a:lnTo>
                    <a:pt x="160" y="54"/>
                  </a:lnTo>
                  <a:lnTo>
                    <a:pt x="160" y="56"/>
                  </a:lnTo>
                  <a:lnTo>
                    <a:pt x="160" y="58"/>
                  </a:lnTo>
                  <a:lnTo>
                    <a:pt x="162" y="58"/>
                  </a:lnTo>
                  <a:lnTo>
                    <a:pt x="162" y="60"/>
                  </a:lnTo>
                  <a:lnTo>
                    <a:pt x="162" y="62"/>
                  </a:lnTo>
                  <a:lnTo>
                    <a:pt x="164" y="62"/>
                  </a:lnTo>
                  <a:lnTo>
                    <a:pt x="166" y="62"/>
                  </a:lnTo>
                  <a:lnTo>
                    <a:pt x="166" y="60"/>
                  </a:lnTo>
                  <a:lnTo>
                    <a:pt x="166" y="58"/>
                  </a:lnTo>
                  <a:lnTo>
                    <a:pt x="166" y="56"/>
                  </a:lnTo>
                  <a:lnTo>
                    <a:pt x="168" y="56"/>
                  </a:lnTo>
                  <a:lnTo>
                    <a:pt x="170" y="56"/>
                  </a:lnTo>
                  <a:lnTo>
                    <a:pt x="172" y="54"/>
                  </a:lnTo>
                  <a:lnTo>
                    <a:pt x="172" y="56"/>
                  </a:lnTo>
                  <a:lnTo>
                    <a:pt x="174" y="56"/>
                  </a:lnTo>
                  <a:lnTo>
                    <a:pt x="176" y="56"/>
                  </a:lnTo>
                  <a:lnTo>
                    <a:pt x="176" y="58"/>
                  </a:lnTo>
                  <a:lnTo>
                    <a:pt x="176" y="60"/>
                  </a:lnTo>
                  <a:lnTo>
                    <a:pt x="176" y="62"/>
                  </a:lnTo>
                  <a:lnTo>
                    <a:pt x="176" y="60"/>
                  </a:lnTo>
                  <a:lnTo>
                    <a:pt x="176" y="62"/>
                  </a:lnTo>
                  <a:lnTo>
                    <a:pt x="178" y="62"/>
                  </a:lnTo>
                  <a:lnTo>
                    <a:pt x="180" y="62"/>
                  </a:lnTo>
                  <a:lnTo>
                    <a:pt x="180" y="64"/>
                  </a:lnTo>
                  <a:lnTo>
                    <a:pt x="182" y="64"/>
                  </a:lnTo>
                  <a:lnTo>
                    <a:pt x="184" y="64"/>
                  </a:lnTo>
                  <a:lnTo>
                    <a:pt x="184" y="66"/>
                  </a:lnTo>
                  <a:lnTo>
                    <a:pt x="186" y="66"/>
                  </a:lnTo>
                  <a:lnTo>
                    <a:pt x="184" y="66"/>
                  </a:lnTo>
                  <a:lnTo>
                    <a:pt x="184" y="68"/>
                  </a:lnTo>
                  <a:lnTo>
                    <a:pt x="186" y="68"/>
                  </a:lnTo>
                  <a:lnTo>
                    <a:pt x="188" y="70"/>
                  </a:lnTo>
                  <a:lnTo>
                    <a:pt x="188" y="68"/>
                  </a:lnTo>
                  <a:lnTo>
                    <a:pt x="190" y="68"/>
                  </a:lnTo>
                  <a:lnTo>
                    <a:pt x="190" y="70"/>
                  </a:lnTo>
                  <a:lnTo>
                    <a:pt x="190" y="72"/>
                  </a:lnTo>
                  <a:lnTo>
                    <a:pt x="192" y="72"/>
                  </a:lnTo>
                  <a:lnTo>
                    <a:pt x="192" y="70"/>
                  </a:lnTo>
                  <a:lnTo>
                    <a:pt x="194" y="70"/>
                  </a:lnTo>
                  <a:lnTo>
                    <a:pt x="194" y="72"/>
                  </a:lnTo>
                  <a:lnTo>
                    <a:pt x="196" y="72"/>
                  </a:lnTo>
                  <a:lnTo>
                    <a:pt x="196" y="70"/>
                  </a:lnTo>
                  <a:lnTo>
                    <a:pt x="198" y="70"/>
                  </a:lnTo>
                  <a:lnTo>
                    <a:pt x="200" y="70"/>
                  </a:lnTo>
                  <a:lnTo>
                    <a:pt x="202" y="70"/>
                  </a:lnTo>
                  <a:lnTo>
                    <a:pt x="202" y="68"/>
                  </a:lnTo>
                  <a:lnTo>
                    <a:pt x="204" y="68"/>
                  </a:lnTo>
                  <a:lnTo>
                    <a:pt x="204" y="66"/>
                  </a:lnTo>
                  <a:lnTo>
                    <a:pt x="206" y="66"/>
                  </a:lnTo>
                  <a:lnTo>
                    <a:pt x="206" y="64"/>
                  </a:lnTo>
                  <a:lnTo>
                    <a:pt x="208" y="64"/>
                  </a:lnTo>
                  <a:lnTo>
                    <a:pt x="210" y="64"/>
                  </a:lnTo>
                  <a:lnTo>
                    <a:pt x="210" y="62"/>
                  </a:lnTo>
                  <a:lnTo>
                    <a:pt x="212" y="62"/>
                  </a:lnTo>
                  <a:lnTo>
                    <a:pt x="214" y="60"/>
                  </a:lnTo>
                  <a:lnTo>
                    <a:pt x="214" y="62"/>
                  </a:lnTo>
                  <a:lnTo>
                    <a:pt x="216" y="62"/>
                  </a:lnTo>
                  <a:lnTo>
                    <a:pt x="216" y="64"/>
                  </a:lnTo>
                  <a:lnTo>
                    <a:pt x="216" y="66"/>
                  </a:lnTo>
                  <a:lnTo>
                    <a:pt x="218" y="66"/>
                  </a:lnTo>
                  <a:lnTo>
                    <a:pt x="216" y="66"/>
                  </a:lnTo>
                  <a:lnTo>
                    <a:pt x="218" y="66"/>
                  </a:lnTo>
                  <a:lnTo>
                    <a:pt x="218" y="68"/>
                  </a:lnTo>
                  <a:lnTo>
                    <a:pt x="218" y="70"/>
                  </a:lnTo>
                  <a:lnTo>
                    <a:pt x="218" y="68"/>
                  </a:lnTo>
                  <a:lnTo>
                    <a:pt x="220" y="68"/>
                  </a:lnTo>
                  <a:lnTo>
                    <a:pt x="222" y="68"/>
                  </a:lnTo>
                  <a:lnTo>
                    <a:pt x="224" y="68"/>
                  </a:lnTo>
                  <a:lnTo>
                    <a:pt x="224" y="68"/>
                  </a:lnTo>
                  <a:lnTo>
                    <a:pt x="224" y="68"/>
                  </a:lnTo>
                  <a:lnTo>
                    <a:pt x="224" y="68"/>
                  </a:lnTo>
                  <a:lnTo>
                    <a:pt x="226" y="68"/>
                  </a:lnTo>
                  <a:lnTo>
                    <a:pt x="228" y="68"/>
                  </a:lnTo>
                  <a:lnTo>
                    <a:pt x="230" y="68"/>
                  </a:lnTo>
                  <a:lnTo>
                    <a:pt x="232" y="68"/>
                  </a:lnTo>
                  <a:lnTo>
                    <a:pt x="234" y="68"/>
                  </a:lnTo>
                  <a:lnTo>
                    <a:pt x="236" y="68"/>
                  </a:lnTo>
                  <a:lnTo>
                    <a:pt x="238" y="68"/>
                  </a:lnTo>
                  <a:lnTo>
                    <a:pt x="240" y="68"/>
                  </a:lnTo>
                  <a:lnTo>
                    <a:pt x="242" y="68"/>
                  </a:lnTo>
                  <a:lnTo>
                    <a:pt x="242" y="70"/>
                  </a:lnTo>
                  <a:lnTo>
                    <a:pt x="244" y="70"/>
                  </a:lnTo>
                  <a:lnTo>
                    <a:pt x="244" y="72"/>
                  </a:lnTo>
                  <a:lnTo>
                    <a:pt x="246" y="72"/>
                  </a:lnTo>
                  <a:lnTo>
                    <a:pt x="246" y="74"/>
                  </a:lnTo>
                  <a:lnTo>
                    <a:pt x="248" y="74"/>
                  </a:lnTo>
                  <a:lnTo>
                    <a:pt x="248" y="72"/>
                  </a:lnTo>
                  <a:lnTo>
                    <a:pt x="248" y="74"/>
                  </a:lnTo>
                  <a:lnTo>
                    <a:pt x="250" y="74"/>
                  </a:lnTo>
                  <a:lnTo>
                    <a:pt x="250" y="72"/>
                  </a:lnTo>
                  <a:lnTo>
                    <a:pt x="252" y="72"/>
                  </a:lnTo>
                  <a:lnTo>
                    <a:pt x="254" y="72"/>
                  </a:lnTo>
                  <a:lnTo>
                    <a:pt x="252" y="72"/>
                  </a:lnTo>
                  <a:lnTo>
                    <a:pt x="254" y="72"/>
                  </a:lnTo>
                  <a:lnTo>
                    <a:pt x="257" y="72"/>
                  </a:lnTo>
                  <a:lnTo>
                    <a:pt x="259" y="72"/>
                  </a:lnTo>
                  <a:lnTo>
                    <a:pt x="263" y="72"/>
                  </a:lnTo>
                  <a:lnTo>
                    <a:pt x="261" y="72"/>
                  </a:lnTo>
                  <a:lnTo>
                    <a:pt x="261" y="74"/>
                  </a:lnTo>
                  <a:lnTo>
                    <a:pt x="261" y="72"/>
                  </a:lnTo>
                  <a:lnTo>
                    <a:pt x="261" y="74"/>
                  </a:lnTo>
                  <a:lnTo>
                    <a:pt x="261" y="72"/>
                  </a:lnTo>
                  <a:lnTo>
                    <a:pt x="259" y="74"/>
                  </a:lnTo>
                  <a:lnTo>
                    <a:pt x="257" y="74"/>
                  </a:lnTo>
                  <a:lnTo>
                    <a:pt x="259" y="74"/>
                  </a:lnTo>
                  <a:lnTo>
                    <a:pt x="257" y="74"/>
                  </a:lnTo>
                  <a:lnTo>
                    <a:pt x="257" y="72"/>
                  </a:lnTo>
                  <a:lnTo>
                    <a:pt x="257" y="74"/>
                  </a:lnTo>
                  <a:lnTo>
                    <a:pt x="257" y="76"/>
                  </a:lnTo>
                  <a:lnTo>
                    <a:pt x="257" y="74"/>
                  </a:lnTo>
                  <a:lnTo>
                    <a:pt x="254" y="74"/>
                  </a:lnTo>
                  <a:lnTo>
                    <a:pt x="254" y="76"/>
                  </a:lnTo>
                  <a:lnTo>
                    <a:pt x="252" y="76"/>
                  </a:lnTo>
                  <a:lnTo>
                    <a:pt x="252" y="78"/>
                  </a:lnTo>
                  <a:lnTo>
                    <a:pt x="250" y="78"/>
                  </a:lnTo>
                  <a:lnTo>
                    <a:pt x="250" y="80"/>
                  </a:lnTo>
                  <a:lnTo>
                    <a:pt x="248" y="80"/>
                  </a:lnTo>
                  <a:lnTo>
                    <a:pt x="246" y="80"/>
                  </a:lnTo>
                  <a:lnTo>
                    <a:pt x="246" y="82"/>
                  </a:lnTo>
                  <a:lnTo>
                    <a:pt x="244" y="82"/>
                  </a:lnTo>
                  <a:lnTo>
                    <a:pt x="242" y="82"/>
                  </a:lnTo>
                  <a:lnTo>
                    <a:pt x="242" y="84"/>
                  </a:lnTo>
                  <a:lnTo>
                    <a:pt x="240" y="84"/>
                  </a:lnTo>
                  <a:lnTo>
                    <a:pt x="238" y="84"/>
                  </a:lnTo>
                  <a:lnTo>
                    <a:pt x="236" y="84"/>
                  </a:lnTo>
                  <a:lnTo>
                    <a:pt x="236" y="86"/>
                  </a:lnTo>
                  <a:lnTo>
                    <a:pt x="234" y="86"/>
                  </a:lnTo>
                  <a:lnTo>
                    <a:pt x="232" y="86"/>
                  </a:lnTo>
                  <a:lnTo>
                    <a:pt x="232" y="88"/>
                  </a:lnTo>
                  <a:lnTo>
                    <a:pt x="232" y="86"/>
                  </a:lnTo>
                  <a:lnTo>
                    <a:pt x="232" y="88"/>
                  </a:lnTo>
                  <a:lnTo>
                    <a:pt x="232" y="86"/>
                  </a:lnTo>
                  <a:lnTo>
                    <a:pt x="232" y="88"/>
                  </a:lnTo>
                  <a:lnTo>
                    <a:pt x="230" y="88"/>
                  </a:lnTo>
                  <a:lnTo>
                    <a:pt x="228" y="88"/>
                  </a:lnTo>
                  <a:lnTo>
                    <a:pt x="226" y="88"/>
                  </a:lnTo>
                  <a:lnTo>
                    <a:pt x="226" y="90"/>
                  </a:lnTo>
                  <a:lnTo>
                    <a:pt x="224" y="90"/>
                  </a:lnTo>
                  <a:lnTo>
                    <a:pt x="224" y="90"/>
                  </a:lnTo>
                  <a:lnTo>
                    <a:pt x="224" y="92"/>
                  </a:lnTo>
                  <a:lnTo>
                    <a:pt x="222" y="92"/>
                  </a:lnTo>
                  <a:lnTo>
                    <a:pt x="220" y="92"/>
                  </a:lnTo>
                  <a:lnTo>
                    <a:pt x="220" y="94"/>
                  </a:lnTo>
                  <a:lnTo>
                    <a:pt x="218" y="94"/>
                  </a:lnTo>
                  <a:lnTo>
                    <a:pt x="218" y="94"/>
                  </a:lnTo>
                  <a:lnTo>
                    <a:pt x="216" y="94"/>
                  </a:lnTo>
                  <a:lnTo>
                    <a:pt x="216" y="96"/>
                  </a:lnTo>
                  <a:lnTo>
                    <a:pt x="214" y="96"/>
                  </a:lnTo>
                  <a:lnTo>
                    <a:pt x="212" y="98"/>
                  </a:lnTo>
                  <a:lnTo>
                    <a:pt x="210" y="98"/>
                  </a:lnTo>
                  <a:lnTo>
                    <a:pt x="210" y="100"/>
                  </a:lnTo>
                  <a:lnTo>
                    <a:pt x="208" y="100"/>
                  </a:lnTo>
                  <a:lnTo>
                    <a:pt x="208" y="102"/>
                  </a:lnTo>
                  <a:lnTo>
                    <a:pt x="206" y="102"/>
                  </a:lnTo>
                  <a:lnTo>
                    <a:pt x="206" y="104"/>
                  </a:lnTo>
                  <a:lnTo>
                    <a:pt x="204" y="104"/>
                  </a:lnTo>
                  <a:lnTo>
                    <a:pt x="204" y="106"/>
                  </a:lnTo>
                  <a:lnTo>
                    <a:pt x="204" y="108"/>
                  </a:lnTo>
                  <a:lnTo>
                    <a:pt x="202" y="108"/>
                  </a:lnTo>
                  <a:lnTo>
                    <a:pt x="202" y="110"/>
                  </a:lnTo>
                  <a:lnTo>
                    <a:pt x="200" y="110"/>
                  </a:lnTo>
                  <a:lnTo>
                    <a:pt x="202" y="110"/>
                  </a:lnTo>
                  <a:lnTo>
                    <a:pt x="200" y="110"/>
                  </a:lnTo>
                  <a:lnTo>
                    <a:pt x="200" y="112"/>
                  </a:lnTo>
                  <a:lnTo>
                    <a:pt x="198" y="112"/>
                  </a:lnTo>
                  <a:lnTo>
                    <a:pt x="200" y="112"/>
                  </a:lnTo>
                  <a:lnTo>
                    <a:pt x="198" y="112"/>
                  </a:lnTo>
                  <a:lnTo>
                    <a:pt x="198" y="114"/>
                  </a:lnTo>
                  <a:lnTo>
                    <a:pt x="196" y="114"/>
                  </a:lnTo>
                  <a:lnTo>
                    <a:pt x="196" y="116"/>
                  </a:lnTo>
                  <a:lnTo>
                    <a:pt x="194" y="116"/>
                  </a:lnTo>
                  <a:lnTo>
                    <a:pt x="194" y="118"/>
                  </a:lnTo>
                  <a:lnTo>
                    <a:pt x="192" y="118"/>
                  </a:lnTo>
                  <a:lnTo>
                    <a:pt x="192" y="120"/>
                  </a:lnTo>
                  <a:lnTo>
                    <a:pt x="190" y="120"/>
                  </a:lnTo>
                  <a:lnTo>
                    <a:pt x="190" y="122"/>
                  </a:lnTo>
                  <a:lnTo>
                    <a:pt x="188" y="122"/>
                  </a:lnTo>
                  <a:lnTo>
                    <a:pt x="188" y="124"/>
                  </a:lnTo>
                  <a:lnTo>
                    <a:pt x="186" y="124"/>
                  </a:lnTo>
                  <a:lnTo>
                    <a:pt x="184" y="124"/>
                  </a:lnTo>
                  <a:lnTo>
                    <a:pt x="184" y="126"/>
                  </a:lnTo>
                  <a:lnTo>
                    <a:pt x="182" y="126"/>
                  </a:lnTo>
                  <a:lnTo>
                    <a:pt x="182" y="128"/>
                  </a:lnTo>
                  <a:lnTo>
                    <a:pt x="180" y="128"/>
                  </a:lnTo>
                  <a:lnTo>
                    <a:pt x="180" y="130"/>
                  </a:lnTo>
                  <a:lnTo>
                    <a:pt x="180" y="128"/>
                  </a:lnTo>
                  <a:lnTo>
                    <a:pt x="180" y="130"/>
                  </a:lnTo>
                  <a:lnTo>
                    <a:pt x="178" y="130"/>
                  </a:lnTo>
                  <a:lnTo>
                    <a:pt x="178" y="132"/>
                  </a:lnTo>
                  <a:lnTo>
                    <a:pt x="176" y="132"/>
                  </a:lnTo>
                  <a:lnTo>
                    <a:pt x="176" y="134"/>
                  </a:lnTo>
                  <a:lnTo>
                    <a:pt x="174" y="134"/>
                  </a:lnTo>
                  <a:lnTo>
                    <a:pt x="174" y="136"/>
                  </a:lnTo>
                  <a:lnTo>
                    <a:pt x="172" y="136"/>
                  </a:lnTo>
                  <a:lnTo>
                    <a:pt x="174" y="136"/>
                  </a:lnTo>
                  <a:lnTo>
                    <a:pt x="172" y="136"/>
                  </a:lnTo>
                  <a:lnTo>
                    <a:pt x="172" y="138"/>
                  </a:lnTo>
                  <a:lnTo>
                    <a:pt x="172" y="136"/>
                  </a:lnTo>
                  <a:lnTo>
                    <a:pt x="172" y="138"/>
                  </a:lnTo>
                  <a:lnTo>
                    <a:pt x="170" y="138"/>
                  </a:lnTo>
                  <a:lnTo>
                    <a:pt x="172" y="138"/>
                  </a:lnTo>
                  <a:lnTo>
                    <a:pt x="170" y="138"/>
                  </a:lnTo>
                  <a:lnTo>
                    <a:pt x="170" y="140"/>
                  </a:lnTo>
                  <a:lnTo>
                    <a:pt x="168" y="140"/>
                  </a:lnTo>
                  <a:lnTo>
                    <a:pt x="168" y="142"/>
                  </a:lnTo>
                  <a:lnTo>
                    <a:pt x="170" y="142"/>
                  </a:lnTo>
                  <a:lnTo>
                    <a:pt x="168" y="142"/>
                  </a:lnTo>
                  <a:lnTo>
                    <a:pt x="170" y="142"/>
                  </a:lnTo>
                  <a:lnTo>
                    <a:pt x="168" y="142"/>
                  </a:lnTo>
                  <a:lnTo>
                    <a:pt x="168" y="142"/>
                  </a:lnTo>
                  <a:lnTo>
                    <a:pt x="166" y="142"/>
                  </a:lnTo>
                  <a:lnTo>
                    <a:pt x="168" y="142"/>
                  </a:lnTo>
                  <a:lnTo>
                    <a:pt x="166" y="142"/>
                  </a:lnTo>
                  <a:lnTo>
                    <a:pt x="166" y="142"/>
                  </a:lnTo>
                  <a:lnTo>
                    <a:pt x="166" y="142"/>
                  </a:lnTo>
                  <a:lnTo>
                    <a:pt x="166" y="144"/>
                  </a:lnTo>
                  <a:lnTo>
                    <a:pt x="166" y="146"/>
                  </a:lnTo>
                  <a:lnTo>
                    <a:pt x="166" y="148"/>
                  </a:lnTo>
                  <a:lnTo>
                    <a:pt x="166" y="150"/>
                  </a:lnTo>
                  <a:lnTo>
                    <a:pt x="166" y="152"/>
                  </a:lnTo>
                  <a:lnTo>
                    <a:pt x="166" y="154"/>
                  </a:lnTo>
                  <a:lnTo>
                    <a:pt x="166" y="156"/>
                  </a:lnTo>
                  <a:lnTo>
                    <a:pt x="166" y="158"/>
                  </a:lnTo>
                  <a:lnTo>
                    <a:pt x="166" y="160"/>
                  </a:lnTo>
                  <a:lnTo>
                    <a:pt x="166" y="162"/>
                  </a:lnTo>
                  <a:lnTo>
                    <a:pt x="166" y="164"/>
                  </a:lnTo>
                  <a:lnTo>
                    <a:pt x="166" y="166"/>
                  </a:lnTo>
                  <a:lnTo>
                    <a:pt x="166" y="168"/>
                  </a:lnTo>
                  <a:lnTo>
                    <a:pt x="166" y="170"/>
                  </a:lnTo>
                  <a:lnTo>
                    <a:pt x="166" y="172"/>
                  </a:lnTo>
                  <a:lnTo>
                    <a:pt x="164" y="172"/>
                  </a:lnTo>
                  <a:lnTo>
                    <a:pt x="164" y="174"/>
                  </a:lnTo>
                  <a:lnTo>
                    <a:pt x="164" y="176"/>
                  </a:lnTo>
                  <a:lnTo>
                    <a:pt x="162" y="176"/>
                  </a:lnTo>
                  <a:lnTo>
                    <a:pt x="162" y="174"/>
                  </a:lnTo>
                  <a:lnTo>
                    <a:pt x="160" y="174"/>
                  </a:lnTo>
                  <a:lnTo>
                    <a:pt x="160" y="176"/>
                  </a:lnTo>
                  <a:lnTo>
                    <a:pt x="158" y="176"/>
                  </a:lnTo>
                  <a:lnTo>
                    <a:pt x="160" y="178"/>
                  </a:lnTo>
                  <a:lnTo>
                    <a:pt x="158" y="178"/>
                  </a:lnTo>
                  <a:lnTo>
                    <a:pt x="158" y="176"/>
                  </a:lnTo>
                  <a:lnTo>
                    <a:pt x="156" y="176"/>
                  </a:lnTo>
                  <a:lnTo>
                    <a:pt x="156" y="178"/>
                  </a:lnTo>
                  <a:lnTo>
                    <a:pt x="154" y="178"/>
                  </a:lnTo>
                  <a:lnTo>
                    <a:pt x="154" y="180"/>
                  </a:lnTo>
                  <a:lnTo>
                    <a:pt x="152" y="180"/>
                  </a:lnTo>
                  <a:lnTo>
                    <a:pt x="150" y="180"/>
                  </a:lnTo>
                  <a:lnTo>
                    <a:pt x="150" y="182"/>
                  </a:lnTo>
                  <a:lnTo>
                    <a:pt x="148" y="182"/>
                  </a:lnTo>
                  <a:lnTo>
                    <a:pt x="148" y="184"/>
                  </a:lnTo>
                  <a:lnTo>
                    <a:pt x="148" y="186"/>
                  </a:lnTo>
                  <a:lnTo>
                    <a:pt x="148" y="188"/>
                  </a:lnTo>
                  <a:lnTo>
                    <a:pt x="146" y="188"/>
                  </a:lnTo>
                  <a:lnTo>
                    <a:pt x="146" y="190"/>
                  </a:lnTo>
                  <a:lnTo>
                    <a:pt x="144" y="190"/>
                  </a:lnTo>
                  <a:lnTo>
                    <a:pt x="144" y="190"/>
                  </a:lnTo>
                  <a:lnTo>
                    <a:pt x="144" y="192"/>
                  </a:lnTo>
                  <a:lnTo>
                    <a:pt x="142" y="192"/>
                  </a:lnTo>
                  <a:lnTo>
                    <a:pt x="142" y="194"/>
                  </a:lnTo>
                  <a:lnTo>
                    <a:pt x="144" y="194"/>
                  </a:lnTo>
                  <a:lnTo>
                    <a:pt x="142" y="196"/>
                  </a:lnTo>
                  <a:lnTo>
                    <a:pt x="144" y="196"/>
                  </a:lnTo>
                  <a:lnTo>
                    <a:pt x="142" y="196"/>
                  </a:lnTo>
                  <a:lnTo>
                    <a:pt x="144" y="196"/>
                  </a:lnTo>
                  <a:lnTo>
                    <a:pt x="144" y="198"/>
                  </a:lnTo>
                  <a:lnTo>
                    <a:pt x="146" y="198"/>
                  </a:lnTo>
                  <a:lnTo>
                    <a:pt x="146" y="196"/>
                  </a:lnTo>
                  <a:lnTo>
                    <a:pt x="148" y="196"/>
                  </a:lnTo>
                  <a:lnTo>
                    <a:pt x="148" y="198"/>
                  </a:lnTo>
                  <a:lnTo>
                    <a:pt x="148" y="200"/>
                  </a:lnTo>
                  <a:lnTo>
                    <a:pt x="150" y="200"/>
                  </a:lnTo>
                  <a:lnTo>
                    <a:pt x="150" y="202"/>
                  </a:lnTo>
                  <a:lnTo>
                    <a:pt x="152" y="202"/>
                  </a:lnTo>
                  <a:lnTo>
                    <a:pt x="152" y="204"/>
                  </a:lnTo>
                  <a:lnTo>
                    <a:pt x="152" y="206"/>
                  </a:lnTo>
                  <a:lnTo>
                    <a:pt x="150" y="206"/>
                  </a:lnTo>
                  <a:lnTo>
                    <a:pt x="150" y="208"/>
                  </a:lnTo>
                  <a:lnTo>
                    <a:pt x="150" y="210"/>
                  </a:lnTo>
                  <a:lnTo>
                    <a:pt x="148" y="210"/>
                  </a:lnTo>
                  <a:lnTo>
                    <a:pt x="148" y="212"/>
                  </a:lnTo>
                  <a:lnTo>
                    <a:pt x="148" y="214"/>
                  </a:lnTo>
                  <a:lnTo>
                    <a:pt x="148" y="216"/>
                  </a:lnTo>
                  <a:lnTo>
                    <a:pt x="148" y="218"/>
                  </a:lnTo>
                  <a:lnTo>
                    <a:pt x="148" y="220"/>
                  </a:lnTo>
                  <a:lnTo>
                    <a:pt x="148" y="222"/>
                  </a:lnTo>
                  <a:lnTo>
                    <a:pt x="146" y="222"/>
                  </a:lnTo>
                  <a:lnTo>
                    <a:pt x="146" y="224"/>
                  </a:lnTo>
                  <a:lnTo>
                    <a:pt x="146" y="226"/>
                  </a:lnTo>
                  <a:lnTo>
                    <a:pt x="148" y="226"/>
                  </a:lnTo>
                  <a:lnTo>
                    <a:pt x="146" y="226"/>
                  </a:lnTo>
                  <a:lnTo>
                    <a:pt x="146" y="228"/>
                  </a:lnTo>
                  <a:lnTo>
                    <a:pt x="148" y="228"/>
                  </a:lnTo>
                  <a:lnTo>
                    <a:pt x="148" y="230"/>
                  </a:lnTo>
                  <a:lnTo>
                    <a:pt x="148" y="232"/>
                  </a:lnTo>
                  <a:lnTo>
                    <a:pt x="146" y="232"/>
                  </a:lnTo>
                  <a:lnTo>
                    <a:pt x="146" y="234"/>
                  </a:lnTo>
                  <a:lnTo>
                    <a:pt x="148" y="234"/>
                  </a:lnTo>
                  <a:lnTo>
                    <a:pt x="146" y="234"/>
                  </a:lnTo>
                  <a:lnTo>
                    <a:pt x="146" y="237"/>
                  </a:lnTo>
                  <a:lnTo>
                    <a:pt x="146" y="239"/>
                  </a:lnTo>
                  <a:lnTo>
                    <a:pt x="146" y="239"/>
                  </a:lnTo>
                  <a:lnTo>
                    <a:pt x="146" y="241"/>
                  </a:lnTo>
                  <a:lnTo>
                    <a:pt x="148" y="241"/>
                  </a:lnTo>
                  <a:lnTo>
                    <a:pt x="148" y="243"/>
                  </a:lnTo>
                  <a:lnTo>
                    <a:pt x="150" y="243"/>
                  </a:lnTo>
                  <a:lnTo>
                    <a:pt x="150" y="245"/>
                  </a:lnTo>
                  <a:lnTo>
                    <a:pt x="152" y="245"/>
                  </a:lnTo>
                  <a:lnTo>
                    <a:pt x="152" y="247"/>
                  </a:lnTo>
                  <a:lnTo>
                    <a:pt x="154" y="247"/>
                  </a:lnTo>
                  <a:lnTo>
                    <a:pt x="154" y="249"/>
                  </a:lnTo>
                  <a:lnTo>
                    <a:pt x="156" y="249"/>
                  </a:lnTo>
                  <a:lnTo>
                    <a:pt x="158" y="249"/>
                  </a:lnTo>
                  <a:lnTo>
                    <a:pt x="160" y="249"/>
                  </a:lnTo>
                  <a:lnTo>
                    <a:pt x="162" y="249"/>
                  </a:lnTo>
                  <a:lnTo>
                    <a:pt x="162" y="251"/>
                  </a:lnTo>
                  <a:lnTo>
                    <a:pt x="164" y="251"/>
                  </a:lnTo>
                  <a:lnTo>
                    <a:pt x="164" y="253"/>
                  </a:lnTo>
                  <a:lnTo>
                    <a:pt x="164" y="255"/>
                  </a:lnTo>
                  <a:lnTo>
                    <a:pt x="166" y="255"/>
                  </a:lnTo>
                  <a:lnTo>
                    <a:pt x="168" y="257"/>
                  </a:lnTo>
                  <a:lnTo>
                    <a:pt x="170" y="257"/>
                  </a:lnTo>
                  <a:lnTo>
                    <a:pt x="172" y="257"/>
                  </a:lnTo>
                  <a:lnTo>
                    <a:pt x="172" y="259"/>
                  </a:lnTo>
                  <a:lnTo>
                    <a:pt x="174" y="259"/>
                  </a:lnTo>
                  <a:lnTo>
                    <a:pt x="176" y="259"/>
                  </a:lnTo>
                  <a:lnTo>
                    <a:pt x="176" y="261"/>
                  </a:lnTo>
                  <a:lnTo>
                    <a:pt x="176" y="261"/>
                  </a:lnTo>
                  <a:lnTo>
                    <a:pt x="176" y="263"/>
                  </a:lnTo>
                  <a:lnTo>
                    <a:pt x="178" y="263"/>
                  </a:lnTo>
                  <a:lnTo>
                    <a:pt x="176" y="265"/>
                  </a:lnTo>
                  <a:lnTo>
                    <a:pt x="178" y="265"/>
                  </a:lnTo>
                  <a:lnTo>
                    <a:pt x="178" y="267"/>
                  </a:lnTo>
                  <a:lnTo>
                    <a:pt x="178" y="269"/>
                  </a:lnTo>
                  <a:lnTo>
                    <a:pt x="180" y="269"/>
                  </a:lnTo>
                  <a:lnTo>
                    <a:pt x="180" y="271"/>
                  </a:lnTo>
                  <a:lnTo>
                    <a:pt x="182" y="271"/>
                  </a:lnTo>
                  <a:lnTo>
                    <a:pt x="182" y="273"/>
                  </a:lnTo>
                  <a:lnTo>
                    <a:pt x="184" y="273"/>
                  </a:lnTo>
                  <a:lnTo>
                    <a:pt x="186" y="273"/>
                  </a:lnTo>
                  <a:lnTo>
                    <a:pt x="186" y="275"/>
                  </a:lnTo>
                  <a:lnTo>
                    <a:pt x="188" y="275"/>
                  </a:lnTo>
                  <a:lnTo>
                    <a:pt x="188" y="277"/>
                  </a:lnTo>
                  <a:lnTo>
                    <a:pt x="190" y="277"/>
                  </a:lnTo>
                  <a:lnTo>
                    <a:pt x="190" y="279"/>
                  </a:lnTo>
                  <a:lnTo>
                    <a:pt x="192" y="279"/>
                  </a:lnTo>
                  <a:lnTo>
                    <a:pt x="194" y="279"/>
                  </a:lnTo>
                  <a:lnTo>
                    <a:pt x="196" y="279"/>
                  </a:lnTo>
                  <a:lnTo>
                    <a:pt x="196" y="281"/>
                  </a:lnTo>
                  <a:lnTo>
                    <a:pt x="198" y="281"/>
                  </a:lnTo>
                  <a:lnTo>
                    <a:pt x="198" y="283"/>
                  </a:lnTo>
                  <a:lnTo>
                    <a:pt x="198" y="285"/>
                  </a:lnTo>
                  <a:lnTo>
                    <a:pt x="200" y="285"/>
                  </a:lnTo>
                  <a:lnTo>
                    <a:pt x="200" y="287"/>
                  </a:lnTo>
                  <a:lnTo>
                    <a:pt x="202" y="287"/>
                  </a:lnTo>
                  <a:lnTo>
                    <a:pt x="202" y="287"/>
                  </a:lnTo>
                  <a:lnTo>
                    <a:pt x="202" y="289"/>
                  </a:lnTo>
                  <a:lnTo>
                    <a:pt x="204" y="289"/>
                  </a:lnTo>
                  <a:lnTo>
                    <a:pt x="204" y="291"/>
                  </a:lnTo>
                  <a:lnTo>
                    <a:pt x="202" y="291"/>
                  </a:lnTo>
                  <a:lnTo>
                    <a:pt x="202" y="293"/>
                  </a:lnTo>
                  <a:lnTo>
                    <a:pt x="202" y="295"/>
                  </a:lnTo>
                  <a:lnTo>
                    <a:pt x="202" y="297"/>
                  </a:lnTo>
                  <a:lnTo>
                    <a:pt x="202" y="299"/>
                  </a:lnTo>
                  <a:lnTo>
                    <a:pt x="204" y="299"/>
                  </a:lnTo>
                  <a:lnTo>
                    <a:pt x="204" y="301"/>
                  </a:lnTo>
                  <a:lnTo>
                    <a:pt x="204" y="303"/>
                  </a:lnTo>
                  <a:lnTo>
                    <a:pt x="204" y="305"/>
                  </a:lnTo>
                  <a:lnTo>
                    <a:pt x="202" y="305"/>
                  </a:lnTo>
                  <a:lnTo>
                    <a:pt x="200" y="305"/>
                  </a:lnTo>
                  <a:lnTo>
                    <a:pt x="198" y="305"/>
                  </a:lnTo>
                  <a:lnTo>
                    <a:pt x="196" y="305"/>
                  </a:lnTo>
                  <a:lnTo>
                    <a:pt x="194" y="305"/>
                  </a:lnTo>
                  <a:lnTo>
                    <a:pt x="192" y="305"/>
                  </a:lnTo>
                  <a:lnTo>
                    <a:pt x="190" y="305"/>
                  </a:lnTo>
                  <a:lnTo>
                    <a:pt x="188" y="305"/>
                  </a:lnTo>
                  <a:lnTo>
                    <a:pt x="186" y="305"/>
                  </a:lnTo>
                  <a:lnTo>
                    <a:pt x="184" y="305"/>
                  </a:lnTo>
                  <a:lnTo>
                    <a:pt x="182" y="305"/>
                  </a:lnTo>
                  <a:lnTo>
                    <a:pt x="180" y="305"/>
                  </a:lnTo>
                  <a:lnTo>
                    <a:pt x="176" y="305"/>
                  </a:lnTo>
                  <a:lnTo>
                    <a:pt x="176" y="305"/>
                  </a:lnTo>
                  <a:lnTo>
                    <a:pt x="174" y="305"/>
                  </a:lnTo>
                  <a:lnTo>
                    <a:pt x="172" y="305"/>
                  </a:lnTo>
                  <a:lnTo>
                    <a:pt x="170" y="305"/>
                  </a:lnTo>
                  <a:lnTo>
                    <a:pt x="168" y="305"/>
                  </a:lnTo>
                  <a:lnTo>
                    <a:pt x="166" y="305"/>
                  </a:lnTo>
                  <a:lnTo>
                    <a:pt x="164" y="305"/>
                  </a:lnTo>
                  <a:lnTo>
                    <a:pt x="162" y="305"/>
                  </a:lnTo>
                  <a:lnTo>
                    <a:pt x="160" y="305"/>
                  </a:lnTo>
                  <a:lnTo>
                    <a:pt x="158" y="305"/>
                  </a:lnTo>
                  <a:lnTo>
                    <a:pt x="156" y="305"/>
                  </a:lnTo>
                  <a:lnTo>
                    <a:pt x="154" y="305"/>
                  </a:lnTo>
                  <a:lnTo>
                    <a:pt x="152" y="305"/>
                  </a:lnTo>
                  <a:lnTo>
                    <a:pt x="150" y="305"/>
                  </a:lnTo>
                  <a:lnTo>
                    <a:pt x="148" y="305"/>
                  </a:lnTo>
                  <a:lnTo>
                    <a:pt x="146" y="305"/>
                  </a:lnTo>
                  <a:lnTo>
                    <a:pt x="144" y="305"/>
                  </a:lnTo>
                  <a:lnTo>
                    <a:pt x="142" y="305"/>
                  </a:lnTo>
                  <a:lnTo>
                    <a:pt x="140" y="305"/>
                  </a:lnTo>
                  <a:lnTo>
                    <a:pt x="138" y="305"/>
                  </a:lnTo>
                  <a:lnTo>
                    <a:pt x="136" y="305"/>
                  </a:lnTo>
                  <a:lnTo>
                    <a:pt x="134" y="305"/>
                  </a:lnTo>
                  <a:lnTo>
                    <a:pt x="132" y="305"/>
                  </a:lnTo>
                  <a:lnTo>
                    <a:pt x="130" y="305"/>
                  </a:lnTo>
                  <a:lnTo>
                    <a:pt x="128" y="305"/>
                  </a:lnTo>
                  <a:lnTo>
                    <a:pt x="128" y="305"/>
                  </a:lnTo>
                  <a:lnTo>
                    <a:pt x="124" y="305"/>
                  </a:lnTo>
                  <a:lnTo>
                    <a:pt x="120" y="305"/>
                  </a:lnTo>
                  <a:lnTo>
                    <a:pt x="114" y="303"/>
                  </a:lnTo>
                  <a:lnTo>
                    <a:pt x="112" y="303"/>
                  </a:lnTo>
                  <a:lnTo>
                    <a:pt x="110" y="303"/>
                  </a:lnTo>
                  <a:lnTo>
                    <a:pt x="104" y="303"/>
                  </a:lnTo>
                  <a:lnTo>
                    <a:pt x="100" y="303"/>
                  </a:lnTo>
                  <a:lnTo>
                    <a:pt x="98" y="303"/>
                  </a:lnTo>
                  <a:lnTo>
                    <a:pt x="96" y="303"/>
                  </a:lnTo>
                  <a:lnTo>
                    <a:pt x="94" y="303"/>
                  </a:lnTo>
                  <a:lnTo>
                    <a:pt x="90" y="303"/>
                  </a:lnTo>
                  <a:lnTo>
                    <a:pt x="88" y="303"/>
                  </a:lnTo>
                  <a:lnTo>
                    <a:pt x="86" y="303"/>
                  </a:lnTo>
                  <a:lnTo>
                    <a:pt x="84" y="303"/>
                  </a:lnTo>
                  <a:lnTo>
                    <a:pt x="82" y="303"/>
                  </a:lnTo>
                  <a:lnTo>
                    <a:pt x="80" y="303"/>
                  </a:lnTo>
                  <a:lnTo>
                    <a:pt x="78" y="303"/>
                  </a:lnTo>
                  <a:lnTo>
                    <a:pt x="78" y="303"/>
                  </a:lnTo>
                  <a:lnTo>
                    <a:pt x="76" y="303"/>
                  </a:lnTo>
                  <a:lnTo>
                    <a:pt x="74" y="303"/>
                  </a:lnTo>
                  <a:lnTo>
                    <a:pt x="70" y="303"/>
                  </a:lnTo>
                  <a:lnTo>
                    <a:pt x="68" y="303"/>
                  </a:lnTo>
                  <a:lnTo>
                    <a:pt x="66" y="301"/>
                  </a:lnTo>
                  <a:lnTo>
                    <a:pt x="62" y="301"/>
                  </a:lnTo>
                  <a:lnTo>
                    <a:pt x="58" y="301"/>
                  </a:lnTo>
                  <a:lnTo>
                    <a:pt x="56" y="301"/>
                  </a:lnTo>
                  <a:lnTo>
                    <a:pt x="54" y="301"/>
                  </a:lnTo>
                  <a:lnTo>
                    <a:pt x="52" y="301"/>
                  </a:lnTo>
                  <a:lnTo>
                    <a:pt x="50" y="301"/>
                  </a:lnTo>
                  <a:lnTo>
                    <a:pt x="48" y="301"/>
                  </a:lnTo>
                  <a:lnTo>
                    <a:pt x="46" y="301"/>
                  </a:lnTo>
                  <a:lnTo>
                    <a:pt x="44" y="301"/>
                  </a:lnTo>
                  <a:lnTo>
                    <a:pt x="42" y="301"/>
                  </a:lnTo>
                  <a:lnTo>
                    <a:pt x="38" y="301"/>
                  </a:lnTo>
                  <a:lnTo>
                    <a:pt x="36" y="301"/>
                  </a:lnTo>
                  <a:lnTo>
                    <a:pt x="34" y="301"/>
                  </a:lnTo>
                  <a:lnTo>
                    <a:pt x="32" y="301"/>
                  </a:lnTo>
                  <a:lnTo>
                    <a:pt x="30" y="301"/>
                  </a:lnTo>
                  <a:lnTo>
                    <a:pt x="30" y="299"/>
                  </a:lnTo>
                  <a:lnTo>
                    <a:pt x="26" y="299"/>
                  </a:lnTo>
                  <a:lnTo>
                    <a:pt x="24" y="299"/>
                  </a:lnTo>
                  <a:lnTo>
                    <a:pt x="22" y="299"/>
                  </a:lnTo>
                  <a:lnTo>
                    <a:pt x="20" y="299"/>
                  </a:lnTo>
                  <a:lnTo>
                    <a:pt x="18" y="299"/>
                  </a:lnTo>
                  <a:lnTo>
                    <a:pt x="16" y="299"/>
                  </a:lnTo>
                  <a:lnTo>
                    <a:pt x="14" y="299"/>
                  </a:lnTo>
                  <a:lnTo>
                    <a:pt x="12" y="299"/>
                  </a:lnTo>
                  <a:lnTo>
                    <a:pt x="10" y="299"/>
                  </a:lnTo>
                  <a:lnTo>
                    <a:pt x="8" y="299"/>
                  </a:lnTo>
                  <a:lnTo>
                    <a:pt x="8" y="297"/>
                  </a:lnTo>
                  <a:lnTo>
                    <a:pt x="8" y="295"/>
                  </a:lnTo>
                  <a:lnTo>
                    <a:pt x="8" y="293"/>
                  </a:lnTo>
                  <a:lnTo>
                    <a:pt x="8" y="291"/>
                  </a:lnTo>
                  <a:lnTo>
                    <a:pt x="8" y="289"/>
                  </a:lnTo>
                  <a:lnTo>
                    <a:pt x="8" y="287"/>
                  </a:lnTo>
                  <a:lnTo>
                    <a:pt x="8" y="287"/>
                  </a:lnTo>
                  <a:lnTo>
                    <a:pt x="8" y="285"/>
                  </a:lnTo>
                  <a:lnTo>
                    <a:pt x="8" y="283"/>
                  </a:lnTo>
                  <a:lnTo>
                    <a:pt x="8" y="281"/>
                  </a:lnTo>
                  <a:lnTo>
                    <a:pt x="10" y="279"/>
                  </a:lnTo>
                  <a:lnTo>
                    <a:pt x="10" y="277"/>
                  </a:lnTo>
                  <a:lnTo>
                    <a:pt x="10" y="275"/>
                  </a:lnTo>
                  <a:lnTo>
                    <a:pt x="10" y="273"/>
                  </a:lnTo>
                  <a:lnTo>
                    <a:pt x="10" y="271"/>
                  </a:lnTo>
                  <a:lnTo>
                    <a:pt x="10" y="269"/>
                  </a:lnTo>
                  <a:lnTo>
                    <a:pt x="10" y="267"/>
                  </a:lnTo>
                  <a:lnTo>
                    <a:pt x="10" y="265"/>
                  </a:lnTo>
                  <a:lnTo>
                    <a:pt x="10" y="261"/>
                  </a:lnTo>
                  <a:lnTo>
                    <a:pt x="10" y="259"/>
                  </a:lnTo>
                  <a:lnTo>
                    <a:pt x="10" y="257"/>
                  </a:lnTo>
                  <a:lnTo>
                    <a:pt x="10" y="255"/>
                  </a:lnTo>
                  <a:lnTo>
                    <a:pt x="12" y="253"/>
                  </a:lnTo>
                  <a:lnTo>
                    <a:pt x="12" y="251"/>
                  </a:lnTo>
                  <a:lnTo>
                    <a:pt x="12" y="249"/>
                  </a:lnTo>
                  <a:lnTo>
                    <a:pt x="12" y="247"/>
                  </a:lnTo>
                  <a:lnTo>
                    <a:pt x="12" y="245"/>
                  </a:lnTo>
                  <a:lnTo>
                    <a:pt x="12" y="243"/>
                  </a:lnTo>
                  <a:lnTo>
                    <a:pt x="12" y="241"/>
                  </a:lnTo>
                  <a:lnTo>
                    <a:pt x="12" y="239"/>
                  </a:lnTo>
                  <a:lnTo>
                    <a:pt x="12" y="237"/>
                  </a:lnTo>
                  <a:lnTo>
                    <a:pt x="12" y="234"/>
                  </a:lnTo>
                  <a:lnTo>
                    <a:pt x="12" y="232"/>
                  </a:lnTo>
                  <a:lnTo>
                    <a:pt x="12" y="230"/>
                  </a:lnTo>
                  <a:lnTo>
                    <a:pt x="12" y="228"/>
                  </a:lnTo>
                  <a:lnTo>
                    <a:pt x="14" y="228"/>
                  </a:lnTo>
                  <a:lnTo>
                    <a:pt x="14" y="226"/>
                  </a:lnTo>
                  <a:lnTo>
                    <a:pt x="14" y="224"/>
                  </a:lnTo>
                  <a:lnTo>
                    <a:pt x="14" y="222"/>
                  </a:lnTo>
                  <a:lnTo>
                    <a:pt x="14" y="220"/>
                  </a:lnTo>
                  <a:lnTo>
                    <a:pt x="14" y="218"/>
                  </a:lnTo>
                  <a:lnTo>
                    <a:pt x="14" y="216"/>
                  </a:lnTo>
                  <a:lnTo>
                    <a:pt x="14" y="214"/>
                  </a:lnTo>
                  <a:lnTo>
                    <a:pt x="14" y="212"/>
                  </a:lnTo>
                  <a:lnTo>
                    <a:pt x="14" y="210"/>
                  </a:lnTo>
                  <a:lnTo>
                    <a:pt x="14" y="208"/>
                  </a:lnTo>
                  <a:lnTo>
                    <a:pt x="14" y="206"/>
                  </a:lnTo>
                  <a:lnTo>
                    <a:pt x="14" y="204"/>
                  </a:lnTo>
                  <a:lnTo>
                    <a:pt x="14" y="202"/>
                  </a:lnTo>
                  <a:lnTo>
                    <a:pt x="12" y="202"/>
                  </a:lnTo>
                  <a:lnTo>
                    <a:pt x="12" y="200"/>
                  </a:lnTo>
                  <a:lnTo>
                    <a:pt x="10" y="200"/>
                  </a:lnTo>
                  <a:lnTo>
                    <a:pt x="8" y="200"/>
                  </a:lnTo>
                  <a:lnTo>
                    <a:pt x="8" y="198"/>
                  </a:lnTo>
                  <a:lnTo>
                    <a:pt x="6" y="198"/>
                  </a:lnTo>
                  <a:lnTo>
                    <a:pt x="6" y="196"/>
                  </a:lnTo>
                  <a:lnTo>
                    <a:pt x="4" y="196"/>
                  </a:lnTo>
                  <a:lnTo>
                    <a:pt x="4" y="194"/>
                  </a:lnTo>
                  <a:lnTo>
                    <a:pt x="4" y="192"/>
                  </a:lnTo>
                  <a:lnTo>
                    <a:pt x="2" y="192"/>
                  </a:lnTo>
                  <a:lnTo>
                    <a:pt x="2" y="190"/>
                  </a:lnTo>
                  <a:lnTo>
                    <a:pt x="2" y="190"/>
                  </a:lnTo>
                  <a:lnTo>
                    <a:pt x="0" y="190"/>
                  </a:lnTo>
                  <a:lnTo>
                    <a:pt x="2" y="188"/>
                  </a:lnTo>
                  <a:lnTo>
                    <a:pt x="2" y="186"/>
                  </a:lnTo>
                  <a:lnTo>
                    <a:pt x="4" y="186"/>
                  </a:lnTo>
                  <a:lnTo>
                    <a:pt x="6" y="186"/>
                  </a:lnTo>
                  <a:lnTo>
                    <a:pt x="6" y="184"/>
                  </a:lnTo>
                  <a:lnTo>
                    <a:pt x="8" y="184"/>
                  </a:lnTo>
                  <a:lnTo>
                    <a:pt x="8" y="182"/>
                  </a:lnTo>
                  <a:lnTo>
                    <a:pt x="10" y="182"/>
                  </a:lnTo>
                  <a:lnTo>
                    <a:pt x="10" y="180"/>
                  </a:lnTo>
                  <a:lnTo>
                    <a:pt x="12" y="180"/>
                  </a:lnTo>
                  <a:lnTo>
                    <a:pt x="12" y="178"/>
                  </a:lnTo>
                  <a:lnTo>
                    <a:pt x="12" y="176"/>
                  </a:lnTo>
                  <a:lnTo>
                    <a:pt x="12" y="174"/>
                  </a:lnTo>
                  <a:lnTo>
                    <a:pt x="12" y="172"/>
                  </a:lnTo>
                  <a:lnTo>
                    <a:pt x="14" y="172"/>
                  </a:lnTo>
                  <a:lnTo>
                    <a:pt x="12" y="172"/>
                  </a:lnTo>
                  <a:lnTo>
                    <a:pt x="12" y="170"/>
                  </a:lnTo>
                  <a:lnTo>
                    <a:pt x="12" y="168"/>
                  </a:lnTo>
                  <a:lnTo>
                    <a:pt x="14" y="168"/>
                  </a:lnTo>
                  <a:lnTo>
                    <a:pt x="14" y="166"/>
                  </a:lnTo>
                  <a:lnTo>
                    <a:pt x="14" y="164"/>
                  </a:lnTo>
                  <a:lnTo>
                    <a:pt x="14" y="162"/>
                  </a:lnTo>
                  <a:lnTo>
                    <a:pt x="14" y="160"/>
                  </a:lnTo>
                  <a:lnTo>
                    <a:pt x="12" y="160"/>
                  </a:lnTo>
                  <a:lnTo>
                    <a:pt x="14" y="160"/>
                  </a:lnTo>
                  <a:lnTo>
                    <a:pt x="12" y="160"/>
                  </a:lnTo>
                  <a:lnTo>
                    <a:pt x="14" y="160"/>
                  </a:lnTo>
                  <a:lnTo>
                    <a:pt x="12" y="160"/>
                  </a:lnTo>
                  <a:lnTo>
                    <a:pt x="14" y="160"/>
                  </a:lnTo>
                  <a:lnTo>
                    <a:pt x="12" y="160"/>
                  </a:lnTo>
                  <a:lnTo>
                    <a:pt x="14" y="160"/>
                  </a:lnTo>
                  <a:lnTo>
                    <a:pt x="12" y="160"/>
                  </a:lnTo>
                  <a:lnTo>
                    <a:pt x="14" y="160"/>
                  </a:lnTo>
                  <a:lnTo>
                    <a:pt x="14" y="158"/>
                  </a:lnTo>
                  <a:lnTo>
                    <a:pt x="12" y="158"/>
                  </a:lnTo>
                  <a:lnTo>
                    <a:pt x="14" y="158"/>
                  </a:lnTo>
                  <a:lnTo>
                    <a:pt x="12" y="158"/>
                  </a:lnTo>
                  <a:lnTo>
                    <a:pt x="12" y="156"/>
                  </a:lnTo>
                  <a:lnTo>
                    <a:pt x="14" y="156"/>
                  </a:lnTo>
                  <a:lnTo>
                    <a:pt x="12" y="156"/>
                  </a:lnTo>
                  <a:lnTo>
                    <a:pt x="14" y="156"/>
                  </a:lnTo>
                  <a:lnTo>
                    <a:pt x="12" y="156"/>
                  </a:lnTo>
                  <a:lnTo>
                    <a:pt x="14" y="156"/>
                  </a:lnTo>
                  <a:lnTo>
                    <a:pt x="12" y="156"/>
                  </a:lnTo>
                  <a:lnTo>
                    <a:pt x="14" y="156"/>
                  </a:lnTo>
                  <a:lnTo>
                    <a:pt x="14" y="154"/>
                  </a:lnTo>
                  <a:lnTo>
                    <a:pt x="12" y="154"/>
                  </a:lnTo>
                  <a:lnTo>
                    <a:pt x="14" y="154"/>
                  </a:lnTo>
                  <a:lnTo>
                    <a:pt x="12" y="154"/>
                  </a:lnTo>
                  <a:lnTo>
                    <a:pt x="14" y="154"/>
                  </a:lnTo>
                  <a:lnTo>
                    <a:pt x="12" y="154"/>
                  </a:lnTo>
                  <a:lnTo>
                    <a:pt x="14" y="154"/>
                  </a:lnTo>
                  <a:lnTo>
                    <a:pt x="12" y="154"/>
                  </a:lnTo>
                  <a:lnTo>
                    <a:pt x="14" y="154"/>
                  </a:lnTo>
                  <a:lnTo>
                    <a:pt x="14" y="152"/>
                  </a:lnTo>
                  <a:lnTo>
                    <a:pt x="12" y="152"/>
                  </a:lnTo>
                  <a:lnTo>
                    <a:pt x="14" y="152"/>
                  </a:lnTo>
                  <a:lnTo>
                    <a:pt x="12" y="152"/>
                  </a:lnTo>
                  <a:lnTo>
                    <a:pt x="12" y="150"/>
                  </a:lnTo>
                  <a:lnTo>
                    <a:pt x="10" y="150"/>
                  </a:lnTo>
                  <a:lnTo>
                    <a:pt x="10" y="148"/>
                  </a:lnTo>
                  <a:lnTo>
                    <a:pt x="10" y="146"/>
                  </a:lnTo>
                  <a:lnTo>
                    <a:pt x="10" y="148"/>
                  </a:lnTo>
                  <a:lnTo>
                    <a:pt x="10" y="146"/>
                  </a:lnTo>
                  <a:lnTo>
                    <a:pt x="10" y="144"/>
                  </a:lnTo>
                  <a:lnTo>
                    <a:pt x="8" y="144"/>
                  </a:lnTo>
                  <a:lnTo>
                    <a:pt x="8" y="142"/>
                  </a:lnTo>
                  <a:lnTo>
                    <a:pt x="8" y="142"/>
                  </a:lnTo>
                  <a:lnTo>
                    <a:pt x="8" y="140"/>
                  </a:lnTo>
                  <a:lnTo>
                    <a:pt x="8" y="138"/>
                  </a:lnTo>
                  <a:lnTo>
                    <a:pt x="8" y="140"/>
                  </a:lnTo>
                  <a:lnTo>
                    <a:pt x="8" y="138"/>
                  </a:lnTo>
                  <a:lnTo>
                    <a:pt x="8" y="136"/>
                  </a:lnTo>
                  <a:lnTo>
                    <a:pt x="8" y="134"/>
                  </a:lnTo>
                  <a:lnTo>
                    <a:pt x="8" y="132"/>
                  </a:lnTo>
                  <a:lnTo>
                    <a:pt x="8" y="130"/>
                  </a:lnTo>
                  <a:lnTo>
                    <a:pt x="8" y="132"/>
                  </a:lnTo>
                  <a:lnTo>
                    <a:pt x="8" y="130"/>
                  </a:lnTo>
                  <a:lnTo>
                    <a:pt x="8" y="128"/>
                  </a:lnTo>
                  <a:lnTo>
                    <a:pt x="8" y="126"/>
                  </a:lnTo>
                  <a:lnTo>
                    <a:pt x="8" y="124"/>
                  </a:lnTo>
                  <a:lnTo>
                    <a:pt x="10" y="124"/>
                  </a:lnTo>
                  <a:lnTo>
                    <a:pt x="8" y="124"/>
                  </a:lnTo>
                  <a:lnTo>
                    <a:pt x="10" y="124"/>
                  </a:lnTo>
                  <a:lnTo>
                    <a:pt x="8" y="124"/>
                  </a:lnTo>
                  <a:lnTo>
                    <a:pt x="10" y="124"/>
                  </a:lnTo>
                  <a:lnTo>
                    <a:pt x="10" y="122"/>
                  </a:lnTo>
                  <a:lnTo>
                    <a:pt x="8" y="122"/>
                  </a:lnTo>
                  <a:lnTo>
                    <a:pt x="8" y="120"/>
                  </a:lnTo>
                  <a:lnTo>
                    <a:pt x="8" y="122"/>
                  </a:lnTo>
                  <a:lnTo>
                    <a:pt x="8" y="120"/>
                  </a:lnTo>
                  <a:lnTo>
                    <a:pt x="8" y="118"/>
                  </a:lnTo>
                  <a:lnTo>
                    <a:pt x="8" y="116"/>
                  </a:lnTo>
                  <a:lnTo>
                    <a:pt x="8" y="114"/>
                  </a:lnTo>
                  <a:lnTo>
                    <a:pt x="8" y="112"/>
                  </a:lnTo>
                  <a:lnTo>
                    <a:pt x="8" y="110"/>
                  </a:lnTo>
                  <a:lnTo>
                    <a:pt x="8" y="108"/>
                  </a:lnTo>
                  <a:lnTo>
                    <a:pt x="8" y="106"/>
                  </a:lnTo>
                  <a:lnTo>
                    <a:pt x="8" y="104"/>
                  </a:lnTo>
                  <a:lnTo>
                    <a:pt x="8" y="102"/>
                  </a:lnTo>
                  <a:lnTo>
                    <a:pt x="8" y="100"/>
                  </a:lnTo>
                  <a:lnTo>
                    <a:pt x="8" y="98"/>
                  </a:lnTo>
                  <a:lnTo>
                    <a:pt x="8" y="96"/>
                  </a:lnTo>
                  <a:lnTo>
                    <a:pt x="8" y="94"/>
                  </a:lnTo>
                  <a:lnTo>
                    <a:pt x="8" y="94"/>
                  </a:lnTo>
                  <a:lnTo>
                    <a:pt x="10" y="94"/>
                  </a:lnTo>
                  <a:lnTo>
                    <a:pt x="8" y="94"/>
                  </a:lnTo>
                  <a:lnTo>
                    <a:pt x="8" y="92"/>
                  </a:lnTo>
                  <a:lnTo>
                    <a:pt x="10" y="92"/>
                  </a:lnTo>
                  <a:lnTo>
                    <a:pt x="8" y="92"/>
                  </a:lnTo>
                  <a:lnTo>
                    <a:pt x="8" y="90"/>
                  </a:lnTo>
                  <a:lnTo>
                    <a:pt x="10" y="90"/>
                  </a:lnTo>
                  <a:lnTo>
                    <a:pt x="8" y="90"/>
                  </a:lnTo>
                  <a:lnTo>
                    <a:pt x="10" y="90"/>
                  </a:lnTo>
                  <a:lnTo>
                    <a:pt x="8" y="90"/>
                  </a:lnTo>
                  <a:lnTo>
                    <a:pt x="10" y="90"/>
                  </a:lnTo>
                  <a:lnTo>
                    <a:pt x="8" y="90"/>
                  </a:lnTo>
                  <a:lnTo>
                    <a:pt x="10" y="90"/>
                  </a:lnTo>
                  <a:lnTo>
                    <a:pt x="10" y="88"/>
                  </a:lnTo>
                  <a:lnTo>
                    <a:pt x="8" y="88"/>
                  </a:lnTo>
                  <a:lnTo>
                    <a:pt x="10" y="88"/>
                  </a:lnTo>
                  <a:lnTo>
                    <a:pt x="8" y="88"/>
                  </a:lnTo>
                  <a:lnTo>
                    <a:pt x="10" y="88"/>
                  </a:lnTo>
                  <a:lnTo>
                    <a:pt x="8" y="88"/>
                  </a:lnTo>
                  <a:lnTo>
                    <a:pt x="8" y="86"/>
                  </a:lnTo>
                  <a:lnTo>
                    <a:pt x="8" y="84"/>
                  </a:lnTo>
                  <a:lnTo>
                    <a:pt x="8" y="82"/>
                  </a:lnTo>
                  <a:lnTo>
                    <a:pt x="6" y="82"/>
                  </a:lnTo>
                  <a:lnTo>
                    <a:pt x="8" y="82"/>
                  </a:lnTo>
                  <a:lnTo>
                    <a:pt x="6" y="82"/>
                  </a:lnTo>
                  <a:lnTo>
                    <a:pt x="6" y="80"/>
                  </a:lnTo>
                  <a:lnTo>
                    <a:pt x="8" y="80"/>
                  </a:lnTo>
                  <a:lnTo>
                    <a:pt x="6" y="80"/>
                  </a:lnTo>
                  <a:lnTo>
                    <a:pt x="8" y="80"/>
                  </a:lnTo>
                  <a:lnTo>
                    <a:pt x="6" y="80"/>
                  </a:lnTo>
                  <a:lnTo>
                    <a:pt x="6" y="78"/>
                  </a:lnTo>
                  <a:lnTo>
                    <a:pt x="6" y="76"/>
                  </a:lnTo>
                  <a:lnTo>
                    <a:pt x="4" y="76"/>
                  </a:lnTo>
                  <a:lnTo>
                    <a:pt x="6" y="76"/>
                  </a:lnTo>
                  <a:lnTo>
                    <a:pt x="6" y="74"/>
                  </a:lnTo>
                  <a:lnTo>
                    <a:pt x="4" y="74"/>
                  </a:lnTo>
                  <a:lnTo>
                    <a:pt x="4" y="72"/>
                  </a:lnTo>
                  <a:lnTo>
                    <a:pt x="4" y="70"/>
                  </a:lnTo>
                  <a:lnTo>
                    <a:pt x="4" y="68"/>
                  </a:lnTo>
                  <a:lnTo>
                    <a:pt x="4" y="66"/>
                  </a:lnTo>
                  <a:lnTo>
                    <a:pt x="4" y="64"/>
                  </a:lnTo>
                  <a:lnTo>
                    <a:pt x="2" y="64"/>
                  </a:lnTo>
                  <a:lnTo>
                    <a:pt x="2" y="62"/>
                  </a:lnTo>
                  <a:lnTo>
                    <a:pt x="2" y="60"/>
                  </a:lnTo>
                  <a:lnTo>
                    <a:pt x="2" y="58"/>
                  </a:lnTo>
                  <a:lnTo>
                    <a:pt x="2" y="60"/>
                  </a:lnTo>
                  <a:lnTo>
                    <a:pt x="2" y="58"/>
                  </a:lnTo>
                  <a:lnTo>
                    <a:pt x="2" y="56"/>
                  </a:lnTo>
                  <a:lnTo>
                    <a:pt x="2" y="54"/>
                  </a:lnTo>
                  <a:lnTo>
                    <a:pt x="2" y="52"/>
                  </a:lnTo>
                  <a:lnTo>
                    <a:pt x="2" y="50"/>
                  </a:lnTo>
                  <a:lnTo>
                    <a:pt x="2" y="52"/>
                  </a:lnTo>
                  <a:lnTo>
                    <a:pt x="2" y="50"/>
                  </a:lnTo>
                  <a:lnTo>
                    <a:pt x="2" y="48"/>
                  </a:lnTo>
                  <a:lnTo>
                    <a:pt x="2" y="46"/>
                  </a:lnTo>
                  <a:lnTo>
                    <a:pt x="2" y="48"/>
                  </a:lnTo>
                  <a:lnTo>
                    <a:pt x="2" y="46"/>
                  </a:lnTo>
                  <a:lnTo>
                    <a:pt x="2" y="46"/>
                  </a:lnTo>
                  <a:lnTo>
                    <a:pt x="4" y="46"/>
                  </a:lnTo>
                  <a:lnTo>
                    <a:pt x="2" y="46"/>
                  </a:lnTo>
                  <a:lnTo>
                    <a:pt x="4" y="46"/>
                  </a:lnTo>
                  <a:lnTo>
                    <a:pt x="2" y="46"/>
                  </a:lnTo>
                  <a:lnTo>
                    <a:pt x="2" y="44"/>
                  </a:lnTo>
                  <a:lnTo>
                    <a:pt x="4" y="44"/>
                  </a:lnTo>
                  <a:lnTo>
                    <a:pt x="2" y="44"/>
                  </a:lnTo>
                  <a:lnTo>
                    <a:pt x="4" y="44"/>
                  </a:lnTo>
                  <a:lnTo>
                    <a:pt x="2" y="44"/>
                  </a:lnTo>
                  <a:lnTo>
                    <a:pt x="2" y="42"/>
                  </a:lnTo>
                  <a:lnTo>
                    <a:pt x="4" y="42"/>
                  </a:lnTo>
                  <a:lnTo>
                    <a:pt x="2" y="42"/>
                  </a:lnTo>
                  <a:lnTo>
                    <a:pt x="4" y="42"/>
                  </a:lnTo>
                  <a:lnTo>
                    <a:pt x="2" y="42"/>
                  </a:lnTo>
                  <a:lnTo>
                    <a:pt x="2" y="40"/>
                  </a:lnTo>
                  <a:lnTo>
                    <a:pt x="4" y="40"/>
                  </a:lnTo>
                  <a:lnTo>
                    <a:pt x="2" y="40"/>
                  </a:lnTo>
                  <a:lnTo>
                    <a:pt x="2" y="38"/>
                  </a:lnTo>
                  <a:lnTo>
                    <a:pt x="4" y="38"/>
                  </a:lnTo>
                  <a:lnTo>
                    <a:pt x="2" y="38"/>
                  </a:lnTo>
                  <a:lnTo>
                    <a:pt x="4" y="38"/>
                  </a:lnTo>
                  <a:lnTo>
                    <a:pt x="4" y="36"/>
                  </a:lnTo>
                  <a:lnTo>
                    <a:pt x="2" y="36"/>
                  </a:lnTo>
                  <a:lnTo>
                    <a:pt x="4" y="36"/>
                  </a:lnTo>
                  <a:lnTo>
                    <a:pt x="4" y="34"/>
                  </a:lnTo>
                  <a:lnTo>
                    <a:pt x="4" y="32"/>
                  </a:lnTo>
                  <a:lnTo>
                    <a:pt x="6" y="32"/>
                  </a:lnTo>
                  <a:lnTo>
                    <a:pt x="4" y="32"/>
                  </a:lnTo>
                  <a:lnTo>
                    <a:pt x="4" y="30"/>
                  </a:lnTo>
                  <a:lnTo>
                    <a:pt x="4" y="28"/>
                  </a:lnTo>
                  <a:lnTo>
                    <a:pt x="4" y="26"/>
                  </a:lnTo>
                  <a:lnTo>
                    <a:pt x="2" y="26"/>
                  </a:lnTo>
                  <a:lnTo>
                    <a:pt x="4" y="26"/>
                  </a:lnTo>
                  <a:lnTo>
                    <a:pt x="2" y="26"/>
                  </a:lnTo>
                  <a:lnTo>
                    <a:pt x="4" y="26"/>
                  </a:lnTo>
                  <a:lnTo>
                    <a:pt x="2" y="26"/>
                  </a:lnTo>
                  <a:lnTo>
                    <a:pt x="2" y="24"/>
                  </a:lnTo>
                  <a:lnTo>
                    <a:pt x="4" y="24"/>
                  </a:lnTo>
                  <a:lnTo>
                    <a:pt x="2" y="24"/>
                  </a:lnTo>
                  <a:lnTo>
                    <a:pt x="4" y="24"/>
                  </a:lnTo>
                  <a:lnTo>
                    <a:pt x="2" y="24"/>
                  </a:lnTo>
                  <a:lnTo>
                    <a:pt x="2" y="22"/>
                  </a:lnTo>
                  <a:lnTo>
                    <a:pt x="4" y="22"/>
                  </a:lnTo>
                  <a:lnTo>
                    <a:pt x="2" y="22"/>
                  </a:lnTo>
                  <a:lnTo>
                    <a:pt x="2" y="20"/>
                  </a:lnTo>
                  <a:lnTo>
                    <a:pt x="2" y="18"/>
                  </a:lnTo>
                  <a:lnTo>
                    <a:pt x="2" y="16"/>
                  </a:lnTo>
                  <a:lnTo>
                    <a:pt x="28" y="18"/>
                  </a:lnTo>
                  <a:lnTo>
                    <a:pt x="30" y="18"/>
                  </a:lnTo>
                  <a:lnTo>
                    <a:pt x="30" y="18"/>
                  </a:lnTo>
                  <a:lnTo>
                    <a:pt x="36" y="18"/>
                  </a:lnTo>
                  <a:lnTo>
                    <a:pt x="38" y="18"/>
                  </a:lnTo>
                  <a:lnTo>
                    <a:pt x="40" y="18"/>
                  </a:lnTo>
                  <a:lnTo>
                    <a:pt x="44" y="18"/>
                  </a:lnTo>
                  <a:lnTo>
                    <a:pt x="44" y="20"/>
                  </a:lnTo>
                  <a:lnTo>
                    <a:pt x="46" y="20"/>
                  </a:lnTo>
                  <a:lnTo>
                    <a:pt x="48" y="20"/>
                  </a:lnTo>
                  <a:lnTo>
                    <a:pt x="50" y="20"/>
                  </a:lnTo>
                  <a:lnTo>
                    <a:pt x="52" y="20"/>
                  </a:lnTo>
                  <a:lnTo>
                    <a:pt x="54" y="20"/>
                  </a:lnTo>
                  <a:lnTo>
                    <a:pt x="56" y="20"/>
                  </a:lnTo>
                  <a:lnTo>
                    <a:pt x="58" y="20"/>
                  </a:lnTo>
                  <a:lnTo>
                    <a:pt x="60" y="20"/>
                  </a:lnTo>
                  <a:lnTo>
                    <a:pt x="62" y="20"/>
                  </a:lnTo>
                  <a:lnTo>
                    <a:pt x="64" y="20"/>
                  </a:lnTo>
                  <a:lnTo>
                    <a:pt x="66" y="20"/>
                  </a:lnTo>
                  <a:lnTo>
                    <a:pt x="72" y="20"/>
                  </a:lnTo>
                  <a:lnTo>
                    <a:pt x="72" y="0"/>
                  </a:lnTo>
                  <a:lnTo>
                    <a:pt x="74" y="2"/>
                  </a:lnTo>
                  <a:lnTo>
                    <a:pt x="76" y="2"/>
                  </a:lnTo>
                  <a:lnTo>
                    <a:pt x="78" y="2"/>
                  </a:lnTo>
                  <a:lnTo>
                    <a:pt x="78" y="2"/>
                  </a:lnTo>
                  <a:lnTo>
                    <a:pt x="80" y="4"/>
                  </a:lnTo>
                  <a:lnTo>
                    <a:pt x="82" y="4"/>
                  </a:lnTo>
                  <a:lnTo>
                    <a:pt x="82" y="6"/>
                  </a:lnTo>
                  <a:lnTo>
                    <a:pt x="82" y="10"/>
                  </a:lnTo>
                  <a:lnTo>
                    <a:pt x="82" y="14"/>
                  </a:lnTo>
                  <a:lnTo>
                    <a:pt x="84" y="16"/>
                  </a:lnTo>
                  <a:lnTo>
                    <a:pt x="86" y="28"/>
                  </a:lnTo>
                  <a:lnTo>
                    <a:pt x="86" y="30"/>
                  </a:lnTo>
                  <a:lnTo>
                    <a:pt x="84" y="30"/>
                  </a:lnTo>
                  <a:lnTo>
                    <a:pt x="84" y="32"/>
                  </a:lnTo>
                  <a:lnTo>
                    <a:pt x="84" y="34"/>
                  </a:lnTo>
                  <a:lnTo>
                    <a:pt x="86" y="34"/>
                  </a:lnTo>
                  <a:lnTo>
                    <a:pt x="86" y="36"/>
                  </a:lnTo>
                  <a:lnTo>
                    <a:pt x="86" y="34"/>
                  </a:lnTo>
                  <a:lnTo>
                    <a:pt x="86" y="36"/>
                  </a:lnTo>
                  <a:lnTo>
                    <a:pt x="86" y="34"/>
                  </a:lnTo>
                  <a:lnTo>
                    <a:pt x="86" y="36"/>
                  </a:lnTo>
                  <a:lnTo>
                    <a:pt x="88" y="36"/>
                  </a:lnTo>
                  <a:lnTo>
                    <a:pt x="88" y="38"/>
                  </a:lnTo>
                  <a:lnTo>
                    <a:pt x="88" y="36"/>
                  </a:lnTo>
                  <a:lnTo>
                    <a:pt x="90" y="36"/>
                  </a:lnTo>
                  <a:lnTo>
                    <a:pt x="90" y="38"/>
                  </a:lnTo>
                  <a:lnTo>
                    <a:pt x="92" y="38"/>
                  </a:lnTo>
                  <a:lnTo>
                    <a:pt x="94" y="38"/>
                  </a:lnTo>
                  <a:close/>
                  <a:moveTo>
                    <a:pt x="138" y="44"/>
                  </a:moveTo>
                  <a:lnTo>
                    <a:pt x="138" y="46"/>
                  </a:lnTo>
                  <a:lnTo>
                    <a:pt x="138" y="44"/>
                  </a:lnTo>
                  <a:close/>
                </a:path>
              </a:pathLst>
            </a:custGeom>
            <a:solidFill>
              <a:srgbClr val="4D9926"/>
            </a:solidFill>
            <a:ln w="3175">
              <a:solidFill>
                <a:sysClr val="window" lastClr="FFFF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black"/>
                </a:solidFill>
                <a:effectLst/>
                <a:uLnTx/>
                <a:uFillTx/>
                <a:ea typeface="宋体" panose="02010600030101010101" pitchFamily="2" charset="-122"/>
              </a:endParaRPr>
            </a:p>
          </p:txBody>
        </p:sp>
        <p:sp>
          <p:nvSpPr>
            <p:cNvPr id="18" name="Freeform 2952">
              <a:extLst>
                <a:ext uri="{FF2B5EF4-FFF2-40B4-BE49-F238E27FC236}">
                  <a16:creationId xmlns:a16="http://schemas.microsoft.com/office/drawing/2014/main" id="{055141C2-C530-B240-2D6B-DD01CDED2192}"/>
                </a:ext>
              </a:extLst>
            </p:cNvPr>
            <p:cNvSpPr>
              <a:spLocks/>
            </p:cNvSpPr>
            <p:nvPr/>
          </p:nvSpPr>
          <p:spPr bwMode="auto">
            <a:xfrm>
              <a:off x="4821238" y="2479675"/>
              <a:ext cx="422275" cy="298450"/>
            </a:xfrm>
            <a:custGeom>
              <a:avLst/>
              <a:gdLst>
                <a:gd name="T0" fmla="*/ 254 w 266"/>
                <a:gd name="T1" fmla="*/ 38 h 188"/>
                <a:gd name="T2" fmla="*/ 256 w 266"/>
                <a:gd name="T3" fmla="*/ 42 h 188"/>
                <a:gd name="T4" fmla="*/ 256 w 266"/>
                <a:gd name="T5" fmla="*/ 52 h 188"/>
                <a:gd name="T6" fmla="*/ 254 w 266"/>
                <a:gd name="T7" fmla="*/ 56 h 188"/>
                <a:gd name="T8" fmla="*/ 256 w 266"/>
                <a:gd name="T9" fmla="*/ 60 h 188"/>
                <a:gd name="T10" fmla="*/ 254 w 266"/>
                <a:gd name="T11" fmla="*/ 66 h 188"/>
                <a:gd name="T12" fmla="*/ 254 w 266"/>
                <a:gd name="T13" fmla="*/ 76 h 188"/>
                <a:gd name="T14" fmla="*/ 258 w 266"/>
                <a:gd name="T15" fmla="*/ 90 h 188"/>
                <a:gd name="T16" fmla="*/ 258 w 266"/>
                <a:gd name="T17" fmla="*/ 96 h 188"/>
                <a:gd name="T18" fmla="*/ 262 w 266"/>
                <a:gd name="T19" fmla="*/ 102 h 188"/>
                <a:gd name="T20" fmla="*/ 262 w 266"/>
                <a:gd name="T21" fmla="*/ 104 h 188"/>
                <a:gd name="T22" fmla="*/ 260 w 266"/>
                <a:gd name="T23" fmla="*/ 110 h 188"/>
                <a:gd name="T24" fmla="*/ 260 w 266"/>
                <a:gd name="T25" fmla="*/ 128 h 188"/>
                <a:gd name="T26" fmla="*/ 260 w 266"/>
                <a:gd name="T27" fmla="*/ 138 h 188"/>
                <a:gd name="T28" fmla="*/ 260 w 266"/>
                <a:gd name="T29" fmla="*/ 144 h 188"/>
                <a:gd name="T30" fmla="*/ 260 w 266"/>
                <a:gd name="T31" fmla="*/ 156 h 188"/>
                <a:gd name="T32" fmla="*/ 264 w 266"/>
                <a:gd name="T33" fmla="*/ 166 h 188"/>
                <a:gd name="T34" fmla="*/ 264 w 266"/>
                <a:gd name="T35" fmla="*/ 168 h 188"/>
                <a:gd name="T36" fmla="*/ 264 w 266"/>
                <a:gd name="T37" fmla="*/ 170 h 188"/>
                <a:gd name="T38" fmla="*/ 266 w 266"/>
                <a:gd name="T39" fmla="*/ 174 h 188"/>
                <a:gd name="T40" fmla="*/ 266 w 266"/>
                <a:gd name="T41" fmla="*/ 176 h 188"/>
                <a:gd name="T42" fmla="*/ 264 w 266"/>
                <a:gd name="T43" fmla="*/ 188 h 188"/>
                <a:gd name="T44" fmla="*/ 246 w 266"/>
                <a:gd name="T45" fmla="*/ 186 h 188"/>
                <a:gd name="T46" fmla="*/ 230 w 266"/>
                <a:gd name="T47" fmla="*/ 184 h 188"/>
                <a:gd name="T48" fmla="*/ 212 w 266"/>
                <a:gd name="T49" fmla="*/ 182 h 188"/>
                <a:gd name="T50" fmla="*/ 194 w 266"/>
                <a:gd name="T51" fmla="*/ 180 h 188"/>
                <a:gd name="T52" fmla="*/ 180 w 266"/>
                <a:gd name="T53" fmla="*/ 178 h 188"/>
                <a:gd name="T54" fmla="*/ 162 w 266"/>
                <a:gd name="T55" fmla="*/ 176 h 188"/>
                <a:gd name="T56" fmla="*/ 146 w 266"/>
                <a:gd name="T57" fmla="*/ 174 h 188"/>
                <a:gd name="T58" fmla="*/ 132 w 266"/>
                <a:gd name="T59" fmla="*/ 172 h 188"/>
                <a:gd name="T60" fmla="*/ 116 w 266"/>
                <a:gd name="T61" fmla="*/ 170 h 188"/>
                <a:gd name="T62" fmla="*/ 98 w 266"/>
                <a:gd name="T63" fmla="*/ 168 h 188"/>
                <a:gd name="T64" fmla="*/ 84 w 266"/>
                <a:gd name="T65" fmla="*/ 166 h 188"/>
                <a:gd name="T66" fmla="*/ 70 w 266"/>
                <a:gd name="T67" fmla="*/ 162 h 188"/>
                <a:gd name="T68" fmla="*/ 52 w 266"/>
                <a:gd name="T69" fmla="*/ 160 h 188"/>
                <a:gd name="T70" fmla="*/ 38 w 266"/>
                <a:gd name="T71" fmla="*/ 158 h 188"/>
                <a:gd name="T72" fmla="*/ 20 w 266"/>
                <a:gd name="T73" fmla="*/ 156 h 188"/>
                <a:gd name="T74" fmla="*/ 6 w 266"/>
                <a:gd name="T75" fmla="*/ 152 h 188"/>
                <a:gd name="T76" fmla="*/ 2 w 266"/>
                <a:gd name="T77" fmla="*/ 142 h 188"/>
                <a:gd name="T78" fmla="*/ 6 w 266"/>
                <a:gd name="T79" fmla="*/ 126 h 188"/>
                <a:gd name="T80" fmla="*/ 8 w 266"/>
                <a:gd name="T81" fmla="*/ 108 h 188"/>
                <a:gd name="T82" fmla="*/ 12 w 266"/>
                <a:gd name="T83" fmla="*/ 96 h 188"/>
                <a:gd name="T84" fmla="*/ 14 w 266"/>
                <a:gd name="T85" fmla="*/ 78 h 188"/>
                <a:gd name="T86" fmla="*/ 18 w 266"/>
                <a:gd name="T87" fmla="*/ 64 h 188"/>
                <a:gd name="T88" fmla="*/ 20 w 266"/>
                <a:gd name="T89" fmla="*/ 48 h 188"/>
                <a:gd name="T90" fmla="*/ 24 w 266"/>
                <a:gd name="T91" fmla="*/ 32 h 188"/>
                <a:gd name="T92" fmla="*/ 26 w 266"/>
                <a:gd name="T93" fmla="*/ 16 h 188"/>
                <a:gd name="T94" fmla="*/ 30 w 266"/>
                <a:gd name="T95" fmla="*/ 2 h 188"/>
                <a:gd name="T96" fmla="*/ 46 w 266"/>
                <a:gd name="T97" fmla="*/ 2 h 188"/>
                <a:gd name="T98" fmla="*/ 68 w 266"/>
                <a:gd name="T99" fmla="*/ 6 h 188"/>
                <a:gd name="T100" fmla="*/ 84 w 266"/>
                <a:gd name="T101" fmla="*/ 10 h 188"/>
                <a:gd name="T102" fmla="*/ 106 w 266"/>
                <a:gd name="T103" fmla="*/ 12 h 188"/>
                <a:gd name="T104" fmla="*/ 124 w 266"/>
                <a:gd name="T105" fmla="*/ 14 h 188"/>
                <a:gd name="T106" fmla="*/ 138 w 266"/>
                <a:gd name="T107" fmla="*/ 16 h 188"/>
                <a:gd name="T108" fmla="*/ 158 w 266"/>
                <a:gd name="T109" fmla="*/ 18 h 188"/>
                <a:gd name="T110" fmla="*/ 174 w 266"/>
                <a:gd name="T111" fmla="*/ 22 h 188"/>
                <a:gd name="T112" fmla="*/ 194 w 266"/>
                <a:gd name="T113" fmla="*/ 24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66" h="188">
                  <a:moveTo>
                    <a:pt x="254" y="30"/>
                  </a:moveTo>
                  <a:lnTo>
                    <a:pt x="254" y="32"/>
                  </a:lnTo>
                  <a:lnTo>
                    <a:pt x="254" y="34"/>
                  </a:lnTo>
                  <a:lnTo>
                    <a:pt x="254" y="36"/>
                  </a:lnTo>
                  <a:lnTo>
                    <a:pt x="256" y="36"/>
                  </a:lnTo>
                  <a:lnTo>
                    <a:pt x="254" y="36"/>
                  </a:lnTo>
                  <a:lnTo>
                    <a:pt x="254" y="38"/>
                  </a:lnTo>
                  <a:lnTo>
                    <a:pt x="256" y="38"/>
                  </a:lnTo>
                  <a:lnTo>
                    <a:pt x="254" y="38"/>
                  </a:lnTo>
                  <a:lnTo>
                    <a:pt x="256" y="38"/>
                  </a:lnTo>
                  <a:lnTo>
                    <a:pt x="254" y="38"/>
                  </a:lnTo>
                  <a:lnTo>
                    <a:pt x="254" y="40"/>
                  </a:lnTo>
                  <a:lnTo>
                    <a:pt x="256" y="40"/>
                  </a:lnTo>
                  <a:lnTo>
                    <a:pt x="254" y="40"/>
                  </a:lnTo>
                  <a:lnTo>
                    <a:pt x="256" y="40"/>
                  </a:lnTo>
                  <a:lnTo>
                    <a:pt x="254" y="40"/>
                  </a:lnTo>
                  <a:lnTo>
                    <a:pt x="256" y="40"/>
                  </a:lnTo>
                  <a:lnTo>
                    <a:pt x="256" y="42"/>
                  </a:lnTo>
                  <a:lnTo>
                    <a:pt x="256" y="44"/>
                  </a:lnTo>
                  <a:lnTo>
                    <a:pt x="256" y="46"/>
                  </a:lnTo>
                  <a:lnTo>
                    <a:pt x="258" y="46"/>
                  </a:lnTo>
                  <a:lnTo>
                    <a:pt x="256" y="46"/>
                  </a:lnTo>
                  <a:lnTo>
                    <a:pt x="256" y="48"/>
                  </a:lnTo>
                  <a:lnTo>
                    <a:pt x="256" y="50"/>
                  </a:lnTo>
                  <a:lnTo>
                    <a:pt x="254" y="50"/>
                  </a:lnTo>
                  <a:lnTo>
                    <a:pt x="256" y="50"/>
                  </a:lnTo>
                  <a:lnTo>
                    <a:pt x="256" y="52"/>
                  </a:lnTo>
                  <a:lnTo>
                    <a:pt x="254" y="52"/>
                  </a:lnTo>
                  <a:lnTo>
                    <a:pt x="256" y="52"/>
                  </a:lnTo>
                  <a:lnTo>
                    <a:pt x="254" y="52"/>
                  </a:lnTo>
                  <a:lnTo>
                    <a:pt x="254" y="54"/>
                  </a:lnTo>
                  <a:lnTo>
                    <a:pt x="256" y="54"/>
                  </a:lnTo>
                  <a:lnTo>
                    <a:pt x="254" y="54"/>
                  </a:lnTo>
                  <a:lnTo>
                    <a:pt x="254" y="56"/>
                  </a:lnTo>
                  <a:lnTo>
                    <a:pt x="256" y="56"/>
                  </a:lnTo>
                  <a:lnTo>
                    <a:pt x="254" y="56"/>
                  </a:lnTo>
                  <a:lnTo>
                    <a:pt x="256" y="56"/>
                  </a:lnTo>
                  <a:lnTo>
                    <a:pt x="254" y="56"/>
                  </a:lnTo>
                  <a:lnTo>
                    <a:pt x="254" y="58"/>
                  </a:lnTo>
                  <a:lnTo>
                    <a:pt x="256" y="58"/>
                  </a:lnTo>
                  <a:lnTo>
                    <a:pt x="254" y="58"/>
                  </a:lnTo>
                  <a:lnTo>
                    <a:pt x="256" y="58"/>
                  </a:lnTo>
                  <a:lnTo>
                    <a:pt x="254" y="58"/>
                  </a:lnTo>
                  <a:lnTo>
                    <a:pt x="254" y="60"/>
                  </a:lnTo>
                  <a:lnTo>
                    <a:pt x="256" y="60"/>
                  </a:lnTo>
                  <a:lnTo>
                    <a:pt x="254" y="60"/>
                  </a:lnTo>
                  <a:lnTo>
                    <a:pt x="256" y="60"/>
                  </a:lnTo>
                  <a:lnTo>
                    <a:pt x="254" y="60"/>
                  </a:lnTo>
                  <a:lnTo>
                    <a:pt x="254" y="60"/>
                  </a:lnTo>
                  <a:lnTo>
                    <a:pt x="254" y="62"/>
                  </a:lnTo>
                  <a:lnTo>
                    <a:pt x="254" y="60"/>
                  </a:lnTo>
                  <a:lnTo>
                    <a:pt x="254" y="62"/>
                  </a:lnTo>
                  <a:lnTo>
                    <a:pt x="254" y="64"/>
                  </a:lnTo>
                  <a:lnTo>
                    <a:pt x="254" y="66"/>
                  </a:lnTo>
                  <a:lnTo>
                    <a:pt x="254" y="64"/>
                  </a:lnTo>
                  <a:lnTo>
                    <a:pt x="254" y="66"/>
                  </a:lnTo>
                  <a:lnTo>
                    <a:pt x="254" y="68"/>
                  </a:lnTo>
                  <a:lnTo>
                    <a:pt x="254" y="70"/>
                  </a:lnTo>
                  <a:lnTo>
                    <a:pt x="254" y="72"/>
                  </a:lnTo>
                  <a:lnTo>
                    <a:pt x="254" y="74"/>
                  </a:lnTo>
                  <a:lnTo>
                    <a:pt x="254" y="72"/>
                  </a:lnTo>
                  <a:lnTo>
                    <a:pt x="254" y="74"/>
                  </a:lnTo>
                  <a:lnTo>
                    <a:pt x="254" y="76"/>
                  </a:lnTo>
                  <a:lnTo>
                    <a:pt x="254" y="78"/>
                  </a:lnTo>
                  <a:lnTo>
                    <a:pt x="256" y="78"/>
                  </a:lnTo>
                  <a:lnTo>
                    <a:pt x="256" y="80"/>
                  </a:lnTo>
                  <a:lnTo>
                    <a:pt x="256" y="82"/>
                  </a:lnTo>
                  <a:lnTo>
                    <a:pt x="256" y="84"/>
                  </a:lnTo>
                  <a:lnTo>
                    <a:pt x="256" y="86"/>
                  </a:lnTo>
                  <a:lnTo>
                    <a:pt x="256" y="88"/>
                  </a:lnTo>
                  <a:lnTo>
                    <a:pt x="258" y="88"/>
                  </a:lnTo>
                  <a:lnTo>
                    <a:pt x="258" y="90"/>
                  </a:lnTo>
                  <a:lnTo>
                    <a:pt x="256" y="90"/>
                  </a:lnTo>
                  <a:lnTo>
                    <a:pt x="258" y="90"/>
                  </a:lnTo>
                  <a:lnTo>
                    <a:pt x="258" y="92"/>
                  </a:lnTo>
                  <a:lnTo>
                    <a:pt x="258" y="94"/>
                  </a:lnTo>
                  <a:lnTo>
                    <a:pt x="260" y="94"/>
                  </a:lnTo>
                  <a:lnTo>
                    <a:pt x="258" y="94"/>
                  </a:lnTo>
                  <a:lnTo>
                    <a:pt x="260" y="94"/>
                  </a:lnTo>
                  <a:lnTo>
                    <a:pt x="258" y="94"/>
                  </a:lnTo>
                  <a:lnTo>
                    <a:pt x="258" y="96"/>
                  </a:lnTo>
                  <a:lnTo>
                    <a:pt x="260" y="96"/>
                  </a:lnTo>
                  <a:lnTo>
                    <a:pt x="258" y="96"/>
                  </a:lnTo>
                  <a:lnTo>
                    <a:pt x="260" y="96"/>
                  </a:lnTo>
                  <a:lnTo>
                    <a:pt x="260" y="98"/>
                  </a:lnTo>
                  <a:lnTo>
                    <a:pt x="260" y="100"/>
                  </a:lnTo>
                  <a:lnTo>
                    <a:pt x="260" y="102"/>
                  </a:lnTo>
                  <a:lnTo>
                    <a:pt x="262" y="102"/>
                  </a:lnTo>
                  <a:lnTo>
                    <a:pt x="260" y="102"/>
                  </a:lnTo>
                  <a:lnTo>
                    <a:pt x="262" y="102"/>
                  </a:lnTo>
                  <a:lnTo>
                    <a:pt x="260" y="102"/>
                  </a:lnTo>
                  <a:lnTo>
                    <a:pt x="262" y="102"/>
                  </a:lnTo>
                  <a:lnTo>
                    <a:pt x="262" y="104"/>
                  </a:lnTo>
                  <a:lnTo>
                    <a:pt x="260" y="104"/>
                  </a:lnTo>
                  <a:lnTo>
                    <a:pt x="262" y="104"/>
                  </a:lnTo>
                  <a:lnTo>
                    <a:pt x="260" y="104"/>
                  </a:lnTo>
                  <a:lnTo>
                    <a:pt x="262" y="104"/>
                  </a:lnTo>
                  <a:lnTo>
                    <a:pt x="260" y="104"/>
                  </a:lnTo>
                  <a:lnTo>
                    <a:pt x="262" y="104"/>
                  </a:lnTo>
                  <a:lnTo>
                    <a:pt x="260" y="104"/>
                  </a:lnTo>
                  <a:lnTo>
                    <a:pt x="260" y="106"/>
                  </a:lnTo>
                  <a:lnTo>
                    <a:pt x="262" y="106"/>
                  </a:lnTo>
                  <a:lnTo>
                    <a:pt x="260" y="106"/>
                  </a:lnTo>
                  <a:lnTo>
                    <a:pt x="260" y="108"/>
                  </a:lnTo>
                  <a:lnTo>
                    <a:pt x="262" y="108"/>
                  </a:lnTo>
                  <a:lnTo>
                    <a:pt x="260" y="108"/>
                  </a:lnTo>
                  <a:lnTo>
                    <a:pt x="260" y="108"/>
                  </a:lnTo>
                  <a:lnTo>
                    <a:pt x="260" y="110"/>
                  </a:lnTo>
                  <a:lnTo>
                    <a:pt x="260" y="112"/>
                  </a:lnTo>
                  <a:lnTo>
                    <a:pt x="260" y="114"/>
                  </a:lnTo>
                  <a:lnTo>
                    <a:pt x="260" y="116"/>
                  </a:lnTo>
                  <a:lnTo>
                    <a:pt x="260" y="118"/>
                  </a:lnTo>
                  <a:lnTo>
                    <a:pt x="260" y="120"/>
                  </a:lnTo>
                  <a:lnTo>
                    <a:pt x="260" y="122"/>
                  </a:lnTo>
                  <a:lnTo>
                    <a:pt x="260" y="124"/>
                  </a:lnTo>
                  <a:lnTo>
                    <a:pt x="260" y="126"/>
                  </a:lnTo>
                  <a:lnTo>
                    <a:pt x="260" y="128"/>
                  </a:lnTo>
                  <a:lnTo>
                    <a:pt x="260" y="130"/>
                  </a:lnTo>
                  <a:lnTo>
                    <a:pt x="260" y="132"/>
                  </a:lnTo>
                  <a:lnTo>
                    <a:pt x="260" y="134"/>
                  </a:lnTo>
                  <a:lnTo>
                    <a:pt x="260" y="136"/>
                  </a:lnTo>
                  <a:lnTo>
                    <a:pt x="260" y="134"/>
                  </a:lnTo>
                  <a:lnTo>
                    <a:pt x="260" y="136"/>
                  </a:lnTo>
                  <a:lnTo>
                    <a:pt x="262" y="136"/>
                  </a:lnTo>
                  <a:lnTo>
                    <a:pt x="262" y="138"/>
                  </a:lnTo>
                  <a:lnTo>
                    <a:pt x="260" y="138"/>
                  </a:lnTo>
                  <a:lnTo>
                    <a:pt x="262" y="138"/>
                  </a:lnTo>
                  <a:lnTo>
                    <a:pt x="260" y="138"/>
                  </a:lnTo>
                  <a:lnTo>
                    <a:pt x="262" y="138"/>
                  </a:lnTo>
                  <a:lnTo>
                    <a:pt x="260" y="138"/>
                  </a:lnTo>
                  <a:lnTo>
                    <a:pt x="260" y="140"/>
                  </a:lnTo>
                  <a:lnTo>
                    <a:pt x="260" y="142"/>
                  </a:lnTo>
                  <a:lnTo>
                    <a:pt x="260" y="144"/>
                  </a:lnTo>
                  <a:lnTo>
                    <a:pt x="260" y="146"/>
                  </a:lnTo>
                  <a:lnTo>
                    <a:pt x="260" y="144"/>
                  </a:lnTo>
                  <a:lnTo>
                    <a:pt x="260" y="146"/>
                  </a:lnTo>
                  <a:lnTo>
                    <a:pt x="260" y="148"/>
                  </a:lnTo>
                  <a:lnTo>
                    <a:pt x="260" y="150"/>
                  </a:lnTo>
                  <a:lnTo>
                    <a:pt x="260" y="152"/>
                  </a:lnTo>
                  <a:lnTo>
                    <a:pt x="260" y="154"/>
                  </a:lnTo>
                  <a:lnTo>
                    <a:pt x="260" y="152"/>
                  </a:lnTo>
                  <a:lnTo>
                    <a:pt x="260" y="154"/>
                  </a:lnTo>
                  <a:lnTo>
                    <a:pt x="260" y="156"/>
                  </a:lnTo>
                  <a:lnTo>
                    <a:pt x="260" y="156"/>
                  </a:lnTo>
                  <a:lnTo>
                    <a:pt x="260" y="158"/>
                  </a:lnTo>
                  <a:lnTo>
                    <a:pt x="262" y="158"/>
                  </a:lnTo>
                  <a:lnTo>
                    <a:pt x="262" y="160"/>
                  </a:lnTo>
                  <a:lnTo>
                    <a:pt x="262" y="162"/>
                  </a:lnTo>
                  <a:lnTo>
                    <a:pt x="262" y="160"/>
                  </a:lnTo>
                  <a:lnTo>
                    <a:pt x="262" y="162"/>
                  </a:lnTo>
                  <a:lnTo>
                    <a:pt x="262" y="164"/>
                  </a:lnTo>
                  <a:lnTo>
                    <a:pt x="264" y="164"/>
                  </a:lnTo>
                  <a:lnTo>
                    <a:pt x="264" y="166"/>
                  </a:lnTo>
                  <a:lnTo>
                    <a:pt x="266" y="166"/>
                  </a:lnTo>
                  <a:lnTo>
                    <a:pt x="264" y="166"/>
                  </a:lnTo>
                  <a:lnTo>
                    <a:pt x="266" y="166"/>
                  </a:lnTo>
                  <a:lnTo>
                    <a:pt x="266" y="168"/>
                  </a:lnTo>
                  <a:lnTo>
                    <a:pt x="264" y="168"/>
                  </a:lnTo>
                  <a:lnTo>
                    <a:pt x="266" y="168"/>
                  </a:lnTo>
                  <a:lnTo>
                    <a:pt x="264" y="168"/>
                  </a:lnTo>
                  <a:lnTo>
                    <a:pt x="266" y="168"/>
                  </a:lnTo>
                  <a:lnTo>
                    <a:pt x="264" y="168"/>
                  </a:lnTo>
                  <a:lnTo>
                    <a:pt x="266" y="168"/>
                  </a:lnTo>
                  <a:lnTo>
                    <a:pt x="264" y="168"/>
                  </a:lnTo>
                  <a:lnTo>
                    <a:pt x="266" y="168"/>
                  </a:lnTo>
                  <a:lnTo>
                    <a:pt x="266" y="170"/>
                  </a:lnTo>
                  <a:lnTo>
                    <a:pt x="264" y="170"/>
                  </a:lnTo>
                  <a:lnTo>
                    <a:pt x="266" y="170"/>
                  </a:lnTo>
                  <a:lnTo>
                    <a:pt x="264" y="170"/>
                  </a:lnTo>
                  <a:lnTo>
                    <a:pt x="266" y="170"/>
                  </a:lnTo>
                  <a:lnTo>
                    <a:pt x="264" y="170"/>
                  </a:lnTo>
                  <a:lnTo>
                    <a:pt x="266" y="170"/>
                  </a:lnTo>
                  <a:lnTo>
                    <a:pt x="264" y="170"/>
                  </a:lnTo>
                  <a:lnTo>
                    <a:pt x="264" y="172"/>
                  </a:lnTo>
                  <a:lnTo>
                    <a:pt x="266" y="172"/>
                  </a:lnTo>
                  <a:lnTo>
                    <a:pt x="264" y="172"/>
                  </a:lnTo>
                  <a:lnTo>
                    <a:pt x="266" y="172"/>
                  </a:lnTo>
                  <a:lnTo>
                    <a:pt x="266" y="174"/>
                  </a:lnTo>
                  <a:lnTo>
                    <a:pt x="264" y="174"/>
                  </a:lnTo>
                  <a:lnTo>
                    <a:pt x="266" y="174"/>
                  </a:lnTo>
                  <a:lnTo>
                    <a:pt x="264" y="174"/>
                  </a:lnTo>
                  <a:lnTo>
                    <a:pt x="266" y="174"/>
                  </a:lnTo>
                  <a:lnTo>
                    <a:pt x="264" y="174"/>
                  </a:lnTo>
                  <a:lnTo>
                    <a:pt x="266" y="174"/>
                  </a:lnTo>
                  <a:lnTo>
                    <a:pt x="264" y="174"/>
                  </a:lnTo>
                  <a:lnTo>
                    <a:pt x="266" y="174"/>
                  </a:lnTo>
                  <a:lnTo>
                    <a:pt x="264" y="174"/>
                  </a:lnTo>
                  <a:lnTo>
                    <a:pt x="266" y="174"/>
                  </a:lnTo>
                  <a:lnTo>
                    <a:pt x="266" y="176"/>
                  </a:lnTo>
                  <a:lnTo>
                    <a:pt x="266" y="178"/>
                  </a:lnTo>
                  <a:lnTo>
                    <a:pt x="266" y="180"/>
                  </a:lnTo>
                  <a:lnTo>
                    <a:pt x="266" y="182"/>
                  </a:lnTo>
                  <a:lnTo>
                    <a:pt x="264" y="182"/>
                  </a:lnTo>
                  <a:lnTo>
                    <a:pt x="264" y="184"/>
                  </a:lnTo>
                  <a:lnTo>
                    <a:pt x="264" y="186"/>
                  </a:lnTo>
                  <a:lnTo>
                    <a:pt x="266" y="186"/>
                  </a:lnTo>
                  <a:lnTo>
                    <a:pt x="264" y="186"/>
                  </a:lnTo>
                  <a:lnTo>
                    <a:pt x="264" y="188"/>
                  </a:lnTo>
                  <a:lnTo>
                    <a:pt x="262" y="186"/>
                  </a:lnTo>
                  <a:lnTo>
                    <a:pt x="260" y="186"/>
                  </a:lnTo>
                  <a:lnTo>
                    <a:pt x="258" y="186"/>
                  </a:lnTo>
                  <a:lnTo>
                    <a:pt x="256" y="186"/>
                  </a:lnTo>
                  <a:lnTo>
                    <a:pt x="254" y="186"/>
                  </a:lnTo>
                  <a:lnTo>
                    <a:pt x="252" y="186"/>
                  </a:lnTo>
                  <a:lnTo>
                    <a:pt x="250" y="186"/>
                  </a:lnTo>
                  <a:lnTo>
                    <a:pt x="248" y="186"/>
                  </a:lnTo>
                  <a:lnTo>
                    <a:pt x="246" y="186"/>
                  </a:lnTo>
                  <a:lnTo>
                    <a:pt x="244" y="186"/>
                  </a:lnTo>
                  <a:lnTo>
                    <a:pt x="242" y="186"/>
                  </a:lnTo>
                  <a:lnTo>
                    <a:pt x="240" y="186"/>
                  </a:lnTo>
                  <a:lnTo>
                    <a:pt x="238" y="186"/>
                  </a:lnTo>
                  <a:lnTo>
                    <a:pt x="238" y="184"/>
                  </a:lnTo>
                  <a:lnTo>
                    <a:pt x="236" y="184"/>
                  </a:lnTo>
                  <a:lnTo>
                    <a:pt x="234" y="184"/>
                  </a:lnTo>
                  <a:lnTo>
                    <a:pt x="232" y="184"/>
                  </a:lnTo>
                  <a:lnTo>
                    <a:pt x="230" y="184"/>
                  </a:lnTo>
                  <a:lnTo>
                    <a:pt x="228" y="184"/>
                  </a:lnTo>
                  <a:lnTo>
                    <a:pt x="226" y="184"/>
                  </a:lnTo>
                  <a:lnTo>
                    <a:pt x="224" y="184"/>
                  </a:lnTo>
                  <a:lnTo>
                    <a:pt x="222" y="184"/>
                  </a:lnTo>
                  <a:lnTo>
                    <a:pt x="220" y="184"/>
                  </a:lnTo>
                  <a:lnTo>
                    <a:pt x="218" y="184"/>
                  </a:lnTo>
                  <a:lnTo>
                    <a:pt x="218" y="182"/>
                  </a:lnTo>
                  <a:lnTo>
                    <a:pt x="214" y="182"/>
                  </a:lnTo>
                  <a:lnTo>
                    <a:pt x="212" y="182"/>
                  </a:lnTo>
                  <a:lnTo>
                    <a:pt x="210" y="182"/>
                  </a:lnTo>
                  <a:lnTo>
                    <a:pt x="208" y="182"/>
                  </a:lnTo>
                  <a:lnTo>
                    <a:pt x="206" y="182"/>
                  </a:lnTo>
                  <a:lnTo>
                    <a:pt x="204" y="182"/>
                  </a:lnTo>
                  <a:lnTo>
                    <a:pt x="202" y="182"/>
                  </a:lnTo>
                  <a:lnTo>
                    <a:pt x="200" y="182"/>
                  </a:lnTo>
                  <a:lnTo>
                    <a:pt x="198" y="180"/>
                  </a:lnTo>
                  <a:lnTo>
                    <a:pt x="196" y="180"/>
                  </a:lnTo>
                  <a:lnTo>
                    <a:pt x="194" y="180"/>
                  </a:lnTo>
                  <a:lnTo>
                    <a:pt x="192" y="180"/>
                  </a:lnTo>
                  <a:lnTo>
                    <a:pt x="190" y="180"/>
                  </a:lnTo>
                  <a:lnTo>
                    <a:pt x="188" y="180"/>
                  </a:lnTo>
                  <a:lnTo>
                    <a:pt x="186" y="180"/>
                  </a:lnTo>
                  <a:lnTo>
                    <a:pt x="186" y="180"/>
                  </a:lnTo>
                  <a:lnTo>
                    <a:pt x="184" y="180"/>
                  </a:lnTo>
                  <a:lnTo>
                    <a:pt x="184" y="178"/>
                  </a:lnTo>
                  <a:lnTo>
                    <a:pt x="182" y="178"/>
                  </a:lnTo>
                  <a:lnTo>
                    <a:pt x="180" y="178"/>
                  </a:lnTo>
                  <a:lnTo>
                    <a:pt x="178" y="178"/>
                  </a:lnTo>
                  <a:lnTo>
                    <a:pt x="176" y="178"/>
                  </a:lnTo>
                  <a:lnTo>
                    <a:pt x="174" y="178"/>
                  </a:lnTo>
                  <a:lnTo>
                    <a:pt x="172" y="178"/>
                  </a:lnTo>
                  <a:lnTo>
                    <a:pt x="170" y="178"/>
                  </a:lnTo>
                  <a:lnTo>
                    <a:pt x="168" y="178"/>
                  </a:lnTo>
                  <a:lnTo>
                    <a:pt x="166" y="176"/>
                  </a:lnTo>
                  <a:lnTo>
                    <a:pt x="164" y="176"/>
                  </a:lnTo>
                  <a:lnTo>
                    <a:pt x="162" y="176"/>
                  </a:lnTo>
                  <a:lnTo>
                    <a:pt x="160" y="176"/>
                  </a:lnTo>
                  <a:lnTo>
                    <a:pt x="158" y="176"/>
                  </a:lnTo>
                  <a:lnTo>
                    <a:pt x="156" y="176"/>
                  </a:lnTo>
                  <a:lnTo>
                    <a:pt x="154" y="176"/>
                  </a:lnTo>
                  <a:lnTo>
                    <a:pt x="152" y="176"/>
                  </a:lnTo>
                  <a:lnTo>
                    <a:pt x="150" y="176"/>
                  </a:lnTo>
                  <a:lnTo>
                    <a:pt x="150" y="174"/>
                  </a:lnTo>
                  <a:lnTo>
                    <a:pt x="148" y="174"/>
                  </a:lnTo>
                  <a:lnTo>
                    <a:pt x="146" y="174"/>
                  </a:lnTo>
                  <a:lnTo>
                    <a:pt x="144" y="174"/>
                  </a:lnTo>
                  <a:lnTo>
                    <a:pt x="142" y="174"/>
                  </a:lnTo>
                  <a:lnTo>
                    <a:pt x="140" y="174"/>
                  </a:lnTo>
                  <a:lnTo>
                    <a:pt x="138" y="174"/>
                  </a:lnTo>
                  <a:lnTo>
                    <a:pt x="138" y="174"/>
                  </a:lnTo>
                  <a:lnTo>
                    <a:pt x="138" y="172"/>
                  </a:lnTo>
                  <a:lnTo>
                    <a:pt x="136" y="172"/>
                  </a:lnTo>
                  <a:lnTo>
                    <a:pt x="134" y="172"/>
                  </a:lnTo>
                  <a:lnTo>
                    <a:pt x="132" y="172"/>
                  </a:lnTo>
                  <a:lnTo>
                    <a:pt x="130" y="172"/>
                  </a:lnTo>
                  <a:lnTo>
                    <a:pt x="128" y="172"/>
                  </a:lnTo>
                  <a:lnTo>
                    <a:pt x="126" y="172"/>
                  </a:lnTo>
                  <a:lnTo>
                    <a:pt x="124" y="172"/>
                  </a:lnTo>
                  <a:lnTo>
                    <a:pt x="122" y="172"/>
                  </a:lnTo>
                  <a:lnTo>
                    <a:pt x="122" y="170"/>
                  </a:lnTo>
                  <a:lnTo>
                    <a:pt x="120" y="170"/>
                  </a:lnTo>
                  <a:lnTo>
                    <a:pt x="118" y="170"/>
                  </a:lnTo>
                  <a:lnTo>
                    <a:pt x="116" y="170"/>
                  </a:lnTo>
                  <a:lnTo>
                    <a:pt x="114" y="170"/>
                  </a:lnTo>
                  <a:lnTo>
                    <a:pt x="112" y="170"/>
                  </a:lnTo>
                  <a:lnTo>
                    <a:pt x="110" y="170"/>
                  </a:lnTo>
                  <a:lnTo>
                    <a:pt x="108" y="170"/>
                  </a:lnTo>
                  <a:lnTo>
                    <a:pt x="108" y="168"/>
                  </a:lnTo>
                  <a:lnTo>
                    <a:pt x="104" y="168"/>
                  </a:lnTo>
                  <a:lnTo>
                    <a:pt x="102" y="168"/>
                  </a:lnTo>
                  <a:lnTo>
                    <a:pt x="100" y="168"/>
                  </a:lnTo>
                  <a:lnTo>
                    <a:pt x="98" y="168"/>
                  </a:lnTo>
                  <a:lnTo>
                    <a:pt x="96" y="168"/>
                  </a:lnTo>
                  <a:lnTo>
                    <a:pt x="96" y="166"/>
                  </a:lnTo>
                  <a:lnTo>
                    <a:pt x="94" y="166"/>
                  </a:lnTo>
                  <a:lnTo>
                    <a:pt x="92" y="166"/>
                  </a:lnTo>
                  <a:lnTo>
                    <a:pt x="90" y="166"/>
                  </a:lnTo>
                  <a:lnTo>
                    <a:pt x="90" y="166"/>
                  </a:lnTo>
                  <a:lnTo>
                    <a:pt x="88" y="166"/>
                  </a:lnTo>
                  <a:lnTo>
                    <a:pt x="86" y="166"/>
                  </a:lnTo>
                  <a:lnTo>
                    <a:pt x="84" y="166"/>
                  </a:lnTo>
                  <a:lnTo>
                    <a:pt x="84" y="164"/>
                  </a:lnTo>
                  <a:lnTo>
                    <a:pt x="82" y="164"/>
                  </a:lnTo>
                  <a:lnTo>
                    <a:pt x="80" y="164"/>
                  </a:lnTo>
                  <a:lnTo>
                    <a:pt x="78" y="164"/>
                  </a:lnTo>
                  <a:lnTo>
                    <a:pt x="76" y="164"/>
                  </a:lnTo>
                  <a:lnTo>
                    <a:pt x="74" y="164"/>
                  </a:lnTo>
                  <a:lnTo>
                    <a:pt x="72" y="164"/>
                  </a:lnTo>
                  <a:lnTo>
                    <a:pt x="72" y="162"/>
                  </a:lnTo>
                  <a:lnTo>
                    <a:pt x="70" y="162"/>
                  </a:lnTo>
                  <a:lnTo>
                    <a:pt x="68" y="162"/>
                  </a:lnTo>
                  <a:lnTo>
                    <a:pt x="66" y="162"/>
                  </a:lnTo>
                  <a:lnTo>
                    <a:pt x="64" y="162"/>
                  </a:lnTo>
                  <a:lnTo>
                    <a:pt x="62" y="162"/>
                  </a:lnTo>
                  <a:lnTo>
                    <a:pt x="60" y="162"/>
                  </a:lnTo>
                  <a:lnTo>
                    <a:pt x="58" y="160"/>
                  </a:lnTo>
                  <a:lnTo>
                    <a:pt x="56" y="160"/>
                  </a:lnTo>
                  <a:lnTo>
                    <a:pt x="54" y="160"/>
                  </a:lnTo>
                  <a:lnTo>
                    <a:pt x="52" y="160"/>
                  </a:lnTo>
                  <a:lnTo>
                    <a:pt x="50" y="160"/>
                  </a:lnTo>
                  <a:lnTo>
                    <a:pt x="48" y="160"/>
                  </a:lnTo>
                  <a:lnTo>
                    <a:pt x="48" y="158"/>
                  </a:lnTo>
                  <a:lnTo>
                    <a:pt x="46" y="158"/>
                  </a:lnTo>
                  <a:lnTo>
                    <a:pt x="44" y="158"/>
                  </a:lnTo>
                  <a:lnTo>
                    <a:pt x="42" y="158"/>
                  </a:lnTo>
                  <a:lnTo>
                    <a:pt x="42" y="158"/>
                  </a:lnTo>
                  <a:lnTo>
                    <a:pt x="40" y="158"/>
                  </a:lnTo>
                  <a:lnTo>
                    <a:pt x="38" y="158"/>
                  </a:lnTo>
                  <a:lnTo>
                    <a:pt x="38" y="156"/>
                  </a:lnTo>
                  <a:lnTo>
                    <a:pt x="34" y="156"/>
                  </a:lnTo>
                  <a:lnTo>
                    <a:pt x="32" y="156"/>
                  </a:lnTo>
                  <a:lnTo>
                    <a:pt x="30" y="156"/>
                  </a:lnTo>
                  <a:lnTo>
                    <a:pt x="28" y="156"/>
                  </a:lnTo>
                  <a:lnTo>
                    <a:pt x="26" y="156"/>
                  </a:lnTo>
                  <a:lnTo>
                    <a:pt x="24" y="156"/>
                  </a:lnTo>
                  <a:lnTo>
                    <a:pt x="22" y="156"/>
                  </a:lnTo>
                  <a:lnTo>
                    <a:pt x="20" y="156"/>
                  </a:lnTo>
                  <a:lnTo>
                    <a:pt x="18" y="156"/>
                  </a:lnTo>
                  <a:lnTo>
                    <a:pt x="16" y="156"/>
                  </a:lnTo>
                  <a:lnTo>
                    <a:pt x="16" y="154"/>
                  </a:lnTo>
                  <a:lnTo>
                    <a:pt x="14" y="154"/>
                  </a:lnTo>
                  <a:lnTo>
                    <a:pt x="12" y="154"/>
                  </a:lnTo>
                  <a:lnTo>
                    <a:pt x="10" y="154"/>
                  </a:lnTo>
                  <a:lnTo>
                    <a:pt x="8" y="154"/>
                  </a:lnTo>
                  <a:lnTo>
                    <a:pt x="6" y="154"/>
                  </a:lnTo>
                  <a:lnTo>
                    <a:pt x="6" y="152"/>
                  </a:lnTo>
                  <a:lnTo>
                    <a:pt x="4" y="152"/>
                  </a:lnTo>
                  <a:lnTo>
                    <a:pt x="2" y="152"/>
                  </a:lnTo>
                  <a:lnTo>
                    <a:pt x="0" y="152"/>
                  </a:lnTo>
                  <a:lnTo>
                    <a:pt x="0" y="150"/>
                  </a:lnTo>
                  <a:lnTo>
                    <a:pt x="0" y="148"/>
                  </a:lnTo>
                  <a:lnTo>
                    <a:pt x="0" y="146"/>
                  </a:lnTo>
                  <a:lnTo>
                    <a:pt x="2" y="146"/>
                  </a:lnTo>
                  <a:lnTo>
                    <a:pt x="2" y="144"/>
                  </a:lnTo>
                  <a:lnTo>
                    <a:pt x="2" y="142"/>
                  </a:lnTo>
                  <a:lnTo>
                    <a:pt x="2" y="140"/>
                  </a:lnTo>
                  <a:lnTo>
                    <a:pt x="2" y="138"/>
                  </a:lnTo>
                  <a:lnTo>
                    <a:pt x="2" y="136"/>
                  </a:lnTo>
                  <a:lnTo>
                    <a:pt x="4" y="134"/>
                  </a:lnTo>
                  <a:lnTo>
                    <a:pt x="4" y="132"/>
                  </a:lnTo>
                  <a:lnTo>
                    <a:pt x="4" y="130"/>
                  </a:lnTo>
                  <a:lnTo>
                    <a:pt x="4" y="128"/>
                  </a:lnTo>
                  <a:lnTo>
                    <a:pt x="4" y="126"/>
                  </a:lnTo>
                  <a:lnTo>
                    <a:pt x="6" y="126"/>
                  </a:lnTo>
                  <a:lnTo>
                    <a:pt x="6" y="124"/>
                  </a:lnTo>
                  <a:lnTo>
                    <a:pt x="6" y="122"/>
                  </a:lnTo>
                  <a:lnTo>
                    <a:pt x="6" y="120"/>
                  </a:lnTo>
                  <a:lnTo>
                    <a:pt x="6" y="118"/>
                  </a:lnTo>
                  <a:lnTo>
                    <a:pt x="6" y="116"/>
                  </a:lnTo>
                  <a:lnTo>
                    <a:pt x="8" y="114"/>
                  </a:lnTo>
                  <a:lnTo>
                    <a:pt x="8" y="112"/>
                  </a:lnTo>
                  <a:lnTo>
                    <a:pt x="8" y="110"/>
                  </a:lnTo>
                  <a:lnTo>
                    <a:pt x="8" y="108"/>
                  </a:lnTo>
                  <a:lnTo>
                    <a:pt x="8" y="108"/>
                  </a:lnTo>
                  <a:lnTo>
                    <a:pt x="8" y="106"/>
                  </a:lnTo>
                  <a:lnTo>
                    <a:pt x="10" y="106"/>
                  </a:lnTo>
                  <a:lnTo>
                    <a:pt x="10" y="104"/>
                  </a:lnTo>
                  <a:lnTo>
                    <a:pt x="10" y="102"/>
                  </a:lnTo>
                  <a:lnTo>
                    <a:pt x="10" y="100"/>
                  </a:lnTo>
                  <a:lnTo>
                    <a:pt x="10" y="98"/>
                  </a:lnTo>
                  <a:lnTo>
                    <a:pt x="10" y="96"/>
                  </a:lnTo>
                  <a:lnTo>
                    <a:pt x="12" y="96"/>
                  </a:lnTo>
                  <a:lnTo>
                    <a:pt x="12" y="94"/>
                  </a:lnTo>
                  <a:lnTo>
                    <a:pt x="12" y="92"/>
                  </a:lnTo>
                  <a:lnTo>
                    <a:pt x="12" y="90"/>
                  </a:lnTo>
                  <a:lnTo>
                    <a:pt x="12" y="88"/>
                  </a:lnTo>
                  <a:lnTo>
                    <a:pt x="14" y="86"/>
                  </a:lnTo>
                  <a:lnTo>
                    <a:pt x="14" y="84"/>
                  </a:lnTo>
                  <a:lnTo>
                    <a:pt x="14" y="82"/>
                  </a:lnTo>
                  <a:lnTo>
                    <a:pt x="14" y="80"/>
                  </a:lnTo>
                  <a:lnTo>
                    <a:pt x="14" y="78"/>
                  </a:lnTo>
                  <a:lnTo>
                    <a:pt x="14" y="76"/>
                  </a:lnTo>
                  <a:lnTo>
                    <a:pt x="16" y="76"/>
                  </a:lnTo>
                  <a:lnTo>
                    <a:pt x="16" y="74"/>
                  </a:lnTo>
                  <a:lnTo>
                    <a:pt x="16" y="72"/>
                  </a:lnTo>
                  <a:lnTo>
                    <a:pt x="16" y="70"/>
                  </a:lnTo>
                  <a:lnTo>
                    <a:pt x="16" y="68"/>
                  </a:lnTo>
                  <a:lnTo>
                    <a:pt x="16" y="66"/>
                  </a:lnTo>
                  <a:lnTo>
                    <a:pt x="18" y="66"/>
                  </a:lnTo>
                  <a:lnTo>
                    <a:pt x="18" y="64"/>
                  </a:lnTo>
                  <a:lnTo>
                    <a:pt x="18" y="60"/>
                  </a:lnTo>
                  <a:lnTo>
                    <a:pt x="18" y="60"/>
                  </a:lnTo>
                  <a:lnTo>
                    <a:pt x="18" y="58"/>
                  </a:lnTo>
                  <a:lnTo>
                    <a:pt x="20" y="58"/>
                  </a:lnTo>
                  <a:lnTo>
                    <a:pt x="20" y="56"/>
                  </a:lnTo>
                  <a:lnTo>
                    <a:pt x="20" y="54"/>
                  </a:lnTo>
                  <a:lnTo>
                    <a:pt x="20" y="52"/>
                  </a:lnTo>
                  <a:lnTo>
                    <a:pt x="20" y="50"/>
                  </a:lnTo>
                  <a:lnTo>
                    <a:pt x="20" y="48"/>
                  </a:lnTo>
                  <a:lnTo>
                    <a:pt x="22" y="46"/>
                  </a:lnTo>
                  <a:lnTo>
                    <a:pt x="22" y="44"/>
                  </a:lnTo>
                  <a:lnTo>
                    <a:pt x="22" y="42"/>
                  </a:lnTo>
                  <a:lnTo>
                    <a:pt x="22" y="40"/>
                  </a:lnTo>
                  <a:lnTo>
                    <a:pt x="22" y="38"/>
                  </a:lnTo>
                  <a:lnTo>
                    <a:pt x="22" y="36"/>
                  </a:lnTo>
                  <a:lnTo>
                    <a:pt x="24" y="36"/>
                  </a:lnTo>
                  <a:lnTo>
                    <a:pt x="24" y="34"/>
                  </a:lnTo>
                  <a:lnTo>
                    <a:pt x="24" y="32"/>
                  </a:lnTo>
                  <a:lnTo>
                    <a:pt x="24" y="30"/>
                  </a:lnTo>
                  <a:lnTo>
                    <a:pt x="24" y="28"/>
                  </a:lnTo>
                  <a:lnTo>
                    <a:pt x="24" y="26"/>
                  </a:lnTo>
                  <a:lnTo>
                    <a:pt x="26" y="26"/>
                  </a:lnTo>
                  <a:lnTo>
                    <a:pt x="26" y="24"/>
                  </a:lnTo>
                  <a:lnTo>
                    <a:pt x="26" y="22"/>
                  </a:lnTo>
                  <a:lnTo>
                    <a:pt x="26" y="20"/>
                  </a:lnTo>
                  <a:lnTo>
                    <a:pt x="26" y="18"/>
                  </a:lnTo>
                  <a:lnTo>
                    <a:pt x="26" y="16"/>
                  </a:lnTo>
                  <a:lnTo>
                    <a:pt x="28" y="16"/>
                  </a:lnTo>
                  <a:lnTo>
                    <a:pt x="28" y="14"/>
                  </a:lnTo>
                  <a:lnTo>
                    <a:pt x="28" y="12"/>
                  </a:lnTo>
                  <a:lnTo>
                    <a:pt x="28" y="12"/>
                  </a:lnTo>
                  <a:lnTo>
                    <a:pt x="28" y="10"/>
                  </a:lnTo>
                  <a:lnTo>
                    <a:pt x="28" y="8"/>
                  </a:lnTo>
                  <a:lnTo>
                    <a:pt x="30" y="6"/>
                  </a:lnTo>
                  <a:lnTo>
                    <a:pt x="30" y="4"/>
                  </a:lnTo>
                  <a:lnTo>
                    <a:pt x="30" y="2"/>
                  </a:lnTo>
                  <a:lnTo>
                    <a:pt x="30" y="0"/>
                  </a:lnTo>
                  <a:lnTo>
                    <a:pt x="32" y="0"/>
                  </a:lnTo>
                  <a:lnTo>
                    <a:pt x="34" y="0"/>
                  </a:lnTo>
                  <a:lnTo>
                    <a:pt x="38" y="0"/>
                  </a:lnTo>
                  <a:lnTo>
                    <a:pt x="40" y="2"/>
                  </a:lnTo>
                  <a:lnTo>
                    <a:pt x="42" y="2"/>
                  </a:lnTo>
                  <a:lnTo>
                    <a:pt x="42" y="2"/>
                  </a:lnTo>
                  <a:lnTo>
                    <a:pt x="44" y="2"/>
                  </a:lnTo>
                  <a:lnTo>
                    <a:pt x="46" y="2"/>
                  </a:lnTo>
                  <a:lnTo>
                    <a:pt x="48" y="2"/>
                  </a:lnTo>
                  <a:lnTo>
                    <a:pt x="48" y="4"/>
                  </a:lnTo>
                  <a:lnTo>
                    <a:pt x="50" y="4"/>
                  </a:lnTo>
                  <a:lnTo>
                    <a:pt x="52" y="4"/>
                  </a:lnTo>
                  <a:lnTo>
                    <a:pt x="54" y="4"/>
                  </a:lnTo>
                  <a:lnTo>
                    <a:pt x="56" y="4"/>
                  </a:lnTo>
                  <a:lnTo>
                    <a:pt x="64" y="6"/>
                  </a:lnTo>
                  <a:lnTo>
                    <a:pt x="66" y="6"/>
                  </a:lnTo>
                  <a:lnTo>
                    <a:pt x="68" y="6"/>
                  </a:lnTo>
                  <a:lnTo>
                    <a:pt x="70" y="6"/>
                  </a:lnTo>
                  <a:lnTo>
                    <a:pt x="70" y="8"/>
                  </a:lnTo>
                  <a:lnTo>
                    <a:pt x="72" y="8"/>
                  </a:lnTo>
                  <a:lnTo>
                    <a:pt x="74" y="8"/>
                  </a:lnTo>
                  <a:lnTo>
                    <a:pt x="76" y="8"/>
                  </a:lnTo>
                  <a:lnTo>
                    <a:pt x="78" y="8"/>
                  </a:lnTo>
                  <a:lnTo>
                    <a:pt x="80" y="8"/>
                  </a:lnTo>
                  <a:lnTo>
                    <a:pt x="82" y="10"/>
                  </a:lnTo>
                  <a:lnTo>
                    <a:pt x="84" y="10"/>
                  </a:lnTo>
                  <a:lnTo>
                    <a:pt x="90" y="10"/>
                  </a:lnTo>
                  <a:lnTo>
                    <a:pt x="90" y="10"/>
                  </a:lnTo>
                  <a:lnTo>
                    <a:pt x="92" y="10"/>
                  </a:lnTo>
                  <a:lnTo>
                    <a:pt x="94" y="12"/>
                  </a:lnTo>
                  <a:lnTo>
                    <a:pt x="96" y="12"/>
                  </a:lnTo>
                  <a:lnTo>
                    <a:pt x="98" y="12"/>
                  </a:lnTo>
                  <a:lnTo>
                    <a:pt x="100" y="12"/>
                  </a:lnTo>
                  <a:lnTo>
                    <a:pt x="102" y="12"/>
                  </a:lnTo>
                  <a:lnTo>
                    <a:pt x="106" y="12"/>
                  </a:lnTo>
                  <a:lnTo>
                    <a:pt x="108" y="12"/>
                  </a:lnTo>
                  <a:lnTo>
                    <a:pt x="110" y="12"/>
                  </a:lnTo>
                  <a:lnTo>
                    <a:pt x="112" y="12"/>
                  </a:lnTo>
                  <a:lnTo>
                    <a:pt x="114" y="12"/>
                  </a:lnTo>
                  <a:lnTo>
                    <a:pt x="116" y="12"/>
                  </a:lnTo>
                  <a:lnTo>
                    <a:pt x="118" y="14"/>
                  </a:lnTo>
                  <a:lnTo>
                    <a:pt x="120" y="14"/>
                  </a:lnTo>
                  <a:lnTo>
                    <a:pt x="122" y="14"/>
                  </a:lnTo>
                  <a:lnTo>
                    <a:pt x="124" y="14"/>
                  </a:lnTo>
                  <a:lnTo>
                    <a:pt x="126" y="14"/>
                  </a:lnTo>
                  <a:lnTo>
                    <a:pt x="128" y="14"/>
                  </a:lnTo>
                  <a:lnTo>
                    <a:pt x="130" y="14"/>
                  </a:lnTo>
                  <a:lnTo>
                    <a:pt x="130" y="16"/>
                  </a:lnTo>
                  <a:lnTo>
                    <a:pt x="132" y="16"/>
                  </a:lnTo>
                  <a:lnTo>
                    <a:pt x="134" y="16"/>
                  </a:lnTo>
                  <a:lnTo>
                    <a:pt x="136" y="16"/>
                  </a:lnTo>
                  <a:lnTo>
                    <a:pt x="138" y="16"/>
                  </a:lnTo>
                  <a:lnTo>
                    <a:pt x="138" y="16"/>
                  </a:lnTo>
                  <a:lnTo>
                    <a:pt x="140" y="16"/>
                  </a:lnTo>
                  <a:lnTo>
                    <a:pt x="142" y="16"/>
                  </a:lnTo>
                  <a:lnTo>
                    <a:pt x="144" y="18"/>
                  </a:lnTo>
                  <a:lnTo>
                    <a:pt x="146" y="18"/>
                  </a:lnTo>
                  <a:lnTo>
                    <a:pt x="148" y="18"/>
                  </a:lnTo>
                  <a:lnTo>
                    <a:pt x="150" y="18"/>
                  </a:lnTo>
                  <a:lnTo>
                    <a:pt x="154" y="18"/>
                  </a:lnTo>
                  <a:lnTo>
                    <a:pt x="156" y="18"/>
                  </a:lnTo>
                  <a:lnTo>
                    <a:pt x="158" y="18"/>
                  </a:lnTo>
                  <a:lnTo>
                    <a:pt x="158" y="20"/>
                  </a:lnTo>
                  <a:lnTo>
                    <a:pt x="160" y="20"/>
                  </a:lnTo>
                  <a:lnTo>
                    <a:pt x="162" y="20"/>
                  </a:lnTo>
                  <a:lnTo>
                    <a:pt x="164" y="20"/>
                  </a:lnTo>
                  <a:lnTo>
                    <a:pt x="166" y="20"/>
                  </a:lnTo>
                  <a:lnTo>
                    <a:pt x="168" y="20"/>
                  </a:lnTo>
                  <a:lnTo>
                    <a:pt x="170" y="20"/>
                  </a:lnTo>
                  <a:lnTo>
                    <a:pt x="172" y="20"/>
                  </a:lnTo>
                  <a:lnTo>
                    <a:pt x="174" y="22"/>
                  </a:lnTo>
                  <a:lnTo>
                    <a:pt x="176" y="22"/>
                  </a:lnTo>
                  <a:lnTo>
                    <a:pt x="178" y="22"/>
                  </a:lnTo>
                  <a:lnTo>
                    <a:pt x="180" y="22"/>
                  </a:lnTo>
                  <a:lnTo>
                    <a:pt x="184" y="22"/>
                  </a:lnTo>
                  <a:lnTo>
                    <a:pt x="186" y="22"/>
                  </a:lnTo>
                  <a:lnTo>
                    <a:pt x="186" y="22"/>
                  </a:lnTo>
                  <a:lnTo>
                    <a:pt x="188" y="24"/>
                  </a:lnTo>
                  <a:lnTo>
                    <a:pt x="190" y="24"/>
                  </a:lnTo>
                  <a:lnTo>
                    <a:pt x="194" y="24"/>
                  </a:lnTo>
                  <a:lnTo>
                    <a:pt x="196" y="24"/>
                  </a:lnTo>
                  <a:lnTo>
                    <a:pt x="232" y="28"/>
                  </a:lnTo>
                  <a:lnTo>
                    <a:pt x="254" y="30"/>
                  </a:lnTo>
                  <a:close/>
                </a:path>
              </a:pathLst>
            </a:custGeom>
            <a:solidFill>
              <a:srgbClr val="4D9926"/>
            </a:solidFill>
            <a:ln w="3175">
              <a:solidFill>
                <a:sysClr val="window" lastClr="FFFF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black"/>
                </a:solidFill>
                <a:effectLst/>
                <a:uLnTx/>
                <a:uFillTx/>
                <a:ea typeface="宋体" panose="02010600030101010101" pitchFamily="2" charset="-122"/>
              </a:endParaRPr>
            </a:p>
          </p:txBody>
        </p:sp>
        <p:sp>
          <p:nvSpPr>
            <p:cNvPr id="19" name="Freeform 2953">
              <a:extLst>
                <a:ext uri="{FF2B5EF4-FFF2-40B4-BE49-F238E27FC236}">
                  <a16:creationId xmlns:a16="http://schemas.microsoft.com/office/drawing/2014/main" id="{2A2239CC-CDF8-9855-38A3-1C2CA65236BC}"/>
                </a:ext>
              </a:extLst>
            </p:cNvPr>
            <p:cNvSpPr>
              <a:spLocks/>
            </p:cNvSpPr>
            <p:nvPr/>
          </p:nvSpPr>
          <p:spPr bwMode="auto">
            <a:xfrm>
              <a:off x="4741863" y="2957513"/>
              <a:ext cx="542925" cy="311150"/>
            </a:xfrm>
            <a:custGeom>
              <a:avLst/>
              <a:gdLst>
                <a:gd name="T0" fmla="*/ 42 w 342"/>
                <a:gd name="T1" fmla="*/ 2 h 196"/>
                <a:gd name="T2" fmla="*/ 60 w 342"/>
                <a:gd name="T3" fmla="*/ 6 h 196"/>
                <a:gd name="T4" fmla="*/ 80 w 342"/>
                <a:gd name="T5" fmla="*/ 10 h 196"/>
                <a:gd name="T6" fmla="*/ 100 w 342"/>
                <a:gd name="T7" fmla="*/ 14 h 196"/>
                <a:gd name="T8" fmla="*/ 122 w 342"/>
                <a:gd name="T9" fmla="*/ 16 h 196"/>
                <a:gd name="T10" fmla="*/ 146 w 342"/>
                <a:gd name="T11" fmla="*/ 20 h 196"/>
                <a:gd name="T12" fmla="*/ 164 w 342"/>
                <a:gd name="T13" fmla="*/ 24 h 196"/>
                <a:gd name="T14" fmla="*/ 182 w 342"/>
                <a:gd name="T15" fmla="*/ 26 h 196"/>
                <a:gd name="T16" fmla="*/ 202 w 342"/>
                <a:gd name="T17" fmla="*/ 28 h 196"/>
                <a:gd name="T18" fmla="*/ 224 w 342"/>
                <a:gd name="T19" fmla="*/ 30 h 196"/>
                <a:gd name="T20" fmla="*/ 236 w 342"/>
                <a:gd name="T21" fmla="*/ 38 h 196"/>
                <a:gd name="T22" fmla="*/ 250 w 342"/>
                <a:gd name="T23" fmla="*/ 46 h 196"/>
                <a:gd name="T24" fmla="*/ 266 w 342"/>
                <a:gd name="T25" fmla="*/ 42 h 196"/>
                <a:gd name="T26" fmla="*/ 278 w 342"/>
                <a:gd name="T27" fmla="*/ 44 h 196"/>
                <a:gd name="T28" fmla="*/ 288 w 342"/>
                <a:gd name="T29" fmla="*/ 50 h 196"/>
                <a:gd name="T30" fmla="*/ 296 w 342"/>
                <a:gd name="T31" fmla="*/ 58 h 196"/>
                <a:gd name="T32" fmla="*/ 308 w 342"/>
                <a:gd name="T33" fmla="*/ 66 h 196"/>
                <a:gd name="T34" fmla="*/ 310 w 342"/>
                <a:gd name="T35" fmla="*/ 76 h 196"/>
                <a:gd name="T36" fmla="*/ 314 w 342"/>
                <a:gd name="T37" fmla="*/ 88 h 196"/>
                <a:gd name="T38" fmla="*/ 316 w 342"/>
                <a:gd name="T39" fmla="*/ 96 h 196"/>
                <a:gd name="T40" fmla="*/ 318 w 342"/>
                <a:gd name="T41" fmla="*/ 106 h 196"/>
                <a:gd name="T42" fmla="*/ 320 w 342"/>
                <a:gd name="T43" fmla="*/ 116 h 196"/>
                <a:gd name="T44" fmla="*/ 322 w 342"/>
                <a:gd name="T45" fmla="*/ 126 h 196"/>
                <a:gd name="T46" fmla="*/ 322 w 342"/>
                <a:gd name="T47" fmla="*/ 134 h 196"/>
                <a:gd name="T48" fmla="*/ 326 w 342"/>
                <a:gd name="T49" fmla="*/ 142 h 196"/>
                <a:gd name="T50" fmla="*/ 322 w 342"/>
                <a:gd name="T51" fmla="*/ 158 h 196"/>
                <a:gd name="T52" fmla="*/ 328 w 342"/>
                <a:gd name="T53" fmla="*/ 168 h 196"/>
                <a:gd name="T54" fmla="*/ 330 w 342"/>
                <a:gd name="T55" fmla="*/ 174 h 196"/>
                <a:gd name="T56" fmla="*/ 334 w 342"/>
                <a:gd name="T57" fmla="*/ 184 h 196"/>
                <a:gd name="T58" fmla="*/ 342 w 342"/>
                <a:gd name="T59" fmla="*/ 194 h 196"/>
                <a:gd name="T60" fmla="*/ 326 w 342"/>
                <a:gd name="T61" fmla="*/ 194 h 196"/>
                <a:gd name="T62" fmla="*/ 304 w 342"/>
                <a:gd name="T63" fmla="*/ 194 h 196"/>
                <a:gd name="T64" fmla="*/ 286 w 342"/>
                <a:gd name="T65" fmla="*/ 192 h 196"/>
                <a:gd name="T66" fmla="*/ 270 w 342"/>
                <a:gd name="T67" fmla="*/ 190 h 196"/>
                <a:gd name="T68" fmla="*/ 250 w 342"/>
                <a:gd name="T69" fmla="*/ 190 h 196"/>
                <a:gd name="T70" fmla="*/ 232 w 342"/>
                <a:gd name="T71" fmla="*/ 188 h 196"/>
                <a:gd name="T72" fmla="*/ 212 w 342"/>
                <a:gd name="T73" fmla="*/ 188 h 196"/>
                <a:gd name="T74" fmla="*/ 194 w 342"/>
                <a:gd name="T75" fmla="*/ 186 h 196"/>
                <a:gd name="T76" fmla="*/ 178 w 342"/>
                <a:gd name="T77" fmla="*/ 182 h 196"/>
                <a:gd name="T78" fmla="*/ 160 w 342"/>
                <a:gd name="T79" fmla="*/ 180 h 196"/>
                <a:gd name="T80" fmla="*/ 142 w 342"/>
                <a:gd name="T81" fmla="*/ 178 h 196"/>
                <a:gd name="T82" fmla="*/ 124 w 342"/>
                <a:gd name="T83" fmla="*/ 176 h 196"/>
                <a:gd name="T84" fmla="*/ 100 w 342"/>
                <a:gd name="T85" fmla="*/ 172 h 196"/>
                <a:gd name="T86" fmla="*/ 84 w 342"/>
                <a:gd name="T87" fmla="*/ 170 h 196"/>
                <a:gd name="T88" fmla="*/ 72 w 342"/>
                <a:gd name="T89" fmla="*/ 160 h 196"/>
                <a:gd name="T90" fmla="*/ 76 w 342"/>
                <a:gd name="T91" fmla="*/ 142 h 196"/>
                <a:gd name="T92" fmla="*/ 78 w 342"/>
                <a:gd name="T93" fmla="*/ 126 h 196"/>
                <a:gd name="T94" fmla="*/ 74 w 342"/>
                <a:gd name="T95" fmla="*/ 114 h 196"/>
                <a:gd name="T96" fmla="*/ 54 w 342"/>
                <a:gd name="T97" fmla="*/ 112 h 196"/>
                <a:gd name="T98" fmla="*/ 36 w 342"/>
                <a:gd name="T99" fmla="*/ 108 h 196"/>
                <a:gd name="T100" fmla="*/ 20 w 342"/>
                <a:gd name="T101" fmla="*/ 104 h 196"/>
                <a:gd name="T102" fmla="*/ 0 w 342"/>
                <a:gd name="T103" fmla="*/ 102 h 196"/>
                <a:gd name="T104" fmla="*/ 4 w 342"/>
                <a:gd name="T105" fmla="*/ 86 h 196"/>
                <a:gd name="T106" fmla="*/ 8 w 342"/>
                <a:gd name="T107" fmla="*/ 68 h 196"/>
                <a:gd name="T108" fmla="*/ 12 w 342"/>
                <a:gd name="T109" fmla="*/ 50 h 196"/>
                <a:gd name="T110" fmla="*/ 14 w 342"/>
                <a:gd name="T111" fmla="*/ 32 h 196"/>
                <a:gd name="T112" fmla="*/ 18 w 342"/>
                <a:gd name="T113" fmla="*/ 12 h 196"/>
                <a:gd name="T114" fmla="*/ 24 w 342"/>
                <a:gd name="T115" fmla="*/ 0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42" h="196">
                  <a:moveTo>
                    <a:pt x="26" y="0"/>
                  </a:moveTo>
                  <a:lnTo>
                    <a:pt x="28" y="0"/>
                  </a:lnTo>
                  <a:lnTo>
                    <a:pt x="30" y="0"/>
                  </a:lnTo>
                  <a:lnTo>
                    <a:pt x="32" y="0"/>
                  </a:lnTo>
                  <a:lnTo>
                    <a:pt x="34" y="0"/>
                  </a:lnTo>
                  <a:lnTo>
                    <a:pt x="34" y="2"/>
                  </a:lnTo>
                  <a:lnTo>
                    <a:pt x="36" y="2"/>
                  </a:lnTo>
                  <a:lnTo>
                    <a:pt x="38" y="2"/>
                  </a:lnTo>
                  <a:lnTo>
                    <a:pt x="40" y="2"/>
                  </a:lnTo>
                  <a:lnTo>
                    <a:pt x="42" y="2"/>
                  </a:lnTo>
                  <a:lnTo>
                    <a:pt x="44" y="2"/>
                  </a:lnTo>
                  <a:lnTo>
                    <a:pt x="44" y="4"/>
                  </a:lnTo>
                  <a:lnTo>
                    <a:pt x="44" y="4"/>
                  </a:lnTo>
                  <a:lnTo>
                    <a:pt x="46" y="4"/>
                  </a:lnTo>
                  <a:lnTo>
                    <a:pt x="48" y="4"/>
                  </a:lnTo>
                  <a:lnTo>
                    <a:pt x="50" y="4"/>
                  </a:lnTo>
                  <a:lnTo>
                    <a:pt x="52" y="4"/>
                  </a:lnTo>
                  <a:lnTo>
                    <a:pt x="56" y="6"/>
                  </a:lnTo>
                  <a:lnTo>
                    <a:pt x="58" y="6"/>
                  </a:lnTo>
                  <a:lnTo>
                    <a:pt x="60" y="6"/>
                  </a:lnTo>
                  <a:lnTo>
                    <a:pt x="62" y="6"/>
                  </a:lnTo>
                  <a:lnTo>
                    <a:pt x="64" y="6"/>
                  </a:lnTo>
                  <a:lnTo>
                    <a:pt x="64" y="8"/>
                  </a:lnTo>
                  <a:lnTo>
                    <a:pt x="66" y="8"/>
                  </a:lnTo>
                  <a:lnTo>
                    <a:pt x="68" y="8"/>
                  </a:lnTo>
                  <a:lnTo>
                    <a:pt x="70" y="8"/>
                  </a:lnTo>
                  <a:lnTo>
                    <a:pt x="74" y="8"/>
                  </a:lnTo>
                  <a:lnTo>
                    <a:pt x="76" y="8"/>
                  </a:lnTo>
                  <a:lnTo>
                    <a:pt x="78" y="10"/>
                  </a:lnTo>
                  <a:lnTo>
                    <a:pt x="80" y="10"/>
                  </a:lnTo>
                  <a:lnTo>
                    <a:pt x="82" y="10"/>
                  </a:lnTo>
                  <a:lnTo>
                    <a:pt x="84" y="10"/>
                  </a:lnTo>
                  <a:lnTo>
                    <a:pt x="86" y="10"/>
                  </a:lnTo>
                  <a:lnTo>
                    <a:pt x="90" y="12"/>
                  </a:lnTo>
                  <a:lnTo>
                    <a:pt x="92" y="12"/>
                  </a:lnTo>
                  <a:lnTo>
                    <a:pt x="92" y="12"/>
                  </a:lnTo>
                  <a:lnTo>
                    <a:pt x="94" y="12"/>
                  </a:lnTo>
                  <a:lnTo>
                    <a:pt x="96" y="12"/>
                  </a:lnTo>
                  <a:lnTo>
                    <a:pt x="98" y="12"/>
                  </a:lnTo>
                  <a:lnTo>
                    <a:pt x="100" y="14"/>
                  </a:lnTo>
                  <a:lnTo>
                    <a:pt x="102" y="14"/>
                  </a:lnTo>
                  <a:lnTo>
                    <a:pt x="104" y="14"/>
                  </a:lnTo>
                  <a:lnTo>
                    <a:pt x="106" y="14"/>
                  </a:lnTo>
                  <a:lnTo>
                    <a:pt x="108" y="14"/>
                  </a:lnTo>
                  <a:lnTo>
                    <a:pt x="112" y="16"/>
                  </a:lnTo>
                  <a:lnTo>
                    <a:pt x="114" y="16"/>
                  </a:lnTo>
                  <a:lnTo>
                    <a:pt x="116" y="16"/>
                  </a:lnTo>
                  <a:lnTo>
                    <a:pt x="118" y="16"/>
                  </a:lnTo>
                  <a:lnTo>
                    <a:pt x="120" y="16"/>
                  </a:lnTo>
                  <a:lnTo>
                    <a:pt x="122" y="16"/>
                  </a:lnTo>
                  <a:lnTo>
                    <a:pt x="124" y="18"/>
                  </a:lnTo>
                  <a:lnTo>
                    <a:pt x="126" y="18"/>
                  </a:lnTo>
                  <a:lnTo>
                    <a:pt x="128" y="18"/>
                  </a:lnTo>
                  <a:lnTo>
                    <a:pt x="136" y="18"/>
                  </a:lnTo>
                  <a:lnTo>
                    <a:pt x="138" y="20"/>
                  </a:lnTo>
                  <a:lnTo>
                    <a:pt x="140" y="20"/>
                  </a:lnTo>
                  <a:lnTo>
                    <a:pt x="140" y="20"/>
                  </a:lnTo>
                  <a:lnTo>
                    <a:pt x="142" y="20"/>
                  </a:lnTo>
                  <a:lnTo>
                    <a:pt x="144" y="20"/>
                  </a:lnTo>
                  <a:lnTo>
                    <a:pt x="146" y="20"/>
                  </a:lnTo>
                  <a:lnTo>
                    <a:pt x="148" y="20"/>
                  </a:lnTo>
                  <a:lnTo>
                    <a:pt x="150" y="22"/>
                  </a:lnTo>
                  <a:lnTo>
                    <a:pt x="152" y="22"/>
                  </a:lnTo>
                  <a:lnTo>
                    <a:pt x="154" y="22"/>
                  </a:lnTo>
                  <a:lnTo>
                    <a:pt x="156" y="22"/>
                  </a:lnTo>
                  <a:lnTo>
                    <a:pt x="158" y="22"/>
                  </a:lnTo>
                  <a:lnTo>
                    <a:pt x="160" y="22"/>
                  </a:lnTo>
                  <a:lnTo>
                    <a:pt x="162" y="22"/>
                  </a:lnTo>
                  <a:lnTo>
                    <a:pt x="164" y="22"/>
                  </a:lnTo>
                  <a:lnTo>
                    <a:pt x="164" y="24"/>
                  </a:lnTo>
                  <a:lnTo>
                    <a:pt x="166" y="24"/>
                  </a:lnTo>
                  <a:lnTo>
                    <a:pt x="168" y="24"/>
                  </a:lnTo>
                  <a:lnTo>
                    <a:pt x="170" y="24"/>
                  </a:lnTo>
                  <a:lnTo>
                    <a:pt x="172" y="24"/>
                  </a:lnTo>
                  <a:lnTo>
                    <a:pt x="174" y="24"/>
                  </a:lnTo>
                  <a:lnTo>
                    <a:pt x="176" y="24"/>
                  </a:lnTo>
                  <a:lnTo>
                    <a:pt x="178" y="24"/>
                  </a:lnTo>
                  <a:lnTo>
                    <a:pt x="180" y="24"/>
                  </a:lnTo>
                  <a:lnTo>
                    <a:pt x="180" y="26"/>
                  </a:lnTo>
                  <a:lnTo>
                    <a:pt x="182" y="26"/>
                  </a:lnTo>
                  <a:lnTo>
                    <a:pt x="184" y="26"/>
                  </a:lnTo>
                  <a:lnTo>
                    <a:pt x="186" y="26"/>
                  </a:lnTo>
                  <a:lnTo>
                    <a:pt x="188" y="26"/>
                  </a:lnTo>
                  <a:lnTo>
                    <a:pt x="188" y="26"/>
                  </a:lnTo>
                  <a:lnTo>
                    <a:pt x="190" y="26"/>
                  </a:lnTo>
                  <a:lnTo>
                    <a:pt x="192" y="26"/>
                  </a:lnTo>
                  <a:lnTo>
                    <a:pt x="196" y="28"/>
                  </a:lnTo>
                  <a:lnTo>
                    <a:pt x="198" y="28"/>
                  </a:lnTo>
                  <a:lnTo>
                    <a:pt x="200" y="28"/>
                  </a:lnTo>
                  <a:lnTo>
                    <a:pt x="202" y="28"/>
                  </a:lnTo>
                  <a:lnTo>
                    <a:pt x="204" y="28"/>
                  </a:lnTo>
                  <a:lnTo>
                    <a:pt x="206" y="28"/>
                  </a:lnTo>
                  <a:lnTo>
                    <a:pt x="208" y="28"/>
                  </a:lnTo>
                  <a:lnTo>
                    <a:pt x="212" y="30"/>
                  </a:lnTo>
                  <a:lnTo>
                    <a:pt x="214" y="30"/>
                  </a:lnTo>
                  <a:lnTo>
                    <a:pt x="216" y="30"/>
                  </a:lnTo>
                  <a:lnTo>
                    <a:pt x="218" y="30"/>
                  </a:lnTo>
                  <a:lnTo>
                    <a:pt x="220" y="30"/>
                  </a:lnTo>
                  <a:lnTo>
                    <a:pt x="222" y="30"/>
                  </a:lnTo>
                  <a:lnTo>
                    <a:pt x="224" y="30"/>
                  </a:lnTo>
                  <a:lnTo>
                    <a:pt x="226" y="30"/>
                  </a:lnTo>
                  <a:lnTo>
                    <a:pt x="228" y="30"/>
                  </a:lnTo>
                  <a:lnTo>
                    <a:pt x="230" y="32"/>
                  </a:lnTo>
                  <a:lnTo>
                    <a:pt x="232" y="32"/>
                  </a:lnTo>
                  <a:lnTo>
                    <a:pt x="232" y="34"/>
                  </a:lnTo>
                  <a:lnTo>
                    <a:pt x="232" y="36"/>
                  </a:lnTo>
                  <a:lnTo>
                    <a:pt x="234" y="36"/>
                  </a:lnTo>
                  <a:lnTo>
                    <a:pt x="236" y="36"/>
                  </a:lnTo>
                  <a:lnTo>
                    <a:pt x="236" y="38"/>
                  </a:lnTo>
                  <a:lnTo>
                    <a:pt x="236" y="38"/>
                  </a:lnTo>
                  <a:lnTo>
                    <a:pt x="238" y="38"/>
                  </a:lnTo>
                  <a:lnTo>
                    <a:pt x="238" y="40"/>
                  </a:lnTo>
                  <a:lnTo>
                    <a:pt x="240" y="40"/>
                  </a:lnTo>
                  <a:lnTo>
                    <a:pt x="242" y="42"/>
                  </a:lnTo>
                  <a:lnTo>
                    <a:pt x="244" y="42"/>
                  </a:lnTo>
                  <a:lnTo>
                    <a:pt x="244" y="44"/>
                  </a:lnTo>
                  <a:lnTo>
                    <a:pt x="246" y="44"/>
                  </a:lnTo>
                  <a:lnTo>
                    <a:pt x="246" y="46"/>
                  </a:lnTo>
                  <a:lnTo>
                    <a:pt x="248" y="46"/>
                  </a:lnTo>
                  <a:lnTo>
                    <a:pt x="250" y="46"/>
                  </a:lnTo>
                  <a:lnTo>
                    <a:pt x="250" y="44"/>
                  </a:lnTo>
                  <a:lnTo>
                    <a:pt x="252" y="44"/>
                  </a:lnTo>
                  <a:lnTo>
                    <a:pt x="252" y="42"/>
                  </a:lnTo>
                  <a:lnTo>
                    <a:pt x="254" y="40"/>
                  </a:lnTo>
                  <a:lnTo>
                    <a:pt x="256" y="42"/>
                  </a:lnTo>
                  <a:lnTo>
                    <a:pt x="258" y="42"/>
                  </a:lnTo>
                  <a:lnTo>
                    <a:pt x="260" y="42"/>
                  </a:lnTo>
                  <a:lnTo>
                    <a:pt x="262" y="42"/>
                  </a:lnTo>
                  <a:lnTo>
                    <a:pt x="264" y="42"/>
                  </a:lnTo>
                  <a:lnTo>
                    <a:pt x="266" y="42"/>
                  </a:lnTo>
                  <a:lnTo>
                    <a:pt x="268" y="42"/>
                  </a:lnTo>
                  <a:lnTo>
                    <a:pt x="268" y="44"/>
                  </a:lnTo>
                  <a:lnTo>
                    <a:pt x="270" y="44"/>
                  </a:lnTo>
                  <a:lnTo>
                    <a:pt x="270" y="42"/>
                  </a:lnTo>
                  <a:lnTo>
                    <a:pt x="272" y="42"/>
                  </a:lnTo>
                  <a:lnTo>
                    <a:pt x="274" y="44"/>
                  </a:lnTo>
                  <a:lnTo>
                    <a:pt x="274" y="42"/>
                  </a:lnTo>
                  <a:lnTo>
                    <a:pt x="276" y="42"/>
                  </a:lnTo>
                  <a:lnTo>
                    <a:pt x="276" y="44"/>
                  </a:lnTo>
                  <a:lnTo>
                    <a:pt x="278" y="44"/>
                  </a:lnTo>
                  <a:lnTo>
                    <a:pt x="278" y="46"/>
                  </a:lnTo>
                  <a:lnTo>
                    <a:pt x="280" y="46"/>
                  </a:lnTo>
                  <a:lnTo>
                    <a:pt x="282" y="46"/>
                  </a:lnTo>
                  <a:lnTo>
                    <a:pt x="282" y="46"/>
                  </a:lnTo>
                  <a:lnTo>
                    <a:pt x="284" y="46"/>
                  </a:lnTo>
                  <a:lnTo>
                    <a:pt x="284" y="46"/>
                  </a:lnTo>
                  <a:lnTo>
                    <a:pt x="284" y="48"/>
                  </a:lnTo>
                  <a:lnTo>
                    <a:pt x="286" y="48"/>
                  </a:lnTo>
                  <a:lnTo>
                    <a:pt x="286" y="50"/>
                  </a:lnTo>
                  <a:lnTo>
                    <a:pt x="288" y="50"/>
                  </a:lnTo>
                  <a:lnTo>
                    <a:pt x="290" y="50"/>
                  </a:lnTo>
                  <a:lnTo>
                    <a:pt x="292" y="50"/>
                  </a:lnTo>
                  <a:lnTo>
                    <a:pt x="292" y="52"/>
                  </a:lnTo>
                  <a:lnTo>
                    <a:pt x="292" y="54"/>
                  </a:lnTo>
                  <a:lnTo>
                    <a:pt x="294" y="54"/>
                  </a:lnTo>
                  <a:lnTo>
                    <a:pt x="296" y="54"/>
                  </a:lnTo>
                  <a:lnTo>
                    <a:pt x="298" y="54"/>
                  </a:lnTo>
                  <a:lnTo>
                    <a:pt x="296" y="54"/>
                  </a:lnTo>
                  <a:lnTo>
                    <a:pt x="296" y="56"/>
                  </a:lnTo>
                  <a:lnTo>
                    <a:pt x="296" y="58"/>
                  </a:lnTo>
                  <a:lnTo>
                    <a:pt x="298" y="58"/>
                  </a:lnTo>
                  <a:lnTo>
                    <a:pt x="298" y="60"/>
                  </a:lnTo>
                  <a:lnTo>
                    <a:pt x="298" y="62"/>
                  </a:lnTo>
                  <a:lnTo>
                    <a:pt x="300" y="62"/>
                  </a:lnTo>
                  <a:lnTo>
                    <a:pt x="302" y="62"/>
                  </a:lnTo>
                  <a:lnTo>
                    <a:pt x="304" y="62"/>
                  </a:lnTo>
                  <a:lnTo>
                    <a:pt x="304" y="64"/>
                  </a:lnTo>
                  <a:lnTo>
                    <a:pt x="306" y="64"/>
                  </a:lnTo>
                  <a:lnTo>
                    <a:pt x="308" y="64"/>
                  </a:lnTo>
                  <a:lnTo>
                    <a:pt x="308" y="66"/>
                  </a:lnTo>
                  <a:lnTo>
                    <a:pt x="308" y="68"/>
                  </a:lnTo>
                  <a:lnTo>
                    <a:pt x="306" y="68"/>
                  </a:lnTo>
                  <a:lnTo>
                    <a:pt x="306" y="70"/>
                  </a:lnTo>
                  <a:lnTo>
                    <a:pt x="308" y="70"/>
                  </a:lnTo>
                  <a:lnTo>
                    <a:pt x="306" y="70"/>
                  </a:lnTo>
                  <a:lnTo>
                    <a:pt x="306" y="72"/>
                  </a:lnTo>
                  <a:lnTo>
                    <a:pt x="308" y="72"/>
                  </a:lnTo>
                  <a:lnTo>
                    <a:pt x="308" y="74"/>
                  </a:lnTo>
                  <a:lnTo>
                    <a:pt x="308" y="76"/>
                  </a:lnTo>
                  <a:lnTo>
                    <a:pt x="310" y="76"/>
                  </a:lnTo>
                  <a:lnTo>
                    <a:pt x="310" y="78"/>
                  </a:lnTo>
                  <a:lnTo>
                    <a:pt x="308" y="78"/>
                  </a:lnTo>
                  <a:lnTo>
                    <a:pt x="308" y="80"/>
                  </a:lnTo>
                  <a:lnTo>
                    <a:pt x="308" y="82"/>
                  </a:lnTo>
                  <a:lnTo>
                    <a:pt x="310" y="82"/>
                  </a:lnTo>
                  <a:lnTo>
                    <a:pt x="310" y="84"/>
                  </a:lnTo>
                  <a:lnTo>
                    <a:pt x="312" y="84"/>
                  </a:lnTo>
                  <a:lnTo>
                    <a:pt x="312" y="86"/>
                  </a:lnTo>
                  <a:lnTo>
                    <a:pt x="312" y="88"/>
                  </a:lnTo>
                  <a:lnTo>
                    <a:pt x="314" y="88"/>
                  </a:lnTo>
                  <a:lnTo>
                    <a:pt x="314" y="90"/>
                  </a:lnTo>
                  <a:lnTo>
                    <a:pt x="312" y="90"/>
                  </a:lnTo>
                  <a:lnTo>
                    <a:pt x="312" y="92"/>
                  </a:lnTo>
                  <a:lnTo>
                    <a:pt x="314" y="92"/>
                  </a:lnTo>
                  <a:lnTo>
                    <a:pt x="314" y="90"/>
                  </a:lnTo>
                  <a:lnTo>
                    <a:pt x="314" y="92"/>
                  </a:lnTo>
                  <a:lnTo>
                    <a:pt x="316" y="92"/>
                  </a:lnTo>
                  <a:lnTo>
                    <a:pt x="316" y="94"/>
                  </a:lnTo>
                  <a:lnTo>
                    <a:pt x="316" y="94"/>
                  </a:lnTo>
                  <a:lnTo>
                    <a:pt x="316" y="96"/>
                  </a:lnTo>
                  <a:lnTo>
                    <a:pt x="316" y="98"/>
                  </a:lnTo>
                  <a:lnTo>
                    <a:pt x="318" y="98"/>
                  </a:lnTo>
                  <a:lnTo>
                    <a:pt x="316" y="98"/>
                  </a:lnTo>
                  <a:lnTo>
                    <a:pt x="318" y="98"/>
                  </a:lnTo>
                  <a:lnTo>
                    <a:pt x="318" y="100"/>
                  </a:lnTo>
                  <a:lnTo>
                    <a:pt x="318" y="102"/>
                  </a:lnTo>
                  <a:lnTo>
                    <a:pt x="316" y="102"/>
                  </a:lnTo>
                  <a:lnTo>
                    <a:pt x="316" y="104"/>
                  </a:lnTo>
                  <a:lnTo>
                    <a:pt x="318" y="104"/>
                  </a:lnTo>
                  <a:lnTo>
                    <a:pt x="318" y="106"/>
                  </a:lnTo>
                  <a:lnTo>
                    <a:pt x="316" y="106"/>
                  </a:lnTo>
                  <a:lnTo>
                    <a:pt x="316" y="108"/>
                  </a:lnTo>
                  <a:lnTo>
                    <a:pt x="316" y="110"/>
                  </a:lnTo>
                  <a:lnTo>
                    <a:pt x="316" y="112"/>
                  </a:lnTo>
                  <a:lnTo>
                    <a:pt x="318" y="112"/>
                  </a:lnTo>
                  <a:lnTo>
                    <a:pt x="316" y="112"/>
                  </a:lnTo>
                  <a:lnTo>
                    <a:pt x="316" y="114"/>
                  </a:lnTo>
                  <a:lnTo>
                    <a:pt x="318" y="114"/>
                  </a:lnTo>
                  <a:lnTo>
                    <a:pt x="318" y="116"/>
                  </a:lnTo>
                  <a:lnTo>
                    <a:pt x="320" y="116"/>
                  </a:lnTo>
                  <a:lnTo>
                    <a:pt x="320" y="114"/>
                  </a:lnTo>
                  <a:lnTo>
                    <a:pt x="320" y="116"/>
                  </a:lnTo>
                  <a:lnTo>
                    <a:pt x="320" y="118"/>
                  </a:lnTo>
                  <a:lnTo>
                    <a:pt x="322" y="118"/>
                  </a:lnTo>
                  <a:lnTo>
                    <a:pt x="324" y="118"/>
                  </a:lnTo>
                  <a:lnTo>
                    <a:pt x="324" y="120"/>
                  </a:lnTo>
                  <a:lnTo>
                    <a:pt x="322" y="120"/>
                  </a:lnTo>
                  <a:lnTo>
                    <a:pt x="322" y="122"/>
                  </a:lnTo>
                  <a:lnTo>
                    <a:pt x="322" y="124"/>
                  </a:lnTo>
                  <a:lnTo>
                    <a:pt x="322" y="126"/>
                  </a:lnTo>
                  <a:lnTo>
                    <a:pt x="324" y="126"/>
                  </a:lnTo>
                  <a:lnTo>
                    <a:pt x="324" y="128"/>
                  </a:lnTo>
                  <a:lnTo>
                    <a:pt x="324" y="130"/>
                  </a:lnTo>
                  <a:lnTo>
                    <a:pt x="324" y="128"/>
                  </a:lnTo>
                  <a:lnTo>
                    <a:pt x="322" y="128"/>
                  </a:lnTo>
                  <a:lnTo>
                    <a:pt x="322" y="130"/>
                  </a:lnTo>
                  <a:lnTo>
                    <a:pt x="324" y="130"/>
                  </a:lnTo>
                  <a:lnTo>
                    <a:pt x="324" y="132"/>
                  </a:lnTo>
                  <a:lnTo>
                    <a:pt x="322" y="132"/>
                  </a:lnTo>
                  <a:lnTo>
                    <a:pt x="322" y="134"/>
                  </a:lnTo>
                  <a:lnTo>
                    <a:pt x="324" y="134"/>
                  </a:lnTo>
                  <a:lnTo>
                    <a:pt x="326" y="134"/>
                  </a:lnTo>
                  <a:lnTo>
                    <a:pt x="326" y="136"/>
                  </a:lnTo>
                  <a:lnTo>
                    <a:pt x="324" y="134"/>
                  </a:lnTo>
                  <a:lnTo>
                    <a:pt x="324" y="136"/>
                  </a:lnTo>
                  <a:lnTo>
                    <a:pt x="324" y="138"/>
                  </a:lnTo>
                  <a:lnTo>
                    <a:pt x="324" y="140"/>
                  </a:lnTo>
                  <a:lnTo>
                    <a:pt x="324" y="142"/>
                  </a:lnTo>
                  <a:lnTo>
                    <a:pt x="324" y="142"/>
                  </a:lnTo>
                  <a:lnTo>
                    <a:pt x="326" y="142"/>
                  </a:lnTo>
                  <a:lnTo>
                    <a:pt x="326" y="144"/>
                  </a:lnTo>
                  <a:lnTo>
                    <a:pt x="324" y="146"/>
                  </a:lnTo>
                  <a:lnTo>
                    <a:pt x="326" y="146"/>
                  </a:lnTo>
                  <a:lnTo>
                    <a:pt x="326" y="148"/>
                  </a:lnTo>
                  <a:lnTo>
                    <a:pt x="324" y="150"/>
                  </a:lnTo>
                  <a:lnTo>
                    <a:pt x="324" y="152"/>
                  </a:lnTo>
                  <a:lnTo>
                    <a:pt x="324" y="154"/>
                  </a:lnTo>
                  <a:lnTo>
                    <a:pt x="324" y="156"/>
                  </a:lnTo>
                  <a:lnTo>
                    <a:pt x="322" y="156"/>
                  </a:lnTo>
                  <a:lnTo>
                    <a:pt x="322" y="158"/>
                  </a:lnTo>
                  <a:lnTo>
                    <a:pt x="324" y="158"/>
                  </a:lnTo>
                  <a:lnTo>
                    <a:pt x="324" y="160"/>
                  </a:lnTo>
                  <a:lnTo>
                    <a:pt x="326" y="160"/>
                  </a:lnTo>
                  <a:lnTo>
                    <a:pt x="326" y="162"/>
                  </a:lnTo>
                  <a:lnTo>
                    <a:pt x="326" y="164"/>
                  </a:lnTo>
                  <a:lnTo>
                    <a:pt x="328" y="164"/>
                  </a:lnTo>
                  <a:lnTo>
                    <a:pt x="326" y="164"/>
                  </a:lnTo>
                  <a:lnTo>
                    <a:pt x="326" y="166"/>
                  </a:lnTo>
                  <a:lnTo>
                    <a:pt x="326" y="168"/>
                  </a:lnTo>
                  <a:lnTo>
                    <a:pt x="328" y="168"/>
                  </a:lnTo>
                  <a:lnTo>
                    <a:pt x="330" y="168"/>
                  </a:lnTo>
                  <a:lnTo>
                    <a:pt x="330" y="166"/>
                  </a:lnTo>
                  <a:lnTo>
                    <a:pt x="330" y="168"/>
                  </a:lnTo>
                  <a:lnTo>
                    <a:pt x="332" y="168"/>
                  </a:lnTo>
                  <a:lnTo>
                    <a:pt x="330" y="168"/>
                  </a:lnTo>
                  <a:lnTo>
                    <a:pt x="330" y="170"/>
                  </a:lnTo>
                  <a:lnTo>
                    <a:pt x="330" y="172"/>
                  </a:lnTo>
                  <a:lnTo>
                    <a:pt x="332" y="172"/>
                  </a:lnTo>
                  <a:lnTo>
                    <a:pt x="332" y="174"/>
                  </a:lnTo>
                  <a:lnTo>
                    <a:pt x="330" y="174"/>
                  </a:lnTo>
                  <a:lnTo>
                    <a:pt x="330" y="176"/>
                  </a:lnTo>
                  <a:lnTo>
                    <a:pt x="332" y="176"/>
                  </a:lnTo>
                  <a:lnTo>
                    <a:pt x="332" y="178"/>
                  </a:lnTo>
                  <a:lnTo>
                    <a:pt x="332" y="180"/>
                  </a:lnTo>
                  <a:lnTo>
                    <a:pt x="330" y="180"/>
                  </a:lnTo>
                  <a:lnTo>
                    <a:pt x="332" y="180"/>
                  </a:lnTo>
                  <a:lnTo>
                    <a:pt x="332" y="180"/>
                  </a:lnTo>
                  <a:lnTo>
                    <a:pt x="332" y="182"/>
                  </a:lnTo>
                  <a:lnTo>
                    <a:pt x="332" y="184"/>
                  </a:lnTo>
                  <a:lnTo>
                    <a:pt x="334" y="184"/>
                  </a:lnTo>
                  <a:lnTo>
                    <a:pt x="336" y="184"/>
                  </a:lnTo>
                  <a:lnTo>
                    <a:pt x="336" y="186"/>
                  </a:lnTo>
                  <a:lnTo>
                    <a:pt x="336" y="188"/>
                  </a:lnTo>
                  <a:lnTo>
                    <a:pt x="338" y="188"/>
                  </a:lnTo>
                  <a:lnTo>
                    <a:pt x="338" y="190"/>
                  </a:lnTo>
                  <a:lnTo>
                    <a:pt x="338" y="190"/>
                  </a:lnTo>
                  <a:lnTo>
                    <a:pt x="338" y="192"/>
                  </a:lnTo>
                  <a:lnTo>
                    <a:pt x="338" y="194"/>
                  </a:lnTo>
                  <a:lnTo>
                    <a:pt x="340" y="194"/>
                  </a:lnTo>
                  <a:lnTo>
                    <a:pt x="342" y="194"/>
                  </a:lnTo>
                  <a:lnTo>
                    <a:pt x="342" y="196"/>
                  </a:lnTo>
                  <a:lnTo>
                    <a:pt x="340" y="196"/>
                  </a:lnTo>
                  <a:lnTo>
                    <a:pt x="338" y="196"/>
                  </a:lnTo>
                  <a:lnTo>
                    <a:pt x="336" y="196"/>
                  </a:lnTo>
                  <a:lnTo>
                    <a:pt x="334" y="196"/>
                  </a:lnTo>
                  <a:lnTo>
                    <a:pt x="332" y="196"/>
                  </a:lnTo>
                  <a:lnTo>
                    <a:pt x="330" y="196"/>
                  </a:lnTo>
                  <a:lnTo>
                    <a:pt x="328" y="196"/>
                  </a:lnTo>
                  <a:lnTo>
                    <a:pt x="328" y="194"/>
                  </a:lnTo>
                  <a:lnTo>
                    <a:pt x="326" y="194"/>
                  </a:lnTo>
                  <a:lnTo>
                    <a:pt x="324" y="194"/>
                  </a:lnTo>
                  <a:lnTo>
                    <a:pt x="322" y="194"/>
                  </a:lnTo>
                  <a:lnTo>
                    <a:pt x="320" y="194"/>
                  </a:lnTo>
                  <a:lnTo>
                    <a:pt x="316" y="194"/>
                  </a:lnTo>
                  <a:lnTo>
                    <a:pt x="314" y="194"/>
                  </a:lnTo>
                  <a:lnTo>
                    <a:pt x="312" y="194"/>
                  </a:lnTo>
                  <a:lnTo>
                    <a:pt x="310" y="194"/>
                  </a:lnTo>
                  <a:lnTo>
                    <a:pt x="308" y="194"/>
                  </a:lnTo>
                  <a:lnTo>
                    <a:pt x="306" y="194"/>
                  </a:lnTo>
                  <a:lnTo>
                    <a:pt x="304" y="194"/>
                  </a:lnTo>
                  <a:lnTo>
                    <a:pt x="302" y="194"/>
                  </a:lnTo>
                  <a:lnTo>
                    <a:pt x="300" y="194"/>
                  </a:lnTo>
                  <a:lnTo>
                    <a:pt x="298" y="194"/>
                  </a:lnTo>
                  <a:lnTo>
                    <a:pt x="298" y="192"/>
                  </a:lnTo>
                  <a:lnTo>
                    <a:pt x="296" y="192"/>
                  </a:lnTo>
                  <a:lnTo>
                    <a:pt x="294" y="192"/>
                  </a:lnTo>
                  <a:lnTo>
                    <a:pt x="292" y="192"/>
                  </a:lnTo>
                  <a:lnTo>
                    <a:pt x="290" y="192"/>
                  </a:lnTo>
                  <a:lnTo>
                    <a:pt x="288" y="192"/>
                  </a:lnTo>
                  <a:lnTo>
                    <a:pt x="286" y="192"/>
                  </a:lnTo>
                  <a:lnTo>
                    <a:pt x="284" y="192"/>
                  </a:lnTo>
                  <a:lnTo>
                    <a:pt x="284" y="192"/>
                  </a:lnTo>
                  <a:lnTo>
                    <a:pt x="282" y="192"/>
                  </a:lnTo>
                  <a:lnTo>
                    <a:pt x="280" y="192"/>
                  </a:lnTo>
                  <a:lnTo>
                    <a:pt x="278" y="192"/>
                  </a:lnTo>
                  <a:lnTo>
                    <a:pt x="276" y="192"/>
                  </a:lnTo>
                  <a:lnTo>
                    <a:pt x="274" y="192"/>
                  </a:lnTo>
                  <a:lnTo>
                    <a:pt x="274" y="190"/>
                  </a:lnTo>
                  <a:lnTo>
                    <a:pt x="272" y="190"/>
                  </a:lnTo>
                  <a:lnTo>
                    <a:pt x="270" y="190"/>
                  </a:lnTo>
                  <a:lnTo>
                    <a:pt x="268" y="190"/>
                  </a:lnTo>
                  <a:lnTo>
                    <a:pt x="266" y="190"/>
                  </a:lnTo>
                  <a:lnTo>
                    <a:pt x="264" y="190"/>
                  </a:lnTo>
                  <a:lnTo>
                    <a:pt x="262" y="190"/>
                  </a:lnTo>
                  <a:lnTo>
                    <a:pt x="260" y="190"/>
                  </a:lnTo>
                  <a:lnTo>
                    <a:pt x="258" y="190"/>
                  </a:lnTo>
                  <a:lnTo>
                    <a:pt x="256" y="190"/>
                  </a:lnTo>
                  <a:lnTo>
                    <a:pt x="254" y="190"/>
                  </a:lnTo>
                  <a:lnTo>
                    <a:pt x="252" y="190"/>
                  </a:lnTo>
                  <a:lnTo>
                    <a:pt x="250" y="190"/>
                  </a:lnTo>
                  <a:lnTo>
                    <a:pt x="248" y="190"/>
                  </a:lnTo>
                  <a:lnTo>
                    <a:pt x="246" y="190"/>
                  </a:lnTo>
                  <a:lnTo>
                    <a:pt x="242" y="190"/>
                  </a:lnTo>
                  <a:lnTo>
                    <a:pt x="240" y="190"/>
                  </a:lnTo>
                  <a:lnTo>
                    <a:pt x="238" y="190"/>
                  </a:lnTo>
                  <a:lnTo>
                    <a:pt x="236" y="190"/>
                  </a:lnTo>
                  <a:lnTo>
                    <a:pt x="236" y="190"/>
                  </a:lnTo>
                  <a:lnTo>
                    <a:pt x="234" y="190"/>
                  </a:lnTo>
                  <a:lnTo>
                    <a:pt x="232" y="190"/>
                  </a:lnTo>
                  <a:lnTo>
                    <a:pt x="232" y="188"/>
                  </a:lnTo>
                  <a:lnTo>
                    <a:pt x="230" y="188"/>
                  </a:lnTo>
                  <a:lnTo>
                    <a:pt x="228" y="188"/>
                  </a:lnTo>
                  <a:lnTo>
                    <a:pt x="226" y="188"/>
                  </a:lnTo>
                  <a:lnTo>
                    <a:pt x="224" y="188"/>
                  </a:lnTo>
                  <a:lnTo>
                    <a:pt x="222" y="188"/>
                  </a:lnTo>
                  <a:lnTo>
                    <a:pt x="220" y="188"/>
                  </a:lnTo>
                  <a:lnTo>
                    <a:pt x="218" y="188"/>
                  </a:lnTo>
                  <a:lnTo>
                    <a:pt x="216" y="188"/>
                  </a:lnTo>
                  <a:lnTo>
                    <a:pt x="214" y="188"/>
                  </a:lnTo>
                  <a:lnTo>
                    <a:pt x="212" y="188"/>
                  </a:lnTo>
                  <a:lnTo>
                    <a:pt x="212" y="186"/>
                  </a:lnTo>
                  <a:lnTo>
                    <a:pt x="210" y="186"/>
                  </a:lnTo>
                  <a:lnTo>
                    <a:pt x="208" y="186"/>
                  </a:lnTo>
                  <a:lnTo>
                    <a:pt x="206" y="186"/>
                  </a:lnTo>
                  <a:lnTo>
                    <a:pt x="204" y="186"/>
                  </a:lnTo>
                  <a:lnTo>
                    <a:pt x="202" y="186"/>
                  </a:lnTo>
                  <a:lnTo>
                    <a:pt x="200" y="186"/>
                  </a:lnTo>
                  <a:lnTo>
                    <a:pt x="198" y="186"/>
                  </a:lnTo>
                  <a:lnTo>
                    <a:pt x="196" y="186"/>
                  </a:lnTo>
                  <a:lnTo>
                    <a:pt x="194" y="186"/>
                  </a:lnTo>
                  <a:lnTo>
                    <a:pt x="194" y="184"/>
                  </a:lnTo>
                  <a:lnTo>
                    <a:pt x="192" y="184"/>
                  </a:lnTo>
                  <a:lnTo>
                    <a:pt x="190" y="184"/>
                  </a:lnTo>
                  <a:lnTo>
                    <a:pt x="188" y="184"/>
                  </a:lnTo>
                  <a:lnTo>
                    <a:pt x="188" y="184"/>
                  </a:lnTo>
                  <a:lnTo>
                    <a:pt x="184" y="184"/>
                  </a:lnTo>
                  <a:lnTo>
                    <a:pt x="182" y="184"/>
                  </a:lnTo>
                  <a:lnTo>
                    <a:pt x="180" y="184"/>
                  </a:lnTo>
                  <a:lnTo>
                    <a:pt x="178" y="184"/>
                  </a:lnTo>
                  <a:lnTo>
                    <a:pt x="178" y="182"/>
                  </a:lnTo>
                  <a:lnTo>
                    <a:pt x="176" y="182"/>
                  </a:lnTo>
                  <a:lnTo>
                    <a:pt x="174" y="182"/>
                  </a:lnTo>
                  <a:lnTo>
                    <a:pt x="172" y="182"/>
                  </a:lnTo>
                  <a:lnTo>
                    <a:pt x="170" y="182"/>
                  </a:lnTo>
                  <a:lnTo>
                    <a:pt x="168" y="182"/>
                  </a:lnTo>
                  <a:lnTo>
                    <a:pt x="166" y="182"/>
                  </a:lnTo>
                  <a:lnTo>
                    <a:pt x="164" y="182"/>
                  </a:lnTo>
                  <a:lnTo>
                    <a:pt x="162" y="182"/>
                  </a:lnTo>
                  <a:lnTo>
                    <a:pt x="162" y="180"/>
                  </a:lnTo>
                  <a:lnTo>
                    <a:pt x="160" y="180"/>
                  </a:lnTo>
                  <a:lnTo>
                    <a:pt x="158" y="180"/>
                  </a:lnTo>
                  <a:lnTo>
                    <a:pt x="156" y="180"/>
                  </a:lnTo>
                  <a:lnTo>
                    <a:pt x="154" y="180"/>
                  </a:lnTo>
                  <a:lnTo>
                    <a:pt x="150" y="180"/>
                  </a:lnTo>
                  <a:lnTo>
                    <a:pt x="148" y="180"/>
                  </a:lnTo>
                  <a:lnTo>
                    <a:pt x="146" y="178"/>
                  </a:lnTo>
                  <a:lnTo>
                    <a:pt x="146" y="180"/>
                  </a:lnTo>
                  <a:lnTo>
                    <a:pt x="146" y="178"/>
                  </a:lnTo>
                  <a:lnTo>
                    <a:pt x="144" y="178"/>
                  </a:lnTo>
                  <a:lnTo>
                    <a:pt x="142" y="178"/>
                  </a:lnTo>
                  <a:lnTo>
                    <a:pt x="140" y="178"/>
                  </a:lnTo>
                  <a:lnTo>
                    <a:pt x="140" y="178"/>
                  </a:lnTo>
                  <a:lnTo>
                    <a:pt x="138" y="178"/>
                  </a:lnTo>
                  <a:lnTo>
                    <a:pt x="136" y="178"/>
                  </a:lnTo>
                  <a:lnTo>
                    <a:pt x="134" y="178"/>
                  </a:lnTo>
                  <a:lnTo>
                    <a:pt x="132" y="176"/>
                  </a:lnTo>
                  <a:lnTo>
                    <a:pt x="130" y="176"/>
                  </a:lnTo>
                  <a:lnTo>
                    <a:pt x="128" y="176"/>
                  </a:lnTo>
                  <a:lnTo>
                    <a:pt x="126" y="176"/>
                  </a:lnTo>
                  <a:lnTo>
                    <a:pt x="124" y="176"/>
                  </a:lnTo>
                  <a:lnTo>
                    <a:pt x="122" y="176"/>
                  </a:lnTo>
                  <a:lnTo>
                    <a:pt x="120" y="176"/>
                  </a:lnTo>
                  <a:lnTo>
                    <a:pt x="118" y="174"/>
                  </a:lnTo>
                  <a:lnTo>
                    <a:pt x="116" y="174"/>
                  </a:lnTo>
                  <a:lnTo>
                    <a:pt x="114" y="174"/>
                  </a:lnTo>
                  <a:lnTo>
                    <a:pt x="112" y="174"/>
                  </a:lnTo>
                  <a:lnTo>
                    <a:pt x="110" y="174"/>
                  </a:lnTo>
                  <a:lnTo>
                    <a:pt x="108" y="174"/>
                  </a:lnTo>
                  <a:lnTo>
                    <a:pt x="102" y="172"/>
                  </a:lnTo>
                  <a:lnTo>
                    <a:pt x="100" y="172"/>
                  </a:lnTo>
                  <a:lnTo>
                    <a:pt x="98" y="172"/>
                  </a:lnTo>
                  <a:lnTo>
                    <a:pt x="96" y="172"/>
                  </a:lnTo>
                  <a:lnTo>
                    <a:pt x="94" y="172"/>
                  </a:lnTo>
                  <a:lnTo>
                    <a:pt x="92" y="172"/>
                  </a:lnTo>
                  <a:lnTo>
                    <a:pt x="92" y="170"/>
                  </a:lnTo>
                  <a:lnTo>
                    <a:pt x="92" y="170"/>
                  </a:lnTo>
                  <a:lnTo>
                    <a:pt x="90" y="170"/>
                  </a:lnTo>
                  <a:lnTo>
                    <a:pt x="88" y="170"/>
                  </a:lnTo>
                  <a:lnTo>
                    <a:pt x="86" y="170"/>
                  </a:lnTo>
                  <a:lnTo>
                    <a:pt x="84" y="170"/>
                  </a:lnTo>
                  <a:lnTo>
                    <a:pt x="82" y="170"/>
                  </a:lnTo>
                  <a:lnTo>
                    <a:pt x="82" y="168"/>
                  </a:lnTo>
                  <a:lnTo>
                    <a:pt x="80" y="168"/>
                  </a:lnTo>
                  <a:lnTo>
                    <a:pt x="78" y="168"/>
                  </a:lnTo>
                  <a:lnTo>
                    <a:pt x="74" y="168"/>
                  </a:lnTo>
                  <a:lnTo>
                    <a:pt x="72" y="168"/>
                  </a:lnTo>
                  <a:lnTo>
                    <a:pt x="72" y="166"/>
                  </a:lnTo>
                  <a:lnTo>
                    <a:pt x="72" y="164"/>
                  </a:lnTo>
                  <a:lnTo>
                    <a:pt x="72" y="162"/>
                  </a:lnTo>
                  <a:lnTo>
                    <a:pt x="72" y="160"/>
                  </a:lnTo>
                  <a:lnTo>
                    <a:pt x="72" y="158"/>
                  </a:lnTo>
                  <a:lnTo>
                    <a:pt x="74" y="158"/>
                  </a:lnTo>
                  <a:lnTo>
                    <a:pt x="74" y="156"/>
                  </a:lnTo>
                  <a:lnTo>
                    <a:pt x="74" y="154"/>
                  </a:lnTo>
                  <a:lnTo>
                    <a:pt x="74" y="152"/>
                  </a:lnTo>
                  <a:lnTo>
                    <a:pt x="74" y="150"/>
                  </a:lnTo>
                  <a:lnTo>
                    <a:pt x="74" y="148"/>
                  </a:lnTo>
                  <a:lnTo>
                    <a:pt x="76" y="146"/>
                  </a:lnTo>
                  <a:lnTo>
                    <a:pt x="76" y="144"/>
                  </a:lnTo>
                  <a:lnTo>
                    <a:pt x="76" y="142"/>
                  </a:lnTo>
                  <a:lnTo>
                    <a:pt x="76" y="142"/>
                  </a:lnTo>
                  <a:lnTo>
                    <a:pt x="76" y="140"/>
                  </a:lnTo>
                  <a:lnTo>
                    <a:pt x="76" y="138"/>
                  </a:lnTo>
                  <a:lnTo>
                    <a:pt x="76" y="136"/>
                  </a:lnTo>
                  <a:lnTo>
                    <a:pt x="78" y="136"/>
                  </a:lnTo>
                  <a:lnTo>
                    <a:pt x="78" y="134"/>
                  </a:lnTo>
                  <a:lnTo>
                    <a:pt x="78" y="132"/>
                  </a:lnTo>
                  <a:lnTo>
                    <a:pt x="78" y="130"/>
                  </a:lnTo>
                  <a:lnTo>
                    <a:pt x="78" y="128"/>
                  </a:lnTo>
                  <a:lnTo>
                    <a:pt x="78" y="126"/>
                  </a:lnTo>
                  <a:lnTo>
                    <a:pt x="78" y="124"/>
                  </a:lnTo>
                  <a:lnTo>
                    <a:pt x="80" y="124"/>
                  </a:lnTo>
                  <a:lnTo>
                    <a:pt x="80" y="122"/>
                  </a:lnTo>
                  <a:lnTo>
                    <a:pt x="80" y="120"/>
                  </a:lnTo>
                  <a:lnTo>
                    <a:pt x="80" y="118"/>
                  </a:lnTo>
                  <a:lnTo>
                    <a:pt x="80" y="116"/>
                  </a:lnTo>
                  <a:lnTo>
                    <a:pt x="78" y="116"/>
                  </a:lnTo>
                  <a:lnTo>
                    <a:pt x="78" y="114"/>
                  </a:lnTo>
                  <a:lnTo>
                    <a:pt x="76" y="114"/>
                  </a:lnTo>
                  <a:lnTo>
                    <a:pt x="74" y="114"/>
                  </a:lnTo>
                  <a:lnTo>
                    <a:pt x="72" y="114"/>
                  </a:lnTo>
                  <a:lnTo>
                    <a:pt x="70" y="114"/>
                  </a:lnTo>
                  <a:lnTo>
                    <a:pt x="68" y="114"/>
                  </a:lnTo>
                  <a:lnTo>
                    <a:pt x="66" y="114"/>
                  </a:lnTo>
                  <a:lnTo>
                    <a:pt x="64" y="112"/>
                  </a:lnTo>
                  <a:lnTo>
                    <a:pt x="62" y="112"/>
                  </a:lnTo>
                  <a:lnTo>
                    <a:pt x="60" y="112"/>
                  </a:lnTo>
                  <a:lnTo>
                    <a:pt x="58" y="112"/>
                  </a:lnTo>
                  <a:lnTo>
                    <a:pt x="56" y="112"/>
                  </a:lnTo>
                  <a:lnTo>
                    <a:pt x="54" y="112"/>
                  </a:lnTo>
                  <a:lnTo>
                    <a:pt x="52" y="110"/>
                  </a:lnTo>
                  <a:lnTo>
                    <a:pt x="48" y="110"/>
                  </a:lnTo>
                  <a:lnTo>
                    <a:pt x="46" y="110"/>
                  </a:lnTo>
                  <a:lnTo>
                    <a:pt x="44" y="110"/>
                  </a:lnTo>
                  <a:lnTo>
                    <a:pt x="44" y="110"/>
                  </a:lnTo>
                  <a:lnTo>
                    <a:pt x="44" y="108"/>
                  </a:lnTo>
                  <a:lnTo>
                    <a:pt x="42" y="108"/>
                  </a:lnTo>
                  <a:lnTo>
                    <a:pt x="40" y="108"/>
                  </a:lnTo>
                  <a:lnTo>
                    <a:pt x="38" y="108"/>
                  </a:lnTo>
                  <a:lnTo>
                    <a:pt x="36" y="108"/>
                  </a:lnTo>
                  <a:lnTo>
                    <a:pt x="34" y="108"/>
                  </a:lnTo>
                  <a:lnTo>
                    <a:pt x="32" y="108"/>
                  </a:lnTo>
                  <a:lnTo>
                    <a:pt x="32" y="106"/>
                  </a:lnTo>
                  <a:lnTo>
                    <a:pt x="30" y="106"/>
                  </a:lnTo>
                  <a:lnTo>
                    <a:pt x="28" y="106"/>
                  </a:lnTo>
                  <a:lnTo>
                    <a:pt x="26" y="106"/>
                  </a:lnTo>
                  <a:lnTo>
                    <a:pt x="24" y="106"/>
                  </a:lnTo>
                  <a:lnTo>
                    <a:pt x="22" y="106"/>
                  </a:lnTo>
                  <a:lnTo>
                    <a:pt x="22" y="104"/>
                  </a:lnTo>
                  <a:lnTo>
                    <a:pt x="20" y="104"/>
                  </a:lnTo>
                  <a:lnTo>
                    <a:pt x="18" y="104"/>
                  </a:lnTo>
                  <a:lnTo>
                    <a:pt x="16" y="104"/>
                  </a:lnTo>
                  <a:lnTo>
                    <a:pt x="14" y="104"/>
                  </a:lnTo>
                  <a:lnTo>
                    <a:pt x="12" y="104"/>
                  </a:lnTo>
                  <a:lnTo>
                    <a:pt x="10" y="102"/>
                  </a:lnTo>
                  <a:lnTo>
                    <a:pt x="8" y="102"/>
                  </a:lnTo>
                  <a:lnTo>
                    <a:pt x="6" y="102"/>
                  </a:lnTo>
                  <a:lnTo>
                    <a:pt x="4" y="102"/>
                  </a:lnTo>
                  <a:lnTo>
                    <a:pt x="2" y="102"/>
                  </a:lnTo>
                  <a:lnTo>
                    <a:pt x="0" y="102"/>
                  </a:lnTo>
                  <a:lnTo>
                    <a:pt x="2" y="100"/>
                  </a:lnTo>
                  <a:lnTo>
                    <a:pt x="2" y="98"/>
                  </a:lnTo>
                  <a:lnTo>
                    <a:pt x="2" y="96"/>
                  </a:lnTo>
                  <a:lnTo>
                    <a:pt x="2" y="94"/>
                  </a:lnTo>
                  <a:lnTo>
                    <a:pt x="2" y="94"/>
                  </a:lnTo>
                  <a:lnTo>
                    <a:pt x="2" y="92"/>
                  </a:lnTo>
                  <a:lnTo>
                    <a:pt x="4" y="92"/>
                  </a:lnTo>
                  <a:lnTo>
                    <a:pt x="4" y="90"/>
                  </a:lnTo>
                  <a:lnTo>
                    <a:pt x="4" y="88"/>
                  </a:lnTo>
                  <a:lnTo>
                    <a:pt x="4" y="86"/>
                  </a:lnTo>
                  <a:lnTo>
                    <a:pt x="4" y="84"/>
                  </a:lnTo>
                  <a:lnTo>
                    <a:pt x="6" y="82"/>
                  </a:lnTo>
                  <a:lnTo>
                    <a:pt x="6" y="80"/>
                  </a:lnTo>
                  <a:lnTo>
                    <a:pt x="6" y="78"/>
                  </a:lnTo>
                  <a:lnTo>
                    <a:pt x="6" y="76"/>
                  </a:lnTo>
                  <a:lnTo>
                    <a:pt x="6" y="74"/>
                  </a:lnTo>
                  <a:lnTo>
                    <a:pt x="6" y="72"/>
                  </a:lnTo>
                  <a:lnTo>
                    <a:pt x="8" y="72"/>
                  </a:lnTo>
                  <a:lnTo>
                    <a:pt x="8" y="70"/>
                  </a:lnTo>
                  <a:lnTo>
                    <a:pt x="8" y="68"/>
                  </a:lnTo>
                  <a:lnTo>
                    <a:pt x="8" y="66"/>
                  </a:lnTo>
                  <a:lnTo>
                    <a:pt x="8" y="64"/>
                  </a:lnTo>
                  <a:lnTo>
                    <a:pt x="8" y="62"/>
                  </a:lnTo>
                  <a:lnTo>
                    <a:pt x="10" y="62"/>
                  </a:lnTo>
                  <a:lnTo>
                    <a:pt x="10" y="58"/>
                  </a:lnTo>
                  <a:lnTo>
                    <a:pt x="10" y="56"/>
                  </a:lnTo>
                  <a:lnTo>
                    <a:pt x="10" y="54"/>
                  </a:lnTo>
                  <a:lnTo>
                    <a:pt x="10" y="52"/>
                  </a:lnTo>
                  <a:lnTo>
                    <a:pt x="12" y="52"/>
                  </a:lnTo>
                  <a:lnTo>
                    <a:pt x="12" y="50"/>
                  </a:lnTo>
                  <a:lnTo>
                    <a:pt x="12" y="48"/>
                  </a:lnTo>
                  <a:lnTo>
                    <a:pt x="12" y="46"/>
                  </a:lnTo>
                  <a:lnTo>
                    <a:pt x="12" y="46"/>
                  </a:lnTo>
                  <a:lnTo>
                    <a:pt x="12" y="44"/>
                  </a:lnTo>
                  <a:lnTo>
                    <a:pt x="14" y="42"/>
                  </a:lnTo>
                  <a:lnTo>
                    <a:pt x="14" y="40"/>
                  </a:lnTo>
                  <a:lnTo>
                    <a:pt x="14" y="38"/>
                  </a:lnTo>
                  <a:lnTo>
                    <a:pt x="14" y="36"/>
                  </a:lnTo>
                  <a:lnTo>
                    <a:pt x="14" y="34"/>
                  </a:lnTo>
                  <a:lnTo>
                    <a:pt x="14" y="32"/>
                  </a:lnTo>
                  <a:lnTo>
                    <a:pt x="16" y="32"/>
                  </a:lnTo>
                  <a:lnTo>
                    <a:pt x="16" y="30"/>
                  </a:lnTo>
                  <a:lnTo>
                    <a:pt x="16" y="26"/>
                  </a:lnTo>
                  <a:lnTo>
                    <a:pt x="16" y="24"/>
                  </a:lnTo>
                  <a:lnTo>
                    <a:pt x="18" y="22"/>
                  </a:lnTo>
                  <a:lnTo>
                    <a:pt x="18" y="20"/>
                  </a:lnTo>
                  <a:lnTo>
                    <a:pt x="18" y="18"/>
                  </a:lnTo>
                  <a:lnTo>
                    <a:pt x="18" y="16"/>
                  </a:lnTo>
                  <a:lnTo>
                    <a:pt x="18" y="14"/>
                  </a:lnTo>
                  <a:lnTo>
                    <a:pt x="18" y="12"/>
                  </a:lnTo>
                  <a:lnTo>
                    <a:pt x="20" y="12"/>
                  </a:lnTo>
                  <a:lnTo>
                    <a:pt x="20" y="10"/>
                  </a:lnTo>
                  <a:lnTo>
                    <a:pt x="20" y="8"/>
                  </a:lnTo>
                  <a:lnTo>
                    <a:pt x="20" y="6"/>
                  </a:lnTo>
                  <a:lnTo>
                    <a:pt x="20" y="4"/>
                  </a:lnTo>
                  <a:lnTo>
                    <a:pt x="20" y="2"/>
                  </a:lnTo>
                  <a:lnTo>
                    <a:pt x="22" y="2"/>
                  </a:lnTo>
                  <a:lnTo>
                    <a:pt x="22" y="0"/>
                  </a:lnTo>
                  <a:lnTo>
                    <a:pt x="22" y="0"/>
                  </a:lnTo>
                  <a:lnTo>
                    <a:pt x="24" y="0"/>
                  </a:lnTo>
                  <a:lnTo>
                    <a:pt x="24" y="0"/>
                  </a:lnTo>
                  <a:lnTo>
                    <a:pt x="26" y="0"/>
                  </a:lnTo>
                  <a:close/>
                </a:path>
              </a:pathLst>
            </a:custGeom>
            <a:solidFill>
              <a:srgbClr val="4D9926"/>
            </a:solidFill>
            <a:ln w="3175">
              <a:solidFill>
                <a:sysClr val="window" lastClr="FFFF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black"/>
                </a:solidFill>
                <a:effectLst/>
                <a:uLnTx/>
                <a:uFillTx/>
                <a:ea typeface="宋体" panose="02010600030101010101" pitchFamily="2" charset="-122"/>
              </a:endParaRPr>
            </a:p>
          </p:txBody>
        </p:sp>
        <p:sp>
          <p:nvSpPr>
            <p:cNvPr id="20" name="Freeform 3179">
              <a:extLst>
                <a:ext uri="{FF2B5EF4-FFF2-40B4-BE49-F238E27FC236}">
                  <a16:creationId xmlns:a16="http://schemas.microsoft.com/office/drawing/2014/main" id="{34F8CD32-237F-316E-EC38-455D1490142E}"/>
                </a:ext>
              </a:extLst>
            </p:cNvPr>
            <p:cNvSpPr>
              <a:spLocks noEditPoints="1"/>
            </p:cNvSpPr>
            <p:nvPr/>
          </p:nvSpPr>
          <p:spPr bwMode="auto">
            <a:xfrm>
              <a:off x="4741863" y="3462338"/>
              <a:ext cx="584200" cy="354013"/>
            </a:xfrm>
            <a:custGeom>
              <a:avLst/>
              <a:gdLst>
                <a:gd name="T0" fmla="*/ 152 w 368"/>
                <a:gd name="T1" fmla="*/ 22 h 223"/>
                <a:gd name="T2" fmla="*/ 174 w 368"/>
                <a:gd name="T3" fmla="*/ 24 h 223"/>
                <a:gd name="T4" fmla="*/ 192 w 368"/>
                <a:gd name="T5" fmla="*/ 26 h 223"/>
                <a:gd name="T6" fmla="*/ 212 w 368"/>
                <a:gd name="T7" fmla="*/ 28 h 223"/>
                <a:gd name="T8" fmla="*/ 234 w 368"/>
                <a:gd name="T9" fmla="*/ 30 h 223"/>
                <a:gd name="T10" fmla="*/ 254 w 368"/>
                <a:gd name="T11" fmla="*/ 32 h 223"/>
                <a:gd name="T12" fmla="*/ 276 w 368"/>
                <a:gd name="T13" fmla="*/ 34 h 223"/>
                <a:gd name="T14" fmla="*/ 294 w 368"/>
                <a:gd name="T15" fmla="*/ 36 h 223"/>
                <a:gd name="T16" fmla="*/ 316 w 368"/>
                <a:gd name="T17" fmla="*/ 36 h 223"/>
                <a:gd name="T18" fmla="*/ 336 w 368"/>
                <a:gd name="T19" fmla="*/ 38 h 223"/>
                <a:gd name="T20" fmla="*/ 360 w 368"/>
                <a:gd name="T21" fmla="*/ 38 h 223"/>
                <a:gd name="T22" fmla="*/ 364 w 368"/>
                <a:gd name="T23" fmla="*/ 57 h 223"/>
                <a:gd name="T24" fmla="*/ 364 w 368"/>
                <a:gd name="T25" fmla="*/ 73 h 223"/>
                <a:gd name="T26" fmla="*/ 366 w 368"/>
                <a:gd name="T27" fmla="*/ 93 h 223"/>
                <a:gd name="T28" fmla="*/ 368 w 368"/>
                <a:gd name="T29" fmla="*/ 113 h 223"/>
                <a:gd name="T30" fmla="*/ 368 w 368"/>
                <a:gd name="T31" fmla="*/ 133 h 223"/>
                <a:gd name="T32" fmla="*/ 366 w 368"/>
                <a:gd name="T33" fmla="*/ 153 h 223"/>
                <a:gd name="T34" fmla="*/ 366 w 368"/>
                <a:gd name="T35" fmla="*/ 173 h 223"/>
                <a:gd name="T36" fmla="*/ 364 w 368"/>
                <a:gd name="T37" fmla="*/ 193 h 223"/>
                <a:gd name="T38" fmla="*/ 362 w 368"/>
                <a:gd name="T39" fmla="*/ 213 h 223"/>
                <a:gd name="T40" fmla="*/ 360 w 368"/>
                <a:gd name="T41" fmla="*/ 221 h 223"/>
                <a:gd name="T42" fmla="*/ 350 w 368"/>
                <a:gd name="T43" fmla="*/ 217 h 223"/>
                <a:gd name="T44" fmla="*/ 342 w 368"/>
                <a:gd name="T45" fmla="*/ 211 h 223"/>
                <a:gd name="T46" fmla="*/ 334 w 368"/>
                <a:gd name="T47" fmla="*/ 207 h 223"/>
                <a:gd name="T48" fmla="*/ 326 w 368"/>
                <a:gd name="T49" fmla="*/ 207 h 223"/>
                <a:gd name="T50" fmla="*/ 316 w 368"/>
                <a:gd name="T51" fmla="*/ 207 h 223"/>
                <a:gd name="T52" fmla="*/ 302 w 368"/>
                <a:gd name="T53" fmla="*/ 207 h 223"/>
                <a:gd name="T54" fmla="*/ 290 w 368"/>
                <a:gd name="T55" fmla="*/ 209 h 223"/>
                <a:gd name="T56" fmla="*/ 284 w 368"/>
                <a:gd name="T57" fmla="*/ 211 h 223"/>
                <a:gd name="T58" fmla="*/ 276 w 368"/>
                <a:gd name="T59" fmla="*/ 211 h 223"/>
                <a:gd name="T60" fmla="*/ 266 w 368"/>
                <a:gd name="T61" fmla="*/ 205 h 223"/>
                <a:gd name="T62" fmla="*/ 258 w 368"/>
                <a:gd name="T63" fmla="*/ 205 h 223"/>
                <a:gd name="T64" fmla="*/ 246 w 368"/>
                <a:gd name="T65" fmla="*/ 203 h 223"/>
                <a:gd name="T66" fmla="*/ 240 w 368"/>
                <a:gd name="T67" fmla="*/ 209 h 223"/>
                <a:gd name="T68" fmla="*/ 236 w 368"/>
                <a:gd name="T69" fmla="*/ 201 h 223"/>
                <a:gd name="T70" fmla="*/ 228 w 368"/>
                <a:gd name="T71" fmla="*/ 205 h 223"/>
                <a:gd name="T72" fmla="*/ 218 w 368"/>
                <a:gd name="T73" fmla="*/ 193 h 223"/>
                <a:gd name="T74" fmla="*/ 206 w 368"/>
                <a:gd name="T75" fmla="*/ 199 h 223"/>
                <a:gd name="T76" fmla="*/ 200 w 368"/>
                <a:gd name="T77" fmla="*/ 193 h 223"/>
                <a:gd name="T78" fmla="*/ 194 w 368"/>
                <a:gd name="T79" fmla="*/ 185 h 223"/>
                <a:gd name="T80" fmla="*/ 182 w 368"/>
                <a:gd name="T81" fmla="*/ 185 h 223"/>
                <a:gd name="T82" fmla="*/ 176 w 368"/>
                <a:gd name="T83" fmla="*/ 179 h 223"/>
                <a:gd name="T84" fmla="*/ 164 w 368"/>
                <a:gd name="T85" fmla="*/ 177 h 223"/>
                <a:gd name="T86" fmla="*/ 150 w 368"/>
                <a:gd name="T87" fmla="*/ 173 h 223"/>
                <a:gd name="T88" fmla="*/ 146 w 368"/>
                <a:gd name="T89" fmla="*/ 161 h 223"/>
                <a:gd name="T90" fmla="*/ 134 w 368"/>
                <a:gd name="T91" fmla="*/ 161 h 223"/>
                <a:gd name="T92" fmla="*/ 124 w 368"/>
                <a:gd name="T93" fmla="*/ 159 h 223"/>
                <a:gd name="T94" fmla="*/ 120 w 368"/>
                <a:gd name="T95" fmla="*/ 117 h 223"/>
                <a:gd name="T96" fmla="*/ 122 w 368"/>
                <a:gd name="T97" fmla="*/ 46 h 223"/>
                <a:gd name="T98" fmla="*/ 102 w 368"/>
                <a:gd name="T99" fmla="*/ 42 h 223"/>
                <a:gd name="T100" fmla="*/ 80 w 368"/>
                <a:gd name="T101" fmla="*/ 40 h 223"/>
                <a:gd name="T102" fmla="*/ 54 w 368"/>
                <a:gd name="T103" fmla="*/ 36 h 223"/>
                <a:gd name="T104" fmla="*/ 34 w 368"/>
                <a:gd name="T105" fmla="*/ 32 h 223"/>
                <a:gd name="T106" fmla="*/ 6 w 368"/>
                <a:gd name="T107" fmla="*/ 26 h 223"/>
                <a:gd name="T108" fmla="*/ 4 w 368"/>
                <a:gd name="T109" fmla="*/ 8 h 223"/>
                <a:gd name="T110" fmla="*/ 20 w 368"/>
                <a:gd name="T111" fmla="*/ 4 h 223"/>
                <a:gd name="T112" fmla="*/ 42 w 368"/>
                <a:gd name="T113" fmla="*/ 6 h 223"/>
                <a:gd name="T114" fmla="*/ 60 w 368"/>
                <a:gd name="T115" fmla="*/ 10 h 223"/>
                <a:gd name="T116" fmla="*/ 80 w 368"/>
                <a:gd name="T117" fmla="*/ 12 h 223"/>
                <a:gd name="T118" fmla="*/ 96 w 368"/>
                <a:gd name="T119" fmla="*/ 16 h 223"/>
                <a:gd name="T120" fmla="*/ 116 w 368"/>
                <a:gd name="T121" fmla="*/ 16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68" h="223">
                  <a:moveTo>
                    <a:pt x="130" y="18"/>
                  </a:moveTo>
                  <a:lnTo>
                    <a:pt x="132" y="18"/>
                  </a:lnTo>
                  <a:lnTo>
                    <a:pt x="134" y="18"/>
                  </a:lnTo>
                  <a:lnTo>
                    <a:pt x="140" y="20"/>
                  </a:lnTo>
                  <a:lnTo>
                    <a:pt x="140" y="20"/>
                  </a:lnTo>
                  <a:lnTo>
                    <a:pt x="142" y="20"/>
                  </a:lnTo>
                  <a:lnTo>
                    <a:pt x="144" y="20"/>
                  </a:lnTo>
                  <a:lnTo>
                    <a:pt x="146" y="20"/>
                  </a:lnTo>
                  <a:lnTo>
                    <a:pt x="148" y="20"/>
                  </a:lnTo>
                  <a:lnTo>
                    <a:pt x="150" y="20"/>
                  </a:lnTo>
                  <a:lnTo>
                    <a:pt x="152" y="22"/>
                  </a:lnTo>
                  <a:lnTo>
                    <a:pt x="154" y="22"/>
                  </a:lnTo>
                  <a:lnTo>
                    <a:pt x="156" y="22"/>
                  </a:lnTo>
                  <a:lnTo>
                    <a:pt x="158" y="22"/>
                  </a:lnTo>
                  <a:lnTo>
                    <a:pt x="160" y="22"/>
                  </a:lnTo>
                  <a:lnTo>
                    <a:pt x="162" y="22"/>
                  </a:lnTo>
                  <a:lnTo>
                    <a:pt x="164" y="22"/>
                  </a:lnTo>
                  <a:lnTo>
                    <a:pt x="166" y="22"/>
                  </a:lnTo>
                  <a:lnTo>
                    <a:pt x="168" y="24"/>
                  </a:lnTo>
                  <a:lnTo>
                    <a:pt x="170" y="24"/>
                  </a:lnTo>
                  <a:lnTo>
                    <a:pt x="172" y="24"/>
                  </a:lnTo>
                  <a:lnTo>
                    <a:pt x="174" y="24"/>
                  </a:lnTo>
                  <a:lnTo>
                    <a:pt x="176" y="24"/>
                  </a:lnTo>
                  <a:lnTo>
                    <a:pt x="178" y="24"/>
                  </a:lnTo>
                  <a:lnTo>
                    <a:pt x="180" y="24"/>
                  </a:lnTo>
                  <a:lnTo>
                    <a:pt x="182" y="24"/>
                  </a:lnTo>
                  <a:lnTo>
                    <a:pt x="184" y="24"/>
                  </a:lnTo>
                  <a:lnTo>
                    <a:pt x="186" y="24"/>
                  </a:lnTo>
                  <a:lnTo>
                    <a:pt x="186" y="26"/>
                  </a:lnTo>
                  <a:lnTo>
                    <a:pt x="188" y="26"/>
                  </a:lnTo>
                  <a:lnTo>
                    <a:pt x="188" y="26"/>
                  </a:lnTo>
                  <a:lnTo>
                    <a:pt x="190" y="26"/>
                  </a:lnTo>
                  <a:lnTo>
                    <a:pt x="192" y="26"/>
                  </a:lnTo>
                  <a:lnTo>
                    <a:pt x="194" y="26"/>
                  </a:lnTo>
                  <a:lnTo>
                    <a:pt x="196" y="26"/>
                  </a:lnTo>
                  <a:lnTo>
                    <a:pt x="198" y="26"/>
                  </a:lnTo>
                  <a:lnTo>
                    <a:pt x="200" y="26"/>
                  </a:lnTo>
                  <a:lnTo>
                    <a:pt x="202" y="26"/>
                  </a:lnTo>
                  <a:lnTo>
                    <a:pt x="202" y="28"/>
                  </a:lnTo>
                  <a:lnTo>
                    <a:pt x="204" y="28"/>
                  </a:lnTo>
                  <a:lnTo>
                    <a:pt x="206" y="28"/>
                  </a:lnTo>
                  <a:lnTo>
                    <a:pt x="208" y="28"/>
                  </a:lnTo>
                  <a:lnTo>
                    <a:pt x="210" y="28"/>
                  </a:lnTo>
                  <a:lnTo>
                    <a:pt x="212" y="28"/>
                  </a:lnTo>
                  <a:lnTo>
                    <a:pt x="214" y="28"/>
                  </a:lnTo>
                  <a:lnTo>
                    <a:pt x="216" y="28"/>
                  </a:lnTo>
                  <a:lnTo>
                    <a:pt x="218" y="28"/>
                  </a:lnTo>
                  <a:lnTo>
                    <a:pt x="220" y="28"/>
                  </a:lnTo>
                  <a:lnTo>
                    <a:pt x="222" y="28"/>
                  </a:lnTo>
                  <a:lnTo>
                    <a:pt x="224" y="30"/>
                  </a:lnTo>
                  <a:lnTo>
                    <a:pt x="226" y="30"/>
                  </a:lnTo>
                  <a:lnTo>
                    <a:pt x="228" y="30"/>
                  </a:lnTo>
                  <a:lnTo>
                    <a:pt x="230" y="30"/>
                  </a:lnTo>
                  <a:lnTo>
                    <a:pt x="232" y="30"/>
                  </a:lnTo>
                  <a:lnTo>
                    <a:pt x="234" y="30"/>
                  </a:lnTo>
                  <a:lnTo>
                    <a:pt x="236" y="30"/>
                  </a:lnTo>
                  <a:lnTo>
                    <a:pt x="236" y="30"/>
                  </a:lnTo>
                  <a:lnTo>
                    <a:pt x="238" y="30"/>
                  </a:lnTo>
                  <a:lnTo>
                    <a:pt x="240" y="30"/>
                  </a:lnTo>
                  <a:lnTo>
                    <a:pt x="242" y="30"/>
                  </a:lnTo>
                  <a:lnTo>
                    <a:pt x="244" y="32"/>
                  </a:lnTo>
                  <a:lnTo>
                    <a:pt x="246" y="32"/>
                  </a:lnTo>
                  <a:lnTo>
                    <a:pt x="248" y="32"/>
                  </a:lnTo>
                  <a:lnTo>
                    <a:pt x="250" y="32"/>
                  </a:lnTo>
                  <a:lnTo>
                    <a:pt x="252" y="32"/>
                  </a:lnTo>
                  <a:lnTo>
                    <a:pt x="254" y="32"/>
                  </a:lnTo>
                  <a:lnTo>
                    <a:pt x="256" y="32"/>
                  </a:lnTo>
                  <a:lnTo>
                    <a:pt x="258" y="32"/>
                  </a:lnTo>
                  <a:lnTo>
                    <a:pt x="260" y="32"/>
                  </a:lnTo>
                  <a:lnTo>
                    <a:pt x="262" y="32"/>
                  </a:lnTo>
                  <a:lnTo>
                    <a:pt x="264" y="32"/>
                  </a:lnTo>
                  <a:lnTo>
                    <a:pt x="266" y="32"/>
                  </a:lnTo>
                  <a:lnTo>
                    <a:pt x="268" y="34"/>
                  </a:lnTo>
                  <a:lnTo>
                    <a:pt x="270" y="34"/>
                  </a:lnTo>
                  <a:lnTo>
                    <a:pt x="272" y="34"/>
                  </a:lnTo>
                  <a:lnTo>
                    <a:pt x="274" y="34"/>
                  </a:lnTo>
                  <a:lnTo>
                    <a:pt x="276" y="34"/>
                  </a:lnTo>
                  <a:lnTo>
                    <a:pt x="278" y="34"/>
                  </a:lnTo>
                  <a:lnTo>
                    <a:pt x="280" y="34"/>
                  </a:lnTo>
                  <a:lnTo>
                    <a:pt x="282" y="34"/>
                  </a:lnTo>
                  <a:lnTo>
                    <a:pt x="284" y="34"/>
                  </a:lnTo>
                  <a:lnTo>
                    <a:pt x="284" y="34"/>
                  </a:lnTo>
                  <a:lnTo>
                    <a:pt x="286" y="34"/>
                  </a:lnTo>
                  <a:lnTo>
                    <a:pt x="288" y="34"/>
                  </a:lnTo>
                  <a:lnTo>
                    <a:pt x="290" y="34"/>
                  </a:lnTo>
                  <a:lnTo>
                    <a:pt x="292" y="34"/>
                  </a:lnTo>
                  <a:lnTo>
                    <a:pt x="292" y="36"/>
                  </a:lnTo>
                  <a:lnTo>
                    <a:pt x="294" y="36"/>
                  </a:lnTo>
                  <a:lnTo>
                    <a:pt x="296" y="36"/>
                  </a:lnTo>
                  <a:lnTo>
                    <a:pt x="298" y="36"/>
                  </a:lnTo>
                  <a:lnTo>
                    <a:pt x="300" y="36"/>
                  </a:lnTo>
                  <a:lnTo>
                    <a:pt x="302" y="36"/>
                  </a:lnTo>
                  <a:lnTo>
                    <a:pt x="304" y="36"/>
                  </a:lnTo>
                  <a:lnTo>
                    <a:pt x="306" y="36"/>
                  </a:lnTo>
                  <a:lnTo>
                    <a:pt x="308" y="36"/>
                  </a:lnTo>
                  <a:lnTo>
                    <a:pt x="310" y="36"/>
                  </a:lnTo>
                  <a:lnTo>
                    <a:pt x="312" y="36"/>
                  </a:lnTo>
                  <a:lnTo>
                    <a:pt x="314" y="36"/>
                  </a:lnTo>
                  <a:lnTo>
                    <a:pt x="316" y="36"/>
                  </a:lnTo>
                  <a:lnTo>
                    <a:pt x="318" y="36"/>
                  </a:lnTo>
                  <a:lnTo>
                    <a:pt x="320" y="36"/>
                  </a:lnTo>
                  <a:lnTo>
                    <a:pt x="322" y="36"/>
                  </a:lnTo>
                  <a:lnTo>
                    <a:pt x="324" y="38"/>
                  </a:lnTo>
                  <a:lnTo>
                    <a:pt x="326" y="38"/>
                  </a:lnTo>
                  <a:lnTo>
                    <a:pt x="328" y="38"/>
                  </a:lnTo>
                  <a:lnTo>
                    <a:pt x="330" y="38"/>
                  </a:lnTo>
                  <a:lnTo>
                    <a:pt x="332" y="38"/>
                  </a:lnTo>
                  <a:lnTo>
                    <a:pt x="332" y="38"/>
                  </a:lnTo>
                  <a:lnTo>
                    <a:pt x="334" y="38"/>
                  </a:lnTo>
                  <a:lnTo>
                    <a:pt x="336" y="38"/>
                  </a:lnTo>
                  <a:lnTo>
                    <a:pt x="338" y="38"/>
                  </a:lnTo>
                  <a:lnTo>
                    <a:pt x="340" y="38"/>
                  </a:lnTo>
                  <a:lnTo>
                    <a:pt x="344" y="38"/>
                  </a:lnTo>
                  <a:lnTo>
                    <a:pt x="346" y="38"/>
                  </a:lnTo>
                  <a:lnTo>
                    <a:pt x="348" y="38"/>
                  </a:lnTo>
                  <a:lnTo>
                    <a:pt x="350" y="38"/>
                  </a:lnTo>
                  <a:lnTo>
                    <a:pt x="352" y="38"/>
                  </a:lnTo>
                  <a:lnTo>
                    <a:pt x="354" y="38"/>
                  </a:lnTo>
                  <a:lnTo>
                    <a:pt x="356" y="38"/>
                  </a:lnTo>
                  <a:lnTo>
                    <a:pt x="358" y="38"/>
                  </a:lnTo>
                  <a:lnTo>
                    <a:pt x="360" y="38"/>
                  </a:lnTo>
                  <a:lnTo>
                    <a:pt x="360" y="40"/>
                  </a:lnTo>
                  <a:lnTo>
                    <a:pt x="362" y="40"/>
                  </a:lnTo>
                  <a:lnTo>
                    <a:pt x="364" y="40"/>
                  </a:lnTo>
                  <a:lnTo>
                    <a:pt x="364" y="42"/>
                  </a:lnTo>
                  <a:lnTo>
                    <a:pt x="364" y="44"/>
                  </a:lnTo>
                  <a:lnTo>
                    <a:pt x="364" y="46"/>
                  </a:lnTo>
                  <a:lnTo>
                    <a:pt x="364" y="48"/>
                  </a:lnTo>
                  <a:lnTo>
                    <a:pt x="364" y="50"/>
                  </a:lnTo>
                  <a:lnTo>
                    <a:pt x="364" y="52"/>
                  </a:lnTo>
                  <a:lnTo>
                    <a:pt x="364" y="55"/>
                  </a:lnTo>
                  <a:lnTo>
                    <a:pt x="364" y="57"/>
                  </a:lnTo>
                  <a:lnTo>
                    <a:pt x="364" y="59"/>
                  </a:lnTo>
                  <a:lnTo>
                    <a:pt x="364" y="61"/>
                  </a:lnTo>
                  <a:lnTo>
                    <a:pt x="364" y="63"/>
                  </a:lnTo>
                  <a:lnTo>
                    <a:pt x="362" y="63"/>
                  </a:lnTo>
                  <a:lnTo>
                    <a:pt x="362" y="65"/>
                  </a:lnTo>
                  <a:lnTo>
                    <a:pt x="362" y="65"/>
                  </a:lnTo>
                  <a:lnTo>
                    <a:pt x="362" y="67"/>
                  </a:lnTo>
                  <a:lnTo>
                    <a:pt x="362" y="69"/>
                  </a:lnTo>
                  <a:lnTo>
                    <a:pt x="364" y="69"/>
                  </a:lnTo>
                  <a:lnTo>
                    <a:pt x="364" y="71"/>
                  </a:lnTo>
                  <a:lnTo>
                    <a:pt x="364" y="73"/>
                  </a:lnTo>
                  <a:lnTo>
                    <a:pt x="364" y="75"/>
                  </a:lnTo>
                  <a:lnTo>
                    <a:pt x="364" y="77"/>
                  </a:lnTo>
                  <a:lnTo>
                    <a:pt x="364" y="79"/>
                  </a:lnTo>
                  <a:lnTo>
                    <a:pt x="364" y="81"/>
                  </a:lnTo>
                  <a:lnTo>
                    <a:pt x="364" y="83"/>
                  </a:lnTo>
                  <a:lnTo>
                    <a:pt x="364" y="85"/>
                  </a:lnTo>
                  <a:lnTo>
                    <a:pt x="364" y="87"/>
                  </a:lnTo>
                  <a:lnTo>
                    <a:pt x="364" y="89"/>
                  </a:lnTo>
                  <a:lnTo>
                    <a:pt x="364" y="91"/>
                  </a:lnTo>
                  <a:lnTo>
                    <a:pt x="366" y="91"/>
                  </a:lnTo>
                  <a:lnTo>
                    <a:pt x="366" y="93"/>
                  </a:lnTo>
                  <a:lnTo>
                    <a:pt x="366" y="95"/>
                  </a:lnTo>
                  <a:lnTo>
                    <a:pt x="366" y="97"/>
                  </a:lnTo>
                  <a:lnTo>
                    <a:pt x="366" y="99"/>
                  </a:lnTo>
                  <a:lnTo>
                    <a:pt x="366" y="101"/>
                  </a:lnTo>
                  <a:lnTo>
                    <a:pt x="366" y="103"/>
                  </a:lnTo>
                  <a:lnTo>
                    <a:pt x="366" y="105"/>
                  </a:lnTo>
                  <a:lnTo>
                    <a:pt x="366" y="107"/>
                  </a:lnTo>
                  <a:lnTo>
                    <a:pt x="366" y="109"/>
                  </a:lnTo>
                  <a:lnTo>
                    <a:pt x="366" y="111"/>
                  </a:lnTo>
                  <a:lnTo>
                    <a:pt x="368" y="111"/>
                  </a:lnTo>
                  <a:lnTo>
                    <a:pt x="368" y="113"/>
                  </a:lnTo>
                  <a:lnTo>
                    <a:pt x="368" y="113"/>
                  </a:lnTo>
                  <a:lnTo>
                    <a:pt x="368" y="115"/>
                  </a:lnTo>
                  <a:lnTo>
                    <a:pt x="368" y="117"/>
                  </a:lnTo>
                  <a:lnTo>
                    <a:pt x="368" y="119"/>
                  </a:lnTo>
                  <a:lnTo>
                    <a:pt x="368" y="121"/>
                  </a:lnTo>
                  <a:lnTo>
                    <a:pt x="368" y="123"/>
                  </a:lnTo>
                  <a:lnTo>
                    <a:pt x="368" y="125"/>
                  </a:lnTo>
                  <a:lnTo>
                    <a:pt x="368" y="127"/>
                  </a:lnTo>
                  <a:lnTo>
                    <a:pt x="368" y="129"/>
                  </a:lnTo>
                  <a:lnTo>
                    <a:pt x="368" y="131"/>
                  </a:lnTo>
                  <a:lnTo>
                    <a:pt x="368" y="133"/>
                  </a:lnTo>
                  <a:lnTo>
                    <a:pt x="368" y="135"/>
                  </a:lnTo>
                  <a:lnTo>
                    <a:pt x="368" y="137"/>
                  </a:lnTo>
                  <a:lnTo>
                    <a:pt x="368" y="139"/>
                  </a:lnTo>
                  <a:lnTo>
                    <a:pt x="368" y="141"/>
                  </a:lnTo>
                  <a:lnTo>
                    <a:pt x="368" y="143"/>
                  </a:lnTo>
                  <a:lnTo>
                    <a:pt x="368" y="145"/>
                  </a:lnTo>
                  <a:lnTo>
                    <a:pt x="368" y="147"/>
                  </a:lnTo>
                  <a:lnTo>
                    <a:pt x="368" y="149"/>
                  </a:lnTo>
                  <a:lnTo>
                    <a:pt x="368" y="151"/>
                  </a:lnTo>
                  <a:lnTo>
                    <a:pt x="366" y="151"/>
                  </a:lnTo>
                  <a:lnTo>
                    <a:pt x="366" y="153"/>
                  </a:lnTo>
                  <a:lnTo>
                    <a:pt x="366" y="155"/>
                  </a:lnTo>
                  <a:lnTo>
                    <a:pt x="366" y="157"/>
                  </a:lnTo>
                  <a:lnTo>
                    <a:pt x="366" y="159"/>
                  </a:lnTo>
                  <a:lnTo>
                    <a:pt x="366" y="161"/>
                  </a:lnTo>
                  <a:lnTo>
                    <a:pt x="366" y="161"/>
                  </a:lnTo>
                  <a:lnTo>
                    <a:pt x="366" y="163"/>
                  </a:lnTo>
                  <a:lnTo>
                    <a:pt x="366" y="165"/>
                  </a:lnTo>
                  <a:lnTo>
                    <a:pt x="366" y="167"/>
                  </a:lnTo>
                  <a:lnTo>
                    <a:pt x="366" y="169"/>
                  </a:lnTo>
                  <a:lnTo>
                    <a:pt x="366" y="171"/>
                  </a:lnTo>
                  <a:lnTo>
                    <a:pt x="366" y="173"/>
                  </a:lnTo>
                  <a:lnTo>
                    <a:pt x="366" y="175"/>
                  </a:lnTo>
                  <a:lnTo>
                    <a:pt x="366" y="177"/>
                  </a:lnTo>
                  <a:lnTo>
                    <a:pt x="366" y="179"/>
                  </a:lnTo>
                  <a:lnTo>
                    <a:pt x="364" y="179"/>
                  </a:lnTo>
                  <a:lnTo>
                    <a:pt x="364" y="181"/>
                  </a:lnTo>
                  <a:lnTo>
                    <a:pt x="364" y="183"/>
                  </a:lnTo>
                  <a:lnTo>
                    <a:pt x="364" y="185"/>
                  </a:lnTo>
                  <a:lnTo>
                    <a:pt x="364" y="187"/>
                  </a:lnTo>
                  <a:lnTo>
                    <a:pt x="364" y="189"/>
                  </a:lnTo>
                  <a:lnTo>
                    <a:pt x="364" y="191"/>
                  </a:lnTo>
                  <a:lnTo>
                    <a:pt x="364" y="193"/>
                  </a:lnTo>
                  <a:lnTo>
                    <a:pt x="364" y="195"/>
                  </a:lnTo>
                  <a:lnTo>
                    <a:pt x="364" y="197"/>
                  </a:lnTo>
                  <a:lnTo>
                    <a:pt x="364" y="199"/>
                  </a:lnTo>
                  <a:lnTo>
                    <a:pt x="364" y="201"/>
                  </a:lnTo>
                  <a:lnTo>
                    <a:pt x="364" y="203"/>
                  </a:lnTo>
                  <a:lnTo>
                    <a:pt x="364" y="205"/>
                  </a:lnTo>
                  <a:lnTo>
                    <a:pt x="364" y="207"/>
                  </a:lnTo>
                  <a:lnTo>
                    <a:pt x="364" y="209"/>
                  </a:lnTo>
                  <a:lnTo>
                    <a:pt x="362" y="209"/>
                  </a:lnTo>
                  <a:lnTo>
                    <a:pt x="362" y="211"/>
                  </a:lnTo>
                  <a:lnTo>
                    <a:pt x="362" y="213"/>
                  </a:lnTo>
                  <a:lnTo>
                    <a:pt x="362" y="215"/>
                  </a:lnTo>
                  <a:lnTo>
                    <a:pt x="362" y="217"/>
                  </a:lnTo>
                  <a:lnTo>
                    <a:pt x="362" y="219"/>
                  </a:lnTo>
                  <a:lnTo>
                    <a:pt x="362" y="221"/>
                  </a:lnTo>
                  <a:lnTo>
                    <a:pt x="362" y="223"/>
                  </a:lnTo>
                  <a:lnTo>
                    <a:pt x="360" y="223"/>
                  </a:lnTo>
                  <a:lnTo>
                    <a:pt x="360" y="221"/>
                  </a:lnTo>
                  <a:lnTo>
                    <a:pt x="360" y="223"/>
                  </a:lnTo>
                  <a:lnTo>
                    <a:pt x="358" y="223"/>
                  </a:lnTo>
                  <a:lnTo>
                    <a:pt x="358" y="221"/>
                  </a:lnTo>
                  <a:lnTo>
                    <a:pt x="360" y="221"/>
                  </a:lnTo>
                  <a:lnTo>
                    <a:pt x="358" y="221"/>
                  </a:lnTo>
                  <a:lnTo>
                    <a:pt x="358" y="219"/>
                  </a:lnTo>
                  <a:lnTo>
                    <a:pt x="358" y="221"/>
                  </a:lnTo>
                  <a:lnTo>
                    <a:pt x="356" y="221"/>
                  </a:lnTo>
                  <a:lnTo>
                    <a:pt x="356" y="219"/>
                  </a:lnTo>
                  <a:lnTo>
                    <a:pt x="354" y="219"/>
                  </a:lnTo>
                  <a:lnTo>
                    <a:pt x="354" y="221"/>
                  </a:lnTo>
                  <a:lnTo>
                    <a:pt x="354" y="219"/>
                  </a:lnTo>
                  <a:lnTo>
                    <a:pt x="352" y="219"/>
                  </a:lnTo>
                  <a:lnTo>
                    <a:pt x="350" y="219"/>
                  </a:lnTo>
                  <a:lnTo>
                    <a:pt x="350" y="217"/>
                  </a:lnTo>
                  <a:lnTo>
                    <a:pt x="350" y="215"/>
                  </a:lnTo>
                  <a:lnTo>
                    <a:pt x="350" y="217"/>
                  </a:lnTo>
                  <a:lnTo>
                    <a:pt x="348" y="217"/>
                  </a:lnTo>
                  <a:lnTo>
                    <a:pt x="348" y="215"/>
                  </a:lnTo>
                  <a:lnTo>
                    <a:pt x="346" y="215"/>
                  </a:lnTo>
                  <a:lnTo>
                    <a:pt x="346" y="213"/>
                  </a:lnTo>
                  <a:lnTo>
                    <a:pt x="346" y="215"/>
                  </a:lnTo>
                  <a:lnTo>
                    <a:pt x="344" y="215"/>
                  </a:lnTo>
                  <a:lnTo>
                    <a:pt x="344" y="213"/>
                  </a:lnTo>
                  <a:lnTo>
                    <a:pt x="342" y="213"/>
                  </a:lnTo>
                  <a:lnTo>
                    <a:pt x="342" y="211"/>
                  </a:lnTo>
                  <a:lnTo>
                    <a:pt x="340" y="211"/>
                  </a:lnTo>
                  <a:lnTo>
                    <a:pt x="340" y="209"/>
                  </a:lnTo>
                  <a:lnTo>
                    <a:pt x="338" y="209"/>
                  </a:lnTo>
                  <a:lnTo>
                    <a:pt x="338" y="209"/>
                  </a:lnTo>
                  <a:lnTo>
                    <a:pt x="338" y="209"/>
                  </a:lnTo>
                  <a:lnTo>
                    <a:pt x="336" y="209"/>
                  </a:lnTo>
                  <a:lnTo>
                    <a:pt x="336" y="209"/>
                  </a:lnTo>
                  <a:lnTo>
                    <a:pt x="336" y="207"/>
                  </a:lnTo>
                  <a:lnTo>
                    <a:pt x="334" y="207"/>
                  </a:lnTo>
                  <a:lnTo>
                    <a:pt x="334" y="209"/>
                  </a:lnTo>
                  <a:lnTo>
                    <a:pt x="334" y="207"/>
                  </a:lnTo>
                  <a:lnTo>
                    <a:pt x="332" y="207"/>
                  </a:lnTo>
                  <a:lnTo>
                    <a:pt x="332" y="205"/>
                  </a:lnTo>
                  <a:lnTo>
                    <a:pt x="332" y="205"/>
                  </a:lnTo>
                  <a:lnTo>
                    <a:pt x="330" y="205"/>
                  </a:lnTo>
                  <a:lnTo>
                    <a:pt x="330" y="203"/>
                  </a:lnTo>
                  <a:lnTo>
                    <a:pt x="330" y="205"/>
                  </a:lnTo>
                  <a:lnTo>
                    <a:pt x="328" y="205"/>
                  </a:lnTo>
                  <a:lnTo>
                    <a:pt x="328" y="207"/>
                  </a:lnTo>
                  <a:lnTo>
                    <a:pt x="328" y="209"/>
                  </a:lnTo>
                  <a:lnTo>
                    <a:pt x="328" y="207"/>
                  </a:lnTo>
                  <a:lnTo>
                    <a:pt x="326" y="207"/>
                  </a:lnTo>
                  <a:lnTo>
                    <a:pt x="326" y="209"/>
                  </a:lnTo>
                  <a:lnTo>
                    <a:pt x="324" y="209"/>
                  </a:lnTo>
                  <a:lnTo>
                    <a:pt x="324" y="207"/>
                  </a:lnTo>
                  <a:lnTo>
                    <a:pt x="324" y="209"/>
                  </a:lnTo>
                  <a:lnTo>
                    <a:pt x="322" y="209"/>
                  </a:lnTo>
                  <a:lnTo>
                    <a:pt x="320" y="209"/>
                  </a:lnTo>
                  <a:lnTo>
                    <a:pt x="318" y="209"/>
                  </a:lnTo>
                  <a:lnTo>
                    <a:pt x="318" y="207"/>
                  </a:lnTo>
                  <a:lnTo>
                    <a:pt x="318" y="209"/>
                  </a:lnTo>
                  <a:lnTo>
                    <a:pt x="316" y="209"/>
                  </a:lnTo>
                  <a:lnTo>
                    <a:pt x="316" y="207"/>
                  </a:lnTo>
                  <a:lnTo>
                    <a:pt x="314" y="207"/>
                  </a:lnTo>
                  <a:lnTo>
                    <a:pt x="314" y="205"/>
                  </a:lnTo>
                  <a:lnTo>
                    <a:pt x="312" y="205"/>
                  </a:lnTo>
                  <a:lnTo>
                    <a:pt x="310" y="205"/>
                  </a:lnTo>
                  <a:lnTo>
                    <a:pt x="308" y="205"/>
                  </a:lnTo>
                  <a:lnTo>
                    <a:pt x="308" y="207"/>
                  </a:lnTo>
                  <a:lnTo>
                    <a:pt x="306" y="207"/>
                  </a:lnTo>
                  <a:lnTo>
                    <a:pt x="304" y="207"/>
                  </a:lnTo>
                  <a:lnTo>
                    <a:pt x="304" y="209"/>
                  </a:lnTo>
                  <a:lnTo>
                    <a:pt x="302" y="209"/>
                  </a:lnTo>
                  <a:lnTo>
                    <a:pt x="302" y="207"/>
                  </a:lnTo>
                  <a:lnTo>
                    <a:pt x="302" y="209"/>
                  </a:lnTo>
                  <a:lnTo>
                    <a:pt x="300" y="209"/>
                  </a:lnTo>
                  <a:lnTo>
                    <a:pt x="298" y="209"/>
                  </a:lnTo>
                  <a:lnTo>
                    <a:pt x="298" y="207"/>
                  </a:lnTo>
                  <a:lnTo>
                    <a:pt x="296" y="207"/>
                  </a:lnTo>
                  <a:lnTo>
                    <a:pt x="294" y="207"/>
                  </a:lnTo>
                  <a:lnTo>
                    <a:pt x="292" y="207"/>
                  </a:lnTo>
                  <a:lnTo>
                    <a:pt x="292" y="209"/>
                  </a:lnTo>
                  <a:lnTo>
                    <a:pt x="292" y="207"/>
                  </a:lnTo>
                  <a:lnTo>
                    <a:pt x="292" y="209"/>
                  </a:lnTo>
                  <a:lnTo>
                    <a:pt x="290" y="209"/>
                  </a:lnTo>
                  <a:lnTo>
                    <a:pt x="288" y="209"/>
                  </a:lnTo>
                  <a:lnTo>
                    <a:pt x="288" y="207"/>
                  </a:lnTo>
                  <a:lnTo>
                    <a:pt x="288" y="209"/>
                  </a:lnTo>
                  <a:lnTo>
                    <a:pt x="286" y="209"/>
                  </a:lnTo>
                  <a:lnTo>
                    <a:pt x="284" y="209"/>
                  </a:lnTo>
                  <a:lnTo>
                    <a:pt x="284" y="209"/>
                  </a:lnTo>
                  <a:lnTo>
                    <a:pt x="284" y="209"/>
                  </a:lnTo>
                  <a:lnTo>
                    <a:pt x="286" y="209"/>
                  </a:lnTo>
                  <a:lnTo>
                    <a:pt x="284" y="209"/>
                  </a:lnTo>
                  <a:lnTo>
                    <a:pt x="284" y="209"/>
                  </a:lnTo>
                  <a:lnTo>
                    <a:pt x="284" y="211"/>
                  </a:lnTo>
                  <a:lnTo>
                    <a:pt x="284" y="211"/>
                  </a:lnTo>
                  <a:lnTo>
                    <a:pt x="282" y="211"/>
                  </a:lnTo>
                  <a:lnTo>
                    <a:pt x="282" y="209"/>
                  </a:lnTo>
                  <a:lnTo>
                    <a:pt x="280" y="209"/>
                  </a:lnTo>
                  <a:lnTo>
                    <a:pt x="280" y="211"/>
                  </a:lnTo>
                  <a:lnTo>
                    <a:pt x="280" y="213"/>
                  </a:lnTo>
                  <a:lnTo>
                    <a:pt x="278" y="213"/>
                  </a:lnTo>
                  <a:lnTo>
                    <a:pt x="278" y="215"/>
                  </a:lnTo>
                  <a:lnTo>
                    <a:pt x="276" y="215"/>
                  </a:lnTo>
                  <a:lnTo>
                    <a:pt x="276" y="213"/>
                  </a:lnTo>
                  <a:lnTo>
                    <a:pt x="276" y="211"/>
                  </a:lnTo>
                  <a:lnTo>
                    <a:pt x="274" y="211"/>
                  </a:lnTo>
                  <a:lnTo>
                    <a:pt x="274" y="209"/>
                  </a:lnTo>
                  <a:lnTo>
                    <a:pt x="272" y="209"/>
                  </a:lnTo>
                  <a:lnTo>
                    <a:pt x="270" y="209"/>
                  </a:lnTo>
                  <a:lnTo>
                    <a:pt x="270" y="209"/>
                  </a:lnTo>
                  <a:lnTo>
                    <a:pt x="270" y="207"/>
                  </a:lnTo>
                  <a:lnTo>
                    <a:pt x="268" y="207"/>
                  </a:lnTo>
                  <a:lnTo>
                    <a:pt x="266" y="207"/>
                  </a:lnTo>
                  <a:lnTo>
                    <a:pt x="264" y="207"/>
                  </a:lnTo>
                  <a:lnTo>
                    <a:pt x="264" y="205"/>
                  </a:lnTo>
                  <a:lnTo>
                    <a:pt x="266" y="205"/>
                  </a:lnTo>
                  <a:lnTo>
                    <a:pt x="268" y="203"/>
                  </a:lnTo>
                  <a:lnTo>
                    <a:pt x="266" y="203"/>
                  </a:lnTo>
                  <a:lnTo>
                    <a:pt x="264" y="203"/>
                  </a:lnTo>
                  <a:lnTo>
                    <a:pt x="264" y="201"/>
                  </a:lnTo>
                  <a:lnTo>
                    <a:pt x="264" y="203"/>
                  </a:lnTo>
                  <a:lnTo>
                    <a:pt x="262" y="203"/>
                  </a:lnTo>
                  <a:lnTo>
                    <a:pt x="262" y="205"/>
                  </a:lnTo>
                  <a:lnTo>
                    <a:pt x="262" y="207"/>
                  </a:lnTo>
                  <a:lnTo>
                    <a:pt x="260" y="207"/>
                  </a:lnTo>
                  <a:lnTo>
                    <a:pt x="258" y="207"/>
                  </a:lnTo>
                  <a:lnTo>
                    <a:pt x="258" y="205"/>
                  </a:lnTo>
                  <a:lnTo>
                    <a:pt x="256" y="205"/>
                  </a:lnTo>
                  <a:lnTo>
                    <a:pt x="256" y="203"/>
                  </a:lnTo>
                  <a:lnTo>
                    <a:pt x="254" y="205"/>
                  </a:lnTo>
                  <a:lnTo>
                    <a:pt x="252" y="203"/>
                  </a:lnTo>
                  <a:lnTo>
                    <a:pt x="252" y="201"/>
                  </a:lnTo>
                  <a:lnTo>
                    <a:pt x="252" y="199"/>
                  </a:lnTo>
                  <a:lnTo>
                    <a:pt x="250" y="199"/>
                  </a:lnTo>
                  <a:lnTo>
                    <a:pt x="248" y="199"/>
                  </a:lnTo>
                  <a:lnTo>
                    <a:pt x="248" y="201"/>
                  </a:lnTo>
                  <a:lnTo>
                    <a:pt x="248" y="203"/>
                  </a:lnTo>
                  <a:lnTo>
                    <a:pt x="246" y="203"/>
                  </a:lnTo>
                  <a:lnTo>
                    <a:pt x="246" y="205"/>
                  </a:lnTo>
                  <a:lnTo>
                    <a:pt x="244" y="205"/>
                  </a:lnTo>
                  <a:lnTo>
                    <a:pt x="244" y="203"/>
                  </a:lnTo>
                  <a:lnTo>
                    <a:pt x="244" y="205"/>
                  </a:lnTo>
                  <a:lnTo>
                    <a:pt x="242" y="205"/>
                  </a:lnTo>
                  <a:lnTo>
                    <a:pt x="244" y="205"/>
                  </a:lnTo>
                  <a:lnTo>
                    <a:pt x="244" y="207"/>
                  </a:lnTo>
                  <a:lnTo>
                    <a:pt x="242" y="207"/>
                  </a:lnTo>
                  <a:lnTo>
                    <a:pt x="242" y="209"/>
                  </a:lnTo>
                  <a:lnTo>
                    <a:pt x="242" y="209"/>
                  </a:lnTo>
                  <a:lnTo>
                    <a:pt x="240" y="209"/>
                  </a:lnTo>
                  <a:lnTo>
                    <a:pt x="238" y="209"/>
                  </a:lnTo>
                  <a:lnTo>
                    <a:pt x="238" y="209"/>
                  </a:lnTo>
                  <a:lnTo>
                    <a:pt x="238" y="207"/>
                  </a:lnTo>
                  <a:lnTo>
                    <a:pt x="238" y="205"/>
                  </a:lnTo>
                  <a:lnTo>
                    <a:pt x="240" y="205"/>
                  </a:lnTo>
                  <a:lnTo>
                    <a:pt x="240" y="203"/>
                  </a:lnTo>
                  <a:lnTo>
                    <a:pt x="238" y="203"/>
                  </a:lnTo>
                  <a:lnTo>
                    <a:pt x="238" y="201"/>
                  </a:lnTo>
                  <a:lnTo>
                    <a:pt x="238" y="199"/>
                  </a:lnTo>
                  <a:lnTo>
                    <a:pt x="238" y="201"/>
                  </a:lnTo>
                  <a:lnTo>
                    <a:pt x="236" y="201"/>
                  </a:lnTo>
                  <a:lnTo>
                    <a:pt x="236" y="203"/>
                  </a:lnTo>
                  <a:lnTo>
                    <a:pt x="236" y="203"/>
                  </a:lnTo>
                  <a:lnTo>
                    <a:pt x="236" y="201"/>
                  </a:lnTo>
                  <a:lnTo>
                    <a:pt x="234" y="201"/>
                  </a:lnTo>
                  <a:lnTo>
                    <a:pt x="234" y="203"/>
                  </a:lnTo>
                  <a:lnTo>
                    <a:pt x="234" y="201"/>
                  </a:lnTo>
                  <a:lnTo>
                    <a:pt x="234" y="203"/>
                  </a:lnTo>
                  <a:lnTo>
                    <a:pt x="232" y="203"/>
                  </a:lnTo>
                  <a:lnTo>
                    <a:pt x="232" y="205"/>
                  </a:lnTo>
                  <a:lnTo>
                    <a:pt x="230" y="205"/>
                  </a:lnTo>
                  <a:lnTo>
                    <a:pt x="228" y="205"/>
                  </a:lnTo>
                  <a:lnTo>
                    <a:pt x="228" y="203"/>
                  </a:lnTo>
                  <a:lnTo>
                    <a:pt x="228" y="201"/>
                  </a:lnTo>
                  <a:lnTo>
                    <a:pt x="228" y="199"/>
                  </a:lnTo>
                  <a:lnTo>
                    <a:pt x="226" y="199"/>
                  </a:lnTo>
                  <a:lnTo>
                    <a:pt x="224" y="199"/>
                  </a:lnTo>
                  <a:lnTo>
                    <a:pt x="222" y="199"/>
                  </a:lnTo>
                  <a:lnTo>
                    <a:pt x="222" y="197"/>
                  </a:lnTo>
                  <a:lnTo>
                    <a:pt x="222" y="195"/>
                  </a:lnTo>
                  <a:lnTo>
                    <a:pt x="220" y="195"/>
                  </a:lnTo>
                  <a:lnTo>
                    <a:pt x="218" y="195"/>
                  </a:lnTo>
                  <a:lnTo>
                    <a:pt x="218" y="193"/>
                  </a:lnTo>
                  <a:lnTo>
                    <a:pt x="218" y="195"/>
                  </a:lnTo>
                  <a:lnTo>
                    <a:pt x="216" y="195"/>
                  </a:lnTo>
                  <a:lnTo>
                    <a:pt x="216" y="197"/>
                  </a:lnTo>
                  <a:lnTo>
                    <a:pt x="214" y="197"/>
                  </a:lnTo>
                  <a:lnTo>
                    <a:pt x="212" y="197"/>
                  </a:lnTo>
                  <a:lnTo>
                    <a:pt x="212" y="199"/>
                  </a:lnTo>
                  <a:lnTo>
                    <a:pt x="210" y="199"/>
                  </a:lnTo>
                  <a:lnTo>
                    <a:pt x="210" y="201"/>
                  </a:lnTo>
                  <a:lnTo>
                    <a:pt x="208" y="201"/>
                  </a:lnTo>
                  <a:lnTo>
                    <a:pt x="206" y="201"/>
                  </a:lnTo>
                  <a:lnTo>
                    <a:pt x="206" y="199"/>
                  </a:lnTo>
                  <a:lnTo>
                    <a:pt x="204" y="199"/>
                  </a:lnTo>
                  <a:lnTo>
                    <a:pt x="202" y="197"/>
                  </a:lnTo>
                  <a:lnTo>
                    <a:pt x="204" y="197"/>
                  </a:lnTo>
                  <a:lnTo>
                    <a:pt x="204" y="195"/>
                  </a:lnTo>
                  <a:lnTo>
                    <a:pt x="204" y="193"/>
                  </a:lnTo>
                  <a:lnTo>
                    <a:pt x="206" y="193"/>
                  </a:lnTo>
                  <a:lnTo>
                    <a:pt x="204" y="193"/>
                  </a:lnTo>
                  <a:lnTo>
                    <a:pt x="204" y="191"/>
                  </a:lnTo>
                  <a:lnTo>
                    <a:pt x="202" y="191"/>
                  </a:lnTo>
                  <a:lnTo>
                    <a:pt x="202" y="193"/>
                  </a:lnTo>
                  <a:lnTo>
                    <a:pt x="200" y="193"/>
                  </a:lnTo>
                  <a:lnTo>
                    <a:pt x="200" y="191"/>
                  </a:lnTo>
                  <a:lnTo>
                    <a:pt x="198" y="191"/>
                  </a:lnTo>
                  <a:lnTo>
                    <a:pt x="198" y="189"/>
                  </a:lnTo>
                  <a:lnTo>
                    <a:pt x="198" y="187"/>
                  </a:lnTo>
                  <a:lnTo>
                    <a:pt x="198" y="185"/>
                  </a:lnTo>
                  <a:lnTo>
                    <a:pt x="200" y="185"/>
                  </a:lnTo>
                  <a:lnTo>
                    <a:pt x="200" y="183"/>
                  </a:lnTo>
                  <a:lnTo>
                    <a:pt x="198" y="183"/>
                  </a:lnTo>
                  <a:lnTo>
                    <a:pt x="196" y="183"/>
                  </a:lnTo>
                  <a:lnTo>
                    <a:pt x="196" y="185"/>
                  </a:lnTo>
                  <a:lnTo>
                    <a:pt x="194" y="185"/>
                  </a:lnTo>
                  <a:lnTo>
                    <a:pt x="194" y="183"/>
                  </a:lnTo>
                  <a:lnTo>
                    <a:pt x="192" y="183"/>
                  </a:lnTo>
                  <a:lnTo>
                    <a:pt x="190" y="183"/>
                  </a:lnTo>
                  <a:lnTo>
                    <a:pt x="188" y="183"/>
                  </a:lnTo>
                  <a:lnTo>
                    <a:pt x="188" y="181"/>
                  </a:lnTo>
                  <a:lnTo>
                    <a:pt x="188" y="181"/>
                  </a:lnTo>
                  <a:lnTo>
                    <a:pt x="188" y="183"/>
                  </a:lnTo>
                  <a:lnTo>
                    <a:pt x="186" y="183"/>
                  </a:lnTo>
                  <a:lnTo>
                    <a:pt x="186" y="185"/>
                  </a:lnTo>
                  <a:lnTo>
                    <a:pt x="184" y="185"/>
                  </a:lnTo>
                  <a:lnTo>
                    <a:pt x="182" y="185"/>
                  </a:lnTo>
                  <a:lnTo>
                    <a:pt x="182" y="187"/>
                  </a:lnTo>
                  <a:lnTo>
                    <a:pt x="182" y="185"/>
                  </a:lnTo>
                  <a:lnTo>
                    <a:pt x="180" y="185"/>
                  </a:lnTo>
                  <a:lnTo>
                    <a:pt x="180" y="183"/>
                  </a:lnTo>
                  <a:lnTo>
                    <a:pt x="178" y="183"/>
                  </a:lnTo>
                  <a:lnTo>
                    <a:pt x="180" y="181"/>
                  </a:lnTo>
                  <a:lnTo>
                    <a:pt x="180" y="183"/>
                  </a:lnTo>
                  <a:lnTo>
                    <a:pt x="180" y="181"/>
                  </a:lnTo>
                  <a:lnTo>
                    <a:pt x="178" y="181"/>
                  </a:lnTo>
                  <a:lnTo>
                    <a:pt x="178" y="179"/>
                  </a:lnTo>
                  <a:lnTo>
                    <a:pt x="176" y="179"/>
                  </a:lnTo>
                  <a:lnTo>
                    <a:pt x="176" y="181"/>
                  </a:lnTo>
                  <a:lnTo>
                    <a:pt x="176" y="179"/>
                  </a:lnTo>
                  <a:lnTo>
                    <a:pt x="174" y="179"/>
                  </a:lnTo>
                  <a:lnTo>
                    <a:pt x="174" y="181"/>
                  </a:lnTo>
                  <a:lnTo>
                    <a:pt x="172" y="181"/>
                  </a:lnTo>
                  <a:lnTo>
                    <a:pt x="170" y="181"/>
                  </a:lnTo>
                  <a:lnTo>
                    <a:pt x="168" y="181"/>
                  </a:lnTo>
                  <a:lnTo>
                    <a:pt x="168" y="179"/>
                  </a:lnTo>
                  <a:lnTo>
                    <a:pt x="166" y="179"/>
                  </a:lnTo>
                  <a:lnTo>
                    <a:pt x="164" y="179"/>
                  </a:lnTo>
                  <a:lnTo>
                    <a:pt x="164" y="177"/>
                  </a:lnTo>
                  <a:lnTo>
                    <a:pt x="162" y="177"/>
                  </a:lnTo>
                  <a:lnTo>
                    <a:pt x="162" y="175"/>
                  </a:lnTo>
                  <a:lnTo>
                    <a:pt x="160" y="175"/>
                  </a:lnTo>
                  <a:lnTo>
                    <a:pt x="158" y="175"/>
                  </a:lnTo>
                  <a:lnTo>
                    <a:pt x="156" y="175"/>
                  </a:lnTo>
                  <a:lnTo>
                    <a:pt x="154" y="175"/>
                  </a:lnTo>
                  <a:lnTo>
                    <a:pt x="152" y="175"/>
                  </a:lnTo>
                  <a:lnTo>
                    <a:pt x="152" y="173"/>
                  </a:lnTo>
                  <a:lnTo>
                    <a:pt x="152" y="175"/>
                  </a:lnTo>
                  <a:lnTo>
                    <a:pt x="150" y="175"/>
                  </a:lnTo>
                  <a:lnTo>
                    <a:pt x="150" y="173"/>
                  </a:lnTo>
                  <a:lnTo>
                    <a:pt x="150" y="171"/>
                  </a:lnTo>
                  <a:lnTo>
                    <a:pt x="150" y="169"/>
                  </a:lnTo>
                  <a:lnTo>
                    <a:pt x="150" y="167"/>
                  </a:lnTo>
                  <a:lnTo>
                    <a:pt x="148" y="167"/>
                  </a:lnTo>
                  <a:lnTo>
                    <a:pt x="150" y="165"/>
                  </a:lnTo>
                  <a:lnTo>
                    <a:pt x="148" y="165"/>
                  </a:lnTo>
                  <a:lnTo>
                    <a:pt x="148" y="163"/>
                  </a:lnTo>
                  <a:lnTo>
                    <a:pt x="146" y="163"/>
                  </a:lnTo>
                  <a:lnTo>
                    <a:pt x="146" y="161"/>
                  </a:lnTo>
                  <a:lnTo>
                    <a:pt x="146" y="163"/>
                  </a:lnTo>
                  <a:lnTo>
                    <a:pt x="146" y="161"/>
                  </a:lnTo>
                  <a:lnTo>
                    <a:pt x="144" y="161"/>
                  </a:lnTo>
                  <a:lnTo>
                    <a:pt x="144" y="161"/>
                  </a:lnTo>
                  <a:lnTo>
                    <a:pt x="142" y="161"/>
                  </a:lnTo>
                  <a:lnTo>
                    <a:pt x="142" y="161"/>
                  </a:lnTo>
                  <a:lnTo>
                    <a:pt x="142" y="163"/>
                  </a:lnTo>
                  <a:lnTo>
                    <a:pt x="140" y="163"/>
                  </a:lnTo>
                  <a:lnTo>
                    <a:pt x="140" y="163"/>
                  </a:lnTo>
                  <a:lnTo>
                    <a:pt x="140" y="161"/>
                  </a:lnTo>
                  <a:lnTo>
                    <a:pt x="138" y="161"/>
                  </a:lnTo>
                  <a:lnTo>
                    <a:pt x="136" y="161"/>
                  </a:lnTo>
                  <a:lnTo>
                    <a:pt x="134" y="161"/>
                  </a:lnTo>
                  <a:lnTo>
                    <a:pt x="134" y="163"/>
                  </a:lnTo>
                  <a:lnTo>
                    <a:pt x="132" y="163"/>
                  </a:lnTo>
                  <a:lnTo>
                    <a:pt x="132" y="161"/>
                  </a:lnTo>
                  <a:lnTo>
                    <a:pt x="132" y="163"/>
                  </a:lnTo>
                  <a:lnTo>
                    <a:pt x="130" y="163"/>
                  </a:lnTo>
                  <a:lnTo>
                    <a:pt x="130" y="161"/>
                  </a:lnTo>
                  <a:lnTo>
                    <a:pt x="128" y="161"/>
                  </a:lnTo>
                  <a:lnTo>
                    <a:pt x="128" y="161"/>
                  </a:lnTo>
                  <a:lnTo>
                    <a:pt x="126" y="161"/>
                  </a:lnTo>
                  <a:lnTo>
                    <a:pt x="126" y="159"/>
                  </a:lnTo>
                  <a:lnTo>
                    <a:pt x="124" y="159"/>
                  </a:lnTo>
                  <a:lnTo>
                    <a:pt x="124" y="157"/>
                  </a:lnTo>
                  <a:lnTo>
                    <a:pt x="124" y="155"/>
                  </a:lnTo>
                  <a:lnTo>
                    <a:pt x="122" y="155"/>
                  </a:lnTo>
                  <a:lnTo>
                    <a:pt x="122" y="153"/>
                  </a:lnTo>
                  <a:lnTo>
                    <a:pt x="120" y="153"/>
                  </a:lnTo>
                  <a:lnTo>
                    <a:pt x="120" y="151"/>
                  </a:lnTo>
                  <a:lnTo>
                    <a:pt x="118" y="151"/>
                  </a:lnTo>
                  <a:lnTo>
                    <a:pt x="116" y="151"/>
                  </a:lnTo>
                  <a:lnTo>
                    <a:pt x="118" y="141"/>
                  </a:lnTo>
                  <a:lnTo>
                    <a:pt x="120" y="125"/>
                  </a:lnTo>
                  <a:lnTo>
                    <a:pt x="120" y="117"/>
                  </a:lnTo>
                  <a:lnTo>
                    <a:pt x="122" y="107"/>
                  </a:lnTo>
                  <a:lnTo>
                    <a:pt x="122" y="105"/>
                  </a:lnTo>
                  <a:lnTo>
                    <a:pt x="124" y="95"/>
                  </a:lnTo>
                  <a:lnTo>
                    <a:pt x="126" y="79"/>
                  </a:lnTo>
                  <a:lnTo>
                    <a:pt x="128" y="71"/>
                  </a:lnTo>
                  <a:lnTo>
                    <a:pt x="128" y="69"/>
                  </a:lnTo>
                  <a:lnTo>
                    <a:pt x="130" y="46"/>
                  </a:lnTo>
                  <a:lnTo>
                    <a:pt x="128" y="46"/>
                  </a:lnTo>
                  <a:lnTo>
                    <a:pt x="126" y="46"/>
                  </a:lnTo>
                  <a:lnTo>
                    <a:pt x="124" y="46"/>
                  </a:lnTo>
                  <a:lnTo>
                    <a:pt x="122" y="46"/>
                  </a:lnTo>
                  <a:lnTo>
                    <a:pt x="120" y="44"/>
                  </a:lnTo>
                  <a:lnTo>
                    <a:pt x="118" y="44"/>
                  </a:lnTo>
                  <a:lnTo>
                    <a:pt x="116" y="44"/>
                  </a:lnTo>
                  <a:lnTo>
                    <a:pt x="114" y="44"/>
                  </a:lnTo>
                  <a:lnTo>
                    <a:pt x="112" y="44"/>
                  </a:lnTo>
                  <a:lnTo>
                    <a:pt x="110" y="44"/>
                  </a:lnTo>
                  <a:lnTo>
                    <a:pt x="108" y="44"/>
                  </a:lnTo>
                  <a:lnTo>
                    <a:pt x="106" y="44"/>
                  </a:lnTo>
                  <a:lnTo>
                    <a:pt x="106" y="42"/>
                  </a:lnTo>
                  <a:lnTo>
                    <a:pt x="104" y="42"/>
                  </a:lnTo>
                  <a:lnTo>
                    <a:pt x="102" y="42"/>
                  </a:lnTo>
                  <a:lnTo>
                    <a:pt x="98" y="42"/>
                  </a:lnTo>
                  <a:lnTo>
                    <a:pt x="94" y="42"/>
                  </a:lnTo>
                  <a:lnTo>
                    <a:pt x="92" y="42"/>
                  </a:lnTo>
                  <a:lnTo>
                    <a:pt x="92" y="40"/>
                  </a:lnTo>
                  <a:lnTo>
                    <a:pt x="92" y="40"/>
                  </a:lnTo>
                  <a:lnTo>
                    <a:pt x="90" y="40"/>
                  </a:lnTo>
                  <a:lnTo>
                    <a:pt x="88" y="40"/>
                  </a:lnTo>
                  <a:lnTo>
                    <a:pt x="86" y="40"/>
                  </a:lnTo>
                  <a:lnTo>
                    <a:pt x="84" y="40"/>
                  </a:lnTo>
                  <a:lnTo>
                    <a:pt x="82" y="40"/>
                  </a:lnTo>
                  <a:lnTo>
                    <a:pt x="80" y="40"/>
                  </a:lnTo>
                  <a:lnTo>
                    <a:pt x="78" y="38"/>
                  </a:lnTo>
                  <a:lnTo>
                    <a:pt x="74" y="38"/>
                  </a:lnTo>
                  <a:lnTo>
                    <a:pt x="72" y="38"/>
                  </a:lnTo>
                  <a:lnTo>
                    <a:pt x="70" y="38"/>
                  </a:lnTo>
                  <a:lnTo>
                    <a:pt x="66" y="38"/>
                  </a:lnTo>
                  <a:lnTo>
                    <a:pt x="66" y="36"/>
                  </a:lnTo>
                  <a:lnTo>
                    <a:pt x="64" y="36"/>
                  </a:lnTo>
                  <a:lnTo>
                    <a:pt x="60" y="36"/>
                  </a:lnTo>
                  <a:lnTo>
                    <a:pt x="58" y="36"/>
                  </a:lnTo>
                  <a:lnTo>
                    <a:pt x="56" y="36"/>
                  </a:lnTo>
                  <a:lnTo>
                    <a:pt x="54" y="36"/>
                  </a:lnTo>
                  <a:lnTo>
                    <a:pt x="52" y="34"/>
                  </a:lnTo>
                  <a:lnTo>
                    <a:pt x="50" y="34"/>
                  </a:lnTo>
                  <a:lnTo>
                    <a:pt x="48" y="34"/>
                  </a:lnTo>
                  <a:lnTo>
                    <a:pt x="46" y="34"/>
                  </a:lnTo>
                  <a:lnTo>
                    <a:pt x="44" y="34"/>
                  </a:lnTo>
                  <a:lnTo>
                    <a:pt x="44" y="34"/>
                  </a:lnTo>
                  <a:lnTo>
                    <a:pt x="42" y="32"/>
                  </a:lnTo>
                  <a:lnTo>
                    <a:pt x="40" y="32"/>
                  </a:lnTo>
                  <a:lnTo>
                    <a:pt x="38" y="32"/>
                  </a:lnTo>
                  <a:lnTo>
                    <a:pt x="36" y="32"/>
                  </a:lnTo>
                  <a:lnTo>
                    <a:pt x="34" y="32"/>
                  </a:lnTo>
                  <a:lnTo>
                    <a:pt x="28" y="30"/>
                  </a:lnTo>
                  <a:lnTo>
                    <a:pt x="24" y="30"/>
                  </a:lnTo>
                  <a:lnTo>
                    <a:pt x="22" y="30"/>
                  </a:lnTo>
                  <a:lnTo>
                    <a:pt x="18" y="28"/>
                  </a:lnTo>
                  <a:lnTo>
                    <a:pt x="16" y="28"/>
                  </a:lnTo>
                  <a:lnTo>
                    <a:pt x="14" y="28"/>
                  </a:lnTo>
                  <a:lnTo>
                    <a:pt x="12" y="28"/>
                  </a:lnTo>
                  <a:lnTo>
                    <a:pt x="10" y="28"/>
                  </a:lnTo>
                  <a:lnTo>
                    <a:pt x="8" y="28"/>
                  </a:lnTo>
                  <a:lnTo>
                    <a:pt x="8" y="26"/>
                  </a:lnTo>
                  <a:lnTo>
                    <a:pt x="6" y="26"/>
                  </a:lnTo>
                  <a:lnTo>
                    <a:pt x="2" y="26"/>
                  </a:lnTo>
                  <a:lnTo>
                    <a:pt x="0" y="26"/>
                  </a:lnTo>
                  <a:lnTo>
                    <a:pt x="0" y="24"/>
                  </a:lnTo>
                  <a:lnTo>
                    <a:pt x="0" y="22"/>
                  </a:lnTo>
                  <a:lnTo>
                    <a:pt x="2" y="22"/>
                  </a:lnTo>
                  <a:lnTo>
                    <a:pt x="2" y="20"/>
                  </a:lnTo>
                  <a:lnTo>
                    <a:pt x="2" y="18"/>
                  </a:lnTo>
                  <a:lnTo>
                    <a:pt x="2" y="16"/>
                  </a:lnTo>
                  <a:lnTo>
                    <a:pt x="2" y="16"/>
                  </a:lnTo>
                  <a:lnTo>
                    <a:pt x="2" y="14"/>
                  </a:lnTo>
                  <a:lnTo>
                    <a:pt x="4" y="8"/>
                  </a:lnTo>
                  <a:lnTo>
                    <a:pt x="4" y="6"/>
                  </a:lnTo>
                  <a:lnTo>
                    <a:pt x="4" y="4"/>
                  </a:lnTo>
                  <a:lnTo>
                    <a:pt x="6" y="0"/>
                  </a:lnTo>
                  <a:lnTo>
                    <a:pt x="8" y="0"/>
                  </a:lnTo>
                  <a:lnTo>
                    <a:pt x="10" y="2"/>
                  </a:lnTo>
                  <a:lnTo>
                    <a:pt x="12" y="2"/>
                  </a:lnTo>
                  <a:lnTo>
                    <a:pt x="14" y="2"/>
                  </a:lnTo>
                  <a:lnTo>
                    <a:pt x="16" y="2"/>
                  </a:lnTo>
                  <a:lnTo>
                    <a:pt x="18" y="2"/>
                  </a:lnTo>
                  <a:lnTo>
                    <a:pt x="20" y="2"/>
                  </a:lnTo>
                  <a:lnTo>
                    <a:pt x="20" y="4"/>
                  </a:lnTo>
                  <a:lnTo>
                    <a:pt x="22" y="4"/>
                  </a:lnTo>
                  <a:lnTo>
                    <a:pt x="24" y="4"/>
                  </a:lnTo>
                  <a:lnTo>
                    <a:pt x="26" y="4"/>
                  </a:lnTo>
                  <a:lnTo>
                    <a:pt x="28" y="4"/>
                  </a:lnTo>
                  <a:lnTo>
                    <a:pt x="30" y="4"/>
                  </a:lnTo>
                  <a:lnTo>
                    <a:pt x="32" y="6"/>
                  </a:lnTo>
                  <a:lnTo>
                    <a:pt x="34" y="6"/>
                  </a:lnTo>
                  <a:lnTo>
                    <a:pt x="36" y="6"/>
                  </a:lnTo>
                  <a:lnTo>
                    <a:pt x="38" y="6"/>
                  </a:lnTo>
                  <a:lnTo>
                    <a:pt x="40" y="6"/>
                  </a:lnTo>
                  <a:lnTo>
                    <a:pt x="42" y="6"/>
                  </a:lnTo>
                  <a:lnTo>
                    <a:pt x="42" y="8"/>
                  </a:lnTo>
                  <a:lnTo>
                    <a:pt x="44" y="8"/>
                  </a:lnTo>
                  <a:lnTo>
                    <a:pt x="44" y="8"/>
                  </a:lnTo>
                  <a:lnTo>
                    <a:pt x="46" y="8"/>
                  </a:lnTo>
                  <a:lnTo>
                    <a:pt x="48" y="8"/>
                  </a:lnTo>
                  <a:lnTo>
                    <a:pt x="50" y="8"/>
                  </a:lnTo>
                  <a:lnTo>
                    <a:pt x="52" y="8"/>
                  </a:lnTo>
                  <a:lnTo>
                    <a:pt x="54" y="10"/>
                  </a:lnTo>
                  <a:lnTo>
                    <a:pt x="56" y="10"/>
                  </a:lnTo>
                  <a:lnTo>
                    <a:pt x="58" y="10"/>
                  </a:lnTo>
                  <a:lnTo>
                    <a:pt x="60" y="10"/>
                  </a:lnTo>
                  <a:lnTo>
                    <a:pt x="62" y="10"/>
                  </a:lnTo>
                  <a:lnTo>
                    <a:pt x="64" y="10"/>
                  </a:lnTo>
                  <a:lnTo>
                    <a:pt x="66" y="10"/>
                  </a:lnTo>
                  <a:lnTo>
                    <a:pt x="66" y="12"/>
                  </a:lnTo>
                  <a:lnTo>
                    <a:pt x="68" y="12"/>
                  </a:lnTo>
                  <a:lnTo>
                    <a:pt x="70" y="12"/>
                  </a:lnTo>
                  <a:lnTo>
                    <a:pt x="72" y="12"/>
                  </a:lnTo>
                  <a:lnTo>
                    <a:pt x="74" y="12"/>
                  </a:lnTo>
                  <a:lnTo>
                    <a:pt x="76" y="12"/>
                  </a:lnTo>
                  <a:lnTo>
                    <a:pt x="78" y="12"/>
                  </a:lnTo>
                  <a:lnTo>
                    <a:pt x="80" y="12"/>
                  </a:lnTo>
                  <a:lnTo>
                    <a:pt x="80" y="14"/>
                  </a:lnTo>
                  <a:lnTo>
                    <a:pt x="82" y="14"/>
                  </a:lnTo>
                  <a:lnTo>
                    <a:pt x="84" y="14"/>
                  </a:lnTo>
                  <a:lnTo>
                    <a:pt x="86" y="14"/>
                  </a:lnTo>
                  <a:lnTo>
                    <a:pt x="88" y="14"/>
                  </a:lnTo>
                  <a:lnTo>
                    <a:pt x="90" y="14"/>
                  </a:lnTo>
                  <a:lnTo>
                    <a:pt x="92" y="14"/>
                  </a:lnTo>
                  <a:lnTo>
                    <a:pt x="92" y="14"/>
                  </a:lnTo>
                  <a:lnTo>
                    <a:pt x="92" y="16"/>
                  </a:lnTo>
                  <a:lnTo>
                    <a:pt x="94" y="16"/>
                  </a:lnTo>
                  <a:lnTo>
                    <a:pt x="96" y="16"/>
                  </a:lnTo>
                  <a:lnTo>
                    <a:pt x="98" y="16"/>
                  </a:lnTo>
                  <a:lnTo>
                    <a:pt x="100" y="16"/>
                  </a:lnTo>
                  <a:lnTo>
                    <a:pt x="102" y="16"/>
                  </a:lnTo>
                  <a:lnTo>
                    <a:pt x="104" y="16"/>
                  </a:lnTo>
                  <a:lnTo>
                    <a:pt x="106" y="16"/>
                  </a:lnTo>
                  <a:lnTo>
                    <a:pt x="108" y="16"/>
                  </a:lnTo>
                  <a:lnTo>
                    <a:pt x="108" y="16"/>
                  </a:lnTo>
                  <a:lnTo>
                    <a:pt x="110" y="16"/>
                  </a:lnTo>
                  <a:lnTo>
                    <a:pt x="112" y="16"/>
                  </a:lnTo>
                  <a:lnTo>
                    <a:pt x="114" y="16"/>
                  </a:lnTo>
                  <a:lnTo>
                    <a:pt x="116" y="16"/>
                  </a:lnTo>
                  <a:lnTo>
                    <a:pt x="118" y="16"/>
                  </a:lnTo>
                  <a:lnTo>
                    <a:pt x="120" y="16"/>
                  </a:lnTo>
                  <a:lnTo>
                    <a:pt x="122" y="16"/>
                  </a:lnTo>
                  <a:lnTo>
                    <a:pt x="124" y="18"/>
                  </a:lnTo>
                  <a:lnTo>
                    <a:pt x="126" y="18"/>
                  </a:lnTo>
                  <a:lnTo>
                    <a:pt x="128" y="18"/>
                  </a:lnTo>
                  <a:lnTo>
                    <a:pt x="130" y="18"/>
                  </a:lnTo>
                  <a:close/>
                  <a:moveTo>
                    <a:pt x="348" y="215"/>
                  </a:moveTo>
                  <a:lnTo>
                    <a:pt x="350" y="215"/>
                  </a:lnTo>
                  <a:lnTo>
                    <a:pt x="348" y="215"/>
                  </a:lnTo>
                  <a:close/>
                </a:path>
              </a:pathLst>
            </a:custGeom>
            <a:solidFill>
              <a:srgbClr val="ABAFCF"/>
            </a:solidFill>
            <a:ln w="3175">
              <a:solidFill>
                <a:sysClr val="window" lastClr="FFFF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black"/>
                </a:solidFill>
                <a:effectLst/>
                <a:uLnTx/>
                <a:uFillTx/>
                <a:ea typeface="宋体" panose="02010600030101010101" pitchFamily="2" charset="-122"/>
              </a:endParaRPr>
            </a:p>
          </p:txBody>
        </p:sp>
        <p:sp>
          <p:nvSpPr>
            <p:cNvPr id="21" name="Freeform 3537">
              <a:extLst>
                <a:ext uri="{FF2B5EF4-FFF2-40B4-BE49-F238E27FC236}">
                  <a16:creationId xmlns:a16="http://schemas.microsoft.com/office/drawing/2014/main" id="{7C20DA33-F2C9-FC23-79B7-C4D0EF98B4C0}"/>
                </a:ext>
              </a:extLst>
            </p:cNvPr>
            <p:cNvSpPr>
              <a:spLocks/>
            </p:cNvSpPr>
            <p:nvPr/>
          </p:nvSpPr>
          <p:spPr bwMode="auto">
            <a:xfrm>
              <a:off x="4024313" y="2873375"/>
              <a:ext cx="412750" cy="496888"/>
            </a:xfrm>
            <a:custGeom>
              <a:avLst/>
              <a:gdLst>
                <a:gd name="T0" fmla="*/ 198 w 260"/>
                <a:gd name="T1" fmla="*/ 47 h 313"/>
                <a:gd name="T2" fmla="*/ 192 w 260"/>
                <a:gd name="T3" fmla="*/ 63 h 313"/>
                <a:gd name="T4" fmla="*/ 188 w 260"/>
                <a:gd name="T5" fmla="*/ 77 h 313"/>
                <a:gd name="T6" fmla="*/ 190 w 260"/>
                <a:gd name="T7" fmla="*/ 89 h 313"/>
                <a:gd name="T8" fmla="*/ 202 w 260"/>
                <a:gd name="T9" fmla="*/ 93 h 313"/>
                <a:gd name="T10" fmla="*/ 216 w 260"/>
                <a:gd name="T11" fmla="*/ 97 h 313"/>
                <a:gd name="T12" fmla="*/ 228 w 260"/>
                <a:gd name="T13" fmla="*/ 99 h 313"/>
                <a:gd name="T14" fmla="*/ 240 w 260"/>
                <a:gd name="T15" fmla="*/ 103 h 313"/>
                <a:gd name="T16" fmla="*/ 254 w 260"/>
                <a:gd name="T17" fmla="*/ 107 h 313"/>
                <a:gd name="T18" fmla="*/ 258 w 260"/>
                <a:gd name="T19" fmla="*/ 117 h 313"/>
                <a:gd name="T20" fmla="*/ 254 w 260"/>
                <a:gd name="T21" fmla="*/ 133 h 313"/>
                <a:gd name="T22" fmla="*/ 252 w 260"/>
                <a:gd name="T23" fmla="*/ 147 h 313"/>
                <a:gd name="T24" fmla="*/ 248 w 260"/>
                <a:gd name="T25" fmla="*/ 161 h 313"/>
                <a:gd name="T26" fmla="*/ 244 w 260"/>
                <a:gd name="T27" fmla="*/ 175 h 313"/>
                <a:gd name="T28" fmla="*/ 238 w 260"/>
                <a:gd name="T29" fmla="*/ 191 h 313"/>
                <a:gd name="T30" fmla="*/ 234 w 260"/>
                <a:gd name="T31" fmla="*/ 203 h 313"/>
                <a:gd name="T32" fmla="*/ 232 w 260"/>
                <a:gd name="T33" fmla="*/ 217 h 313"/>
                <a:gd name="T34" fmla="*/ 228 w 260"/>
                <a:gd name="T35" fmla="*/ 229 h 313"/>
                <a:gd name="T36" fmla="*/ 222 w 260"/>
                <a:gd name="T37" fmla="*/ 243 h 313"/>
                <a:gd name="T38" fmla="*/ 220 w 260"/>
                <a:gd name="T39" fmla="*/ 259 h 313"/>
                <a:gd name="T40" fmla="*/ 216 w 260"/>
                <a:gd name="T41" fmla="*/ 275 h 313"/>
                <a:gd name="T42" fmla="*/ 212 w 260"/>
                <a:gd name="T43" fmla="*/ 287 h 313"/>
                <a:gd name="T44" fmla="*/ 208 w 260"/>
                <a:gd name="T45" fmla="*/ 299 h 313"/>
                <a:gd name="T46" fmla="*/ 206 w 260"/>
                <a:gd name="T47" fmla="*/ 313 h 313"/>
                <a:gd name="T48" fmla="*/ 184 w 260"/>
                <a:gd name="T49" fmla="*/ 307 h 313"/>
                <a:gd name="T50" fmla="*/ 170 w 260"/>
                <a:gd name="T51" fmla="*/ 303 h 313"/>
                <a:gd name="T52" fmla="*/ 154 w 260"/>
                <a:gd name="T53" fmla="*/ 299 h 313"/>
                <a:gd name="T54" fmla="*/ 138 w 260"/>
                <a:gd name="T55" fmla="*/ 293 h 313"/>
                <a:gd name="T56" fmla="*/ 124 w 260"/>
                <a:gd name="T57" fmla="*/ 291 h 313"/>
                <a:gd name="T58" fmla="*/ 110 w 260"/>
                <a:gd name="T59" fmla="*/ 287 h 313"/>
                <a:gd name="T60" fmla="*/ 96 w 260"/>
                <a:gd name="T61" fmla="*/ 281 h 313"/>
                <a:gd name="T62" fmla="*/ 70 w 260"/>
                <a:gd name="T63" fmla="*/ 273 h 313"/>
                <a:gd name="T64" fmla="*/ 48 w 260"/>
                <a:gd name="T65" fmla="*/ 265 h 313"/>
                <a:gd name="T66" fmla="*/ 0 w 260"/>
                <a:gd name="T67" fmla="*/ 247 h 313"/>
                <a:gd name="T68" fmla="*/ 4 w 260"/>
                <a:gd name="T69" fmla="*/ 235 h 313"/>
                <a:gd name="T70" fmla="*/ 10 w 260"/>
                <a:gd name="T71" fmla="*/ 221 h 313"/>
                <a:gd name="T72" fmla="*/ 14 w 260"/>
                <a:gd name="T73" fmla="*/ 209 h 313"/>
                <a:gd name="T74" fmla="*/ 18 w 260"/>
                <a:gd name="T75" fmla="*/ 197 h 313"/>
                <a:gd name="T76" fmla="*/ 22 w 260"/>
                <a:gd name="T77" fmla="*/ 183 h 313"/>
                <a:gd name="T78" fmla="*/ 26 w 260"/>
                <a:gd name="T79" fmla="*/ 171 h 313"/>
                <a:gd name="T80" fmla="*/ 32 w 260"/>
                <a:gd name="T81" fmla="*/ 159 h 313"/>
                <a:gd name="T82" fmla="*/ 38 w 260"/>
                <a:gd name="T83" fmla="*/ 147 h 313"/>
                <a:gd name="T84" fmla="*/ 42 w 260"/>
                <a:gd name="T85" fmla="*/ 131 h 313"/>
                <a:gd name="T86" fmla="*/ 48 w 260"/>
                <a:gd name="T87" fmla="*/ 117 h 313"/>
                <a:gd name="T88" fmla="*/ 54 w 260"/>
                <a:gd name="T89" fmla="*/ 103 h 313"/>
                <a:gd name="T90" fmla="*/ 58 w 260"/>
                <a:gd name="T91" fmla="*/ 91 h 313"/>
                <a:gd name="T92" fmla="*/ 62 w 260"/>
                <a:gd name="T93" fmla="*/ 77 h 313"/>
                <a:gd name="T94" fmla="*/ 66 w 260"/>
                <a:gd name="T95" fmla="*/ 61 h 313"/>
                <a:gd name="T96" fmla="*/ 72 w 260"/>
                <a:gd name="T97" fmla="*/ 49 h 313"/>
                <a:gd name="T98" fmla="*/ 76 w 260"/>
                <a:gd name="T99" fmla="*/ 35 h 313"/>
                <a:gd name="T100" fmla="*/ 82 w 260"/>
                <a:gd name="T101" fmla="*/ 23 h 313"/>
                <a:gd name="T102" fmla="*/ 88 w 260"/>
                <a:gd name="T103" fmla="*/ 5 h 313"/>
                <a:gd name="T104" fmla="*/ 98 w 260"/>
                <a:gd name="T105" fmla="*/ 5 h 313"/>
                <a:gd name="T106" fmla="*/ 110 w 260"/>
                <a:gd name="T107" fmla="*/ 7 h 313"/>
                <a:gd name="T108" fmla="*/ 122 w 260"/>
                <a:gd name="T109" fmla="*/ 11 h 313"/>
                <a:gd name="T110" fmla="*/ 134 w 260"/>
                <a:gd name="T111" fmla="*/ 15 h 313"/>
                <a:gd name="T112" fmla="*/ 146 w 260"/>
                <a:gd name="T113" fmla="*/ 19 h 313"/>
                <a:gd name="T114" fmla="*/ 160 w 260"/>
                <a:gd name="T115" fmla="*/ 25 h 313"/>
                <a:gd name="T116" fmla="*/ 174 w 260"/>
                <a:gd name="T117" fmla="*/ 29 h 313"/>
                <a:gd name="T118" fmla="*/ 188 w 260"/>
                <a:gd name="T119" fmla="*/ 33 h 3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60" h="313">
                  <a:moveTo>
                    <a:pt x="202" y="37"/>
                  </a:moveTo>
                  <a:lnTo>
                    <a:pt x="202" y="39"/>
                  </a:lnTo>
                  <a:lnTo>
                    <a:pt x="200" y="39"/>
                  </a:lnTo>
                  <a:lnTo>
                    <a:pt x="200" y="41"/>
                  </a:lnTo>
                  <a:lnTo>
                    <a:pt x="200" y="43"/>
                  </a:lnTo>
                  <a:lnTo>
                    <a:pt x="200" y="45"/>
                  </a:lnTo>
                  <a:lnTo>
                    <a:pt x="198" y="45"/>
                  </a:lnTo>
                  <a:lnTo>
                    <a:pt x="198" y="47"/>
                  </a:lnTo>
                  <a:lnTo>
                    <a:pt x="198" y="49"/>
                  </a:lnTo>
                  <a:lnTo>
                    <a:pt x="198" y="51"/>
                  </a:lnTo>
                  <a:lnTo>
                    <a:pt x="196" y="53"/>
                  </a:lnTo>
                  <a:lnTo>
                    <a:pt x="196" y="53"/>
                  </a:lnTo>
                  <a:lnTo>
                    <a:pt x="196" y="55"/>
                  </a:lnTo>
                  <a:lnTo>
                    <a:pt x="194" y="57"/>
                  </a:lnTo>
                  <a:lnTo>
                    <a:pt x="194" y="61"/>
                  </a:lnTo>
                  <a:lnTo>
                    <a:pt x="192" y="63"/>
                  </a:lnTo>
                  <a:lnTo>
                    <a:pt x="192" y="65"/>
                  </a:lnTo>
                  <a:lnTo>
                    <a:pt x="192" y="67"/>
                  </a:lnTo>
                  <a:lnTo>
                    <a:pt x="192" y="69"/>
                  </a:lnTo>
                  <a:lnTo>
                    <a:pt x="190" y="69"/>
                  </a:lnTo>
                  <a:lnTo>
                    <a:pt x="190" y="71"/>
                  </a:lnTo>
                  <a:lnTo>
                    <a:pt x="190" y="73"/>
                  </a:lnTo>
                  <a:lnTo>
                    <a:pt x="190" y="75"/>
                  </a:lnTo>
                  <a:lnTo>
                    <a:pt x="188" y="77"/>
                  </a:lnTo>
                  <a:lnTo>
                    <a:pt x="188" y="81"/>
                  </a:lnTo>
                  <a:lnTo>
                    <a:pt x="186" y="81"/>
                  </a:lnTo>
                  <a:lnTo>
                    <a:pt x="186" y="87"/>
                  </a:lnTo>
                  <a:lnTo>
                    <a:pt x="184" y="87"/>
                  </a:lnTo>
                  <a:lnTo>
                    <a:pt x="186" y="87"/>
                  </a:lnTo>
                  <a:lnTo>
                    <a:pt x="186" y="89"/>
                  </a:lnTo>
                  <a:lnTo>
                    <a:pt x="188" y="89"/>
                  </a:lnTo>
                  <a:lnTo>
                    <a:pt x="190" y="89"/>
                  </a:lnTo>
                  <a:lnTo>
                    <a:pt x="192" y="89"/>
                  </a:lnTo>
                  <a:lnTo>
                    <a:pt x="192" y="91"/>
                  </a:lnTo>
                  <a:lnTo>
                    <a:pt x="194" y="91"/>
                  </a:lnTo>
                  <a:lnTo>
                    <a:pt x="196" y="91"/>
                  </a:lnTo>
                  <a:lnTo>
                    <a:pt x="198" y="91"/>
                  </a:lnTo>
                  <a:lnTo>
                    <a:pt x="198" y="93"/>
                  </a:lnTo>
                  <a:lnTo>
                    <a:pt x="200" y="93"/>
                  </a:lnTo>
                  <a:lnTo>
                    <a:pt x="202" y="93"/>
                  </a:lnTo>
                  <a:lnTo>
                    <a:pt x="204" y="95"/>
                  </a:lnTo>
                  <a:lnTo>
                    <a:pt x="206" y="95"/>
                  </a:lnTo>
                  <a:lnTo>
                    <a:pt x="206" y="95"/>
                  </a:lnTo>
                  <a:lnTo>
                    <a:pt x="208" y="95"/>
                  </a:lnTo>
                  <a:lnTo>
                    <a:pt x="210" y="97"/>
                  </a:lnTo>
                  <a:lnTo>
                    <a:pt x="212" y="97"/>
                  </a:lnTo>
                  <a:lnTo>
                    <a:pt x="214" y="97"/>
                  </a:lnTo>
                  <a:lnTo>
                    <a:pt x="216" y="97"/>
                  </a:lnTo>
                  <a:lnTo>
                    <a:pt x="216" y="99"/>
                  </a:lnTo>
                  <a:lnTo>
                    <a:pt x="218" y="99"/>
                  </a:lnTo>
                  <a:lnTo>
                    <a:pt x="220" y="99"/>
                  </a:lnTo>
                  <a:lnTo>
                    <a:pt x="222" y="99"/>
                  </a:lnTo>
                  <a:lnTo>
                    <a:pt x="224" y="99"/>
                  </a:lnTo>
                  <a:lnTo>
                    <a:pt x="224" y="99"/>
                  </a:lnTo>
                  <a:lnTo>
                    <a:pt x="226" y="99"/>
                  </a:lnTo>
                  <a:lnTo>
                    <a:pt x="228" y="99"/>
                  </a:lnTo>
                  <a:lnTo>
                    <a:pt x="230" y="99"/>
                  </a:lnTo>
                  <a:lnTo>
                    <a:pt x="230" y="101"/>
                  </a:lnTo>
                  <a:lnTo>
                    <a:pt x="232" y="101"/>
                  </a:lnTo>
                  <a:lnTo>
                    <a:pt x="234" y="101"/>
                  </a:lnTo>
                  <a:lnTo>
                    <a:pt x="236" y="101"/>
                  </a:lnTo>
                  <a:lnTo>
                    <a:pt x="238" y="101"/>
                  </a:lnTo>
                  <a:lnTo>
                    <a:pt x="238" y="103"/>
                  </a:lnTo>
                  <a:lnTo>
                    <a:pt x="240" y="103"/>
                  </a:lnTo>
                  <a:lnTo>
                    <a:pt x="242" y="103"/>
                  </a:lnTo>
                  <a:lnTo>
                    <a:pt x="244" y="103"/>
                  </a:lnTo>
                  <a:lnTo>
                    <a:pt x="246" y="105"/>
                  </a:lnTo>
                  <a:lnTo>
                    <a:pt x="248" y="105"/>
                  </a:lnTo>
                  <a:lnTo>
                    <a:pt x="250" y="105"/>
                  </a:lnTo>
                  <a:lnTo>
                    <a:pt x="252" y="105"/>
                  </a:lnTo>
                  <a:lnTo>
                    <a:pt x="252" y="107"/>
                  </a:lnTo>
                  <a:lnTo>
                    <a:pt x="254" y="107"/>
                  </a:lnTo>
                  <a:lnTo>
                    <a:pt x="254" y="107"/>
                  </a:lnTo>
                  <a:lnTo>
                    <a:pt x="256" y="107"/>
                  </a:lnTo>
                  <a:lnTo>
                    <a:pt x="258" y="109"/>
                  </a:lnTo>
                  <a:lnTo>
                    <a:pt x="260" y="109"/>
                  </a:lnTo>
                  <a:lnTo>
                    <a:pt x="260" y="111"/>
                  </a:lnTo>
                  <a:lnTo>
                    <a:pt x="258" y="113"/>
                  </a:lnTo>
                  <a:lnTo>
                    <a:pt x="258" y="115"/>
                  </a:lnTo>
                  <a:lnTo>
                    <a:pt x="258" y="117"/>
                  </a:lnTo>
                  <a:lnTo>
                    <a:pt x="258" y="119"/>
                  </a:lnTo>
                  <a:lnTo>
                    <a:pt x="256" y="121"/>
                  </a:lnTo>
                  <a:lnTo>
                    <a:pt x="256" y="123"/>
                  </a:lnTo>
                  <a:lnTo>
                    <a:pt x="256" y="125"/>
                  </a:lnTo>
                  <a:lnTo>
                    <a:pt x="256" y="127"/>
                  </a:lnTo>
                  <a:lnTo>
                    <a:pt x="254" y="129"/>
                  </a:lnTo>
                  <a:lnTo>
                    <a:pt x="254" y="131"/>
                  </a:lnTo>
                  <a:lnTo>
                    <a:pt x="254" y="133"/>
                  </a:lnTo>
                  <a:lnTo>
                    <a:pt x="254" y="135"/>
                  </a:lnTo>
                  <a:lnTo>
                    <a:pt x="254" y="135"/>
                  </a:lnTo>
                  <a:lnTo>
                    <a:pt x="254" y="137"/>
                  </a:lnTo>
                  <a:lnTo>
                    <a:pt x="254" y="139"/>
                  </a:lnTo>
                  <a:lnTo>
                    <a:pt x="254" y="141"/>
                  </a:lnTo>
                  <a:lnTo>
                    <a:pt x="252" y="141"/>
                  </a:lnTo>
                  <a:lnTo>
                    <a:pt x="252" y="143"/>
                  </a:lnTo>
                  <a:lnTo>
                    <a:pt x="252" y="147"/>
                  </a:lnTo>
                  <a:lnTo>
                    <a:pt x="250" y="147"/>
                  </a:lnTo>
                  <a:lnTo>
                    <a:pt x="250" y="149"/>
                  </a:lnTo>
                  <a:lnTo>
                    <a:pt x="250" y="151"/>
                  </a:lnTo>
                  <a:lnTo>
                    <a:pt x="250" y="153"/>
                  </a:lnTo>
                  <a:lnTo>
                    <a:pt x="248" y="155"/>
                  </a:lnTo>
                  <a:lnTo>
                    <a:pt x="248" y="157"/>
                  </a:lnTo>
                  <a:lnTo>
                    <a:pt x="248" y="159"/>
                  </a:lnTo>
                  <a:lnTo>
                    <a:pt x="248" y="161"/>
                  </a:lnTo>
                  <a:lnTo>
                    <a:pt x="246" y="161"/>
                  </a:lnTo>
                  <a:lnTo>
                    <a:pt x="246" y="163"/>
                  </a:lnTo>
                  <a:lnTo>
                    <a:pt x="246" y="165"/>
                  </a:lnTo>
                  <a:lnTo>
                    <a:pt x="246" y="167"/>
                  </a:lnTo>
                  <a:lnTo>
                    <a:pt x="244" y="169"/>
                  </a:lnTo>
                  <a:lnTo>
                    <a:pt x="244" y="171"/>
                  </a:lnTo>
                  <a:lnTo>
                    <a:pt x="244" y="173"/>
                  </a:lnTo>
                  <a:lnTo>
                    <a:pt x="244" y="175"/>
                  </a:lnTo>
                  <a:lnTo>
                    <a:pt x="242" y="177"/>
                  </a:lnTo>
                  <a:lnTo>
                    <a:pt x="242" y="179"/>
                  </a:lnTo>
                  <a:lnTo>
                    <a:pt x="242" y="181"/>
                  </a:lnTo>
                  <a:lnTo>
                    <a:pt x="242" y="183"/>
                  </a:lnTo>
                  <a:lnTo>
                    <a:pt x="240" y="183"/>
                  </a:lnTo>
                  <a:lnTo>
                    <a:pt x="240" y="187"/>
                  </a:lnTo>
                  <a:lnTo>
                    <a:pt x="240" y="189"/>
                  </a:lnTo>
                  <a:lnTo>
                    <a:pt x="238" y="191"/>
                  </a:lnTo>
                  <a:lnTo>
                    <a:pt x="238" y="193"/>
                  </a:lnTo>
                  <a:lnTo>
                    <a:pt x="238" y="195"/>
                  </a:lnTo>
                  <a:lnTo>
                    <a:pt x="238" y="195"/>
                  </a:lnTo>
                  <a:lnTo>
                    <a:pt x="236" y="197"/>
                  </a:lnTo>
                  <a:lnTo>
                    <a:pt x="236" y="199"/>
                  </a:lnTo>
                  <a:lnTo>
                    <a:pt x="236" y="201"/>
                  </a:lnTo>
                  <a:lnTo>
                    <a:pt x="236" y="203"/>
                  </a:lnTo>
                  <a:lnTo>
                    <a:pt x="234" y="203"/>
                  </a:lnTo>
                  <a:lnTo>
                    <a:pt x="234" y="205"/>
                  </a:lnTo>
                  <a:lnTo>
                    <a:pt x="234" y="207"/>
                  </a:lnTo>
                  <a:lnTo>
                    <a:pt x="234" y="209"/>
                  </a:lnTo>
                  <a:lnTo>
                    <a:pt x="232" y="209"/>
                  </a:lnTo>
                  <a:lnTo>
                    <a:pt x="232" y="211"/>
                  </a:lnTo>
                  <a:lnTo>
                    <a:pt x="232" y="213"/>
                  </a:lnTo>
                  <a:lnTo>
                    <a:pt x="232" y="215"/>
                  </a:lnTo>
                  <a:lnTo>
                    <a:pt x="232" y="217"/>
                  </a:lnTo>
                  <a:lnTo>
                    <a:pt x="230" y="217"/>
                  </a:lnTo>
                  <a:lnTo>
                    <a:pt x="230" y="219"/>
                  </a:lnTo>
                  <a:lnTo>
                    <a:pt x="230" y="221"/>
                  </a:lnTo>
                  <a:lnTo>
                    <a:pt x="230" y="223"/>
                  </a:lnTo>
                  <a:lnTo>
                    <a:pt x="228" y="223"/>
                  </a:lnTo>
                  <a:lnTo>
                    <a:pt x="228" y="225"/>
                  </a:lnTo>
                  <a:lnTo>
                    <a:pt x="228" y="227"/>
                  </a:lnTo>
                  <a:lnTo>
                    <a:pt x="228" y="229"/>
                  </a:lnTo>
                  <a:lnTo>
                    <a:pt x="226" y="231"/>
                  </a:lnTo>
                  <a:lnTo>
                    <a:pt x="226" y="233"/>
                  </a:lnTo>
                  <a:lnTo>
                    <a:pt x="226" y="235"/>
                  </a:lnTo>
                  <a:lnTo>
                    <a:pt x="226" y="237"/>
                  </a:lnTo>
                  <a:lnTo>
                    <a:pt x="224" y="237"/>
                  </a:lnTo>
                  <a:lnTo>
                    <a:pt x="224" y="239"/>
                  </a:lnTo>
                  <a:lnTo>
                    <a:pt x="224" y="243"/>
                  </a:lnTo>
                  <a:lnTo>
                    <a:pt x="222" y="243"/>
                  </a:lnTo>
                  <a:lnTo>
                    <a:pt x="222" y="245"/>
                  </a:lnTo>
                  <a:lnTo>
                    <a:pt x="222" y="247"/>
                  </a:lnTo>
                  <a:lnTo>
                    <a:pt x="222" y="249"/>
                  </a:lnTo>
                  <a:lnTo>
                    <a:pt x="222" y="251"/>
                  </a:lnTo>
                  <a:lnTo>
                    <a:pt x="220" y="253"/>
                  </a:lnTo>
                  <a:lnTo>
                    <a:pt x="220" y="255"/>
                  </a:lnTo>
                  <a:lnTo>
                    <a:pt x="220" y="257"/>
                  </a:lnTo>
                  <a:lnTo>
                    <a:pt x="220" y="259"/>
                  </a:lnTo>
                  <a:lnTo>
                    <a:pt x="218" y="261"/>
                  </a:lnTo>
                  <a:lnTo>
                    <a:pt x="218" y="263"/>
                  </a:lnTo>
                  <a:lnTo>
                    <a:pt x="218" y="265"/>
                  </a:lnTo>
                  <a:lnTo>
                    <a:pt x="218" y="267"/>
                  </a:lnTo>
                  <a:lnTo>
                    <a:pt x="216" y="269"/>
                  </a:lnTo>
                  <a:lnTo>
                    <a:pt x="216" y="271"/>
                  </a:lnTo>
                  <a:lnTo>
                    <a:pt x="216" y="273"/>
                  </a:lnTo>
                  <a:lnTo>
                    <a:pt x="216" y="275"/>
                  </a:lnTo>
                  <a:lnTo>
                    <a:pt x="214" y="275"/>
                  </a:lnTo>
                  <a:lnTo>
                    <a:pt x="214" y="277"/>
                  </a:lnTo>
                  <a:lnTo>
                    <a:pt x="214" y="279"/>
                  </a:lnTo>
                  <a:lnTo>
                    <a:pt x="214" y="281"/>
                  </a:lnTo>
                  <a:lnTo>
                    <a:pt x="212" y="281"/>
                  </a:lnTo>
                  <a:lnTo>
                    <a:pt x="212" y="283"/>
                  </a:lnTo>
                  <a:lnTo>
                    <a:pt x="212" y="285"/>
                  </a:lnTo>
                  <a:lnTo>
                    <a:pt x="212" y="287"/>
                  </a:lnTo>
                  <a:lnTo>
                    <a:pt x="210" y="289"/>
                  </a:lnTo>
                  <a:lnTo>
                    <a:pt x="210" y="291"/>
                  </a:lnTo>
                  <a:lnTo>
                    <a:pt x="210" y="291"/>
                  </a:lnTo>
                  <a:lnTo>
                    <a:pt x="210" y="293"/>
                  </a:lnTo>
                  <a:lnTo>
                    <a:pt x="208" y="293"/>
                  </a:lnTo>
                  <a:lnTo>
                    <a:pt x="208" y="295"/>
                  </a:lnTo>
                  <a:lnTo>
                    <a:pt x="208" y="297"/>
                  </a:lnTo>
                  <a:lnTo>
                    <a:pt x="208" y="299"/>
                  </a:lnTo>
                  <a:lnTo>
                    <a:pt x="208" y="301"/>
                  </a:lnTo>
                  <a:lnTo>
                    <a:pt x="206" y="301"/>
                  </a:lnTo>
                  <a:lnTo>
                    <a:pt x="206" y="303"/>
                  </a:lnTo>
                  <a:lnTo>
                    <a:pt x="206" y="305"/>
                  </a:lnTo>
                  <a:lnTo>
                    <a:pt x="206" y="307"/>
                  </a:lnTo>
                  <a:lnTo>
                    <a:pt x="206" y="309"/>
                  </a:lnTo>
                  <a:lnTo>
                    <a:pt x="206" y="311"/>
                  </a:lnTo>
                  <a:lnTo>
                    <a:pt x="206" y="313"/>
                  </a:lnTo>
                  <a:lnTo>
                    <a:pt x="202" y="313"/>
                  </a:lnTo>
                  <a:lnTo>
                    <a:pt x="200" y="313"/>
                  </a:lnTo>
                  <a:lnTo>
                    <a:pt x="200" y="311"/>
                  </a:lnTo>
                  <a:lnTo>
                    <a:pt x="198" y="311"/>
                  </a:lnTo>
                  <a:lnTo>
                    <a:pt x="196" y="311"/>
                  </a:lnTo>
                  <a:lnTo>
                    <a:pt x="192" y="309"/>
                  </a:lnTo>
                  <a:lnTo>
                    <a:pt x="186" y="309"/>
                  </a:lnTo>
                  <a:lnTo>
                    <a:pt x="184" y="307"/>
                  </a:lnTo>
                  <a:lnTo>
                    <a:pt x="182" y="307"/>
                  </a:lnTo>
                  <a:lnTo>
                    <a:pt x="180" y="307"/>
                  </a:lnTo>
                  <a:lnTo>
                    <a:pt x="178" y="307"/>
                  </a:lnTo>
                  <a:lnTo>
                    <a:pt x="178" y="305"/>
                  </a:lnTo>
                  <a:lnTo>
                    <a:pt x="176" y="305"/>
                  </a:lnTo>
                  <a:lnTo>
                    <a:pt x="174" y="305"/>
                  </a:lnTo>
                  <a:lnTo>
                    <a:pt x="172" y="305"/>
                  </a:lnTo>
                  <a:lnTo>
                    <a:pt x="170" y="303"/>
                  </a:lnTo>
                  <a:lnTo>
                    <a:pt x="168" y="303"/>
                  </a:lnTo>
                  <a:lnTo>
                    <a:pt x="166" y="303"/>
                  </a:lnTo>
                  <a:lnTo>
                    <a:pt x="164" y="303"/>
                  </a:lnTo>
                  <a:lnTo>
                    <a:pt x="164" y="301"/>
                  </a:lnTo>
                  <a:lnTo>
                    <a:pt x="162" y="301"/>
                  </a:lnTo>
                  <a:lnTo>
                    <a:pt x="158" y="301"/>
                  </a:lnTo>
                  <a:lnTo>
                    <a:pt x="158" y="299"/>
                  </a:lnTo>
                  <a:lnTo>
                    <a:pt x="154" y="299"/>
                  </a:lnTo>
                  <a:lnTo>
                    <a:pt x="152" y="299"/>
                  </a:lnTo>
                  <a:lnTo>
                    <a:pt x="150" y="297"/>
                  </a:lnTo>
                  <a:lnTo>
                    <a:pt x="148" y="297"/>
                  </a:lnTo>
                  <a:lnTo>
                    <a:pt x="146" y="295"/>
                  </a:lnTo>
                  <a:lnTo>
                    <a:pt x="144" y="295"/>
                  </a:lnTo>
                  <a:lnTo>
                    <a:pt x="142" y="295"/>
                  </a:lnTo>
                  <a:lnTo>
                    <a:pt x="140" y="293"/>
                  </a:lnTo>
                  <a:lnTo>
                    <a:pt x="138" y="293"/>
                  </a:lnTo>
                  <a:lnTo>
                    <a:pt x="136" y="293"/>
                  </a:lnTo>
                  <a:lnTo>
                    <a:pt x="134" y="293"/>
                  </a:lnTo>
                  <a:lnTo>
                    <a:pt x="134" y="291"/>
                  </a:lnTo>
                  <a:lnTo>
                    <a:pt x="132" y="291"/>
                  </a:lnTo>
                  <a:lnTo>
                    <a:pt x="128" y="291"/>
                  </a:lnTo>
                  <a:lnTo>
                    <a:pt x="128" y="291"/>
                  </a:lnTo>
                  <a:lnTo>
                    <a:pt x="126" y="291"/>
                  </a:lnTo>
                  <a:lnTo>
                    <a:pt x="124" y="291"/>
                  </a:lnTo>
                  <a:lnTo>
                    <a:pt x="122" y="291"/>
                  </a:lnTo>
                  <a:lnTo>
                    <a:pt x="120" y="289"/>
                  </a:lnTo>
                  <a:lnTo>
                    <a:pt x="118" y="289"/>
                  </a:lnTo>
                  <a:lnTo>
                    <a:pt x="116" y="289"/>
                  </a:lnTo>
                  <a:lnTo>
                    <a:pt x="114" y="289"/>
                  </a:lnTo>
                  <a:lnTo>
                    <a:pt x="114" y="287"/>
                  </a:lnTo>
                  <a:lnTo>
                    <a:pt x="112" y="287"/>
                  </a:lnTo>
                  <a:lnTo>
                    <a:pt x="110" y="287"/>
                  </a:lnTo>
                  <a:lnTo>
                    <a:pt x="110" y="287"/>
                  </a:lnTo>
                  <a:lnTo>
                    <a:pt x="110" y="285"/>
                  </a:lnTo>
                  <a:lnTo>
                    <a:pt x="108" y="285"/>
                  </a:lnTo>
                  <a:lnTo>
                    <a:pt x="104" y="285"/>
                  </a:lnTo>
                  <a:lnTo>
                    <a:pt x="102" y="283"/>
                  </a:lnTo>
                  <a:lnTo>
                    <a:pt x="100" y="283"/>
                  </a:lnTo>
                  <a:lnTo>
                    <a:pt x="98" y="283"/>
                  </a:lnTo>
                  <a:lnTo>
                    <a:pt x="96" y="281"/>
                  </a:lnTo>
                  <a:lnTo>
                    <a:pt x="94" y="281"/>
                  </a:lnTo>
                  <a:lnTo>
                    <a:pt x="88" y="279"/>
                  </a:lnTo>
                  <a:lnTo>
                    <a:pt x="86" y="279"/>
                  </a:lnTo>
                  <a:lnTo>
                    <a:pt x="82" y="277"/>
                  </a:lnTo>
                  <a:lnTo>
                    <a:pt x="78" y="275"/>
                  </a:lnTo>
                  <a:lnTo>
                    <a:pt x="76" y="275"/>
                  </a:lnTo>
                  <a:lnTo>
                    <a:pt x="72" y="273"/>
                  </a:lnTo>
                  <a:lnTo>
                    <a:pt x="70" y="273"/>
                  </a:lnTo>
                  <a:lnTo>
                    <a:pt x="68" y="273"/>
                  </a:lnTo>
                  <a:lnTo>
                    <a:pt x="66" y="271"/>
                  </a:lnTo>
                  <a:lnTo>
                    <a:pt x="62" y="271"/>
                  </a:lnTo>
                  <a:lnTo>
                    <a:pt x="62" y="269"/>
                  </a:lnTo>
                  <a:lnTo>
                    <a:pt x="58" y="269"/>
                  </a:lnTo>
                  <a:lnTo>
                    <a:pt x="54" y="267"/>
                  </a:lnTo>
                  <a:lnTo>
                    <a:pt x="52" y="267"/>
                  </a:lnTo>
                  <a:lnTo>
                    <a:pt x="48" y="265"/>
                  </a:lnTo>
                  <a:lnTo>
                    <a:pt x="46" y="265"/>
                  </a:lnTo>
                  <a:lnTo>
                    <a:pt x="46" y="263"/>
                  </a:lnTo>
                  <a:lnTo>
                    <a:pt x="44" y="263"/>
                  </a:lnTo>
                  <a:lnTo>
                    <a:pt x="42" y="263"/>
                  </a:lnTo>
                  <a:lnTo>
                    <a:pt x="4" y="249"/>
                  </a:lnTo>
                  <a:lnTo>
                    <a:pt x="2" y="249"/>
                  </a:lnTo>
                  <a:lnTo>
                    <a:pt x="2" y="247"/>
                  </a:lnTo>
                  <a:lnTo>
                    <a:pt x="0" y="247"/>
                  </a:lnTo>
                  <a:lnTo>
                    <a:pt x="0" y="245"/>
                  </a:lnTo>
                  <a:lnTo>
                    <a:pt x="2" y="243"/>
                  </a:lnTo>
                  <a:lnTo>
                    <a:pt x="2" y="243"/>
                  </a:lnTo>
                  <a:lnTo>
                    <a:pt x="2" y="241"/>
                  </a:lnTo>
                  <a:lnTo>
                    <a:pt x="4" y="241"/>
                  </a:lnTo>
                  <a:lnTo>
                    <a:pt x="4" y="239"/>
                  </a:lnTo>
                  <a:lnTo>
                    <a:pt x="4" y="237"/>
                  </a:lnTo>
                  <a:lnTo>
                    <a:pt x="4" y="235"/>
                  </a:lnTo>
                  <a:lnTo>
                    <a:pt x="6" y="235"/>
                  </a:lnTo>
                  <a:lnTo>
                    <a:pt x="6" y="233"/>
                  </a:lnTo>
                  <a:lnTo>
                    <a:pt x="6" y="231"/>
                  </a:lnTo>
                  <a:lnTo>
                    <a:pt x="8" y="229"/>
                  </a:lnTo>
                  <a:lnTo>
                    <a:pt x="8" y="227"/>
                  </a:lnTo>
                  <a:lnTo>
                    <a:pt x="8" y="225"/>
                  </a:lnTo>
                  <a:lnTo>
                    <a:pt x="10" y="223"/>
                  </a:lnTo>
                  <a:lnTo>
                    <a:pt x="10" y="221"/>
                  </a:lnTo>
                  <a:lnTo>
                    <a:pt x="10" y="219"/>
                  </a:lnTo>
                  <a:lnTo>
                    <a:pt x="12" y="219"/>
                  </a:lnTo>
                  <a:lnTo>
                    <a:pt x="12" y="217"/>
                  </a:lnTo>
                  <a:lnTo>
                    <a:pt x="12" y="215"/>
                  </a:lnTo>
                  <a:lnTo>
                    <a:pt x="12" y="213"/>
                  </a:lnTo>
                  <a:lnTo>
                    <a:pt x="14" y="213"/>
                  </a:lnTo>
                  <a:lnTo>
                    <a:pt x="14" y="211"/>
                  </a:lnTo>
                  <a:lnTo>
                    <a:pt x="14" y="209"/>
                  </a:lnTo>
                  <a:lnTo>
                    <a:pt x="14" y="209"/>
                  </a:lnTo>
                  <a:lnTo>
                    <a:pt x="14" y="207"/>
                  </a:lnTo>
                  <a:lnTo>
                    <a:pt x="14" y="205"/>
                  </a:lnTo>
                  <a:lnTo>
                    <a:pt x="14" y="203"/>
                  </a:lnTo>
                  <a:lnTo>
                    <a:pt x="16" y="203"/>
                  </a:lnTo>
                  <a:lnTo>
                    <a:pt x="16" y="201"/>
                  </a:lnTo>
                  <a:lnTo>
                    <a:pt x="16" y="199"/>
                  </a:lnTo>
                  <a:lnTo>
                    <a:pt x="18" y="197"/>
                  </a:lnTo>
                  <a:lnTo>
                    <a:pt x="18" y="195"/>
                  </a:lnTo>
                  <a:lnTo>
                    <a:pt x="18" y="195"/>
                  </a:lnTo>
                  <a:lnTo>
                    <a:pt x="20" y="193"/>
                  </a:lnTo>
                  <a:lnTo>
                    <a:pt x="20" y="191"/>
                  </a:lnTo>
                  <a:lnTo>
                    <a:pt x="20" y="189"/>
                  </a:lnTo>
                  <a:lnTo>
                    <a:pt x="22" y="187"/>
                  </a:lnTo>
                  <a:lnTo>
                    <a:pt x="22" y="185"/>
                  </a:lnTo>
                  <a:lnTo>
                    <a:pt x="22" y="183"/>
                  </a:lnTo>
                  <a:lnTo>
                    <a:pt x="24" y="183"/>
                  </a:lnTo>
                  <a:lnTo>
                    <a:pt x="24" y="181"/>
                  </a:lnTo>
                  <a:lnTo>
                    <a:pt x="24" y="179"/>
                  </a:lnTo>
                  <a:lnTo>
                    <a:pt x="24" y="177"/>
                  </a:lnTo>
                  <a:lnTo>
                    <a:pt x="26" y="177"/>
                  </a:lnTo>
                  <a:lnTo>
                    <a:pt x="26" y="175"/>
                  </a:lnTo>
                  <a:lnTo>
                    <a:pt x="26" y="173"/>
                  </a:lnTo>
                  <a:lnTo>
                    <a:pt x="26" y="171"/>
                  </a:lnTo>
                  <a:lnTo>
                    <a:pt x="28" y="171"/>
                  </a:lnTo>
                  <a:lnTo>
                    <a:pt x="28" y="169"/>
                  </a:lnTo>
                  <a:lnTo>
                    <a:pt x="28" y="167"/>
                  </a:lnTo>
                  <a:lnTo>
                    <a:pt x="30" y="165"/>
                  </a:lnTo>
                  <a:lnTo>
                    <a:pt x="30" y="163"/>
                  </a:lnTo>
                  <a:lnTo>
                    <a:pt x="30" y="161"/>
                  </a:lnTo>
                  <a:lnTo>
                    <a:pt x="32" y="161"/>
                  </a:lnTo>
                  <a:lnTo>
                    <a:pt x="32" y="159"/>
                  </a:lnTo>
                  <a:lnTo>
                    <a:pt x="32" y="157"/>
                  </a:lnTo>
                  <a:lnTo>
                    <a:pt x="34" y="155"/>
                  </a:lnTo>
                  <a:lnTo>
                    <a:pt x="34" y="153"/>
                  </a:lnTo>
                  <a:lnTo>
                    <a:pt x="34" y="151"/>
                  </a:lnTo>
                  <a:lnTo>
                    <a:pt x="36" y="149"/>
                  </a:lnTo>
                  <a:lnTo>
                    <a:pt x="36" y="147"/>
                  </a:lnTo>
                  <a:lnTo>
                    <a:pt x="36" y="147"/>
                  </a:lnTo>
                  <a:lnTo>
                    <a:pt x="38" y="147"/>
                  </a:lnTo>
                  <a:lnTo>
                    <a:pt x="38" y="145"/>
                  </a:lnTo>
                  <a:lnTo>
                    <a:pt x="40" y="141"/>
                  </a:lnTo>
                  <a:lnTo>
                    <a:pt x="40" y="139"/>
                  </a:lnTo>
                  <a:lnTo>
                    <a:pt x="40" y="137"/>
                  </a:lnTo>
                  <a:lnTo>
                    <a:pt x="40" y="135"/>
                  </a:lnTo>
                  <a:lnTo>
                    <a:pt x="42" y="135"/>
                  </a:lnTo>
                  <a:lnTo>
                    <a:pt x="42" y="133"/>
                  </a:lnTo>
                  <a:lnTo>
                    <a:pt x="42" y="131"/>
                  </a:lnTo>
                  <a:lnTo>
                    <a:pt x="44" y="131"/>
                  </a:lnTo>
                  <a:lnTo>
                    <a:pt x="44" y="129"/>
                  </a:lnTo>
                  <a:lnTo>
                    <a:pt x="44" y="127"/>
                  </a:lnTo>
                  <a:lnTo>
                    <a:pt x="44" y="125"/>
                  </a:lnTo>
                  <a:lnTo>
                    <a:pt x="46" y="125"/>
                  </a:lnTo>
                  <a:lnTo>
                    <a:pt x="46" y="123"/>
                  </a:lnTo>
                  <a:lnTo>
                    <a:pt x="46" y="121"/>
                  </a:lnTo>
                  <a:lnTo>
                    <a:pt x="48" y="117"/>
                  </a:lnTo>
                  <a:lnTo>
                    <a:pt x="48" y="115"/>
                  </a:lnTo>
                  <a:lnTo>
                    <a:pt x="50" y="113"/>
                  </a:lnTo>
                  <a:lnTo>
                    <a:pt x="50" y="111"/>
                  </a:lnTo>
                  <a:lnTo>
                    <a:pt x="50" y="109"/>
                  </a:lnTo>
                  <a:lnTo>
                    <a:pt x="52" y="109"/>
                  </a:lnTo>
                  <a:lnTo>
                    <a:pt x="52" y="107"/>
                  </a:lnTo>
                  <a:lnTo>
                    <a:pt x="52" y="103"/>
                  </a:lnTo>
                  <a:lnTo>
                    <a:pt x="54" y="103"/>
                  </a:lnTo>
                  <a:lnTo>
                    <a:pt x="54" y="101"/>
                  </a:lnTo>
                  <a:lnTo>
                    <a:pt x="54" y="99"/>
                  </a:lnTo>
                  <a:lnTo>
                    <a:pt x="54" y="99"/>
                  </a:lnTo>
                  <a:lnTo>
                    <a:pt x="56" y="99"/>
                  </a:lnTo>
                  <a:lnTo>
                    <a:pt x="56" y="97"/>
                  </a:lnTo>
                  <a:lnTo>
                    <a:pt x="56" y="95"/>
                  </a:lnTo>
                  <a:lnTo>
                    <a:pt x="58" y="93"/>
                  </a:lnTo>
                  <a:lnTo>
                    <a:pt x="58" y="91"/>
                  </a:lnTo>
                  <a:lnTo>
                    <a:pt x="58" y="89"/>
                  </a:lnTo>
                  <a:lnTo>
                    <a:pt x="60" y="89"/>
                  </a:lnTo>
                  <a:lnTo>
                    <a:pt x="60" y="87"/>
                  </a:lnTo>
                  <a:lnTo>
                    <a:pt x="60" y="85"/>
                  </a:lnTo>
                  <a:lnTo>
                    <a:pt x="62" y="83"/>
                  </a:lnTo>
                  <a:lnTo>
                    <a:pt x="62" y="81"/>
                  </a:lnTo>
                  <a:lnTo>
                    <a:pt x="62" y="79"/>
                  </a:lnTo>
                  <a:lnTo>
                    <a:pt x="62" y="77"/>
                  </a:lnTo>
                  <a:lnTo>
                    <a:pt x="62" y="77"/>
                  </a:lnTo>
                  <a:lnTo>
                    <a:pt x="62" y="75"/>
                  </a:lnTo>
                  <a:lnTo>
                    <a:pt x="62" y="73"/>
                  </a:lnTo>
                  <a:lnTo>
                    <a:pt x="64" y="69"/>
                  </a:lnTo>
                  <a:lnTo>
                    <a:pt x="64" y="67"/>
                  </a:lnTo>
                  <a:lnTo>
                    <a:pt x="66" y="65"/>
                  </a:lnTo>
                  <a:lnTo>
                    <a:pt x="66" y="63"/>
                  </a:lnTo>
                  <a:lnTo>
                    <a:pt x="66" y="61"/>
                  </a:lnTo>
                  <a:lnTo>
                    <a:pt x="68" y="61"/>
                  </a:lnTo>
                  <a:lnTo>
                    <a:pt x="68" y="59"/>
                  </a:lnTo>
                  <a:lnTo>
                    <a:pt x="68" y="57"/>
                  </a:lnTo>
                  <a:lnTo>
                    <a:pt x="70" y="55"/>
                  </a:lnTo>
                  <a:lnTo>
                    <a:pt x="70" y="53"/>
                  </a:lnTo>
                  <a:lnTo>
                    <a:pt x="70" y="53"/>
                  </a:lnTo>
                  <a:lnTo>
                    <a:pt x="72" y="51"/>
                  </a:lnTo>
                  <a:lnTo>
                    <a:pt x="72" y="49"/>
                  </a:lnTo>
                  <a:lnTo>
                    <a:pt x="72" y="47"/>
                  </a:lnTo>
                  <a:lnTo>
                    <a:pt x="74" y="47"/>
                  </a:lnTo>
                  <a:lnTo>
                    <a:pt x="74" y="45"/>
                  </a:lnTo>
                  <a:lnTo>
                    <a:pt x="74" y="43"/>
                  </a:lnTo>
                  <a:lnTo>
                    <a:pt x="74" y="41"/>
                  </a:lnTo>
                  <a:lnTo>
                    <a:pt x="76" y="39"/>
                  </a:lnTo>
                  <a:lnTo>
                    <a:pt x="76" y="37"/>
                  </a:lnTo>
                  <a:lnTo>
                    <a:pt x="76" y="35"/>
                  </a:lnTo>
                  <a:lnTo>
                    <a:pt x="78" y="35"/>
                  </a:lnTo>
                  <a:lnTo>
                    <a:pt x="78" y="33"/>
                  </a:lnTo>
                  <a:lnTo>
                    <a:pt x="78" y="31"/>
                  </a:lnTo>
                  <a:lnTo>
                    <a:pt x="80" y="29"/>
                  </a:lnTo>
                  <a:lnTo>
                    <a:pt x="80" y="27"/>
                  </a:lnTo>
                  <a:lnTo>
                    <a:pt x="80" y="25"/>
                  </a:lnTo>
                  <a:lnTo>
                    <a:pt x="82" y="25"/>
                  </a:lnTo>
                  <a:lnTo>
                    <a:pt x="82" y="23"/>
                  </a:lnTo>
                  <a:lnTo>
                    <a:pt x="82" y="21"/>
                  </a:lnTo>
                  <a:lnTo>
                    <a:pt x="82" y="19"/>
                  </a:lnTo>
                  <a:lnTo>
                    <a:pt x="84" y="19"/>
                  </a:lnTo>
                  <a:lnTo>
                    <a:pt x="86" y="13"/>
                  </a:lnTo>
                  <a:lnTo>
                    <a:pt x="86" y="11"/>
                  </a:lnTo>
                  <a:lnTo>
                    <a:pt x="88" y="7"/>
                  </a:lnTo>
                  <a:lnTo>
                    <a:pt x="88" y="5"/>
                  </a:lnTo>
                  <a:lnTo>
                    <a:pt x="88" y="5"/>
                  </a:lnTo>
                  <a:lnTo>
                    <a:pt x="90" y="5"/>
                  </a:lnTo>
                  <a:lnTo>
                    <a:pt x="90" y="3"/>
                  </a:lnTo>
                  <a:lnTo>
                    <a:pt x="90" y="0"/>
                  </a:lnTo>
                  <a:lnTo>
                    <a:pt x="92" y="3"/>
                  </a:lnTo>
                  <a:lnTo>
                    <a:pt x="94" y="3"/>
                  </a:lnTo>
                  <a:lnTo>
                    <a:pt x="96" y="3"/>
                  </a:lnTo>
                  <a:lnTo>
                    <a:pt x="96" y="5"/>
                  </a:lnTo>
                  <a:lnTo>
                    <a:pt x="98" y="5"/>
                  </a:lnTo>
                  <a:lnTo>
                    <a:pt x="100" y="5"/>
                  </a:lnTo>
                  <a:lnTo>
                    <a:pt x="102" y="5"/>
                  </a:lnTo>
                  <a:lnTo>
                    <a:pt x="104" y="5"/>
                  </a:lnTo>
                  <a:lnTo>
                    <a:pt x="106" y="5"/>
                  </a:lnTo>
                  <a:lnTo>
                    <a:pt x="108" y="5"/>
                  </a:lnTo>
                  <a:lnTo>
                    <a:pt x="108" y="7"/>
                  </a:lnTo>
                  <a:lnTo>
                    <a:pt x="110" y="7"/>
                  </a:lnTo>
                  <a:lnTo>
                    <a:pt x="110" y="7"/>
                  </a:lnTo>
                  <a:lnTo>
                    <a:pt x="112" y="7"/>
                  </a:lnTo>
                  <a:lnTo>
                    <a:pt x="112" y="9"/>
                  </a:lnTo>
                  <a:lnTo>
                    <a:pt x="114" y="9"/>
                  </a:lnTo>
                  <a:lnTo>
                    <a:pt x="116" y="9"/>
                  </a:lnTo>
                  <a:lnTo>
                    <a:pt x="118" y="9"/>
                  </a:lnTo>
                  <a:lnTo>
                    <a:pt x="118" y="11"/>
                  </a:lnTo>
                  <a:lnTo>
                    <a:pt x="120" y="11"/>
                  </a:lnTo>
                  <a:lnTo>
                    <a:pt x="122" y="11"/>
                  </a:lnTo>
                  <a:lnTo>
                    <a:pt x="124" y="11"/>
                  </a:lnTo>
                  <a:lnTo>
                    <a:pt x="124" y="13"/>
                  </a:lnTo>
                  <a:lnTo>
                    <a:pt x="126" y="13"/>
                  </a:lnTo>
                  <a:lnTo>
                    <a:pt x="128" y="13"/>
                  </a:lnTo>
                  <a:lnTo>
                    <a:pt x="130" y="13"/>
                  </a:lnTo>
                  <a:lnTo>
                    <a:pt x="130" y="15"/>
                  </a:lnTo>
                  <a:lnTo>
                    <a:pt x="132" y="15"/>
                  </a:lnTo>
                  <a:lnTo>
                    <a:pt x="134" y="15"/>
                  </a:lnTo>
                  <a:lnTo>
                    <a:pt x="136" y="15"/>
                  </a:lnTo>
                  <a:lnTo>
                    <a:pt x="136" y="17"/>
                  </a:lnTo>
                  <a:lnTo>
                    <a:pt x="138" y="17"/>
                  </a:lnTo>
                  <a:lnTo>
                    <a:pt x="140" y="17"/>
                  </a:lnTo>
                  <a:lnTo>
                    <a:pt x="142" y="17"/>
                  </a:lnTo>
                  <a:lnTo>
                    <a:pt x="142" y="19"/>
                  </a:lnTo>
                  <a:lnTo>
                    <a:pt x="144" y="19"/>
                  </a:lnTo>
                  <a:lnTo>
                    <a:pt x="146" y="19"/>
                  </a:lnTo>
                  <a:lnTo>
                    <a:pt x="148" y="21"/>
                  </a:lnTo>
                  <a:lnTo>
                    <a:pt x="150" y="21"/>
                  </a:lnTo>
                  <a:lnTo>
                    <a:pt x="152" y="21"/>
                  </a:lnTo>
                  <a:lnTo>
                    <a:pt x="156" y="23"/>
                  </a:lnTo>
                  <a:lnTo>
                    <a:pt x="158" y="23"/>
                  </a:lnTo>
                  <a:lnTo>
                    <a:pt x="158" y="23"/>
                  </a:lnTo>
                  <a:lnTo>
                    <a:pt x="158" y="25"/>
                  </a:lnTo>
                  <a:lnTo>
                    <a:pt x="160" y="25"/>
                  </a:lnTo>
                  <a:lnTo>
                    <a:pt x="162" y="25"/>
                  </a:lnTo>
                  <a:lnTo>
                    <a:pt x="164" y="25"/>
                  </a:lnTo>
                  <a:lnTo>
                    <a:pt x="166" y="27"/>
                  </a:lnTo>
                  <a:lnTo>
                    <a:pt x="168" y="27"/>
                  </a:lnTo>
                  <a:lnTo>
                    <a:pt x="170" y="27"/>
                  </a:lnTo>
                  <a:lnTo>
                    <a:pt x="170" y="29"/>
                  </a:lnTo>
                  <a:lnTo>
                    <a:pt x="172" y="29"/>
                  </a:lnTo>
                  <a:lnTo>
                    <a:pt x="174" y="29"/>
                  </a:lnTo>
                  <a:lnTo>
                    <a:pt x="176" y="29"/>
                  </a:lnTo>
                  <a:lnTo>
                    <a:pt x="178" y="31"/>
                  </a:lnTo>
                  <a:lnTo>
                    <a:pt x="180" y="31"/>
                  </a:lnTo>
                  <a:lnTo>
                    <a:pt x="182" y="31"/>
                  </a:lnTo>
                  <a:lnTo>
                    <a:pt x="182" y="33"/>
                  </a:lnTo>
                  <a:lnTo>
                    <a:pt x="184" y="33"/>
                  </a:lnTo>
                  <a:lnTo>
                    <a:pt x="186" y="33"/>
                  </a:lnTo>
                  <a:lnTo>
                    <a:pt x="188" y="33"/>
                  </a:lnTo>
                  <a:lnTo>
                    <a:pt x="190" y="35"/>
                  </a:lnTo>
                  <a:lnTo>
                    <a:pt x="192" y="35"/>
                  </a:lnTo>
                  <a:lnTo>
                    <a:pt x="194" y="35"/>
                  </a:lnTo>
                  <a:lnTo>
                    <a:pt x="196" y="37"/>
                  </a:lnTo>
                  <a:lnTo>
                    <a:pt x="198" y="37"/>
                  </a:lnTo>
                  <a:lnTo>
                    <a:pt x="200" y="37"/>
                  </a:lnTo>
                  <a:lnTo>
                    <a:pt x="202" y="37"/>
                  </a:lnTo>
                  <a:close/>
                </a:path>
              </a:pathLst>
            </a:custGeom>
            <a:solidFill>
              <a:srgbClr val="F8BAEF"/>
            </a:solidFill>
            <a:ln w="3175">
              <a:solidFill>
                <a:schemeClr val="bg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black"/>
                </a:solidFill>
                <a:effectLst/>
                <a:uLnTx/>
                <a:uFillTx/>
                <a:ea typeface="宋体" panose="02010600030101010101" pitchFamily="2" charset="-122"/>
              </a:endParaRPr>
            </a:p>
          </p:txBody>
        </p:sp>
        <p:sp>
          <p:nvSpPr>
            <p:cNvPr id="22" name="Freeform 3780">
              <a:extLst>
                <a:ext uri="{FF2B5EF4-FFF2-40B4-BE49-F238E27FC236}">
                  <a16:creationId xmlns:a16="http://schemas.microsoft.com/office/drawing/2014/main" id="{E1BFF4AF-0A59-7680-10B8-C5FDDEC06C83}"/>
                </a:ext>
              </a:extLst>
            </p:cNvPr>
            <p:cNvSpPr>
              <a:spLocks/>
            </p:cNvSpPr>
            <p:nvPr/>
          </p:nvSpPr>
          <p:spPr bwMode="auto">
            <a:xfrm>
              <a:off x="4316413" y="2695576"/>
              <a:ext cx="492125" cy="423863"/>
            </a:xfrm>
            <a:custGeom>
              <a:avLst/>
              <a:gdLst>
                <a:gd name="T0" fmla="*/ 148 w 310"/>
                <a:gd name="T1" fmla="*/ 24 h 267"/>
                <a:gd name="T2" fmla="*/ 160 w 310"/>
                <a:gd name="T3" fmla="*/ 28 h 267"/>
                <a:gd name="T4" fmla="*/ 172 w 310"/>
                <a:gd name="T5" fmla="*/ 32 h 267"/>
                <a:gd name="T6" fmla="*/ 190 w 310"/>
                <a:gd name="T7" fmla="*/ 36 h 267"/>
                <a:gd name="T8" fmla="*/ 204 w 310"/>
                <a:gd name="T9" fmla="*/ 40 h 267"/>
                <a:gd name="T10" fmla="*/ 216 w 310"/>
                <a:gd name="T11" fmla="*/ 42 h 267"/>
                <a:gd name="T12" fmla="*/ 228 w 310"/>
                <a:gd name="T13" fmla="*/ 46 h 267"/>
                <a:gd name="T14" fmla="*/ 242 w 310"/>
                <a:gd name="T15" fmla="*/ 48 h 267"/>
                <a:gd name="T16" fmla="*/ 260 w 310"/>
                <a:gd name="T17" fmla="*/ 52 h 267"/>
                <a:gd name="T18" fmla="*/ 282 w 310"/>
                <a:gd name="T19" fmla="*/ 58 h 267"/>
                <a:gd name="T20" fmla="*/ 296 w 310"/>
                <a:gd name="T21" fmla="*/ 60 h 267"/>
                <a:gd name="T22" fmla="*/ 310 w 310"/>
                <a:gd name="T23" fmla="*/ 64 h 267"/>
                <a:gd name="T24" fmla="*/ 308 w 310"/>
                <a:gd name="T25" fmla="*/ 76 h 267"/>
                <a:gd name="T26" fmla="*/ 304 w 310"/>
                <a:gd name="T27" fmla="*/ 88 h 267"/>
                <a:gd name="T28" fmla="*/ 302 w 310"/>
                <a:gd name="T29" fmla="*/ 106 h 267"/>
                <a:gd name="T30" fmla="*/ 298 w 310"/>
                <a:gd name="T31" fmla="*/ 121 h 267"/>
                <a:gd name="T32" fmla="*/ 294 w 310"/>
                <a:gd name="T33" fmla="*/ 137 h 267"/>
                <a:gd name="T34" fmla="*/ 292 w 310"/>
                <a:gd name="T35" fmla="*/ 153 h 267"/>
                <a:gd name="T36" fmla="*/ 290 w 310"/>
                <a:gd name="T37" fmla="*/ 167 h 267"/>
                <a:gd name="T38" fmla="*/ 286 w 310"/>
                <a:gd name="T39" fmla="*/ 179 h 267"/>
                <a:gd name="T40" fmla="*/ 284 w 310"/>
                <a:gd name="T41" fmla="*/ 197 h 267"/>
                <a:gd name="T42" fmla="*/ 280 w 310"/>
                <a:gd name="T43" fmla="*/ 211 h 267"/>
                <a:gd name="T44" fmla="*/ 278 w 310"/>
                <a:gd name="T45" fmla="*/ 223 h 267"/>
                <a:gd name="T46" fmla="*/ 274 w 310"/>
                <a:gd name="T47" fmla="*/ 237 h 267"/>
                <a:gd name="T48" fmla="*/ 272 w 310"/>
                <a:gd name="T49" fmla="*/ 253 h 267"/>
                <a:gd name="T50" fmla="*/ 270 w 310"/>
                <a:gd name="T51" fmla="*/ 265 h 267"/>
                <a:gd name="T52" fmla="*/ 258 w 310"/>
                <a:gd name="T53" fmla="*/ 263 h 267"/>
                <a:gd name="T54" fmla="*/ 240 w 310"/>
                <a:gd name="T55" fmla="*/ 261 h 267"/>
                <a:gd name="T56" fmla="*/ 222 w 310"/>
                <a:gd name="T57" fmla="*/ 259 h 267"/>
                <a:gd name="T58" fmla="*/ 208 w 310"/>
                <a:gd name="T59" fmla="*/ 255 h 267"/>
                <a:gd name="T60" fmla="*/ 192 w 310"/>
                <a:gd name="T61" fmla="*/ 251 h 267"/>
                <a:gd name="T62" fmla="*/ 178 w 310"/>
                <a:gd name="T63" fmla="*/ 249 h 267"/>
                <a:gd name="T64" fmla="*/ 162 w 310"/>
                <a:gd name="T65" fmla="*/ 243 h 267"/>
                <a:gd name="T66" fmla="*/ 146 w 310"/>
                <a:gd name="T67" fmla="*/ 239 h 267"/>
                <a:gd name="T68" fmla="*/ 130 w 310"/>
                <a:gd name="T69" fmla="*/ 235 h 267"/>
                <a:gd name="T70" fmla="*/ 118 w 310"/>
                <a:gd name="T71" fmla="*/ 231 h 267"/>
                <a:gd name="T72" fmla="*/ 104 w 310"/>
                <a:gd name="T73" fmla="*/ 229 h 267"/>
                <a:gd name="T74" fmla="*/ 82 w 310"/>
                <a:gd name="T75" fmla="*/ 223 h 267"/>
                <a:gd name="T76" fmla="*/ 70 w 310"/>
                <a:gd name="T77" fmla="*/ 219 h 267"/>
                <a:gd name="T78" fmla="*/ 56 w 310"/>
                <a:gd name="T79" fmla="*/ 215 h 267"/>
                <a:gd name="T80" fmla="*/ 44 w 310"/>
                <a:gd name="T81" fmla="*/ 211 h 267"/>
                <a:gd name="T82" fmla="*/ 32 w 310"/>
                <a:gd name="T83" fmla="*/ 209 h 267"/>
                <a:gd name="T84" fmla="*/ 18 w 310"/>
                <a:gd name="T85" fmla="*/ 205 h 267"/>
                <a:gd name="T86" fmla="*/ 6 w 310"/>
                <a:gd name="T87" fmla="*/ 201 h 267"/>
                <a:gd name="T88" fmla="*/ 4 w 310"/>
                <a:gd name="T89" fmla="*/ 189 h 267"/>
                <a:gd name="T90" fmla="*/ 8 w 310"/>
                <a:gd name="T91" fmla="*/ 175 h 267"/>
                <a:gd name="T92" fmla="*/ 14 w 310"/>
                <a:gd name="T93" fmla="*/ 159 h 267"/>
                <a:gd name="T94" fmla="*/ 18 w 310"/>
                <a:gd name="T95" fmla="*/ 147 h 267"/>
                <a:gd name="T96" fmla="*/ 22 w 310"/>
                <a:gd name="T97" fmla="*/ 135 h 267"/>
                <a:gd name="T98" fmla="*/ 26 w 310"/>
                <a:gd name="T99" fmla="*/ 117 h 267"/>
                <a:gd name="T100" fmla="*/ 30 w 310"/>
                <a:gd name="T101" fmla="*/ 104 h 267"/>
                <a:gd name="T102" fmla="*/ 34 w 310"/>
                <a:gd name="T103" fmla="*/ 90 h 267"/>
                <a:gd name="T104" fmla="*/ 40 w 310"/>
                <a:gd name="T105" fmla="*/ 74 h 267"/>
                <a:gd name="T106" fmla="*/ 44 w 310"/>
                <a:gd name="T107" fmla="*/ 58 h 267"/>
                <a:gd name="T108" fmla="*/ 48 w 310"/>
                <a:gd name="T109" fmla="*/ 44 h 267"/>
                <a:gd name="T110" fmla="*/ 54 w 310"/>
                <a:gd name="T111" fmla="*/ 26 h 267"/>
                <a:gd name="T112" fmla="*/ 62 w 310"/>
                <a:gd name="T113" fmla="*/ 6 h 267"/>
                <a:gd name="T114" fmla="*/ 74 w 310"/>
                <a:gd name="T115" fmla="*/ 6 h 267"/>
                <a:gd name="T116" fmla="*/ 90 w 310"/>
                <a:gd name="T117" fmla="*/ 10 h 267"/>
                <a:gd name="T118" fmla="*/ 106 w 310"/>
                <a:gd name="T119" fmla="*/ 14 h 267"/>
                <a:gd name="T120" fmla="*/ 118 w 310"/>
                <a:gd name="T121" fmla="*/ 18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10" h="267">
                  <a:moveTo>
                    <a:pt x="130" y="20"/>
                  </a:moveTo>
                  <a:lnTo>
                    <a:pt x="134" y="20"/>
                  </a:lnTo>
                  <a:lnTo>
                    <a:pt x="136" y="22"/>
                  </a:lnTo>
                  <a:lnTo>
                    <a:pt x="140" y="22"/>
                  </a:lnTo>
                  <a:lnTo>
                    <a:pt x="142" y="22"/>
                  </a:lnTo>
                  <a:lnTo>
                    <a:pt x="144" y="24"/>
                  </a:lnTo>
                  <a:lnTo>
                    <a:pt x="146" y="24"/>
                  </a:lnTo>
                  <a:lnTo>
                    <a:pt x="148" y="24"/>
                  </a:lnTo>
                  <a:lnTo>
                    <a:pt x="150" y="24"/>
                  </a:lnTo>
                  <a:lnTo>
                    <a:pt x="150" y="26"/>
                  </a:lnTo>
                  <a:lnTo>
                    <a:pt x="152" y="26"/>
                  </a:lnTo>
                  <a:lnTo>
                    <a:pt x="154" y="26"/>
                  </a:lnTo>
                  <a:lnTo>
                    <a:pt x="156" y="26"/>
                  </a:lnTo>
                  <a:lnTo>
                    <a:pt x="158" y="26"/>
                  </a:lnTo>
                  <a:lnTo>
                    <a:pt x="158" y="28"/>
                  </a:lnTo>
                  <a:lnTo>
                    <a:pt x="160" y="28"/>
                  </a:lnTo>
                  <a:lnTo>
                    <a:pt x="162" y="28"/>
                  </a:lnTo>
                  <a:lnTo>
                    <a:pt x="164" y="28"/>
                  </a:lnTo>
                  <a:lnTo>
                    <a:pt x="166" y="28"/>
                  </a:lnTo>
                  <a:lnTo>
                    <a:pt x="166" y="30"/>
                  </a:lnTo>
                  <a:lnTo>
                    <a:pt x="168" y="30"/>
                  </a:lnTo>
                  <a:lnTo>
                    <a:pt x="168" y="30"/>
                  </a:lnTo>
                  <a:lnTo>
                    <a:pt x="170" y="30"/>
                  </a:lnTo>
                  <a:lnTo>
                    <a:pt x="172" y="32"/>
                  </a:lnTo>
                  <a:lnTo>
                    <a:pt x="174" y="32"/>
                  </a:lnTo>
                  <a:lnTo>
                    <a:pt x="176" y="32"/>
                  </a:lnTo>
                  <a:lnTo>
                    <a:pt x="178" y="32"/>
                  </a:lnTo>
                  <a:lnTo>
                    <a:pt x="182" y="34"/>
                  </a:lnTo>
                  <a:lnTo>
                    <a:pt x="184" y="34"/>
                  </a:lnTo>
                  <a:lnTo>
                    <a:pt x="186" y="34"/>
                  </a:lnTo>
                  <a:lnTo>
                    <a:pt x="188" y="36"/>
                  </a:lnTo>
                  <a:lnTo>
                    <a:pt x="190" y="36"/>
                  </a:lnTo>
                  <a:lnTo>
                    <a:pt x="192" y="36"/>
                  </a:lnTo>
                  <a:lnTo>
                    <a:pt x="194" y="36"/>
                  </a:lnTo>
                  <a:lnTo>
                    <a:pt x="196" y="38"/>
                  </a:lnTo>
                  <a:lnTo>
                    <a:pt x="198" y="38"/>
                  </a:lnTo>
                  <a:lnTo>
                    <a:pt x="200" y="38"/>
                  </a:lnTo>
                  <a:lnTo>
                    <a:pt x="202" y="38"/>
                  </a:lnTo>
                  <a:lnTo>
                    <a:pt x="202" y="40"/>
                  </a:lnTo>
                  <a:lnTo>
                    <a:pt x="204" y="40"/>
                  </a:lnTo>
                  <a:lnTo>
                    <a:pt x="206" y="40"/>
                  </a:lnTo>
                  <a:lnTo>
                    <a:pt x="208" y="40"/>
                  </a:lnTo>
                  <a:lnTo>
                    <a:pt x="210" y="40"/>
                  </a:lnTo>
                  <a:lnTo>
                    <a:pt x="210" y="42"/>
                  </a:lnTo>
                  <a:lnTo>
                    <a:pt x="212" y="42"/>
                  </a:lnTo>
                  <a:lnTo>
                    <a:pt x="214" y="42"/>
                  </a:lnTo>
                  <a:lnTo>
                    <a:pt x="216" y="42"/>
                  </a:lnTo>
                  <a:lnTo>
                    <a:pt x="216" y="42"/>
                  </a:lnTo>
                  <a:lnTo>
                    <a:pt x="216" y="44"/>
                  </a:lnTo>
                  <a:lnTo>
                    <a:pt x="218" y="44"/>
                  </a:lnTo>
                  <a:lnTo>
                    <a:pt x="220" y="44"/>
                  </a:lnTo>
                  <a:lnTo>
                    <a:pt x="222" y="44"/>
                  </a:lnTo>
                  <a:lnTo>
                    <a:pt x="224" y="44"/>
                  </a:lnTo>
                  <a:lnTo>
                    <a:pt x="224" y="46"/>
                  </a:lnTo>
                  <a:lnTo>
                    <a:pt x="226" y="46"/>
                  </a:lnTo>
                  <a:lnTo>
                    <a:pt x="228" y="46"/>
                  </a:lnTo>
                  <a:lnTo>
                    <a:pt x="230" y="46"/>
                  </a:lnTo>
                  <a:lnTo>
                    <a:pt x="232" y="46"/>
                  </a:lnTo>
                  <a:lnTo>
                    <a:pt x="234" y="48"/>
                  </a:lnTo>
                  <a:lnTo>
                    <a:pt x="236" y="48"/>
                  </a:lnTo>
                  <a:lnTo>
                    <a:pt x="238" y="48"/>
                  </a:lnTo>
                  <a:lnTo>
                    <a:pt x="240" y="48"/>
                  </a:lnTo>
                  <a:lnTo>
                    <a:pt x="242" y="50"/>
                  </a:lnTo>
                  <a:lnTo>
                    <a:pt x="242" y="48"/>
                  </a:lnTo>
                  <a:lnTo>
                    <a:pt x="244" y="48"/>
                  </a:lnTo>
                  <a:lnTo>
                    <a:pt x="244" y="50"/>
                  </a:lnTo>
                  <a:lnTo>
                    <a:pt x="246" y="50"/>
                  </a:lnTo>
                  <a:lnTo>
                    <a:pt x="248" y="50"/>
                  </a:lnTo>
                  <a:lnTo>
                    <a:pt x="250" y="50"/>
                  </a:lnTo>
                  <a:lnTo>
                    <a:pt x="254" y="52"/>
                  </a:lnTo>
                  <a:lnTo>
                    <a:pt x="256" y="52"/>
                  </a:lnTo>
                  <a:lnTo>
                    <a:pt x="260" y="52"/>
                  </a:lnTo>
                  <a:lnTo>
                    <a:pt x="266" y="54"/>
                  </a:lnTo>
                  <a:lnTo>
                    <a:pt x="268" y="54"/>
                  </a:lnTo>
                  <a:lnTo>
                    <a:pt x="270" y="56"/>
                  </a:lnTo>
                  <a:lnTo>
                    <a:pt x="272" y="56"/>
                  </a:lnTo>
                  <a:lnTo>
                    <a:pt x="274" y="56"/>
                  </a:lnTo>
                  <a:lnTo>
                    <a:pt x="276" y="56"/>
                  </a:lnTo>
                  <a:lnTo>
                    <a:pt x="280" y="58"/>
                  </a:lnTo>
                  <a:lnTo>
                    <a:pt x="282" y="58"/>
                  </a:lnTo>
                  <a:lnTo>
                    <a:pt x="284" y="58"/>
                  </a:lnTo>
                  <a:lnTo>
                    <a:pt x="286" y="58"/>
                  </a:lnTo>
                  <a:lnTo>
                    <a:pt x="288" y="58"/>
                  </a:lnTo>
                  <a:lnTo>
                    <a:pt x="288" y="60"/>
                  </a:lnTo>
                  <a:lnTo>
                    <a:pt x="290" y="60"/>
                  </a:lnTo>
                  <a:lnTo>
                    <a:pt x="292" y="60"/>
                  </a:lnTo>
                  <a:lnTo>
                    <a:pt x="294" y="60"/>
                  </a:lnTo>
                  <a:lnTo>
                    <a:pt x="296" y="60"/>
                  </a:lnTo>
                  <a:lnTo>
                    <a:pt x="298" y="62"/>
                  </a:lnTo>
                  <a:lnTo>
                    <a:pt x="300" y="62"/>
                  </a:lnTo>
                  <a:lnTo>
                    <a:pt x="302" y="62"/>
                  </a:lnTo>
                  <a:lnTo>
                    <a:pt x="304" y="62"/>
                  </a:lnTo>
                  <a:lnTo>
                    <a:pt x="306" y="62"/>
                  </a:lnTo>
                  <a:lnTo>
                    <a:pt x="308" y="62"/>
                  </a:lnTo>
                  <a:lnTo>
                    <a:pt x="308" y="64"/>
                  </a:lnTo>
                  <a:lnTo>
                    <a:pt x="310" y="64"/>
                  </a:lnTo>
                  <a:lnTo>
                    <a:pt x="310" y="66"/>
                  </a:lnTo>
                  <a:lnTo>
                    <a:pt x="310" y="68"/>
                  </a:lnTo>
                  <a:lnTo>
                    <a:pt x="308" y="68"/>
                  </a:lnTo>
                  <a:lnTo>
                    <a:pt x="308" y="68"/>
                  </a:lnTo>
                  <a:lnTo>
                    <a:pt x="308" y="70"/>
                  </a:lnTo>
                  <a:lnTo>
                    <a:pt x="308" y="72"/>
                  </a:lnTo>
                  <a:lnTo>
                    <a:pt x="308" y="74"/>
                  </a:lnTo>
                  <a:lnTo>
                    <a:pt x="308" y="76"/>
                  </a:lnTo>
                  <a:lnTo>
                    <a:pt x="306" y="76"/>
                  </a:lnTo>
                  <a:lnTo>
                    <a:pt x="306" y="78"/>
                  </a:lnTo>
                  <a:lnTo>
                    <a:pt x="306" y="80"/>
                  </a:lnTo>
                  <a:lnTo>
                    <a:pt x="306" y="82"/>
                  </a:lnTo>
                  <a:lnTo>
                    <a:pt x="306" y="84"/>
                  </a:lnTo>
                  <a:lnTo>
                    <a:pt x="306" y="86"/>
                  </a:lnTo>
                  <a:lnTo>
                    <a:pt x="304" y="86"/>
                  </a:lnTo>
                  <a:lnTo>
                    <a:pt x="304" y="88"/>
                  </a:lnTo>
                  <a:lnTo>
                    <a:pt x="304" y="90"/>
                  </a:lnTo>
                  <a:lnTo>
                    <a:pt x="304" y="92"/>
                  </a:lnTo>
                  <a:lnTo>
                    <a:pt x="304" y="94"/>
                  </a:lnTo>
                  <a:lnTo>
                    <a:pt x="304" y="96"/>
                  </a:lnTo>
                  <a:lnTo>
                    <a:pt x="302" y="100"/>
                  </a:lnTo>
                  <a:lnTo>
                    <a:pt x="302" y="102"/>
                  </a:lnTo>
                  <a:lnTo>
                    <a:pt x="302" y="104"/>
                  </a:lnTo>
                  <a:lnTo>
                    <a:pt x="302" y="106"/>
                  </a:lnTo>
                  <a:lnTo>
                    <a:pt x="302" y="108"/>
                  </a:lnTo>
                  <a:lnTo>
                    <a:pt x="300" y="110"/>
                  </a:lnTo>
                  <a:lnTo>
                    <a:pt x="300" y="115"/>
                  </a:lnTo>
                  <a:lnTo>
                    <a:pt x="300" y="117"/>
                  </a:lnTo>
                  <a:lnTo>
                    <a:pt x="300" y="117"/>
                  </a:lnTo>
                  <a:lnTo>
                    <a:pt x="298" y="117"/>
                  </a:lnTo>
                  <a:lnTo>
                    <a:pt x="298" y="119"/>
                  </a:lnTo>
                  <a:lnTo>
                    <a:pt x="298" y="121"/>
                  </a:lnTo>
                  <a:lnTo>
                    <a:pt x="298" y="125"/>
                  </a:lnTo>
                  <a:lnTo>
                    <a:pt x="298" y="127"/>
                  </a:lnTo>
                  <a:lnTo>
                    <a:pt x="296" y="129"/>
                  </a:lnTo>
                  <a:lnTo>
                    <a:pt x="296" y="131"/>
                  </a:lnTo>
                  <a:lnTo>
                    <a:pt x="296" y="133"/>
                  </a:lnTo>
                  <a:lnTo>
                    <a:pt x="296" y="135"/>
                  </a:lnTo>
                  <a:lnTo>
                    <a:pt x="296" y="137"/>
                  </a:lnTo>
                  <a:lnTo>
                    <a:pt x="294" y="137"/>
                  </a:lnTo>
                  <a:lnTo>
                    <a:pt x="294" y="139"/>
                  </a:lnTo>
                  <a:lnTo>
                    <a:pt x="294" y="141"/>
                  </a:lnTo>
                  <a:lnTo>
                    <a:pt x="294" y="143"/>
                  </a:lnTo>
                  <a:lnTo>
                    <a:pt x="294" y="145"/>
                  </a:lnTo>
                  <a:lnTo>
                    <a:pt x="294" y="147"/>
                  </a:lnTo>
                  <a:lnTo>
                    <a:pt x="292" y="147"/>
                  </a:lnTo>
                  <a:lnTo>
                    <a:pt x="292" y="149"/>
                  </a:lnTo>
                  <a:lnTo>
                    <a:pt x="292" y="153"/>
                  </a:lnTo>
                  <a:lnTo>
                    <a:pt x="292" y="155"/>
                  </a:lnTo>
                  <a:lnTo>
                    <a:pt x="292" y="157"/>
                  </a:lnTo>
                  <a:lnTo>
                    <a:pt x="290" y="159"/>
                  </a:lnTo>
                  <a:lnTo>
                    <a:pt x="290" y="161"/>
                  </a:lnTo>
                  <a:lnTo>
                    <a:pt x="290" y="163"/>
                  </a:lnTo>
                  <a:lnTo>
                    <a:pt x="290" y="165"/>
                  </a:lnTo>
                  <a:lnTo>
                    <a:pt x="290" y="165"/>
                  </a:lnTo>
                  <a:lnTo>
                    <a:pt x="290" y="167"/>
                  </a:lnTo>
                  <a:lnTo>
                    <a:pt x="288" y="167"/>
                  </a:lnTo>
                  <a:lnTo>
                    <a:pt x="288" y="169"/>
                  </a:lnTo>
                  <a:lnTo>
                    <a:pt x="288" y="171"/>
                  </a:lnTo>
                  <a:lnTo>
                    <a:pt x="288" y="173"/>
                  </a:lnTo>
                  <a:lnTo>
                    <a:pt x="288" y="175"/>
                  </a:lnTo>
                  <a:lnTo>
                    <a:pt x="288" y="177"/>
                  </a:lnTo>
                  <a:lnTo>
                    <a:pt x="286" y="177"/>
                  </a:lnTo>
                  <a:lnTo>
                    <a:pt x="286" y="179"/>
                  </a:lnTo>
                  <a:lnTo>
                    <a:pt x="286" y="181"/>
                  </a:lnTo>
                  <a:lnTo>
                    <a:pt x="286" y="183"/>
                  </a:lnTo>
                  <a:lnTo>
                    <a:pt x="286" y="185"/>
                  </a:lnTo>
                  <a:lnTo>
                    <a:pt x="286" y="187"/>
                  </a:lnTo>
                  <a:lnTo>
                    <a:pt x="284" y="189"/>
                  </a:lnTo>
                  <a:lnTo>
                    <a:pt x="284" y="191"/>
                  </a:lnTo>
                  <a:lnTo>
                    <a:pt x="284" y="195"/>
                  </a:lnTo>
                  <a:lnTo>
                    <a:pt x="284" y="197"/>
                  </a:lnTo>
                  <a:lnTo>
                    <a:pt x="282" y="197"/>
                  </a:lnTo>
                  <a:lnTo>
                    <a:pt x="282" y="199"/>
                  </a:lnTo>
                  <a:lnTo>
                    <a:pt x="282" y="201"/>
                  </a:lnTo>
                  <a:lnTo>
                    <a:pt x="282" y="203"/>
                  </a:lnTo>
                  <a:lnTo>
                    <a:pt x="282" y="205"/>
                  </a:lnTo>
                  <a:lnTo>
                    <a:pt x="282" y="207"/>
                  </a:lnTo>
                  <a:lnTo>
                    <a:pt x="280" y="209"/>
                  </a:lnTo>
                  <a:lnTo>
                    <a:pt x="280" y="211"/>
                  </a:lnTo>
                  <a:lnTo>
                    <a:pt x="280" y="211"/>
                  </a:lnTo>
                  <a:lnTo>
                    <a:pt x="280" y="213"/>
                  </a:lnTo>
                  <a:lnTo>
                    <a:pt x="280" y="215"/>
                  </a:lnTo>
                  <a:lnTo>
                    <a:pt x="280" y="217"/>
                  </a:lnTo>
                  <a:lnTo>
                    <a:pt x="278" y="217"/>
                  </a:lnTo>
                  <a:lnTo>
                    <a:pt x="278" y="219"/>
                  </a:lnTo>
                  <a:lnTo>
                    <a:pt x="278" y="221"/>
                  </a:lnTo>
                  <a:lnTo>
                    <a:pt x="278" y="223"/>
                  </a:lnTo>
                  <a:lnTo>
                    <a:pt x="278" y="227"/>
                  </a:lnTo>
                  <a:lnTo>
                    <a:pt x="276" y="227"/>
                  </a:lnTo>
                  <a:lnTo>
                    <a:pt x="276" y="229"/>
                  </a:lnTo>
                  <a:lnTo>
                    <a:pt x="276" y="231"/>
                  </a:lnTo>
                  <a:lnTo>
                    <a:pt x="276" y="233"/>
                  </a:lnTo>
                  <a:lnTo>
                    <a:pt x="276" y="235"/>
                  </a:lnTo>
                  <a:lnTo>
                    <a:pt x="276" y="237"/>
                  </a:lnTo>
                  <a:lnTo>
                    <a:pt x="274" y="237"/>
                  </a:lnTo>
                  <a:lnTo>
                    <a:pt x="274" y="239"/>
                  </a:lnTo>
                  <a:lnTo>
                    <a:pt x="274" y="241"/>
                  </a:lnTo>
                  <a:lnTo>
                    <a:pt x="274" y="243"/>
                  </a:lnTo>
                  <a:lnTo>
                    <a:pt x="274" y="245"/>
                  </a:lnTo>
                  <a:lnTo>
                    <a:pt x="274" y="247"/>
                  </a:lnTo>
                  <a:lnTo>
                    <a:pt x="272" y="249"/>
                  </a:lnTo>
                  <a:lnTo>
                    <a:pt x="272" y="251"/>
                  </a:lnTo>
                  <a:lnTo>
                    <a:pt x="272" y="253"/>
                  </a:lnTo>
                  <a:lnTo>
                    <a:pt x="272" y="255"/>
                  </a:lnTo>
                  <a:lnTo>
                    <a:pt x="272" y="257"/>
                  </a:lnTo>
                  <a:lnTo>
                    <a:pt x="270" y="257"/>
                  </a:lnTo>
                  <a:lnTo>
                    <a:pt x="270" y="259"/>
                  </a:lnTo>
                  <a:lnTo>
                    <a:pt x="270" y="259"/>
                  </a:lnTo>
                  <a:lnTo>
                    <a:pt x="270" y="261"/>
                  </a:lnTo>
                  <a:lnTo>
                    <a:pt x="270" y="263"/>
                  </a:lnTo>
                  <a:lnTo>
                    <a:pt x="270" y="265"/>
                  </a:lnTo>
                  <a:lnTo>
                    <a:pt x="268" y="267"/>
                  </a:lnTo>
                  <a:lnTo>
                    <a:pt x="268" y="265"/>
                  </a:lnTo>
                  <a:lnTo>
                    <a:pt x="266" y="265"/>
                  </a:lnTo>
                  <a:lnTo>
                    <a:pt x="264" y="265"/>
                  </a:lnTo>
                  <a:lnTo>
                    <a:pt x="264" y="265"/>
                  </a:lnTo>
                  <a:lnTo>
                    <a:pt x="262" y="265"/>
                  </a:lnTo>
                  <a:lnTo>
                    <a:pt x="260" y="263"/>
                  </a:lnTo>
                  <a:lnTo>
                    <a:pt x="258" y="263"/>
                  </a:lnTo>
                  <a:lnTo>
                    <a:pt x="256" y="263"/>
                  </a:lnTo>
                  <a:lnTo>
                    <a:pt x="254" y="263"/>
                  </a:lnTo>
                  <a:lnTo>
                    <a:pt x="252" y="263"/>
                  </a:lnTo>
                  <a:lnTo>
                    <a:pt x="248" y="261"/>
                  </a:lnTo>
                  <a:lnTo>
                    <a:pt x="246" y="261"/>
                  </a:lnTo>
                  <a:lnTo>
                    <a:pt x="244" y="261"/>
                  </a:lnTo>
                  <a:lnTo>
                    <a:pt x="242" y="261"/>
                  </a:lnTo>
                  <a:lnTo>
                    <a:pt x="240" y="261"/>
                  </a:lnTo>
                  <a:lnTo>
                    <a:pt x="240" y="259"/>
                  </a:lnTo>
                  <a:lnTo>
                    <a:pt x="238" y="259"/>
                  </a:lnTo>
                  <a:lnTo>
                    <a:pt x="234" y="259"/>
                  </a:lnTo>
                  <a:lnTo>
                    <a:pt x="232" y="259"/>
                  </a:lnTo>
                  <a:lnTo>
                    <a:pt x="228" y="259"/>
                  </a:lnTo>
                  <a:lnTo>
                    <a:pt x="226" y="259"/>
                  </a:lnTo>
                  <a:lnTo>
                    <a:pt x="224" y="259"/>
                  </a:lnTo>
                  <a:lnTo>
                    <a:pt x="222" y="259"/>
                  </a:lnTo>
                  <a:lnTo>
                    <a:pt x="220" y="257"/>
                  </a:lnTo>
                  <a:lnTo>
                    <a:pt x="218" y="257"/>
                  </a:lnTo>
                  <a:lnTo>
                    <a:pt x="216" y="257"/>
                  </a:lnTo>
                  <a:lnTo>
                    <a:pt x="216" y="257"/>
                  </a:lnTo>
                  <a:lnTo>
                    <a:pt x="214" y="257"/>
                  </a:lnTo>
                  <a:lnTo>
                    <a:pt x="212" y="255"/>
                  </a:lnTo>
                  <a:lnTo>
                    <a:pt x="210" y="255"/>
                  </a:lnTo>
                  <a:lnTo>
                    <a:pt x="208" y="255"/>
                  </a:lnTo>
                  <a:lnTo>
                    <a:pt x="206" y="255"/>
                  </a:lnTo>
                  <a:lnTo>
                    <a:pt x="204" y="253"/>
                  </a:lnTo>
                  <a:lnTo>
                    <a:pt x="202" y="253"/>
                  </a:lnTo>
                  <a:lnTo>
                    <a:pt x="200" y="253"/>
                  </a:lnTo>
                  <a:lnTo>
                    <a:pt x="198" y="253"/>
                  </a:lnTo>
                  <a:lnTo>
                    <a:pt x="196" y="253"/>
                  </a:lnTo>
                  <a:lnTo>
                    <a:pt x="194" y="251"/>
                  </a:lnTo>
                  <a:lnTo>
                    <a:pt x="192" y="251"/>
                  </a:lnTo>
                  <a:lnTo>
                    <a:pt x="190" y="251"/>
                  </a:lnTo>
                  <a:lnTo>
                    <a:pt x="188" y="251"/>
                  </a:lnTo>
                  <a:lnTo>
                    <a:pt x="186" y="251"/>
                  </a:lnTo>
                  <a:lnTo>
                    <a:pt x="186" y="249"/>
                  </a:lnTo>
                  <a:lnTo>
                    <a:pt x="184" y="249"/>
                  </a:lnTo>
                  <a:lnTo>
                    <a:pt x="182" y="249"/>
                  </a:lnTo>
                  <a:lnTo>
                    <a:pt x="180" y="249"/>
                  </a:lnTo>
                  <a:lnTo>
                    <a:pt x="178" y="249"/>
                  </a:lnTo>
                  <a:lnTo>
                    <a:pt x="178" y="247"/>
                  </a:lnTo>
                  <a:lnTo>
                    <a:pt x="176" y="247"/>
                  </a:lnTo>
                  <a:lnTo>
                    <a:pt x="174" y="247"/>
                  </a:lnTo>
                  <a:lnTo>
                    <a:pt x="172" y="247"/>
                  </a:lnTo>
                  <a:lnTo>
                    <a:pt x="168" y="245"/>
                  </a:lnTo>
                  <a:lnTo>
                    <a:pt x="168" y="245"/>
                  </a:lnTo>
                  <a:lnTo>
                    <a:pt x="166" y="245"/>
                  </a:lnTo>
                  <a:lnTo>
                    <a:pt x="162" y="243"/>
                  </a:lnTo>
                  <a:lnTo>
                    <a:pt x="160" y="243"/>
                  </a:lnTo>
                  <a:lnTo>
                    <a:pt x="158" y="243"/>
                  </a:lnTo>
                  <a:lnTo>
                    <a:pt x="154" y="241"/>
                  </a:lnTo>
                  <a:lnTo>
                    <a:pt x="152" y="241"/>
                  </a:lnTo>
                  <a:lnTo>
                    <a:pt x="150" y="241"/>
                  </a:lnTo>
                  <a:lnTo>
                    <a:pt x="148" y="241"/>
                  </a:lnTo>
                  <a:lnTo>
                    <a:pt x="148" y="239"/>
                  </a:lnTo>
                  <a:lnTo>
                    <a:pt x="146" y="239"/>
                  </a:lnTo>
                  <a:lnTo>
                    <a:pt x="144" y="239"/>
                  </a:lnTo>
                  <a:lnTo>
                    <a:pt x="142" y="239"/>
                  </a:lnTo>
                  <a:lnTo>
                    <a:pt x="140" y="239"/>
                  </a:lnTo>
                  <a:lnTo>
                    <a:pt x="140" y="237"/>
                  </a:lnTo>
                  <a:lnTo>
                    <a:pt x="138" y="237"/>
                  </a:lnTo>
                  <a:lnTo>
                    <a:pt x="136" y="237"/>
                  </a:lnTo>
                  <a:lnTo>
                    <a:pt x="134" y="237"/>
                  </a:lnTo>
                  <a:lnTo>
                    <a:pt x="130" y="235"/>
                  </a:lnTo>
                  <a:lnTo>
                    <a:pt x="128" y="235"/>
                  </a:lnTo>
                  <a:lnTo>
                    <a:pt x="126" y="235"/>
                  </a:lnTo>
                  <a:lnTo>
                    <a:pt x="124" y="235"/>
                  </a:lnTo>
                  <a:lnTo>
                    <a:pt x="122" y="233"/>
                  </a:lnTo>
                  <a:lnTo>
                    <a:pt x="120" y="233"/>
                  </a:lnTo>
                  <a:lnTo>
                    <a:pt x="118" y="233"/>
                  </a:lnTo>
                  <a:lnTo>
                    <a:pt x="118" y="233"/>
                  </a:lnTo>
                  <a:lnTo>
                    <a:pt x="118" y="231"/>
                  </a:lnTo>
                  <a:lnTo>
                    <a:pt x="116" y="231"/>
                  </a:lnTo>
                  <a:lnTo>
                    <a:pt x="114" y="231"/>
                  </a:lnTo>
                  <a:lnTo>
                    <a:pt x="112" y="231"/>
                  </a:lnTo>
                  <a:lnTo>
                    <a:pt x="110" y="231"/>
                  </a:lnTo>
                  <a:lnTo>
                    <a:pt x="110" y="229"/>
                  </a:lnTo>
                  <a:lnTo>
                    <a:pt x="108" y="229"/>
                  </a:lnTo>
                  <a:lnTo>
                    <a:pt x="106" y="229"/>
                  </a:lnTo>
                  <a:lnTo>
                    <a:pt x="104" y="229"/>
                  </a:lnTo>
                  <a:lnTo>
                    <a:pt x="100" y="227"/>
                  </a:lnTo>
                  <a:lnTo>
                    <a:pt x="98" y="227"/>
                  </a:lnTo>
                  <a:lnTo>
                    <a:pt x="96" y="227"/>
                  </a:lnTo>
                  <a:lnTo>
                    <a:pt x="92" y="225"/>
                  </a:lnTo>
                  <a:lnTo>
                    <a:pt x="88" y="225"/>
                  </a:lnTo>
                  <a:lnTo>
                    <a:pt x="86" y="223"/>
                  </a:lnTo>
                  <a:lnTo>
                    <a:pt x="84" y="223"/>
                  </a:lnTo>
                  <a:lnTo>
                    <a:pt x="82" y="223"/>
                  </a:lnTo>
                  <a:lnTo>
                    <a:pt x="80" y="223"/>
                  </a:lnTo>
                  <a:lnTo>
                    <a:pt x="80" y="221"/>
                  </a:lnTo>
                  <a:lnTo>
                    <a:pt x="78" y="221"/>
                  </a:lnTo>
                  <a:lnTo>
                    <a:pt x="76" y="221"/>
                  </a:lnTo>
                  <a:lnTo>
                    <a:pt x="74" y="221"/>
                  </a:lnTo>
                  <a:lnTo>
                    <a:pt x="72" y="219"/>
                  </a:lnTo>
                  <a:lnTo>
                    <a:pt x="70" y="219"/>
                  </a:lnTo>
                  <a:lnTo>
                    <a:pt x="70" y="219"/>
                  </a:lnTo>
                  <a:lnTo>
                    <a:pt x="68" y="219"/>
                  </a:lnTo>
                  <a:lnTo>
                    <a:pt x="68" y="217"/>
                  </a:lnTo>
                  <a:lnTo>
                    <a:pt x="66" y="217"/>
                  </a:lnTo>
                  <a:lnTo>
                    <a:pt x="64" y="217"/>
                  </a:lnTo>
                  <a:lnTo>
                    <a:pt x="62" y="217"/>
                  </a:lnTo>
                  <a:lnTo>
                    <a:pt x="60" y="215"/>
                  </a:lnTo>
                  <a:lnTo>
                    <a:pt x="58" y="215"/>
                  </a:lnTo>
                  <a:lnTo>
                    <a:pt x="56" y="215"/>
                  </a:lnTo>
                  <a:lnTo>
                    <a:pt x="54" y="215"/>
                  </a:lnTo>
                  <a:lnTo>
                    <a:pt x="54" y="213"/>
                  </a:lnTo>
                  <a:lnTo>
                    <a:pt x="52" y="213"/>
                  </a:lnTo>
                  <a:lnTo>
                    <a:pt x="50" y="213"/>
                  </a:lnTo>
                  <a:lnTo>
                    <a:pt x="48" y="213"/>
                  </a:lnTo>
                  <a:lnTo>
                    <a:pt x="46" y="213"/>
                  </a:lnTo>
                  <a:lnTo>
                    <a:pt x="46" y="211"/>
                  </a:lnTo>
                  <a:lnTo>
                    <a:pt x="44" y="211"/>
                  </a:lnTo>
                  <a:lnTo>
                    <a:pt x="42" y="211"/>
                  </a:lnTo>
                  <a:lnTo>
                    <a:pt x="40" y="211"/>
                  </a:lnTo>
                  <a:lnTo>
                    <a:pt x="40" y="211"/>
                  </a:lnTo>
                  <a:lnTo>
                    <a:pt x="38" y="211"/>
                  </a:lnTo>
                  <a:lnTo>
                    <a:pt x="36" y="211"/>
                  </a:lnTo>
                  <a:lnTo>
                    <a:pt x="34" y="211"/>
                  </a:lnTo>
                  <a:lnTo>
                    <a:pt x="32" y="211"/>
                  </a:lnTo>
                  <a:lnTo>
                    <a:pt x="32" y="209"/>
                  </a:lnTo>
                  <a:lnTo>
                    <a:pt x="30" y="209"/>
                  </a:lnTo>
                  <a:lnTo>
                    <a:pt x="28" y="209"/>
                  </a:lnTo>
                  <a:lnTo>
                    <a:pt x="26" y="209"/>
                  </a:lnTo>
                  <a:lnTo>
                    <a:pt x="24" y="207"/>
                  </a:lnTo>
                  <a:lnTo>
                    <a:pt x="22" y="207"/>
                  </a:lnTo>
                  <a:lnTo>
                    <a:pt x="22" y="207"/>
                  </a:lnTo>
                  <a:lnTo>
                    <a:pt x="20" y="207"/>
                  </a:lnTo>
                  <a:lnTo>
                    <a:pt x="18" y="205"/>
                  </a:lnTo>
                  <a:lnTo>
                    <a:pt x="16" y="205"/>
                  </a:lnTo>
                  <a:lnTo>
                    <a:pt x="14" y="205"/>
                  </a:lnTo>
                  <a:lnTo>
                    <a:pt x="14" y="203"/>
                  </a:lnTo>
                  <a:lnTo>
                    <a:pt x="12" y="203"/>
                  </a:lnTo>
                  <a:lnTo>
                    <a:pt x="10" y="203"/>
                  </a:lnTo>
                  <a:lnTo>
                    <a:pt x="8" y="203"/>
                  </a:lnTo>
                  <a:lnTo>
                    <a:pt x="8" y="201"/>
                  </a:lnTo>
                  <a:lnTo>
                    <a:pt x="6" y="201"/>
                  </a:lnTo>
                  <a:lnTo>
                    <a:pt x="4" y="201"/>
                  </a:lnTo>
                  <a:lnTo>
                    <a:pt x="2" y="201"/>
                  </a:lnTo>
                  <a:lnTo>
                    <a:pt x="2" y="199"/>
                  </a:lnTo>
                  <a:lnTo>
                    <a:pt x="0" y="199"/>
                  </a:lnTo>
                  <a:lnTo>
                    <a:pt x="2" y="199"/>
                  </a:lnTo>
                  <a:lnTo>
                    <a:pt x="2" y="193"/>
                  </a:lnTo>
                  <a:lnTo>
                    <a:pt x="4" y="193"/>
                  </a:lnTo>
                  <a:lnTo>
                    <a:pt x="4" y="189"/>
                  </a:lnTo>
                  <a:lnTo>
                    <a:pt x="6" y="187"/>
                  </a:lnTo>
                  <a:lnTo>
                    <a:pt x="6" y="185"/>
                  </a:lnTo>
                  <a:lnTo>
                    <a:pt x="6" y="183"/>
                  </a:lnTo>
                  <a:lnTo>
                    <a:pt x="6" y="181"/>
                  </a:lnTo>
                  <a:lnTo>
                    <a:pt x="8" y="181"/>
                  </a:lnTo>
                  <a:lnTo>
                    <a:pt x="8" y="179"/>
                  </a:lnTo>
                  <a:lnTo>
                    <a:pt x="8" y="177"/>
                  </a:lnTo>
                  <a:lnTo>
                    <a:pt x="8" y="175"/>
                  </a:lnTo>
                  <a:lnTo>
                    <a:pt x="10" y="173"/>
                  </a:lnTo>
                  <a:lnTo>
                    <a:pt x="10" y="169"/>
                  </a:lnTo>
                  <a:lnTo>
                    <a:pt x="12" y="167"/>
                  </a:lnTo>
                  <a:lnTo>
                    <a:pt x="12" y="165"/>
                  </a:lnTo>
                  <a:lnTo>
                    <a:pt x="12" y="165"/>
                  </a:lnTo>
                  <a:lnTo>
                    <a:pt x="14" y="163"/>
                  </a:lnTo>
                  <a:lnTo>
                    <a:pt x="14" y="161"/>
                  </a:lnTo>
                  <a:lnTo>
                    <a:pt x="14" y="159"/>
                  </a:lnTo>
                  <a:lnTo>
                    <a:pt x="14" y="157"/>
                  </a:lnTo>
                  <a:lnTo>
                    <a:pt x="16" y="157"/>
                  </a:lnTo>
                  <a:lnTo>
                    <a:pt x="16" y="155"/>
                  </a:lnTo>
                  <a:lnTo>
                    <a:pt x="16" y="153"/>
                  </a:lnTo>
                  <a:lnTo>
                    <a:pt x="16" y="151"/>
                  </a:lnTo>
                  <a:lnTo>
                    <a:pt x="18" y="151"/>
                  </a:lnTo>
                  <a:lnTo>
                    <a:pt x="18" y="149"/>
                  </a:lnTo>
                  <a:lnTo>
                    <a:pt x="18" y="147"/>
                  </a:lnTo>
                  <a:lnTo>
                    <a:pt x="18" y="145"/>
                  </a:lnTo>
                  <a:lnTo>
                    <a:pt x="18" y="143"/>
                  </a:lnTo>
                  <a:lnTo>
                    <a:pt x="20" y="143"/>
                  </a:lnTo>
                  <a:lnTo>
                    <a:pt x="20" y="141"/>
                  </a:lnTo>
                  <a:lnTo>
                    <a:pt x="20" y="139"/>
                  </a:lnTo>
                  <a:lnTo>
                    <a:pt x="20" y="137"/>
                  </a:lnTo>
                  <a:lnTo>
                    <a:pt x="22" y="137"/>
                  </a:lnTo>
                  <a:lnTo>
                    <a:pt x="22" y="135"/>
                  </a:lnTo>
                  <a:lnTo>
                    <a:pt x="22" y="133"/>
                  </a:lnTo>
                  <a:lnTo>
                    <a:pt x="22" y="131"/>
                  </a:lnTo>
                  <a:lnTo>
                    <a:pt x="22" y="127"/>
                  </a:lnTo>
                  <a:lnTo>
                    <a:pt x="22" y="125"/>
                  </a:lnTo>
                  <a:lnTo>
                    <a:pt x="24" y="123"/>
                  </a:lnTo>
                  <a:lnTo>
                    <a:pt x="24" y="121"/>
                  </a:lnTo>
                  <a:lnTo>
                    <a:pt x="24" y="119"/>
                  </a:lnTo>
                  <a:lnTo>
                    <a:pt x="26" y="117"/>
                  </a:lnTo>
                  <a:lnTo>
                    <a:pt x="26" y="117"/>
                  </a:lnTo>
                  <a:lnTo>
                    <a:pt x="26" y="115"/>
                  </a:lnTo>
                  <a:lnTo>
                    <a:pt x="28" y="112"/>
                  </a:lnTo>
                  <a:lnTo>
                    <a:pt x="28" y="110"/>
                  </a:lnTo>
                  <a:lnTo>
                    <a:pt x="28" y="108"/>
                  </a:lnTo>
                  <a:lnTo>
                    <a:pt x="28" y="106"/>
                  </a:lnTo>
                  <a:lnTo>
                    <a:pt x="30" y="106"/>
                  </a:lnTo>
                  <a:lnTo>
                    <a:pt x="30" y="104"/>
                  </a:lnTo>
                  <a:lnTo>
                    <a:pt x="30" y="100"/>
                  </a:lnTo>
                  <a:lnTo>
                    <a:pt x="32" y="100"/>
                  </a:lnTo>
                  <a:lnTo>
                    <a:pt x="32" y="98"/>
                  </a:lnTo>
                  <a:lnTo>
                    <a:pt x="32" y="96"/>
                  </a:lnTo>
                  <a:lnTo>
                    <a:pt x="32" y="94"/>
                  </a:lnTo>
                  <a:lnTo>
                    <a:pt x="34" y="94"/>
                  </a:lnTo>
                  <a:lnTo>
                    <a:pt x="34" y="92"/>
                  </a:lnTo>
                  <a:lnTo>
                    <a:pt x="34" y="90"/>
                  </a:lnTo>
                  <a:lnTo>
                    <a:pt x="34" y="88"/>
                  </a:lnTo>
                  <a:lnTo>
                    <a:pt x="36" y="86"/>
                  </a:lnTo>
                  <a:lnTo>
                    <a:pt x="36" y="82"/>
                  </a:lnTo>
                  <a:lnTo>
                    <a:pt x="38" y="80"/>
                  </a:lnTo>
                  <a:lnTo>
                    <a:pt x="38" y="78"/>
                  </a:lnTo>
                  <a:lnTo>
                    <a:pt x="38" y="76"/>
                  </a:lnTo>
                  <a:lnTo>
                    <a:pt x="38" y="74"/>
                  </a:lnTo>
                  <a:lnTo>
                    <a:pt x="40" y="74"/>
                  </a:lnTo>
                  <a:lnTo>
                    <a:pt x="40" y="72"/>
                  </a:lnTo>
                  <a:lnTo>
                    <a:pt x="42" y="68"/>
                  </a:lnTo>
                  <a:lnTo>
                    <a:pt x="42" y="66"/>
                  </a:lnTo>
                  <a:lnTo>
                    <a:pt x="42" y="64"/>
                  </a:lnTo>
                  <a:lnTo>
                    <a:pt x="44" y="64"/>
                  </a:lnTo>
                  <a:lnTo>
                    <a:pt x="44" y="62"/>
                  </a:lnTo>
                  <a:lnTo>
                    <a:pt x="44" y="60"/>
                  </a:lnTo>
                  <a:lnTo>
                    <a:pt x="44" y="58"/>
                  </a:lnTo>
                  <a:lnTo>
                    <a:pt x="46" y="56"/>
                  </a:lnTo>
                  <a:lnTo>
                    <a:pt x="46" y="54"/>
                  </a:lnTo>
                  <a:lnTo>
                    <a:pt x="46" y="52"/>
                  </a:lnTo>
                  <a:lnTo>
                    <a:pt x="46" y="50"/>
                  </a:lnTo>
                  <a:lnTo>
                    <a:pt x="48" y="50"/>
                  </a:lnTo>
                  <a:lnTo>
                    <a:pt x="48" y="48"/>
                  </a:lnTo>
                  <a:lnTo>
                    <a:pt x="48" y="46"/>
                  </a:lnTo>
                  <a:lnTo>
                    <a:pt x="48" y="44"/>
                  </a:lnTo>
                  <a:lnTo>
                    <a:pt x="50" y="44"/>
                  </a:lnTo>
                  <a:lnTo>
                    <a:pt x="50" y="38"/>
                  </a:lnTo>
                  <a:lnTo>
                    <a:pt x="52" y="36"/>
                  </a:lnTo>
                  <a:lnTo>
                    <a:pt x="52" y="34"/>
                  </a:lnTo>
                  <a:lnTo>
                    <a:pt x="52" y="32"/>
                  </a:lnTo>
                  <a:lnTo>
                    <a:pt x="54" y="30"/>
                  </a:lnTo>
                  <a:lnTo>
                    <a:pt x="54" y="28"/>
                  </a:lnTo>
                  <a:lnTo>
                    <a:pt x="54" y="26"/>
                  </a:lnTo>
                  <a:lnTo>
                    <a:pt x="58" y="18"/>
                  </a:lnTo>
                  <a:lnTo>
                    <a:pt x="58" y="16"/>
                  </a:lnTo>
                  <a:lnTo>
                    <a:pt x="58" y="14"/>
                  </a:lnTo>
                  <a:lnTo>
                    <a:pt x="60" y="12"/>
                  </a:lnTo>
                  <a:lnTo>
                    <a:pt x="60" y="10"/>
                  </a:lnTo>
                  <a:lnTo>
                    <a:pt x="60" y="8"/>
                  </a:lnTo>
                  <a:lnTo>
                    <a:pt x="60" y="6"/>
                  </a:lnTo>
                  <a:lnTo>
                    <a:pt x="62" y="6"/>
                  </a:lnTo>
                  <a:lnTo>
                    <a:pt x="62" y="4"/>
                  </a:lnTo>
                  <a:lnTo>
                    <a:pt x="62" y="2"/>
                  </a:lnTo>
                  <a:lnTo>
                    <a:pt x="62" y="0"/>
                  </a:lnTo>
                  <a:lnTo>
                    <a:pt x="64" y="0"/>
                  </a:lnTo>
                  <a:lnTo>
                    <a:pt x="64" y="2"/>
                  </a:lnTo>
                  <a:lnTo>
                    <a:pt x="70" y="4"/>
                  </a:lnTo>
                  <a:lnTo>
                    <a:pt x="74" y="4"/>
                  </a:lnTo>
                  <a:lnTo>
                    <a:pt x="74" y="6"/>
                  </a:lnTo>
                  <a:lnTo>
                    <a:pt x="76" y="6"/>
                  </a:lnTo>
                  <a:lnTo>
                    <a:pt x="78" y="6"/>
                  </a:lnTo>
                  <a:lnTo>
                    <a:pt x="80" y="8"/>
                  </a:lnTo>
                  <a:lnTo>
                    <a:pt x="84" y="8"/>
                  </a:lnTo>
                  <a:lnTo>
                    <a:pt x="86" y="8"/>
                  </a:lnTo>
                  <a:lnTo>
                    <a:pt x="88" y="8"/>
                  </a:lnTo>
                  <a:lnTo>
                    <a:pt x="88" y="10"/>
                  </a:lnTo>
                  <a:lnTo>
                    <a:pt x="90" y="10"/>
                  </a:lnTo>
                  <a:lnTo>
                    <a:pt x="92" y="10"/>
                  </a:lnTo>
                  <a:lnTo>
                    <a:pt x="94" y="10"/>
                  </a:lnTo>
                  <a:lnTo>
                    <a:pt x="96" y="10"/>
                  </a:lnTo>
                  <a:lnTo>
                    <a:pt x="98" y="12"/>
                  </a:lnTo>
                  <a:lnTo>
                    <a:pt x="100" y="12"/>
                  </a:lnTo>
                  <a:lnTo>
                    <a:pt x="102" y="14"/>
                  </a:lnTo>
                  <a:lnTo>
                    <a:pt x="104" y="14"/>
                  </a:lnTo>
                  <a:lnTo>
                    <a:pt x="106" y="14"/>
                  </a:lnTo>
                  <a:lnTo>
                    <a:pt x="108" y="14"/>
                  </a:lnTo>
                  <a:lnTo>
                    <a:pt x="110" y="16"/>
                  </a:lnTo>
                  <a:lnTo>
                    <a:pt x="112" y="16"/>
                  </a:lnTo>
                  <a:lnTo>
                    <a:pt x="114" y="16"/>
                  </a:lnTo>
                  <a:lnTo>
                    <a:pt x="116" y="16"/>
                  </a:lnTo>
                  <a:lnTo>
                    <a:pt x="116" y="18"/>
                  </a:lnTo>
                  <a:lnTo>
                    <a:pt x="118" y="18"/>
                  </a:lnTo>
                  <a:lnTo>
                    <a:pt x="118" y="18"/>
                  </a:lnTo>
                  <a:lnTo>
                    <a:pt x="120" y="18"/>
                  </a:lnTo>
                  <a:lnTo>
                    <a:pt x="122" y="18"/>
                  </a:lnTo>
                  <a:lnTo>
                    <a:pt x="122" y="20"/>
                  </a:lnTo>
                  <a:lnTo>
                    <a:pt x="124" y="20"/>
                  </a:lnTo>
                  <a:lnTo>
                    <a:pt x="126" y="20"/>
                  </a:lnTo>
                  <a:lnTo>
                    <a:pt x="128" y="20"/>
                  </a:lnTo>
                  <a:lnTo>
                    <a:pt x="130" y="20"/>
                  </a:lnTo>
                  <a:close/>
                </a:path>
              </a:pathLst>
            </a:custGeom>
            <a:solidFill>
              <a:srgbClr val="F8BAEF"/>
            </a:solidFill>
            <a:ln w="3175">
              <a:solidFill>
                <a:schemeClr val="bg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black"/>
                </a:solidFill>
                <a:effectLst/>
                <a:uLnTx/>
                <a:uFillTx/>
                <a:ea typeface="宋体" panose="02010600030101010101" pitchFamily="2" charset="-122"/>
              </a:endParaRPr>
            </a:p>
          </p:txBody>
        </p:sp>
        <p:sp>
          <p:nvSpPr>
            <p:cNvPr id="23" name="Freeform 3781">
              <a:extLst>
                <a:ext uri="{FF2B5EF4-FFF2-40B4-BE49-F238E27FC236}">
                  <a16:creationId xmlns:a16="http://schemas.microsoft.com/office/drawing/2014/main" id="{7F4E7741-69CC-3F13-E64A-6EC6636AD608}"/>
                </a:ext>
              </a:extLst>
            </p:cNvPr>
            <p:cNvSpPr>
              <a:spLocks/>
            </p:cNvSpPr>
            <p:nvPr/>
          </p:nvSpPr>
          <p:spPr bwMode="auto">
            <a:xfrm>
              <a:off x="5259388" y="3217863"/>
              <a:ext cx="439738" cy="398463"/>
            </a:xfrm>
            <a:custGeom>
              <a:avLst/>
              <a:gdLst>
                <a:gd name="T0" fmla="*/ 170 w 277"/>
                <a:gd name="T1" fmla="*/ 14 h 251"/>
                <a:gd name="T2" fmla="*/ 170 w 277"/>
                <a:gd name="T3" fmla="*/ 24 h 251"/>
                <a:gd name="T4" fmla="*/ 174 w 277"/>
                <a:gd name="T5" fmla="*/ 40 h 251"/>
                <a:gd name="T6" fmla="*/ 180 w 277"/>
                <a:gd name="T7" fmla="*/ 54 h 251"/>
                <a:gd name="T8" fmla="*/ 190 w 277"/>
                <a:gd name="T9" fmla="*/ 66 h 251"/>
                <a:gd name="T10" fmla="*/ 200 w 277"/>
                <a:gd name="T11" fmla="*/ 74 h 251"/>
                <a:gd name="T12" fmla="*/ 204 w 277"/>
                <a:gd name="T13" fmla="*/ 90 h 251"/>
                <a:gd name="T14" fmla="*/ 214 w 277"/>
                <a:gd name="T15" fmla="*/ 90 h 251"/>
                <a:gd name="T16" fmla="*/ 228 w 277"/>
                <a:gd name="T17" fmla="*/ 98 h 251"/>
                <a:gd name="T18" fmla="*/ 224 w 277"/>
                <a:gd name="T19" fmla="*/ 112 h 251"/>
                <a:gd name="T20" fmla="*/ 218 w 277"/>
                <a:gd name="T21" fmla="*/ 128 h 251"/>
                <a:gd name="T22" fmla="*/ 233 w 277"/>
                <a:gd name="T23" fmla="*/ 140 h 251"/>
                <a:gd name="T24" fmla="*/ 241 w 277"/>
                <a:gd name="T25" fmla="*/ 146 h 251"/>
                <a:gd name="T26" fmla="*/ 253 w 277"/>
                <a:gd name="T27" fmla="*/ 156 h 251"/>
                <a:gd name="T28" fmla="*/ 257 w 277"/>
                <a:gd name="T29" fmla="*/ 166 h 251"/>
                <a:gd name="T30" fmla="*/ 257 w 277"/>
                <a:gd name="T31" fmla="*/ 178 h 251"/>
                <a:gd name="T32" fmla="*/ 267 w 277"/>
                <a:gd name="T33" fmla="*/ 192 h 251"/>
                <a:gd name="T34" fmla="*/ 275 w 277"/>
                <a:gd name="T35" fmla="*/ 194 h 251"/>
                <a:gd name="T36" fmla="*/ 275 w 277"/>
                <a:gd name="T37" fmla="*/ 206 h 251"/>
                <a:gd name="T38" fmla="*/ 269 w 277"/>
                <a:gd name="T39" fmla="*/ 219 h 251"/>
                <a:gd name="T40" fmla="*/ 259 w 277"/>
                <a:gd name="T41" fmla="*/ 223 h 251"/>
                <a:gd name="T42" fmla="*/ 259 w 277"/>
                <a:gd name="T43" fmla="*/ 221 h 251"/>
                <a:gd name="T44" fmla="*/ 255 w 277"/>
                <a:gd name="T45" fmla="*/ 233 h 251"/>
                <a:gd name="T46" fmla="*/ 255 w 277"/>
                <a:gd name="T47" fmla="*/ 243 h 251"/>
                <a:gd name="T48" fmla="*/ 239 w 277"/>
                <a:gd name="T49" fmla="*/ 249 h 251"/>
                <a:gd name="T50" fmla="*/ 224 w 277"/>
                <a:gd name="T51" fmla="*/ 247 h 251"/>
                <a:gd name="T52" fmla="*/ 235 w 277"/>
                <a:gd name="T53" fmla="*/ 235 h 251"/>
                <a:gd name="T54" fmla="*/ 233 w 277"/>
                <a:gd name="T55" fmla="*/ 223 h 251"/>
                <a:gd name="T56" fmla="*/ 210 w 277"/>
                <a:gd name="T57" fmla="*/ 223 h 251"/>
                <a:gd name="T58" fmla="*/ 190 w 277"/>
                <a:gd name="T59" fmla="*/ 223 h 251"/>
                <a:gd name="T60" fmla="*/ 168 w 277"/>
                <a:gd name="T61" fmla="*/ 223 h 251"/>
                <a:gd name="T62" fmla="*/ 148 w 277"/>
                <a:gd name="T63" fmla="*/ 223 h 251"/>
                <a:gd name="T64" fmla="*/ 126 w 277"/>
                <a:gd name="T65" fmla="*/ 223 h 251"/>
                <a:gd name="T66" fmla="*/ 104 w 277"/>
                <a:gd name="T67" fmla="*/ 223 h 251"/>
                <a:gd name="T68" fmla="*/ 80 w 277"/>
                <a:gd name="T69" fmla="*/ 221 h 251"/>
                <a:gd name="T70" fmla="*/ 56 w 277"/>
                <a:gd name="T71" fmla="*/ 221 h 251"/>
                <a:gd name="T72" fmla="*/ 36 w 277"/>
                <a:gd name="T73" fmla="*/ 221 h 251"/>
                <a:gd name="T74" fmla="*/ 38 w 277"/>
                <a:gd name="T75" fmla="*/ 202 h 251"/>
                <a:gd name="T76" fmla="*/ 38 w 277"/>
                <a:gd name="T77" fmla="*/ 180 h 251"/>
                <a:gd name="T78" fmla="*/ 40 w 277"/>
                <a:gd name="T79" fmla="*/ 162 h 251"/>
                <a:gd name="T80" fmla="*/ 40 w 277"/>
                <a:gd name="T81" fmla="*/ 140 h 251"/>
                <a:gd name="T82" fmla="*/ 42 w 277"/>
                <a:gd name="T83" fmla="*/ 122 h 251"/>
                <a:gd name="T84" fmla="*/ 42 w 277"/>
                <a:gd name="T85" fmla="*/ 100 h 251"/>
                <a:gd name="T86" fmla="*/ 44 w 277"/>
                <a:gd name="T87" fmla="*/ 82 h 251"/>
                <a:gd name="T88" fmla="*/ 34 w 277"/>
                <a:gd name="T89" fmla="*/ 72 h 251"/>
                <a:gd name="T90" fmla="*/ 24 w 277"/>
                <a:gd name="T91" fmla="*/ 60 h 251"/>
                <a:gd name="T92" fmla="*/ 32 w 277"/>
                <a:gd name="T93" fmla="*/ 48 h 251"/>
                <a:gd name="T94" fmla="*/ 28 w 277"/>
                <a:gd name="T95" fmla="*/ 38 h 251"/>
                <a:gd name="T96" fmla="*/ 16 w 277"/>
                <a:gd name="T97" fmla="*/ 30 h 251"/>
                <a:gd name="T98" fmla="*/ 6 w 277"/>
                <a:gd name="T99" fmla="*/ 20 h 251"/>
                <a:gd name="T100" fmla="*/ 6 w 277"/>
                <a:gd name="T101" fmla="*/ 8 h 251"/>
                <a:gd name="T102" fmla="*/ 0 w 277"/>
                <a:gd name="T103" fmla="*/ 0 h 251"/>
                <a:gd name="T104" fmla="*/ 18 w 277"/>
                <a:gd name="T105" fmla="*/ 2 h 251"/>
                <a:gd name="T106" fmla="*/ 38 w 277"/>
                <a:gd name="T107" fmla="*/ 4 h 251"/>
                <a:gd name="T108" fmla="*/ 58 w 277"/>
                <a:gd name="T109" fmla="*/ 4 h 251"/>
                <a:gd name="T110" fmla="*/ 74 w 277"/>
                <a:gd name="T111" fmla="*/ 6 h 251"/>
                <a:gd name="T112" fmla="*/ 96 w 277"/>
                <a:gd name="T113" fmla="*/ 6 h 251"/>
                <a:gd name="T114" fmla="*/ 116 w 277"/>
                <a:gd name="T115" fmla="*/ 6 h 251"/>
                <a:gd name="T116" fmla="*/ 138 w 277"/>
                <a:gd name="T117" fmla="*/ 6 h 251"/>
                <a:gd name="T118" fmla="*/ 156 w 277"/>
                <a:gd name="T119" fmla="*/ 4 h 2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77" h="251">
                  <a:moveTo>
                    <a:pt x="160" y="4"/>
                  </a:moveTo>
                  <a:lnTo>
                    <a:pt x="162" y="4"/>
                  </a:lnTo>
                  <a:lnTo>
                    <a:pt x="162" y="6"/>
                  </a:lnTo>
                  <a:lnTo>
                    <a:pt x="162" y="8"/>
                  </a:lnTo>
                  <a:lnTo>
                    <a:pt x="164" y="8"/>
                  </a:lnTo>
                  <a:lnTo>
                    <a:pt x="166" y="8"/>
                  </a:lnTo>
                  <a:lnTo>
                    <a:pt x="166" y="10"/>
                  </a:lnTo>
                  <a:lnTo>
                    <a:pt x="166" y="12"/>
                  </a:lnTo>
                  <a:lnTo>
                    <a:pt x="168" y="12"/>
                  </a:lnTo>
                  <a:lnTo>
                    <a:pt x="170" y="12"/>
                  </a:lnTo>
                  <a:lnTo>
                    <a:pt x="170" y="14"/>
                  </a:lnTo>
                  <a:lnTo>
                    <a:pt x="170" y="16"/>
                  </a:lnTo>
                  <a:lnTo>
                    <a:pt x="172" y="16"/>
                  </a:lnTo>
                  <a:lnTo>
                    <a:pt x="172" y="18"/>
                  </a:lnTo>
                  <a:lnTo>
                    <a:pt x="172" y="16"/>
                  </a:lnTo>
                  <a:lnTo>
                    <a:pt x="174" y="16"/>
                  </a:lnTo>
                  <a:lnTo>
                    <a:pt x="174" y="18"/>
                  </a:lnTo>
                  <a:lnTo>
                    <a:pt x="172" y="18"/>
                  </a:lnTo>
                  <a:lnTo>
                    <a:pt x="172" y="20"/>
                  </a:lnTo>
                  <a:lnTo>
                    <a:pt x="172" y="22"/>
                  </a:lnTo>
                  <a:lnTo>
                    <a:pt x="170" y="22"/>
                  </a:lnTo>
                  <a:lnTo>
                    <a:pt x="170" y="24"/>
                  </a:lnTo>
                  <a:lnTo>
                    <a:pt x="170" y="26"/>
                  </a:lnTo>
                  <a:lnTo>
                    <a:pt x="170" y="26"/>
                  </a:lnTo>
                  <a:lnTo>
                    <a:pt x="170" y="28"/>
                  </a:lnTo>
                  <a:lnTo>
                    <a:pt x="170" y="30"/>
                  </a:lnTo>
                  <a:lnTo>
                    <a:pt x="170" y="32"/>
                  </a:lnTo>
                  <a:lnTo>
                    <a:pt x="170" y="34"/>
                  </a:lnTo>
                  <a:lnTo>
                    <a:pt x="172" y="34"/>
                  </a:lnTo>
                  <a:lnTo>
                    <a:pt x="172" y="36"/>
                  </a:lnTo>
                  <a:lnTo>
                    <a:pt x="172" y="38"/>
                  </a:lnTo>
                  <a:lnTo>
                    <a:pt x="174" y="38"/>
                  </a:lnTo>
                  <a:lnTo>
                    <a:pt x="174" y="40"/>
                  </a:lnTo>
                  <a:lnTo>
                    <a:pt x="174" y="42"/>
                  </a:lnTo>
                  <a:lnTo>
                    <a:pt x="172" y="42"/>
                  </a:lnTo>
                  <a:lnTo>
                    <a:pt x="174" y="44"/>
                  </a:lnTo>
                  <a:lnTo>
                    <a:pt x="174" y="46"/>
                  </a:lnTo>
                  <a:lnTo>
                    <a:pt x="176" y="46"/>
                  </a:lnTo>
                  <a:lnTo>
                    <a:pt x="176" y="48"/>
                  </a:lnTo>
                  <a:lnTo>
                    <a:pt x="176" y="50"/>
                  </a:lnTo>
                  <a:lnTo>
                    <a:pt x="176" y="52"/>
                  </a:lnTo>
                  <a:lnTo>
                    <a:pt x="178" y="52"/>
                  </a:lnTo>
                  <a:lnTo>
                    <a:pt x="178" y="54"/>
                  </a:lnTo>
                  <a:lnTo>
                    <a:pt x="180" y="54"/>
                  </a:lnTo>
                  <a:lnTo>
                    <a:pt x="180" y="56"/>
                  </a:lnTo>
                  <a:lnTo>
                    <a:pt x="182" y="56"/>
                  </a:lnTo>
                  <a:lnTo>
                    <a:pt x="184" y="56"/>
                  </a:lnTo>
                  <a:lnTo>
                    <a:pt x="184" y="58"/>
                  </a:lnTo>
                  <a:lnTo>
                    <a:pt x="184" y="60"/>
                  </a:lnTo>
                  <a:lnTo>
                    <a:pt x="186" y="60"/>
                  </a:lnTo>
                  <a:lnTo>
                    <a:pt x="188" y="60"/>
                  </a:lnTo>
                  <a:lnTo>
                    <a:pt x="188" y="62"/>
                  </a:lnTo>
                  <a:lnTo>
                    <a:pt x="188" y="64"/>
                  </a:lnTo>
                  <a:lnTo>
                    <a:pt x="190" y="64"/>
                  </a:lnTo>
                  <a:lnTo>
                    <a:pt x="190" y="66"/>
                  </a:lnTo>
                  <a:lnTo>
                    <a:pt x="192" y="66"/>
                  </a:lnTo>
                  <a:lnTo>
                    <a:pt x="192" y="68"/>
                  </a:lnTo>
                  <a:lnTo>
                    <a:pt x="194" y="68"/>
                  </a:lnTo>
                  <a:lnTo>
                    <a:pt x="194" y="70"/>
                  </a:lnTo>
                  <a:lnTo>
                    <a:pt x="196" y="70"/>
                  </a:lnTo>
                  <a:lnTo>
                    <a:pt x="198" y="70"/>
                  </a:lnTo>
                  <a:lnTo>
                    <a:pt x="198" y="72"/>
                  </a:lnTo>
                  <a:lnTo>
                    <a:pt x="200" y="72"/>
                  </a:lnTo>
                  <a:lnTo>
                    <a:pt x="200" y="74"/>
                  </a:lnTo>
                  <a:lnTo>
                    <a:pt x="200" y="74"/>
                  </a:lnTo>
                  <a:lnTo>
                    <a:pt x="200" y="74"/>
                  </a:lnTo>
                  <a:lnTo>
                    <a:pt x="202" y="74"/>
                  </a:lnTo>
                  <a:lnTo>
                    <a:pt x="202" y="76"/>
                  </a:lnTo>
                  <a:lnTo>
                    <a:pt x="202" y="78"/>
                  </a:lnTo>
                  <a:lnTo>
                    <a:pt x="202" y="80"/>
                  </a:lnTo>
                  <a:lnTo>
                    <a:pt x="204" y="80"/>
                  </a:lnTo>
                  <a:lnTo>
                    <a:pt x="204" y="82"/>
                  </a:lnTo>
                  <a:lnTo>
                    <a:pt x="204" y="84"/>
                  </a:lnTo>
                  <a:lnTo>
                    <a:pt x="202" y="86"/>
                  </a:lnTo>
                  <a:lnTo>
                    <a:pt x="204" y="86"/>
                  </a:lnTo>
                  <a:lnTo>
                    <a:pt x="204" y="88"/>
                  </a:lnTo>
                  <a:lnTo>
                    <a:pt x="204" y="90"/>
                  </a:lnTo>
                  <a:lnTo>
                    <a:pt x="204" y="92"/>
                  </a:lnTo>
                  <a:lnTo>
                    <a:pt x="206" y="92"/>
                  </a:lnTo>
                  <a:lnTo>
                    <a:pt x="206" y="94"/>
                  </a:lnTo>
                  <a:lnTo>
                    <a:pt x="208" y="94"/>
                  </a:lnTo>
                  <a:lnTo>
                    <a:pt x="208" y="96"/>
                  </a:lnTo>
                  <a:lnTo>
                    <a:pt x="210" y="96"/>
                  </a:lnTo>
                  <a:lnTo>
                    <a:pt x="210" y="94"/>
                  </a:lnTo>
                  <a:lnTo>
                    <a:pt x="212" y="94"/>
                  </a:lnTo>
                  <a:lnTo>
                    <a:pt x="212" y="92"/>
                  </a:lnTo>
                  <a:lnTo>
                    <a:pt x="212" y="90"/>
                  </a:lnTo>
                  <a:lnTo>
                    <a:pt x="214" y="90"/>
                  </a:lnTo>
                  <a:lnTo>
                    <a:pt x="216" y="90"/>
                  </a:lnTo>
                  <a:lnTo>
                    <a:pt x="218" y="90"/>
                  </a:lnTo>
                  <a:lnTo>
                    <a:pt x="218" y="92"/>
                  </a:lnTo>
                  <a:lnTo>
                    <a:pt x="220" y="92"/>
                  </a:lnTo>
                  <a:lnTo>
                    <a:pt x="222" y="92"/>
                  </a:lnTo>
                  <a:lnTo>
                    <a:pt x="224" y="92"/>
                  </a:lnTo>
                  <a:lnTo>
                    <a:pt x="224" y="94"/>
                  </a:lnTo>
                  <a:lnTo>
                    <a:pt x="226" y="94"/>
                  </a:lnTo>
                  <a:lnTo>
                    <a:pt x="226" y="96"/>
                  </a:lnTo>
                  <a:lnTo>
                    <a:pt x="228" y="96"/>
                  </a:lnTo>
                  <a:lnTo>
                    <a:pt x="228" y="98"/>
                  </a:lnTo>
                  <a:lnTo>
                    <a:pt x="228" y="100"/>
                  </a:lnTo>
                  <a:lnTo>
                    <a:pt x="226" y="100"/>
                  </a:lnTo>
                  <a:lnTo>
                    <a:pt x="226" y="102"/>
                  </a:lnTo>
                  <a:lnTo>
                    <a:pt x="224" y="102"/>
                  </a:lnTo>
                  <a:lnTo>
                    <a:pt x="224" y="104"/>
                  </a:lnTo>
                  <a:lnTo>
                    <a:pt x="226" y="104"/>
                  </a:lnTo>
                  <a:lnTo>
                    <a:pt x="226" y="106"/>
                  </a:lnTo>
                  <a:lnTo>
                    <a:pt x="226" y="108"/>
                  </a:lnTo>
                  <a:lnTo>
                    <a:pt x="226" y="110"/>
                  </a:lnTo>
                  <a:lnTo>
                    <a:pt x="224" y="110"/>
                  </a:lnTo>
                  <a:lnTo>
                    <a:pt x="224" y="112"/>
                  </a:lnTo>
                  <a:lnTo>
                    <a:pt x="224" y="114"/>
                  </a:lnTo>
                  <a:lnTo>
                    <a:pt x="222" y="114"/>
                  </a:lnTo>
                  <a:lnTo>
                    <a:pt x="222" y="116"/>
                  </a:lnTo>
                  <a:lnTo>
                    <a:pt x="222" y="118"/>
                  </a:lnTo>
                  <a:lnTo>
                    <a:pt x="222" y="120"/>
                  </a:lnTo>
                  <a:lnTo>
                    <a:pt x="220" y="120"/>
                  </a:lnTo>
                  <a:lnTo>
                    <a:pt x="220" y="122"/>
                  </a:lnTo>
                  <a:lnTo>
                    <a:pt x="218" y="122"/>
                  </a:lnTo>
                  <a:lnTo>
                    <a:pt x="218" y="124"/>
                  </a:lnTo>
                  <a:lnTo>
                    <a:pt x="218" y="126"/>
                  </a:lnTo>
                  <a:lnTo>
                    <a:pt x="218" y="128"/>
                  </a:lnTo>
                  <a:lnTo>
                    <a:pt x="220" y="130"/>
                  </a:lnTo>
                  <a:lnTo>
                    <a:pt x="220" y="132"/>
                  </a:lnTo>
                  <a:lnTo>
                    <a:pt x="222" y="132"/>
                  </a:lnTo>
                  <a:lnTo>
                    <a:pt x="224" y="134"/>
                  </a:lnTo>
                  <a:lnTo>
                    <a:pt x="226" y="136"/>
                  </a:lnTo>
                  <a:lnTo>
                    <a:pt x="228" y="138"/>
                  </a:lnTo>
                  <a:lnTo>
                    <a:pt x="228" y="136"/>
                  </a:lnTo>
                  <a:lnTo>
                    <a:pt x="228" y="138"/>
                  </a:lnTo>
                  <a:lnTo>
                    <a:pt x="230" y="138"/>
                  </a:lnTo>
                  <a:lnTo>
                    <a:pt x="230" y="140"/>
                  </a:lnTo>
                  <a:lnTo>
                    <a:pt x="233" y="140"/>
                  </a:lnTo>
                  <a:lnTo>
                    <a:pt x="235" y="142"/>
                  </a:lnTo>
                  <a:lnTo>
                    <a:pt x="237" y="142"/>
                  </a:lnTo>
                  <a:lnTo>
                    <a:pt x="237" y="144"/>
                  </a:lnTo>
                  <a:lnTo>
                    <a:pt x="237" y="142"/>
                  </a:lnTo>
                  <a:lnTo>
                    <a:pt x="239" y="142"/>
                  </a:lnTo>
                  <a:lnTo>
                    <a:pt x="239" y="144"/>
                  </a:lnTo>
                  <a:lnTo>
                    <a:pt x="237" y="144"/>
                  </a:lnTo>
                  <a:lnTo>
                    <a:pt x="237" y="146"/>
                  </a:lnTo>
                  <a:lnTo>
                    <a:pt x="239" y="148"/>
                  </a:lnTo>
                  <a:lnTo>
                    <a:pt x="241" y="148"/>
                  </a:lnTo>
                  <a:lnTo>
                    <a:pt x="241" y="146"/>
                  </a:lnTo>
                  <a:lnTo>
                    <a:pt x="243" y="146"/>
                  </a:lnTo>
                  <a:lnTo>
                    <a:pt x="245" y="146"/>
                  </a:lnTo>
                  <a:lnTo>
                    <a:pt x="245" y="148"/>
                  </a:lnTo>
                  <a:lnTo>
                    <a:pt x="247" y="148"/>
                  </a:lnTo>
                  <a:lnTo>
                    <a:pt x="247" y="150"/>
                  </a:lnTo>
                  <a:lnTo>
                    <a:pt x="249" y="150"/>
                  </a:lnTo>
                  <a:lnTo>
                    <a:pt x="249" y="152"/>
                  </a:lnTo>
                  <a:lnTo>
                    <a:pt x="249" y="152"/>
                  </a:lnTo>
                  <a:lnTo>
                    <a:pt x="249" y="154"/>
                  </a:lnTo>
                  <a:lnTo>
                    <a:pt x="251" y="154"/>
                  </a:lnTo>
                  <a:lnTo>
                    <a:pt x="253" y="156"/>
                  </a:lnTo>
                  <a:lnTo>
                    <a:pt x="255" y="156"/>
                  </a:lnTo>
                  <a:lnTo>
                    <a:pt x="255" y="158"/>
                  </a:lnTo>
                  <a:lnTo>
                    <a:pt x="257" y="158"/>
                  </a:lnTo>
                  <a:lnTo>
                    <a:pt x="255" y="158"/>
                  </a:lnTo>
                  <a:lnTo>
                    <a:pt x="255" y="160"/>
                  </a:lnTo>
                  <a:lnTo>
                    <a:pt x="257" y="160"/>
                  </a:lnTo>
                  <a:lnTo>
                    <a:pt x="257" y="162"/>
                  </a:lnTo>
                  <a:lnTo>
                    <a:pt x="257" y="164"/>
                  </a:lnTo>
                  <a:lnTo>
                    <a:pt x="255" y="164"/>
                  </a:lnTo>
                  <a:lnTo>
                    <a:pt x="255" y="166"/>
                  </a:lnTo>
                  <a:lnTo>
                    <a:pt x="257" y="166"/>
                  </a:lnTo>
                  <a:lnTo>
                    <a:pt x="257" y="168"/>
                  </a:lnTo>
                  <a:lnTo>
                    <a:pt x="257" y="170"/>
                  </a:lnTo>
                  <a:lnTo>
                    <a:pt x="259" y="170"/>
                  </a:lnTo>
                  <a:lnTo>
                    <a:pt x="259" y="170"/>
                  </a:lnTo>
                  <a:lnTo>
                    <a:pt x="261" y="170"/>
                  </a:lnTo>
                  <a:lnTo>
                    <a:pt x="261" y="172"/>
                  </a:lnTo>
                  <a:lnTo>
                    <a:pt x="261" y="174"/>
                  </a:lnTo>
                  <a:lnTo>
                    <a:pt x="259" y="174"/>
                  </a:lnTo>
                  <a:lnTo>
                    <a:pt x="259" y="176"/>
                  </a:lnTo>
                  <a:lnTo>
                    <a:pt x="257" y="176"/>
                  </a:lnTo>
                  <a:lnTo>
                    <a:pt x="257" y="178"/>
                  </a:lnTo>
                  <a:lnTo>
                    <a:pt x="257" y="180"/>
                  </a:lnTo>
                  <a:lnTo>
                    <a:pt x="259" y="180"/>
                  </a:lnTo>
                  <a:lnTo>
                    <a:pt x="259" y="182"/>
                  </a:lnTo>
                  <a:lnTo>
                    <a:pt x="259" y="184"/>
                  </a:lnTo>
                  <a:lnTo>
                    <a:pt x="261" y="184"/>
                  </a:lnTo>
                  <a:lnTo>
                    <a:pt x="261" y="186"/>
                  </a:lnTo>
                  <a:lnTo>
                    <a:pt x="263" y="188"/>
                  </a:lnTo>
                  <a:lnTo>
                    <a:pt x="263" y="190"/>
                  </a:lnTo>
                  <a:lnTo>
                    <a:pt x="263" y="192"/>
                  </a:lnTo>
                  <a:lnTo>
                    <a:pt x="265" y="192"/>
                  </a:lnTo>
                  <a:lnTo>
                    <a:pt x="267" y="192"/>
                  </a:lnTo>
                  <a:lnTo>
                    <a:pt x="267" y="194"/>
                  </a:lnTo>
                  <a:lnTo>
                    <a:pt x="269" y="194"/>
                  </a:lnTo>
                  <a:lnTo>
                    <a:pt x="269" y="192"/>
                  </a:lnTo>
                  <a:lnTo>
                    <a:pt x="267" y="192"/>
                  </a:lnTo>
                  <a:lnTo>
                    <a:pt x="267" y="190"/>
                  </a:lnTo>
                  <a:lnTo>
                    <a:pt x="269" y="190"/>
                  </a:lnTo>
                  <a:lnTo>
                    <a:pt x="269" y="192"/>
                  </a:lnTo>
                  <a:lnTo>
                    <a:pt x="271" y="192"/>
                  </a:lnTo>
                  <a:lnTo>
                    <a:pt x="271" y="194"/>
                  </a:lnTo>
                  <a:lnTo>
                    <a:pt x="273" y="194"/>
                  </a:lnTo>
                  <a:lnTo>
                    <a:pt x="275" y="194"/>
                  </a:lnTo>
                  <a:lnTo>
                    <a:pt x="277" y="196"/>
                  </a:lnTo>
                  <a:lnTo>
                    <a:pt x="275" y="196"/>
                  </a:lnTo>
                  <a:lnTo>
                    <a:pt x="275" y="198"/>
                  </a:lnTo>
                  <a:lnTo>
                    <a:pt x="275" y="200"/>
                  </a:lnTo>
                  <a:lnTo>
                    <a:pt x="275" y="202"/>
                  </a:lnTo>
                  <a:lnTo>
                    <a:pt x="273" y="202"/>
                  </a:lnTo>
                  <a:lnTo>
                    <a:pt x="273" y="204"/>
                  </a:lnTo>
                  <a:lnTo>
                    <a:pt x="275" y="204"/>
                  </a:lnTo>
                  <a:lnTo>
                    <a:pt x="275" y="206"/>
                  </a:lnTo>
                  <a:lnTo>
                    <a:pt x="275" y="209"/>
                  </a:lnTo>
                  <a:lnTo>
                    <a:pt x="275" y="206"/>
                  </a:lnTo>
                  <a:lnTo>
                    <a:pt x="273" y="206"/>
                  </a:lnTo>
                  <a:lnTo>
                    <a:pt x="273" y="209"/>
                  </a:lnTo>
                  <a:lnTo>
                    <a:pt x="273" y="211"/>
                  </a:lnTo>
                  <a:lnTo>
                    <a:pt x="273" y="213"/>
                  </a:lnTo>
                  <a:lnTo>
                    <a:pt x="275" y="213"/>
                  </a:lnTo>
                  <a:lnTo>
                    <a:pt x="273" y="213"/>
                  </a:lnTo>
                  <a:lnTo>
                    <a:pt x="273" y="215"/>
                  </a:lnTo>
                  <a:lnTo>
                    <a:pt x="273" y="217"/>
                  </a:lnTo>
                  <a:lnTo>
                    <a:pt x="271" y="217"/>
                  </a:lnTo>
                  <a:lnTo>
                    <a:pt x="271" y="219"/>
                  </a:lnTo>
                  <a:lnTo>
                    <a:pt x="269" y="219"/>
                  </a:lnTo>
                  <a:lnTo>
                    <a:pt x="269" y="217"/>
                  </a:lnTo>
                  <a:lnTo>
                    <a:pt x="267" y="217"/>
                  </a:lnTo>
                  <a:lnTo>
                    <a:pt x="267" y="215"/>
                  </a:lnTo>
                  <a:lnTo>
                    <a:pt x="265" y="215"/>
                  </a:lnTo>
                  <a:lnTo>
                    <a:pt x="265" y="217"/>
                  </a:lnTo>
                  <a:lnTo>
                    <a:pt x="265" y="219"/>
                  </a:lnTo>
                  <a:lnTo>
                    <a:pt x="263" y="219"/>
                  </a:lnTo>
                  <a:lnTo>
                    <a:pt x="263" y="219"/>
                  </a:lnTo>
                  <a:lnTo>
                    <a:pt x="263" y="221"/>
                  </a:lnTo>
                  <a:lnTo>
                    <a:pt x="261" y="223"/>
                  </a:lnTo>
                  <a:lnTo>
                    <a:pt x="259" y="223"/>
                  </a:lnTo>
                  <a:lnTo>
                    <a:pt x="259" y="221"/>
                  </a:lnTo>
                  <a:lnTo>
                    <a:pt x="261" y="221"/>
                  </a:lnTo>
                  <a:lnTo>
                    <a:pt x="261" y="219"/>
                  </a:lnTo>
                  <a:lnTo>
                    <a:pt x="261" y="219"/>
                  </a:lnTo>
                  <a:lnTo>
                    <a:pt x="259" y="219"/>
                  </a:lnTo>
                  <a:lnTo>
                    <a:pt x="257" y="219"/>
                  </a:lnTo>
                  <a:lnTo>
                    <a:pt x="255" y="219"/>
                  </a:lnTo>
                  <a:lnTo>
                    <a:pt x="255" y="219"/>
                  </a:lnTo>
                  <a:lnTo>
                    <a:pt x="257" y="219"/>
                  </a:lnTo>
                  <a:lnTo>
                    <a:pt x="257" y="221"/>
                  </a:lnTo>
                  <a:lnTo>
                    <a:pt x="259" y="221"/>
                  </a:lnTo>
                  <a:lnTo>
                    <a:pt x="259" y="223"/>
                  </a:lnTo>
                  <a:lnTo>
                    <a:pt x="257" y="223"/>
                  </a:lnTo>
                  <a:lnTo>
                    <a:pt x="257" y="225"/>
                  </a:lnTo>
                  <a:lnTo>
                    <a:pt x="259" y="227"/>
                  </a:lnTo>
                  <a:lnTo>
                    <a:pt x="259" y="229"/>
                  </a:lnTo>
                  <a:lnTo>
                    <a:pt x="257" y="229"/>
                  </a:lnTo>
                  <a:lnTo>
                    <a:pt x="255" y="229"/>
                  </a:lnTo>
                  <a:lnTo>
                    <a:pt x="255" y="231"/>
                  </a:lnTo>
                  <a:lnTo>
                    <a:pt x="253" y="231"/>
                  </a:lnTo>
                  <a:lnTo>
                    <a:pt x="255" y="231"/>
                  </a:lnTo>
                  <a:lnTo>
                    <a:pt x="255" y="233"/>
                  </a:lnTo>
                  <a:lnTo>
                    <a:pt x="257" y="233"/>
                  </a:lnTo>
                  <a:lnTo>
                    <a:pt x="257" y="235"/>
                  </a:lnTo>
                  <a:lnTo>
                    <a:pt x="255" y="235"/>
                  </a:lnTo>
                  <a:lnTo>
                    <a:pt x="253" y="235"/>
                  </a:lnTo>
                  <a:lnTo>
                    <a:pt x="251" y="235"/>
                  </a:lnTo>
                  <a:lnTo>
                    <a:pt x="251" y="237"/>
                  </a:lnTo>
                  <a:lnTo>
                    <a:pt x="253" y="237"/>
                  </a:lnTo>
                  <a:lnTo>
                    <a:pt x="253" y="239"/>
                  </a:lnTo>
                  <a:lnTo>
                    <a:pt x="255" y="239"/>
                  </a:lnTo>
                  <a:lnTo>
                    <a:pt x="255" y="241"/>
                  </a:lnTo>
                  <a:lnTo>
                    <a:pt x="255" y="243"/>
                  </a:lnTo>
                  <a:lnTo>
                    <a:pt x="253" y="243"/>
                  </a:lnTo>
                  <a:lnTo>
                    <a:pt x="251" y="245"/>
                  </a:lnTo>
                  <a:lnTo>
                    <a:pt x="251" y="247"/>
                  </a:lnTo>
                  <a:lnTo>
                    <a:pt x="251" y="249"/>
                  </a:lnTo>
                  <a:lnTo>
                    <a:pt x="249" y="249"/>
                  </a:lnTo>
                  <a:lnTo>
                    <a:pt x="249" y="249"/>
                  </a:lnTo>
                  <a:lnTo>
                    <a:pt x="247" y="249"/>
                  </a:lnTo>
                  <a:lnTo>
                    <a:pt x="245" y="249"/>
                  </a:lnTo>
                  <a:lnTo>
                    <a:pt x="243" y="249"/>
                  </a:lnTo>
                  <a:lnTo>
                    <a:pt x="241" y="249"/>
                  </a:lnTo>
                  <a:lnTo>
                    <a:pt x="239" y="249"/>
                  </a:lnTo>
                  <a:lnTo>
                    <a:pt x="237" y="249"/>
                  </a:lnTo>
                  <a:lnTo>
                    <a:pt x="235" y="249"/>
                  </a:lnTo>
                  <a:lnTo>
                    <a:pt x="233" y="249"/>
                  </a:lnTo>
                  <a:lnTo>
                    <a:pt x="230" y="249"/>
                  </a:lnTo>
                  <a:lnTo>
                    <a:pt x="228" y="249"/>
                  </a:lnTo>
                  <a:lnTo>
                    <a:pt x="226" y="251"/>
                  </a:lnTo>
                  <a:lnTo>
                    <a:pt x="224" y="251"/>
                  </a:lnTo>
                  <a:lnTo>
                    <a:pt x="222" y="251"/>
                  </a:lnTo>
                  <a:lnTo>
                    <a:pt x="222" y="249"/>
                  </a:lnTo>
                  <a:lnTo>
                    <a:pt x="222" y="247"/>
                  </a:lnTo>
                  <a:lnTo>
                    <a:pt x="224" y="247"/>
                  </a:lnTo>
                  <a:lnTo>
                    <a:pt x="224" y="245"/>
                  </a:lnTo>
                  <a:lnTo>
                    <a:pt x="224" y="243"/>
                  </a:lnTo>
                  <a:lnTo>
                    <a:pt x="226" y="243"/>
                  </a:lnTo>
                  <a:lnTo>
                    <a:pt x="228" y="243"/>
                  </a:lnTo>
                  <a:lnTo>
                    <a:pt x="228" y="241"/>
                  </a:lnTo>
                  <a:lnTo>
                    <a:pt x="228" y="239"/>
                  </a:lnTo>
                  <a:lnTo>
                    <a:pt x="230" y="239"/>
                  </a:lnTo>
                  <a:lnTo>
                    <a:pt x="230" y="237"/>
                  </a:lnTo>
                  <a:lnTo>
                    <a:pt x="233" y="237"/>
                  </a:lnTo>
                  <a:lnTo>
                    <a:pt x="233" y="235"/>
                  </a:lnTo>
                  <a:lnTo>
                    <a:pt x="235" y="235"/>
                  </a:lnTo>
                  <a:lnTo>
                    <a:pt x="235" y="233"/>
                  </a:lnTo>
                  <a:lnTo>
                    <a:pt x="235" y="231"/>
                  </a:lnTo>
                  <a:lnTo>
                    <a:pt x="235" y="229"/>
                  </a:lnTo>
                  <a:lnTo>
                    <a:pt x="235" y="227"/>
                  </a:lnTo>
                  <a:lnTo>
                    <a:pt x="233" y="227"/>
                  </a:lnTo>
                  <a:lnTo>
                    <a:pt x="233" y="225"/>
                  </a:lnTo>
                  <a:lnTo>
                    <a:pt x="233" y="227"/>
                  </a:lnTo>
                  <a:lnTo>
                    <a:pt x="233" y="225"/>
                  </a:lnTo>
                  <a:lnTo>
                    <a:pt x="233" y="223"/>
                  </a:lnTo>
                  <a:lnTo>
                    <a:pt x="230" y="223"/>
                  </a:lnTo>
                  <a:lnTo>
                    <a:pt x="233" y="223"/>
                  </a:lnTo>
                  <a:lnTo>
                    <a:pt x="230" y="223"/>
                  </a:lnTo>
                  <a:lnTo>
                    <a:pt x="230" y="221"/>
                  </a:lnTo>
                  <a:lnTo>
                    <a:pt x="228" y="221"/>
                  </a:lnTo>
                  <a:lnTo>
                    <a:pt x="226" y="221"/>
                  </a:lnTo>
                  <a:lnTo>
                    <a:pt x="224" y="221"/>
                  </a:lnTo>
                  <a:lnTo>
                    <a:pt x="222" y="221"/>
                  </a:lnTo>
                  <a:lnTo>
                    <a:pt x="222" y="223"/>
                  </a:lnTo>
                  <a:lnTo>
                    <a:pt x="220" y="223"/>
                  </a:lnTo>
                  <a:lnTo>
                    <a:pt x="214" y="223"/>
                  </a:lnTo>
                  <a:lnTo>
                    <a:pt x="212" y="223"/>
                  </a:lnTo>
                  <a:lnTo>
                    <a:pt x="210" y="223"/>
                  </a:lnTo>
                  <a:lnTo>
                    <a:pt x="208" y="223"/>
                  </a:lnTo>
                  <a:lnTo>
                    <a:pt x="206" y="223"/>
                  </a:lnTo>
                  <a:lnTo>
                    <a:pt x="204" y="223"/>
                  </a:lnTo>
                  <a:lnTo>
                    <a:pt x="202" y="223"/>
                  </a:lnTo>
                  <a:lnTo>
                    <a:pt x="200" y="223"/>
                  </a:lnTo>
                  <a:lnTo>
                    <a:pt x="200" y="223"/>
                  </a:lnTo>
                  <a:lnTo>
                    <a:pt x="198" y="223"/>
                  </a:lnTo>
                  <a:lnTo>
                    <a:pt x="196" y="223"/>
                  </a:lnTo>
                  <a:lnTo>
                    <a:pt x="194" y="223"/>
                  </a:lnTo>
                  <a:lnTo>
                    <a:pt x="192" y="223"/>
                  </a:lnTo>
                  <a:lnTo>
                    <a:pt x="190" y="223"/>
                  </a:lnTo>
                  <a:lnTo>
                    <a:pt x="188" y="223"/>
                  </a:lnTo>
                  <a:lnTo>
                    <a:pt x="186" y="223"/>
                  </a:lnTo>
                  <a:lnTo>
                    <a:pt x="184" y="223"/>
                  </a:lnTo>
                  <a:lnTo>
                    <a:pt x="182" y="223"/>
                  </a:lnTo>
                  <a:lnTo>
                    <a:pt x="180" y="223"/>
                  </a:lnTo>
                  <a:lnTo>
                    <a:pt x="178" y="223"/>
                  </a:lnTo>
                  <a:lnTo>
                    <a:pt x="176" y="223"/>
                  </a:lnTo>
                  <a:lnTo>
                    <a:pt x="174" y="223"/>
                  </a:lnTo>
                  <a:lnTo>
                    <a:pt x="172" y="223"/>
                  </a:lnTo>
                  <a:lnTo>
                    <a:pt x="170" y="223"/>
                  </a:lnTo>
                  <a:lnTo>
                    <a:pt x="168" y="223"/>
                  </a:lnTo>
                  <a:lnTo>
                    <a:pt x="166" y="223"/>
                  </a:lnTo>
                  <a:lnTo>
                    <a:pt x="164" y="223"/>
                  </a:lnTo>
                  <a:lnTo>
                    <a:pt x="162" y="223"/>
                  </a:lnTo>
                  <a:lnTo>
                    <a:pt x="160" y="223"/>
                  </a:lnTo>
                  <a:lnTo>
                    <a:pt x="158" y="223"/>
                  </a:lnTo>
                  <a:lnTo>
                    <a:pt x="156" y="223"/>
                  </a:lnTo>
                  <a:lnTo>
                    <a:pt x="154" y="223"/>
                  </a:lnTo>
                  <a:lnTo>
                    <a:pt x="152" y="223"/>
                  </a:lnTo>
                  <a:lnTo>
                    <a:pt x="152" y="223"/>
                  </a:lnTo>
                  <a:lnTo>
                    <a:pt x="150" y="223"/>
                  </a:lnTo>
                  <a:lnTo>
                    <a:pt x="148" y="223"/>
                  </a:lnTo>
                  <a:lnTo>
                    <a:pt x="146" y="223"/>
                  </a:lnTo>
                  <a:lnTo>
                    <a:pt x="144" y="223"/>
                  </a:lnTo>
                  <a:lnTo>
                    <a:pt x="142" y="223"/>
                  </a:lnTo>
                  <a:lnTo>
                    <a:pt x="140" y="223"/>
                  </a:lnTo>
                  <a:lnTo>
                    <a:pt x="138" y="223"/>
                  </a:lnTo>
                  <a:lnTo>
                    <a:pt x="136" y="223"/>
                  </a:lnTo>
                  <a:lnTo>
                    <a:pt x="134" y="223"/>
                  </a:lnTo>
                  <a:lnTo>
                    <a:pt x="132" y="223"/>
                  </a:lnTo>
                  <a:lnTo>
                    <a:pt x="130" y="223"/>
                  </a:lnTo>
                  <a:lnTo>
                    <a:pt x="128" y="223"/>
                  </a:lnTo>
                  <a:lnTo>
                    <a:pt x="126" y="223"/>
                  </a:lnTo>
                  <a:lnTo>
                    <a:pt x="124" y="223"/>
                  </a:lnTo>
                  <a:lnTo>
                    <a:pt x="122" y="223"/>
                  </a:lnTo>
                  <a:lnTo>
                    <a:pt x="120" y="223"/>
                  </a:lnTo>
                  <a:lnTo>
                    <a:pt x="118" y="223"/>
                  </a:lnTo>
                  <a:lnTo>
                    <a:pt x="116" y="223"/>
                  </a:lnTo>
                  <a:lnTo>
                    <a:pt x="114" y="223"/>
                  </a:lnTo>
                  <a:lnTo>
                    <a:pt x="112" y="223"/>
                  </a:lnTo>
                  <a:lnTo>
                    <a:pt x="110" y="223"/>
                  </a:lnTo>
                  <a:lnTo>
                    <a:pt x="106" y="223"/>
                  </a:lnTo>
                  <a:lnTo>
                    <a:pt x="104" y="223"/>
                  </a:lnTo>
                  <a:lnTo>
                    <a:pt x="104" y="223"/>
                  </a:lnTo>
                  <a:lnTo>
                    <a:pt x="102" y="223"/>
                  </a:lnTo>
                  <a:lnTo>
                    <a:pt x="100" y="223"/>
                  </a:lnTo>
                  <a:lnTo>
                    <a:pt x="98" y="223"/>
                  </a:lnTo>
                  <a:lnTo>
                    <a:pt x="96" y="223"/>
                  </a:lnTo>
                  <a:lnTo>
                    <a:pt x="94" y="223"/>
                  </a:lnTo>
                  <a:lnTo>
                    <a:pt x="92" y="223"/>
                  </a:lnTo>
                  <a:lnTo>
                    <a:pt x="90" y="221"/>
                  </a:lnTo>
                  <a:lnTo>
                    <a:pt x="88" y="221"/>
                  </a:lnTo>
                  <a:lnTo>
                    <a:pt x="86" y="221"/>
                  </a:lnTo>
                  <a:lnTo>
                    <a:pt x="82" y="221"/>
                  </a:lnTo>
                  <a:lnTo>
                    <a:pt x="80" y="221"/>
                  </a:lnTo>
                  <a:lnTo>
                    <a:pt x="78" y="221"/>
                  </a:lnTo>
                  <a:lnTo>
                    <a:pt x="76" y="221"/>
                  </a:lnTo>
                  <a:lnTo>
                    <a:pt x="74" y="221"/>
                  </a:lnTo>
                  <a:lnTo>
                    <a:pt x="72" y="221"/>
                  </a:lnTo>
                  <a:lnTo>
                    <a:pt x="70" y="221"/>
                  </a:lnTo>
                  <a:lnTo>
                    <a:pt x="68" y="221"/>
                  </a:lnTo>
                  <a:lnTo>
                    <a:pt x="64" y="221"/>
                  </a:lnTo>
                  <a:lnTo>
                    <a:pt x="62" y="221"/>
                  </a:lnTo>
                  <a:lnTo>
                    <a:pt x="60" y="221"/>
                  </a:lnTo>
                  <a:lnTo>
                    <a:pt x="58" y="221"/>
                  </a:lnTo>
                  <a:lnTo>
                    <a:pt x="56" y="221"/>
                  </a:lnTo>
                  <a:lnTo>
                    <a:pt x="54" y="221"/>
                  </a:lnTo>
                  <a:lnTo>
                    <a:pt x="54" y="221"/>
                  </a:lnTo>
                  <a:lnTo>
                    <a:pt x="52" y="221"/>
                  </a:lnTo>
                  <a:lnTo>
                    <a:pt x="50" y="221"/>
                  </a:lnTo>
                  <a:lnTo>
                    <a:pt x="48" y="221"/>
                  </a:lnTo>
                  <a:lnTo>
                    <a:pt x="46" y="221"/>
                  </a:lnTo>
                  <a:lnTo>
                    <a:pt x="44" y="221"/>
                  </a:lnTo>
                  <a:lnTo>
                    <a:pt x="42" y="221"/>
                  </a:lnTo>
                  <a:lnTo>
                    <a:pt x="40" y="221"/>
                  </a:lnTo>
                  <a:lnTo>
                    <a:pt x="38" y="221"/>
                  </a:lnTo>
                  <a:lnTo>
                    <a:pt x="36" y="221"/>
                  </a:lnTo>
                  <a:lnTo>
                    <a:pt x="36" y="219"/>
                  </a:lnTo>
                  <a:lnTo>
                    <a:pt x="36" y="219"/>
                  </a:lnTo>
                  <a:lnTo>
                    <a:pt x="36" y="217"/>
                  </a:lnTo>
                  <a:lnTo>
                    <a:pt x="38" y="217"/>
                  </a:lnTo>
                  <a:lnTo>
                    <a:pt x="38" y="215"/>
                  </a:lnTo>
                  <a:lnTo>
                    <a:pt x="38" y="213"/>
                  </a:lnTo>
                  <a:lnTo>
                    <a:pt x="38" y="211"/>
                  </a:lnTo>
                  <a:lnTo>
                    <a:pt x="38" y="209"/>
                  </a:lnTo>
                  <a:lnTo>
                    <a:pt x="38" y="206"/>
                  </a:lnTo>
                  <a:lnTo>
                    <a:pt x="38" y="204"/>
                  </a:lnTo>
                  <a:lnTo>
                    <a:pt x="38" y="202"/>
                  </a:lnTo>
                  <a:lnTo>
                    <a:pt x="38" y="200"/>
                  </a:lnTo>
                  <a:lnTo>
                    <a:pt x="38" y="198"/>
                  </a:lnTo>
                  <a:lnTo>
                    <a:pt x="38" y="196"/>
                  </a:lnTo>
                  <a:lnTo>
                    <a:pt x="38" y="194"/>
                  </a:lnTo>
                  <a:lnTo>
                    <a:pt x="38" y="192"/>
                  </a:lnTo>
                  <a:lnTo>
                    <a:pt x="38" y="190"/>
                  </a:lnTo>
                  <a:lnTo>
                    <a:pt x="38" y="188"/>
                  </a:lnTo>
                  <a:lnTo>
                    <a:pt x="38" y="186"/>
                  </a:lnTo>
                  <a:lnTo>
                    <a:pt x="38" y="184"/>
                  </a:lnTo>
                  <a:lnTo>
                    <a:pt x="38" y="182"/>
                  </a:lnTo>
                  <a:lnTo>
                    <a:pt x="38" y="180"/>
                  </a:lnTo>
                  <a:lnTo>
                    <a:pt x="38" y="178"/>
                  </a:lnTo>
                  <a:lnTo>
                    <a:pt x="38" y="176"/>
                  </a:lnTo>
                  <a:lnTo>
                    <a:pt x="38" y="174"/>
                  </a:lnTo>
                  <a:lnTo>
                    <a:pt x="38" y="172"/>
                  </a:lnTo>
                  <a:lnTo>
                    <a:pt x="38" y="170"/>
                  </a:lnTo>
                  <a:lnTo>
                    <a:pt x="40" y="170"/>
                  </a:lnTo>
                  <a:lnTo>
                    <a:pt x="40" y="170"/>
                  </a:lnTo>
                  <a:lnTo>
                    <a:pt x="40" y="168"/>
                  </a:lnTo>
                  <a:lnTo>
                    <a:pt x="40" y="166"/>
                  </a:lnTo>
                  <a:lnTo>
                    <a:pt x="40" y="164"/>
                  </a:lnTo>
                  <a:lnTo>
                    <a:pt x="40" y="162"/>
                  </a:lnTo>
                  <a:lnTo>
                    <a:pt x="40" y="160"/>
                  </a:lnTo>
                  <a:lnTo>
                    <a:pt x="40" y="158"/>
                  </a:lnTo>
                  <a:lnTo>
                    <a:pt x="40" y="156"/>
                  </a:lnTo>
                  <a:lnTo>
                    <a:pt x="40" y="154"/>
                  </a:lnTo>
                  <a:lnTo>
                    <a:pt x="40" y="152"/>
                  </a:lnTo>
                  <a:lnTo>
                    <a:pt x="40" y="150"/>
                  </a:lnTo>
                  <a:lnTo>
                    <a:pt x="40" y="148"/>
                  </a:lnTo>
                  <a:lnTo>
                    <a:pt x="40" y="146"/>
                  </a:lnTo>
                  <a:lnTo>
                    <a:pt x="40" y="144"/>
                  </a:lnTo>
                  <a:lnTo>
                    <a:pt x="40" y="142"/>
                  </a:lnTo>
                  <a:lnTo>
                    <a:pt x="40" y="140"/>
                  </a:lnTo>
                  <a:lnTo>
                    <a:pt x="40" y="138"/>
                  </a:lnTo>
                  <a:lnTo>
                    <a:pt x="40" y="136"/>
                  </a:lnTo>
                  <a:lnTo>
                    <a:pt x="40" y="134"/>
                  </a:lnTo>
                  <a:lnTo>
                    <a:pt x="40" y="132"/>
                  </a:lnTo>
                  <a:lnTo>
                    <a:pt x="40" y="130"/>
                  </a:lnTo>
                  <a:lnTo>
                    <a:pt x="42" y="130"/>
                  </a:lnTo>
                  <a:lnTo>
                    <a:pt x="42" y="128"/>
                  </a:lnTo>
                  <a:lnTo>
                    <a:pt x="42" y="126"/>
                  </a:lnTo>
                  <a:lnTo>
                    <a:pt x="42" y="124"/>
                  </a:lnTo>
                  <a:lnTo>
                    <a:pt x="42" y="122"/>
                  </a:lnTo>
                  <a:lnTo>
                    <a:pt x="42" y="122"/>
                  </a:lnTo>
                  <a:lnTo>
                    <a:pt x="42" y="120"/>
                  </a:lnTo>
                  <a:lnTo>
                    <a:pt x="42" y="118"/>
                  </a:lnTo>
                  <a:lnTo>
                    <a:pt x="42" y="116"/>
                  </a:lnTo>
                  <a:lnTo>
                    <a:pt x="42" y="114"/>
                  </a:lnTo>
                  <a:lnTo>
                    <a:pt x="42" y="112"/>
                  </a:lnTo>
                  <a:lnTo>
                    <a:pt x="42" y="110"/>
                  </a:lnTo>
                  <a:lnTo>
                    <a:pt x="42" y="108"/>
                  </a:lnTo>
                  <a:lnTo>
                    <a:pt x="42" y="106"/>
                  </a:lnTo>
                  <a:lnTo>
                    <a:pt x="42" y="104"/>
                  </a:lnTo>
                  <a:lnTo>
                    <a:pt x="42" y="102"/>
                  </a:lnTo>
                  <a:lnTo>
                    <a:pt x="42" y="100"/>
                  </a:lnTo>
                  <a:lnTo>
                    <a:pt x="42" y="98"/>
                  </a:lnTo>
                  <a:lnTo>
                    <a:pt x="42" y="96"/>
                  </a:lnTo>
                  <a:lnTo>
                    <a:pt x="42" y="94"/>
                  </a:lnTo>
                  <a:lnTo>
                    <a:pt x="42" y="92"/>
                  </a:lnTo>
                  <a:lnTo>
                    <a:pt x="44" y="92"/>
                  </a:lnTo>
                  <a:lnTo>
                    <a:pt x="42" y="92"/>
                  </a:lnTo>
                  <a:lnTo>
                    <a:pt x="44" y="90"/>
                  </a:lnTo>
                  <a:lnTo>
                    <a:pt x="44" y="88"/>
                  </a:lnTo>
                  <a:lnTo>
                    <a:pt x="44" y="86"/>
                  </a:lnTo>
                  <a:lnTo>
                    <a:pt x="44" y="84"/>
                  </a:lnTo>
                  <a:lnTo>
                    <a:pt x="44" y="82"/>
                  </a:lnTo>
                  <a:lnTo>
                    <a:pt x="44" y="80"/>
                  </a:lnTo>
                  <a:lnTo>
                    <a:pt x="44" y="78"/>
                  </a:lnTo>
                  <a:lnTo>
                    <a:pt x="42" y="78"/>
                  </a:lnTo>
                  <a:lnTo>
                    <a:pt x="42" y="76"/>
                  </a:lnTo>
                  <a:lnTo>
                    <a:pt x="40" y="76"/>
                  </a:lnTo>
                  <a:lnTo>
                    <a:pt x="38" y="76"/>
                  </a:lnTo>
                  <a:lnTo>
                    <a:pt x="36" y="76"/>
                  </a:lnTo>
                  <a:lnTo>
                    <a:pt x="36" y="74"/>
                  </a:lnTo>
                  <a:lnTo>
                    <a:pt x="34" y="74"/>
                  </a:lnTo>
                  <a:lnTo>
                    <a:pt x="34" y="74"/>
                  </a:lnTo>
                  <a:lnTo>
                    <a:pt x="34" y="72"/>
                  </a:lnTo>
                  <a:lnTo>
                    <a:pt x="32" y="72"/>
                  </a:lnTo>
                  <a:lnTo>
                    <a:pt x="32" y="70"/>
                  </a:lnTo>
                  <a:lnTo>
                    <a:pt x="32" y="68"/>
                  </a:lnTo>
                  <a:lnTo>
                    <a:pt x="32" y="66"/>
                  </a:lnTo>
                  <a:lnTo>
                    <a:pt x="30" y="66"/>
                  </a:lnTo>
                  <a:lnTo>
                    <a:pt x="30" y="64"/>
                  </a:lnTo>
                  <a:lnTo>
                    <a:pt x="28" y="64"/>
                  </a:lnTo>
                  <a:lnTo>
                    <a:pt x="28" y="62"/>
                  </a:lnTo>
                  <a:lnTo>
                    <a:pt x="26" y="62"/>
                  </a:lnTo>
                  <a:lnTo>
                    <a:pt x="26" y="60"/>
                  </a:lnTo>
                  <a:lnTo>
                    <a:pt x="24" y="60"/>
                  </a:lnTo>
                  <a:lnTo>
                    <a:pt x="24" y="58"/>
                  </a:lnTo>
                  <a:lnTo>
                    <a:pt x="24" y="56"/>
                  </a:lnTo>
                  <a:lnTo>
                    <a:pt x="26" y="56"/>
                  </a:lnTo>
                  <a:lnTo>
                    <a:pt x="26" y="54"/>
                  </a:lnTo>
                  <a:lnTo>
                    <a:pt x="26" y="52"/>
                  </a:lnTo>
                  <a:lnTo>
                    <a:pt x="26" y="50"/>
                  </a:lnTo>
                  <a:lnTo>
                    <a:pt x="28" y="50"/>
                  </a:lnTo>
                  <a:lnTo>
                    <a:pt x="30" y="50"/>
                  </a:lnTo>
                  <a:lnTo>
                    <a:pt x="30" y="48"/>
                  </a:lnTo>
                  <a:lnTo>
                    <a:pt x="30" y="46"/>
                  </a:lnTo>
                  <a:lnTo>
                    <a:pt x="32" y="48"/>
                  </a:lnTo>
                  <a:lnTo>
                    <a:pt x="34" y="48"/>
                  </a:lnTo>
                  <a:lnTo>
                    <a:pt x="34" y="46"/>
                  </a:lnTo>
                  <a:lnTo>
                    <a:pt x="32" y="46"/>
                  </a:lnTo>
                  <a:lnTo>
                    <a:pt x="32" y="44"/>
                  </a:lnTo>
                  <a:lnTo>
                    <a:pt x="34" y="44"/>
                  </a:lnTo>
                  <a:lnTo>
                    <a:pt x="34" y="42"/>
                  </a:lnTo>
                  <a:lnTo>
                    <a:pt x="32" y="42"/>
                  </a:lnTo>
                  <a:lnTo>
                    <a:pt x="32" y="40"/>
                  </a:lnTo>
                  <a:lnTo>
                    <a:pt x="32" y="38"/>
                  </a:lnTo>
                  <a:lnTo>
                    <a:pt x="30" y="38"/>
                  </a:lnTo>
                  <a:lnTo>
                    <a:pt x="28" y="38"/>
                  </a:lnTo>
                  <a:lnTo>
                    <a:pt x="28" y="40"/>
                  </a:lnTo>
                  <a:lnTo>
                    <a:pt x="26" y="40"/>
                  </a:lnTo>
                  <a:lnTo>
                    <a:pt x="24" y="40"/>
                  </a:lnTo>
                  <a:lnTo>
                    <a:pt x="22" y="38"/>
                  </a:lnTo>
                  <a:lnTo>
                    <a:pt x="20" y="38"/>
                  </a:lnTo>
                  <a:lnTo>
                    <a:pt x="20" y="36"/>
                  </a:lnTo>
                  <a:lnTo>
                    <a:pt x="18" y="36"/>
                  </a:lnTo>
                  <a:lnTo>
                    <a:pt x="18" y="34"/>
                  </a:lnTo>
                  <a:lnTo>
                    <a:pt x="16" y="34"/>
                  </a:lnTo>
                  <a:lnTo>
                    <a:pt x="16" y="32"/>
                  </a:lnTo>
                  <a:lnTo>
                    <a:pt x="16" y="30"/>
                  </a:lnTo>
                  <a:lnTo>
                    <a:pt x="14" y="30"/>
                  </a:lnTo>
                  <a:lnTo>
                    <a:pt x="12" y="30"/>
                  </a:lnTo>
                  <a:lnTo>
                    <a:pt x="12" y="28"/>
                  </a:lnTo>
                  <a:lnTo>
                    <a:pt x="12" y="26"/>
                  </a:lnTo>
                  <a:lnTo>
                    <a:pt x="12" y="26"/>
                  </a:lnTo>
                  <a:lnTo>
                    <a:pt x="12" y="24"/>
                  </a:lnTo>
                  <a:lnTo>
                    <a:pt x="10" y="24"/>
                  </a:lnTo>
                  <a:lnTo>
                    <a:pt x="10" y="22"/>
                  </a:lnTo>
                  <a:lnTo>
                    <a:pt x="10" y="20"/>
                  </a:lnTo>
                  <a:lnTo>
                    <a:pt x="8" y="20"/>
                  </a:lnTo>
                  <a:lnTo>
                    <a:pt x="6" y="20"/>
                  </a:lnTo>
                  <a:lnTo>
                    <a:pt x="6" y="18"/>
                  </a:lnTo>
                  <a:lnTo>
                    <a:pt x="6" y="16"/>
                  </a:lnTo>
                  <a:lnTo>
                    <a:pt x="6" y="16"/>
                  </a:lnTo>
                  <a:lnTo>
                    <a:pt x="4" y="16"/>
                  </a:lnTo>
                  <a:lnTo>
                    <a:pt x="6" y="16"/>
                  </a:lnTo>
                  <a:lnTo>
                    <a:pt x="6" y="14"/>
                  </a:lnTo>
                  <a:lnTo>
                    <a:pt x="6" y="12"/>
                  </a:lnTo>
                  <a:lnTo>
                    <a:pt x="4" y="12"/>
                  </a:lnTo>
                  <a:lnTo>
                    <a:pt x="4" y="10"/>
                  </a:lnTo>
                  <a:lnTo>
                    <a:pt x="6" y="10"/>
                  </a:lnTo>
                  <a:lnTo>
                    <a:pt x="6" y="8"/>
                  </a:lnTo>
                  <a:lnTo>
                    <a:pt x="4" y="8"/>
                  </a:lnTo>
                  <a:lnTo>
                    <a:pt x="4" y="6"/>
                  </a:lnTo>
                  <a:lnTo>
                    <a:pt x="4" y="4"/>
                  </a:lnTo>
                  <a:lnTo>
                    <a:pt x="6" y="4"/>
                  </a:lnTo>
                  <a:lnTo>
                    <a:pt x="4" y="4"/>
                  </a:lnTo>
                  <a:lnTo>
                    <a:pt x="4" y="2"/>
                  </a:lnTo>
                  <a:lnTo>
                    <a:pt x="4" y="4"/>
                  </a:lnTo>
                  <a:lnTo>
                    <a:pt x="2" y="4"/>
                  </a:lnTo>
                  <a:lnTo>
                    <a:pt x="0" y="4"/>
                  </a:lnTo>
                  <a:lnTo>
                    <a:pt x="0" y="2"/>
                  </a:lnTo>
                  <a:lnTo>
                    <a:pt x="0" y="0"/>
                  </a:lnTo>
                  <a:lnTo>
                    <a:pt x="2" y="0"/>
                  </a:lnTo>
                  <a:lnTo>
                    <a:pt x="2" y="2"/>
                  </a:lnTo>
                  <a:lnTo>
                    <a:pt x="4" y="2"/>
                  </a:lnTo>
                  <a:lnTo>
                    <a:pt x="6" y="2"/>
                  </a:lnTo>
                  <a:lnTo>
                    <a:pt x="6" y="2"/>
                  </a:lnTo>
                  <a:lnTo>
                    <a:pt x="8" y="2"/>
                  </a:lnTo>
                  <a:lnTo>
                    <a:pt x="10" y="2"/>
                  </a:lnTo>
                  <a:lnTo>
                    <a:pt x="12" y="2"/>
                  </a:lnTo>
                  <a:lnTo>
                    <a:pt x="14" y="2"/>
                  </a:lnTo>
                  <a:lnTo>
                    <a:pt x="16" y="2"/>
                  </a:lnTo>
                  <a:lnTo>
                    <a:pt x="18" y="2"/>
                  </a:lnTo>
                  <a:lnTo>
                    <a:pt x="20" y="2"/>
                  </a:lnTo>
                  <a:lnTo>
                    <a:pt x="22" y="2"/>
                  </a:lnTo>
                  <a:lnTo>
                    <a:pt x="24" y="2"/>
                  </a:lnTo>
                  <a:lnTo>
                    <a:pt x="26" y="2"/>
                  </a:lnTo>
                  <a:lnTo>
                    <a:pt x="28" y="2"/>
                  </a:lnTo>
                  <a:lnTo>
                    <a:pt x="28" y="4"/>
                  </a:lnTo>
                  <a:lnTo>
                    <a:pt x="30" y="4"/>
                  </a:lnTo>
                  <a:lnTo>
                    <a:pt x="32" y="4"/>
                  </a:lnTo>
                  <a:lnTo>
                    <a:pt x="34" y="4"/>
                  </a:lnTo>
                  <a:lnTo>
                    <a:pt x="36" y="4"/>
                  </a:lnTo>
                  <a:lnTo>
                    <a:pt x="38" y="4"/>
                  </a:lnTo>
                  <a:lnTo>
                    <a:pt x="40" y="4"/>
                  </a:lnTo>
                  <a:lnTo>
                    <a:pt x="42" y="4"/>
                  </a:lnTo>
                  <a:lnTo>
                    <a:pt x="44" y="4"/>
                  </a:lnTo>
                  <a:lnTo>
                    <a:pt x="46" y="4"/>
                  </a:lnTo>
                  <a:lnTo>
                    <a:pt x="48" y="4"/>
                  </a:lnTo>
                  <a:lnTo>
                    <a:pt x="50" y="4"/>
                  </a:lnTo>
                  <a:lnTo>
                    <a:pt x="52" y="4"/>
                  </a:lnTo>
                  <a:lnTo>
                    <a:pt x="54" y="4"/>
                  </a:lnTo>
                  <a:lnTo>
                    <a:pt x="54" y="4"/>
                  </a:lnTo>
                  <a:lnTo>
                    <a:pt x="56" y="4"/>
                  </a:lnTo>
                  <a:lnTo>
                    <a:pt x="58" y="4"/>
                  </a:lnTo>
                  <a:lnTo>
                    <a:pt x="60" y="4"/>
                  </a:lnTo>
                  <a:lnTo>
                    <a:pt x="62" y="4"/>
                  </a:lnTo>
                  <a:lnTo>
                    <a:pt x="64" y="4"/>
                  </a:lnTo>
                  <a:lnTo>
                    <a:pt x="66" y="4"/>
                  </a:lnTo>
                  <a:lnTo>
                    <a:pt x="68" y="4"/>
                  </a:lnTo>
                  <a:lnTo>
                    <a:pt x="70" y="4"/>
                  </a:lnTo>
                  <a:lnTo>
                    <a:pt x="72" y="4"/>
                  </a:lnTo>
                  <a:lnTo>
                    <a:pt x="74" y="4"/>
                  </a:lnTo>
                  <a:lnTo>
                    <a:pt x="74" y="6"/>
                  </a:lnTo>
                  <a:lnTo>
                    <a:pt x="74" y="4"/>
                  </a:lnTo>
                  <a:lnTo>
                    <a:pt x="74" y="6"/>
                  </a:lnTo>
                  <a:lnTo>
                    <a:pt x="76" y="6"/>
                  </a:lnTo>
                  <a:lnTo>
                    <a:pt x="78" y="6"/>
                  </a:lnTo>
                  <a:lnTo>
                    <a:pt x="80" y="6"/>
                  </a:lnTo>
                  <a:lnTo>
                    <a:pt x="82" y="6"/>
                  </a:lnTo>
                  <a:lnTo>
                    <a:pt x="84" y="6"/>
                  </a:lnTo>
                  <a:lnTo>
                    <a:pt x="86" y="6"/>
                  </a:lnTo>
                  <a:lnTo>
                    <a:pt x="88" y="6"/>
                  </a:lnTo>
                  <a:lnTo>
                    <a:pt x="90" y="6"/>
                  </a:lnTo>
                  <a:lnTo>
                    <a:pt x="92" y="6"/>
                  </a:lnTo>
                  <a:lnTo>
                    <a:pt x="94" y="6"/>
                  </a:lnTo>
                  <a:lnTo>
                    <a:pt x="96" y="6"/>
                  </a:lnTo>
                  <a:lnTo>
                    <a:pt x="98" y="6"/>
                  </a:lnTo>
                  <a:lnTo>
                    <a:pt x="100" y="6"/>
                  </a:lnTo>
                  <a:lnTo>
                    <a:pt x="102" y="6"/>
                  </a:lnTo>
                  <a:lnTo>
                    <a:pt x="104" y="6"/>
                  </a:lnTo>
                  <a:lnTo>
                    <a:pt x="104" y="6"/>
                  </a:lnTo>
                  <a:lnTo>
                    <a:pt x="106" y="6"/>
                  </a:lnTo>
                  <a:lnTo>
                    <a:pt x="108" y="6"/>
                  </a:lnTo>
                  <a:lnTo>
                    <a:pt x="110" y="6"/>
                  </a:lnTo>
                  <a:lnTo>
                    <a:pt x="112" y="6"/>
                  </a:lnTo>
                  <a:lnTo>
                    <a:pt x="114" y="6"/>
                  </a:lnTo>
                  <a:lnTo>
                    <a:pt x="116" y="6"/>
                  </a:lnTo>
                  <a:lnTo>
                    <a:pt x="118" y="6"/>
                  </a:lnTo>
                  <a:lnTo>
                    <a:pt x="120" y="6"/>
                  </a:lnTo>
                  <a:lnTo>
                    <a:pt x="122" y="6"/>
                  </a:lnTo>
                  <a:lnTo>
                    <a:pt x="124" y="6"/>
                  </a:lnTo>
                  <a:lnTo>
                    <a:pt x="126" y="6"/>
                  </a:lnTo>
                  <a:lnTo>
                    <a:pt x="128" y="6"/>
                  </a:lnTo>
                  <a:lnTo>
                    <a:pt x="130" y="6"/>
                  </a:lnTo>
                  <a:lnTo>
                    <a:pt x="132" y="6"/>
                  </a:lnTo>
                  <a:lnTo>
                    <a:pt x="134" y="6"/>
                  </a:lnTo>
                  <a:lnTo>
                    <a:pt x="136" y="6"/>
                  </a:lnTo>
                  <a:lnTo>
                    <a:pt x="138" y="6"/>
                  </a:lnTo>
                  <a:lnTo>
                    <a:pt x="140" y="6"/>
                  </a:lnTo>
                  <a:lnTo>
                    <a:pt x="142" y="6"/>
                  </a:lnTo>
                  <a:lnTo>
                    <a:pt x="144" y="6"/>
                  </a:lnTo>
                  <a:lnTo>
                    <a:pt x="144" y="4"/>
                  </a:lnTo>
                  <a:lnTo>
                    <a:pt x="146" y="4"/>
                  </a:lnTo>
                  <a:lnTo>
                    <a:pt x="148" y="4"/>
                  </a:lnTo>
                  <a:lnTo>
                    <a:pt x="150" y="4"/>
                  </a:lnTo>
                  <a:lnTo>
                    <a:pt x="152" y="4"/>
                  </a:lnTo>
                  <a:lnTo>
                    <a:pt x="152" y="4"/>
                  </a:lnTo>
                  <a:lnTo>
                    <a:pt x="154" y="4"/>
                  </a:lnTo>
                  <a:lnTo>
                    <a:pt x="156" y="4"/>
                  </a:lnTo>
                  <a:lnTo>
                    <a:pt x="158" y="4"/>
                  </a:lnTo>
                  <a:lnTo>
                    <a:pt x="160" y="4"/>
                  </a:lnTo>
                  <a:close/>
                </a:path>
              </a:pathLst>
            </a:custGeom>
            <a:solidFill>
              <a:srgbClr val="EDFD51"/>
            </a:solidFill>
            <a:ln w="3175">
              <a:solidFill>
                <a:sysClr val="window" lastClr="FFFF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black"/>
                </a:solidFill>
                <a:effectLst/>
                <a:uLnTx/>
                <a:uFillTx/>
                <a:ea typeface="宋体" panose="02010600030101010101" pitchFamily="2" charset="-122"/>
              </a:endParaRPr>
            </a:p>
          </p:txBody>
        </p:sp>
        <p:sp>
          <p:nvSpPr>
            <p:cNvPr id="24" name="Freeform 1101">
              <a:extLst>
                <a:ext uri="{FF2B5EF4-FFF2-40B4-BE49-F238E27FC236}">
                  <a16:creationId xmlns:a16="http://schemas.microsoft.com/office/drawing/2014/main" id="{77DA2F98-6E69-49F6-9353-8748891C8F3A}"/>
                </a:ext>
              </a:extLst>
            </p:cNvPr>
            <p:cNvSpPr>
              <a:spLocks noEditPoints="1"/>
            </p:cNvSpPr>
            <p:nvPr/>
          </p:nvSpPr>
          <p:spPr bwMode="auto">
            <a:xfrm>
              <a:off x="5762625" y="3679825"/>
              <a:ext cx="269875" cy="431800"/>
            </a:xfrm>
            <a:custGeom>
              <a:avLst/>
              <a:gdLst>
                <a:gd name="T0" fmla="*/ 18 w 170"/>
                <a:gd name="T1" fmla="*/ 270 h 272"/>
                <a:gd name="T2" fmla="*/ 28 w 170"/>
                <a:gd name="T3" fmla="*/ 246 h 272"/>
                <a:gd name="T4" fmla="*/ 30 w 170"/>
                <a:gd name="T5" fmla="*/ 246 h 272"/>
                <a:gd name="T6" fmla="*/ 28 w 170"/>
                <a:gd name="T7" fmla="*/ 242 h 272"/>
                <a:gd name="T8" fmla="*/ 26 w 170"/>
                <a:gd name="T9" fmla="*/ 244 h 272"/>
                <a:gd name="T10" fmla="*/ 28 w 170"/>
                <a:gd name="T11" fmla="*/ 244 h 272"/>
                <a:gd name="T12" fmla="*/ 30 w 170"/>
                <a:gd name="T13" fmla="*/ 238 h 272"/>
                <a:gd name="T14" fmla="*/ 28 w 170"/>
                <a:gd name="T15" fmla="*/ 240 h 272"/>
                <a:gd name="T16" fmla="*/ 28 w 170"/>
                <a:gd name="T17" fmla="*/ 240 h 272"/>
                <a:gd name="T18" fmla="*/ 28 w 170"/>
                <a:gd name="T19" fmla="*/ 238 h 272"/>
                <a:gd name="T20" fmla="*/ 10 w 170"/>
                <a:gd name="T21" fmla="*/ 8 h 272"/>
                <a:gd name="T22" fmla="*/ 34 w 170"/>
                <a:gd name="T23" fmla="*/ 6 h 272"/>
                <a:gd name="T24" fmla="*/ 62 w 170"/>
                <a:gd name="T25" fmla="*/ 6 h 272"/>
                <a:gd name="T26" fmla="*/ 86 w 170"/>
                <a:gd name="T27" fmla="*/ 4 h 272"/>
                <a:gd name="T28" fmla="*/ 112 w 170"/>
                <a:gd name="T29" fmla="*/ 2 h 272"/>
                <a:gd name="T30" fmla="*/ 124 w 170"/>
                <a:gd name="T31" fmla="*/ 14 h 272"/>
                <a:gd name="T32" fmla="*/ 128 w 170"/>
                <a:gd name="T33" fmla="*/ 36 h 272"/>
                <a:gd name="T34" fmla="*/ 134 w 170"/>
                <a:gd name="T35" fmla="*/ 58 h 272"/>
                <a:gd name="T36" fmla="*/ 140 w 170"/>
                <a:gd name="T37" fmla="*/ 78 h 272"/>
                <a:gd name="T38" fmla="*/ 146 w 170"/>
                <a:gd name="T39" fmla="*/ 102 h 272"/>
                <a:gd name="T40" fmla="*/ 154 w 170"/>
                <a:gd name="T41" fmla="*/ 120 h 272"/>
                <a:gd name="T42" fmla="*/ 164 w 170"/>
                <a:gd name="T43" fmla="*/ 136 h 272"/>
                <a:gd name="T44" fmla="*/ 166 w 170"/>
                <a:gd name="T45" fmla="*/ 146 h 272"/>
                <a:gd name="T46" fmla="*/ 162 w 170"/>
                <a:gd name="T47" fmla="*/ 160 h 272"/>
                <a:gd name="T48" fmla="*/ 160 w 170"/>
                <a:gd name="T49" fmla="*/ 172 h 272"/>
                <a:gd name="T50" fmla="*/ 164 w 170"/>
                <a:gd name="T51" fmla="*/ 192 h 272"/>
                <a:gd name="T52" fmla="*/ 170 w 170"/>
                <a:gd name="T53" fmla="*/ 214 h 272"/>
                <a:gd name="T54" fmla="*/ 148 w 170"/>
                <a:gd name="T55" fmla="*/ 218 h 272"/>
                <a:gd name="T56" fmla="*/ 124 w 170"/>
                <a:gd name="T57" fmla="*/ 220 h 272"/>
                <a:gd name="T58" fmla="*/ 96 w 170"/>
                <a:gd name="T59" fmla="*/ 222 h 272"/>
                <a:gd name="T60" fmla="*/ 72 w 170"/>
                <a:gd name="T61" fmla="*/ 224 h 272"/>
                <a:gd name="T62" fmla="*/ 46 w 170"/>
                <a:gd name="T63" fmla="*/ 226 h 272"/>
                <a:gd name="T64" fmla="*/ 50 w 170"/>
                <a:gd name="T65" fmla="*/ 242 h 272"/>
                <a:gd name="T66" fmla="*/ 56 w 170"/>
                <a:gd name="T67" fmla="*/ 258 h 272"/>
                <a:gd name="T68" fmla="*/ 48 w 170"/>
                <a:gd name="T69" fmla="*/ 264 h 272"/>
                <a:gd name="T70" fmla="*/ 46 w 170"/>
                <a:gd name="T71" fmla="*/ 266 h 272"/>
                <a:gd name="T72" fmla="*/ 44 w 170"/>
                <a:gd name="T73" fmla="*/ 268 h 272"/>
                <a:gd name="T74" fmla="*/ 40 w 170"/>
                <a:gd name="T75" fmla="*/ 270 h 272"/>
                <a:gd name="T76" fmla="*/ 32 w 170"/>
                <a:gd name="T77" fmla="*/ 268 h 272"/>
                <a:gd name="T78" fmla="*/ 42 w 170"/>
                <a:gd name="T79" fmla="*/ 266 h 272"/>
                <a:gd name="T80" fmla="*/ 36 w 170"/>
                <a:gd name="T81" fmla="*/ 262 h 272"/>
                <a:gd name="T82" fmla="*/ 30 w 170"/>
                <a:gd name="T83" fmla="*/ 258 h 272"/>
                <a:gd name="T84" fmla="*/ 30 w 170"/>
                <a:gd name="T85" fmla="*/ 244 h 272"/>
                <a:gd name="T86" fmla="*/ 30 w 170"/>
                <a:gd name="T87" fmla="*/ 232 h 272"/>
                <a:gd name="T88" fmla="*/ 28 w 170"/>
                <a:gd name="T89" fmla="*/ 234 h 272"/>
                <a:gd name="T90" fmla="*/ 30 w 170"/>
                <a:gd name="T91" fmla="*/ 236 h 272"/>
                <a:gd name="T92" fmla="*/ 28 w 170"/>
                <a:gd name="T93" fmla="*/ 234 h 272"/>
                <a:gd name="T94" fmla="*/ 26 w 170"/>
                <a:gd name="T95" fmla="*/ 242 h 272"/>
                <a:gd name="T96" fmla="*/ 24 w 170"/>
                <a:gd name="T97" fmla="*/ 256 h 272"/>
                <a:gd name="T98" fmla="*/ 22 w 170"/>
                <a:gd name="T99" fmla="*/ 266 h 272"/>
                <a:gd name="T100" fmla="*/ 8 w 170"/>
                <a:gd name="T101" fmla="*/ 262 h 272"/>
                <a:gd name="T102" fmla="*/ 6 w 170"/>
                <a:gd name="T103" fmla="*/ 236 h 272"/>
                <a:gd name="T104" fmla="*/ 4 w 170"/>
                <a:gd name="T105" fmla="*/ 212 h 272"/>
                <a:gd name="T106" fmla="*/ 2 w 170"/>
                <a:gd name="T107" fmla="*/ 186 h 272"/>
                <a:gd name="T108" fmla="*/ 2 w 170"/>
                <a:gd name="T109" fmla="*/ 164 h 272"/>
                <a:gd name="T110" fmla="*/ 2 w 170"/>
                <a:gd name="T111" fmla="*/ 136 h 272"/>
                <a:gd name="T112" fmla="*/ 4 w 170"/>
                <a:gd name="T113" fmla="*/ 112 h 272"/>
                <a:gd name="T114" fmla="*/ 6 w 170"/>
                <a:gd name="T115" fmla="*/ 86 h 272"/>
                <a:gd name="T116" fmla="*/ 6 w 170"/>
                <a:gd name="T117" fmla="*/ 60 h 272"/>
                <a:gd name="T118" fmla="*/ 8 w 170"/>
                <a:gd name="T119" fmla="*/ 34 h 272"/>
                <a:gd name="T120" fmla="*/ 4 w 170"/>
                <a:gd name="T121" fmla="*/ 12 h 272"/>
                <a:gd name="T122" fmla="*/ 24 w 170"/>
                <a:gd name="T123" fmla="*/ 250 h 2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0" h="272">
                  <a:moveTo>
                    <a:pt x="24" y="270"/>
                  </a:moveTo>
                  <a:lnTo>
                    <a:pt x="26" y="270"/>
                  </a:lnTo>
                  <a:lnTo>
                    <a:pt x="24" y="270"/>
                  </a:lnTo>
                  <a:lnTo>
                    <a:pt x="26" y="270"/>
                  </a:lnTo>
                  <a:lnTo>
                    <a:pt x="24" y="270"/>
                  </a:lnTo>
                  <a:lnTo>
                    <a:pt x="22" y="270"/>
                  </a:lnTo>
                  <a:lnTo>
                    <a:pt x="20" y="270"/>
                  </a:lnTo>
                  <a:lnTo>
                    <a:pt x="18" y="270"/>
                  </a:lnTo>
                  <a:lnTo>
                    <a:pt x="16" y="270"/>
                  </a:lnTo>
                  <a:lnTo>
                    <a:pt x="16" y="272"/>
                  </a:lnTo>
                  <a:lnTo>
                    <a:pt x="14" y="272"/>
                  </a:lnTo>
                  <a:lnTo>
                    <a:pt x="16" y="272"/>
                  </a:lnTo>
                  <a:lnTo>
                    <a:pt x="16" y="270"/>
                  </a:lnTo>
                  <a:lnTo>
                    <a:pt x="18" y="270"/>
                  </a:lnTo>
                  <a:lnTo>
                    <a:pt x="20" y="270"/>
                  </a:lnTo>
                  <a:lnTo>
                    <a:pt x="22" y="270"/>
                  </a:lnTo>
                  <a:lnTo>
                    <a:pt x="24" y="270"/>
                  </a:lnTo>
                  <a:lnTo>
                    <a:pt x="22" y="270"/>
                  </a:lnTo>
                  <a:lnTo>
                    <a:pt x="24" y="270"/>
                  </a:lnTo>
                  <a:close/>
                  <a:moveTo>
                    <a:pt x="16" y="266"/>
                  </a:moveTo>
                  <a:lnTo>
                    <a:pt x="16" y="264"/>
                  </a:lnTo>
                  <a:lnTo>
                    <a:pt x="16" y="266"/>
                  </a:lnTo>
                  <a:close/>
                  <a:moveTo>
                    <a:pt x="30" y="248"/>
                  </a:moveTo>
                  <a:lnTo>
                    <a:pt x="30" y="246"/>
                  </a:lnTo>
                  <a:lnTo>
                    <a:pt x="30" y="248"/>
                  </a:lnTo>
                  <a:close/>
                  <a:moveTo>
                    <a:pt x="28" y="246"/>
                  </a:moveTo>
                  <a:lnTo>
                    <a:pt x="28" y="248"/>
                  </a:lnTo>
                  <a:lnTo>
                    <a:pt x="28" y="246"/>
                  </a:lnTo>
                  <a:lnTo>
                    <a:pt x="28" y="248"/>
                  </a:lnTo>
                  <a:lnTo>
                    <a:pt x="28" y="246"/>
                  </a:lnTo>
                  <a:close/>
                  <a:moveTo>
                    <a:pt x="26" y="246"/>
                  </a:moveTo>
                  <a:lnTo>
                    <a:pt x="26" y="248"/>
                  </a:lnTo>
                  <a:lnTo>
                    <a:pt x="26" y="246"/>
                  </a:lnTo>
                  <a:close/>
                  <a:moveTo>
                    <a:pt x="30" y="246"/>
                  </a:moveTo>
                  <a:lnTo>
                    <a:pt x="28" y="246"/>
                  </a:lnTo>
                  <a:lnTo>
                    <a:pt x="30" y="246"/>
                  </a:lnTo>
                  <a:lnTo>
                    <a:pt x="28" y="246"/>
                  </a:lnTo>
                  <a:lnTo>
                    <a:pt x="30" y="246"/>
                  </a:lnTo>
                  <a:lnTo>
                    <a:pt x="28" y="246"/>
                  </a:lnTo>
                  <a:lnTo>
                    <a:pt x="30" y="246"/>
                  </a:lnTo>
                  <a:lnTo>
                    <a:pt x="30" y="248"/>
                  </a:lnTo>
                  <a:lnTo>
                    <a:pt x="30" y="246"/>
                  </a:lnTo>
                  <a:lnTo>
                    <a:pt x="28" y="246"/>
                  </a:lnTo>
                  <a:lnTo>
                    <a:pt x="28" y="248"/>
                  </a:lnTo>
                  <a:lnTo>
                    <a:pt x="28" y="246"/>
                  </a:lnTo>
                  <a:lnTo>
                    <a:pt x="30" y="246"/>
                  </a:lnTo>
                  <a:close/>
                  <a:moveTo>
                    <a:pt x="28" y="244"/>
                  </a:moveTo>
                  <a:lnTo>
                    <a:pt x="28" y="246"/>
                  </a:lnTo>
                  <a:lnTo>
                    <a:pt x="28" y="244"/>
                  </a:lnTo>
                  <a:lnTo>
                    <a:pt x="28" y="244"/>
                  </a:lnTo>
                  <a:lnTo>
                    <a:pt x="28" y="246"/>
                  </a:lnTo>
                  <a:lnTo>
                    <a:pt x="28" y="246"/>
                  </a:lnTo>
                  <a:lnTo>
                    <a:pt x="28" y="246"/>
                  </a:lnTo>
                  <a:lnTo>
                    <a:pt x="28" y="244"/>
                  </a:lnTo>
                  <a:lnTo>
                    <a:pt x="28" y="244"/>
                  </a:lnTo>
                  <a:close/>
                  <a:moveTo>
                    <a:pt x="28" y="242"/>
                  </a:moveTo>
                  <a:lnTo>
                    <a:pt x="30" y="242"/>
                  </a:lnTo>
                  <a:lnTo>
                    <a:pt x="28" y="242"/>
                  </a:lnTo>
                  <a:lnTo>
                    <a:pt x="28" y="244"/>
                  </a:lnTo>
                  <a:lnTo>
                    <a:pt x="28" y="246"/>
                  </a:lnTo>
                  <a:lnTo>
                    <a:pt x="28" y="244"/>
                  </a:lnTo>
                  <a:lnTo>
                    <a:pt x="28" y="246"/>
                  </a:lnTo>
                  <a:lnTo>
                    <a:pt x="28" y="244"/>
                  </a:lnTo>
                  <a:lnTo>
                    <a:pt x="28" y="242"/>
                  </a:lnTo>
                  <a:close/>
                  <a:moveTo>
                    <a:pt x="26" y="242"/>
                  </a:moveTo>
                  <a:lnTo>
                    <a:pt x="26" y="244"/>
                  </a:lnTo>
                  <a:lnTo>
                    <a:pt x="28" y="244"/>
                  </a:lnTo>
                  <a:lnTo>
                    <a:pt x="28" y="246"/>
                  </a:lnTo>
                  <a:lnTo>
                    <a:pt x="28" y="244"/>
                  </a:lnTo>
                  <a:lnTo>
                    <a:pt x="26" y="244"/>
                  </a:lnTo>
                  <a:lnTo>
                    <a:pt x="26" y="242"/>
                  </a:lnTo>
                  <a:lnTo>
                    <a:pt x="26" y="244"/>
                  </a:lnTo>
                  <a:lnTo>
                    <a:pt x="26" y="246"/>
                  </a:lnTo>
                  <a:lnTo>
                    <a:pt x="28" y="246"/>
                  </a:lnTo>
                  <a:lnTo>
                    <a:pt x="26" y="246"/>
                  </a:lnTo>
                  <a:lnTo>
                    <a:pt x="26" y="244"/>
                  </a:lnTo>
                  <a:lnTo>
                    <a:pt x="26" y="246"/>
                  </a:lnTo>
                  <a:lnTo>
                    <a:pt x="26" y="244"/>
                  </a:lnTo>
                  <a:lnTo>
                    <a:pt x="26" y="242"/>
                  </a:lnTo>
                  <a:close/>
                  <a:moveTo>
                    <a:pt x="28" y="240"/>
                  </a:moveTo>
                  <a:lnTo>
                    <a:pt x="28" y="242"/>
                  </a:lnTo>
                  <a:lnTo>
                    <a:pt x="30" y="242"/>
                  </a:lnTo>
                  <a:lnTo>
                    <a:pt x="28" y="242"/>
                  </a:lnTo>
                  <a:lnTo>
                    <a:pt x="28" y="244"/>
                  </a:lnTo>
                  <a:lnTo>
                    <a:pt x="28" y="242"/>
                  </a:lnTo>
                  <a:lnTo>
                    <a:pt x="28" y="242"/>
                  </a:lnTo>
                  <a:lnTo>
                    <a:pt x="28" y="242"/>
                  </a:lnTo>
                  <a:lnTo>
                    <a:pt x="28" y="242"/>
                  </a:lnTo>
                  <a:lnTo>
                    <a:pt x="28" y="244"/>
                  </a:lnTo>
                  <a:lnTo>
                    <a:pt x="28" y="244"/>
                  </a:lnTo>
                  <a:lnTo>
                    <a:pt x="28" y="244"/>
                  </a:lnTo>
                  <a:lnTo>
                    <a:pt x="28" y="244"/>
                  </a:lnTo>
                  <a:lnTo>
                    <a:pt x="28" y="246"/>
                  </a:lnTo>
                  <a:lnTo>
                    <a:pt x="28" y="244"/>
                  </a:lnTo>
                  <a:lnTo>
                    <a:pt x="28" y="242"/>
                  </a:lnTo>
                  <a:lnTo>
                    <a:pt x="28" y="240"/>
                  </a:lnTo>
                  <a:lnTo>
                    <a:pt x="28" y="240"/>
                  </a:lnTo>
                  <a:close/>
                  <a:moveTo>
                    <a:pt x="30" y="238"/>
                  </a:moveTo>
                  <a:lnTo>
                    <a:pt x="30" y="240"/>
                  </a:lnTo>
                  <a:lnTo>
                    <a:pt x="28" y="240"/>
                  </a:lnTo>
                  <a:lnTo>
                    <a:pt x="30" y="240"/>
                  </a:lnTo>
                  <a:lnTo>
                    <a:pt x="28" y="240"/>
                  </a:lnTo>
                  <a:lnTo>
                    <a:pt x="30" y="240"/>
                  </a:lnTo>
                  <a:lnTo>
                    <a:pt x="30" y="238"/>
                  </a:lnTo>
                  <a:lnTo>
                    <a:pt x="30" y="240"/>
                  </a:lnTo>
                  <a:lnTo>
                    <a:pt x="28" y="240"/>
                  </a:lnTo>
                  <a:lnTo>
                    <a:pt x="30" y="240"/>
                  </a:lnTo>
                  <a:lnTo>
                    <a:pt x="30" y="238"/>
                  </a:lnTo>
                  <a:close/>
                  <a:moveTo>
                    <a:pt x="28" y="238"/>
                  </a:moveTo>
                  <a:lnTo>
                    <a:pt x="28" y="240"/>
                  </a:lnTo>
                  <a:lnTo>
                    <a:pt x="26" y="240"/>
                  </a:lnTo>
                  <a:lnTo>
                    <a:pt x="28" y="240"/>
                  </a:lnTo>
                  <a:lnTo>
                    <a:pt x="28" y="238"/>
                  </a:lnTo>
                  <a:close/>
                  <a:moveTo>
                    <a:pt x="28" y="238"/>
                  </a:moveTo>
                  <a:lnTo>
                    <a:pt x="30" y="238"/>
                  </a:lnTo>
                  <a:lnTo>
                    <a:pt x="28" y="240"/>
                  </a:lnTo>
                  <a:lnTo>
                    <a:pt x="30" y="240"/>
                  </a:lnTo>
                  <a:lnTo>
                    <a:pt x="30" y="242"/>
                  </a:lnTo>
                  <a:lnTo>
                    <a:pt x="28" y="242"/>
                  </a:lnTo>
                  <a:lnTo>
                    <a:pt x="28" y="240"/>
                  </a:lnTo>
                  <a:lnTo>
                    <a:pt x="28" y="240"/>
                  </a:lnTo>
                  <a:lnTo>
                    <a:pt x="28" y="240"/>
                  </a:lnTo>
                  <a:lnTo>
                    <a:pt x="28" y="240"/>
                  </a:lnTo>
                  <a:lnTo>
                    <a:pt x="28" y="240"/>
                  </a:lnTo>
                  <a:lnTo>
                    <a:pt x="28" y="240"/>
                  </a:lnTo>
                  <a:lnTo>
                    <a:pt x="28" y="240"/>
                  </a:lnTo>
                  <a:lnTo>
                    <a:pt x="28" y="240"/>
                  </a:lnTo>
                  <a:lnTo>
                    <a:pt x="28" y="242"/>
                  </a:lnTo>
                  <a:lnTo>
                    <a:pt x="28" y="240"/>
                  </a:lnTo>
                  <a:lnTo>
                    <a:pt x="28" y="242"/>
                  </a:lnTo>
                  <a:lnTo>
                    <a:pt x="26" y="242"/>
                  </a:lnTo>
                  <a:lnTo>
                    <a:pt x="26" y="240"/>
                  </a:lnTo>
                  <a:lnTo>
                    <a:pt x="28" y="240"/>
                  </a:lnTo>
                  <a:lnTo>
                    <a:pt x="28" y="238"/>
                  </a:lnTo>
                  <a:lnTo>
                    <a:pt x="28" y="238"/>
                  </a:lnTo>
                  <a:close/>
                  <a:moveTo>
                    <a:pt x="28" y="236"/>
                  </a:moveTo>
                  <a:lnTo>
                    <a:pt x="28" y="236"/>
                  </a:lnTo>
                  <a:lnTo>
                    <a:pt x="28" y="238"/>
                  </a:lnTo>
                  <a:lnTo>
                    <a:pt x="28" y="238"/>
                  </a:lnTo>
                  <a:lnTo>
                    <a:pt x="28" y="238"/>
                  </a:lnTo>
                  <a:lnTo>
                    <a:pt x="28" y="236"/>
                  </a:lnTo>
                  <a:lnTo>
                    <a:pt x="28" y="238"/>
                  </a:lnTo>
                  <a:lnTo>
                    <a:pt x="28" y="238"/>
                  </a:lnTo>
                  <a:lnTo>
                    <a:pt x="28" y="236"/>
                  </a:lnTo>
                  <a:lnTo>
                    <a:pt x="28" y="238"/>
                  </a:lnTo>
                  <a:lnTo>
                    <a:pt x="28" y="236"/>
                  </a:lnTo>
                  <a:close/>
                  <a:moveTo>
                    <a:pt x="28" y="236"/>
                  </a:moveTo>
                  <a:lnTo>
                    <a:pt x="28" y="234"/>
                  </a:lnTo>
                  <a:lnTo>
                    <a:pt x="30" y="234"/>
                  </a:lnTo>
                  <a:lnTo>
                    <a:pt x="30" y="236"/>
                  </a:lnTo>
                  <a:lnTo>
                    <a:pt x="28" y="236"/>
                  </a:lnTo>
                  <a:close/>
                  <a:moveTo>
                    <a:pt x="6" y="8"/>
                  </a:moveTo>
                  <a:lnTo>
                    <a:pt x="8" y="8"/>
                  </a:lnTo>
                  <a:lnTo>
                    <a:pt x="10" y="8"/>
                  </a:lnTo>
                  <a:lnTo>
                    <a:pt x="12" y="8"/>
                  </a:lnTo>
                  <a:lnTo>
                    <a:pt x="14" y="8"/>
                  </a:lnTo>
                  <a:lnTo>
                    <a:pt x="16" y="8"/>
                  </a:lnTo>
                  <a:lnTo>
                    <a:pt x="18" y="8"/>
                  </a:lnTo>
                  <a:lnTo>
                    <a:pt x="20" y="8"/>
                  </a:lnTo>
                  <a:lnTo>
                    <a:pt x="22" y="8"/>
                  </a:lnTo>
                  <a:lnTo>
                    <a:pt x="24" y="8"/>
                  </a:lnTo>
                  <a:lnTo>
                    <a:pt x="26" y="8"/>
                  </a:lnTo>
                  <a:lnTo>
                    <a:pt x="28" y="8"/>
                  </a:lnTo>
                  <a:lnTo>
                    <a:pt x="28" y="8"/>
                  </a:lnTo>
                  <a:lnTo>
                    <a:pt x="30" y="8"/>
                  </a:lnTo>
                  <a:lnTo>
                    <a:pt x="32" y="8"/>
                  </a:lnTo>
                  <a:lnTo>
                    <a:pt x="34" y="8"/>
                  </a:lnTo>
                  <a:lnTo>
                    <a:pt x="34" y="6"/>
                  </a:lnTo>
                  <a:lnTo>
                    <a:pt x="36" y="6"/>
                  </a:lnTo>
                  <a:lnTo>
                    <a:pt x="38" y="6"/>
                  </a:lnTo>
                  <a:lnTo>
                    <a:pt x="40" y="6"/>
                  </a:lnTo>
                  <a:lnTo>
                    <a:pt x="42" y="6"/>
                  </a:lnTo>
                  <a:lnTo>
                    <a:pt x="44" y="6"/>
                  </a:lnTo>
                  <a:lnTo>
                    <a:pt x="46" y="6"/>
                  </a:lnTo>
                  <a:lnTo>
                    <a:pt x="48" y="6"/>
                  </a:lnTo>
                  <a:lnTo>
                    <a:pt x="50" y="6"/>
                  </a:lnTo>
                  <a:lnTo>
                    <a:pt x="52" y="6"/>
                  </a:lnTo>
                  <a:lnTo>
                    <a:pt x="54" y="6"/>
                  </a:lnTo>
                  <a:lnTo>
                    <a:pt x="56" y="6"/>
                  </a:lnTo>
                  <a:lnTo>
                    <a:pt x="58" y="6"/>
                  </a:lnTo>
                  <a:lnTo>
                    <a:pt x="60" y="6"/>
                  </a:lnTo>
                  <a:lnTo>
                    <a:pt x="62" y="6"/>
                  </a:lnTo>
                  <a:lnTo>
                    <a:pt x="64" y="6"/>
                  </a:lnTo>
                  <a:lnTo>
                    <a:pt x="66" y="6"/>
                  </a:lnTo>
                  <a:lnTo>
                    <a:pt x="68" y="6"/>
                  </a:lnTo>
                  <a:lnTo>
                    <a:pt x="68" y="4"/>
                  </a:lnTo>
                  <a:lnTo>
                    <a:pt x="70" y="4"/>
                  </a:lnTo>
                  <a:lnTo>
                    <a:pt x="72" y="4"/>
                  </a:lnTo>
                  <a:lnTo>
                    <a:pt x="74" y="4"/>
                  </a:lnTo>
                  <a:lnTo>
                    <a:pt x="76" y="4"/>
                  </a:lnTo>
                  <a:lnTo>
                    <a:pt x="76" y="4"/>
                  </a:lnTo>
                  <a:lnTo>
                    <a:pt x="78" y="4"/>
                  </a:lnTo>
                  <a:lnTo>
                    <a:pt x="80" y="4"/>
                  </a:lnTo>
                  <a:lnTo>
                    <a:pt x="82" y="4"/>
                  </a:lnTo>
                  <a:lnTo>
                    <a:pt x="84" y="4"/>
                  </a:lnTo>
                  <a:lnTo>
                    <a:pt x="86" y="4"/>
                  </a:lnTo>
                  <a:lnTo>
                    <a:pt x="88" y="4"/>
                  </a:lnTo>
                  <a:lnTo>
                    <a:pt x="90" y="4"/>
                  </a:lnTo>
                  <a:lnTo>
                    <a:pt x="92" y="4"/>
                  </a:lnTo>
                  <a:lnTo>
                    <a:pt x="92" y="2"/>
                  </a:lnTo>
                  <a:lnTo>
                    <a:pt x="94" y="2"/>
                  </a:lnTo>
                  <a:lnTo>
                    <a:pt x="96" y="2"/>
                  </a:lnTo>
                  <a:lnTo>
                    <a:pt x="98" y="2"/>
                  </a:lnTo>
                  <a:lnTo>
                    <a:pt x="100" y="2"/>
                  </a:lnTo>
                  <a:lnTo>
                    <a:pt x="102" y="2"/>
                  </a:lnTo>
                  <a:lnTo>
                    <a:pt x="104" y="2"/>
                  </a:lnTo>
                  <a:lnTo>
                    <a:pt x="106" y="2"/>
                  </a:lnTo>
                  <a:lnTo>
                    <a:pt x="108" y="2"/>
                  </a:lnTo>
                  <a:lnTo>
                    <a:pt x="110" y="2"/>
                  </a:lnTo>
                  <a:lnTo>
                    <a:pt x="112" y="2"/>
                  </a:lnTo>
                  <a:lnTo>
                    <a:pt x="114" y="2"/>
                  </a:lnTo>
                  <a:lnTo>
                    <a:pt x="116" y="2"/>
                  </a:lnTo>
                  <a:lnTo>
                    <a:pt x="116" y="0"/>
                  </a:lnTo>
                  <a:lnTo>
                    <a:pt x="118" y="0"/>
                  </a:lnTo>
                  <a:lnTo>
                    <a:pt x="120" y="0"/>
                  </a:lnTo>
                  <a:lnTo>
                    <a:pt x="120" y="2"/>
                  </a:lnTo>
                  <a:lnTo>
                    <a:pt x="120" y="4"/>
                  </a:lnTo>
                  <a:lnTo>
                    <a:pt x="122" y="4"/>
                  </a:lnTo>
                  <a:lnTo>
                    <a:pt x="122" y="6"/>
                  </a:lnTo>
                  <a:lnTo>
                    <a:pt x="122" y="8"/>
                  </a:lnTo>
                  <a:lnTo>
                    <a:pt x="122" y="10"/>
                  </a:lnTo>
                  <a:lnTo>
                    <a:pt x="122" y="12"/>
                  </a:lnTo>
                  <a:lnTo>
                    <a:pt x="124" y="12"/>
                  </a:lnTo>
                  <a:lnTo>
                    <a:pt x="124" y="14"/>
                  </a:lnTo>
                  <a:lnTo>
                    <a:pt x="124" y="16"/>
                  </a:lnTo>
                  <a:lnTo>
                    <a:pt x="124" y="18"/>
                  </a:lnTo>
                  <a:lnTo>
                    <a:pt x="124" y="20"/>
                  </a:lnTo>
                  <a:lnTo>
                    <a:pt x="124" y="22"/>
                  </a:lnTo>
                  <a:lnTo>
                    <a:pt x="124" y="24"/>
                  </a:lnTo>
                  <a:lnTo>
                    <a:pt x="124" y="24"/>
                  </a:lnTo>
                  <a:lnTo>
                    <a:pt x="126" y="24"/>
                  </a:lnTo>
                  <a:lnTo>
                    <a:pt x="126" y="26"/>
                  </a:lnTo>
                  <a:lnTo>
                    <a:pt x="126" y="28"/>
                  </a:lnTo>
                  <a:lnTo>
                    <a:pt x="126" y="30"/>
                  </a:lnTo>
                  <a:lnTo>
                    <a:pt x="126" y="32"/>
                  </a:lnTo>
                  <a:lnTo>
                    <a:pt x="128" y="32"/>
                  </a:lnTo>
                  <a:lnTo>
                    <a:pt x="128" y="34"/>
                  </a:lnTo>
                  <a:lnTo>
                    <a:pt x="128" y="36"/>
                  </a:lnTo>
                  <a:lnTo>
                    <a:pt x="128" y="38"/>
                  </a:lnTo>
                  <a:lnTo>
                    <a:pt x="130" y="38"/>
                  </a:lnTo>
                  <a:lnTo>
                    <a:pt x="130" y="40"/>
                  </a:lnTo>
                  <a:lnTo>
                    <a:pt x="130" y="42"/>
                  </a:lnTo>
                  <a:lnTo>
                    <a:pt x="130" y="44"/>
                  </a:lnTo>
                  <a:lnTo>
                    <a:pt x="130" y="46"/>
                  </a:lnTo>
                  <a:lnTo>
                    <a:pt x="132" y="46"/>
                  </a:lnTo>
                  <a:lnTo>
                    <a:pt x="132" y="48"/>
                  </a:lnTo>
                  <a:lnTo>
                    <a:pt x="132" y="50"/>
                  </a:lnTo>
                  <a:lnTo>
                    <a:pt x="132" y="52"/>
                  </a:lnTo>
                  <a:lnTo>
                    <a:pt x="132" y="54"/>
                  </a:lnTo>
                  <a:lnTo>
                    <a:pt x="134" y="54"/>
                  </a:lnTo>
                  <a:lnTo>
                    <a:pt x="134" y="56"/>
                  </a:lnTo>
                  <a:lnTo>
                    <a:pt x="134" y="58"/>
                  </a:lnTo>
                  <a:lnTo>
                    <a:pt x="134" y="60"/>
                  </a:lnTo>
                  <a:lnTo>
                    <a:pt x="136" y="60"/>
                  </a:lnTo>
                  <a:lnTo>
                    <a:pt x="136" y="62"/>
                  </a:lnTo>
                  <a:lnTo>
                    <a:pt x="136" y="64"/>
                  </a:lnTo>
                  <a:lnTo>
                    <a:pt x="136" y="66"/>
                  </a:lnTo>
                  <a:lnTo>
                    <a:pt x="136" y="68"/>
                  </a:lnTo>
                  <a:lnTo>
                    <a:pt x="138" y="68"/>
                  </a:lnTo>
                  <a:lnTo>
                    <a:pt x="138" y="70"/>
                  </a:lnTo>
                  <a:lnTo>
                    <a:pt x="138" y="72"/>
                  </a:lnTo>
                  <a:lnTo>
                    <a:pt x="138" y="72"/>
                  </a:lnTo>
                  <a:lnTo>
                    <a:pt x="138" y="74"/>
                  </a:lnTo>
                  <a:lnTo>
                    <a:pt x="140" y="74"/>
                  </a:lnTo>
                  <a:lnTo>
                    <a:pt x="140" y="76"/>
                  </a:lnTo>
                  <a:lnTo>
                    <a:pt x="140" y="78"/>
                  </a:lnTo>
                  <a:lnTo>
                    <a:pt x="140" y="80"/>
                  </a:lnTo>
                  <a:lnTo>
                    <a:pt x="142" y="82"/>
                  </a:lnTo>
                  <a:lnTo>
                    <a:pt x="142" y="84"/>
                  </a:lnTo>
                  <a:lnTo>
                    <a:pt x="142" y="86"/>
                  </a:lnTo>
                  <a:lnTo>
                    <a:pt x="142" y="88"/>
                  </a:lnTo>
                  <a:lnTo>
                    <a:pt x="144" y="88"/>
                  </a:lnTo>
                  <a:lnTo>
                    <a:pt x="144" y="90"/>
                  </a:lnTo>
                  <a:lnTo>
                    <a:pt x="144" y="92"/>
                  </a:lnTo>
                  <a:lnTo>
                    <a:pt x="144" y="94"/>
                  </a:lnTo>
                  <a:lnTo>
                    <a:pt x="144" y="96"/>
                  </a:lnTo>
                  <a:lnTo>
                    <a:pt x="146" y="96"/>
                  </a:lnTo>
                  <a:lnTo>
                    <a:pt x="146" y="98"/>
                  </a:lnTo>
                  <a:lnTo>
                    <a:pt x="146" y="100"/>
                  </a:lnTo>
                  <a:lnTo>
                    <a:pt x="146" y="102"/>
                  </a:lnTo>
                  <a:lnTo>
                    <a:pt x="148" y="104"/>
                  </a:lnTo>
                  <a:lnTo>
                    <a:pt x="148" y="106"/>
                  </a:lnTo>
                  <a:lnTo>
                    <a:pt x="148" y="108"/>
                  </a:lnTo>
                  <a:lnTo>
                    <a:pt x="148" y="110"/>
                  </a:lnTo>
                  <a:lnTo>
                    <a:pt x="150" y="110"/>
                  </a:lnTo>
                  <a:lnTo>
                    <a:pt x="150" y="112"/>
                  </a:lnTo>
                  <a:lnTo>
                    <a:pt x="150" y="114"/>
                  </a:lnTo>
                  <a:lnTo>
                    <a:pt x="150" y="116"/>
                  </a:lnTo>
                  <a:lnTo>
                    <a:pt x="152" y="116"/>
                  </a:lnTo>
                  <a:lnTo>
                    <a:pt x="152" y="118"/>
                  </a:lnTo>
                  <a:lnTo>
                    <a:pt x="152" y="120"/>
                  </a:lnTo>
                  <a:lnTo>
                    <a:pt x="154" y="120"/>
                  </a:lnTo>
                  <a:lnTo>
                    <a:pt x="152" y="120"/>
                  </a:lnTo>
                  <a:lnTo>
                    <a:pt x="154" y="120"/>
                  </a:lnTo>
                  <a:lnTo>
                    <a:pt x="154" y="120"/>
                  </a:lnTo>
                  <a:lnTo>
                    <a:pt x="154" y="122"/>
                  </a:lnTo>
                  <a:lnTo>
                    <a:pt x="156" y="122"/>
                  </a:lnTo>
                  <a:lnTo>
                    <a:pt x="156" y="124"/>
                  </a:lnTo>
                  <a:lnTo>
                    <a:pt x="156" y="126"/>
                  </a:lnTo>
                  <a:lnTo>
                    <a:pt x="156" y="128"/>
                  </a:lnTo>
                  <a:lnTo>
                    <a:pt x="158" y="128"/>
                  </a:lnTo>
                  <a:lnTo>
                    <a:pt x="158" y="130"/>
                  </a:lnTo>
                  <a:lnTo>
                    <a:pt x="160" y="130"/>
                  </a:lnTo>
                  <a:lnTo>
                    <a:pt x="160" y="132"/>
                  </a:lnTo>
                  <a:lnTo>
                    <a:pt x="162" y="132"/>
                  </a:lnTo>
                  <a:lnTo>
                    <a:pt x="162" y="134"/>
                  </a:lnTo>
                  <a:lnTo>
                    <a:pt x="162" y="136"/>
                  </a:lnTo>
                  <a:lnTo>
                    <a:pt x="164" y="136"/>
                  </a:lnTo>
                  <a:lnTo>
                    <a:pt x="164" y="138"/>
                  </a:lnTo>
                  <a:lnTo>
                    <a:pt x="162" y="138"/>
                  </a:lnTo>
                  <a:lnTo>
                    <a:pt x="164" y="138"/>
                  </a:lnTo>
                  <a:lnTo>
                    <a:pt x="162" y="138"/>
                  </a:lnTo>
                  <a:lnTo>
                    <a:pt x="162" y="140"/>
                  </a:lnTo>
                  <a:lnTo>
                    <a:pt x="164" y="140"/>
                  </a:lnTo>
                  <a:lnTo>
                    <a:pt x="162" y="140"/>
                  </a:lnTo>
                  <a:lnTo>
                    <a:pt x="162" y="142"/>
                  </a:lnTo>
                  <a:lnTo>
                    <a:pt x="164" y="142"/>
                  </a:lnTo>
                  <a:lnTo>
                    <a:pt x="164" y="144"/>
                  </a:lnTo>
                  <a:lnTo>
                    <a:pt x="166" y="144"/>
                  </a:lnTo>
                  <a:lnTo>
                    <a:pt x="168" y="144"/>
                  </a:lnTo>
                  <a:lnTo>
                    <a:pt x="168" y="146"/>
                  </a:lnTo>
                  <a:lnTo>
                    <a:pt x="166" y="146"/>
                  </a:lnTo>
                  <a:lnTo>
                    <a:pt x="168" y="146"/>
                  </a:lnTo>
                  <a:lnTo>
                    <a:pt x="168" y="148"/>
                  </a:lnTo>
                  <a:lnTo>
                    <a:pt x="166" y="148"/>
                  </a:lnTo>
                  <a:lnTo>
                    <a:pt x="164" y="148"/>
                  </a:lnTo>
                  <a:lnTo>
                    <a:pt x="164" y="150"/>
                  </a:lnTo>
                  <a:lnTo>
                    <a:pt x="166" y="150"/>
                  </a:lnTo>
                  <a:lnTo>
                    <a:pt x="164" y="150"/>
                  </a:lnTo>
                  <a:lnTo>
                    <a:pt x="162" y="150"/>
                  </a:lnTo>
                  <a:lnTo>
                    <a:pt x="162" y="152"/>
                  </a:lnTo>
                  <a:lnTo>
                    <a:pt x="162" y="154"/>
                  </a:lnTo>
                  <a:lnTo>
                    <a:pt x="160" y="154"/>
                  </a:lnTo>
                  <a:lnTo>
                    <a:pt x="162" y="156"/>
                  </a:lnTo>
                  <a:lnTo>
                    <a:pt x="162" y="158"/>
                  </a:lnTo>
                  <a:lnTo>
                    <a:pt x="162" y="160"/>
                  </a:lnTo>
                  <a:lnTo>
                    <a:pt x="162" y="162"/>
                  </a:lnTo>
                  <a:lnTo>
                    <a:pt x="162" y="164"/>
                  </a:lnTo>
                  <a:lnTo>
                    <a:pt x="160" y="164"/>
                  </a:lnTo>
                  <a:lnTo>
                    <a:pt x="160" y="166"/>
                  </a:lnTo>
                  <a:lnTo>
                    <a:pt x="160" y="168"/>
                  </a:lnTo>
                  <a:lnTo>
                    <a:pt x="158" y="168"/>
                  </a:lnTo>
                  <a:lnTo>
                    <a:pt x="158" y="168"/>
                  </a:lnTo>
                  <a:lnTo>
                    <a:pt x="158" y="170"/>
                  </a:lnTo>
                  <a:lnTo>
                    <a:pt x="160" y="170"/>
                  </a:lnTo>
                  <a:lnTo>
                    <a:pt x="158" y="170"/>
                  </a:lnTo>
                  <a:lnTo>
                    <a:pt x="160" y="170"/>
                  </a:lnTo>
                  <a:lnTo>
                    <a:pt x="160" y="172"/>
                  </a:lnTo>
                  <a:lnTo>
                    <a:pt x="158" y="172"/>
                  </a:lnTo>
                  <a:lnTo>
                    <a:pt x="160" y="172"/>
                  </a:lnTo>
                  <a:lnTo>
                    <a:pt x="160" y="174"/>
                  </a:lnTo>
                  <a:lnTo>
                    <a:pt x="160" y="176"/>
                  </a:lnTo>
                  <a:lnTo>
                    <a:pt x="160" y="178"/>
                  </a:lnTo>
                  <a:lnTo>
                    <a:pt x="162" y="178"/>
                  </a:lnTo>
                  <a:lnTo>
                    <a:pt x="162" y="180"/>
                  </a:lnTo>
                  <a:lnTo>
                    <a:pt x="164" y="180"/>
                  </a:lnTo>
                  <a:lnTo>
                    <a:pt x="164" y="182"/>
                  </a:lnTo>
                  <a:lnTo>
                    <a:pt x="164" y="184"/>
                  </a:lnTo>
                  <a:lnTo>
                    <a:pt x="164" y="186"/>
                  </a:lnTo>
                  <a:lnTo>
                    <a:pt x="166" y="186"/>
                  </a:lnTo>
                  <a:lnTo>
                    <a:pt x="166" y="188"/>
                  </a:lnTo>
                  <a:lnTo>
                    <a:pt x="164" y="188"/>
                  </a:lnTo>
                  <a:lnTo>
                    <a:pt x="164" y="190"/>
                  </a:lnTo>
                  <a:lnTo>
                    <a:pt x="164" y="192"/>
                  </a:lnTo>
                  <a:lnTo>
                    <a:pt x="164" y="194"/>
                  </a:lnTo>
                  <a:lnTo>
                    <a:pt x="164" y="196"/>
                  </a:lnTo>
                  <a:lnTo>
                    <a:pt x="164" y="198"/>
                  </a:lnTo>
                  <a:lnTo>
                    <a:pt x="164" y="200"/>
                  </a:lnTo>
                  <a:lnTo>
                    <a:pt x="164" y="202"/>
                  </a:lnTo>
                  <a:lnTo>
                    <a:pt x="164" y="204"/>
                  </a:lnTo>
                  <a:lnTo>
                    <a:pt x="164" y="206"/>
                  </a:lnTo>
                  <a:lnTo>
                    <a:pt x="164" y="208"/>
                  </a:lnTo>
                  <a:lnTo>
                    <a:pt x="166" y="208"/>
                  </a:lnTo>
                  <a:lnTo>
                    <a:pt x="166" y="210"/>
                  </a:lnTo>
                  <a:lnTo>
                    <a:pt x="168" y="210"/>
                  </a:lnTo>
                  <a:lnTo>
                    <a:pt x="168" y="212"/>
                  </a:lnTo>
                  <a:lnTo>
                    <a:pt x="168" y="214"/>
                  </a:lnTo>
                  <a:lnTo>
                    <a:pt x="170" y="214"/>
                  </a:lnTo>
                  <a:lnTo>
                    <a:pt x="170" y="216"/>
                  </a:lnTo>
                  <a:lnTo>
                    <a:pt x="170" y="216"/>
                  </a:lnTo>
                  <a:lnTo>
                    <a:pt x="168" y="216"/>
                  </a:lnTo>
                  <a:lnTo>
                    <a:pt x="166" y="216"/>
                  </a:lnTo>
                  <a:lnTo>
                    <a:pt x="164" y="216"/>
                  </a:lnTo>
                  <a:lnTo>
                    <a:pt x="162" y="216"/>
                  </a:lnTo>
                  <a:lnTo>
                    <a:pt x="160" y="216"/>
                  </a:lnTo>
                  <a:lnTo>
                    <a:pt x="158" y="216"/>
                  </a:lnTo>
                  <a:lnTo>
                    <a:pt x="156" y="216"/>
                  </a:lnTo>
                  <a:lnTo>
                    <a:pt x="154" y="216"/>
                  </a:lnTo>
                  <a:lnTo>
                    <a:pt x="152" y="216"/>
                  </a:lnTo>
                  <a:lnTo>
                    <a:pt x="152" y="218"/>
                  </a:lnTo>
                  <a:lnTo>
                    <a:pt x="150" y="218"/>
                  </a:lnTo>
                  <a:lnTo>
                    <a:pt x="148" y="218"/>
                  </a:lnTo>
                  <a:lnTo>
                    <a:pt x="146" y="218"/>
                  </a:lnTo>
                  <a:lnTo>
                    <a:pt x="144" y="218"/>
                  </a:lnTo>
                  <a:lnTo>
                    <a:pt x="142" y="218"/>
                  </a:lnTo>
                  <a:lnTo>
                    <a:pt x="140" y="218"/>
                  </a:lnTo>
                  <a:lnTo>
                    <a:pt x="138" y="218"/>
                  </a:lnTo>
                  <a:lnTo>
                    <a:pt x="136" y="218"/>
                  </a:lnTo>
                  <a:lnTo>
                    <a:pt x="134" y="218"/>
                  </a:lnTo>
                  <a:lnTo>
                    <a:pt x="134" y="220"/>
                  </a:lnTo>
                  <a:lnTo>
                    <a:pt x="132" y="220"/>
                  </a:lnTo>
                  <a:lnTo>
                    <a:pt x="130" y="220"/>
                  </a:lnTo>
                  <a:lnTo>
                    <a:pt x="128" y="220"/>
                  </a:lnTo>
                  <a:lnTo>
                    <a:pt x="126" y="220"/>
                  </a:lnTo>
                  <a:lnTo>
                    <a:pt x="124" y="220"/>
                  </a:lnTo>
                  <a:lnTo>
                    <a:pt x="124" y="220"/>
                  </a:lnTo>
                  <a:lnTo>
                    <a:pt x="122" y="220"/>
                  </a:lnTo>
                  <a:lnTo>
                    <a:pt x="120" y="220"/>
                  </a:lnTo>
                  <a:lnTo>
                    <a:pt x="116" y="220"/>
                  </a:lnTo>
                  <a:lnTo>
                    <a:pt x="116" y="222"/>
                  </a:lnTo>
                  <a:lnTo>
                    <a:pt x="114" y="222"/>
                  </a:lnTo>
                  <a:lnTo>
                    <a:pt x="112" y="222"/>
                  </a:lnTo>
                  <a:lnTo>
                    <a:pt x="110" y="222"/>
                  </a:lnTo>
                  <a:lnTo>
                    <a:pt x="108" y="222"/>
                  </a:lnTo>
                  <a:lnTo>
                    <a:pt x="106" y="222"/>
                  </a:lnTo>
                  <a:lnTo>
                    <a:pt x="104" y="222"/>
                  </a:lnTo>
                  <a:lnTo>
                    <a:pt x="102" y="222"/>
                  </a:lnTo>
                  <a:lnTo>
                    <a:pt x="100" y="222"/>
                  </a:lnTo>
                  <a:lnTo>
                    <a:pt x="98" y="222"/>
                  </a:lnTo>
                  <a:lnTo>
                    <a:pt x="96" y="222"/>
                  </a:lnTo>
                  <a:lnTo>
                    <a:pt x="94" y="222"/>
                  </a:lnTo>
                  <a:lnTo>
                    <a:pt x="92" y="222"/>
                  </a:lnTo>
                  <a:lnTo>
                    <a:pt x="92" y="224"/>
                  </a:lnTo>
                  <a:lnTo>
                    <a:pt x="90" y="224"/>
                  </a:lnTo>
                  <a:lnTo>
                    <a:pt x="88" y="224"/>
                  </a:lnTo>
                  <a:lnTo>
                    <a:pt x="86" y="224"/>
                  </a:lnTo>
                  <a:lnTo>
                    <a:pt x="84" y="224"/>
                  </a:lnTo>
                  <a:lnTo>
                    <a:pt x="82" y="224"/>
                  </a:lnTo>
                  <a:lnTo>
                    <a:pt x="80" y="224"/>
                  </a:lnTo>
                  <a:lnTo>
                    <a:pt x="78" y="224"/>
                  </a:lnTo>
                  <a:lnTo>
                    <a:pt x="76" y="224"/>
                  </a:lnTo>
                  <a:lnTo>
                    <a:pt x="76" y="224"/>
                  </a:lnTo>
                  <a:lnTo>
                    <a:pt x="74" y="224"/>
                  </a:lnTo>
                  <a:lnTo>
                    <a:pt x="72" y="224"/>
                  </a:lnTo>
                  <a:lnTo>
                    <a:pt x="70" y="224"/>
                  </a:lnTo>
                  <a:lnTo>
                    <a:pt x="68" y="224"/>
                  </a:lnTo>
                  <a:lnTo>
                    <a:pt x="66" y="224"/>
                  </a:lnTo>
                  <a:lnTo>
                    <a:pt x="66" y="226"/>
                  </a:lnTo>
                  <a:lnTo>
                    <a:pt x="64" y="226"/>
                  </a:lnTo>
                  <a:lnTo>
                    <a:pt x="62" y="226"/>
                  </a:lnTo>
                  <a:lnTo>
                    <a:pt x="60" y="226"/>
                  </a:lnTo>
                  <a:lnTo>
                    <a:pt x="58" y="226"/>
                  </a:lnTo>
                  <a:lnTo>
                    <a:pt x="56" y="226"/>
                  </a:lnTo>
                  <a:lnTo>
                    <a:pt x="54" y="226"/>
                  </a:lnTo>
                  <a:lnTo>
                    <a:pt x="52" y="226"/>
                  </a:lnTo>
                  <a:lnTo>
                    <a:pt x="50" y="226"/>
                  </a:lnTo>
                  <a:lnTo>
                    <a:pt x="48" y="226"/>
                  </a:lnTo>
                  <a:lnTo>
                    <a:pt x="46" y="226"/>
                  </a:lnTo>
                  <a:lnTo>
                    <a:pt x="44" y="226"/>
                  </a:lnTo>
                  <a:lnTo>
                    <a:pt x="46" y="226"/>
                  </a:lnTo>
                  <a:lnTo>
                    <a:pt x="46" y="228"/>
                  </a:lnTo>
                  <a:lnTo>
                    <a:pt x="46" y="230"/>
                  </a:lnTo>
                  <a:lnTo>
                    <a:pt x="44" y="230"/>
                  </a:lnTo>
                  <a:lnTo>
                    <a:pt x="44" y="232"/>
                  </a:lnTo>
                  <a:lnTo>
                    <a:pt x="44" y="234"/>
                  </a:lnTo>
                  <a:lnTo>
                    <a:pt x="44" y="236"/>
                  </a:lnTo>
                  <a:lnTo>
                    <a:pt x="46" y="236"/>
                  </a:lnTo>
                  <a:lnTo>
                    <a:pt x="46" y="238"/>
                  </a:lnTo>
                  <a:lnTo>
                    <a:pt x="48" y="238"/>
                  </a:lnTo>
                  <a:lnTo>
                    <a:pt x="48" y="240"/>
                  </a:lnTo>
                  <a:lnTo>
                    <a:pt x="50" y="240"/>
                  </a:lnTo>
                  <a:lnTo>
                    <a:pt x="50" y="242"/>
                  </a:lnTo>
                  <a:lnTo>
                    <a:pt x="52" y="242"/>
                  </a:lnTo>
                  <a:lnTo>
                    <a:pt x="52" y="244"/>
                  </a:lnTo>
                  <a:lnTo>
                    <a:pt x="54" y="244"/>
                  </a:lnTo>
                  <a:lnTo>
                    <a:pt x="56" y="244"/>
                  </a:lnTo>
                  <a:lnTo>
                    <a:pt x="56" y="246"/>
                  </a:lnTo>
                  <a:lnTo>
                    <a:pt x="56" y="248"/>
                  </a:lnTo>
                  <a:lnTo>
                    <a:pt x="56" y="250"/>
                  </a:lnTo>
                  <a:lnTo>
                    <a:pt x="56" y="252"/>
                  </a:lnTo>
                  <a:lnTo>
                    <a:pt x="54" y="252"/>
                  </a:lnTo>
                  <a:lnTo>
                    <a:pt x="54" y="254"/>
                  </a:lnTo>
                  <a:lnTo>
                    <a:pt x="56" y="256"/>
                  </a:lnTo>
                  <a:lnTo>
                    <a:pt x="56" y="254"/>
                  </a:lnTo>
                  <a:lnTo>
                    <a:pt x="56" y="256"/>
                  </a:lnTo>
                  <a:lnTo>
                    <a:pt x="56" y="258"/>
                  </a:lnTo>
                  <a:lnTo>
                    <a:pt x="58" y="258"/>
                  </a:lnTo>
                  <a:lnTo>
                    <a:pt x="58" y="260"/>
                  </a:lnTo>
                  <a:lnTo>
                    <a:pt x="56" y="260"/>
                  </a:lnTo>
                  <a:lnTo>
                    <a:pt x="54" y="260"/>
                  </a:lnTo>
                  <a:lnTo>
                    <a:pt x="54" y="262"/>
                  </a:lnTo>
                  <a:lnTo>
                    <a:pt x="54" y="264"/>
                  </a:lnTo>
                  <a:lnTo>
                    <a:pt x="52" y="264"/>
                  </a:lnTo>
                  <a:lnTo>
                    <a:pt x="54" y="264"/>
                  </a:lnTo>
                  <a:lnTo>
                    <a:pt x="52" y="264"/>
                  </a:lnTo>
                  <a:lnTo>
                    <a:pt x="52" y="262"/>
                  </a:lnTo>
                  <a:lnTo>
                    <a:pt x="52" y="264"/>
                  </a:lnTo>
                  <a:lnTo>
                    <a:pt x="52" y="264"/>
                  </a:lnTo>
                  <a:lnTo>
                    <a:pt x="50" y="264"/>
                  </a:lnTo>
                  <a:lnTo>
                    <a:pt x="48" y="264"/>
                  </a:lnTo>
                  <a:lnTo>
                    <a:pt x="48" y="264"/>
                  </a:lnTo>
                  <a:lnTo>
                    <a:pt x="48" y="264"/>
                  </a:lnTo>
                  <a:lnTo>
                    <a:pt x="48" y="264"/>
                  </a:lnTo>
                  <a:lnTo>
                    <a:pt x="46" y="264"/>
                  </a:lnTo>
                  <a:lnTo>
                    <a:pt x="48" y="264"/>
                  </a:lnTo>
                  <a:lnTo>
                    <a:pt x="46" y="264"/>
                  </a:lnTo>
                  <a:lnTo>
                    <a:pt x="48" y="264"/>
                  </a:lnTo>
                  <a:lnTo>
                    <a:pt x="48" y="264"/>
                  </a:lnTo>
                  <a:lnTo>
                    <a:pt x="46" y="264"/>
                  </a:lnTo>
                  <a:lnTo>
                    <a:pt x="48" y="264"/>
                  </a:lnTo>
                  <a:lnTo>
                    <a:pt x="48" y="266"/>
                  </a:lnTo>
                  <a:lnTo>
                    <a:pt x="46" y="266"/>
                  </a:lnTo>
                  <a:lnTo>
                    <a:pt x="46" y="264"/>
                  </a:lnTo>
                  <a:lnTo>
                    <a:pt x="46" y="266"/>
                  </a:lnTo>
                  <a:lnTo>
                    <a:pt x="48" y="266"/>
                  </a:lnTo>
                  <a:lnTo>
                    <a:pt x="50" y="266"/>
                  </a:lnTo>
                  <a:lnTo>
                    <a:pt x="50" y="264"/>
                  </a:lnTo>
                  <a:lnTo>
                    <a:pt x="50" y="266"/>
                  </a:lnTo>
                  <a:lnTo>
                    <a:pt x="50" y="264"/>
                  </a:lnTo>
                  <a:lnTo>
                    <a:pt x="52" y="264"/>
                  </a:lnTo>
                  <a:lnTo>
                    <a:pt x="52" y="266"/>
                  </a:lnTo>
                  <a:lnTo>
                    <a:pt x="50" y="266"/>
                  </a:lnTo>
                  <a:lnTo>
                    <a:pt x="48" y="266"/>
                  </a:lnTo>
                  <a:lnTo>
                    <a:pt x="50" y="266"/>
                  </a:lnTo>
                  <a:lnTo>
                    <a:pt x="48" y="266"/>
                  </a:lnTo>
                  <a:lnTo>
                    <a:pt x="48" y="268"/>
                  </a:lnTo>
                  <a:lnTo>
                    <a:pt x="46" y="268"/>
                  </a:lnTo>
                  <a:lnTo>
                    <a:pt x="44" y="268"/>
                  </a:lnTo>
                  <a:lnTo>
                    <a:pt x="42" y="268"/>
                  </a:lnTo>
                  <a:lnTo>
                    <a:pt x="40" y="270"/>
                  </a:lnTo>
                  <a:lnTo>
                    <a:pt x="40" y="268"/>
                  </a:lnTo>
                  <a:lnTo>
                    <a:pt x="42" y="268"/>
                  </a:lnTo>
                  <a:lnTo>
                    <a:pt x="44" y="268"/>
                  </a:lnTo>
                  <a:lnTo>
                    <a:pt x="42" y="268"/>
                  </a:lnTo>
                  <a:lnTo>
                    <a:pt x="40" y="268"/>
                  </a:lnTo>
                  <a:lnTo>
                    <a:pt x="38" y="268"/>
                  </a:lnTo>
                  <a:lnTo>
                    <a:pt x="38" y="270"/>
                  </a:lnTo>
                  <a:lnTo>
                    <a:pt x="36" y="270"/>
                  </a:lnTo>
                  <a:lnTo>
                    <a:pt x="38" y="270"/>
                  </a:lnTo>
                  <a:lnTo>
                    <a:pt x="40" y="270"/>
                  </a:lnTo>
                  <a:lnTo>
                    <a:pt x="40" y="268"/>
                  </a:lnTo>
                  <a:lnTo>
                    <a:pt x="40" y="270"/>
                  </a:lnTo>
                  <a:lnTo>
                    <a:pt x="40" y="268"/>
                  </a:lnTo>
                  <a:lnTo>
                    <a:pt x="40" y="270"/>
                  </a:lnTo>
                  <a:lnTo>
                    <a:pt x="38" y="270"/>
                  </a:lnTo>
                  <a:lnTo>
                    <a:pt x="36" y="270"/>
                  </a:lnTo>
                  <a:lnTo>
                    <a:pt x="34" y="270"/>
                  </a:lnTo>
                  <a:lnTo>
                    <a:pt x="32" y="270"/>
                  </a:lnTo>
                  <a:lnTo>
                    <a:pt x="30" y="270"/>
                  </a:lnTo>
                  <a:lnTo>
                    <a:pt x="28" y="270"/>
                  </a:lnTo>
                  <a:lnTo>
                    <a:pt x="28" y="272"/>
                  </a:lnTo>
                  <a:lnTo>
                    <a:pt x="28" y="270"/>
                  </a:lnTo>
                  <a:lnTo>
                    <a:pt x="28" y="270"/>
                  </a:lnTo>
                  <a:lnTo>
                    <a:pt x="30" y="270"/>
                  </a:lnTo>
                  <a:lnTo>
                    <a:pt x="30" y="268"/>
                  </a:lnTo>
                  <a:lnTo>
                    <a:pt x="32" y="268"/>
                  </a:lnTo>
                  <a:lnTo>
                    <a:pt x="32" y="270"/>
                  </a:lnTo>
                  <a:lnTo>
                    <a:pt x="32" y="268"/>
                  </a:lnTo>
                  <a:lnTo>
                    <a:pt x="32" y="270"/>
                  </a:lnTo>
                  <a:lnTo>
                    <a:pt x="32" y="268"/>
                  </a:lnTo>
                  <a:lnTo>
                    <a:pt x="32" y="270"/>
                  </a:lnTo>
                  <a:lnTo>
                    <a:pt x="34" y="270"/>
                  </a:lnTo>
                  <a:lnTo>
                    <a:pt x="36" y="270"/>
                  </a:lnTo>
                  <a:lnTo>
                    <a:pt x="36" y="268"/>
                  </a:lnTo>
                  <a:lnTo>
                    <a:pt x="38" y="268"/>
                  </a:lnTo>
                  <a:lnTo>
                    <a:pt x="40" y="268"/>
                  </a:lnTo>
                  <a:lnTo>
                    <a:pt x="40" y="266"/>
                  </a:lnTo>
                  <a:lnTo>
                    <a:pt x="40" y="268"/>
                  </a:lnTo>
                  <a:lnTo>
                    <a:pt x="42" y="268"/>
                  </a:lnTo>
                  <a:lnTo>
                    <a:pt x="42" y="266"/>
                  </a:lnTo>
                  <a:lnTo>
                    <a:pt x="44" y="266"/>
                  </a:lnTo>
                  <a:lnTo>
                    <a:pt x="46" y="266"/>
                  </a:lnTo>
                  <a:lnTo>
                    <a:pt x="44" y="266"/>
                  </a:lnTo>
                  <a:lnTo>
                    <a:pt x="42" y="266"/>
                  </a:lnTo>
                  <a:lnTo>
                    <a:pt x="40" y="266"/>
                  </a:lnTo>
                  <a:lnTo>
                    <a:pt x="42" y="266"/>
                  </a:lnTo>
                  <a:lnTo>
                    <a:pt x="42" y="264"/>
                  </a:lnTo>
                  <a:lnTo>
                    <a:pt x="42" y="266"/>
                  </a:lnTo>
                  <a:lnTo>
                    <a:pt x="40" y="266"/>
                  </a:lnTo>
                  <a:lnTo>
                    <a:pt x="38" y="266"/>
                  </a:lnTo>
                  <a:lnTo>
                    <a:pt x="38" y="264"/>
                  </a:lnTo>
                  <a:lnTo>
                    <a:pt x="36" y="264"/>
                  </a:lnTo>
                  <a:lnTo>
                    <a:pt x="36" y="264"/>
                  </a:lnTo>
                  <a:lnTo>
                    <a:pt x="36" y="262"/>
                  </a:lnTo>
                  <a:lnTo>
                    <a:pt x="38" y="262"/>
                  </a:lnTo>
                  <a:lnTo>
                    <a:pt x="36" y="262"/>
                  </a:lnTo>
                  <a:lnTo>
                    <a:pt x="36" y="260"/>
                  </a:lnTo>
                  <a:lnTo>
                    <a:pt x="36" y="258"/>
                  </a:lnTo>
                  <a:lnTo>
                    <a:pt x="36" y="260"/>
                  </a:lnTo>
                  <a:lnTo>
                    <a:pt x="36" y="262"/>
                  </a:lnTo>
                  <a:lnTo>
                    <a:pt x="34" y="262"/>
                  </a:lnTo>
                  <a:lnTo>
                    <a:pt x="36" y="262"/>
                  </a:lnTo>
                  <a:lnTo>
                    <a:pt x="36" y="264"/>
                  </a:lnTo>
                  <a:lnTo>
                    <a:pt x="34" y="264"/>
                  </a:lnTo>
                  <a:lnTo>
                    <a:pt x="34" y="262"/>
                  </a:lnTo>
                  <a:lnTo>
                    <a:pt x="32" y="262"/>
                  </a:lnTo>
                  <a:lnTo>
                    <a:pt x="32" y="260"/>
                  </a:lnTo>
                  <a:lnTo>
                    <a:pt x="30" y="258"/>
                  </a:lnTo>
                  <a:lnTo>
                    <a:pt x="30" y="256"/>
                  </a:lnTo>
                  <a:lnTo>
                    <a:pt x="32" y="254"/>
                  </a:lnTo>
                  <a:lnTo>
                    <a:pt x="32" y="252"/>
                  </a:lnTo>
                  <a:lnTo>
                    <a:pt x="30" y="252"/>
                  </a:lnTo>
                  <a:lnTo>
                    <a:pt x="30" y="250"/>
                  </a:lnTo>
                  <a:lnTo>
                    <a:pt x="30" y="248"/>
                  </a:lnTo>
                  <a:lnTo>
                    <a:pt x="30" y="246"/>
                  </a:lnTo>
                  <a:lnTo>
                    <a:pt x="30" y="244"/>
                  </a:lnTo>
                  <a:lnTo>
                    <a:pt x="32" y="244"/>
                  </a:lnTo>
                  <a:lnTo>
                    <a:pt x="30" y="244"/>
                  </a:lnTo>
                  <a:lnTo>
                    <a:pt x="32" y="244"/>
                  </a:lnTo>
                  <a:lnTo>
                    <a:pt x="30" y="244"/>
                  </a:lnTo>
                  <a:lnTo>
                    <a:pt x="30" y="246"/>
                  </a:lnTo>
                  <a:lnTo>
                    <a:pt x="30" y="244"/>
                  </a:lnTo>
                  <a:lnTo>
                    <a:pt x="30" y="246"/>
                  </a:lnTo>
                  <a:lnTo>
                    <a:pt x="30" y="244"/>
                  </a:lnTo>
                  <a:lnTo>
                    <a:pt x="28" y="244"/>
                  </a:lnTo>
                  <a:lnTo>
                    <a:pt x="30" y="244"/>
                  </a:lnTo>
                  <a:lnTo>
                    <a:pt x="30" y="242"/>
                  </a:lnTo>
                  <a:lnTo>
                    <a:pt x="30" y="240"/>
                  </a:lnTo>
                  <a:lnTo>
                    <a:pt x="30" y="238"/>
                  </a:lnTo>
                  <a:lnTo>
                    <a:pt x="30" y="236"/>
                  </a:lnTo>
                  <a:lnTo>
                    <a:pt x="30" y="234"/>
                  </a:lnTo>
                  <a:lnTo>
                    <a:pt x="30" y="232"/>
                  </a:lnTo>
                  <a:lnTo>
                    <a:pt x="30" y="234"/>
                  </a:lnTo>
                  <a:lnTo>
                    <a:pt x="30" y="232"/>
                  </a:lnTo>
                  <a:lnTo>
                    <a:pt x="30" y="230"/>
                  </a:lnTo>
                  <a:lnTo>
                    <a:pt x="30" y="232"/>
                  </a:lnTo>
                  <a:lnTo>
                    <a:pt x="28" y="232"/>
                  </a:lnTo>
                  <a:lnTo>
                    <a:pt x="28" y="230"/>
                  </a:lnTo>
                  <a:lnTo>
                    <a:pt x="28" y="232"/>
                  </a:lnTo>
                  <a:lnTo>
                    <a:pt x="30" y="232"/>
                  </a:lnTo>
                  <a:lnTo>
                    <a:pt x="30" y="234"/>
                  </a:lnTo>
                  <a:lnTo>
                    <a:pt x="30" y="236"/>
                  </a:lnTo>
                  <a:lnTo>
                    <a:pt x="30" y="234"/>
                  </a:lnTo>
                  <a:lnTo>
                    <a:pt x="30" y="236"/>
                  </a:lnTo>
                  <a:lnTo>
                    <a:pt x="30" y="234"/>
                  </a:lnTo>
                  <a:lnTo>
                    <a:pt x="30" y="236"/>
                  </a:lnTo>
                  <a:lnTo>
                    <a:pt x="30" y="234"/>
                  </a:lnTo>
                  <a:lnTo>
                    <a:pt x="30" y="236"/>
                  </a:lnTo>
                  <a:lnTo>
                    <a:pt x="30" y="234"/>
                  </a:lnTo>
                  <a:lnTo>
                    <a:pt x="28" y="234"/>
                  </a:lnTo>
                  <a:lnTo>
                    <a:pt x="28" y="232"/>
                  </a:lnTo>
                  <a:lnTo>
                    <a:pt x="30" y="232"/>
                  </a:lnTo>
                  <a:lnTo>
                    <a:pt x="28" y="232"/>
                  </a:lnTo>
                  <a:lnTo>
                    <a:pt x="28" y="234"/>
                  </a:lnTo>
                  <a:lnTo>
                    <a:pt x="28" y="232"/>
                  </a:lnTo>
                  <a:lnTo>
                    <a:pt x="28" y="234"/>
                  </a:lnTo>
                  <a:lnTo>
                    <a:pt x="28" y="236"/>
                  </a:lnTo>
                  <a:lnTo>
                    <a:pt x="30" y="236"/>
                  </a:lnTo>
                  <a:lnTo>
                    <a:pt x="30" y="238"/>
                  </a:lnTo>
                  <a:lnTo>
                    <a:pt x="30" y="236"/>
                  </a:lnTo>
                  <a:lnTo>
                    <a:pt x="28" y="236"/>
                  </a:lnTo>
                  <a:lnTo>
                    <a:pt x="28" y="234"/>
                  </a:lnTo>
                  <a:lnTo>
                    <a:pt x="28" y="236"/>
                  </a:lnTo>
                  <a:lnTo>
                    <a:pt x="30" y="236"/>
                  </a:lnTo>
                  <a:lnTo>
                    <a:pt x="30" y="238"/>
                  </a:lnTo>
                  <a:lnTo>
                    <a:pt x="28" y="238"/>
                  </a:lnTo>
                  <a:lnTo>
                    <a:pt x="28" y="236"/>
                  </a:lnTo>
                  <a:lnTo>
                    <a:pt x="30" y="236"/>
                  </a:lnTo>
                  <a:lnTo>
                    <a:pt x="28" y="236"/>
                  </a:lnTo>
                  <a:lnTo>
                    <a:pt x="28" y="236"/>
                  </a:lnTo>
                  <a:lnTo>
                    <a:pt x="28" y="234"/>
                  </a:lnTo>
                  <a:lnTo>
                    <a:pt x="28" y="236"/>
                  </a:lnTo>
                  <a:lnTo>
                    <a:pt x="28" y="236"/>
                  </a:lnTo>
                  <a:lnTo>
                    <a:pt x="28" y="238"/>
                  </a:lnTo>
                  <a:lnTo>
                    <a:pt x="28" y="236"/>
                  </a:lnTo>
                  <a:lnTo>
                    <a:pt x="28" y="236"/>
                  </a:lnTo>
                  <a:lnTo>
                    <a:pt x="28" y="234"/>
                  </a:lnTo>
                  <a:lnTo>
                    <a:pt x="28" y="234"/>
                  </a:lnTo>
                  <a:lnTo>
                    <a:pt x="28" y="232"/>
                  </a:lnTo>
                  <a:lnTo>
                    <a:pt x="28" y="232"/>
                  </a:lnTo>
                  <a:lnTo>
                    <a:pt x="28" y="232"/>
                  </a:lnTo>
                  <a:lnTo>
                    <a:pt x="28" y="232"/>
                  </a:lnTo>
                  <a:lnTo>
                    <a:pt x="28" y="232"/>
                  </a:lnTo>
                  <a:lnTo>
                    <a:pt x="28" y="232"/>
                  </a:lnTo>
                  <a:lnTo>
                    <a:pt x="28" y="232"/>
                  </a:lnTo>
                  <a:lnTo>
                    <a:pt x="28" y="234"/>
                  </a:lnTo>
                  <a:lnTo>
                    <a:pt x="28" y="234"/>
                  </a:lnTo>
                  <a:lnTo>
                    <a:pt x="28" y="236"/>
                  </a:lnTo>
                  <a:lnTo>
                    <a:pt x="28" y="238"/>
                  </a:lnTo>
                  <a:lnTo>
                    <a:pt x="26" y="238"/>
                  </a:lnTo>
                  <a:lnTo>
                    <a:pt x="26" y="240"/>
                  </a:lnTo>
                  <a:lnTo>
                    <a:pt x="26" y="242"/>
                  </a:lnTo>
                  <a:lnTo>
                    <a:pt x="24" y="242"/>
                  </a:lnTo>
                  <a:lnTo>
                    <a:pt x="24" y="240"/>
                  </a:lnTo>
                  <a:lnTo>
                    <a:pt x="24" y="242"/>
                  </a:lnTo>
                  <a:lnTo>
                    <a:pt x="26" y="242"/>
                  </a:lnTo>
                  <a:lnTo>
                    <a:pt x="26" y="244"/>
                  </a:lnTo>
                  <a:lnTo>
                    <a:pt x="26" y="246"/>
                  </a:lnTo>
                  <a:lnTo>
                    <a:pt x="26" y="248"/>
                  </a:lnTo>
                  <a:lnTo>
                    <a:pt x="24" y="248"/>
                  </a:lnTo>
                  <a:lnTo>
                    <a:pt x="26" y="248"/>
                  </a:lnTo>
                  <a:lnTo>
                    <a:pt x="26" y="250"/>
                  </a:lnTo>
                  <a:lnTo>
                    <a:pt x="26" y="252"/>
                  </a:lnTo>
                  <a:lnTo>
                    <a:pt x="24" y="252"/>
                  </a:lnTo>
                  <a:lnTo>
                    <a:pt x="24" y="254"/>
                  </a:lnTo>
                  <a:lnTo>
                    <a:pt x="24" y="256"/>
                  </a:lnTo>
                  <a:lnTo>
                    <a:pt x="24" y="258"/>
                  </a:lnTo>
                  <a:lnTo>
                    <a:pt x="24" y="260"/>
                  </a:lnTo>
                  <a:lnTo>
                    <a:pt x="22" y="260"/>
                  </a:lnTo>
                  <a:lnTo>
                    <a:pt x="24" y="260"/>
                  </a:lnTo>
                  <a:lnTo>
                    <a:pt x="22" y="260"/>
                  </a:lnTo>
                  <a:lnTo>
                    <a:pt x="24" y="260"/>
                  </a:lnTo>
                  <a:lnTo>
                    <a:pt x="24" y="262"/>
                  </a:lnTo>
                  <a:lnTo>
                    <a:pt x="24" y="264"/>
                  </a:lnTo>
                  <a:lnTo>
                    <a:pt x="24" y="264"/>
                  </a:lnTo>
                  <a:lnTo>
                    <a:pt x="22" y="264"/>
                  </a:lnTo>
                  <a:lnTo>
                    <a:pt x="22" y="266"/>
                  </a:lnTo>
                  <a:lnTo>
                    <a:pt x="24" y="268"/>
                  </a:lnTo>
                  <a:lnTo>
                    <a:pt x="22" y="268"/>
                  </a:lnTo>
                  <a:lnTo>
                    <a:pt x="22" y="266"/>
                  </a:lnTo>
                  <a:lnTo>
                    <a:pt x="22" y="264"/>
                  </a:lnTo>
                  <a:lnTo>
                    <a:pt x="22" y="266"/>
                  </a:lnTo>
                  <a:lnTo>
                    <a:pt x="20" y="266"/>
                  </a:lnTo>
                  <a:lnTo>
                    <a:pt x="20" y="264"/>
                  </a:lnTo>
                  <a:lnTo>
                    <a:pt x="18" y="264"/>
                  </a:lnTo>
                  <a:lnTo>
                    <a:pt x="18" y="264"/>
                  </a:lnTo>
                  <a:lnTo>
                    <a:pt x="16" y="264"/>
                  </a:lnTo>
                  <a:lnTo>
                    <a:pt x="14" y="264"/>
                  </a:lnTo>
                  <a:lnTo>
                    <a:pt x="14" y="264"/>
                  </a:lnTo>
                  <a:lnTo>
                    <a:pt x="14" y="264"/>
                  </a:lnTo>
                  <a:lnTo>
                    <a:pt x="12" y="264"/>
                  </a:lnTo>
                  <a:lnTo>
                    <a:pt x="10" y="264"/>
                  </a:lnTo>
                  <a:lnTo>
                    <a:pt x="8" y="264"/>
                  </a:lnTo>
                  <a:lnTo>
                    <a:pt x="8" y="262"/>
                  </a:lnTo>
                  <a:lnTo>
                    <a:pt x="8" y="260"/>
                  </a:lnTo>
                  <a:lnTo>
                    <a:pt x="8" y="258"/>
                  </a:lnTo>
                  <a:lnTo>
                    <a:pt x="8" y="256"/>
                  </a:lnTo>
                  <a:lnTo>
                    <a:pt x="8" y="254"/>
                  </a:lnTo>
                  <a:lnTo>
                    <a:pt x="8" y="252"/>
                  </a:lnTo>
                  <a:lnTo>
                    <a:pt x="8" y="250"/>
                  </a:lnTo>
                  <a:lnTo>
                    <a:pt x="8" y="248"/>
                  </a:lnTo>
                  <a:lnTo>
                    <a:pt x="8" y="246"/>
                  </a:lnTo>
                  <a:lnTo>
                    <a:pt x="8" y="244"/>
                  </a:lnTo>
                  <a:lnTo>
                    <a:pt x="6" y="244"/>
                  </a:lnTo>
                  <a:lnTo>
                    <a:pt x="6" y="242"/>
                  </a:lnTo>
                  <a:lnTo>
                    <a:pt x="6" y="240"/>
                  </a:lnTo>
                  <a:lnTo>
                    <a:pt x="6" y="238"/>
                  </a:lnTo>
                  <a:lnTo>
                    <a:pt x="6" y="236"/>
                  </a:lnTo>
                  <a:lnTo>
                    <a:pt x="6" y="234"/>
                  </a:lnTo>
                  <a:lnTo>
                    <a:pt x="6" y="232"/>
                  </a:lnTo>
                  <a:lnTo>
                    <a:pt x="6" y="230"/>
                  </a:lnTo>
                  <a:lnTo>
                    <a:pt x="6" y="228"/>
                  </a:lnTo>
                  <a:lnTo>
                    <a:pt x="6" y="226"/>
                  </a:lnTo>
                  <a:lnTo>
                    <a:pt x="6" y="224"/>
                  </a:lnTo>
                  <a:lnTo>
                    <a:pt x="4" y="224"/>
                  </a:lnTo>
                  <a:lnTo>
                    <a:pt x="4" y="222"/>
                  </a:lnTo>
                  <a:lnTo>
                    <a:pt x="4" y="220"/>
                  </a:lnTo>
                  <a:lnTo>
                    <a:pt x="4" y="218"/>
                  </a:lnTo>
                  <a:lnTo>
                    <a:pt x="4" y="216"/>
                  </a:lnTo>
                  <a:lnTo>
                    <a:pt x="4" y="216"/>
                  </a:lnTo>
                  <a:lnTo>
                    <a:pt x="4" y="214"/>
                  </a:lnTo>
                  <a:lnTo>
                    <a:pt x="4" y="212"/>
                  </a:lnTo>
                  <a:lnTo>
                    <a:pt x="4" y="210"/>
                  </a:lnTo>
                  <a:lnTo>
                    <a:pt x="4" y="208"/>
                  </a:lnTo>
                  <a:lnTo>
                    <a:pt x="4" y="206"/>
                  </a:lnTo>
                  <a:lnTo>
                    <a:pt x="2" y="206"/>
                  </a:lnTo>
                  <a:lnTo>
                    <a:pt x="2" y="204"/>
                  </a:lnTo>
                  <a:lnTo>
                    <a:pt x="2" y="202"/>
                  </a:lnTo>
                  <a:lnTo>
                    <a:pt x="2" y="200"/>
                  </a:lnTo>
                  <a:lnTo>
                    <a:pt x="2" y="198"/>
                  </a:lnTo>
                  <a:lnTo>
                    <a:pt x="2" y="196"/>
                  </a:lnTo>
                  <a:lnTo>
                    <a:pt x="2" y="194"/>
                  </a:lnTo>
                  <a:lnTo>
                    <a:pt x="2" y="192"/>
                  </a:lnTo>
                  <a:lnTo>
                    <a:pt x="2" y="190"/>
                  </a:lnTo>
                  <a:lnTo>
                    <a:pt x="2" y="188"/>
                  </a:lnTo>
                  <a:lnTo>
                    <a:pt x="2" y="186"/>
                  </a:lnTo>
                  <a:lnTo>
                    <a:pt x="0" y="186"/>
                  </a:lnTo>
                  <a:lnTo>
                    <a:pt x="0" y="184"/>
                  </a:lnTo>
                  <a:lnTo>
                    <a:pt x="0" y="182"/>
                  </a:lnTo>
                  <a:lnTo>
                    <a:pt x="0" y="180"/>
                  </a:lnTo>
                  <a:lnTo>
                    <a:pt x="0" y="178"/>
                  </a:lnTo>
                  <a:lnTo>
                    <a:pt x="0" y="176"/>
                  </a:lnTo>
                  <a:lnTo>
                    <a:pt x="0" y="174"/>
                  </a:lnTo>
                  <a:lnTo>
                    <a:pt x="0" y="172"/>
                  </a:lnTo>
                  <a:lnTo>
                    <a:pt x="0" y="170"/>
                  </a:lnTo>
                  <a:lnTo>
                    <a:pt x="0" y="168"/>
                  </a:lnTo>
                  <a:lnTo>
                    <a:pt x="2" y="168"/>
                  </a:lnTo>
                  <a:lnTo>
                    <a:pt x="2" y="168"/>
                  </a:lnTo>
                  <a:lnTo>
                    <a:pt x="2" y="166"/>
                  </a:lnTo>
                  <a:lnTo>
                    <a:pt x="2" y="164"/>
                  </a:lnTo>
                  <a:lnTo>
                    <a:pt x="2" y="162"/>
                  </a:lnTo>
                  <a:lnTo>
                    <a:pt x="2" y="160"/>
                  </a:lnTo>
                  <a:lnTo>
                    <a:pt x="2" y="158"/>
                  </a:lnTo>
                  <a:lnTo>
                    <a:pt x="2" y="156"/>
                  </a:lnTo>
                  <a:lnTo>
                    <a:pt x="2" y="154"/>
                  </a:lnTo>
                  <a:lnTo>
                    <a:pt x="2" y="152"/>
                  </a:lnTo>
                  <a:lnTo>
                    <a:pt x="2" y="150"/>
                  </a:lnTo>
                  <a:lnTo>
                    <a:pt x="2" y="148"/>
                  </a:lnTo>
                  <a:lnTo>
                    <a:pt x="2" y="146"/>
                  </a:lnTo>
                  <a:lnTo>
                    <a:pt x="2" y="144"/>
                  </a:lnTo>
                  <a:lnTo>
                    <a:pt x="2" y="142"/>
                  </a:lnTo>
                  <a:lnTo>
                    <a:pt x="2" y="140"/>
                  </a:lnTo>
                  <a:lnTo>
                    <a:pt x="2" y="138"/>
                  </a:lnTo>
                  <a:lnTo>
                    <a:pt x="2" y="136"/>
                  </a:lnTo>
                  <a:lnTo>
                    <a:pt x="2" y="134"/>
                  </a:lnTo>
                  <a:lnTo>
                    <a:pt x="2" y="132"/>
                  </a:lnTo>
                  <a:lnTo>
                    <a:pt x="2" y="130"/>
                  </a:lnTo>
                  <a:lnTo>
                    <a:pt x="2" y="128"/>
                  </a:lnTo>
                  <a:lnTo>
                    <a:pt x="4" y="128"/>
                  </a:lnTo>
                  <a:lnTo>
                    <a:pt x="4" y="126"/>
                  </a:lnTo>
                  <a:lnTo>
                    <a:pt x="4" y="124"/>
                  </a:lnTo>
                  <a:lnTo>
                    <a:pt x="4" y="122"/>
                  </a:lnTo>
                  <a:lnTo>
                    <a:pt x="4" y="120"/>
                  </a:lnTo>
                  <a:lnTo>
                    <a:pt x="4" y="120"/>
                  </a:lnTo>
                  <a:lnTo>
                    <a:pt x="4" y="118"/>
                  </a:lnTo>
                  <a:lnTo>
                    <a:pt x="4" y="116"/>
                  </a:lnTo>
                  <a:lnTo>
                    <a:pt x="4" y="114"/>
                  </a:lnTo>
                  <a:lnTo>
                    <a:pt x="4" y="112"/>
                  </a:lnTo>
                  <a:lnTo>
                    <a:pt x="4" y="110"/>
                  </a:lnTo>
                  <a:lnTo>
                    <a:pt x="4" y="108"/>
                  </a:lnTo>
                  <a:lnTo>
                    <a:pt x="4" y="106"/>
                  </a:lnTo>
                  <a:lnTo>
                    <a:pt x="4" y="104"/>
                  </a:lnTo>
                  <a:lnTo>
                    <a:pt x="4" y="102"/>
                  </a:lnTo>
                  <a:lnTo>
                    <a:pt x="4" y="100"/>
                  </a:lnTo>
                  <a:lnTo>
                    <a:pt x="4" y="98"/>
                  </a:lnTo>
                  <a:lnTo>
                    <a:pt x="4" y="96"/>
                  </a:lnTo>
                  <a:lnTo>
                    <a:pt x="4" y="94"/>
                  </a:lnTo>
                  <a:lnTo>
                    <a:pt x="4" y="92"/>
                  </a:lnTo>
                  <a:lnTo>
                    <a:pt x="4" y="90"/>
                  </a:lnTo>
                  <a:lnTo>
                    <a:pt x="4" y="88"/>
                  </a:lnTo>
                  <a:lnTo>
                    <a:pt x="4" y="86"/>
                  </a:lnTo>
                  <a:lnTo>
                    <a:pt x="6" y="86"/>
                  </a:lnTo>
                  <a:lnTo>
                    <a:pt x="6" y="84"/>
                  </a:lnTo>
                  <a:lnTo>
                    <a:pt x="6" y="82"/>
                  </a:lnTo>
                  <a:lnTo>
                    <a:pt x="6" y="80"/>
                  </a:lnTo>
                  <a:lnTo>
                    <a:pt x="6" y="78"/>
                  </a:lnTo>
                  <a:lnTo>
                    <a:pt x="6" y="76"/>
                  </a:lnTo>
                  <a:lnTo>
                    <a:pt x="6" y="74"/>
                  </a:lnTo>
                  <a:lnTo>
                    <a:pt x="6" y="72"/>
                  </a:lnTo>
                  <a:lnTo>
                    <a:pt x="6" y="72"/>
                  </a:lnTo>
                  <a:lnTo>
                    <a:pt x="6" y="70"/>
                  </a:lnTo>
                  <a:lnTo>
                    <a:pt x="6" y="68"/>
                  </a:lnTo>
                  <a:lnTo>
                    <a:pt x="6" y="66"/>
                  </a:lnTo>
                  <a:lnTo>
                    <a:pt x="6" y="64"/>
                  </a:lnTo>
                  <a:lnTo>
                    <a:pt x="6" y="62"/>
                  </a:lnTo>
                  <a:lnTo>
                    <a:pt x="6" y="60"/>
                  </a:lnTo>
                  <a:lnTo>
                    <a:pt x="6" y="58"/>
                  </a:lnTo>
                  <a:lnTo>
                    <a:pt x="6" y="56"/>
                  </a:lnTo>
                  <a:lnTo>
                    <a:pt x="6" y="54"/>
                  </a:lnTo>
                  <a:lnTo>
                    <a:pt x="6" y="52"/>
                  </a:lnTo>
                  <a:lnTo>
                    <a:pt x="6" y="50"/>
                  </a:lnTo>
                  <a:lnTo>
                    <a:pt x="6" y="48"/>
                  </a:lnTo>
                  <a:lnTo>
                    <a:pt x="8" y="48"/>
                  </a:lnTo>
                  <a:lnTo>
                    <a:pt x="8" y="46"/>
                  </a:lnTo>
                  <a:lnTo>
                    <a:pt x="8" y="44"/>
                  </a:lnTo>
                  <a:lnTo>
                    <a:pt x="8" y="42"/>
                  </a:lnTo>
                  <a:lnTo>
                    <a:pt x="8" y="40"/>
                  </a:lnTo>
                  <a:lnTo>
                    <a:pt x="8" y="38"/>
                  </a:lnTo>
                  <a:lnTo>
                    <a:pt x="8" y="36"/>
                  </a:lnTo>
                  <a:lnTo>
                    <a:pt x="8" y="34"/>
                  </a:lnTo>
                  <a:lnTo>
                    <a:pt x="8" y="32"/>
                  </a:lnTo>
                  <a:lnTo>
                    <a:pt x="8" y="30"/>
                  </a:lnTo>
                  <a:lnTo>
                    <a:pt x="8" y="28"/>
                  </a:lnTo>
                  <a:lnTo>
                    <a:pt x="8" y="26"/>
                  </a:lnTo>
                  <a:lnTo>
                    <a:pt x="8" y="24"/>
                  </a:lnTo>
                  <a:lnTo>
                    <a:pt x="8" y="24"/>
                  </a:lnTo>
                  <a:lnTo>
                    <a:pt x="8" y="22"/>
                  </a:lnTo>
                  <a:lnTo>
                    <a:pt x="8" y="20"/>
                  </a:lnTo>
                  <a:lnTo>
                    <a:pt x="8" y="18"/>
                  </a:lnTo>
                  <a:lnTo>
                    <a:pt x="8" y="16"/>
                  </a:lnTo>
                  <a:lnTo>
                    <a:pt x="8" y="14"/>
                  </a:lnTo>
                  <a:lnTo>
                    <a:pt x="6" y="14"/>
                  </a:lnTo>
                  <a:lnTo>
                    <a:pt x="6" y="12"/>
                  </a:lnTo>
                  <a:lnTo>
                    <a:pt x="4" y="12"/>
                  </a:lnTo>
                  <a:lnTo>
                    <a:pt x="4" y="10"/>
                  </a:lnTo>
                  <a:lnTo>
                    <a:pt x="4" y="8"/>
                  </a:lnTo>
                  <a:lnTo>
                    <a:pt x="6" y="8"/>
                  </a:lnTo>
                  <a:close/>
                  <a:moveTo>
                    <a:pt x="24" y="250"/>
                  </a:moveTo>
                  <a:lnTo>
                    <a:pt x="22" y="250"/>
                  </a:lnTo>
                  <a:lnTo>
                    <a:pt x="22" y="252"/>
                  </a:lnTo>
                  <a:lnTo>
                    <a:pt x="24" y="252"/>
                  </a:lnTo>
                  <a:lnTo>
                    <a:pt x="24" y="254"/>
                  </a:lnTo>
                  <a:lnTo>
                    <a:pt x="24" y="252"/>
                  </a:lnTo>
                  <a:lnTo>
                    <a:pt x="22" y="252"/>
                  </a:lnTo>
                  <a:lnTo>
                    <a:pt x="24" y="252"/>
                  </a:lnTo>
                  <a:lnTo>
                    <a:pt x="22" y="252"/>
                  </a:lnTo>
                  <a:lnTo>
                    <a:pt x="22" y="250"/>
                  </a:lnTo>
                  <a:lnTo>
                    <a:pt x="24" y="250"/>
                  </a:lnTo>
                  <a:close/>
                  <a:moveTo>
                    <a:pt x="22" y="264"/>
                  </a:moveTo>
                  <a:lnTo>
                    <a:pt x="22" y="266"/>
                  </a:lnTo>
                  <a:lnTo>
                    <a:pt x="22" y="264"/>
                  </a:lnTo>
                  <a:close/>
                </a:path>
              </a:pathLst>
            </a:custGeom>
            <a:solidFill>
              <a:srgbClr val="575F9F"/>
            </a:solidFill>
            <a:ln w="3175">
              <a:solidFill>
                <a:sysClr val="window" lastClr="FFFF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black"/>
                </a:solidFill>
                <a:effectLst/>
                <a:uLnTx/>
                <a:uFillTx/>
                <a:ea typeface="宋体" panose="02010600030101010101" pitchFamily="2" charset="-122"/>
              </a:endParaRPr>
            </a:p>
          </p:txBody>
        </p:sp>
        <p:sp>
          <p:nvSpPr>
            <p:cNvPr id="25" name="Freeform 1156">
              <a:extLst>
                <a:ext uri="{FF2B5EF4-FFF2-40B4-BE49-F238E27FC236}">
                  <a16:creationId xmlns:a16="http://schemas.microsoft.com/office/drawing/2014/main" id="{8AEC4B67-FA4A-61DC-F3A1-C7D0791BD0EA}"/>
                </a:ext>
              </a:extLst>
            </p:cNvPr>
            <p:cNvSpPr>
              <a:spLocks noEditPoints="1"/>
            </p:cNvSpPr>
            <p:nvPr/>
          </p:nvSpPr>
          <p:spPr bwMode="auto">
            <a:xfrm>
              <a:off x="5832475" y="4006850"/>
              <a:ext cx="657225" cy="573088"/>
            </a:xfrm>
            <a:custGeom>
              <a:avLst/>
              <a:gdLst>
                <a:gd name="T0" fmla="*/ 342 w 414"/>
                <a:gd name="T1" fmla="*/ 353 h 361"/>
                <a:gd name="T2" fmla="*/ 364 w 414"/>
                <a:gd name="T3" fmla="*/ 347 h 361"/>
                <a:gd name="T4" fmla="*/ 352 w 414"/>
                <a:gd name="T5" fmla="*/ 347 h 361"/>
                <a:gd name="T6" fmla="*/ 378 w 414"/>
                <a:gd name="T7" fmla="*/ 339 h 361"/>
                <a:gd name="T8" fmla="*/ 352 w 414"/>
                <a:gd name="T9" fmla="*/ 341 h 361"/>
                <a:gd name="T10" fmla="*/ 408 w 414"/>
                <a:gd name="T11" fmla="*/ 275 h 361"/>
                <a:gd name="T12" fmla="*/ 326 w 414"/>
                <a:gd name="T13" fmla="*/ 273 h 361"/>
                <a:gd name="T14" fmla="*/ 318 w 414"/>
                <a:gd name="T15" fmla="*/ 249 h 361"/>
                <a:gd name="T16" fmla="*/ 298 w 414"/>
                <a:gd name="T17" fmla="*/ 243 h 361"/>
                <a:gd name="T18" fmla="*/ 306 w 414"/>
                <a:gd name="T19" fmla="*/ 245 h 361"/>
                <a:gd name="T20" fmla="*/ 296 w 414"/>
                <a:gd name="T21" fmla="*/ 229 h 361"/>
                <a:gd name="T22" fmla="*/ 404 w 414"/>
                <a:gd name="T23" fmla="*/ 203 h 361"/>
                <a:gd name="T24" fmla="*/ 274 w 414"/>
                <a:gd name="T25" fmla="*/ 203 h 361"/>
                <a:gd name="T26" fmla="*/ 388 w 414"/>
                <a:gd name="T27" fmla="*/ 177 h 361"/>
                <a:gd name="T28" fmla="*/ 380 w 414"/>
                <a:gd name="T29" fmla="*/ 163 h 361"/>
                <a:gd name="T30" fmla="*/ 260 w 414"/>
                <a:gd name="T31" fmla="*/ 179 h 361"/>
                <a:gd name="T32" fmla="*/ 378 w 414"/>
                <a:gd name="T33" fmla="*/ 159 h 361"/>
                <a:gd name="T34" fmla="*/ 250 w 414"/>
                <a:gd name="T35" fmla="*/ 155 h 361"/>
                <a:gd name="T36" fmla="*/ 256 w 414"/>
                <a:gd name="T37" fmla="*/ 122 h 361"/>
                <a:gd name="T38" fmla="*/ 254 w 414"/>
                <a:gd name="T39" fmla="*/ 120 h 361"/>
                <a:gd name="T40" fmla="*/ 254 w 414"/>
                <a:gd name="T41" fmla="*/ 116 h 361"/>
                <a:gd name="T42" fmla="*/ 254 w 414"/>
                <a:gd name="T43" fmla="*/ 112 h 361"/>
                <a:gd name="T44" fmla="*/ 248 w 414"/>
                <a:gd name="T45" fmla="*/ 106 h 361"/>
                <a:gd name="T46" fmla="*/ 226 w 414"/>
                <a:gd name="T47" fmla="*/ 96 h 361"/>
                <a:gd name="T48" fmla="*/ 320 w 414"/>
                <a:gd name="T49" fmla="*/ 58 h 361"/>
                <a:gd name="T50" fmla="*/ 134 w 414"/>
                <a:gd name="T51" fmla="*/ 88 h 361"/>
                <a:gd name="T52" fmla="*/ 104 w 414"/>
                <a:gd name="T53" fmla="*/ 66 h 361"/>
                <a:gd name="T54" fmla="*/ 304 w 414"/>
                <a:gd name="T55" fmla="*/ 22 h 361"/>
                <a:gd name="T56" fmla="*/ 32 w 414"/>
                <a:gd name="T57" fmla="*/ 56 h 361"/>
                <a:gd name="T58" fmla="*/ 294 w 414"/>
                <a:gd name="T59" fmla="*/ 4 h 361"/>
                <a:gd name="T60" fmla="*/ 378 w 414"/>
                <a:gd name="T61" fmla="*/ 311 h 361"/>
                <a:gd name="T62" fmla="*/ 362 w 414"/>
                <a:gd name="T63" fmla="*/ 297 h 361"/>
                <a:gd name="T64" fmla="*/ 336 w 414"/>
                <a:gd name="T65" fmla="*/ 275 h 361"/>
                <a:gd name="T66" fmla="*/ 306 w 414"/>
                <a:gd name="T67" fmla="*/ 245 h 361"/>
                <a:gd name="T68" fmla="*/ 298 w 414"/>
                <a:gd name="T69" fmla="*/ 227 h 361"/>
                <a:gd name="T70" fmla="*/ 274 w 414"/>
                <a:gd name="T71" fmla="*/ 203 h 361"/>
                <a:gd name="T72" fmla="*/ 274 w 414"/>
                <a:gd name="T73" fmla="*/ 179 h 361"/>
                <a:gd name="T74" fmla="*/ 262 w 414"/>
                <a:gd name="T75" fmla="*/ 169 h 361"/>
                <a:gd name="T76" fmla="*/ 256 w 414"/>
                <a:gd name="T77" fmla="*/ 151 h 361"/>
                <a:gd name="T78" fmla="*/ 256 w 414"/>
                <a:gd name="T79" fmla="*/ 116 h 361"/>
                <a:gd name="T80" fmla="*/ 234 w 414"/>
                <a:gd name="T81" fmla="*/ 100 h 361"/>
                <a:gd name="T82" fmla="*/ 212 w 414"/>
                <a:gd name="T83" fmla="*/ 80 h 361"/>
                <a:gd name="T84" fmla="*/ 178 w 414"/>
                <a:gd name="T85" fmla="*/ 56 h 361"/>
                <a:gd name="T86" fmla="*/ 164 w 414"/>
                <a:gd name="T87" fmla="*/ 58 h 361"/>
                <a:gd name="T88" fmla="*/ 118 w 414"/>
                <a:gd name="T89" fmla="*/ 86 h 361"/>
                <a:gd name="T90" fmla="*/ 108 w 414"/>
                <a:gd name="T91" fmla="*/ 68 h 361"/>
                <a:gd name="T92" fmla="*/ 102 w 414"/>
                <a:gd name="T93" fmla="*/ 56 h 361"/>
                <a:gd name="T94" fmla="*/ 74 w 414"/>
                <a:gd name="T95" fmla="*/ 54 h 361"/>
                <a:gd name="T96" fmla="*/ 64 w 414"/>
                <a:gd name="T97" fmla="*/ 46 h 361"/>
                <a:gd name="T98" fmla="*/ 30 w 414"/>
                <a:gd name="T99" fmla="*/ 40 h 361"/>
                <a:gd name="T100" fmla="*/ 16 w 414"/>
                <a:gd name="T101" fmla="*/ 58 h 361"/>
                <a:gd name="T102" fmla="*/ 110 w 414"/>
                <a:gd name="T103" fmla="*/ 10 h 361"/>
                <a:gd name="T104" fmla="*/ 268 w 414"/>
                <a:gd name="T105" fmla="*/ 28 h 361"/>
                <a:gd name="T106" fmla="*/ 306 w 414"/>
                <a:gd name="T107" fmla="*/ 34 h 361"/>
                <a:gd name="T108" fmla="*/ 326 w 414"/>
                <a:gd name="T109" fmla="*/ 74 h 361"/>
                <a:gd name="T110" fmla="*/ 348 w 414"/>
                <a:gd name="T111" fmla="*/ 100 h 361"/>
                <a:gd name="T112" fmla="*/ 362 w 414"/>
                <a:gd name="T113" fmla="*/ 128 h 361"/>
                <a:gd name="T114" fmla="*/ 356 w 414"/>
                <a:gd name="T115" fmla="*/ 126 h 361"/>
                <a:gd name="T116" fmla="*/ 400 w 414"/>
                <a:gd name="T117" fmla="*/ 203 h 361"/>
                <a:gd name="T118" fmla="*/ 412 w 414"/>
                <a:gd name="T119" fmla="*/ 257 h 361"/>
                <a:gd name="T120" fmla="*/ 408 w 414"/>
                <a:gd name="T121" fmla="*/ 299 h 361"/>
                <a:gd name="T122" fmla="*/ 400 w 414"/>
                <a:gd name="T123" fmla="*/ 305 h 361"/>
                <a:gd name="T124" fmla="*/ 394 w 414"/>
                <a:gd name="T125" fmla="*/ 307 h 3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14" h="361">
                  <a:moveTo>
                    <a:pt x="328" y="359"/>
                  </a:moveTo>
                  <a:lnTo>
                    <a:pt x="326" y="359"/>
                  </a:lnTo>
                  <a:lnTo>
                    <a:pt x="328" y="359"/>
                  </a:lnTo>
                  <a:close/>
                  <a:moveTo>
                    <a:pt x="326" y="359"/>
                  </a:moveTo>
                  <a:lnTo>
                    <a:pt x="324" y="359"/>
                  </a:lnTo>
                  <a:lnTo>
                    <a:pt x="326" y="357"/>
                  </a:lnTo>
                  <a:lnTo>
                    <a:pt x="326" y="359"/>
                  </a:lnTo>
                  <a:close/>
                  <a:moveTo>
                    <a:pt x="318" y="359"/>
                  </a:moveTo>
                  <a:lnTo>
                    <a:pt x="318" y="357"/>
                  </a:lnTo>
                  <a:lnTo>
                    <a:pt x="318" y="359"/>
                  </a:lnTo>
                  <a:close/>
                  <a:moveTo>
                    <a:pt x="322" y="357"/>
                  </a:moveTo>
                  <a:lnTo>
                    <a:pt x="320" y="359"/>
                  </a:lnTo>
                  <a:lnTo>
                    <a:pt x="320" y="357"/>
                  </a:lnTo>
                  <a:lnTo>
                    <a:pt x="322" y="357"/>
                  </a:lnTo>
                  <a:close/>
                  <a:moveTo>
                    <a:pt x="346" y="351"/>
                  </a:moveTo>
                  <a:lnTo>
                    <a:pt x="346" y="353"/>
                  </a:lnTo>
                  <a:lnTo>
                    <a:pt x="346" y="351"/>
                  </a:lnTo>
                  <a:close/>
                  <a:moveTo>
                    <a:pt x="346" y="351"/>
                  </a:moveTo>
                  <a:lnTo>
                    <a:pt x="346" y="353"/>
                  </a:lnTo>
                  <a:lnTo>
                    <a:pt x="344" y="353"/>
                  </a:lnTo>
                  <a:lnTo>
                    <a:pt x="346" y="353"/>
                  </a:lnTo>
                  <a:lnTo>
                    <a:pt x="344" y="353"/>
                  </a:lnTo>
                  <a:lnTo>
                    <a:pt x="344" y="351"/>
                  </a:lnTo>
                  <a:lnTo>
                    <a:pt x="346" y="351"/>
                  </a:lnTo>
                  <a:close/>
                  <a:moveTo>
                    <a:pt x="338" y="353"/>
                  </a:moveTo>
                  <a:lnTo>
                    <a:pt x="340" y="353"/>
                  </a:lnTo>
                  <a:lnTo>
                    <a:pt x="340" y="355"/>
                  </a:lnTo>
                  <a:lnTo>
                    <a:pt x="340" y="353"/>
                  </a:lnTo>
                  <a:lnTo>
                    <a:pt x="340" y="355"/>
                  </a:lnTo>
                  <a:lnTo>
                    <a:pt x="338" y="355"/>
                  </a:lnTo>
                  <a:lnTo>
                    <a:pt x="336" y="355"/>
                  </a:lnTo>
                  <a:lnTo>
                    <a:pt x="338" y="355"/>
                  </a:lnTo>
                  <a:lnTo>
                    <a:pt x="336" y="355"/>
                  </a:lnTo>
                  <a:lnTo>
                    <a:pt x="338" y="355"/>
                  </a:lnTo>
                  <a:lnTo>
                    <a:pt x="336" y="355"/>
                  </a:lnTo>
                  <a:lnTo>
                    <a:pt x="338" y="355"/>
                  </a:lnTo>
                  <a:lnTo>
                    <a:pt x="340" y="355"/>
                  </a:lnTo>
                  <a:lnTo>
                    <a:pt x="338" y="355"/>
                  </a:lnTo>
                  <a:lnTo>
                    <a:pt x="340" y="355"/>
                  </a:lnTo>
                  <a:lnTo>
                    <a:pt x="340" y="353"/>
                  </a:lnTo>
                  <a:lnTo>
                    <a:pt x="338" y="355"/>
                  </a:lnTo>
                  <a:lnTo>
                    <a:pt x="338" y="353"/>
                  </a:lnTo>
                  <a:close/>
                  <a:moveTo>
                    <a:pt x="346" y="351"/>
                  </a:moveTo>
                  <a:lnTo>
                    <a:pt x="344" y="351"/>
                  </a:lnTo>
                  <a:lnTo>
                    <a:pt x="346" y="351"/>
                  </a:lnTo>
                  <a:close/>
                  <a:moveTo>
                    <a:pt x="340" y="353"/>
                  </a:moveTo>
                  <a:lnTo>
                    <a:pt x="340" y="355"/>
                  </a:lnTo>
                  <a:lnTo>
                    <a:pt x="340" y="353"/>
                  </a:lnTo>
                  <a:lnTo>
                    <a:pt x="340" y="355"/>
                  </a:lnTo>
                  <a:lnTo>
                    <a:pt x="340" y="353"/>
                  </a:lnTo>
                  <a:lnTo>
                    <a:pt x="340" y="355"/>
                  </a:lnTo>
                  <a:lnTo>
                    <a:pt x="340" y="353"/>
                  </a:lnTo>
                  <a:lnTo>
                    <a:pt x="340" y="355"/>
                  </a:lnTo>
                  <a:lnTo>
                    <a:pt x="340" y="353"/>
                  </a:lnTo>
                  <a:lnTo>
                    <a:pt x="340" y="355"/>
                  </a:lnTo>
                  <a:lnTo>
                    <a:pt x="340" y="353"/>
                  </a:lnTo>
                  <a:lnTo>
                    <a:pt x="340" y="355"/>
                  </a:lnTo>
                  <a:lnTo>
                    <a:pt x="340" y="353"/>
                  </a:lnTo>
                  <a:lnTo>
                    <a:pt x="338" y="353"/>
                  </a:lnTo>
                  <a:lnTo>
                    <a:pt x="340" y="353"/>
                  </a:lnTo>
                  <a:lnTo>
                    <a:pt x="338" y="353"/>
                  </a:lnTo>
                  <a:lnTo>
                    <a:pt x="340" y="353"/>
                  </a:lnTo>
                  <a:lnTo>
                    <a:pt x="338" y="353"/>
                  </a:lnTo>
                  <a:lnTo>
                    <a:pt x="340" y="353"/>
                  </a:lnTo>
                  <a:close/>
                  <a:moveTo>
                    <a:pt x="336" y="353"/>
                  </a:moveTo>
                  <a:lnTo>
                    <a:pt x="336" y="355"/>
                  </a:lnTo>
                  <a:lnTo>
                    <a:pt x="336" y="353"/>
                  </a:lnTo>
                  <a:close/>
                  <a:moveTo>
                    <a:pt x="320" y="355"/>
                  </a:moveTo>
                  <a:lnTo>
                    <a:pt x="322" y="355"/>
                  </a:lnTo>
                  <a:lnTo>
                    <a:pt x="322" y="357"/>
                  </a:lnTo>
                  <a:lnTo>
                    <a:pt x="320" y="357"/>
                  </a:lnTo>
                  <a:lnTo>
                    <a:pt x="322" y="357"/>
                  </a:lnTo>
                  <a:lnTo>
                    <a:pt x="322" y="355"/>
                  </a:lnTo>
                  <a:lnTo>
                    <a:pt x="320" y="355"/>
                  </a:lnTo>
                  <a:lnTo>
                    <a:pt x="320" y="357"/>
                  </a:lnTo>
                  <a:lnTo>
                    <a:pt x="320" y="355"/>
                  </a:lnTo>
                  <a:lnTo>
                    <a:pt x="320" y="357"/>
                  </a:lnTo>
                  <a:lnTo>
                    <a:pt x="318" y="357"/>
                  </a:lnTo>
                  <a:lnTo>
                    <a:pt x="318" y="355"/>
                  </a:lnTo>
                  <a:lnTo>
                    <a:pt x="320" y="355"/>
                  </a:lnTo>
                  <a:close/>
                  <a:moveTo>
                    <a:pt x="346" y="351"/>
                  </a:moveTo>
                  <a:lnTo>
                    <a:pt x="348" y="351"/>
                  </a:lnTo>
                  <a:lnTo>
                    <a:pt x="346" y="351"/>
                  </a:lnTo>
                  <a:close/>
                  <a:moveTo>
                    <a:pt x="344" y="351"/>
                  </a:moveTo>
                  <a:lnTo>
                    <a:pt x="342" y="351"/>
                  </a:lnTo>
                  <a:lnTo>
                    <a:pt x="344" y="351"/>
                  </a:lnTo>
                  <a:lnTo>
                    <a:pt x="344" y="353"/>
                  </a:lnTo>
                  <a:lnTo>
                    <a:pt x="342" y="353"/>
                  </a:lnTo>
                  <a:lnTo>
                    <a:pt x="342" y="351"/>
                  </a:lnTo>
                  <a:lnTo>
                    <a:pt x="342" y="353"/>
                  </a:lnTo>
                  <a:lnTo>
                    <a:pt x="344" y="353"/>
                  </a:lnTo>
                  <a:lnTo>
                    <a:pt x="344" y="351"/>
                  </a:lnTo>
                  <a:lnTo>
                    <a:pt x="344" y="353"/>
                  </a:lnTo>
                  <a:lnTo>
                    <a:pt x="342" y="353"/>
                  </a:lnTo>
                  <a:lnTo>
                    <a:pt x="342" y="355"/>
                  </a:lnTo>
                  <a:lnTo>
                    <a:pt x="340" y="355"/>
                  </a:lnTo>
                  <a:lnTo>
                    <a:pt x="340" y="353"/>
                  </a:lnTo>
                  <a:lnTo>
                    <a:pt x="342" y="353"/>
                  </a:lnTo>
                  <a:lnTo>
                    <a:pt x="340" y="353"/>
                  </a:lnTo>
                  <a:lnTo>
                    <a:pt x="342" y="353"/>
                  </a:lnTo>
                  <a:lnTo>
                    <a:pt x="340" y="353"/>
                  </a:lnTo>
                  <a:lnTo>
                    <a:pt x="342" y="353"/>
                  </a:lnTo>
                  <a:lnTo>
                    <a:pt x="340" y="353"/>
                  </a:lnTo>
                  <a:lnTo>
                    <a:pt x="342" y="353"/>
                  </a:lnTo>
                  <a:lnTo>
                    <a:pt x="342" y="351"/>
                  </a:lnTo>
                  <a:lnTo>
                    <a:pt x="342" y="353"/>
                  </a:lnTo>
                  <a:lnTo>
                    <a:pt x="342" y="351"/>
                  </a:lnTo>
                  <a:lnTo>
                    <a:pt x="342" y="353"/>
                  </a:lnTo>
                  <a:lnTo>
                    <a:pt x="340" y="353"/>
                  </a:lnTo>
                  <a:lnTo>
                    <a:pt x="342" y="351"/>
                  </a:lnTo>
                  <a:lnTo>
                    <a:pt x="342" y="353"/>
                  </a:lnTo>
                  <a:lnTo>
                    <a:pt x="342" y="351"/>
                  </a:lnTo>
                  <a:lnTo>
                    <a:pt x="344" y="351"/>
                  </a:lnTo>
                  <a:close/>
                  <a:moveTo>
                    <a:pt x="344" y="349"/>
                  </a:moveTo>
                  <a:lnTo>
                    <a:pt x="346" y="349"/>
                  </a:lnTo>
                  <a:lnTo>
                    <a:pt x="346" y="351"/>
                  </a:lnTo>
                  <a:lnTo>
                    <a:pt x="346" y="349"/>
                  </a:lnTo>
                  <a:lnTo>
                    <a:pt x="346" y="351"/>
                  </a:lnTo>
                  <a:lnTo>
                    <a:pt x="344" y="351"/>
                  </a:lnTo>
                  <a:lnTo>
                    <a:pt x="346" y="351"/>
                  </a:lnTo>
                  <a:lnTo>
                    <a:pt x="346" y="349"/>
                  </a:lnTo>
                  <a:lnTo>
                    <a:pt x="344" y="349"/>
                  </a:lnTo>
                  <a:lnTo>
                    <a:pt x="344" y="351"/>
                  </a:lnTo>
                  <a:lnTo>
                    <a:pt x="344" y="349"/>
                  </a:lnTo>
                  <a:close/>
                  <a:moveTo>
                    <a:pt x="348" y="349"/>
                  </a:moveTo>
                  <a:lnTo>
                    <a:pt x="348" y="351"/>
                  </a:lnTo>
                  <a:lnTo>
                    <a:pt x="348" y="349"/>
                  </a:lnTo>
                  <a:lnTo>
                    <a:pt x="348" y="351"/>
                  </a:lnTo>
                  <a:lnTo>
                    <a:pt x="346" y="351"/>
                  </a:lnTo>
                  <a:lnTo>
                    <a:pt x="348" y="351"/>
                  </a:lnTo>
                  <a:lnTo>
                    <a:pt x="346" y="351"/>
                  </a:lnTo>
                  <a:lnTo>
                    <a:pt x="348" y="351"/>
                  </a:lnTo>
                  <a:lnTo>
                    <a:pt x="346" y="351"/>
                  </a:lnTo>
                  <a:lnTo>
                    <a:pt x="348" y="351"/>
                  </a:lnTo>
                  <a:lnTo>
                    <a:pt x="346" y="351"/>
                  </a:lnTo>
                  <a:lnTo>
                    <a:pt x="346" y="349"/>
                  </a:lnTo>
                  <a:lnTo>
                    <a:pt x="348" y="349"/>
                  </a:lnTo>
                  <a:lnTo>
                    <a:pt x="348" y="351"/>
                  </a:lnTo>
                  <a:lnTo>
                    <a:pt x="348" y="349"/>
                  </a:lnTo>
                  <a:close/>
                  <a:moveTo>
                    <a:pt x="344" y="349"/>
                  </a:moveTo>
                  <a:lnTo>
                    <a:pt x="344" y="351"/>
                  </a:lnTo>
                  <a:lnTo>
                    <a:pt x="344" y="349"/>
                  </a:lnTo>
                  <a:close/>
                  <a:moveTo>
                    <a:pt x="346" y="349"/>
                  </a:moveTo>
                  <a:lnTo>
                    <a:pt x="346" y="351"/>
                  </a:lnTo>
                  <a:lnTo>
                    <a:pt x="346" y="349"/>
                  </a:lnTo>
                  <a:close/>
                  <a:moveTo>
                    <a:pt x="342" y="351"/>
                  </a:moveTo>
                  <a:lnTo>
                    <a:pt x="342" y="349"/>
                  </a:lnTo>
                  <a:lnTo>
                    <a:pt x="342" y="351"/>
                  </a:lnTo>
                  <a:close/>
                  <a:moveTo>
                    <a:pt x="278" y="361"/>
                  </a:moveTo>
                  <a:lnTo>
                    <a:pt x="278" y="359"/>
                  </a:lnTo>
                  <a:lnTo>
                    <a:pt x="278" y="361"/>
                  </a:lnTo>
                  <a:close/>
                  <a:moveTo>
                    <a:pt x="358" y="347"/>
                  </a:moveTo>
                  <a:lnTo>
                    <a:pt x="360" y="347"/>
                  </a:lnTo>
                  <a:lnTo>
                    <a:pt x="358" y="347"/>
                  </a:lnTo>
                  <a:close/>
                  <a:moveTo>
                    <a:pt x="338" y="351"/>
                  </a:moveTo>
                  <a:lnTo>
                    <a:pt x="338" y="349"/>
                  </a:lnTo>
                  <a:lnTo>
                    <a:pt x="338" y="351"/>
                  </a:lnTo>
                  <a:close/>
                  <a:moveTo>
                    <a:pt x="338" y="349"/>
                  </a:moveTo>
                  <a:lnTo>
                    <a:pt x="338" y="351"/>
                  </a:lnTo>
                  <a:lnTo>
                    <a:pt x="338" y="349"/>
                  </a:lnTo>
                  <a:close/>
                  <a:moveTo>
                    <a:pt x="336" y="351"/>
                  </a:moveTo>
                  <a:lnTo>
                    <a:pt x="336" y="349"/>
                  </a:lnTo>
                  <a:lnTo>
                    <a:pt x="336" y="351"/>
                  </a:lnTo>
                  <a:close/>
                  <a:moveTo>
                    <a:pt x="338" y="349"/>
                  </a:moveTo>
                  <a:lnTo>
                    <a:pt x="338" y="351"/>
                  </a:lnTo>
                  <a:lnTo>
                    <a:pt x="338" y="349"/>
                  </a:lnTo>
                  <a:close/>
                  <a:moveTo>
                    <a:pt x="348" y="347"/>
                  </a:moveTo>
                  <a:lnTo>
                    <a:pt x="348" y="349"/>
                  </a:lnTo>
                  <a:lnTo>
                    <a:pt x="348" y="347"/>
                  </a:lnTo>
                  <a:close/>
                  <a:moveTo>
                    <a:pt x="340" y="349"/>
                  </a:moveTo>
                  <a:lnTo>
                    <a:pt x="338" y="349"/>
                  </a:lnTo>
                  <a:lnTo>
                    <a:pt x="340" y="349"/>
                  </a:lnTo>
                  <a:close/>
                  <a:moveTo>
                    <a:pt x="348" y="347"/>
                  </a:moveTo>
                  <a:lnTo>
                    <a:pt x="346" y="347"/>
                  </a:lnTo>
                  <a:lnTo>
                    <a:pt x="348" y="347"/>
                  </a:lnTo>
                  <a:lnTo>
                    <a:pt x="348" y="349"/>
                  </a:lnTo>
                  <a:lnTo>
                    <a:pt x="346" y="349"/>
                  </a:lnTo>
                  <a:lnTo>
                    <a:pt x="348" y="349"/>
                  </a:lnTo>
                  <a:lnTo>
                    <a:pt x="346" y="349"/>
                  </a:lnTo>
                  <a:lnTo>
                    <a:pt x="346" y="347"/>
                  </a:lnTo>
                  <a:lnTo>
                    <a:pt x="348" y="347"/>
                  </a:lnTo>
                  <a:close/>
                  <a:moveTo>
                    <a:pt x="362" y="347"/>
                  </a:moveTo>
                  <a:lnTo>
                    <a:pt x="364" y="347"/>
                  </a:lnTo>
                  <a:lnTo>
                    <a:pt x="362" y="347"/>
                  </a:lnTo>
                  <a:close/>
                  <a:moveTo>
                    <a:pt x="342" y="347"/>
                  </a:moveTo>
                  <a:lnTo>
                    <a:pt x="340" y="347"/>
                  </a:lnTo>
                  <a:lnTo>
                    <a:pt x="342" y="347"/>
                  </a:lnTo>
                  <a:close/>
                  <a:moveTo>
                    <a:pt x="346" y="347"/>
                  </a:moveTo>
                  <a:lnTo>
                    <a:pt x="344" y="347"/>
                  </a:lnTo>
                  <a:lnTo>
                    <a:pt x="346" y="347"/>
                  </a:lnTo>
                  <a:close/>
                  <a:moveTo>
                    <a:pt x="362" y="347"/>
                  </a:moveTo>
                  <a:lnTo>
                    <a:pt x="362" y="345"/>
                  </a:lnTo>
                  <a:lnTo>
                    <a:pt x="362" y="347"/>
                  </a:lnTo>
                  <a:close/>
                  <a:moveTo>
                    <a:pt x="342" y="347"/>
                  </a:moveTo>
                  <a:lnTo>
                    <a:pt x="340" y="347"/>
                  </a:lnTo>
                  <a:lnTo>
                    <a:pt x="342" y="347"/>
                  </a:lnTo>
                  <a:close/>
                  <a:moveTo>
                    <a:pt x="356" y="347"/>
                  </a:moveTo>
                  <a:lnTo>
                    <a:pt x="358" y="347"/>
                  </a:lnTo>
                  <a:lnTo>
                    <a:pt x="358" y="347"/>
                  </a:lnTo>
                  <a:lnTo>
                    <a:pt x="356" y="347"/>
                  </a:lnTo>
                  <a:lnTo>
                    <a:pt x="356" y="347"/>
                  </a:lnTo>
                  <a:lnTo>
                    <a:pt x="356" y="347"/>
                  </a:lnTo>
                  <a:close/>
                  <a:moveTo>
                    <a:pt x="342" y="347"/>
                  </a:moveTo>
                  <a:lnTo>
                    <a:pt x="340" y="347"/>
                  </a:lnTo>
                  <a:lnTo>
                    <a:pt x="342" y="347"/>
                  </a:lnTo>
                  <a:close/>
                  <a:moveTo>
                    <a:pt x="366" y="345"/>
                  </a:moveTo>
                  <a:lnTo>
                    <a:pt x="364" y="345"/>
                  </a:lnTo>
                  <a:lnTo>
                    <a:pt x="364" y="347"/>
                  </a:lnTo>
                  <a:lnTo>
                    <a:pt x="364" y="345"/>
                  </a:lnTo>
                  <a:lnTo>
                    <a:pt x="366" y="345"/>
                  </a:lnTo>
                  <a:close/>
                  <a:moveTo>
                    <a:pt x="342" y="347"/>
                  </a:moveTo>
                  <a:lnTo>
                    <a:pt x="340" y="347"/>
                  </a:lnTo>
                  <a:lnTo>
                    <a:pt x="342" y="347"/>
                  </a:lnTo>
                  <a:close/>
                  <a:moveTo>
                    <a:pt x="342" y="347"/>
                  </a:moveTo>
                  <a:lnTo>
                    <a:pt x="340" y="347"/>
                  </a:lnTo>
                  <a:lnTo>
                    <a:pt x="342" y="347"/>
                  </a:lnTo>
                  <a:close/>
                  <a:moveTo>
                    <a:pt x="354" y="347"/>
                  </a:moveTo>
                  <a:lnTo>
                    <a:pt x="354" y="345"/>
                  </a:lnTo>
                  <a:lnTo>
                    <a:pt x="354" y="347"/>
                  </a:lnTo>
                  <a:close/>
                  <a:moveTo>
                    <a:pt x="344" y="347"/>
                  </a:moveTo>
                  <a:lnTo>
                    <a:pt x="344" y="347"/>
                  </a:lnTo>
                  <a:lnTo>
                    <a:pt x="342" y="347"/>
                  </a:lnTo>
                  <a:lnTo>
                    <a:pt x="342" y="347"/>
                  </a:lnTo>
                  <a:lnTo>
                    <a:pt x="342" y="347"/>
                  </a:lnTo>
                  <a:lnTo>
                    <a:pt x="342" y="347"/>
                  </a:lnTo>
                  <a:lnTo>
                    <a:pt x="344" y="347"/>
                  </a:lnTo>
                  <a:close/>
                  <a:moveTo>
                    <a:pt x="342" y="347"/>
                  </a:moveTo>
                  <a:lnTo>
                    <a:pt x="342" y="347"/>
                  </a:lnTo>
                  <a:lnTo>
                    <a:pt x="342" y="347"/>
                  </a:lnTo>
                  <a:close/>
                  <a:moveTo>
                    <a:pt x="354" y="347"/>
                  </a:moveTo>
                  <a:lnTo>
                    <a:pt x="356" y="347"/>
                  </a:lnTo>
                  <a:lnTo>
                    <a:pt x="356" y="347"/>
                  </a:lnTo>
                  <a:lnTo>
                    <a:pt x="356" y="347"/>
                  </a:lnTo>
                  <a:lnTo>
                    <a:pt x="354" y="347"/>
                  </a:lnTo>
                  <a:lnTo>
                    <a:pt x="354" y="345"/>
                  </a:lnTo>
                  <a:lnTo>
                    <a:pt x="354" y="347"/>
                  </a:lnTo>
                  <a:close/>
                  <a:moveTo>
                    <a:pt x="342" y="347"/>
                  </a:moveTo>
                  <a:lnTo>
                    <a:pt x="342" y="347"/>
                  </a:lnTo>
                  <a:lnTo>
                    <a:pt x="342" y="347"/>
                  </a:lnTo>
                  <a:close/>
                  <a:moveTo>
                    <a:pt x="356" y="345"/>
                  </a:moveTo>
                  <a:lnTo>
                    <a:pt x="356" y="347"/>
                  </a:lnTo>
                  <a:lnTo>
                    <a:pt x="356" y="345"/>
                  </a:lnTo>
                  <a:lnTo>
                    <a:pt x="356" y="347"/>
                  </a:lnTo>
                  <a:lnTo>
                    <a:pt x="356" y="345"/>
                  </a:lnTo>
                  <a:close/>
                  <a:moveTo>
                    <a:pt x="342" y="347"/>
                  </a:moveTo>
                  <a:lnTo>
                    <a:pt x="342" y="347"/>
                  </a:lnTo>
                  <a:lnTo>
                    <a:pt x="342" y="347"/>
                  </a:lnTo>
                  <a:close/>
                  <a:moveTo>
                    <a:pt x="358" y="347"/>
                  </a:moveTo>
                  <a:lnTo>
                    <a:pt x="358" y="345"/>
                  </a:lnTo>
                  <a:lnTo>
                    <a:pt x="358" y="347"/>
                  </a:lnTo>
                  <a:close/>
                  <a:moveTo>
                    <a:pt x="342" y="347"/>
                  </a:moveTo>
                  <a:lnTo>
                    <a:pt x="342" y="347"/>
                  </a:lnTo>
                  <a:lnTo>
                    <a:pt x="342" y="347"/>
                  </a:lnTo>
                  <a:close/>
                  <a:moveTo>
                    <a:pt x="350" y="347"/>
                  </a:moveTo>
                  <a:lnTo>
                    <a:pt x="350" y="347"/>
                  </a:lnTo>
                  <a:lnTo>
                    <a:pt x="352" y="347"/>
                  </a:lnTo>
                  <a:lnTo>
                    <a:pt x="352" y="349"/>
                  </a:lnTo>
                  <a:lnTo>
                    <a:pt x="350" y="349"/>
                  </a:lnTo>
                  <a:lnTo>
                    <a:pt x="348" y="349"/>
                  </a:lnTo>
                  <a:lnTo>
                    <a:pt x="348" y="351"/>
                  </a:lnTo>
                  <a:lnTo>
                    <a:pt x="348" y="349"/>
                  </a:lnTo>
                  <a:lnTo>
                    <a:pt x="350" y="349"/>
                  </a:lnTo>
                  <a:lnTo>
                    <a:pt x="348" y="349"/>
                  </a:lnTo>
                  <a:lnTo>
                    <a:pt x="350" y="349"/>
                  </a:lnTo>
                  <a:lnTo>
                    <a:pt x="348" y="349"/>
                  </a:lnTo>
                  <a:lnTo>
                    <a:pt x="350" y="349"/>
                  </a:lnTo>
                  <a:lnTo>
                    <a:pt x="348" y="349"/>
                  </a:lnTo>
                  <a:lnTo>
                    <a:pt x="350" y="349"/>
                  </a:lnTo>
                  <a:lnTo>
                    <a:pt x="348" y="349"/>
                  </a:lnTo>
                  <a:lnTo>
                    <a:pt x="350" y="349"/>
                  </a:lnTo>
                  <a:lnTo>
                    <a:pt x="350" y="347"/>
                  </a:lnTo>
                  <a:lnTo>
                    <a:pt x="348" y="347"/>
                  </a:lnTo>
                  <a:lnTo>
                    <a:pt x="348" y="349"/>
                  </a:lnTo>
                  <a:lnTo>
                    <a:pt x="348" y="347"/>
                  </a:lnTo>
                  <a:lnTo>
                    <a:pt x="348" y="347"/>
                  </a:lnTo>
                  <a:lnTo>
                    <a:pt x="348" y="347"/>
                  </a:lnTo>
                  <a:lnTo>
                    <a:pt x="348" y="347"/>
                  </a:lnTo>
                  <a:lnTo>
                    <a:pt x="348" y="347"/>
                  </a:lnTo>
                  <a:lnTo>
                    <a:pt x="348" y="347"/>
                  </a:lnTo>
                  <a:lnTo>
                    <a:pt x="348" y="347"/>
                  </a:lnTo>
                  <a:lnTo>
                    <a:pt x="350" y="347"/>
                  </a:lnTo>
                  <a:lnTo>
                    <a:pt x="350" y="349"/>
                  </a:lnTo>
                  <a:lnTo>
                    <a:pt x="350" y="347"/>
                  </a:lnTo>
                  <a:lnTo>
                    <a:pt x="350" y="349"/>
                  </a:lnTo>
                  <a:lnTo>
                    <a:pt x="352" y="349"/>
                  </a:lnTo>
                  <a:lnTo>
                    <a:pt x="352" y="347"/>
                  </a:lnTo>
                  <a:lnTo>
                    <a:pt x="350" y="347"/>
                  </a:lnTo>
                  <a:lnTo>
                    <a:pt x="352" y="347"/>
                  </a:lnTo>
                  <a:lnTo>
                    <a:pt x="350" y="347"/>
                  </a:lnTo>
                  <a:lnTo>
                    <a:pt x="352" y="347"/>
                  </a:lnTo>
                  <a:lnTo>
                    <a:pt x="350" y="347"/>
                  </a:lnTo>
                  <a:lnTo>
                    <a:pt x="350" y="347"/>
                  </a:lnTo>
                  <a:lnTo>
                    <a:pt x="350" y="347"/>
                  </a:lnTo>
                  <a:lnTo>
                    <a:pt x="350" y="347"/>
                  </a:lnTo>
                  <a:lnTo>
                    <a:pt x="350" y="347"/>
                  </a:lnTo>
                  <a:lnTo>
                    <a:pt x="350" y="347"/>
                  </a:lnTo>
                  <a:lnTo>
                    <a:pt x="348" y="347"/>
                  </a:lnTo>
                  <a:lnTo>
                    <a:pt x="350" y="347"/>
                  </a:lnTo>
                  <a:close/>
                  <a:moveTo>
                    <a:pt x="354" y="345"/>
                  </a:moveTo>
                  <a:lnTo>
                    <a:pt x="354" y="347"/>
                  </a:lnTo>
                  <a:lnTo>
                    <a:pt x="354" y="345"/>
                  </a:lnTo>
                  <a:close/>
                  <a:moveTo>
                    <a:pt x="350" y="347"/>
                  </a:moveTo>
                  <a:lnTo>
                    <a:pt x="350" y="345"/>
                  </a:lnTo>
                  <a:lnTo>
                    <a:pt x="350" y="347"/>
                  </a:lnTo>
                  <a:close/>
                  <a:moveTo>
                    <a:pt x="352" y="345"/>
                  </a:moveTo>
                  <a:lnTo>
                    <a:pt x="352" y="347"/>
                  </a:lnTo>
                  <a:lnTo>
                    <a:pt x="354" y="347"/>
                  </a:lnTo>
                  <a:lnTo>
                    <a:pt x="354" y="347"/>
                  </a:lnTo>
                  <a:lnTo>
                    <a:pt x="354" y="347"/>
                  </a:lnTo>
                  <a:lnTo>
                    <a:pt x="352" y="347"/>
                  </a:lnTo>
                  <a:lnTo>
                    <a:pt x="352" y="347"/>
                  </a:lnTo>
                  <a:lnTo>
                    <a:pt x="352" y="347"/>
                  </a:lnTo>
                  <a:lnTo>
                    <a:pt x="352" y="347"/>
                  </a:lnTo>
                  <a:lnTo>
                    <a:pt x="352" y="347"/>
                  </a:lnTo>
                  <a:lnTo>
                    <a:pt x="350" y="347"/>
                  </a:lnTo>
                  <a:lnTo>
                    <a:pt x="350" y="345"/>
                  </a:lnTo>
                  <a:lnTo>
                    <a:pt x="352" y="345"/>
                  </a:lnTo>
                  <a:lnTo>
                    <a:pt x="352" y="347"/>
                  </a:lnTo>
                  <a:lnTo>
                    <a:pt x="352" y="345"/>
                  </a:lnTo>
                  <a:lnTo>
                    <a:pt x="352" y="347"/>
                  </a:lnTo>
                  <a:lnTo>
                    <a:pt x="350" y="347"/>
                  </a:lnTo>
                  <a:lnTo>
                    <a:pt x="352" y="347"/>
                  </a:lnTo>
                  <a:lnTo>
                    <a:pt x="352" y="345"/>
                  </a:lnTo>
                  <a:lnTo>
                    <a:pt x="352" y="347"/>
                  </a:lnTo>
                  <a:lnTo>
                    <a:pt x="352" y="345"/>
                  </a:lnTo>
                  <a:close/>
                  <a:moveTo>
                    <a:pt x="372" y="341"/>
                  </a:moveTo>
                  <a:lnTo>
                    <a:pt x="372" y="343"/>
                  </a:lnTo>
                  <a:lnTo>
                    <a:pt x="370" y="343"/>
                  </a:lnTo>
                  <a:lnTo>
                    <a:pt x="370" y="341"/>
                  </a:lnTo>
                  <a:lnTo>
                    <a:pt x="372" y="341"/>
                  </a:lnTo>
                  <a:lnTo>
                    <a:pt x="372" y="343"/>
                  </a:lnTo>
                  <a:lnTo>
                    <a:pt x="372" y="341"/>
                  </a:lnTo>
                  <a:lnTo>
                    <a:pt x="372" y="343"/>
                  </a:lnTo>
                  <a:lnTo>
                    <a:pt x="372" y="341"/>
                  </a:lnTo>
                  <a:close/>
                  <a:moveTo>
                    <a:pt x="350" y="345"/>
                  </a:moveTo>
                  <a:lnTo>
                    <a:pt x="352" y="345"/>
                  </a:lnTo>
                  <a:lnTo>
                    <a:pt x="350" y="345"/>
                  </a:lnTo>
                  <a:lnTo>
                    <a:pt x="352" y="345"/>
                  </a:lnTo>
                  <a:lnTo>
                    <a:pt x="350" y="345"/>
                  </a:lnTo>
                  <a:lnTo>
                    <a:pt x="350" y="347"/>
                  </a:lnTo>
                  <a:lnTo>
                    <a:pt x="350" y="345"/>
                  </a:lnTo>
                  <a:close/>
                  <a:moveTo>
                    <a:pt x="350" y="345"/>
                  </a:moveTo>
                  <a:lnTo>
                    <a:pt x="350" y="347"/>
                  </a:lnTo>
                  <a:lnTo>
                    <a:pt x="350" y="345"/>
                  </a:lnTo>
                  <a:close/>
                  <a:moveTo>
                    <a:pt x="356" y="345"/>
                  </a:moveTo>
                  <a:lnTo>
                    <a:pt x="358" y="345"/>
                  </a:lnTo>
                  <a:lnTo>
                    <a:pt x="356" y="345"/>
                  </a:lnTo>
                  <a:lnTo>
                    <a:pt x="358" y="345"/>
                  </a:lnTo>
                  <a:lnTo>
                    <a:pt x="358" y="347"/>
                  </a:lnTo>
                  <a:lnTo>
                    <a:pt x="356" y="347"/>
                  </a:lnTo>
                  <a:lnTo>
                    <a:pt x="356" y="345"/>
                  </a:lnTo>
                  <a:close/>
                  <a:moveTo>
                    <a:pt x="360" y="343"/>
                  </a:moveTo>
                  <a:lnTo>
                    <a:pt x="360" y="345"/>
                  </a:lnTo>
                  <a:lnTo>
                    <a:pt x="360" y="343"/>
                  </a:lnTo>
                  <a:close/>
                  <a:moveTo>
                    <a:pt x="362" y="343"/>
                  </a:moveTo>
                  <a:lnTo>
                    <a:pt x="362" y="345"/>
                  </a:lnTo>
                  <a:lnTo>
                    <a:pt x="360" y="345"/>
                  </a:lnTo>
                  <a:lnTo>
                    <a:pt x="360" y="343"/>
                  </a:lnTo>
                  <a:lnTo>
                    <a:pt x="362" y="343"/>
                  </a:lnTo>
                  <a:close/>
                  <a:moveTo>
                    <a:pt x="352" y="345"/>
                  </a:moveTo>
                  <a:lnTo>
                    <a:pt x="354" y="345"/>
                  </a:lnTo>
                  <a:lnTo>
                    <a:pt x="354" y="347"/>
                  </a:lnTo>
                  <a:lnTo>
                    <a:pt x="354" y="345"/>
                  </a:lnTo>
                  <a:lnTo>
                    <a:pt x="354" y="347"/>
                  </a:lnTo>
                  <a:lnTo>
                    <a:pt x="354" y="345"/>
                  </a:lnTo>
                  <a:lnTo>
                    <a:pt x="352" y="345"/>
                  </a:lnTo>
                  <a:close/>
                  <a:moveTo>
                    <a:pt x="348" y="345"/>
                  </a:moveTo>
                  <a:lnTo>
                    <a:pt x="346" y="345"/>
                  </a:lnTo>
                  <a:lnTo>
                    <a:pt x="348" y="345"/>
                  </a:lnTo>
                  <a:lnTo>
                    <a:pt x="346" y="345"/>
                  </a:lnTo>
                  <a:lnTo>
                    <a:pt x="348" y="345"/>
                  </a:lnTo>
                  <a:close/>
                  <a:moveTo>
                    <a:pt x="372" y="339"/>
                  </a:moveTo>
                  <a:lnTo>
                    <a:pt x="372" y="341"/>
                  </a:lnTo>
                  <a:lnTo>
                    <a:pt x="372" y="339"/>
                  </a:lnTo>
                  <a:close/>
                  <a:moveTo>
                    <a:pt x="376" y="339"/>
                  </a:moveTo>
                  <a:lnTo>
                    <a:pt x="376" y="341"/>
                  </a:lnTo>
                  <a:lnTo>
                    <a:pt x="376" y="339"/>
                  </a:lnTo>
                  <a:close/>
                  <a:moveTo>
                    <a:pt x="378" y="339"/>
                  </a:moveTo>
                  <a:lnTo>
                    <a:pt x="376" y="339"/>
                  </a:lnTo>
                  <a:lnTo>
                    <a:pt x="378" y="339"/>
                  </a:lnTo>
                  <a:lnTo>
                    <a:pt x="376" y="339"/>
                  </a:lnTo>
                  <a:lnTo>
                    <a:pt x="378" y="339"/>
                  </a:lnTo>
                  <a:close/>
                  <a:moveTo>
                    <a:pt x="378" y="339"/>
                  </a:moveTo>
                  <a:lnTo>
                    <a:pt x="376" y="339"/>
                  </a:lnTo>
                  <a:lnTo>
                    <a:pt x="378" y="339"/>
                  </a:lnTo>
                  <a:close/>
                  <a:moveTo>
                    <a:pt x="358" y="341"/>
                  </a:moveTo>
                  <a:lnTo>
                    <a:pt x="358" y="343"/>
                  </a:lnTo>
                  <a:lnTo>
                    <a:pt x="360" y="343"/>
                  </a:lnTo>
                  <a:lnTo>
                    <a:pt x="358" y="343"/>
                  </a:lnTo>
                  <a:lnTo>
                    <a:pt x="358" y="341"/>
                  </a:lnTo>
                  <a:close/>
                  <a:moveTo>
                    <a:pt x="374" y="339"/>
                  </a:moveTo>
                  <a:lnTo>
                    <a:pt x="376" y="339"/>
                  </a:lnTo>
                  <a:lnTo>
                    <a:pt x="374" y="339"/>
                  </a:lnTo>
                  <a:lnTo>
                    <a:pt x="374" y="341"/>
                  </a:lnTo>
                  <a:lnTo>
                    <a:pt x="372" y="341"/>
                  </a:lnTo>
                  <a:lnTo>
                    <a:pt x="372" y="343"/>
                  </a:lnTo>
                  <a:lnTo>
                    <a:pt x="374" y="343"/>
                  </a:lnTo>
                  <a:lnTo>
                    <a:pt x="372" y="343"/>
                  </a:lnTo>
                  <a:lnTo>
                    <a:pt x="372" y="341"/>
                  </a:lnTo>
                  <a:lnTo>
                    <a:pt x="372" y="343"/>
                  </a:lnTo>
                  <a:lnTo>
                    <a:pt x="372" y="341"/>
                  </a:lnTo>
                  <a:lnTo>
                    <a:pt x="370" y="341"/>
                  </a:lnTo>
                  <a:lnTo>
                    <a:pt x="372" y="341"/>
                  </a:lnTo>
                  <a:lnTo>
                    <a:pt x="374" y="341"/>
                  </a:lnTo>
                  <a:lnTo>
                    <a:pt x="374" y="339"/>
                  </a:lnTo>
                  <a:lnTo>
                    <a:pt x="374" y="341"/>
                  </a:lnTo>
                  <a:lnTo>
                    <a:pt x="374" y="339"/>
                  </a:lnTo>
                  <a:close/>
                  <a:moveTo>
                    <a:pt x="356" y="343"/>
                  </a:moveTo>
                  <a:lnTo>
                    <a:pt x="356" y="341"/>
                  </a:lnTo>
                  <a:lnTo>
                    <a:pt x="356" y="343"/>
                  </a:lnTo>
                  <a:close/>
                  <a:moveTo>
                    <a:pt x="360" y="341"/>
                  </a:moveTo>
                  <a:lnTo>
                    <a:pt x="360" y="343"/>
                  </a:lnTo>
                  <a:lnTo>
                    <a:pt x="360" y="341"/>
                  </a:lnTo>
                  <a:close/>
                  <a:moveTo>
                    <a:pt x="378" y="339"/>
                  </a:moveTo>
                  <a:lnTo>
                    <a:pt x="378" y="337"/>
                  </a:lnTo>
                  <a:lnTo>
                    <a:pt x="378" y="339"/>
                  </a:lnTo>
                  <a:close/>
                  <a:moveTo>
                    <a:pt x="358" y="343"/>
                  </a:moveTo>
                  <a:lnTo>
                    <a:pt x="358" y="345"/>
                  </a:lnTo>
                  <a:lnTo>
                    <a:pt x="360" y="345"/>
                  </a:lnTo>
                  <a:lnTo>
                    <a:pt x="360" y="343"/>
                  </a:lnTo>
                  <a:lnTo>
                    <a:pt x="360" y="345"/>
                  </a:lnTo>
                  <a:lnTo>
                    <a:pt x="360" y="343"/>
                  </a:lnTo>
                  <a:lnTo>
                    <a:pt x="360" y="345"/>
                  </a:lnTo>
                  <a:lnTo>
                    <a:pt x="360" y="347"/>
                  </a:lnTo>
                  <a:lnTo>
                    <a:pt x="362" y="347"/>
                  </a:lnTo>
                  <a:lnTo>
                    <a:pt x="360" y="347"/>
                  </a:lnTo>
                  <a:lnTo>
                    <a:pt x="362" y="347"/>
                  </a:lnTo>
                  <a:lnTo>
                    <a:pt x="360" y="347"/>
                  </a:lnTo>
                  <a:lnTo>
                    <a:pt x="360" y="347"/>
                  </a:lnTo>
                  <a:lnTo>
                    <a:pt x="360" y="347"/>
                  </a:lnTo>
                  <a:lnTo>
                    <a:pt x="362" y="347"/>
                  </a:lnTo>
                  <a:lnTo>
                    <a:pt x="360" y="347"/>
                  </a:lnTo>
                  <a:lnTo>
                    <a:pt x="362" y="347"/>
                  </a:lnTo>
                  <a:lnTo>
                    <a:pt x="360" y="347"/>
                  </a:lnTo>
                  <a:lnTo>
                    <a:pt x="358" y="347"/>
                  </a:lnTo>
                  <a:lnTo>
                    <a:pt x="360" y="347"/>
                  </a:lnTo>
                  <a:lnTo>
                    <a:pt x="358" y="347"/>
                  </a:lnTo>
                  <a:lnTo>
                    <a:pt x="360" y="347"/>
                  </a:lnTo>
                  <a:lnTo>
                    <a:pt x="358" y="347"/>
                  </a:lnTo>
                  <a:lnTo>
                    <a:pt x="358" y="345"/>
                  </a:lnTo>
                  <a:lnTo>
                    <a:pt x="358" y="343"/>
                  </a:lnTo>
                  <a:lnTo>
                    <a:pt x="356" y="343"/>
                  </a:lnTo>
                  <a:lnTo>
                    <a:pt x="356" y="341"/>
                  </a:lnTo>
                  <a:lnTo>
                    <a:pt x="358" y="341"/>
                  </a:lnTo>
                  <a:lnTo>
                    <a:pt x="358" y="343"/>
                  </a:lnTo>
                  <a:close/>
                  <a:moveTo>
                    <a:pt x="354" y="343"/>
                  </a:moveTo>
                  <a:lnTo>
                    <a:pt x="356" y="343"/>
                  </a:lnTo>
                  <a:lnTo>
                    <a:pt x="356" y="345"/>
                  </a:lnTo>
                  <a:lnTo>
                    <a:pt x="354" y="345"/>
                  </a:lnTo>
                  <a:lnTo>
                    <a:pt x="354" y="343"/>
                  </a:lnTo>
                  <a:close/>
                  <a:moveTo>
                    <a:pt x="378" y="339"/>
                  </a:moveTo>
                  <a:lnTo>
                    <a:pt x="376" y="339"/>
                  </a:lnTo>
                  <a:lnTo>
                    <a:pt x="378" y="339"/>
                  </a:lnTo>
                  <a:lnTo>
                    <a:pt x="378" y="337"/>
                  </a:lnTo>
                  <a:lnTo>
                    <a:pt x="378" y="339"/>
                  </a:lnTo>
                  <a:close/>
                  <a:moveTo>
                    <a:pt x="360" y="341"/>
                  </a:moveTo>
                  <a:lnTo>
                    <a:pt x="362" y="341"/>
                  </a:lnTo>
                  <a:lnTo>
                    <a:pt x="362" y="343"/>
                  </a:lnTo>
                  <a:lnTo>
                    <a:pt x="360" y="343"/>
                  </a:lnTo>
                  <a:lnTo>
                    <a:pt x="362" y="343"/>
                  </a:lnTo>
                  <a:lnTo>
                    <a:pt x="362" y="341"/>
                  </a:lnTo>
                  <a:lnTo>
                    <a:pt x="362" y="343"/>
                  </a:lnTo>
                  <a:lnTo>
                    <a:pt x="362" y="341"/>
                  </a:lnTo>
                  <a:lnTo>
                    <a:pt x="360" y="341"/>
                  </a:lnTo>
                  <a:lnTo>
                    <a:pt x="362" y="341"/>
                  </a:lnTo>
                  <a:lnTo>
                    <a:pt x="360" y="341"/>
                  </a:lnTo>
                  <a:close/>
                  <a:moveTo>
                    <a:pt x="356" y="341"/>
                  </a:moveTo>
                  <a:lnTo>
                    <a:pt x="356" y="343"/>
                  </a:lnTo>
                  <a:lnTo>
                    <a:pt x="354" y="341"/>
                  </a:lnTo>
                  <a:lnTo>
                    <a:pt x="356" y="341"/>
                  </a:lnTo>
                  <a:lnTo>
                    <a:pt x="354" y="341"/>
                  </a:lnTo>
                  <a:lnTo>
                    <a:pt x="356" y="341"/>
                  </a:lnTo>
                  <a:close/>
                  <a:moveTo>
                    <a:pt x="352" y="343"/>
                  </a:moveTo>
                  <a:lnTo>
                    <a:pt x="352" y="341"/>
                  </a:lnTo>
                  <a:lnTo>
                    <a:pt x="352" y="343"/>
                  </a:lnTo>
                  <a:close/>
                  <a:moveTo>
                    <a:pt x="358" y="343"/>
                  </a:moveTo>
                  <a:lnTo>
                    <a:pt x="358" y="341"/>
                  </a:lnTo>
                  <a:lnTo>
                    <a:pt x="356" y="341"/>
                  </a:lnTo>
                  <a:lnTo>
                    <a:pt x="358" y="341"/>
                  </a:lnTo>
                  <a:lnTo>
                    <a:pt x="358" y="343"/>
                  </a:lnTo>
                  <a:close/>
                  <a:moveTo>
                    <a:pt x="378" y="337"/>
                  </a:moveTo>
                  <a:lnTo>
                    <a:pt x="378" y="339"/>
                  </a:lnTo>
                  <a:lnTo>
                    <a:pt x="378" y="337"/>
                  </a:lnTo>
                  <a:close/>
                  <a:moveTo>
                    <a:pt x="362" y="341"/>
                  </a:moveTo>
                  <a:lnTo>
                    <a:pt x="360" y="341"/>
                  </a:lnTo>
                  <a:lnTo>
                    <a:pt x="360" y="339"/>
                  </a:lnTo>
                  <a:lnTo>
                    <a:pt x="360" y="341"/>
                  </a:lnTo>
                  <a:lnTo>
                    <a:pt x="362" y="341"/>
                  </a:lnTo>
                  <a:close/>
                  <a:moveTo>
                    <a:pt x="354" y="341"/>
                  </a:moveTo>
                  <a:lnTo>
                    <a:pt x="354" y="343"/>
                  </a:lnTo>
                  <a:lnTo>
                    <a:pt x="354" y="341"/>
                  </a:lnTo>
                  <a:close/>
                  <a:moveTo>
                    <a:pt x="380" y="335"/>
                  </a:moveTo>
                  <a:lnTo>
                    <a:pt x="380" y="337"/>
                  </a:lnTo>
                  <a:lnTo>
                    <a:pt x="378" y="337"/>
                  </a:lnTo>
                  <a:lnTo>
                    <a:pt x="378" y="339"/>
                  </a:lnTo>
                  <a:lnTo>
                    <a:pt x="378" y="337"/>
                  </a:lnTo>
                  <a:lnTo>
                    <a:pt x="378" y="339"/>
                  </a:lnTo>
                  <a:lnTo>
                    <a:pt x="378" y="337"/>
                  </a:lnTo>
                  <a:lnTo>
                    <a:pt x="378" y="339"/>
                  </a:lnTo>
                  <a:lnTo>
                    <a:pt x="378" y="337"/>
                  </a:lnTo>
                  <a:lnTo>
                    <a:pt x="380" y="337"/>
                  </a:lnTo>
                  <a:lnTo>
                    <a:pt x="380" y="335"/>
                  </a:lnTo>
                  <a:close/>
                  <a:moveTo>
                    <a:pt x="382" y="335"/>
                  </a:moveTo>
                  <a:lnTo>
                    <a:pt x="382" y="337"/>
                  </a:lnTo>
                  <a:lnTo>
                    <a:pt x="380" y="337"/>
                  </a:lnTo>
                  <a:lnTo>
                    <a:pt x="380" y="335"/>
                  </a:lnTo>
                  <a:lnTo>
                    <a:pt x="382" y="335"/>
                  </a:lnTo>
                  <a:close/>
                  <a:moveTo>
                    <a:pt x="358" y="339"/>
                  </a:moveTo>
                  <a:lnTo>
                    <a:pt x="358" y="341"/>
                  </a:lnTo>
                  <a:lnTo>
                    <a:pt x="358" y="339"/>
                  </a:lnTo>
                  <a:lnTo>
                    <a:pt x="358" y="341"/>
                  </a:lnTo>
                  <a:lnTo>
                    <a:pt x="358" y="339"/>
                  </a:lnTo>
                  <a:close/>
                  <a:moveTo>
                    <a:pt x="382" y="335"/>
                  </a:moveTo>
                  <a:lnTo>
                    <a:pt x="380" y="335"/>
                  </a:lnTo>
                  <a:lnTo>
                    <a:pt x="382" y="335"/>
                  </a:lnTo>
                  <a:close/>
                  <a:moveTo>
                    <a:pt x="354" y="341"/>
                  </a:moveTo>
                  <a:lnTo>
                    <a:pt x="352" y="341"/>
                  </a:lnTo>
                  <a:lnTo>
                    <a:pt x="354" y="341"/>
                  </a:lnTo>
                  <a:close/>
                  <a:moveTo>
                    <a:pt x="352" y="339"/>
                  </a:moveTo>
                  <a:lnTo>
                    <a:pt x="352" y="341"/>
                  </a:lnTo>
                  <a:lnTo>
                    <a:pt x="352" y="339"/>
                  </a:lnTo>
                  <a:close/>
                  <a:moveTo>
                    <a:pt x="352" y="339"/>
                  </a:moveTo>
                  <a:lnTo>
                    <a:pt x="352" y="341"/>
                  </a:lnTo>
                  <a:lnTo>
                    <a:pt x="350" y="341"/>
                  </a:lnTo>
                  <a:lnTo>
                    <a:pt x="350" y="339"/>
                  </a:lnTo>
                  <a:lnTo>
                    <a:pt x="352" y="339"/>
                  </a:lnTo>
                  <a:close/>
                  <a:moveTo>
                    <a:pt x="390" y="329"/>
                  </a:moveTo>
                  <a:lnTo>
                    <a:pt x="390" y="331"/>
                  </a:lnTo>
                  <a:lnTo>
                    <a:pt x="388" y="331"/>
                  </a:lnTo>
                  <a:lnTo>
                    <a:pt x="390" y="331"/>
                  </a:lnTo>
                  <a:lnTo>
                    <a:pt x="390" y="329"/>
                  </a:lnTo>
                  <a:close/>
                  <a:moveTo>
                    <a:pt x="388" y="331"/>
                  </a:moveTo>
                  <a:lnTo>
                    <a:pt x="386" y="331"/>
                  </a:lnTo>
                  <a:lnTo>
                    <a:pt x="388" y="331"/>
                  </a:lnTo>
                  <a:lnTo>
                    <a:pt x="388" y="333"/>
                  </a:lnTo>
                  <a:lnTo>
                    <a:pt x="386" y="333"/>
                  </a:lnTo>
                  <a:lnTo>
                    <a:pt x="384" y="333"/>
                  </a:lnTo>
                  <a:lnTo>
                    <a:pt x="386" y="333"/>
                  </a:lnTo>
                  <a:lnTo>
                    <a:pt x="386" y="331"/>
                  </a:lnTo>
                  <a:lnTo>
                    <a:pt x="388" y="331"/>
                  </a:lnTo>
                  <a:close/>
                  <a:moveTo>
                    <a:pt x="392" y="327"/>
                  </a:moveTo>
                  <a:lnTo>
                    <a:pt x="392" y="329"/>
                  </a:lnTo>
                  <a:lnTo>
                    <a:pt x="390" y="329"/>
                  </a:lnTo>
                  <a:lnTo>
                    <a:pt x="392" y="329"/>
                  </a:lnTo>
                  <a:lnTo>
                    <a:pt x="392" y="327"/>
                  </a:lnTo>
                  <a:close/>
                  <a:moveTo>
                    <a:pt x="394" y="325"/>
                  </a:moveTo>
                  <a:lnTo>
                    <a:pt x="392" y="327"/>
                  </a:lnTo>
                  <a:lnTo>
                    <a:pt x="394" y="327"/>
                  </a:lnTo>
                  <a:lnTo>
                    <a:pt x="394" y="325"/>
                  </a:lnTo>
                  <a:close/>
                  <a:moveTo>
                    <a:pt x="392" y="327"/>
                  </a:moveTo>
                  <a:lnTo>
                    <a:pt x="392" y="325"/>
                  </a:lnTo>
                  <a:lnTo>
                    <a:pt x="392" y="327"/>
                  </a:lnTo>
                  <a:close/>
                  <a:moveTo>
                    <a:pt x="396" y="323"/>
                  </a:moveTo>
                  <a:lnTo>
                    <a:pt x="396" y="325"/>
                  </a:lnTo>
                  <a:lnTo>
                    <a:pt x="394" y="325"/>
                  </a:lnTo>
                  <a:lnTo>
                    <a:pt x="396" y="325"/>
                  </a:lnTo>
                  <a:lnTo>
                    <a:pt x="396" y="323"/>
                  </a:lnTo>
                  <a:close/>
                  <a:moveTo>
                    <a:pt x="396" y="321"/>
                  </a:moveTo>
                  <a:lnTo>
                    <a:pt x="398" y="321"/>
                  </a:lnTo>
                  <a:lnTo>
                    <a:pt x="396" y="321"/>
                  </a:lnTo>
                  <a:lnTo>
                    <a:pt x="396" y="323"/>
                  </a:lnTo>
                  <a:lnTo>
                    <a:pt x="396" y="321"/>
                  </a:lnTo>
                  <a:lnTo>
                    <a:pt x="396" y="323"/>
                  </a:lnTo>
                  <a:lnTo>
                    <a:pt x="396" y="321"/>
                  </a:lnTo>
                  <a:close/>
                  <a:moveTo>
                    <a:pt x="402" y="311"/>
                  </a:moveTo>
                  <a:lnTo>
                    <a:pt x="404" y="311"/>
                  </a:lnTo>
                  <a:lnTo>
                    <a:pt x="402" y="311"/>
                  </a:lnTo>
                  <a:close/>
                  <a:moveTo>
                    <a:pt x="402" y="311"/>
                  </a:moveTo>
                  <a:lnTo>
                    <a:pt x="402" y="313"/>
                  </a:lnTo>
                  <a:lnTo>
                    <a:pt x="402" y="311"/>
                  </a:lnTo>
                  <a:close/>
                  <a:moveTo>
                    <a:pt x="404" y="309"/>
                  </a:moveTo>
                  <a:lnTo>
                    <a:pt x="404" y="311"/>
                  </a:lnTo>
                  <a:lnTo>
                    <a:pt x="404" y="309"/>
                  </a:lnTo>
                  <a:lnTo>
                    <a:pt x="402" y="309"/>
                  </a:lnTo>
                  <a:lnTo>
                    <a:pt x="404" y="309"/>
                  </a:lnTo>
                  <a:close/>
                  <a:moveTo>
                    <a:pt x="408" y="307"/>
                  </a:moveTo>
                  <a:lnTo>
                    <a:pt x="406" y="307"/>
                  </a:lnTo>
                  <a:lnTo>
                    <a:pt x="408" y="307"/>
                  </a:lnTo>
                  <a:close/>
                  <a:moveTo>
                    <a:pt x="404" y="301"/>
                  </a:moveTo>
                  <a:lnTo>
                    <a:pt x="404" y="299"/>
                  </a:lnTo>
                  <a:lnTo>
                    <a:pt x="404" y="301"/>
                  </a:lnTo>
                  <a:close/>
                  <a:moveTo>
                    <a:pt x="410" y="297"/>
                  </a:moveTo>
                  <a:lnTo>
                    <a:pt x="412" y="297"/>
                  </a:lnTo>
                  <a:lnTo>
                    <a:pt x="410" y="297"/>
                  </a:lnTo>
                  <a:close/>
                  <a:moveTo>
                    <a:pt x="412" y="297"/>
                  </a:moveTo>
                  <a:lnTo>
                    <a:pt x="410" y="297"/>
                  </a:lnTo>
                  <a:lnTo>
                    <a:pt x="412" y="297"/>
                  </a:lnTo>
                  <a:close/>
                  <a:moveTo>
                    <a:pt x="410" y="295"/>
                  </a:moveTo>
                  <a:lnTo>
                    <a:pt x="408" y="295"/>
                  </a:lnTo>
                  <a:lnTo>
                    <a:pt x="410" y="295"/>
                  </a:lnTo>
                  <a:close/>
                  <a:moveTo>
                    <a:pt x="412" y="295"/>
                  </a:moveTo>
                  <a:lnTo>
                    <a:pt x="412" y="297"/>
                  </a:lnTo>
                  <a:lnTo>
                    <a:pt x="410" y="295"/>
                  </a:lnTo>
                  <a:lnTo>
                    <a:pt x="412" y="295"/>
                  </a:lnTo>
                  <a:lnTo>
                    <a:pt x="412" y="293"/>
                  </a:lnTo>
                  <a:lnTo>
                    <a:pt x="412" y="295"/>
                  </a:lnTo>
                  <a:close/>
                  <a:moveTo>
                    <a:pt x="412" y="295"/>
                  </a:moveTo>
                  <a:lnTo>
                    <a:pt x="410" y="295"/>
                  </a:lnTo>
                  <a:lnTo>
                    <a:pt x="412" y="295"/>
                  </a:lnTo>
                  <a:lnTo>
                    <a:pt x="410" y="295"/>
                  </a:lnTo>
                  <a:lnTo>
                    <a:pt x="412" y="295"/>
                  </a:lnTo>
                  <a:close/>
                  <a:moveTo>
                    <a:pt x="412" y="293"/>
                  </a:moveTo>
                  <a:lnTo>
                    <a:pt x="412" y="295"/>
                  </a:lnTo>
                  <a:lnTo>
                    <a:pt x="412" y="293"/>
                  </a:lnTo>
                  <a:close/>
                  <a:moveTo>
                    <a:pt x="412" y="293"/>
                  </a:moveTo>
                  <a:lnTo>
                    <a:pt x="410" y="293"/>
                  </a:lnTo>
                  <a:lnTo>
                    <a:pt x="412" y="293"/>
                  </a:lnTo>
                  <a:close/>
                  <a:moveTo>
                    <a:pt x="408" y="295"/>
                  </a:moveTo>
                  <a:lnTo>
                    <a:pt x="408" y="293"/>
                  </a:lnTo>
                  <a:lnTo>
                    <a:pt x="408" y="295"/>
                  </a:lnTo>
                  <a:close/>
                  <a:moveTo>
                    <a:pt x="414" y="287"/>
                  </a:moveTo>
                  <a:lnTo>
                    <a:pt x="414" y="289"/>
                  </a:lnTo>
                  <a:lnTo>
                    <a:pt x="414" y="291"/>
                  </a:lnTo>
                  <a:lnTo>
                    <a:pt x="414" y="293"/>
                  </a:lnTo>
                  <a:lnTo>
                    <a:pt x="412" y="293"/>
                  </a:lnTo>
                  <a:lnTo>
                    <a:pt x="412" y="291"/>
                  </a:lnTo>
                  <a:lnTo>
                    <a:pt x="414" y="291"/>
                  </a:lnTo>
                  <a:lnTo>
                    <a:pt x="414" y="289"/>
                  </a:lnTo>
                  <a:lnTo>
                    <a:pt x="414" y="287"/>
                  </a:lnTo>
                  <a:lnTo>
                    <a:pt x="412" y="287"/>
                  </a:lnTo>
                  <a:lnTo>
                    <a:pt x="414" y="287"/>
                  </a:lnTo>
                  <a:lnTo>
                    <a:pt x="414" y="285"/>
                  </a:lnTo>
                  <a:lnTo>
                    <a:pt x="414" y="287"/>
                  </a:lnTo>
                  <a:close/>
                  <a:moveTo>
                    <a:pt x="408" y="275"/>
                  </a:moveTo>
                  <a:lnTo>
                    <a:pt x="408" y="277"/>
                  </a:lnTo>
                  <a:lnTo>
                    <a:pt x="406" y="277"/>
                  </a:lnTo>
                  <a:lnTo>
                    <a:pt x="406" y="275"/>
                  </a:lnTo>
                  <a:lnTo>
                    <a:pt x="408" y="275"/>
                  </a:lnTo>
                  <a:lnTo>
                    <a:pt x="408" y="277"/>
                  </a:lnTo>
                  <a:lnTo>
                    <a:pt x="408" y="275"/>
                  </a:lnTo>
                  <a:close/>
                  <a:moveTo>
                    <a:pt x="412" y="273"/>
                  </a:moveTo>
                  <a:lnTo>
                    <a:pt x="412" y="275"/>
                  </a:lnTo>
                  <a:lnTo>
                    <a:pt x="414" y="275"/>
                  </a:lnTo>
                  <a:lnTo>
                    <a:pt x="414" y="277"/>
                  </a:lnTo>
                  <a:lnTo>
                    <a:pt x="412" y="277"/>
                  </a:lnTo>
                  <a:lnTo>
                    <a:pt x="412" y="275"/>
                  </a:lnTo>
                  <a:lnTo>
                    <a:pt x="412" y="277"/>
                  </a:lnTo>
                  <a:lnTo>
                    <a:pt x="412" y="275"/>
                  </a:lnTo>
                  <a:lnTo>
                    <a:pt x="412" y="273"/>
                  </a:lnTo>
                  <a:lnTo>
                    <a:pt x="412" y="275"/>
                  </a:lnTo>
                  <a:lnTo>
                    <a:pt x="412" y="273"/>
                  </a:lnTo>
                  <a:close/>
                  <a:moveTo>
                    <a:pt x="412" y="271"/>
                  </a:moveTo>
                  <a:lnTo>
                    <a:pt x="412" y="273"/>
                  </a:lnTo>
                  <a:lnTo>
                    <a:pt x="410" y="271"/>
                  </a:lnTo>
                  <a:lnTo>
                    <a:pt x="410" y="273"/>
                  </a:lnTo>
                  <a:lnTo>
                    <a:pt x="410" y="271"/>
                  </a:lnTo>
                  <a:lnTo>
                    <a:pt x="412" y="271"/>
                  </a:lnTo>
                  <a:lnTo>
                    <a:pt x="410" y="271"/>
                  </a:lnTo>
                  <a:lnTo>
                    <a:pt x="412" y="271"/>
                  </a:lnTo>
                  <a:lnTo>
                    <a:pt x="412" y="273"/>
                  </a:lnTo>
                  <a:lnTo>
                    <a:pt x="412" y="271"/>
                  </a:lnTo>
                  <a:lnTo>
                    <a:pt x="412" y="273"/>
                  </a:lnTo>
                  <a:lnTo>
                    <a:pt x="412" y="271"/>
                  </a:lnTo>
                  <a:close/>
                  <a:moveTo>
                    <a:pt x="412" y="271"/>
                  </a:moveTo>
                  <a:lnTo>
                    <a:pt x="414" y="271"/>
                  </a:lnTo>
                  <a:lnTo>
                    <a:pt x="412" y="271"/>
                  </a:lnTo>
                  <a:close/>
                  <a:moveTo>
                    <a:pt x="352" y="279"/>
                  </a:moveTo>
                  <a:lnTo>
                    <a:pt x="350" y="279"/>
                  </a:lnTo>
                  <a:lnTo>
                    <a:pt x="352" y="279"/>
                  </a:lnTo>
                  <a:close/>
                  <a:moveTo>
                    <a:pt x="412" y="265"/>
                  </a:moveTo>
                  <a:lnTo>
                    <a:pt x="410" y="265"/>
                  </a:lnTo>
                  <a:lnTo>
                    <a:pt x="412" y="265"/>
                  </a:lnTo>
                  <a:close/>
                  <a:moveTo>
                    <a:pt x="328" y="277"/>
                  </a:moveTo>
                  <a:lnTo>
                    <a:pt x="330" y="277"/>
                  </a:lnTo>
                  <a:lnTo>
                    <a:pt x="330" y="279"/>
                  </a:lnTo>
                  <a:lnTo>
                    <a:pt x="330" y="281"/>
                  </a:lnTo>
                  <a:lnTo>
                    <a:pt x="330" y="279"/>
                  </a:lnTo>
                  <a:lnTo>
                    <a:pt x="328" y="279"/>
                  </a:lnTo>
                  <a:lnTo>
                    <a:pt x="328" y="277"/>
                  </a:lnTo>
                  <a:close/>
                  <a:moveTo>
                    <a:pt x="326" y="273"/>
                  </a:moveTo>
                  <a:lnTo>
                    <a:pt x="328" y="273"/>
                  </a:lnTo>
                  <a:lnTo>
                    <a:pt x="328" y="275"/>
                  </a:lnTo>
                  <a:lnTo>
                    <a:pt x="328" y="273"/>
                  </a:lnTo>
                  <a:lnTo>
                    <a:pt x="328" y="275"/>
                  </a:lnTo>
                  <a:lnTo>
                    <a:pt x="328" y="273"/>
                  </a:lnTo>
                  <a:lnTo>
                    <a:pt x="328" y="275"/>
                  </a:lnTo>
                  <a:lnTo>
                    <a:pt x="328" y="273"/>
                  </a:lnTo>
                  <a:lnTo>
                    <a:pt x="328" y="275"/>
                  </a:lnTo>
                  <a:lnTo>
                    <a:pt x="328" y="273"/>
                  </a:lnTo>
                  <a:lnTo>
                    <a:pt x="328" y="275"/>
                  </a:lnTo>
                  <a:lnTo>
                    <a:pt x="328" y="273"/>
                  </a:lnTo>
                  <a:lnTo>
                    <a:pt x="328" y="275"/>
                  </a:lnTo>
                  <a:lnTo>
                    <a:pt x="330" y="275"/>
                  </a:lnTo>
                  <a:lnTo>
                    <a:pt x="328" y="275"/>
                  </a:lnTo>
                  <a:lnTo>
                    <a:pt x="330" y="275"/>
                  </a:lnTo>
                  <a:lnTo>
                    <a:pt x="328" y="275"/>
                  </a:lnTo>
                  <a:lnTo>
                    <a:pt x="330" y="275"/>
                  </a:lnTo>
                  <a:lnTo>
                    <a:pt x="328" y="275"/>
                  </a:lnTo>
                  <a:lnTo>
                    <a:pt x="328" y="273"/>
                  </a:lnTo>
                  <a:lnTo>
                    <a:pt x="330" y="273"/>
                  </a:lnTo>
                  <a:lnTo>
                    <a:pt x="330" y="275"/>
                  </a:lnTo>
                  <a:lnTo>
                    <a:pt x="330" y="273"/>
                  </a:lnTo>
                  <a:lnTo>
                    <a:pt x="330" y="275"/>
                  </a:lnTo>
                  <a:lnTo>
                    <a:pt x="330" y="273"/>
                  </a:lnTo>
                  <a:lnTo>
                    <a:pt x="330" y="275"/>
                  </a:lnTo>
                  <a:lnTo>
                    <a:pt x="330" y="273"/>
                  </a:lnTo>
                  <a:lnTo>
                    <a:pt x="330" y="275"/>
                  </a:lnTo>
                  <a:lnTo>
                    <a:pt x="332" y="275"/>
                  </a:lnTo>
                  <a:lnTo>
                    <a:pt x="330" y="275"/>
                  </a:lnTo>
                  <a:lnTo>
                    <a:pt x="332" y="275"/>
                  </a:lnTo>
                  <a:lnTo>
                    <a:pt x="330" y="275"/>
                  </a:lnTo>
                  <a:lnTo>
                    <a:pt x="330" y="277"/>
                  </a:lnTo>
                  <a:lnTo>
                    <a:pt x="330" y="275"/>
                  </a:lnTo>
                  <a:lnTo>
                    <a:pt x="330" y="277"/>
                  </a:lnTo>
                  <a:lnTo>
                    <a:pt x="332" y="277"/>
                  </a:lnTo>
                  <a:lnTo>
                    <a:pt x="332" y="275"/>
                  </a:lnTo>
                  <a:lnTo>
                    <a:pt x="332" y="277"/>
                  </a:lnTo>
                  <a:lnTo>
                    <a:pt x="332" y="275"/>
                  </a:lnTo>
                  <a:lnTo>
                    <a:pt x="332" y="277"/>
                  </a:lnTo>
                  <a:lnTo>
                    <a:pt x="330" y="277"/>
                  </a:lnTo>
                  <a:lnTo>
                    <a:pt x="330" y="275"/>
                  </a:lnTo>
                  <a:lnTo>
                    <a:pt x="328" y="275"/>
                  </a:lnTo>
                  <a:lnTo>
                    <a:pt x="328" y="277"/>
                  </a:lnTo>
                  <a:lnTo>
                    <a:pt x="330" y="277"/>
                  </a:lnTo>
                  <a:lnTo>
                    <a:pt x="328" y="277"/>
                  </a:lnTo>
                  <a:lnTo>
                    <a:pt x="328" y="275"/>
                  </a:lnTo>
                  <a:lnTo>
                    <a:pt x="328" y="277"/>
                  </a:lnTo>
                  <a:lnTo>
                    <a:pt x="328" y="275"/>
                  </a:lnTo>
                  <a:lnTo>
                    <a:pt x="328" y="277"/>
                  </a:lnTo>
                  <a:lnTo>
                    <a:pt x="328" y="275"/>
                  </a:lnTo>
                  <a:lnTo>
                    <a:pt x="328" y="277"/>
                  </a:lnTo>
                  <a:lnTo>
                    <a:pt x="328" y="275"/>
                  </a:lnTo>
                  <a:lnTo>
                    <a:pt x="328" y="277"/>
                  </a:lnTo>
                  <a:lnTo>
                    <a:pt x="328" y="275"/>
                  </a:lnTo>
                  <a:lnTo>
                    <a:pt x="328" y="277"/>
                  </a:lnTo>
                  <a:lnTo>
                    <a:pt x="328" y="275"/>
                  </a:lnTo>
                  <a:lnTo>
                    <a:pt x="326" y="275"/>
                  </a:lnTo>
                  <a:lnTo>
                    <a:pt x="326" y="273"/>
                  </a:lnTo>
                  <a:lnTo>
                    <a:pt x="326" y="275"/>
                  </a:lnTo>
                  <a:lnTo>
                    <a:pt x="326" y="273"/>
                  </a:lnTo>
                  <a:lnTo>
                    <a:pt x="326" y="275"/>
                  </a:lnTo>
                  <a:lnTo>
                    <a:pt x="326" y="273"/>
                  </a:lnTo>
                  <a:lnTo>
                    <a:pt x="326" y="275"/>
                  </a:lnTo>
                  <a:lnTo>
                    <a:pt x="326" y="273"/>
                  </a:lnTo>
                  <a:lnTo>
                    <a:pt x="326" y="275"/>
                  </a:lnTo>
                  <a:lnTo>
                    <a:pt x="326" y="273"/>
                  </a:lnTo>
                  <a:lnTo>
                    <a:pt x="326" y="275"/>
                  </a:lnTo>
                  <a:lnTo>
                    <a:pt x="326" y="273"/>
                  </a:lnTo>
                  <a:close/>
                  <a:moveTo>
                    <a:pt x="326" y="273"/>
                  </a:moveTo>
                  <a:lnTo>
                    <a:pt x="328" y="273"/>
                  </a:lnTo>
                  <a:lnTo>
                    <a:pt x="326" y="273"/>
                  </a:lnTo>
                  <a:close/>
                  <a:moveTo>
                    <a:pt x="326" y="271"/>
                  </a:moveTo>
                  <a:lnTo>
                    <a:pt x="326" y="273"/>
                  </a:lnTo>
                  <a:lnTo>
                    <a:pt x="326" y="271"/>
                  </a:lnTo>
                  <a:close/>
                  <a:moveTo>
                    <a:pt x="326" y="271"/>
                  </a:moveTo>
                  <a:lnTo>
                    <a:pt x="326" y="273"/>
                  </a:lnTo>
                  <a:lnTo>
                    <a:pt x="326" y="271"/>
                  </a:lnTo>
                  <a:lnTo>
                    <a:pt x="324" y="271"/>
                  </a:lnTo>
                  <a:lnTo>
                    <a:pt x="326" y="271"/>
                  </a:lnTo>
                  <a:close/>
                  <a:moveTo>
                    <a:pt x="326" y="271"/>
                  </a:moveTo>
                  <a:lnTo>
                    <a:pt x="324" y="271"/>
                  </a:lnTo>
                  <a:lnTo>
                    <a:pt x="326" y="271"/>
                  </a:lnTo>
                  <a:close/>
                  <a:moveTo>
                    <a:pt x="324" y="269"/>
                  </a:moveTo>
                  <a:lnTo>
                    <a:pt x="324" y="271"/>
                  </a:lnTo>
                  <a:lnTo>
                    <a:pt x="326" y="271"/>
                  </a:lnTo>
                  <a:lnTo>
                    <a:pt x="326" y="269"/>
                  </a:lnTo>
                  <a:lnTo>
                    <a:pt x="326" y="271"/>
                  </a:lnTo>
                  <a:lnTo>
                    <a:pt x="324" y="271"/>
                  </a:lnTo>
                  <a:lnTo>
                    <a:pt x="324" y="269"/>
                  </a:lnTo>
                  <a:close/>
                  <a:moveTo>
                    <a:pt x="410" y="251"/>
                  </a:moveTo>
                  <a:lnTo>
                    <a:pt x="412" y="253"/>
                  </a:lnTo>
                  <a:lnTo>
                    <a:pt x="412" y="255"/>
                  </a:lnTo>
                  <a:lnTo>
                    <a:pt x="412" y="257"/>
                  </a:lnTo>
                  <a:lnTo>
                    <a:pt x="412" y="259"/>
                  </a:lnTo>
                  <a:lnTo>
                    <a:pt x="412" y="261"/>
                  </a:lnTo>
                  <a:lnTo>
                    <a:pt x="412" y="263"/>
                  </a:lnTo>
                  <a:lnTo>
                    <a:pt x="412" y="265"/>
                  </a:lnTo>
                  <a:lnTo>
                    <a:pt x="414" y="265"/>
                  </a:lnTo>
                  <a:lnTo>
                    <a:pt x="414" y="267"/>
                  </a:lnTo>
                  <a:lnTo>
                    <a:pt x="414" y="269"/>
                  </a:lnTo>
                  <a:lnTo>
                    <a:pt x="414" y="271"/>
                  </a:lnTo>
                  <a:lnTo>
                    <a:pt x="412" y="271"/>
                  </a:lnTo>
                  <a:lnTo>
                    <a:pt x="412" y="269"/>
                  </a:lnTo>
                  <a:lnTo>
                    <a:pt x="412" y="267"/>
                  </a:lnTo>
                  <a:lnTo>
                    <a:pt x="412" y="265"/>
                  </a:lnTo>
                  <a:lnTo>
                    <a:pt x="412" y="267"/>
                  </a:lnTo>
                  <a:lnTo>
                    <a:pt x="414" y="267"/>
                  </a:lnTo>
                  <a:lnTo>
                    <a:pt x="412" y="267"/>
                  </a:lnTo>
                  <a:lnTo>
                    <a:pt x="414" y="267"/>
                  </a:lnTo>
                  <a:lnTo>
                    <a:pt x="414" y="269"/>
                  </a:lnTo>
                  <a:lnTo>
                    <a:pt x="414" y="267"/>
                  </a:lnTo>
                  <a:lnTo>
                    <a:pt x="412" y="265"/>
                  </a:lnTo>
                  <a:lnTo>
                    <a:pt x="412" y="263"/>
                  </a:lnTo>
                  <a:lnTo>
                    <a:pt x="412" y="265"/>
                  </a:lnTo>
                  <a:lnTo>
                    <a:pt x="412" y="263"/>
                  </a:lnTo>
                  <a:lnTo>
                    <a:pt x="412" y="265"/>
                  </a:lnTo>
                  <a:lnTo>
                    <a:pt x="412" y="263"/>
                  </a:lnTo>
                  <a:lnTo>
                    <a:pt x="412" y="261"/>
                  </a:lnTo>
                  <a:lnTo>
                    <a:pt x="412" y="259"/>
                  </a:lnTo>
                  <a:lnTo>
                    <a:pt x="412" y="257"/>
                  </a:lnTo>
                  <a:lnTo>
                    <a:pt x="412" y="255"/>
                  </a:lnTo>
                  <a:lnTo>
                    <a:pt x="410" y="255"/>
                  </a:lnTo>
                  <a:lnTo>
                    <a:pt x="410" y="253"/>
                  </a:lnTo>
                  <a:lnTo>
                    <a:pt x="412" y="255"/>
                  </a:lnTo>
                  <a:lnTo>
                    <a:pt x="412" y="253"/>
                  </a:lnTo>
                  <a:lnTo>
                    <a:pt x="410" y="253"/>
                  </a:lnTo>
                  <a:lnTo>
                    <a:pt x="412" y="253"/>
                  </a:lnTo>
                  <a:lnTo>
                    <a:pt x="410" y="253"/>
                  </a:lnTo>
                  <a:lnTo>
                    <a:pt x="410" y="251"/>
                  </a:lnTo>
                  <a:lnTo>
                    <a:pt x="410" y="253"/>
                  </a:lnTo>
                  <a:lnTo>
                    <a:pt x="410" y="251"/>
                  </a:lnTo>
                  <a:close/>
                  <a:moveTo>
                    <a:pt x="410" y="243"/>
                  </a:moveTo>
                  <a:lnTo>
                    <a:pt x="410" y="245"/>
                  </a:lnTo>
                  <a:lnTo>
                    <a:pt x="410" y="247"/>
                  </a:lnTo>
                  <a:lnTo>
                    <a:pt x="410" y="249"/>
                  </a:lnTo>
                  <a:lnTo>
                    <a:pt x="410" y="251"/>
                  </a:lnTo>
                  <a:lnTo>
                    <a:pt x="410" y="251"/>
                  </a:lnTo>
                  <a:lnTo>
                    <a:pt x="410" y="251"/>
                  </a:lnTo>
                  <a:lnTo>
                    <a:pt x="410" y="251"/>
                  </a:lnTo>
                  <a:lnTo>
                    <a:pt x="410" y="251"/>
                  </a:lnTo>
                  <a:lnTo>
                    <a:pt x="410" y="249"/>
                  </a:lnTo>
                  <a:lnTo>
                    <a:pt x="410" y="247"/>
                  </a:lnTo>
                  <a:lnTo>
                    <a:pt x="410" y="245"/>
                  </a:lnTo>
                  <a:lnTo>
                    <a:pt x="410" y="243"/>
                  </a:lnTo>
                  <a:close/>
                  <a:moveTo>
                    <a:pt x="318" y="251"/>
                  </a:moveTo>
                  <a:lnTo>
                    <a:pt x="318" y="251"/>
                  </a:lnTo>
                  <a:lnTo>
                    <a:pt x="318" y="251"/>
                  </a:lnTo>
                  <a:lnTo>
                    <a:pt x="318" y="251"/>
                  </a:lnTo>
                  <a:lnTo>
                    <a:pt x="318" y="251"/>
                  </a:lnTo>
                  <a:lnTo>
                    <a:pt x="318" y="251"/>
                  </a:lnTo>
                  <a:lnTo>
                    <a:pt x="318" y="251"/>
                  </a:lnTo>
                  <a:close/>
                  <a:moveTo>
                    <a:pt x="316" y="251"/>
                  </a:moveTo>
                  <a:lnTo>
                    <a:pt x="318" y="251"/>
                  </a:lnTo>
                  <a:lnTo>
                    <a:pt x="316" y="251"/>
                  </a:lnTo>
                  <a:lnTo>
                    <a:pt x="318" y="251"/>
                  </a:lnTo>
                  <a:lnTo>
                    <a:pt x="316" y="251"/>
                  </a:lnTo>
                  <a:lnTo>
                    <a:pt x="318" y="251"/>
                  </a:lnTo>
                  <a:lnTo>
                    <a:pt x="316" y="251"/>
                  </a:lnTo>
                  <a:lnTo>
                    <a:pt x="318" y="251"/>
                  </a:lnTo>
                  <a:lnTo>
                    <a:pt x="316" y="251"/>
                  </a:lnTo>
                  <a:close/>
                  <a:moveTo>
                    <a:pt x="316" y="249"/>
                  </a:moveTo>
                  <a:lnTo>
                    <a:pt x="318" y="249"/>
                  </a:lnTo>
                  <a:lnTo>
                    <a:pt x="318" y="251"/>
                  </a:lnTo>
                  <a:lnTo>
                    <a:pt x="316" y="251"/>
                  </a:lnTo>
                  <a:lnTo>
                    <a:pt x="316" y="249"/>
                  </a:lnTo>
                  <a:lnTo>
                    <a:pt x="316" y="251"/>
                  </a:lnTo>
                  <a:lnTo>
                    <a:pt x="316" y="249"/>
                  </a:lnTo>
                  <a:close/>
                  <a:moveTo>
                    <a:pt x="316" y="249"/>
                  </a:moveTo>
                  <a:lnTo>
                    <a:pt x="316" y="251"/>
                  </a:lnTo>
                  <a:lnTo>
                    <a:pt x="316" y="249"/>
                  </a:lnTo>
                  <a:close/>
                  <a:moveTo>
                    <a:pt x="318" y="249"/>
                  </a:moveTo>
                  <a:lnTo>
                    <a:pt x="316" y="249"/>
                  </a:lnTo>
                  <a:lnTo>
                    <a:pt x="318" y="249"/>
                  </a:lnTo>
                  <a:close/>
                  <a:moveTo>
                    <a:pt x="314" y="247"/>
                  </a:moveTo>
                  <a:lnTo>
                    <a:pt x="314" y="249"/>
                  </a:lnTo>
                  <a:lnTo>
                    <a:pt x="314" y="247"/>
                  </a:lnTo>
                  <a:lnTo>
                    <a:pt x="314" y="249"/>
                  </a:lnTo>
                  <a:lnTo>
                    <a:pt x="314" y="247"/>
                  </a:lnTo>
                  <a:close/>
                  <a:moveTo>
                    <a:pt x="312" y="249"/>
                  </a:moveTo>
                  <a:lnTo>
                    <a:pt x="312" y="247"/>
                  </a:lnTo>
                  <a:lnTo>
                    <a:pt x="312" y="249"/>
                  </a:lnTo>
                  <a:lnTo>
                    <a:pt x="314" y="249"/>
                  </a:lnTo>
                  <a:lnTo>
                    <a:pt x="316" y="249"/>
                  </a:lnTo>
                  <a:lnTo>
                    <a:pt x="316" y="251"/>
                  </a:lnTo>
                  <a:lnTo>
                    <a:pt x="316" y="249"/>
                  </a:lnTo>
                  <a:lnTo>
                    <a:pt x="314" y="249"/>
                  </a:lnTo>
                  <a:lnTo>
                    <a:pt x="312" y="249"/>
                  </a:lnTo>
                  <a:lnTo>
                    <a:pt x="312" y="247"/>
                  </a:lnTo>
                  <a:lnTo>
                    <a:pt x="312" y="249"/>
                  </a:lnTo>
                  <a:close/>
                  <a:moveTo>
                    <a:pt x="308" y="249"/>
                  </a:moveTo>
                  <a:lnTo>
                    <a:pt x="308" y="247"/>
                  </a:lnTo>
                  <a:lnTo>
                    <a:pt x="308" y="249"/>
                  </a:lnTo>
                  <a:close/>
                  <a:moveTo>
                    <a:pt x="302" y="249"/>
                  </a:moveTo>
                  <a:lnTo>
                    <a:pt x="302" y="247"/>
                  </a:lnTo>
                  <a:lnTo>
                    <a:pt x="302" y="249"/>
                  </a:lnTo>
                  <a:close/>
                  <a:moveTo>
                    <a:pt x="308" y="247"/>
                  </a:moveTo>
                  <a:lnTo>
                    <a:pt x="308" y="245"/>
                  </a:lnTo>
                  <a:lnTo>
                    <a:pt x="308" y="247"/>
                  </a:lnTo>
                  <a:close/>
                  <a:moveTo>
                    <a:pt x="306" y="245"/>
                  </a:moveTo>
                  <a:lnTo>
                    <a:pt x="306" y="247"/>
                  </a:lnTo>
                  <a:lnTo>
                    <a:pt x="306" y="245"/>
                  </a:lnTo>
                  <a:close/>
                  <a:moveTo>
                    <a:pt x="302" y="245"/>
                  </a:moveTo>
                  <a:lnTo>
                    <a:pt x="302" y="247"/>
                  </a:lnTo>
                  <a:lnTo>
                    <a:pt x="302" y="245"/>
                  </a:lnTo>
                  <a:close/>
                  <a:moveTo>
                    <a:pt x="306" y="245"/>
                  </a:moveTo>
                  <a:lnTo>
                    <a:pt x="306" y="243"/>
                  </a:lnTo>
                  <a:lnTo>
                    <a:pt x="306" y="245"/>
                  </a:lnTo>
                  <a:close/>
                  <a:moveTo>
                    <a:pt x="302" y="245"/>
                  </a:moveTo>
                  <a:lnTo>
                    <a:pt x="304" y="245"/>
                  </a:lnTo>
                  <a:lnTo>
                    <a:pt x="302" y="245"/>
                  </a:lnTo>
                  <a:close/>
                  <a:moveTo>
                    <a:pt x="302" y="243"/>
                  </a:moveTo>
                  <a:lnTo>
                    <a:pt x="302" y="245"/>
                  </a:lnTo>
                  <a:lnTo>
                    <a:pt x="302" y="243"/>
                  </a:lnTo>
                  <a:lnTo>
                    <a:pt x="302" y="245"/>
                  </a:lnTo>
                  <a:lnTo>
                    <a:pt x="302" y="243"/>
                  </a:lnTo>
                  <a:close/>
                  <a:moveTo>
                    <a:pt x="298" y="245"/>
                  </a:moveTo>
                  <a:lnTo>
                    <a:pt x="298" y="247"/>
                  </a:lnTo>
                  <a:lnTo>
                    <a:pt x="300" y="247"/>
                  </a:lnTo>
                  <a:lnTo>
                    <a:pt x="298" y="247"/>
                  </a:lnTo>
                  <a:lnTo>
                    <a:pt x="300" y="247"/>
                  </a:lnTo>
                  <a:lnTo>
                    <a:pt x="298" y="247"/>
                  </a:lnTo>
                  <a:lnTo>
                    <a:pt x="300" y="247"/>
                  </a:lnTo>
                  <a:lnTo>
                    <a:pt x="300" y="249"/>
                  </a:lnTo>
                  <a:lnTo>
                    <a:pt x="300" y="247"/>
                  </a:lnTo>
                  <a:lnTo>
                    <a:pt x="300" y="249"/>
                  </a:lnTo>
                  <a:lnTo>
                    <a:pt x="300" y="247"/>
                  </a:lnTo>
                  <a:lnTo>
                    <a:pt x="300" y="249"/>
                  </a:lnTo>
                  <a:lnTo>
                    <a:pt x="302" y="249"/>
                  </a:lnTo>
                  <a:lnTo>
                    <a:pt x="304" y="249"/>
                  </a:lnTo>
                  <a:lnTo>
                    <a:pt x="306" y="249"/>
                  </a:lnTo>
                  <a:lnTo>
                    <a:pt x="304" y="249"/>
                  </a:lnTo>
                  <a:lnTo>
                    <a:pt x="306" y="249"/>
                  </a:lnTo>
                  <a:lnTo>
                    <a:pt x="308" y="249"/>
                  </a:lnTo>
                  <a:lnTo>
                    <a:pt x="308" y="251"/>
                  </a:lnTo>
                  <a:lnTo>
                    <a:pt x="306" y="251"/>
                  </a:lnTo>
                  <a:lnTo>
                    <a:pt x="304" y="251"/>
                  </a:lnTo>
                  <a:lnTo>
                    <a:pt x="302" y="251"/>
                  </a:lnTo>
                  <a:lnTo>
                    <a:pt x="302" y="249"/>
                  </a:lnTo>
                  <a:lnTo>
                    <a:pt x="300" y="249"/>
                  </a:lnTo>
                  <a:lnTo>
                    <a:pt x="300" y="247"/>
                  </a:lnTo>
                  <a:lnTo>
                    <a:pt x="298" y="247"/>
                  </a:lnTo>
                  <a:lnTo>
                    <a:pt x="298" y="245"/>
                  </a:lnTo>
                  <a:close/>
                  <a:moveTo>
                    <a:pt x="304" y="241"/>
                  </a:moveTo>
                  <a:lnTo>
                    <a:pt x="304" y="243"/>
                  </a:lnTo>
                  <a:lnTo>
                    <a:pt x="304" y="241"/>
                  </a:lnTo>
                  <a:lnTo>
                    <a:pt x="304" y="243"/>
                  </a:lnTo>
                  <a:lnTo>
                    <a:pt x="304" y="241"/>
                  </a:lnTo>
                  <a:lnTo>
                    <a:pt x="304" y="243"/>
                  </a:lnTo>
                  <a:lnTo>
                    <a:pt x="304" y="241"/>
                  </a:lnTo>
                  <a:close/>
                  <a:moveTo>
                    <a:pt x="302" y="243"/>
                  </a:moveTo>
                  <a:lnTo>
                    <a:pt x="302" y="241"/>
                  </a:lnTo>
                  <a:lnTo>
                    <a:pt x="302" y="243"/>
                  </a:lnTo>
                  <a:close/>
                  <a:moveTo>
                    <a:pt x="302" y="243"/>
                  </a:moveTo>
                  <a:lnTo>
                    <a:pt x="302" y="241"/>
                  </a:lnTo>
                  <a:lnTo>
                    <a:pt x="302" y="243"/>
                  </a:lnTo>
                  <a:close/>
                  <a:moveTo>
                    <a:pt x="302" y="241"/>
                  </a:moveTo>
                  <a:lnTo>
                    <a:pt x="300" y="241"/>
                  </a:lnTo>
                  <a:lnTo>
                    <a:pt x="302" y="241"/>
                  </a:lnTo>
                  <a:lnTo>
                    <a:pt x="300" y="241"/>
                  </a:lnTo>
                  <a:lnTo>
                    <a:pt x="302" y="241"/>
                  </a:lnTo>
                  <a:close/>
                  <a:moveTo>
                    <a:pt x="306" y="241"/>
                  </a:moveTo>
                  <a:lnTo>
                    <a:pt x="304" y="241"/>
                  </a:lnTo>
                  <a:lnTo>
                    <a:pt x="306" y="241"/>
                  </a:lnTo>
                  <a:close/>
                  <a:moveTo>
                    <a:pt x="296" y="241"/>
                  </a:moveTo>
                  <a:lnTo>
                    <a:pt x="296" y="243"/>
                  </a:lnTo>
                  <a:lnTo>
                    <a:pt x="298" y="243"/>
                  </a:lnTo>
                  <a:lnTo>
                    <a:pt x="296" y="243"/>
                  </a:lnTo>
                  <a:lnTo>
                    <a:pt x="298" y="243"/>
                  </a:lnTo>
                  <a:lnTo>
                    <a:pt x="298" y="245"/>
                  </a:lnTo>
                  <a:lnTo>
                    <a:pt x="298" y="243"/>
                  </a:lnTo>
                  <a:lnTo>
                    <a:pt x="296" y="243"/>
                  </a:lnTo>
                  <a:lnTo>
                    <a:pt x="296" y="241"/>
                  </a:lnTo>
                  <a:close/>
                  <a:moveTo>
                    <a:pt x="300" y="241"/>
                  </a:moveTo>
                  <a:lnTo>
                    <a:pt x="302" y="241"/>
                  </a:lnTo>
                  <a:lnTo>
                    <a:pt x="300" y="241"/>
                  </a:lnTo>
                  <a:lnTo>
                    <a:pt x="302" y="241"/>
                  </a:lnTo>
                  <a:lnTo>
                    <a:pt x="300" y="241"/>
                  </a:lnTo>
                  <a:lnTo>
                    <a:pt x="300" y="239"/>
                  </a:lnTo>
                  <a:lnTo>
                    <a:pt x="300" y="241"/>
                  </a:lnTo>
                  <a:close/>
                  <a:moveTo>
                    <a:pt x="300" y="241"/>
                  </a:moveTo>
                  <a:lnTo>
                    <a:pt x="300" y="239"/>
                  </a:lnTo>
                  <a:lnTo>
                    <a:pt x="300" y="241"/>
                  </a:lnTo>
                  <a:close/>
                  <a:moveTo>
                    <a:pt x="298" y="241"/>
                  </a:moveTo>
                  <a:lnTo>
                    <a:pt x="300" y="241"/>
                  </a:lnTo>
                  <a:lnTo>
                    <a:pt x="298" y="241"/>
                  </a:lnTo>
                  <a:close/>
                  <a:moveTo>
                    <a:pt x="298" y="239"/>
                  </a:moveTo>
                  <a:lnTo>
                    <a:pt x="300" y="239"/>
                  </a:lnTo>
                  <a:lnTo>
                    <a:pt x="298" y="239"/>
                  </a:lnTo>
                  <a:close/>
                  <a:moveTo>
                    <a:pt x="304" y="239"/>
                  </a:moveTo>
                  <a:lnTo>
                    <a:pt x="304" y="237"/>
                  </a:lnTo>
                  <a:lnTo>
                    <a:pt x="304" y="239"/>
                  </a:lnTo>
                  <a:close/>
                  <a:moveTo>
                    <a:pt x="302" y="239"/>
                  </a:moveTo>
                  <a:lnTo>
                    <a:pt x="304" y="239"/>
                  </a:lnTo>
                  <a:lnTo>
                    <a:pt x="302" y="239"/>
                  </a:lnTo>
                  <a:close/>
                  <a:moveTo>
                    <a:pt x="304" y="237"/>
                  </a:moveTo>
                  <a:lnTo>
                    <a:pt x="302" y="237"/>
                  </a:lnTo>
                  <a:lnTo>
                    <a:pt x="304" y="237"/>
                  </a:lnTo>
                  <a:close/>
                  <a:moveTo>
                    <a:pt x="298" y="239"/>
                  </a:moveTo>
                  <a:lnTo>
                    <a:pt x="298" y="237"/>
                  </a:lnTo>
                  <a:lnTo>
                    <a:pt x="298" y="239"/>
                  </a:lnTo>
                  <a:close/>
                  <a:moveTo>
                    <a:pt x="304" y="237"/>
                  </a:moveTo>
                  <a:lnTo>
                    <a:pt x="302" y="237"/>
                  </a:lnTo>
                  <a:lnTo>
                    <a:pt x="304" y="237"/>
                  </a:lnTo>
                  <a:close/>
                  <a:moveTo>
                    <a:pt x="298" y="237"/>
                  </a:moveTo>
                  <a:lnTo>
                    <a:pt x="298" y="239"/>
                  </a:lnTo>
                  <a:lnTo>
                    <a:pt x="298" y="237"/>
                  </a:lnTo>
                  <a:lnTo>
                    <a:pt x="298" y="239"/>
                  </a:lnTo>
                  <a:lnTo>
                    <a:pt x="298" y="237"/>
                  </a:lnTo>
                  <a:close/>
                  <a:moveTo>
                    <a:pt x="296" y="237"/>
                  </a:moveTo>
                  <a:lnTo>
                    <a:pt x="296" y="239"/>
                  </a:lnTo>
                  <a:lnTo>
                    <a:pt x="296" y="237"/>
                  </a:lnTo>
                  <a:lnTo>
                    <a:pt x="296" y="239"/>
                  </a:lnTo>
                  <a:lnTo>
                    <a:pt x="296" y="237"/>
                  </a:lnTo>
                  <a:close/>
                  <a:moveTo>
                    <a:pt x="302" y="237"/>
                  </a:moveTo>
                  <a:lnTo>
                    <a:pt x="302" y="235"/>
                  </a:lnTo>
                  <a:lnTo>
                    <a:pt x="302" y="237"/>
                  </a:lnTo>
                  <a:lnTo>
                    <a:pt x="304" y="237"/>
                  </a:lnTo>
                  <a:lnTo>
                    <a:pt x="302" y="237"/>
                  </a:lnTo>
                  <a:close/>
                  <a:moveTo>
                    <a:pt x="304" y="235"/>
                  </a:moveTo>
                  <a:lnTo>
                    <a:pt x="304" y="237"/>
                  </a:lnTo>
                  <a:lnTo>
                    <a:pt x="304" y="235"/>
                  </a:lnTo>
                  <a:close/>
                  <a:moveTo>
                    <a:pt x="304" y="235"/>
                  </a:moveTo>
                  <a:lnTo>
                    <a:pt x="302" y="235"/>
                  </a:lnTo>
                  <a:lnTo>
                    <a:pt x="304" y="235"/>
                  </a:lnTo>
                  <a:lnTo>
                    <a:pt x="302" y="235"/>
                  </a:lnTo>
                  <a:lnTo>
                    <a:pt x="304" y="235"/>
                  </a:lnTo>
                  <a:close/>
                  <a:moveTo>
                    <a:pt x="302" y="235"/>
                  </a:moveTo>
                  <a:lnTo>
                    <a:pt x="302" y="237"/>
                  </a:lnTo>
                  <a:lnTo>
                    <a:pt x="302" y="235"/>
                  </a:lnTo>
                  <a:lnTo>
                    <a:pt x="300" y="235"/>
                  </a:lnTo>
                  <a:lnTo>
                    <a:pt x="302" y="235"/>
                  </a:lnTo>
                  <a:close/>
                  <a:moveTo>
                    <a:pt x="294" y="237"/>
                  </a:moveTo>
                  <a:lnTo>
                    <a:pt x="296" y="237"/>
                  </a:lnTo>
                  <a:lnTo>
                    <a:pt x="294" y="237"/>
                  </a:lnTo>
                  <a:close/>
                  <a:moveTo>
                    <a:pt x="298" y="235"/>
                  </a:moveTo>
                  <a:lnTo>
                    <a:pt x="298" y="237"/>
                  </a:lnTo>
                  <a:lnTo>
                    <a:pt x="298" y="235"/>
                  </a:lnTo>
                  <a:close/>
                  <a:moveTo>
                    <a:pt x="408" y="217"/>
                  </a:moveTo>
                  <a:lnTo>
                    <a:pt x="408" y="215"/>
                  </a:lnTo>
                  <a:lnTo>
                    <a:pt x="408" y="217"/>
                  </a:lnTo>
                  <a:close/>
                  <a:moveTo>
                    <a:pt x="304" y="235"/>
                  </a:moveTo>
                  <a:lnTo>
                    <a:pt x="302" y="235"/>
                  </a:lnTo>
                  <a:lnTo>
                    <a:pt x="304" y="235"/>
                  </a:lnTo>
                  <a:close/>
                  <a:moveTo>
                    <a:pt x="304" y="235"/>
                  </a:moveTo>
                  <a:lnTo>
                    <a:pt x="302" y="235"/>
                  </a:lnTo>
                  <a:lnTo>
                    <a:pt x="304" y="235"/>
                  </a:lnTo>
                  <a:close/>
                  <a:moveTo>
                    <a:pt x="298" y="235"/>
                  </a:moveTo>
                  <a:lnTo>
                    <a:pt x="300" y="235"/>
                  </a:lnTo>
                  <a:lnTo>
                    <a:pt x="298" y="235"/>
                  </a:lnTo>
                  <a:lnTo>
                    <a:pt x="300" y="235"/>
                  </a:lnTo>
                  <a:lnTo>
                    <a:pt x="300" y="237"/>
                  </a:lnTo>
                  <a:lnTo>
                    <a:pt x="302" y="237"/>
                  </a:lnTo>
                  <a:lnTo>
                    <a:pt x="302" y="239"/>
                  </a:lnTo>
                  <a:lnTo>
                    <a:pt x="304" y="239"/>
                  </a:lnTo>
                  <a:lnTo>
                    <a:pt x="304" y="241"/>
                  </a:lnTo>
                  <a:lnTo>
                    <a:pt x="304" y="239"/>
                  </a:lnTo>
                  <a:lnTo>
                    <a:pt x="304" y="241"/>
                  </a:lnTo>
                  <a:lnTo>
                    <a:pt x="302" y="241"/>
                  </a:lnTo>
                  <a:lnTo>
                    <a:pt x="302" y="239"/>
                  </a:lnTo>
                  <a:lnTo>
                    <a:pt x="302" y="241"/>
                  </a:lnTo>
                  <a:lnTo>
                    <a:pt x="304" y="241"/>
                  </a:lnTo>
                  <a:lnTo>
                    <a:pt x="302" y="241"/>
                  </a:lnTo>
                  <a:lnTo>
                    <a:pt x="304" y="241"/>
                  </a:lnTo>
                  <a:lnTo>
                    <a:pt x="304" y="243"/>
                  </a:lnTo>
                  <a:lnTo>
                    <a:pt x="304" y="245"/>
                  </a:lnTo>
                  <a:lnTo>
                    <a:pt x="306" y="245"/>
                  </a:lnTo>
                  <a:lnTo>
                    <a:pt x="306" y="247"/>
                  </a:lnTo>
                  <a:lnTo>
                    <a:pt x="306" y="245"/>
                  </a:lnTo>
                  <a:lnTo>
                    <a:pt x="304" y="245"/>
                  </a:lnTo>
                  <a:lnTo>
                    <a:pt x="306" y="245"/>
                  </a:lnTo>
                  <a:lnTo>
                    <a:pt x="304" y="245"/>
                  </a:lnTo>
                  <a:lnTo>
                    <a:pt x="306" y="245"/>
                  </a:lnTo>
                  <a:lnTo>
                    <a:pt x="306" y="247"/>
                  </a:lnTo>
                  <a:lnTo>
                    <a:pt x="304" y="247"/>
                  </a:lnTo>
                  <a:lnTo>
                    <a:pt x="304" y="245"/>
                  </a:lnTo>
                  <a:lnTo>
                    <a:pt x="302" y="245"/>
                  </a:lnTo>
                  <a:lnTo>
                    <a:pt x="304" y="245"/>
                  </a:lnTo>
                  <a:lnTo>
                    <a:pt x="302" y="245"/>
                  </a:lnTo>
                  <a:lnTo>
                    <a:pt x="304" y="245"/>
                  </a:lnTo>
                  <a:lnTo>
                    <a:pt x="302" y="245"/>
                  </a:lnTo>
                  <a:lnTo>
                    <a:pt x="302" y="243"/>
                  </a:lnTo>
                  <a:lnTo>
                    <a:pt x="302" y="241"/>
                  </a:lnTo>
                  <a:lnTo>
                    <a:pt x="300" y="241"/>
                  </a:lnTo>
                  <a:lnTo>
                    <a:pt x="302" y="241"/>
                  </a:lnTo>
                  <a:lnTo>
                    <a:pt x="302" y="239"/>
                  </a:lnTo>
                  <a:lnTo>
                    <a:pt x="300" y="239"/>
                  </a:lnTo>
                  <a:lnTo>
                    <a:pt x="302" y="239"/>
                  </a:lnTo>
                  <a:lnTo>
                    <a:pt x="300" y="239"/>
                  </a:lnTo>
                  <a:lnTo>
                    <a:pt x="302" y="239"/>
                  </a:lnTo>
                  <a:lnTo>
                    <a:pt x="300" y="239"/>
                  </a:lnTo>
                  <a:lnTo>
                    <a:pt x="300" y="237"/>
                  </a:lnTo>
                  <a:lnTo>
                    <a:pt x="298" y="237"/>
                  </a:lnTo>
                  <a:lnTo>
                    <a:pt x="298" y="235"/>
                  </a:lnTo>
                  <a:lnTo>
                    <a:pt x="298" y="237"/>
                  </a:lnTo>
                  <a:lnTo>
                    <a:pt x="298" y="235"/>
                  </a:lnTo>
                  <a:lnTo>
                    <a:pt x="298" y="237"/>
                  </a:lnTo>
                  <a:lnTo>
                    <a:pt x="298" y="235"/>
                  </a:lnTo>
                  <a:close/>
                  <a:moveTo>
                    <a:pt x="304" y="235"/>
                  </a:moveTo>
                  <a:lnTo>
                    <a:pt x="302" y="235"/>
                  </a:lnTo>
                  <a:lnTo>
                    <a:pt x="304" y="235"/>
                  </a:lnTo>
                  <a:close/>
                  <a:moveTo>
                    <a:pt x="294" y="235"/>
                  </a:moveTo>
                  <a:lnTo>
                    <a:pt x="294" y="237"/>
                  </a:lnTo>
                  <a:lnTo>
                    <a:pt x="294" y="235"/>
                  </a:lnTo>
                  <a:lnTo>
                    <a:pt x="294" y="237"/>
                  </a:lnTo>
                  <a:lnTo>
                    <a:pt x="294" y="239"/>
                  </a:lnTo>
                  <a:lnTo>
                    <a:pt x="294" y="237"/>
                  </a:lnTo>
                  <a:lnTo>
                    <a:pt x="294" y="239"/>
                  </a:lnTo>
                  <a:lnTo>
                    <a:pt x="296" y="239"/>
                  </a:lnTo>
                  <a:lnTo>
                    <a:pt x="296" y="241"/>
                  </a:lnTo>
                  <a:lnTo>
                    <a:pt x="296" y="239"/>
                  </a:lnTo>
                  <a:lnTo>
                    <a:pt x="294" y="239"/>
                  </a:lnTo>
                  <a:lnTo>
                    <a:pt x="294" y="237"/>
                  </a:lnTo>
                  <a:lnTo>
                    <a:pt x="294" y="235"/>
                  </a:lnTo>
                  <a:close/>
                  <a:moveTo>
                    <a:pt x="302" y="235"/>
                  </a:moveTo>
                  <a:lnTo>
                    <a:pt x="302" y="233"/>
                  </a:lnTo>
                  <a:lnTo>
                    <a:pt x="304" y="233"/>
                  </a:lnTo>
                  <a:lnTo>
                    <a:pt x="302" y="233"/>
                  </a:lnTo>
                  <a:lnTo>
                    <a:pt x="302" y="235"/>
                  </a:lnTo>
                  <a:close/>
                  <a:moveTo>
                    <a:pt x="302" y="233"/>
                  </a:moveTo>
                  <a:lnTo>
                    <a:pt x="302" y="235"/>
                  </a:lnTo>
                  <a:lnTo>
                    <a:pt x="302" y="233"/>
                  </a:lnTo>
                  <a:close/>
                  <a:moveTo>
                    <a:pt x="302" y="233"/>
                  </a:moveTo>
                  <a:lnTo>
                    <a:pt x="302" y="235"/>
                  </a:lnTo>
                  <a:lnTo>
                    <a:pt x="302" y="233"/>
                  </a:lnTo>
                  <a:close/>
                  <a:moveTo>
                    <a:pt x="292" y="231"/>
                  </a:moveTo>
                  <a:lnTo>
                    <a:pt x="294" y="231"/>
                  </a:lnTo>
                  <a:lnTo>
                    <a:pt x="292" y="231"/>
                  </a:lnTo>
                  <a:close/>
                  <a:moveTo>
                    <a:pt x="296" y="231"/>
                  </a:moveTo>
                  <a:lnTo>
                    <a:pt x="298" y="231"/>
                  </a:lnTo>
                  <a:lnTo>
                    <a:pt x="296" y="231"/>
                  </a:lnTo>
                  <a:close/>
                  <a:moveTo>
                    <a:pt x="294" y="231"/>
                  </a:moveTo>
                  <a:lnTo>
                    <a:pt x="296" y="231"/>
                  </a:lnTo>
                  <a:lnTo>
                    <a:pt x="294" y="231"/>
                  </a:lnTo>
                  <a:close/>
                  <a:moveTo>
                    <a:pt x="294" y="231"/>
                  </a:moveTo>
                  <a:lnTo>
                    <a:pt x="296" y="231"/>
                  </a:lnTo>
                  <a:lnTo>
                    <a:pt x="294" y="231"/>
                  </a:lnTo>
                  <a:close/>
                  <a:moveTo>
                    <a:pt x="296" y="231"/>
                  </a:moveTo>
                  <a:lnTo>
                    <a:pt x="296" y="229"/>
                  </a:lnTo>
                  <a:lnTo>
                    <a:pt x="296" y="231"/>
                  </a:lnTo>
                  <a:close/>
                  <a:moveTo>
                    <a:pt x="296" y="231"/>
                  </a:moveTo>
                  <a:lnTo>
                    <a:pt x="294" y="231"/>
                  </a:lnTo>
                  <a:lnTo>
                    <a:pt x="296" y="231"/>
                  </a:lnTo>
                  <a:close/>
                  <a:moveTo>
                    <a:pt x="296" y="231"/>
                  </a:moveTo>
                  <a:lnTo>
                    <a:pt x="296" y="229"/>
                  </a:lnTo>
                  <a:lnTo>
                    <a:pt x="296" y="231"/>
                  </a:lnTo>
                  <a:close/>
                  <a:moveTo>
                    <a:pt x="296" y="229"/>
                  </a:moveTo>
                  <a:lnTo>
                    <a:pt x="296" y="231"/>
                  </a:lnTo>
                  <a:lnTo>
                    <a:pt x="296" y="229"/>
                  </a:lnTo>
                  <a:close/>
                  <a:moveTo>
                    <a:pt x="294" y="231"/>
                  </a:moveTo>
                  <a:lnTo>
                    <a:pt x="294" y="229"/>
                  </a:lnTo>
                  <a:lnTo>
                    <a:pt x="294" y="231"/>
                  </a:lnTo>
                  <a:close/>
                  <a:moveTo>
                    <a:pt x="296" y="229"/>
                  </a:moveTo>
                  <a:lnTo>
                    <a:pt x="294" y="229"/>
                  </a:lnTo>
                  <a:lnTo>
                    <a:pt x="296" y="229"/>
                  </a:lnTo>
                  <a:close/>
                  <a:moveTo>
                    <a:pt x="294" y="231"/>
                  </a:moveTo>
                  <a:lnTo>
                    <a:pt x="294" y="229"/>
                  </a:lnTo>
                  <a:lnTo>
                    <a:pt x="294" y="231"/>
                  </a:lnTo>
                  <a:close/>
                  <a:moveTo>
                    <a:pt x="294" y="231"/>
                  </a:moveTo>
                  <a:lnTo>
                    <a:pt x="294" y="229"/>
                  </a:lnTo>
                  <a:lnTo>
                    <a:pt x="294" y="231"/>
                  </a:lnTo>
                  <a:close/>
                  <a:moveTo>
                    <a:pt x="296" y="229"/>
                  </a:moveTo>
                  <a:lnTo>
                    <a:pt x="296" y="231"/>
                  </a:lnTo>
                  <a:lnTo>
                    <a:pt x="296" y="229"/>
                  </a:lnTo>
                  <a:close/>
                  <a:moveTo>
                    <a:pt x="304" y="229"/>
                  </a:moveTo>
                  <a:lnTo>
                    <a:pt x="304" y="227"/>
                  </a:lnTo>
                  <a:lnTo>
                    <a:pt x="304" y="229"/>
                  </a:lnTo>
                  <a:close/>
                  <a:moveTo>
                    <a:pt x="304" y="229"/>
                  </a:moveTo>
                  <a:lnTo>
                    <a:pt x="304" y="227"/>
                  </a:lnTo>
                  <a:lnTo>
                    <a:pt x="304" y="229"/>
                  </a:lnTo>
                  <a:close/>
                  <a:moveTo>
                    <a:pt x="296" y="229"/>
                  </a:moveTo>
                  <a:lnTo>
                    <a:pt x="294" y="229"/>
                  </a:lnTo>
                  <a:lnTo>
                    <a:pt x="296" y="229"/>
                  </a:lnTo>
                  <a:lnTo>
                    <a:pt x="294" y="229"/>
                  </a:lnTo>
                  <a:lnTo>
                    <a:pt x="296" y="229"/>
                  </a:lnTo>
                  <a:close/>
                  <a:moveTo>
                    <a:pt x="304" y="227"/>
                  </a:moveTo>
                  <a:lnTo>
                    <a:pt x="304" y="229"/>
                  </a:lnTo>
                  <a:lnTo>
                    <a:pt x="304" y="227"/>
                  </a:lnTo>
                  <a:close/>
                  <a:moveTo>
                    <a:pt x="292" y="229"/>
                  </a:moveTo>
                  <a:lnTo>
                    <a:pt x="292" y="231"/>
                  </a:lnTo>
                  <a:lnTo>
                    <a:pt x="292" y="233"/>
                  </a:lnTo>
                  <a:lnTo>
                    <a:pt x="292" y="231"/>
                  </a:lnTo>
                  <a:lnTo>
                    <a:pt x="292" y="233"/>
                  </a:lnTo>
                  <a:lnTo>
                    <a:pt x="292" y="231"/>
                  </a:lnTo>
                  <a:lnTo>
                    <a:pt x="294" y="231"/>
                  </a:lnTo>
                  <a:lnTo>
                    <a:pt x="294" y="233"/>
                  </a:lnTo>
                  <a:lnTo>
                    <a:pt x="294" y="231"/>
                  </a:lnTo>
                  <a:lnTo>
                    <a:pt x="294" y="233"/>
                  </a:lnTo>
                  <a:lnTo>
                    <a:pt x="294" y="231"/>
                  </a:lnTo>
                  <a:lnTo>
                    <a:pt x="292" y="233"/>
                  </a:lnTo>
                  <a:lnTo>
                    <a:pt x="294" y="233"/>
                  </a:lnTo>
                  <a:lnTo>
                    <a:pt x="292" y="233"/>
                  </a:lnTo>
                  <a:lnTo>
                    <a:pt x="294" y="233"/>
                  </a:lnTo>
                  <a:lnTo>
                    <a:pt x="292" y="233"/>
                  </a:lnTo>
                  <a:lnTo>
                    <a:pt x="292" y="235"/>
                  </a:lnTo>
                  <a:lnTo>
                    <a:pt x="294" y="235"/>
                  </a:lnTo>
                  <a:lnTo>
                    <a:pt x="292" y="235"/>
                  </a:lnTo>
                  <a:lnTo>
                    <a:pt x="292" y="233"/>
                  </a:lnTo>
                  <a:lnTo>
                    <a:pt x="292" y="231"/>
                  </a:lnTo>
                  <a:lnTo>
                    <a:pt x="292" y="229"/>
                  </a:lnTo>
                  <a:close/>
                  <a:moveTo>
                    <a:pt x="304" y="227"/>
                  </a:moveTo>
                  <a:lnTo>
                    <a:pt x="302" y="227"/>
                  </a:lnTo>
                  <a:lnTo>
                    <a:pt x="304" y="227"/>
                  </a:lnTo>
                  <a:lnTo>
                    <a:pt x="302" y="227"/>
                  </a:lnTo>
                  <a:lnTo>
                    <a:pt x="304" y="227"/>
                  </a:lnTo>
                  <a:close/>
                  <a:moveTo>
                    <a:pt x="294" y="229"/>
                  </a:moveTo>
                  <a:lnTo>
                    <a:pt x="292" y="229"/>
                  </a:lnTo>
                  <a:lnTo>
                    <a:pt x="294" y="229"/>
                  </a:lnTo>
                  <a:close/>
                  <a:moveTo>
                    <a:pt x="294" y="229"/>
                  </a:moveTo>
                  <a:lnTo>
                    <a:pt x="292" y="229"/>
                  </a:lnTo>
                  <a:lnTo>
                    <a:pt x="294" y="229"/>
                  </a:lnTo>
                  <a:close/>
                  <a:moveTo>
                    <a:pt x="294" y="229"/>
                  </a:moveTo>
                  <a:lnTo>
                    <a:pt x="292" y="229"/>
                  </a:lnTo>
                  <a:lnTo>
                    <a:pt x="294" y="229"/>
                  </a:lnTo>
                  <a:close/>
                  <a:moveTo>
                    <a:pt x="294" y="229"/>
                  </a:moveTo>
                  <a:lnTo>
                    <a:pt x="292" y="229"/>
                  </a:lnTo>
                  <a:lnTo>
                    <a:pt x="294" y="229"/>
                  </a:lnTo>
                  <a:close/>
                  <a:moveTo>
                    <a:pt x="304" y="227"/>
                  </a:moveTo>
                  <a:lnTo>
                    <a:pt x="302" y="227"/>
                  </a:lnTo>
                  <a:lnTo>
                    <a:pt x="304" y="227"/>
                  </a:lnTo>
                  <a:close/>
                  <a:moveTo>
                    <a:pt x="304" y="227"/>
                  </a:moveTo>
                  <a:lnTo>
                    <a:pt x="302" y="227"/>
                  </a:lnTo>
                  <a:lnTo>
                    <a:pt x="304" y="227"/>
                  </a:lnTo>
                  <a:close/>
                  <a:moveTo>
                    <a:pt x="304" y="227"/>
                  </a:moveTo>
                  <a:lnTo>
                    <a:pt x="302" y="227"/>
                  </a:lnTo>
                  <a:lnTo>
                    <a:pt x="304" y="227"/>
                  </a:lnTo>
                  <a:close/>
                  <a:moveTo>
                    <a:pt x="304" y="227"/>
                  </a:moveTo>
                  <a:lnTo>
                    <a:pt x="302" y="227"/>
                  </a:lnTo>
                  <a:lnTo>
                    <a:pt x="304" y="227"/>
                  </a:lnTo>
                  <a:close/>
                  <a:moveTo>
                    <a:pt x="304" y="227"/>
                  </a:moveTo>
                  <a:lnTo>
                    <a:pt x="302" y="227"/>
                  </a:lnTo>
                  <a:lnTo>
                    <a:pt x="304" y="227"/>
                  </a:lnTo>
                  <a:close/>
                  <a:moveTo>
                    <a:pt x="302" y="227"/>
                  </a:moveTo>
                  <a:lnTo>
                    <a:pt x="302" y="225"/>
                  </a:lnTo>
                  <a:lnTo>
                    <a:pt x="302" y="227"/>
                  </a:lnTo>
                  <a:close/>
                  <a:moveTo>
                    <a:pt x="302" y="225"/>
                  </a:moveTo>
                  <a:lnTo>
                    <a:pt x="302" y="227"/>
                  </a:lnTo>
                  <a:lnTo>
                    <a:pt x="302" y="225"/>
                  </a:lnTo>
                  <a:close/>
                  <a:moveTo>
                    <a:pt x="302" y="223"/>
                  </a:moveTo>
                  <a:lnTo>
                    <a:pt x="302" y="225"/>
                  </a:lnTo>
                  <a:lnTo>
                    <a:pt x="302" y="223"/>
                  </a:lnTo>
                  <a:close/>
                  <a:moveTo>
                    <a:pt x="302" y="225"/>
                  </a:moveTo>
                  <a:lnTo>
                    <a:pt x="302" y="223"/>
                  </a:lnTo>
                  <a:lnTo>
                    <a:pt x="302" y="225"/>
                  </a:lnTo>
                  <a:close/>
                  <a:moveTo>
                    <a:pt x="288" y="227"/>
                  </a:moveTo>
                  <a:lnTo>
                    <a:pt x="288" y="225"/>
                  </a:lnTo>
                  <a:lnTo>
                    <a:pt x="288" y="227"/>
                  </a:lnTo>
                  <a:close/>
                  <a:moveTo>
                    <a:pt x="288" y="225"/>
                  </a:moveTo>
                  <a:lnTo>
                    <a:pt x="288" y="227"/>
                  </a:lnTo>
                  <a:lnTo>
                    <a:pt x="290" y="227"/>
                  </a:lnTo>
                  <a:lnTo>
                    <a:pt x="288" y="227"/>
                  </a:lnTo>
                  <a:lnTo>
                    <a:pt x="290" y="227"/>
                  </a:lnTo>
                  <a:lnTo>
                    <a:pt x="288" y="227"/>
                  </a:lnTo>
                  <a:lnTo>
                    <a:pt x="290" y="227"/>
                  </a:lnTo>
                  <a:lnTo>
                    <a:pt x="290" y="229"/>
                  </a:lnTo>
                  <a:lnTo>
                    <a:pt x="290" y="227"/>
                  </a:lnTo>
                  <a:lnTo>
                    <a:pt x="290" y="229"/>
                  </a:lnTo>
                  <a:lnTo>
                    <a:pt x="292" y="229"/>
                  </a:lnTo>
                  <a:lnTo>
                    <a:pt x="290" y="229"/>
                  </a:lnTo>
                  <a:lnTo>
                    <a:pt x="290" y="227"/>
                  </a:lnTo>
                  <a:lnTo>
                    <a:pt x="288" y="227"/>
                  </a:lnTo>
                  <a:lnTo>
                    <a:pt x="288" y="225"/>
                  </a:lnTo>
                  <a:close/>
                  <a:moveTo>
                    <a:pt x="288" y="225"/>
                  </a:moveTo>
                  <a:lnTo>
                    <a:pt x="286" y="225"/>
                  </a:lnTo>
                  <a:lnTo>
                    <a:pt x="288" y="225"/>
                  </a:lnTo>
                  <a:close/>
                  <a:moveTo>
                    <a:pt x="286" y="225"/>
                  </a:moveTo>
                  <a:lnTo>
                    <a:pt x="288" y="225"/>
                  </a:lnTo>
                  <a:lnTo>
                    <a:pt x="286" y="225"/>
                  </a:lnTo>
                  <a:lnTo>
                    <a:pt x="286" y="223"/>
                  </a:lnTo>
                  <a:lnTo>
                    <a:pt x="286" y="225"/>
                  </a:lnTo>
                  <a:close/>
                  <a:moveTo>
                    <a:pt x="286" y="223"/>
                  </a:moveTo>
                  <a:lnTo>
                    <a:pt x="286" y="225"/>
                  </a:lnTo>
                  <a:lnTo>
                    <a:pt x="286" y="223"/>
                  </a:lnTo>
                  <a:close/>
                  <a:moveTo>
                    <a:pt x="404" y="203"/>
                  </a:moveTo>
                  <a:lnTo>
                    <a:pt x="402" y="203"/>
                  </a:lnTo>
                  <a:lnTo>
                    <a:pt x="404" y="203"/>
                  </a:lnTo>
                  <a:close/>
                  <a:moveTo>
                    <a:pt x="404" y="203"/>
                  </a:moveTo>
                  <a:lnTo>
                    <a:pt x="402" y="203"/>
                  </a:lnTo>
                  <a:lnTo>
                    <a:pt x="404" y="203"/>
                  </a:lnTo>
                  <a:close/>
                  <a:moveTo>
                    <a:pt x="402" y="203"/>
                  </a:moveTo>
                  <a:lnTo>
                    <a:pt x="402" y="203"/>
                  </a:lnTo>
                  <a:lnTo>
                    <a:pt x="402" y="203"/>
                  </a:lnTo>
                  <a:close/>
                  <a:moveTo>
                    <a:pt x="296" y="221"/>
                  </a:moveTo>
                  <a:lnTo>
                    <a:pt x="298" y="221"/>
                  </a:lnTo>
                  <a:lnTo>
                    <a:pt x="296" y="221"/>
                  </a:lnTo>
                  <a:lnTo>
                    <a:pt x="298" y="221"/>
                  </a:lnTo>
                  <a:lnTo>
                    <a:pt x="296" y="221"/>
                  </a:lnTo>
                  <a:lnTo>
                    <a:pt x="298" y="221"/>
                  </a:lnTo>
                  <a:lnTo>
                    <a:pt x="296" y="221"/>
                  </a:lnTo>
                  <a:close/>
                  <a:moveTo>
                    <a:pt x="402" y="203"/>
                  </a:moveTo>
                  <a:lnTo>
                    <a:pt x="404" y="203"/>
                  </a:lnTo>
                  <a:lnTo>
                    <a:pt x="402" y="203"/>
                  </a:lnTo>
                  <a:lnTo>
                    <a:pt x="404" y="203"/>
                  </a:lnTo>
                  <a:lnTo>
                    <a:pt x="404" y="203"/>
                  </a:lnTo>
                  <a:lnTo>
                    <a:pt x="404" y="203"/>
                  </a:lnTo>
                  <a:lnTo>
                    <a:pt x="404" y="203"/>
                  </a:lnTo>
                  <a:lnTo>
                    <a:pt x="404" y="205"/>
                  </a:lnTo>
                  <a:lnTo>
                    <a:pt x="406" y="205"/>
                  </a:lnTo>
                  <a:lnTo>
                    <a:pt x="406" y="207"/>
                  </a:lnTo>
                  <a:lnTo>
                    <a:pt x="406" y="209"/>
                  </a:lnTo>
                  <a:lnTo>
                    <a:pt x="408" y="211"/>
                  </a:lnTo>
                  <a:lnTo>
                    <a:pt x="406" y="211"/>
                  </a:lnTo>
                  <a:lnTo>
                    <a:pt x="406" y="209"/>
                  </a:lnTo>
                  <a:lnTo>
                    <a:pt x="406" y="207"/>
                  </a:lnTo>
                  <a:lnTo>
                    <a:pt x="406" y="209"/>
                  </a:lnTo>
                  <a:lnTo>
                    <a:pt x="406" y="207"/>
                  </a:lnTo>
                  <a:lnTo>
                    <a:pt x="406" y="209"/>
                  </a:lnTo>
                  <a:lnTo>
                    <a:pt x="404" y="207"/>
                  </a:lnTo>
                  <a:lnTo>
                    <a:pt x="404" y="205"/>
                  </a:lnTo>
                  <a:lnTo>
                    <a:pt x="404" y="203"/>
                  </a:lnTo>
                  <a:lnTo>
                    <a:pt x="402" y="203"/>
                  </a:lnTo>
                  <a:lnTo>
                    <a:pt x="402" y="203"/>
                  </a:lnTo>
                  <a:close/>
                  <a:moveTo>
                    <a:pt x="298" y="219"/>
                  </a:moveTo>
                  <a:lnTo>
                    <a:pt x="298" y="217"/>
                  </a:lnTo>
                  <a:lnTo>
                    <a:pt x="298" y="219"/>
                  </a:lnTo>
                  <a:close/>
                  <a:moveTo>
                    <a:pt x="400" y="197"/>
                  </a:moveTo>
                  <a:lnTo>
                    <a:pt x="398" y="197"/>
                  </a:lnTo>
                  <a:lnTo>
                    <a:pt x="400" y="197"/>
                  </a:lnTo>
                  <a:close/>
                  <a:moveTo>
                    <a:pt x="278" y="213"/>
                  </a:moveTo>
                  <a:lnTo>
                    <a:pt x="280" y="213"/>
                  </a:lnTo>
                  <a:lnTo>
                    <a:pt x="280" y="215"/>
                  </a:lnTo>
                  <a:lnTo>
                    <a:pt x="280" y="217"/>
                  </a:lnTo>
                  <a:lnTo>
                    <a:pt x="280" y="215"/>
                  </a:lnTo>
                  <a:lnTo>
                    <a:pt x="280" y="217"/>
                  </a:lnTo>
                  <a:lnTo>
                    <a:pt x="280" y="215"/>
                  </a:lnTo>
                  <a:lnTo>
                    <a:pt x="280" y="217"/>
                  </a:lnTo>
                  <a:lnTo>
                    <a:pt x="282" y="217"/>
                  </a:lnTo>
                  <a:lnTo>
                    <a:pt x="282" y="219"/>
                  </a:lnTo>
                  <a:lnTo>
                    <a:pt x="284" y="219"/>
                  </a:lnTo>
                  <a:lnTo>
                    <a:pt x="284" y="221"/>
                  </a:lnTo>
                  <a:lnTo>
                    <a:pt x="284" y="223"/>
                  </a:lnTo>
                  <a:lnTo>
                    <a:pt x="286" y="223"/>
                  </a:lnTo>
                  <a:lnTo>
                    <a:pt x="286" y="225"/>
                  </a:lnTo>
                  <a:lnTo>
                    <a:pt x="288" y="225"/>
                  </a:lnTo>
                  <a:lnTo>
                    <a:pt x="286" y="225"/>
                  </a:lnTo>
                  <a:lnTo>
                    <a:pt x="286" y="223"/>
                  </a:lnTo>
                  <a:lnTo>
                    <a:pt x="284" y="223"/>
                  </a:lnTo>
                  <a:lnTo>
                    <a:pt x="284" y="221"/>
                  </a:lnTo>
                  <a:lnTo>
                    <a:pt x="282" y="219"/>
                  </a:lnTo>
                  <a:lnTo>
                    <a:pt x="282" y="217"/>
                  </a:lnTo>
                  <a:lnTo>
                    <a:pt x="280" y="217"/>
                  </a:lnTo>
                  <a:lnTo>
                    <a:pt x="280" y="215"/>
                  </a:lnTo>
                  <a:lnTo>
                    <a:pt x="278" y="213"/>
                  </a:lnTo>
                  <a:close/>
                  <a:moveTo>
                    <a:pt x="398" y="195"/>
                  </a:moveTo>
                  <a:lnTo>
                    <a:pt x="398" y="193"/>
                  </a:lnTo>
                  <a:lnTo>
                    <a:pt x="398" y="195"/>
                  </a:lnTo>
                  <a:close/>
                  <a:moveTo>
                    <a:pt x="280" y="211"/>
                  </a:moveTo>
                  <a:lnTo>
                    <a:pt x="280" y="213"/>
                  </a:lnTo>
                  <a:lnTo>
                    <a:pt x="280" y="211"/>
                  </a:lnTo>
                  <a:close/>
                  <a:moveTo>
                    <a:pt x="396" y="191"/>
                  </a:moveTo>
                  <a:lnTo>
                    <a:pt x="396" y="193"/>
                  </a:lnTo>
                  <a:lnTo>
                    <a:pt x="398" y="193"/>
                  </a:lnTo>
                  <a:lnTo>
                    <a:pt x="398" y="195"/>
                  </a:lnTo>
                  <a:lnTo>
                    <a:pt x="400" y="195"/>
                  </a:lnTo>
                  <a:lnTo>
                    <a:pt x="400" y="197"/>
                  </a:lnTo>
                  <a:lnTo>
                    <a:pt x="400" y="199"/>
                  </a:lnTo>
                  <a:lnTo>
                    <a:pt x="402" y="199"/>
                  </a:lnTo>
                  <a:lnTo>
                    <a:pt x="402" y="201"/>
                  </a:lnTo>
                  <a:lnTo>
                    <a:pt x="402" y="203"/>
                  </a:lnTo>
                  <a:lnTo>
                    <a:pt x="402" y="201"/>
                  </a:lnTo>
                  <a:lnTo>
                    <a:pt x="402" y="199"/>
                  </a:lnTo>
                  <a:lnTo>
                    <a:pt x="400" y="199"/>
                  </a:lnTo>
                  <a:lnTo>
                    <a:pt x="400" y="197"/>
                  </a:lnTo>
                  <a:lnTo>
                    <a:pt x="398" y="197"/>
                  </a:lnTo>
                  <a:lnTo>
                    <a:pt x="398" y="195"/>
                  </a:lnTo>
                  <a:lnTo>
                    <a:pt x="398" y="193"/>
                  </a:lnTo>
                  <a:lnTo>
                    <a:pt x="396" y="193"/>
                  </a:lnTo>
                  <a:lnTo>
                    <a:pt x="396" y="191"/>
                  </a:lnTo>
                  <a:lnTo>
                    <a:pt x="396" y="193"/>
                  </a:lnTo>
                  <a:lnTo>
                    <a:pt x="396" y="191"/>
                  </a:lnTo>
                  <a:close/>
                  <a:moveTo>
                    <a:pt x="390" y="191"/>
                  </a:moveTo>
                  <a:lnTo>
                    <a:pt x="388" y="191"/>
                  </a:lnTo>
                  <a:lnTo>
                    <a:pt x="390" y="191"/>
                  </a:lnTo>
                  <a:close/>
                  <a:moveTo>
                    <a:pt x="276" y="207"/>
                  </a:moveTo>
                  <a:lnTo>
                    <a:pt x="276" y="209"/>
                  </a:lnTo>
                  <a:lnTo>
                    <a:pt x="276" y="211"/>
                  </a:lnTo>
                  <a:lnTo>
                    <a:pt x="278" y="211"/>
                  </a:lnTo>
                  <a:lnTo>
                    <a:pt x="278" y="213"/>
                  </a:lnTo>
                  <a:lnTo>
                    <a:pt x="278" y="211"/>
                  </a:lnTo>
                  <a:lnTo>
                    <a:pt x="276" y="211"/>
                  </a:lnTo>
                  <a:lnTo>
                    <a:pt x="276" y="209"/>
                  </a:lnTo>
                  <a:lnTo>
                    <a:pt x="276" y="207"/>
                  </a:lnTo>
                  <a:close/>
                  <a:moveTo>
                    <a:pt x="274" y="203"/>
                  </a:moveTo>
                  <a:lnTo>
                    <a:pt x="274" y="205"/>
                  </a:lnTo>
                  <a:lnTo>
                    <a:pt x="274" y="203"/>
                  </a:lnTo>
                  <a:close/>
                  <a:moveTo>
                    <a:pt x="274" y="205"/>
                  </a:moveTo>
                  <a:lnTo>
                    <a:pt x="274" y="203"/>
                  </a:lnTo>
                  <a:lnTo>
                    <a:pt x="274" y="205"/>
                  </a:lnTo>
                  <a:close/>
                  <a:moveTo>
                    <a:pt x="274" y="203"/>
                  </a:moveTo>
                  <a:lnTo>
                    <a:pt x="274" y="205"/>
                  </a:lnTo>
                  <a:lnTo>
                    <a:pt x="274" y="203"/>
                  </a:lnTo>
                  <a:lnTo>
                    <a:pt x="274" y="205"/>
                  </a:lnTo>
                  <a:lnTo>
                    <a:pt x="274" y="203"/>
                  </a:lnTo>
                  <a:lnTo>
                    <a:pt x="274" y="205"/>
                  </a:lnTo>
                  <a:lnTo>
                    <a:pt x="274" y="205"/>
                  </a:lnTo>
                  <a:lnTo>
                    <a:pt x="274" y="205"/>
                  </a:lnTo>
                  <a:lnTo>
                    <a:pt x="274" y="205"/>
                  </a:lnTo>
                  <a:lnTo>
                    <a:pt x="274" y="205"/>
                  </a:lnTo>
                  <a:lnTo>
                    <a:pt x="274" y="207"/>
                  </a:lnTo>
                  <a:lnTo>
                    <a:pt x="276" y="207"/>
                  </a:lnTo>
                  <a:lnTo>
                    <a:pt x="274" y="207"/>
                  </a:lnTo>
                  <a:lnTo>
                    <a:pt x="274" y="205"/>
                  </a:lnTo>
                  <a:lnTo>
                    <a:pt x="274" y="205"/>
                  </a:lnTo>
                  <a:lnTo>
                    <a:pt x="274" y="203"/>
                  </a:lnTo>
                  <a:close/>
                  <a:moveTo>
                    <a:pt x="274" y="203"/>
                  </a:moveTo>
                  <a:lnTo>
                    <a:pt x="274" y="203"/>
                  </a:lnTo>
                  <a:lnTo>
                    <a:pt x="274" y="203"/>
                  </a:lnTo>
                  <a:close/>
                  <a:moveTo>
                    <a:pt x="274" y="203"/>
                  </a:moveTo>
                  <a:lnTo>
                    <a:pt x="274" y="203"/>
                  </a:lnTo>
                  <a:lnTo>
                    <a:pt x="274" y="203"/>
                  </a:lnTo>
                  <a:close/>
                  <a:moveTo>
                    <a:pt x="272" y="203"/>
                  </a:moveTo>
                  <a:lnTo>
                    <a:pt x="274" y="203"/>
                  </a:lnTo>
                  <a:lnTo>
                    <a:pt x="272" y="203"/>
                  </a:lnTo>
                  <a:lnTo>
                    <a:pt x="274" y="203"/>
                  </a:lnTo>
                  <a:lnTo>
                    <a:pt x="274" y="203"/>
                  </a:lnTo>
                  <a:lnTo>
                    <a:pt x="274" y="203"/>
                  </a:lnTo>
                  <a:lnTo>
                    <a:pt x="274" y="203"/>
                  </a:lnTo>
                  <a:lnTo>
                    <a:pt x="272" y="203"/>
                  </a:lnTo>
                  <a:lnTo>
                    <a:pt x="272" y="203"/>
                  </a:lnTo>
                  <a:close/>
                  <a:moveTo>
                    <a:pt x="270" y="199"/>
                  </a:moveTo>
                  <a:lnTo>
                    <a:pt x="268" y="199"/>
                  </a:lnTo>
                  <a:lnTo>
                    <a:pt x="270" y="199"/>
                  </a:lnTo>
                  <a:close/>
                  <a:moveTo>
                    <a:pt x="266" y="197"/>
                  </a:moveTo>
                  <a:lnTo>
                    <a:pt x="268" y="197"/>
                  </a:lnTo>
                  <a:lnTo>
                    <a:pt x="266" y="197"/>
                  </a:lnTo>
                  <a:close/>
                  <a:moveTo>
                    <a:pt x="266" y="197"/>
                  </a:moveTo>
                  <a:lnTo>
                    <a:pt x="266" y="199"/>
                  </a:lnTo>
                  <a:lnTo>
                    <a:pt x="266" y="197"/>
                  </a:lnTo>
                  <a:lnTo>
                    <a:pt x="266" y="199"/>
                  </a:lnTo>
                  <a:lnTo>
                    <a:pt x="266" y="197"/>
                  </a:lnTo>
                  <a:lnTo>
                    <a:pt x="266" y="199"/>
                  </a:lnTo>
                  <a:lnTo>
                    <a:pt x="266" y="197"/>
                  </a:lnTo>
                  <a:lnTo>
                    <a:pt x="266" y="199"/>
                  </a:lnTo>
                  <a:lnTo>
                    <a:pt x="266" y="197"/>
                  </a:lnTo>
                  <a:lnTo>
                    <a:pt x="266" y="199"/>
                  </a:lnTo>
                  <a:lnTo>
                    <a:pt x="266" y="197"/>
                  </a:lnTo>
                  <a:lnTo>
                    <a:pt x="266" y="199"/>
                  </a:lnTo>
                  <a:lnTo>
                    <a:pt x="268" y="197"/>
                  </a:lnTo>
                  <a:lnTo>
                    <a:pt x="268" y="199"/>
                  </a:lnTo>
                  <a:lnTo>
                    <a:pt x="268" y="201"/>
                  </a:lnTo>
                  <a:lnTo>
                    <a:pt x="270" y="201"/>
                  </a:lnTo>
                  <a:lnTo>
                    <a:pt x="268" y="201"/>
                  </a:lnTo>
                  <a:lnTo>
                    <a:pt x="270" y="201"/>
                  </a:lnTo>
                  <a:lnTo>
                    <a:pt x="268" y="201"/>
                  </a:lnTo>
                  <a:lnTo>
                    <a:pt x="270" y="201"/>
                  </a:lnTo>
                  <a:lnTo>
                    <a:pt x="272" y="201"/>
                  </a:lnTo>
                  <a:lnTo>
                    <a:pt x="272" y="203"/>
                  </a:lnTo>
                  <a:lnTo>
                    <a:pt x="272" y="201"/>
                  </a:lnTo>
                  <a:lnTo>
                    <a:pt x="272" y="203"/>
                  </a:lnTo>
                  <a:lnTo>
                    <a:pt x="272" y="201"/>
                  </a:lnTo>
                  <a:lnTo>
                    <a:pt x="272" y="203"/>
                  </a:lnTo>
                  <a:lnTo>
                    <a:pt x="270" y="203"/>
                  </a:lnTo>
                  <a:lnTo>
                    <a:pt x="270" y="201"/>
                  </a:lnTo>
                  <a:lnTo>
                    <a:pt x="268" y="201"/>
                  </a:lnTo>
                  <a:lnTo>
                    <a:pt x="268" y="199"/>
                  </a:lnTo>
                  <a:lnTo>
                    <a:pt x="266" y="199"/>
                  </a:lnTo>
                  <a:lnTo>
                    <a:pt x="266" y="197"/>
                  </a:lnTo>
                  <a:close/>
                  <a:moveTo>
                    <a:pt x="386" y="175"/>
                  </a:moveTo>
                  <a:lnTo>
                    <a:pt x="388" y="177"/>
                  </a:lnTo>
                  <a:lnTo>
                    <a:pt x="388" y="179"/>
                  </a:lnTo>
                  <a:lnTo>
                    <a:pt x="390" y="179"/>
                  </a:lnTo>
                  <a:lnTo>
                    <a:pt x="390" y="181"/>
                  </a:lnTo>
                  <a:lnTo>
                    <a:pt x="390" y="183"/>
                  </a:lnTo>
                  <a:lnTo>
                    <a:pt x="392" y="183"/>
                  </a:lnTo>
                  <a:lnTo>
                    <a:pt x="392" y="185"/>
                  </a:lnTo>
                  <a:lnTo>
                    <a:pt x="392" y="187"/>
                  </a:lnTo>
                  <a:lnTo>
                    <a:pt x="394" y="187"/>
                  </a:lnTo>
                  <a:lnTo>
                    <a:pt x="394" y="189"/>
                  </a:lnTo>
                  <a:lnTo>
                    <a:pt x="396" y="189"/>
                  </a:lnTo>
                  <a:lnTo>
                    <a:pt x="396" y="191"/>
                  </a:lnTo>
                  <a:lnTo>
                    <a:pt x="396" y="189"/>
                  </a:lnTo>
                  <a:lnTo>
                    <a:pt x="394" y="189"/>
                  </a:lnTo>
                  <a:lnTo>
                    <a:pt x="394" y="187"/>
                  </a:lnTo>
                  <a:lnTo>
                    <a:pt x="392" y="187"/>
                  </a:lnTo>
                  <a:lnTo>
                    <a:pt x="392" y="185"/>
                  </a:lnTo>
                  <a:lnTo>
                    <a:pt x="392" y="183"/>
                  </a:lnTo>
                  <a:lnTo>
                    <a:pt x="390" y="183"/>
                  </a:lnTo>
                  <a:lnTo>
                    <a:pt x="390" y="181"/>
                  </a:lnTo>
                  <a:lnTo>
                    <a:pt x="390" y="183"/>
                  </a:lnTo>
                  <a:lnTo>
                    <a:pt x="390" y="181"/>
                  </a:lnTo>
                  <a:lnTo>
                    <a:pt x="388" y="181"/>
                  </a:lnTo>
                  <a:lnTo>
                    <a:pt x="390" y="181"/>
                  </a:lnTo>
                  <a:lnTo>
                    <a:pt x="388" y="181"/>
                  </a:lnTo>
                  <a:lnTo>
                    <a:pt x="390" y="181"/>
                  </a:lnTo>
                  <a:lnTo>
                    <a:pt x="388" y="181"/>
                  </a:lnTo>
                  <a:lnTo>
                    <a:pt x="388" y="179"/>
                  </a:lnTo>
                  <a:lnTo>
                    <a:pt x="388" y="177"/>
                  </a:lnTo>
                  <a:lnTo>
                    <a:pt x="386" y="177"/>
                  </a:lnTo>
                  <a:lnTo>
                    <a:pt x="388" y="177"/>
                  </a:lnTo>
                  <a:lnTo>
                    <a:pt x="386" y="177"/>
                  </a:lnTo>
                  <a:lnTo>
                    <a:pt x="386" y="175"/>
                  </a:lnTo>
                  <a:lnTo>
                    <a:pt x="384" y="175"/>
                  </a:lnTo>
                  <a:lnTo>
                    <a:pt x="386" y="175"/>
                  </a:lnTo>
                  <a:close/>
                  <a:moveTo>
                    <a:pt x="384" y="175"/>
                  </a:moveTo>
                  <a:lnTo>
                    <a:pt x="384" y="173"/>
                  </a:lnTo>
                  <a:lnTo>
                    <a:pt x="384" y="175"/>
                  </a:lnTo>
                  <a:close/>
                  <a:moveTo>
                    <a:pt x="266" y="193"/>
                  </a:moveTo>
                  <a:lnTo>
                    <a:pt x="266" y="195"/>
                  </a:lnTo>
                  <a:lnTo>
                    <a:pt x="266" y="193"/>
                  </a:lnTo>
                  <a:lnTo>
                    <a:pt x="266" y="195"/>
                  </a:lnTo>
                  <a:lnTo>
                    <a:pt x="266" y="193"/>
                  </a:lnTo>
                  <a:close/>
                  <a:moveTo>
                    <a:pt x="264" y="193"/>
                  </a:moveTo>
                  <a:lnTo>
                    <a:pt x="262" y="193"/>
                  </a:lnTo>
                  <a:lnTo>
                    <a:pt x="264" y="193"/>
                  </a:lnTo>
                  <a:lnTo>
                    <a:pt x="262" y="193"/>
                  </a:lnTo>
                  <a:lnTo>
                    <a:pt x="264" y="193"/>
                  </a:lnTo>
                  <a:lnTo>
                    <a:pt x="262" y="193"/>
                  </a:lnTo>
                  <a:lnTo>
                    <a:pt x="264" y="193"/>
                  </a:lnTo>
                  <a:lnTo>
                    <a:pt x="262" y="193"/>
                  </a:lnTo>
                  <a:lnTo>
                    <a:pt x="264" y="193"/>
                  </a:lnTo>
                  <a:lnTo>
                    <a:pt x="262" y="193"/>
                  </a:lnTo>
                  <a:lnTo>
                    <a:pt x="264" y="193"/>
                  </a:lnTo>
                  <a:lnTo>
                    <a:pt x="264" y="195"/>
                  </a:lnTo>
                  <a:lnTo>
                    <a:pt x="266" y="195"/>
                  </a:lnTo>
                  <a:lnTo>
                    <a:pt x="266" y="197"/>
                  </a:lnTo>
                  <a:lnTo>
                    <a:pt x="266" y="195"/>
                  </a:lnTo>
                  <a:lnTo>
                    <a:pt x="264" y="195"/>
                  </a:lnTo>
                  <a:lnTo>
                    <a:pt x="264" y="193"/>
                  </a:lnTo>
                  <a:lnTo>
                    <a:pt x="262" y="193"/>
                  </a:lnTo>
                  <a:lnTo>
                    <a:pt x="262" y="191"/>
                  </a:lnTo>
                  <a:lnTo>
                    <a:pt x="262" y="193"/>
                  </a:lnTo>
                  <a:lnTo>
                    <a:pt x="264" y="193"/>
                  </a:lnTo>
                  <a:close/>
                  <a:moveTo>
                    <a:pt x="270" y="191"/>
                  </a:moveTo>
                  <a:lnTo>
                    <a:pt x="268" y="191"/>
                  </a:lnTo>
                  <a:lnTo>
                    <a:pt x="270" y="191"/>
                  </a:lnTo>
                  <a:close/>
                  <a:moveTo>
                    <a:pt x="270" y="191"/>
                  </a:moveTo>
                  <a:lnTo>
                    <a:pt x="268" y="191"/>
                  </a:lnTo>
                  <a:lnTo>
                    <a:pt x="270" y="191"/>
                  </a:lnTo>
                  <a:close/>
                  <a:moveTo>
                    <a:pt x="270" y="191"/>
                  </a:moveTo>
                  <a:lnTo>
                    <a:pt x="270" y="189"/>
                  </a:lnTo>
                  <a:lnTo>
                    <a:pt x="270" y="191"/>
                  </a:lnTo>
                  <a:close/>
                  <a:moveTo>
                    <a:pt x="382" y="171"/>
                  </a:moveTo>
                  <a:lnTo>
                    <a:pt x="382" y="169"/>
                  </a:lnTo>
                  <a:lnTo>
                    <a:pt x="382" y="171"/>
                  </a:lnTo>
                  <a:close/>
                  <a:moveTo>
                    <a:pt x="270" y="189"/>
                  </a:moveTo>
                  <a:lnTo>
                    <a:pt x="268" y="189"/>
                  </a:lnTo>
                  <a:lnTo>
                    <a:pt x="270" y="189"/>
                  </a:lnTo>
                  <a:close/>
                  <a:moveTo>
                    <a:pt x="268" y="189"/>
                  </a:moveTo>
                  <a:lnTo>
                    <a:pt x="270" y="189"/>
                  </a:lnTo>
                  <a:lnTo>
                    <a:pt x="270" y="191"/>
                  </a:lnTo>
                  <a:lnTo>
                    <a:pt x="268" y="191"/>
                  </a:lnTo>
                  <a:lnTo>
                    <a:pt x="270" y="191"/>
                  </a:lnTo>
                  <a:lnTo>
                    <a:pt x="268" y="191"/>
                  </a:lnTo>
                  <a:lnTo>
                    <a:pt x="270" y="191"/>
                  </a:lnTo>
                  <a:lnTo>
                    <a:pt x="268" y="191"/>
                  </a:lnTo>
                  <a:lnTo>
                    <a:pt x="270" y="191"/>
                  </a:lnTo>
                  <a:lnTo>
                    <a:pt x="268" y="191"/>
                  </a:lnTo>
                  <a:lnTo>
                    <a:pt x="268" y="189"/>
                  </a:lnTo>
                  <a:close/>
                  <a:moveTo>
                    <a:pt x="268" y="189"/>
                  </a:moveTo>
                  <a:lnTo>
                    <a:pt x="268" y="187"/>
                  </a:lnTo>
                  <a:lnTo>
                    <a:pt x="268" y="189"/>
                  </a:lnTo>
                  <a:close/>
                  <a:moveTo>
                    <a:pt x="262" y="189"/>
                  </a:moveTo>
                  <a:lnTo>
                    <a:pt x="260" y="189"/>
                  </a:lnTo>
                  <a:lnTo>
                    <a:pt x="262" y="189"/>
                  </a:lnTo>
                  <a:close/>
                  <a:moveTo>
                    <a:pt x="264" y="187"/>
                  </a:moveTo>
                  <a:lnTo>
                    <a:pt x="262" y="187"/>
                  </a:lnTo>
                  <a:lnTo>
                    <a:pt x="264" y="187"/>
                  </a:lnTo>
                  <a:close/>
                  <a:moveTo>
                    <a:pt x="262" y="185"/>
                  </a:moveTo>
                  <a:lnTo>
                    <a:pt x="262" y="187"/>
                  </a:lnTo>
                  <a:lnTo>
                    <a:pt x="264" y="187"/>
                  </a:lnTo>
                  <a:lnTo>
                    <a:pt x="262" y="187"/>
                  </a:lnTo>
                  <a:lnTo>
                    <a:pt x="264" y="187"/>
                  </a:lnTo>
                  <a:lnTo>
                    <a:pt x="262" y="185"/>
                  </a:lnTo>
                  <a:lnTo>
                    <a:pt x="264" y="187"/>
                  </a:lnTo>
                  <a:lnTo>
                    <a:pt x="264" y="185"/>
                  </a:lnTo>
                  <a:lnTo>
                    <a:pt x="264" y="187"/>
                  </a:lnTo>
                  <a:lnTo>
                    <a:pt x="262" y="187"/>
                  </a:lnTo>
                  <a:lnTo>
                    <a:pt x="262" y="185"/>
                  </a:lnTo>
                  <a:lnTo>
                    <a:pt x="262" y="187"/>
                  </a:lnTo>
                  <a:lnTo>
                    <a:pt x="262" y="185"/>
                  </a:lnTo>
                  <a:lnTo>
                    <a:pt x="262" y="187"/>
                  </a:lnTo>
                  <a:lnTo>
                    <a:pt x="262" y="185"/>
                  </a:lnTo>
                  <a:lnTo>
                    <a:pt x="262" y="187"/>
                  </a:lnTo>
                  <a:lnTo>
                    <a:pt x="262" y="185"/>
                  </a:lnTo>
                  <a:close/>
                  <a:moveTo>
                    <a:pt x="266" y="185"/>
                  </a:moveTo>
                  <a:lnTo>
                    <a:pt x="264" y="185"/>
                  </a:lnTo>
                  <a:lnTo>
                    <a:pt x="266" y="185"/>
                  </a:lnTo>
                  <a:close/>
                  <a:moveTo>
                    <a:pt x="264" y="183"/>
                  </a:moveTo>
                  <a:lnTo>
                    <a:pt x="264" y="185"/>
                  </a:lnTo>
                  <a:lnTo>
                    <a:pt x="264" y="183"/>
                  </a:lnTo>
                  <a:close/>
                  <a:moveTo>
                    <a:pt x="262" y="185"/>
                  </a:moveTo>
                  <a:lnTo>
                    <a:pt x="262" y="183"/>
                  </a:lnTo>
                  <a:lnTo>
                    <a:pt x="262" y="185"/>
                  </a:lnTo>
                  <a:close/>
                  <a:moveTo>
                    <a:pt x="262" y="185"/>
                  </a:moveTo>
                  <a:lnTo>
                    <a:pt x="262" y="183"/>
                  </a:lnTo>
                  <a:lnTo>
                    <a:pt x="262" y="185"/>
                  </a:lnTo>
                  <a:close/>
                  <a:moveTo>
                    <a:pt x="262" y="183"/>
                  </a:moveTo>
                  <a:lnTo>
                    <a:pt x="262" y="185"/>
                  </a:lnTo>
                  <a:lnTo>
                    <a:pt x="262" y="183"/>
                  </a:lnTo>
                  <a:close/>
                  <a:moveTo>
                    <a:pt x="380" y="165"/>
                  </a:moveTo>
                  <a:lnTo>
                    <a:pt x="380" y="163"/>
                  </a:lnTo>
                  <a:lnTo>
                    <a:pt x="378" y="163"/>
                  </a:lnTo>
                  <a:lnTo>
                    <a:pt x="380" y="163"/>
                  </a:lnTo>
                  <a:lnTo>
                    <a:pt x="380" y="165"/>
                  </a:lnTo>
                  <a:close/>
                  <a:moveTo>
                    <a:pt x="272" y="183"/>
                  </a:moveTo>
                  <a:lnTo>
                    <a:pt x="272" y="181"/>
                  </a:lnTo>
                  <a:lnTo>
                    <a:pt x="272" y="183"/>
                  </a:lnTo>
                  <a:close/>
                  <a:moveTo>
                    <a:pt x="272" y="181"/>
                  </a:moveTo>
                  <a:lnTo>
                    <a:pt x="272" y="183"/>
                  </a:lnTo>
                  <a:lnTo>
                    <a:pt x="272" y="181"/>
                  </a:lnTo>
                  <a:close/>
                  <a:moveTo>
                    <a:pt x="262" y="183"/>
                  </a:moveTo>
                  <a:lnTo>
                    <a:pt x="262" y="185"/>
                  </a:lnTo>
                  <a:lnTo>
                    <a:pt x="262" y="183"/>
                  </a:lnTo>
                  <a:close/>
                  <a:moveTo>
                    <a:pt x="264" y="185"/>
                  </a:moveTo>
                  <a:lnTo>
                    <a:pt x="264" y="183"/>
                  </a:lnTo>
                  <a:lnTo>
                    <a:pt x="264" y="185"/>
                  </a:lnTo>
                  <a:close/>
                  <a:moveTo>
                    <a:pt x="272" y="181"/>
                  </a:moveTo>
                  <a:lnTo>
                    <a:pt x="274" y="181"/>
                  </a:lnTo>
                  <a:lnTo>
                    <a:pt x="272" y="181"/>
                  </a:lnTo>
                  <a:close/>
                  <a:moveTo>
                    <a:pt x="264" y="181"/>
                  </a:moveTo>
                  <a:lnTo>
                    <a:pt x="264" y="183"/>
                  </a:lnTo>
                  <a:lnTo>
                    <a:pt x="264" y="181"/>
                  </a:lnTo>
                  <a:close/>
                  <a:moveTo>
                    <a:pt x="274" y="181"/>
                  </a:moveTo>
                  <a:lnTo>
                    <a:pt x="272" y="181"/>
                  </a:lnTo>
                  <a:lnTo>
                    <a:pt x="274" y="181"/>
                  </a:lnTo>
                  <a:close/>
                  <a:moveTo>
                    <a:pt x="264" y="181"/>
                  </a:moveTo>
                  <a:lnTo>
                    <a:pt x="262" y="181"/>
                  </a:lnTo>
                  <a:lnTo>
                    <a:pt x="264" y="181"/>
                  </a:lnTo>
                  <a:close/>
                  <a:moveTo>
                    <a:pt x="274" y="179"/>
                  </a:moveTo>
                  <a:lnTo>
                    <a:pt x="274" y="181"/>
                  </a:lnTo>
                  <a:lnTo>
                    <a:pt x="274" y="179"/>
                  </a:lnTo>
                  <a:close/>
                  <a:moveTo>
                    <a:pt x="264" y="181"/>
                  </a:moveTo>
                  <a:lnTo>
                    <a:pt x="262" y="181"/>
                  </a:lnTo>
                  <a:lnTo>
                    <a:pt x="264" y="181"/>
                  </a:lnTo>
                  <a:close/>
                  <a:moveTo>
                    <a:pt x="262" y="181"/>
                  </a:moveTo>
                  <a:lnTo>
                    <a:pt x="262" y="183"/>
                  </a:lnTo>
                  <a:lnTo>
                    <a:pt x="262" y="181"/>
                  </a:lnTo>
                  <a:close/>
                  <a:moveTo>
                    <a:pt x="262" y="181"/>
                  </a:moveTo>
                  <a:lnTo>
                    <a:pt x="264" y="181"/>
                  </a:lnTo>
                  <a:lnTo>
                    <a:pt x="262" y="181"/>
                  </a:lnTo>
                  <a:close/>
                  <a:moveTo>
                    <a:pt x="266" y="179"/>
                  </a:moveTo>
                  <a:lnTo>
                    <a:pt x="266" y="181"/>
                  </a:lnTo>
                  <a:lnTo>
                    <a:pt x="266" y="179"/>
                  </a:lnTo>
                  <a:lnTo>
                    <a:pt x="266" y="181"/>
                  </a:lnTo>
                  <a:lnTo>
                    <a:pt x="266" y="179"/>
                  </a:lnTo>
                  <a:close/>
                  <a:moveTo>
                    <a:pt x="260" y="179"/>
                  </a:moveTo>
                  <a:lnTo>
                    <a:pt x="262" y="181"/>
                  </a:lnTo>
                  <a:lnTo>
                    <a:pt x="260" y="181"/>
                  </a:lnTo>
                  <a:lnTo>
                    <a:pt x="260" y="179"/>
                  </a:lnTo>
                  <a:close/>
                  <a:moveTo>
                    <a:pt x="376" y="159"/>
                  </a:moveTo>
                  <a:lnTo>
                    <a:pt x="376" y="161"/>
                  </a:lnTo>
                  <a:lnTo>
                    <a:pt x="376" y="159"/>
                  </a:lnTo>
                  <a:lnTo>
                    <a:pt x="376" y="161"/>
                  </a:lnTo>
                  <a:lnTo>
                    <a:pt x="376" y="159"/>
                  </a:lnTo>
                  <a:close/>
                  <a:moveTo>
                    <a:pt x="274" y="177"/>
                  </a:moveTo>
                  <a:lnTo>
                    <a:pt x="274" y="177"/>
                  </a:lnTo>
                  <a:lnTo>
                    <a:pt x="274" y="177"/>
                  </a:lnTo>
                  <a:lnTo>
                    <a:pt x="274" y="177"/>
                  </a:lnTo>
                  <a:lnTo>
                    <a:pt x="274" y="177"/>
                  </a:lnTo>
                  <a:lnTo>
                    <a:pt x="274" y="177"/>
                  </a:lnTo>
                  <a:lnTo>
                    <a:pt x="274" y="177"/>
                  </a:lnTo>
                  <a:close/>
                  <a:moveTo>
                    <a:pt x="378" y="159"/>
                  </a:moveTo>
                  <a:lnTo>
                    <a:pt x="378" y="161"/>
                  </a:lnTo>
                  <a:lnTo>
                    <a:pt x="378" y="159"/>
                  </a:lnTo>
                  <a:lnTo>
                    <a:pt x="378" y="161"/>
                  </a:lnTo>
                  <a:lnTo>
                    <a:pt x="376" y="161"/>
                  </a:lnTo>
                  <a:lnTo>
                    <a:pt x="376" y="159"/>
                  </a:lnTo>
                  <a:lnTo>
                    <a:pt x="378" y="159"/>
                  </a:lnTo>
                  <a:lnTo>
                    <a:pt x="376" y="159"/>
                  </a:lnTo>
                  <a:lnTo>
                    <a:pt x="378" y="159"/>
                  </a:lnTo>
                  <a:close/>
                  <a:moveTo>
                    <a:pt x="378" y="159"/>
                  </a:moveTo>
                  <a:lnTo>
                    <a:pt x="376" y="159"/>
                  </a:lnTo>
                  <a:lnTo>
                    <a:pt x="378" y="159"/>
                  </a:lnTo>
                  <a:close/>
                  <a:moveTo>
                    <a:pt x="260" y="179"/>
                  </a:moveTo>
                  <a:lnTo>
                    <a:pt x="260" y="181"/>
                  </a:lnTo>
                  <a:lnTo>
                    <a:pt x="260" y="179"/>
                  </a:lnTo>
                  <a:lnTo>
                    <a:pt x="260" y="181"/>
                  </a:lnTo>
                  <a:lnTo>
                    <a:pt x="260" y="179"/>
                  </a:lnTo>
                  <a:lnTo>
                    <a:pt x="260" y="181"/>
                  </a:lnTo>
                  <a:lnTo>
                    <a:pt x="262" y="181"/>
                  </a:lnTo>
                  <a:lnTo>
                    <a:pt x="260" y="181"/>
                  </a:lnTo>
                  <a:lnTo>
                    <a:pt x="262" y="181"/>
                  </a:lnTo>
                  <a:lnTo>
                    <a:pt x="260" y="181"/>
                  </a:lnTo>
                  <a:lnTo>
                    <a:pt x="262" y="181"/>
                  </a:lnTo>
                  <a:lnTo>
                    <a:pt x="262" y="183"/>
                  </a:lnTo>
                  <a:lnTo>
                    <a:pt x="262" y="181"/>
                  </a:lnTo>
                  <a:lnTo>
                    <a:pt x="262" y="183"/>
                  </a:lnTo>
                  <a:lnTo>
                    <a:pt x="262" y="181"/>
                  </a:lnTo>
                  <a:lnTo>
                    <a:pt x="262" y="183"/>
                  </a:lnTo>
                  <a:lnTo>
                    <a:pt x="260" y="183"/>
                  </a:lnTo>
                  <a:lnTo>
                    <a:pt x="260" y="181"/>
                  </a:lnTo>
                  <a:lnTo>
                    <a:pt x="260" y="179"/>
                  </a:lnTo>
                  <a:close/>
                  <a:moveTo>
                    <a:pt x="376" y="159"/>
                  </a:moveTo>
                  <a:lnTo>
                    <a:pt x="376" y="157"/>
                  </a:lnTo>
                  <a:lnTo>
                    <a:pt x="376" y="159"/>
                  </a:lnTo>
                  <a:close/>
                  <a:moveTo>
                    <a:pt x="258" y="177"/>
                  </a:moveTo>
                  <a:lnTo>
                    <a:pt x="260" y="177"/>
                  </a:lnTo>
                  <a:lnTo>
                    <a:pt x="258" y="177"/>
                  </a:lnTo>
                  <a:lnTo>
                    <a:pt x="260" y="177"/>
                  </a:lnTo>
                  <a:lnTo>
                    <a:pt x="258" y="177"/>
                  </a:lnTo>
                  <a:lnTo>
                    <a:pt x="258" y="179"/>
                  </a:lnTo>
                  <a:lnTo>
                    <a:pt x="260" y="177"/>
                  </a:lnTo>
                  <a:lnTo>
                    <a:pt x="260" y="179"/>
                  </a:lnTo>
                  <a:lnTo>
                    <a:pt x="260" y="177"/>
                  </a:lnTo>
                  <a:lnTo>
                    <a:pt x="260" y="179"/>
                  </a:lnTo>
                  <a:lnTo>
                    <a:pt x="258" y="177"/>
                  </a:lnTo>
                  <a:lnTo>
                    <a:pt x="260" y="179"/>
                  </a:lnTo>
                  <a:lnTo>
                    <a:pt x="258" y="177"/>
                  </a:lnTo>
                  <a:lnTo>
                    <a:pt x="258" y="179"/>
                  </a:lnTo>
                  <a:lnTo>
                    <a:pt x="260" y="179"/>
                  </a:lnTo>
                  <a:lnTo>
                    <a:pt x="258" y="179"/>
                  </a:lnTo>
                  <a:lnTo>
                    <a:pt x="260" y="179"/>
                  </a:lnTo>
                  <a:lnTo>
                    <a:pt x="258" y="179"/>
                  </a:lnTo>
                  <a:lnTo>
                    <a:pt x="260" y="179"/>
                  </a:lnTo>
                  <a:lnTo>
                    <a:pt x="260" y="181"/>
                  </a:lnTo>
                  <a:lnTo>
                    <a:pt x="260" y="179"/>
                  </a:lnTo>
                  <a:lnTo>
                    <a:pt x="258" y="179"/>
                  </a:lnTo>
                  <a:lnTo>
                    <a:pt x="258" y="177"/>
                  </a:lnTo>
                  <a:close/>
                  <a:moveTo>
                    <a:pt x="266" y="177"/>
                  </a:moveTo>
                  <a:lnTo>
                    <a:pt x="266" y="175"/>
                  </a:lnTo>
                  <a:lnTo>
                    <a:pt x="266" y="177"/>
                  </a:lnTo>
                  <a:close/>
                  <a:moveTo>
                    <a:pt x="276" y="173"/>
                  </a:moveTo>
                  <a:lnTo>
                    <a:pt x="274" y="173"/>
                  </a:lnTo>
                  <a:lnTo>
                    <a:pt x="276" y="173"/>
                  </a:lnTo>
                  <a:lnTo>
                    <a:pt x="274" y="173"/>
                  </a:lnTo>
                  <a:lnTo>
                    <a:pt x="276" y="173"/>
                  </a:lnTo>
                  <a:close/>
                  <a:moveTo>
                    <a:pt x="374" y="157"/>
                  </a:moveTo>
                  <a:lnTo>
                    <a:pt x="374" y="155"/>
                  </a:lnTo>
                  <a:lnTo>
                    <a:pt x="374" y="157"/>
                  </a:lnTo>
                  <a:close/>
                  <a:moveTo>
                    <a:pt x="268" y="175"/>
                  </a:moveTo>
                  <a:lnTo>
                    <a:pt x="268" y="173"/>
                  </a:lnTo>
                  <a:lnTo>
                    <a:pt x="268" y="175"/>
                  </a:lnTo>
                  <a:close/>
                  <a:moveTo>
                    <a:pt x="260" y="175"/>
                  </a:moveTo>
                  <a:lnTo>
                    <a:pt x="258" y="175"/>
                  </a:lnTo>
                  <a:lnTo>
                    <a:pt x="260" y="175"/>
                  </a:lnTo>
                  <a:close/>
                  <a:moveTo>
                    <a:pt x="270" y="171"/>
                  </a:moveTo>
                  <a:lnTo>
                    <a:pt x="270" y="173"/>
                  </a:lnTo>
                  <a:lnTo>
                    <a:pt x="270" y="171"/>
                  </a:lnTo>
                  <a:close/>
                  <a:moveTo>
                    <a:pt x="254" y="175"/>
                  </a:moveTo>
                  <a:lnTo>
                    <a:pt x="254" y="173"/>
                  </a:lnTo>
                  <a:lnTo>
                    <a:pt x="254" y="175"/>
                  </a:lnTo>
                  <a:close/>
                  <a:moveTo>
                    <a:pt x="266" y="171"/>
                  </a:moveTo>
                  <a:lnTo>
                    <a:pt x="266" y="173"/>
                  </a:lnTo>
                  <a:lnTo>
                    <a:pt x="266" y="171"/>
                  </a:lnTo>
                  <a:close/>
                  <a:moveTo>
                    <a:pt x="372" y="155"/>
                  </a:moveTo>
                  <a:lnTo>
                    <a:pt x="374" y="155"/>
                  </a:lnTo>
                  <a:lnTo>
                    <a:pt x="372" y="155"/>
                  </a:lnTo>
                  <a:close/>
                  <a:moveTo>
                    <a:pt x="374" y="155"/>
                  </a:moveTo>
                  <a:lnTo>
                    <a:pt x="374" y="155"/>
                  </a:lnTo>
                  <a:lnTo>
                    <a:pt x="376" y="155"/>
                  </a:lnTo>
                  <a:lnTo>
                    <a:pt x="376" y="157"/>
                  </a:lnTo>
                  <a:lnTo>
                    <a:pt x="376" y="159"/>
                  </a:lnTo>
                  <a:lnTo>
                    <a:pt x="378" y="159"/>
                  </a:lnTo>
                  <a:lnTo>
                    <a:pt x="378" y="161"/>
                  </a:lnTo>
                  <a:lnTo>
                    <a:pt x="380" y="161"/>
                  </a:lnTo>
                  <a:lnTo>
                    <a:pt x="380" y="163"/>
                  </a:lnTo>
                  <a:lnTo>
                    <a:pt x="380" y="165"/>
                  </a:lnTo>
                  <a:lnTo>
                    <a:pt x="382" y="165"/>
                  </a:lnTo>
                  <a:lnTo>
                    <a:pt x="382" y="167"/>
                  </a:lnTo>
                  <a:lnTo>
                    <a:pt x="382" y="169"/>
                  </a:lnTo>
                  <a:lnTo>
                    <a:pt x="384" y="169"/>
                  </a:lnTo>
                  <a:lnTo>
                    <a:pt x="384" y="171"/>
                  </a:lnTo>
                  <a:lnTo>
                    <a:pt x="384" y="173"/>
                  </a:lnTo>
                  <a:lnTo>
                    <a:pt x="386" y="173"/>
                  </a:lnTo>
                  <a:lnTo>
                    <a:pt x="386" y="175"/>
                  </a:lnTo>
                  <a:lnTo>
                    <a:pt x="384" y="175"/>
                  </a:lnTo>
                  <a:lnTo>
                    <a:pt x="384" y="173"/>
                  </a:lnTo>
                  <a:lnTo>
                    <a:pt x="386" y="173"/>
                  </a:lnTo>
                  <a:lnTo>
                    <a:pt x="384" y="173"/>
                  </a:lnTo>
                  <a:lnTo>
                    <a:pt x="386" y="173"/>
                  </a:lnTo>
                  <a:lnTo>
                    <a:pt x="384" y="173"/>
                  </a:lnTo>
                  <a:lnTo>
                    <a:pt x="386" y="173"/>
                  </a:lnTo>
                  <a:lnTo>
                    <a:pt x="384" y="173"/>
                  </a:lnTo>
                  <a:lnTo>
                    <a:pt x="386" y="173"/>
                  </a:lnTo>
                  <a:lnTo>
                    <a:pt x="384" y="173"/>
                  </a:lnTo>
                  <a:lnTo>
                    <a:pt x="384" y="175"/>
                  </a:lnTo>
                  <a:lnTo>
                    <a:pt x="384" y="173"/>
                  </a:lnTo>
                  <a:lnTo>
                    <a:pt x="384" y="175"/>
                  </a:lnTo>
                  <a:lnTo>
                    <a:pt x="384" y="173"/>
                  </a:lnTo>
                  <a:lnTo>
                    <a:pt x="384" y="171"/>
                  </a:lnTo>
                  <a:lnTo>
                    <a:pt x="384" y="173"/>
                  </a:lnTo>
                  <a:lnTo>
                    <a:pt x="384" y="171"/>
                  </a:lnTo>
                  <a:lnTo>
                    <a:pt x="382" y="171"/>
                  </a:lnTo>
                  <a:lnTo>
                    <a:pt x="384" y="171"/>
                  </a:lnTo>
                  <a:lnTo>
                    <a:pt x="382" y="171"/>
                  </a:lnTo>
                  <a:lnTo>
                    <a:pt x="384" y="171"/>
                  </a:lnTo>
                  <a:lnTo>
                    <a:pt x="382" y="171"/>
                  </a:lnTo>
                  <a:lnTo>
                    <a:pt x="382" y="169"/>
                  </a:lnTo>
                  <a:lnTo>
                    <a:pt x="382" y="171"/>
                  </a:lnTo>
                  <a:lnTo>
                    <a:pt x="384" y="171"/>
                  </a:lnTo>
                  <a:lnTo>
                    <a:pt x="384" y="169"/>
                  </a:lnTo>
                  <a:lnTo>
                    <a:pt x="382" y="169"/>
                  </a:lnTo>
                  <a:lnTo>
                    <a:pt x="384" y="169"/>
                  </a:lnTo>
                  <a:lnTo>
                    <a:pt x="382" y="169"/>
                  </a:lnTo>
                  <a:lnTo>
                    <a:pt x="384" y="169"/>
                  </a:lnTo>
                  <a:lnTo>
                    <a:pt x="382" y="169"/>
                  </a:lnTo>
                  <a:lnTo>
                    <a:pt x="382" y="167"/>
                  </a:lnTo>
                  <a:lnTo>
                    <a:pt x="380" y="167"/>
                  </a:lnTo>
                  <a:lnTo>
                    <a:pt x="380" y="165"/>
                  </a:lnTo>
                  <a:lnTo>
                    <a:pt x="380" y="163"/>
                  </a:lnTo>
                  <a:lnTo>
                    <a:pt x="380" y="165"/>
                  </a:lnTo>
                  <a:lnTo>
                    <a:pt x="380" y="163"/>
                  </a:lnTo>
                  <a:lnTo>
                    <a:pt x="380" y="165"/>
                  </a:lnTo>
                  <a:lnTo>
                    <a:pt x="380" y="163"/>
                  </a:lnTo>
                  <a:lnTo>
                    <a:pt x="378" y="163"/>
                  </a:lnTo>
                  <a:lnTo>
                    <a:pt x="378" y="161"/>
                  </a:lnTo>
                  <a:lnTo>
                    <a:pt x="378" y="163"/>
                  </a:lnTo>
                  <a:lnTo>
                    <a:pt x="378" y="161"/>
                  </a:lnTo>
                  <a:lnTo>
                    <a:pt x="378" y="159"/>
                  </a:lnTo>
                  <a:lnTo>
                    <a:pt x="376" y="159"/>
                  </a:lnTo>
                  <a:lnTo>
                    <a:pt x="376" y="157"/>
                  </a:lnTo>
                  <a:lnTo>
                    <a:pt x="374" y="157"/>
                  </a:lnTo>
                  <a:lnTo>
                    <a:pt x="376" y="157"/>
                  </a:lnTo>
                  <a:lnTo>
                    <a:pt x="374" y="157"/>
                  </a:lnTo>
                  <a:lnTo>
                    <a:pt x="374" y="155"/>
                  </a:lnTo>
                  <a:lnTo>
                    <a:pt x="376" y="155"/>
                  </a:lnTo>
                  <a:lnTo>
                    <a:pt x="374" y="155"/>
                  </a:lnTo>
                  <a:lnTo>
                    <a:pt x="376" y="155"/>
                  </a:lnTo>
                  <a:lnTo>
                    <a:pt x="374" y="155"/>
                  </a:lnTo>
                  <a:lnTo>
                    <a:pt x="374" y="155"/>
                  </a:lnTo>
                  <a:lnTo>
                    <a:pt x="374" y="155"/>
                  </a:lnTo>
                  <a:lnTo>
                    <a:pt x="374" y="155"/>
                  </a:lnTo>
                  <a:close/>
                  <a:moveTo>
                    <a:pt x="264" y="171"/>
                  </a:moveTo>
                  <a:lnTo>
                    <a:pt x="264" y="169"/>
                  </a:lnTo>
                  <a:lnTo>
                    <a:pt x="264" y="171"/>
                  </a:lnTo>
                  <a:close/>
                  <a:moveTo>
                    <a:pt x="264" y="169"/>
                  </a:moveTo>
                  <a:lnTo>
                    <a:pt x="266" y="169"/>
                  </a:lnTo>
                  <a:lnTo>
                    <a:pt x="264" y="169"/>
                  </a:lnTo>
                  <a:close/>
                  <a:moveTo>
                    <a:pt x="370" y="153"/>
                  </a:moveTo>
                  <a:lnTo>
                    <a:pt x="370" y="151"/>
                  </a:lnTo>
                  <a:lnTo>
                    <a:pt x="370" y="153"/>
                  </a:lnTo>
                  <a:lnTo>
                    <a:pt x="370" y="151"/>
                  </a:lnTo>
                  <a:lnTo>
                    <a:pt x="370" y="153"/>
                  </a:lnTo>
                  <a:close/>
                  <a:moveTo>
                    <a:pt x="370" y="153"/>
                  </a:moveTo>
                  <a:lnTo>
                    <a:pt x="370" y="151"/>
                  </a:lnTo>
                  <a:lnTo>
                    <a:pt x="370" y="153"/>
                  </a:lnTo>
                  <a:lnTo>
                    <a:pt x="370" y="151"/>
                  </a:lnTo>
                  <a:lnTo>
                    <a:pt x="370" y="153"/>
                  </a:lnTo>
                  <a:close/>
                  <a:moveTo>
                    <a:pt x="274" y="165"/>
                  </a:moveTo>
                  <a:lnTo>
                    <a:pt x="274" y="167"/>
                  </a:lnTo>
                  <a:lnTo>
                    <a:pt x="274" y="165"/>
                  </a:lnTo>
                  <a:close/>
                  <a:moveTo>
                    <a:pt x="254" y="169"/>
                  </a:moveTo>
                  <a:lnTo>
                    <a:pt x="256" y="169"/>
                  </a:lnTo>
                  <a:lnTo>
                    <a:pt x="254" y="169"/>
                  </a:lnTo>
                  <a:close/>
                  <a:moveTo>
                    <a:pt x="254" y="169"/>
                  </a:moveTo>
                  <a:lnTo>
                    <a:pt x="254" y="171"/>
                  </a:lnTo>
                  <a:lnTo>
                    <a:pt x="254" y="173"/>
                  </a:lnTo>
                  <a:lnTo>
                    <a:pt x="254" y="175"/>
                  </a:lnTo>
                  <a:lnTo>
                    <a:pt x="256" y="175"/>
                  </a:lnTo>
                  <a:lnTo>
                    <a:pt x="256" y="177"/>
                  </a:lnTo>
                  <a:lnTo>
                    <a:pt x="256" y="175"/>
                  </a:lnTo>
                  <a:lnTo>
                    <a:pt x="256" y="177"/>
                  </a:lnTo>
                  <a:lnTo>
                    <a:pt x="256" y="175"/>
                  </a:lnTo>
                  <a:lnTo>
                    <a:pt x="256" y="177"/>
                  </a:lnTo>
                  <a:lnTo>
                    <a:pt x="256" y="175"/>
                  </a:lnTo>
                  <a:lnTo>
                    <a:pt x="256" y="177"/>
                  </a:lnTo>
                  <a:lnTo>
                    <a:pt x="258" y="177"/>
                  </a:lnTo>
                  <a:lnTo>
                    <a:pt x="256" y="177"/>
                  </a:lnTo>
                  <a:lnTo>
                    <a:pt x="258" y="177"/>
                  </a:lnTo>
                  <a:lnTo>
                    <a:pt x="256" y="177"/>
                  </a:lnTo>
                  <a:lnTo>
                    <a:pt x="258" y="177"/>
                  </a:lnTo>
                  <a:lnTo>
                    <a:pt x="256" y="177"/>
                  </a:lnTo>
                  <a:lnTo>
                    <a:pt x="256" y="175"/>
                  </a:lnTo>
                  <a:lnTo>
                    <a:pt x="254" y="175"/>
                  </a:lnTo>
                  <a:lnTo>
                    <a:pt x="254" y="173"/>
                  </a:lnTo>
                  <a:lnTo>
                    <a:pt x="254" y="171"/>
                  </a:lnTo>
                  <a:lnTo>
                    <a:pt x="254" y="169"/>
                  </a:lnTo>
                  <a:lnTo>
                    <a:pt x="254" y="167"/>
                  </a:lnTo>
                  <a:lnTo>
                    <a:pt x="254" y="169"/>
                  </a:lnTo>
                  <a:close/>
                  <a:moveTo>
                    <a:pt x="264" y="165"/>
                  </a:moveTo>
                  <a:lnTo>
                    <a:pt x="262" y="167"/>
                  </a:lnTo>
                  <a:lnTo>
                    <a:pt x="264" y="165"/>
                  </a:lnTo>
                  <a:close/>
                  <a:moveTo>
                    <a:pt x="266" y="165"/>
                  </a:moveTo>
                  <a:lnTo>
                    <a:pt x="268" y="165"/>
                  </a:lnTo>
                  <a:lnTo>
                    <a:pt x="266" y="165"/>
                  </a:lnTo>
                  <a:lnTo>
                    <a:pt x="264" y="165"/>
                  </a:lnTo>
                  <a:lnTo>
                    <a:pt x="266" y="165"/>
                  </a:lnTo>
                  <a:close/>
                  <a:moveTo>
                    <a:pt x="254" y="167"/>
                  </a:moveTo>
                  <a:lnTo>
                    <a:pt x="256" y="167"/>
                  </a:lnTo>
                  <a:lnTo>
                    <a:pt x="254" y="167"/>
                  </a:lnTo>
                  <a:lnTo>
                    <a:pt x="254" y="165"/>
                  </a:lnTo>
                  <a:lnTo>
                    <a:pt x="254" y="167"/>
                  </a:lnTo>
                  <a:close/>
                  <a:moveTo>
                    <a:pt x="254" y="167"/>
                  </a:moveTo>
                  <a:lnTo>
                    <a:pt x="254" y="165"/>
                  </a:lnTo>
                  <a:lnTo>
                    <a:pt x="254" y="167"/>
                  </a:lnTo>
                  <a:close/>
                  <a:moveTo>
                    <a:pt x="254" y="167"/>
                  </a:moveTo>
                  <a:lnTo>
                    <a:pt x="254" y="165"/>
                  </a:lnTo>
                  <a:lnTo>
                    <a:pt x="254" y="167"/>
                  </a:lnTo>
                  <a:close/>
                  <a:moveTo>
                    <a:pt x="254" y="167"/>
                  </a:moveTo>
                  <a:lnTo>
                    <a:pt x="254" y="165"/>
                  </a:lnTo>
                  <a:lnTo>
                    <a:pt x="254" y="167"/>
                  </a:lnTo>
                  <a:close/>
                  <a:moveTo>
                    <a:pt x="254" y="163"/>
                  </a:moveTo>
                  <a:lnTo>
                    <a:pt x="254" y="165"/>
                  </a:lnTo>
                  <a:lnTo>
                    <a:pt x="254" y="163"/>
                  </a:lnTo>
                  <a:close/>
                  <a:moveTo>
                    <a:pt x="254" y="161"/>
                  </a:moveTo>
                  <a:lnTo>
                    <a:pt x="254" y="163"/>
                  </a:lnTo>
                  <a:lnTo>
                    <a:pt x="254" y="161"/>
                  </a:lnTo>
                  <a:close/>
                  <a:moveTo>
                    <a:pt x="254" y="161"/>
                  </a:moveTo>
                  <a:lnTo>
                    <a:pt x="252" y="161"/>
                  </a:lnTo>
                  <a:lnTo>
                    <a:pt x="254" y="161"/>
                  </a:lnTo>
                  <a:close/>
                  <a:moveTo>
                    <a:pt x="252" y="155"/>
                  </a:moveTo>
                  <a:lnTo>
                    <a:pt x="252" y="155"/>
                  </a:lnTo>
                  <a:lnTo>
                    <a:pt x="252" y="155"/>
                  </a:lnTo>
                  <a:close/>
                  <a:moveTo>
                    <a:pt x="250" y="155"/>
                  </a:moveTo>
                  <a:lnTo>
                    <a:pt x="252" y="155"/>
                  </a:lnTo>
                  <a:lnTo>
                    <a:pt x="250" y="155"/>
                  </a:lnTo>
                  <a:lnTo>
                    <a:pt x="252" y="155"/>
                  </a:lnTo>
                  <a:lnTo>
                    <a:pt x="250" y="155"/>
                  </a:lnTo>
                  <a:lnTo>
                    <a:pt x="252" y="155"/>
                  </a:lnTo>
                  <a:lnTo>
                    <a:pt x="250" y="155"/>
                  </a:lnTo>
                  <a:lnTo>
                    <a:pt x="252" y="155"/>
                  </a:lnTo>
                  <a:lnTo>
                    <a:pt x="250" y="155"/>
                  </a:lnTo>
                  <a:lnTo>
                    <a:pt x="250" y="155"/>
                  </a:lnTo>
                  <a:lnTo>
                    <a:pt x="252" y="155"/>
                  </a:lnTo>
                  <a:lnTo>
                    <a:pt x="250" y="155"/>
                  </a:lnTo>
                  <a:lnTo>
                    <a:pt x="250" y="155"/>
                  </a:lnTo>
                  <a:close/>
                  <a:moveTo>
                    <a:pt x="362" y="126"/>
                  </a:moveTo>
                  <a:lnTo>
                    <a:pt x="360" y="128"/>
                  </a:lnTo>
                  <a:lnTo>
                    <a:pt x="360" y="126"/>
                  </a:lnTo>
                  <a:lnTo>
                    <a:pt x="362" y="126"/>
                  </a:lnTo>
                  <a:close/>
                  <a:moveTo>
                    <a:pt x="360" y="124"/>
                  </a:moveTo>
                  <a:lnTo>
                    <a:pt x="358" y="124"/>
                  </a:lnTo>
                  <a:lnTo>
                    <a:pt x="360" y="124"/>
                  </a:lnTo>
                  <a:close/>
                  <a:moveTo>
                    <a:pt x="258" y="141"/>
                  </a:moveTo>
                  <a:lnTo>
                    <a:pt x="258" y="143"/>
                  </a:lnTo>
                  <a:lnTo>
                    <a:pt x="256" y="143"/>
                  </a:lnTo>
                  <a:lnTo>
                    <a:pt x="258" y="141"/>
                  </a:lnTo>
                  <a:close/>
                  <a:moveTo>
                    <a:pt x="362" y="120"/>
                  </a:moveTo>
                  <a:lnTo>
                    <a:pt x="362" y="118"/>
                  </a:lnTo>
                  <a:lnTo>
                    <a:pt x="362" y="120"/>
                  </a:lnTo>
                  <a:close/>
                  <a:moveTo>
                    <a:pt x="360" y="120"/>
                  </a:moveTo>
                  <a:lnTo>
                    <a:pt x="362" y="120"/>
                  </a:lnTo>
                  <a:lnTo>
                    <a:pt x="360" y="120"/>
                  </a:lnTo>
                  <a:close/>
                  <a:moveTo>
                    <a:pt x="362" y="120"/>
                  </a:moveTo>
                  <a:lnTo>
                    <a:pt x="362" y="118"/>
                  </a:lnTo>
                  <a:lnTo>
                    <a:pt x="362" y="120"/>
                  </a:lnTo>
                  <a:close/>
                  <a:moveTo>
                    <a:pt x="362" y="118"/>
                  </a:moveTo>
                  <a:lnTo>
                    <a:pt x="360" y="118"/>
                  </a:lnTo>
                  <a:lnTo>
                    <a:pt x="362" y="118"/>
                  </a:lnTo>
                  <a:close/>
                  <a:moveTo>
                    <a:pt x="258" y="135"/>
                  </a:moveTo>
                  <a:lnTo>
                    <a:pt x="258" y="137"/>
                  </a:lnTo>
                  <a:lnTo>
                    <a:pt x="258" y="135"/>
                  </a:lnTo>
                  <a:close/>
                  <a:moveTo>
                    <a:pt x="258" y="137"/>
                  </a:moveTo>
                  <a:lnTo>
                    <a:pt x="258" y="135"/>
                  </a:lnTo>
                  <a:lnTo>
                    <a:pt x="258" y="137"/>
                  </a:lnTo>
                  <a:lnTo>
                    <a:pt x="258" y="135"/>
                  </a:lnTo>
                  <a:lnTo>
                    <a:pt x="258" y="137"/>
                  </a:lnTo>
                  <a:close/>
                  <a:moveTo>
                    <a:pt x="360" y="118"/>
                  </a:moveTo>
                  <a:lnTo>
                    <a:pt x="360" y="116"/>
                  </a:lnTo>
                  <a:lnTo>
                    <a:pt x="360" y="118"/>
                  </a:lnTo>
                  <a:close/>
                  <a:moveTo>
                    <a:pt x="258" y="132"/>
                  </a:moveTo>
                  <a:lnTo>
                    <a:pt x="258" y="135"/>
                  </a:lnTo>
                  <a:lnTo>
                    <a:pt x="258" y="132"/>
                  </a:lnTo>
                  <a:close/>
                  <a:moveTo>
                    <a:pt x="256" y="128"/>
                  </a:moveTo>
                  <a:lnTo>
                    <a:pt x="258" y="128"/>
                  </a:lnTo>
                  <a:lnTo>
                    <a:pt x="256" y="128"/>
                  </a:lnTo>
                  <a:close/>
                  <a:moveTo>
                    <a:pt x="258" y="128"/>
                  </a:moveTo>
                  <a:lnTo>
                    <a:pt x="256" y="128"/>
                  </a:lnTo>
                  <a:lnTo>
                    <a:pt x="258" y="128"/>
                  </a:lnTo>
                  <a:lnTo>
                    <a:pt x="256" y="128"/>
                  </a:lnTo>
                  <a:lnTo>
                    <a:pt x="258" y="128"/>
                  </a:lnTo>
                  <a:close/>
                  <a:moveTo>
                    <a:pt x="258" y="128"/>
                  </a:moveTo>
                  <a:lnTo>
                    <a:pt x="258" y="126"/>
                  </a:lnTo>
                  <a:lnTo>
                    <a:pt x="258" y="128"/>
                  </a:lnTo>
                  <a:lnTo>
                    <a:pt x="256" y="128"/>
                  </a:lnTo>
                  <a:lnTo>
                    <a:pt x="258" y="128"/>
                  </a:lnTo>
                  <a:lnTo>
                    <a:pt x="256" y="128"/>
                  </a:lnTo>
                  <a:lnTo>
                    <a:pt x="258" y="128"/>
                  </a:lnTo>
                  <a:lnTo>
                    <a:pt x="258" y="126"/>
                  </a:lnTo>
                  <a:lnTo>
                    <a:pt x="258" y="128"/>
                  </a:lnTo>
                  <a:close/>
                  <a:moveTo>
                    <a:pt x="258" y="126"/>
                  </a:moveTo>
                  <a:lnTo>
                    <a:pt x="258" y="128"/>
                  </a:lnTo>
                  <a:lnTo>
                    <a:pt x="258" y="126"/>
                  </a:lnTo>
                  <a:lnTo>
                    <a:pt x="256" y="126"/>
                  </a:lnTo>
                  <a:lnTo>
                    <a:pt x="258" y="126"/>
                  </a:lnTo>
                  <a:close/>
                  <a:moveTo>
                    <a:pt x="258" y="126"/>
                  </a:moveTo>
                  <a:lnTo>
                    <a:pt x="256" y="126"/>
                  </a:lnTo>
                  <a:lnTo>
                    <a:pt x="258" y="126"/>
                  </a:lnTo>
                  <a:close/>
                  <a:moveTo>
                    <a:pt x="256" y="126"/>
                  </a:moveTo>
                  <a:lnTo>
                    <a:pt x="258" y="126"/>
                  </a:lnTo>
                  <a:lnTo>
                    <a:pt x="256" y="126"/>
                  </a:lnTo>
                  <a:close/>
                  <a:moveTo>
                    <a:pt x="356" y="110"/>
                  </a:moveTo>
                  <a:lnTo>
                    <a:pt x="356" y="108"/>
                  </a:lnTo>
                  <a:lnTo>
                    <a:pt x="356" y="110"/>
                  </a:lnTo>
                  <a:close/>
                  <a:moveTo>
                    <a:pt x="258" y="126"/>
                  </a:moveTo>
                  <a:lnTo>
                    <a:pt x="256" y="126"/>
                  </a:lnTo>
                  <a:lnTo>
                    <a:pt x="258" y="126"/>
                  </a:lnTo>
                  <a:close/>
                  <a:moveTo>
                    <a:pt x="356" y="110"/>
                  </a:moveTo>
                  <a:lnTo>
                    <a:pt x="356" y="108"/>
                  </a:lnTo>
                  <a:lnTo>
                    <a:pt x="356" y="110"/>
                  </a:lnTo>
                  <a:close/>
                  <a:moveTo>
                    <a:pt x="356" y="108"/>
                  </a:moveTo>
                  <a:lnTo>
                    <a:pt x="356" y="110"/>
                  </a:lnTo>
                  <a:lnTo>
                    <a:pt x="356" y="108"/>
                  </a:lnTo>
                  <a:lnTo>
                    <a:pt x="356" y="110"/>
                  </a:lnTo>
                  <a:lnTo>
                    <a:pt x="356" y="108"/>
                  </a:lnTo>
                  <a:close/>
                  <a:moveTo>
                    <a:pt x="258" y="124"/>
                  </a:moveTo>
                  <a:lnTo>
                    <a:pt x="258" y="126"/>
                  </a:lnTo>
                  <a:lnTo>
                    <a:pt x="258" y="124"/>
                  </a:lnTo>
                  <a:close/>
                  <a:moveTo>
                    <a:pt x="258" y="124"/>
                  </a:moveTo>
                  <a:lnTo>
                    <a:pt x="256" y="124"/>
                  </a:lnTo>
                  <a:lnTo>
                    <a:pt x="258" y="124"/>
                  </a:lnTo>
                  <a:close/>
                  <a:moveTo>
                    <a:pt x="256" y="124"/>
                  </a:moveTo>
                  <a:lnTo>
                    <a:pt x="254" y="124"/>
                  </a:lnTo>
                  <a:lnTo>
                    <a:pt x="256" y="124"/>
                  </a:lnTo>
                  <a:close/>
                  <a:moveTo>
                    <a:pt x="256" y="124"/>
                  </a:moveTo>
                  <a:lnTo>
                    <a:pt x="258" y="124"/>
                  </a:lnTo>
                  <a:lnTo>
                    <a:pt x="256" y="124"/>
                  </a:lnTo>
                  <a:close/>
                  <a:moveTo>
                    <a:pt x="256" y="124"/>
                  </a:moveTo>
                  <a:lnTo>
                    <a:pt x="254" y="124"/>
                  </a:lnTo>
                  <a:lnTo>
                    <a:pt x="256" y="124"/>
                  </a:lnTo>
                  <a:close/>
                  <a:moveTo>
                    <a:pt x="256" y="124"/>
                  </a:moveTo>
                  <a:lnTo>
                    <a:pt x="256" y="122"/>
                  </a:lnTo>
                  <a:lnTo>
                    <a:pt x="256" y="124"/>
                  </a:lnTo>
                  <a:close/>
                  <a:moveTo>
                    <a:pt x="256" y="122"/>
                  </a:moveTo>
                  <a:lnTo>
                    <a:pt x="256" y="124"/>
                  </a:lnTo>
                  <a:lnTo>
                    <a:pt x="256" y="122"/>
                  </a:lnTo>
                  <a:close/>
                  <a:moveTo>
                    <a:pt x="256" y="122"/>
                  </a:moveTo>
                  <a:lnTo>
                    <a:pt x="256" y="124"/>
                  </a:lnTo>
                  <a:lnTo>
                    <a:pt x="256" y="122"/>
                  </a:lnTo>
                  <a:close/>
                  <a:moveTo>
                    <a:pt x="258" y="124"/>
                  </a:moveTo>
                  <a:lnTo>
                    <a:pt x="258" y="122"/>
                  </a:lnTo>
                  <a:lnTo>
                    <a:pt x="256" y="122"/>
                  </a:lnTo>
                  <a:lnTo>
                    <a:pt x="258" y="122"/>
                  </a:lnTo>
                  <a:lnTo>
                    <a:pt x="258" y="124"/>
                  </a:lnTo>
                  <a:close/>
                  <a:moveTo>
                    <a:pt x="256" y="124"/>
                  </a:moveTo>
                  <a:lnTo>
                    <a:pt x="256" y="122"/>
                  </a:lnTo>
                  <a:lnTo>
                    <a:pt x="256" y="124"/>
                  </a:lnTo>
                  <a:close/>
                  <a:moveTo>
                    <a:pt x="256" y="122"/>
                  </a:moveTo>
                  <a:lnTo>
                    <a:pt x="256" y="124"/>
                  </a:lnTo>
                  <a:lnTo>
                    <a:pt x="254" y="124"/>
                  </a:lnTo>
                  <a:lnTo>
                    <a:pt x="256" y="124"/>
                  </a:lnTo>
                  <a:lnTo>
                    <a:pt x="256" y="122"/>
                  </a:lnTo>
                  <a:close/>
                  <a:moveTo>
                    <a:pt x="254" y="124"/>
                  </a:moveTo>
                  <a:lnTo>
                    <a:pt x="254" y="122"/>
                  </a:lnTo>
                  <a:lnTo>
                    <a:pt x="254" y="124"/>
                  </a:lnTo>
                  <a:lnTo>
                    <a:pt x="254" y="122"/>
                  </a:lnTo>
                  <a:lnTo>
                    <a:pt x="254" y="124"/>
                  </a:lnTo>
                  <a:close/>
                  <a:moveTo>
                    <a:pt x="256" y="122"/>
                  </a:moveTo>
                  <a:lnTo>
                    <a:pt x="256" y="124"/>
                  </a:lnTo>
                  <a:lnTo>
                    <a:pt x="256" y="122"/>
                  </a:lnTo>
                  <a:lnTo>
                    <a:pt x="254" y="122"/>
                  </a:lnTo>
                  <a:lnTo>
                    <a:pt x="256" y="122"/>
                  </a:lnTo>
                  <a:close/>
                  <a:moveTo>
                    <a:pt x="256" y="122"/>
                  </a:moveTo>
                  <a:lnTo>
                    <a:pt x="256" y="124"/>
                  </a:lnTo>
                  <a:lnTo>
                    <a:pt x="256" y="122"/>
                  </a:lnTo>
                  <a:close/>
                  <a:moveTo>
                    <a:pt x="254" y="124"/>
                  </a:moveTo>
                  <a:lnTo>
                    <a:pt x="254" y="122"/>
                  </a:lnTo>
                  <a:lnTo>
                    <a:pt x="254" y="124"/>
                  </a:lnTo>
                  <a:close/>
                  <a:moveTo>
                    <a:pt x="256" y="122"/>
                  </a:moveTo>
                  <a:lnTo>
                    <a:pt x="258" y="122"/>
                  </a:lnTo>
                  <a:lnTo>
                    <a:pt x="256" y="122"/>
                  </a:lnTo>
                  <a:close/>
                  <a:moveTo>
                    <a:pt x="254" y="122"/>
                  </a:moveTo>
                  <a:lnTo>
                    <a:pt x="254" y="124"/>
                  </a:lnTo>
                  <a:lnTo>
                    <a:pt x="254" y="122"/>
                  </a:lnTo>
                  <a:close/>
                  <a:moveTo>
                    <a:pt x="256" y="122"/>
                  </a:moveTo>
                  <a:lnTo>
                    <a:pt x="256" y="124"/>
                  </a:lnTo>
                  <a:lnTo>
                    <a:pt x="256" y="122"/>
                  </a:lnTo>
                  <a:lnTo>
                    <a:pt x="256" y="124"/>
                  </a:lnTo>
                  <a:lnTo>
                    <a:pt x="256" y="122"/>
                  </a:lnTo>
                  <a:lnTo>
                    <a:pt x="256" y="124"/>
                  </a:lnTo>
                  <a:lnTo>
                    <a:pt x="256" y="122"/>
                  </a:lnTo>
                  <a:close/>
                  <a:moveTo>
                    <a:pt x="254" y="122"/>
                  </a:moveTo>
                  <a:lnTo>
                    <a:pt x="256" y="122"/>
                  </a:lnTo>
                  <a:lnTo>
                    <a:pt x="254" y="122"/>
                  </a:lnTo>
                  <a:close/>
                  <a:moveTo>
                    <a:pt x="256" y="122"/>
                  </a:moveTo>
                  <a:lnTo>
                    <a:pt x="256" y="124"/>
                  </a:lnTo>
                  <a:lnTo>
                    <a:pt x="256" y="122"/>
                  </a:lnTo>
                  <a:close/>
                  <a:moveTo>
                    <a:pt x="256" y="122"/>
                  </a:moveTo>
                  <a:lnTo>
                    <a:pt x="254" y="122"/>
                  </a:lnTo>
                  <a:lnTo>
                    <a:pt x="256" y="122"/>
                  </a:lnTo>
                  <a:lnTo>
                    <a:pt x="254" y="122"/>
                  </a:lnTo>
                  <a:lnTo>
                    <a:pt x="256" y="122"/>
                  </a:lnTo>
                  <a:close/>
                  <a:moveTo>
                    <a:pt x="256" y="122"/>
                  </a:moveTo>
                  <a:lnTo>
                    <a:pt x="254" y="122"/>
                  </a:lnTo>
                  <a:lnTo>
                    <a:pt x="256" y="122"/>
                  </a:lnTo>
                  <a:close/>
                  <a:moveTo>
                    <a:pt x="256" y="122"/>
                  </a:moveTo>
                  <a:lnTo>
                    <a:pt x="254" y="122"/>
                  </a:lnTo>
                  <a:lnTo>
                    <a:pt x="256" y="122"/>
                  </a:lnTo>
                  <a:lnTo>
                    <a:pt x="254" y="122"/>
                  </a:lnTo>
                  <a:lnTo>
                    <a:pt x="256" y="122"/>
                  </a:lnTo>
                  <a:close/>
                  <a:moveTo>
                    <a:pt x="256" y="120"/>
                  </a:moveTo>
                  <a:lnTo>
                    <a:pt x="256" y="122"/>
                  </a:lnTo>
                  <a:lnTo>
                    <a:pt x="256" y="120"/>
                  </a:lnTo>
                  <a:close/>
                  <a:moveTo>
                    <a:pt x="256" y="120"/>
                  </a:moveTo>
                  <a:lnTo>
                    <a:pt x="256" y="122"/>
                  </a:lnTo>
                  <a:lnTo>
                    <a:pt x="256" y="120"/>
                  </a:lnTo>
                  <a:lnTo>
                    <a:pt x="256" y="122"/>
                  </a:lnTo>
                  <a:lnTo>
                    <a:pt x="256" y="120"/>
                  </a:lnTo>
                  <a:lnTo>
                    <a:pt x="256" y="122"/>
                  </a:lnTo>
                  <a:lnTo>
                    <a:pt x="256" y="120"/>
                  </a:lnTo>
                  <a:lnTo>
                    <a:pt x="256" y="122"/>
                  </a:lnTo>
                  <a:lnTo>
                    <a:pt x="256" y="120"/>
                  </a:lnTo>
                  <a:lnTo>
                    <a:pt x="256" y="122"/>
                  </a:lnTo>
                  <a:lnTo>
                    <a:pt x="256" y="120"/>
                  </a:lnTo>
                  <a:close/>
                  <a:moveTo>
                    <a:pt x="254" y="120"/>
                  </a:moveTo>
                  <a:lnTo>
                    <a:pt x="254" y="122"/>
                  </a:lnTo>
                  <a:lnTo>
                    <a:pt x="254" y="120"/>
                  </a:lnTo>
                  <a:close/>
                  <a:moveTo>
                    <a:pt x="350" y="106"/>
                  </a:moveTo>
                  <a:lnTo>
                    <a:pt x="350" y="106"/>
                  </a:lnTo>
                  <a:lnTo>
                    <a:pt x="350" y="106"/>
                  </a:lnTo>
                  <a:close/>
                  <a:moveTo>
                    <a:pt x="254" y="120"/>
                  </a:moveTo>
                  <a:lnTo>
                    <a:pt x="254" y="122"/>
                  </a:lnTo>
                  <a:lnTo>
                    <a:pt x="254" y="120"/>
                  </a:lnTo>
                  <a:close/>
                  <a:moveTo>
                    <a:pt x="256" y="120"/>
                  </a:moveTo>
                  <a:lnTo>
                    <a:pt x="254" y="120"/>
                  </a:lnTo>
                  <a:lnTo>
                    <a:pt x="256" y="120"/>
                  </a:lnTo>
                  <a:lnTo>
                    <a:pt x="254" y="120"/>
                  </a:lnTo>
                  <a:lnTo>
                    <a:pt x="256" y="120"/>
                  </a:lnTo>
                  <a:close/>
                  <a:moveTo>
                    <a:pt x="258" y="120"/>
                  </a:moveTo>
                  <a:lnTo>
                    <a:pt x="256" y="120"/>
                  </a:lnTo>
                  <a:lnTo>
                    <a:pt x="258" y="120"/>
                  </a:lnTo>
                  <a:close/>
                  <a:moveTo>
                    <a:pt x="258" y="120"/>
                  </a:moveTo>
                  <a:lnTo>
                    <a:pt x="256" y="120"/>
                  </a:lnTo>
                  <a:lnTo>
                    <a:pt x="258" y="120"/>
                  </a:lnTo>
                  <a:close/>
                  <a:moveTo>
                    <a:pt x="352" y="106"/>
                  </a:moveTo>
                  <a:lnTo>
                    <a:pt x="350" y="106"/>
                  </a:lnTo>
                  <a:lnTo>
                    <a:pt x="352" y="106"/>
                  </a:lnTo>
                  <a:close/>
                  <a:moveTo>
                    <a:pt x="350" y="106"/>
                  </a:moveTo>
                  <a:lnTo>
                    <a:pt x="348" y="106"/>
                  </a:lnTo>
                  <a:lnTo>
                    <a:pt x="350" y="106"/>
                  </a:lnTo>
                  <a:close/>
                  <a:moveTo>
                    <a:pt x="254" y="120"/>
                  </a:moveTo>
                  <a:lnTo>
                    <a:pt x="256" y="120"/>
                  </a:lnTo>
                  <a:lnTo>
                    <a:pt x="254" y="120"/>
                  </a:lnTo>
                  <a:close/>
                  <a:moveTo>
                    <a:pt x="256" y="120"/>
                  </a:moveTo>
                  <a:lnTo>
                    <a:pt x="254" y="120"/>
                  </a:lnTo>
                  <a:lnTo>
                    <a:pt x="256" y="120"/>
                  </a:lnTo>
                  <a:lnTo>
                    <a:pt x="254" y="120"/>
                  </a:lnTo>
                  <a:lnTo>
                    <a:pt x="256" y="120"/>
                  </a:lnTo>
                  <a:close/>
                  <a:moveTo>
                    <a:pt x="254" y="120"/>
                  </a:moveTo>
                  <a:lnTo>
                    <a:pt x="254" y="118"/>
                  </a:lnTo>
                  <a:lnTo>
                    <a:pt x="254" y="120"/>
                  </a:lnTo>
                  <a:close/>
                  <a:moveTo>
                    <a:pt x="254" y="118"/>
                  </a:moveTo>
                  <a:lnTo>
                    <a:pt x="254" y="120"/>
                  </a:lnTo>
                  <a:lnTo>
                    <a:pt x="254" y="118"/>
                  </a:lnTo>
                  <a:lnTo>
                    <a:pt x="254" y="120"/>
                  </a:lnTo>
                  <a:lnTo>
                    <a:pt x="254" y="118"/>
                  </a:lnTo>
                  <a:close/>
                  <a:moveTo>
                    <a:pt x="252" y="120"/>
                  </a:moveTo>
                  <a:lnTo>
                    <a:pt x="252" y="118"/>
                  </a:lnTo>
                  <a:lnTo>
                    <a:pt x="252" y="120"/>
                  </a:lnTo>
                  <a:close/>
                  <a:moveTo>
                    <a:pt x="252" y="118"/>
                  </a:moveTo>
                  <a:lnTo>
                    <a:pt x="252" y="120"/>
                  </a:lnTo>
                  <a:lnTo>
                    <a:pt x="252" y="118"/>
                  </a:lnTo>
                  <a:close/>
                  <a:moveTo>
                    <a:pt x="256" y="118"/>
                  </a:moveTo>
                  <a:lnTo>
                    <a:pt x="256" y="120"/>
                  </a:lnTo>
                  <a:lnTo>
                    <a:pt x="256" y="118"/>
                  </a:lnTo>
                  <a:lnTo>
                    <a:pt x="256" y="120"/>
                  </a:lnTo>
                  <a:lnTo>
                    <a:pt x="254" y="120"/>
                  </a:lnTo>
                  <a:lnTo>
                    <a:pt x="254" y="118"/>
                  </a:lnTo>
                  <a:lnTo>
                    <a:pt x="254" y="120"/>
                  </a:lnTo>
                  <a:lnTo>
                    <a:pt x="256" y="120"/>
                  </a:lnTo>
                  <a:lnTo>
                    <a:pt x="256" y="118"/>
                  </a:lnTo>
                  <a:close/>
                  <a:moveTo>
                    <a:pt x="256" y="118"/>
                  </a:moveTo>
                  <a:lnTo>
                    <a:pt x="258" y="118"/>
                  </a:lnTo>
                  <a:lnTo>
                    <a:pt x="256" y="118"/>
                  </a:lnTo>
                  <a:close/>
                  <a:moveTo>
                    <a:pt x="256" y="118"/>
                  </a:moveTo>
                  <a:lnTo>
                    <a:pt x="254" y="118"/>
                  </a:lnTo>
                  <a:lnTo>
                    <a:pt x="256" y="118"/>
                  </a:lnTo>
                  <a:close/>
                  <a:moveTo>
                    <a:pt x="254" y="118"/>
                  </a:moveTo>
                  <a:lnTo>
                    <a:pt x="252" y="118"/>
                  </a:lnTo>
                  <a:lnTo>
                    <a:pt x="254" y="118"/>
                  </a:lnTo>
                  <a:close/>
                  <a:moveTo>
                    <a:pt x="254" y="118"/>
                  </a:moveTo>
                  <a:lnTo>
                    <a:pt x="252" y="118"/>
                  </a:lnTo>
                  <a:lnTo>
                    <a:pt x="254" y="118"/>
                  </a:lnTo>
                  <a:close/>
                  <a:moveTo>
                    <a:pt x="350" y="104"/>
                  </a:moveTo>
                  <a:lnTo>
                    <a:pt x="348" y="104"/>
                  </a:lnTo>
                  <a:lnTo>
                    <a:pt x="350" y="104"/>
                  </a:lnTo>
                  <a:close/>
                  <a:moveTo>
                    <a:pt x="350" y="104"/>
                  </a:moveTo>
                  <a:lnTo>
                    <a:pt x="348" y="104"/>
                  </a:lnTo>
                  <a:lnTo>
                    <a:pt x="350" y="104"/>
                  </a:lnTo>
                  <a:close/>
                  <a:moveTo>
                    <a:pt x="254" y="118"/>
                  </a:moveTo>
                  <a:lnTo>
                    <a:pt x="252" y="118"/>
                  </a:lnTo>
                  <a:lnTo>
                    <a:pt x="254" y="118"/>
                  </a:lnTo>
                  <a:lnTo>
                    <a:pt x="252" y="118"/>
                  </a:lnTo>
                  <a:lnTo>
                    <a:pt x="254" y="118"/>
                  </a:lnTo>
                  <a:close/>
                  <a:moveTo>
                    <a:pt x="252" y="118"/>
                  </a:moveTo>
                  <a:lnTo>
                    <a:pt x="252" y="116"/>
                  </a:lnTo>
                  <a:lnTo>
                    <a:pt x="252" y="118"/>
                  </a:lnTo>
                  <a:close/>
                  <a:moveTo>
                    <a:pt x="256" y="116"/>
                  </a:moveTo>
                  <a:lnTo>
                    <a:pt x="256" y="118"/>
                  </a:lnTo>
                  <a:lnTo>
                    <a:pt x="256" y="116"/>
                  </a:lnTo>
                  <a:lnTo>
                    <a:pt x="256" y="118"/>
                  </a:lnTo>
                  <a:lnTo>
                    <a:pt x="254" y="118"/>
                  </a:lnTo>
                  <a:lnTo>
                    <a:pt x="256" y="118"/>
                  </a:lnTo>
                  <a:lnTo>
                    <a:pt x="254" y="118"/>
                  </a:lnTo>
                  <a:lnTo>
                    <a:pt x="256" y="118"/>
                  </a:lnTo>
                  <a:lnTo>
                    <a:pt x="254" y="118"/>
                  </a:lnTo>
                  <a:lnTo>
                    <a:pt x="254" y="116"/>
                  </a:lnTo>
                  <a:lnTo>
                    <a:pt x="254" y="118"/>
                  </a:lnTo>
                  <a:lnTo>
                    <a:pt x="254" y="116"/>
                  </a:lnTo>
                  <a:lnTo>
                    <a:pt x="256" y="116"/>
                  </a:lnTo>
                  <a:lnTo>
                    <a:pt x="256" y="118"/>
                  </a:lnTo>
                  <a:lnTo>
                    <a:pt x="256" y="116"/>
                  </a:lnTo>
                  <a:close/>
                  <a:moveTo>
                    <a:pt x="254" y="116"/>
                  </a:moveTo>
                  <a:lnTo>
                    <a:pt x="252" y="116"/>
                  </a:lnTo>
                  <a:lnTo>
                    <a:pt x="254" y="116"/>
                  </a:lnTo>
                  <a:close/>
                  <a:moveTo>
                    <a:pt x="254" y="116"/>
                  </a:moveTo>
                  <a:lnTo>
                    <a:pt x="254" y="118"/>
                  </a:lnTo>
                  <a:lnTo>
                    <a:pt x="254" y="116"/>
                  </a:lnTo>
                  <a:lnTo>
                    <a:pt x="254" y="118"/>
                  </a:lnTo>
                  <a:lnTo>
                    <a:pt x="252" y="118"/>
                  </a:lnTo>
                  <a:lnTo>
                    <a:pt x="252" y="116"/>
                  </a:lnTo>
                  <a:lnTo>
                    <a:pt x="254" y="116"/>
                  </a:lnTo>
                  <a:close/>
                  <a:moveTo>
                    <a:pt x="252" y="116"/>
                  </a:moveTo>
                  <a:lnTo>
                    <a:pt x="252" y="118"/>
                  </a:lnTo>
                  <a:lnTo>
                    <a:pt x="252" y="116"/>
                  </a:lnTo>
                  <a:lnTo>
                    <a:pt x="252" y="118"/>
                  </a:lnTo>
                  <a:lnTo>
                    <a:pt x="252" y="116"/>
                  </a:lnTo>
                  <a:close/>
                  <a:moveTo>
                    <a:pt x="252" y="118"/>
                  </a:moveTo>
                  <a:lnTo>
                    <a:pt x="252" y="116"/>
                  </a:lnTo>
                  <a:lnTo>
                    <a:pt x="252" y="118"/>
                  </a:lnTo>
                  <a:close/>
                  <a:moveTo>
                    <a:pt x="256" y="114"/>
                  </a:moveTo>
                  <a:lnTo>
                    <a:pt x="256" y="116"/>
                  </a:lnTo>
                  <a:lnTo>
                    <a:pt x="256" y="114"/>
                  </a:lnTo>
                  <a:close/>
                  <a:moveTo>
                    <a:pt x="256" y="114"/>
                  </a:moveTo>
                  <a:lnTo>
                    <a:pt x="256" y="116"/>
                  </a:lnTo>
                  <a:lnTo>
                    <a:pt x="256" y="114"/>
                  </a:lnTo>
                  <a:close/>
                  <a:moveTo>
                    <a:pt x="256" y="114"/>
                  </a:moveTo>
                  <a:lnTo>
                    <a:pt x="256" y="116"/>
                  </a:lnTo>
                  <a:lnTo>
                    <a:pt x="256" y="114"/>
                  </a:lnTo>
                  <a:lnTo>
                    <a:pt x="256" y="116"/>
                  </a:lnTo>
                  <a:lnTo>
                    <a:pt x="254" y="116"/>
                  </a:lnTo>
                  <a:lnTo>
                    <a:pt x="256" y="116"/>
                  </a:lnTo>
                  <a:lnTo>
                    <a:pt x="256" y="114"/>
                  </a:lnTo>
                  <a:close/>
                  <a:moveTo>
                    <a:pt x="254" y="114"/>
                  </a:moveTo>
                  <a:lnTo>
                    <a:pt x="254" y="116"/>
                  </a:lnTo>
                  <a:lnTo>
                    <a:pt x="254" y="114"/>
                  </a:lnTo>
                  <a:close/>
                  <a:moveTo>
                    <a:pt x="252" y="116"/>
                  </a:moveTo>
                  <a:lnTo>
                    <a:pt x="252" y="114"/>
                  </a:lnTo>
                  <a:lnTo>
                    <a:pt x="252" y="116"/>
                  </a:lnTo>
                  <a:close/>
                  <a:moveTo>
                    <a:pt x="252" y="116"/>
                  </a:moveTo>
                  <a:lnTo>
                    <a:pt x="252" y="114"/>
                  </a:lnTo>
                  <a:lnTo>
                    <a:pt x="252" y="116"/>
                  </a:lnTo>
                  <a:lnTo>
                    <a:pt x="252" y="114"/>
                  </a:lnTo>
                  <a:lnTo>
                    <a:pt x="252" y="116"/>
                  </a:lnTo>
                  <a:close/>
                  <a:moveTo>
                    <a:pt x="348" y="102"/>
                  </a:moveTo>
                  <a:lnTo>
                    <a:pt x="348" y="100"/>
                  </a:lnTo>
                  <a:lnTo>
                    <a:pt x="348" y="102"/>
                  </a:lnTo>
                  <a:close/>
                  <a:moveTo>
                    <a:pt x="252" y="116"/>
                  </a:moveTo>
                  <a:lnTo>
                    <a:pt x="252" y="114"/>
                  </a:lnTo>
                  <a:lnTo>
                    <a:pt x="252" y="116"/>
                  </a:lnTo>
                  <a:close/>
                  <a:moveTo>
                    <a:pt x="252" y="114"/>
                  </a:moveTo>
                  <a:lnTo>
                    <a:pt x="252" y="116"/>
                  </a:lnTo>
                  <a:lnTo>
                    <a:pt x="252" y="114"/>
                  </a:lnTo>
                  <a:close/>
                  <a:moveTo>
                    <a:pt x="348" y="102"/>
                  </a:moveTo>
                  <a:lnTo>
                    <a:pt x="346" y="102"/>
                  </a:lnTo>
                  <a:lnTo>
                    <a:pt x="348" y="102"/>
                  </a:lnTo>
                  <a:lnTo>
                    <a:pt x="348" y="100"/>
                  </a:lnTo>
                  <a:lnTo>
                    <a:pt x="348" y="102"/>
                  </a:lnTo>
                  <a:close/>
                  <a:moveTo>
                    <a:pt x="254" y="114"/>
                  </a:moveTo>
                  <a:lnTo>
                    <a:pt x="252" y="114"/>
                  </a:lnTo>
                  <a:lnTo>
                    <a:pt x="254" y="114"/>
                  </a:lnTo>
                  <a:close/>
                  <a:moveTo>
                    <a:pt x="254" y="114"/>
                  </a:moveTo>
                  <a:lnTo>
                    <a:pt x="256" y="114"/>
                  </a:lnTo>
                  <a:lnTo>
                    <a:pt x="254" y="114"/>
                  </a:lnTo>
                  <a:close/>
                  <a:moveTo>
                    <a:pt x="254" y="114"/>
                  </a:moveTo>
                  <a:lnTo>
                    <a:pt x="256" y="114"/>
                  </a:lnTo>
                  <a:lnTo>
                    <a:pt x="256" y="116"/>
                  </a:lnTo>
                  <a:lnTo>
                    <a:pt x="256" y="114"/>
                  </a:lnTo>
                  <a:lnTo>
                    <a:pt x="256" y="116"/>
                  </a:lnTo>
                  <a:lnTo>
                    <a:pt x="254" y="116"/>
                  </a:lnTo>
                  <a:lnTo>
                    <a:pt x="256" y="116"/>
                  </a:lnTo>
                  <a:lnTo>
                    <a:pt x="254" y="116"/>
                  </a:lnTo>
                  <a:lnTo>
                    <a:pt x="254" y="118"/>
                  </a:lnTo>
                  <a:lnTo>
                    <a:pt x="254" y="116"/>
                  </a:lnTo>
                  <a:lnTo>
                    <a:pt x="252" y="116"/>
                  </a:lnTo>
                  <a:lnTo>
                    <a:pt x="254" y="116"/>
                  </a:lnTo>
                  <a:lnTo>
                    <a:pt x="252" y="116"/>
                  </a:lnTo>
                  <a:lnTo>
                    <a:pt x="254" y="116"/>
                  </a:lnTo>
                  <a:lnTo>
                    <a:pt x="252" y="116"/>
                  </a:lnTo>
                  <a:lnTo>
                    <a:pt x="254" y="116"/>
                  </a:lnTo>
                  <a:lnTo>
                    <a:pt x="252" y="116"/>
                  </a:lnTo>
                  <a:lnTo>
                    <a:pt x="252" y="114"/>
                  </a:lnTo>
                  <a:lnTo>
                    <a:pt x="252" y="116"/>
                  </a:lnTo>
                  <a:lnTo>
                    <a:pt x="252" y="114"/>
                  </a:lnTo>
                  <a:lnTo>
                    <a:pt x="254" y="114"/>
                  </a:lnTo>
                  <a:lnTo>
                    <a:pt x="252" y="114"/>
                  </a:lnTo>
                  <a:lnTo>
                    <a:pt x="254" y="114"/>
                  </a:lnTo>
                  <a:lnTo>
                    <a:pt x="254" y="116"/>
                  </a:lnTo>
                  <a:lnTo>
                    <a:pt x="254" y="114"/>
                  </a:lnTo>
                  <a:lnTo>
                    <a:pt x="254" y="116"/>
                  </a:lnTo>
                  <a:lnTo>
                    <a:pt x="252" y="116"/>
                  </a:lnTo>
                  <a:lnTo>
                    <a:pt x="254" y="116"/>
                  </a:lnTo>
                  <a:lnTo>
                    <a:pt x="252" y="116"/>
                  </a:lnTo>
                  <a:lnTo>
                    <a:pt x="254" y="116"/>
                  </a:lnTo>
                  <a:lnTo>
                    <a:pt x="254" y="114"/>
                  </a:lnTo>
                  <a:lnTo>
                    <a:pt x="254" y="116"/>
                  </a:lnTo>
                  <a:lnTo>
                    <a:pt x="254" y="114"/>
                  </a:lnTo>
                  <a:lnTo>
                    <a:pt x="254" y="116"/>
                  </a:lnTo>
                  <a:lnTo>
                    <a:pt x="254" y="114"/>
                  </a:lnTo>
                  <a:lnTo>
                    <a:pt x="254" y="116"/>
                  </a:lnTo>
                  <a:lnTo>
                    <a:pt x="254" y="114"/>
                  </a:lnTo>
                  <a:lnTo>
                    <a:pt x="254" y="116"/>
                  </a:lnTo>
                  <a:lnTo>
                    <a:pt x="254" y="114"/>
                  </a:lnTo>
                  <a:lnTo>
                    <a:pt x="254" y="116"/>
                  </a:lnTo>
                  <a:lnTo>
                    <a:pt x="254" y="114"/>
                  </a:lnTo>
                  <a:lnTo>
                    <a:pt x="254" y="116"/>
                  </a:lnTo>
                  <a:lnTo>
                    <a:pt x="254" y="114"/>
                  </a:lnTo>
                  <a:close/>
                  <a:moveTo>
                    <a:pt x="346" y="102"/>
                  </a:moveTo>
                  <a:lnTo>
                    <a:pt x="346" y="100"/>
                  </a:lnTo>
                  <a:lnTo>
                    <a:pt x="346" y="102"/>
                  </a:lnTo>
                  <a:close/>
                  <a:moveTo>
                    <a:pt x="346" y="102"/>
                  </a:moveTo>
                  <a:lnTo>
                    <a:pt x="346" y="100"/>
                  </a:lnTo>
                  <a:lnTo>
                    <a:pt x="346" y="102"/>
                  </a:lnTo>
                  <a:close/>
                  <a:moveTo>
                    <a:pt x="346" y="102"/>
                  </a:moveTo>
                  <a:lnTo>
                    <a:pt x="346" y="100"/>
                  </a:lnTo>
                  <a:lnTo>
                    <a:pt x="346" y="102"/>
                  </a:lnTo>
                  <a:close/>
                  <a:moveTo>
                    <a:pt x="256" y="114"/>
                  </a:moveTo>
                  <a:lnTo>
                    <a:pt x="254" y="114"/>
                  </a:lnTo>
                  <a:lnTo>
                    <a:pt x="256" y="114"/>
                  </a:lnTo>
                  <a:close/>
                  <a:moveTo>
                    <a:pt x="252" y="114"/>
                  </a:moveTo>
                  <a:lnTo>
                    <a:pt x="254" y="114"/>
                  </a:lnTo>
                  <a:lnTo>
                    <a:pt x="252" y="114"/>
                  </a:lnTo>
                  <a:close/>
                  <a:moveTo>
                    <a:pt x="346" y="100"/>
                  </a:moveTo>
                  <a:lnTo>
                    <a:pt x="348" y="100"/>
                  </a:lnTo>
                  <a:lnTo>
                    <a:pt x="346" y="100"/>
                  </a:lnTo>
                  <a:close/>
                  <a:moveTo>
                    <a:pt x="254" y="114"/>
                  </a:moveTo>
                  <a:lnTo>
                    <a:pt x="256" y="114"/>
                  </a:lnTo>
                  <a:lnTo>
                    <a:pt x="254" y="114"/>
                  </a:lnTo>
                  <a:close/>
                  <a:moveTo>
                    <a:pt x="346" y="100"/>
                  </a:moveTo>
                  <a:lnTo>
                    <a:pt x="346" y="102"/>
                  </a:lnTo>
                  <a:lnTo>
                    <a:pt x="346" y="100"/>
                  </a:lnTo>
                  <a:close/>
                  <a:moveTo>
                    <a:pt x="256" y="112"/>
                  </a:moveTo>
                  <a:lnTo>
                    <a:pt x="256" y="114"/>
                  </a:lnTo>
                  <a:lnTo>
                    <a:pt x="256" y="112"/>
                  </a:lnTo>
                  <a:close/>
                  <a:moveTo>
                    <a:pt x="254" y="112"/>
                  </a:moveTo>
                  <a:lnTo>
                    <a:pt x="254" y="114"/>
                  </a:lnTo>
                  <a:lnTo>
                    <a:pt x="254" y="112"/>
                  </a:lnTo>
                  <a:lnTo>
                    <a:pt x="254" y="114"/>
                  </a:lnTo>
                  <a:lnTo>
                    <a:pt x="254" y="112"/>
                  </a:lnTo>
                  <a:close/>
                  <a:moveTo>
                    <a:pt x="256" y="112"/>
                  </a:moveTo>
                  <a:lnTo>
                    <a:pt x="256" y="114"/>
                  </a:lnTo>
                  <a:lnTo>
                    <a:pt x="256" y="112"/>
                  </a:lnTo>
                  <a:lnTo>
                    <a:pt x="256" y="114"/>
                  </a:lnTo>
                  <a:lnTo>
                    <a:pt x="256" y="112"/>
                  </a:lnTo>
                  <a:lnTo>
                    <a:pt x="256" y="114"/>
                  </a:lnTo>
                  <a:lnTo>
                    <a:pt x="254" y="114"/>
                  </a:lnTo>
                  <a:lnTo>
                    <a:pt x="254" y="112"/>
                  </a:lnTo>
                  <a:lnTo>
                    <a:pt x="256" y="112"/>
                  </a:lnTo>
                  <a:lnTo>
                    <a:pt x="256" y="114"/>
                  </a:lnTo>
                  <a:lnTo>
                    <a:pt x="256" y="112"/>
                  </a:lnTo>
                  <a:close/>
                  <a:moveTo>
                    <a:pt x="254" y="114"/>
                  </a:moveTo>
                  <a:lnTo>
                    <a:pt x="254" y="112"/>
                  </a:lnTo>
                  <a:lnTo>
                    <a:pt x="254" y="114"/>
                  </a:lnTo>
                  <a:close/>
                  <a:moveTo>
                    <a:pt x="254" y="114"/>
                  </a:moveTo>
                  <a:lnTo>
                    <a:pt x="254" y="112"/>
                  </a:lnTo>
                  <a:lnTo>
                    <a:pt x="254" y="114"/>
                  </a:lnTo>
                  <a:close/>
                  <a:moveTo>
                    <a:pt x="254" y="112"/>
                  </a:moveTo>
                  <a:lnTo>
                    <a:pt x="256" y="112"/>
                  </a:lnTo>
                  <a:lnTo>
                    <a:pt x="254" y="112"/>
                  </a:lnTo>
                  <a:close/>
                  <a:moveTo>
                    <a:pt x="256" y="112"/>
                  </a:moveTo>
                  <a:lnTo>
                    <a:pt x="254" y="112"/>
                  </a:lnTo>
                  <a:lnTo>
                    <a:pt x="256" y="112"/>
                  </a:lnTo>
                  <a:close/>
                  <a:moveTo>
                    <a:pt x="346" y="100"/>
                  </a:moveTo>
                  <a:lnTo>
                    <a:pt x="346" y="98"/>
                  </a:lnTo>
                  <a:lnTo>
                    <a:pt x="346" y="100"/>
                  </a:lnTo>
                  <a:close/>
                  <a:moveTo>
                    <a:pt x="346" y="98"/>
                  </a:moveTo>
                  <a:lnTo>
                    <a:pt x="344" y="98"/>
                  </a:lnTo>
                  <a:lnTo>
                    <a:pt x="346" y="98"/>
                  </a:lnTo>
                  <a:close/>
                  <a:moveTo>
                    <a:pt x="254" y="112"/>
                  </a:moveTo>
                  <a:lnTo>
                    <a:pt x="256" y="112"/>
                  </a:lnTo>
                  <a:lnTo>
                    <a:pt x="254" y="112"/>
                  </a:lnTo>
                  <a:lnTo>
                    <a:pt x="252" y="112"/>
                  </a:lnTo>
                  <a:lnTo>
                    <a:pt x="254" y="112"/>
                  </a:lnTo>
                  <a:close/>
                  <a:moveTo>
                    <a:pt x="254" y="112"/>
                  </a:moveTo>
                  <a:lnTo>
                    <a:pt x="252" y="112"/>
                  </a:lnTo>
                  <a:lnTo>
                    <a:pt x="254" y="112"/>
                  </a:lnTo>
                  <a:close/>
                  <a:moveTo>
                    <a:pt x="254" y="110"/>
                  </a:moveTo>
                  <a:lnTo>
                    <a:pt x="254" y="112"/>
                  </a:lnTo>
                  <a:lnTo>
                    <a:pt x="254" y="110"/>
                  </a:lnTo>
                  <a:close/>
                  <a:moveTo>
                    <a:pt x="346" y="98"/>
                  </a:moveTo>
                  <a:lnTo>
                    <a:pt x="344" y="98"/>
                  </a:lnTo>
                  <a:lnTo>
                    <a:pt x="346" y="98"/>
                  </a:lnTo>
                  <a:close/>
                  <a:moveTo>
                    <a:pt x="252" y="112"/>
                  </a:moveTo>
                  <a:lnTo>
                    <a:pt x="252" y="110"/>
                  </a:lnTo>
                  <a:lnTo>
                    <a:pt x="254" y="110"/>
                  </a:lnTo>
                  <a:lnTo>
                    <a:pt x="252" y="112"/>
                  </a:lnTo>
                  <a:close/>
                  <a:moveTo>
                    <a:pt x="254" y="110"/>
                  </a:moveTo>
                  <a:lnTo>
                    <a:pt x="252" y="110"/>
                  </a:lnTo>
                  <a:lnTo>
                    <a:pt x="254" y="110"/>
                  </a:lnTo>
                  <a:close/>
                  <a:moveTo>
                    <a:pt x="342" y="96"/>
                  </a:moveTo>
                  <a:lnTo>
                    <a:pt x="342" y="98"/>
                  </a:lnTo>
                  <a:lnTo>
                    <a:pt x="342" y="96"/>
                  </a:lnTo>
                  <a:close/>
                  <a:moveTo>
                    <a:pt x="344" y="96"/>
                  </a:moveTo>
                  <a:lnTo>
                    <a:pt x="344" y="98"/>
                  </a:lnTo>
                  <a:lnTo>
                    <a:pt x="346" y="98"/>
                  </a:lnTo>
                  <a:lnTo>
                    <a:pt x="346" y="100"/>
                  </a:lnTo>
                  <a:lnTo>
                    <a:pt x="344" y="100"/>
                  </a:lnTo>
                  <a:lnTo>
                    <a:pt x="344" y="98"/>
                  </a:lnTo>
                  <a:lnTo>
                    <a:pt x="342" y="98"/>
                  </a:lnTo>
                  <a:lnTo>
                    <a:pt x="344" y="98"/>
                  </a:lnTo>
                  <a:lnTo>
                    <a:pt x="344" y="96"/>
                  </a:lnTo>
                  <a:lnTo>
                    <a:pt x="344" y="98"/>
                  </a:lnTo>
                  <a:lnTo>
                    <a:pt x="344" y="96"/>
                  </a:lnTo>
                  <a:close/>
                  <a:moveTo>
                    <a:pt x="342" y="96"/>
                  </a:moveTo>
                  <a:lnTo>
                    <a:pt x="342" y="94"/>
                  </a:lnTo>
                  <a:lnTo>
                    <a:pt x="342" y="96"/>
                  </a:lnTo>
                  <a:close/>
                  <a:moveTo>
                    <a:pt x="342" y="94"/>
                  </a:moveTo>
                  <a:lnTo>
                    <a:pt x="340" y="94"/>
                  </a:lnTo>
                  <a:lnTo>
                    <a:pt x="342" y="94"/>
                  </a:lnTo>
                  <a:close/>
                  <a:moveTo>
                    <a:pt x="340" y="94"/>
                  </a:moveTo>
                  <a:lnTo>
                    <a:pt x="342" y="94"/>
                  </a:lnTo>
                  <a:lnTo>
                    <a:pt x="342" y="96"/>
                  </a:lnTo>
                  <a:lnTo>
                    <a:pt x="340" y="96"/>
                  </a:lnTo>
                  <a:lnTo>
                    <a:pt x="340" y="94"/>
                  </a:lnTo>
                  <a:close/>
                  <a:moveTo>
                    <a:pt x="250" y="106"/>
                  </a:moveTo>
                  <a:lnTo>
                    <a:pt x="250" y="108"/>
                  </a:lnTo>
                  <a:lnTo>
                    <a:pt x="250" y="106"/>
                  </a:lnTo>
                  <a:close/>
                  <a:moveTo>
                    <a:pt x="250" y="106"/>
                  </a:moveTo>
                  <a:lnTo>
                    <a:pt x="250" y="108"/>
                  </a:lnTo>
                  <a:lnTo>
                    <a:pt x="250" y="106"/>
                  </a:lnTo>
                  <a:close/>
                  <a:moveTo>
                    <a:pt x="248" y="108"/>
                  </a:moveTo>
                  <a:lnTo>
                    <a:pt x="248" y="106"/>
                  </a:lnTo>
                  <a:lnTo>
                    <a:pt x="250" y="106"/>
                  </a:lnTo>
                  <a:lnTo>
                    <a:pt x="250" y="108"/>
                  </a:lnTo>
                  <a:lnTo>
                    <a:pt x="248" y="108"/>
                  </a:lnTo>
                  <a:close/>
                  <a:moveTo>
                    <a:pt x="248" y="108"/>
                  </a:moveTo>
                  <a:lnTo>
                    <a:pt x="248" y="106"/>
                  </a:lnTo>
                  <a:lnTo>
                    <a:pt x="248" y="108"/>
                  </a:lnTo>
                  <a:lnTo>
                    <a:pt x="248" y="106"/>
                  </a:lnTo>
                  <a:lnTo>
                    <a:pt x="248" y="108"/>
                  </a:lnTo>
                  <a:close/>
                  <a:moveTo>
                    <a:pt x="250" y="106"/>
                  </a:moveTo>
                  <a:lnTo>
                    <a:pt x="248" y="106"/>
                  </a:lnTo>
                  <a:lnTo>
                    <a:pt x="250" y="106"/>
                  </a:lnTo>
                  <a:close/>
                  <a:moveTo>
                    <a:pt x="250" y="106"/>
                  </a:moveTo>
                  <a:lnTo>
                    <a:pt x="248" y="106"/>
                  </a:lnTo>
                  <a:lnTo>
                    <a:pt x="250" y="106"/>
                  </a:lnTo>
                  <a:close/>
                  <a:moveTo>
                    <a:pt x="250" y="106"/>
                  </a:moveTo>
                  <a:lnTo>
                    <a:pt x="248" y="106"/>
                  </a:lnTo>
                  <a:lnTo>
                    <a:pt x="250" y="106"/>
                  </a:lnTo>
                  <a:close/>
                  <a:moveTo>
                    <a:pt x="250" y="106"/>
                  </a:moveTo>
                  <a:lnTo>
                    <a:pt x="248" y="106"/>
                  </a:lnTo>
                  <a:lnTo>
                    <a:pt x="250" y="106"/>
                  </a:lnTo>
                  <a:close/>
                  <a:moveTo>
                    <a:pt x="248" y="106"/>
                  </a:moveTo>
                  <a:lnTo>
                    <a:pt x="250" y="106"/>
                  </a:lnTo>
                  <a:lnTo>
                    <a:pt x="248" y="106"/>
                  </a:lnTo>
                  <a:close/>
                  <a:moveTo>
                    <a:pt x="248" y="104"/>
                  </a:moveTo>
                  <a:lnTo>
                    <a:pt x="248" y="106"/>
                  </a:lnTo>
                  <a:lnTo>
                    <a:pt x="248" y="104"/>
                  </a:lnTo>
                  <a:close/>
                  <a:moveTo>
                    <a:pt x="246" y="106"/>
                  </a:moveTo>
                  <a:lnTo>
                    <a:pt x="246" y="104"/>
                  </a:lnTo>
                  <a:lnTo>
                    <a:pt x="246" y="106"/>
                  </a:lnTo>
                  <a:close/>
                  <a:moveTo>
                    <a:pt x="338" y="88"/>
                  </a:moveTo>
                  <a:lnTo>
                    <a:pt x="338" y="90"/>
                  </a:lnTo>
                  <a:lnTo>
                    <a:pt x="338" y="88"/>
                  </a:lnTo>
                  <a:close/>
                  <a:moveTo>
                    <a:pt x="338" y="90"/>
                  </a:moveTo>
                  <a:lnTo>
                    <a:pt x="336" y="90"/>
                  </a:lnTo>
                  <a:lnTo>
                    <a:pt x="336" y="88"/>
                  </a:lnTo>
                  <a:lnTo>
                    <a:pt x="338" y="90"/>
                  </a:lnTo>
                  <a:close/>
                  <a:moveTo>
                    <a:pt x="246" y="104"/>
                  </a:moveTo>
                  <a:lnTo>
                    <a:pt x="244" y="104"/>
                  </a:lnTo>
                  <a:lnTo>
                    <a:pt x="246" y="104"/>
                  </a:lnTo>
                  <a:close/>
                  <a:moveTo>
                    <a:pt x="336" y="86"/>
                  </a:moveTo>
                  <a:lnTo>
                    <a:pt x="336" y="88"/>
                  </a:lnTo>
                  <a:lnTo>
                    <a:pt x="336" y="86"/>
                  </a:lnTo>
                  <a:close/>
                  <a:moveTo>
                    <a:pt x="230" y="104"/>
                  </a:moveTo>
                  <a:lnTo>
                    <a:pt x="232" y="104"/>
                  </a:lnTo>
                  <a:lnTo>
                    <a:pt x="230" y="104"/>
                  </a:lnTo>
                  <a:lnTo>
                    <a:pt x="232" y="104"/>
                  </a:lnTo>
                  <a:lnTo>
                    <a:pt x="230" y="104"/>
                  </a:lnTo>
                  <a:close/>
                  <a:moveTo>
                    <a:pt x="232" y="104"/>
                  </a:moveTo>
                  <a:lnTo>
                    <a:pt x="234" y="104"/>
                  </a:lnTo>
                  <a:lnTo>
                    <a:pt x="232" y="104"/>
                  </a:lnTo>
                  <a:close/>
                  <a:moveTo>
                    <a:pt x="234" y="102"/>
                  </a:moveTo>
                  <a:lnTo>
                    <a:pt x="234" y="104"/>
                  </a:lnTo>
                  <a:lnTo>
                    <a:pt x="234" y="102"/>
                  </a:lnTo>
                  <a:close/>
                  <a:moveTo>
                    <a:pt x="234" y="102"/>
                  </a:moveTo>
                  <a:lnTo>
                    <a:pt x="234" y="104"/>
                  </a:lnTo>
                  <a:lnTo>
                    <a:pt x="232" y="104"/>
                  </a:lnTo>
                  <a:lnTo>
                    <a:pt x="232" y="102"/>
                  </a:lnTo>
                  <a:lnTo>
                    <a:pt x="232" y="104"/>
                  </a:lnTo>
                  <a:lnTo>
                    <a:pt x="232" y="102"/>
                  </a:lnTo>
                  <a:lnTo>
                    <a:pt x="234" y="102"/>
                  </a:lnTo>
                  <a:lnTo>
                    <a:pt x="232" y="102"/>
                  </a:lnTo>
                  <a:lnTo>
                    <a:pt x="234" y="102"/>
                  </a:lnTo>
                  <a:close/>
                  <a:moveTo>
                    <a:pt x="336" y="86"/>
                  </a:moveTo>
                  <a:lnTo>
                    <a:pt x="336" y="88"/>
                  </a:lnTo>
                  <a:lnTo>
                    <a:pt x="336" y="86"/>
                  </a:lnTo>
                  <a:close/>
                  <a:moveTo>
                    <a:pt x="232" y="102"/>
                  </a:moveTo>
                  <a:lnTo>
                    <a:pt x="234" y="102"/>
                  </a:lnTo>
                  <a:lnTo>
                    <a:pt x="232" y="102"/>
                  </a:lnTo>
                  <a:lnTo>
                    <a:pt x="234" y="102"/>
                  </a:lnTo>
                  <a:lnTo>
                    <a:pt x="234" y="104"/>
                  </a:lnTo>
                  <a:lnTo>
                    <a:pt x="234" y="102"/>
                  </a:lnTo>
                  <a:lnTo>
                    <a:pt x="234" y="104"/>
                  </a:lnTo>
                  <a:lnTo>
                    <a:pt x="234" y="102"/>
                  </a:lnTo>
                  <a:lnTo>
                    <a:pt x="232" y="102"/>
                  </a:lnTo>
                  <a:lnTo>
                    <a:pt x="232" y="104"/>
                  </a:lnTo>
                  <a:lnTo>
                    <a:pt x="232" y="102"/>
                  </a:lnTo>
                  <a:close/>
                  <a:moveTo>
                    <a:pt x="232" y="102"/>
                  </a:moveTo>
                  <a:lnTo>
                    <a:pt x="234" y="102"/>
                  </a:lnTo>
                  <a:lnTo>
                    <a:pt x="232" y="102"/>
                  </a:lnTo>
                  <a:close/>
                  <a:moveTo>
                    <a:pt x="234" y="102"/>
                  </a:moveTo>
                  <a:lnTo>
                    <a:pt x="232" y="102"/>
                  </a:lnTo>
                  <a:lnTo>
                    <a:pt x="234" y="102"/>
                  </a:lnTo>
                  <a:close/>
                  <a:moveTo>
                    <a:pt x="234" y="102"/>
                  </a:moveTo>
                  <a:lnTo>
                    <a:pt x="234" y="100"/>
                  </a:lnTo>
                  <a:lnTo>
                    <a:pt x="234" y="102"/>
                  </a:lnTo>
                  <a:close/>
                  <a:moveTo>
                    <a:pt x="232" y="102"/>
                  </a:moveTo>
                  <a:lnTo>
                    <a:pt x="232" y="100"/>
                  </a:lnTo>
                  <a:lnTo>
                    <a:pt x="232" y="102"/>
                  </a:lnTo>
                  <a:close/>
                  <a:moveTo>
                    <a:pt x="232" y="100"/>
                  </a:moveTo>
                  <a:lnTo>
                    <a:pt x="232" y="102"/>
                  </a:lnTo>
                  <a:lnTo>
                    <a:pt x="232" y="100"/>
                  </a:lnTo>
                  <a:close/>
                  <a:moveTo>
                    <a:pt x="236" y="100"/>
                  </a:moveTo>
                  <a:lnTo>
                    <a:pt x="238" y="100"/>
                  </a:lnTo>
                  <a:lnTo>
                    <a:pt x="236" y="100"/>
                  </a:lnTo>
                  <a:close/>
                  <a:moveTo>
                    <a:pt x="234" y="100"/>
                  </a:moveTo>
                  <a:lnTo>
                    <a:pt x="232" y="100"/>
                  </a:lnTo>
                  <a:lnTo>
                    <a:pt x="234" y="100"/>
                  </a:lnTo>
                  <a:close/>
                  <a:moveTo>
                    <a:pt x="232" y="100"/>
                  </a:moveTo>
                  <a:lnTo>
                    <a:pt x="232" y="98"/>
                  </a:lnTo>
                  <a:lnTo>
                    <a:pt x="232" y="100"/>
                  </a:lnTo>
                  <a:close/>
                  <a:moveTo>
                    <a:pt x="232" y="100"/>
                  </a:moveTo>
                  <a:lnTo>
                    <a:pt x="230" y="100"/>
                  </a:lnTo>
                  <a:lnTo>
                    <a:pt x="232" y="100"/>
                  </a:lnTo>
                  <a:lnTo>
                    <a:pt x="230" y="100"/>
                  </a:lnTo>
                  <a:lnTo>
                    <a:pt x="232" y="100"/>
                  </a:lnTo>
                  <a:lnTo>
                    <a:pt x="232" y="98"/>
                  </a:lnTo>
                  <a:lnTo>
                    <a:pt x="232" y="100"/>
                  </a:lnTo>
                  <a:close/>
                  <a:moveTo>
                    <a:pt x="232" y="98"/>
                  </a:moveTo>
                  <a:lnTo>
                    <a:pt x="230" y="98"/>
                  </a:lnTo>
                  <a:lnTo>
                    <a:pt x="232" y="98"/>
                  </a:lnTo>
                  <a:close/>
                  <a:moveTo>
                    <a:pt x="226" y="96"/>
                  </a:moveTo>
                  <a:lnTo>
                    <a:pt x="226" y="94"/>
                  </a:lnTo>
                  <a:lnTo>
                    <a:pt x="226" y="96"/>
                  </a:lnTo>
                  <a:close/>
                  <a:moveTo>
                    <a:pt x="226" y="96"/>
                  </a:moveTo>
                  <a:lnTo>
                    <a:pt x="226" y="94"/>
                  </a:lnTo>
                  <a:lnTo>
                    <a:pt x="226" y="96"/>
                  </a:lnTo>
                  <a:close/>
                  <a:moveTo>
                    <a:pt x="226" y="96"/>
                  </a:moveTo>
                  <a:lnTo>
                    <a:pt x="226" y="94"/>
                  </a:lnTo>
                  <a:lnTo>
                    <a:pt x="226" y="96"/>
                  </a:lnTo>
                  <a:close/>
                  <a:moveTo>
                    <a:pt x="226" y="94"/>
                  </a:moveTo>
                  <a:lnTo>
                    <a:pt x="226" y="96"/>
                  </a:lnTo>
                  <a:lnTo>
                    <a:pt x="226" y="94"/>
                  </a:lnTo>
                  <a:close/>
                  <a:moveTo>
                    <a:pt x="226" y="96"/>
                  </a:moveTo>
                  <a:lnTo>
                    <a:pt x="226" y="94"/>
                  </a:lnTo>
                  <a:lnTo>
                    <a:pt x="226" y="96"/>
                  </a:lnTo>
                  <a:close/>
                  <a:moveTo>
                    <a:pt x="226" y="94"/>
                  </a:moveTo>
                  <a:lnTo>
                    <a:pt x="226" y="94"/>
                  </a:lnTo>
                  <a:lnTo>
                    <a:pt x="226" y="94"/>
                  </a:lnTo>
                  <a:close/>
                  <a:moveTo>
                    <a:pt x="226" y="92"/>
                  </a:moveTo>
                  <a:lnTo>
                    <a:pt x="226" y="94"/>
                  </a:lnTo>
                  <a:lnTo>
                    <a:pt x="226" y="92"/>
                  </a:lnTo>
                  <a:close/>
                  <a:moveTo>
                    <a:pt x="226" y="92"/>
                  </a:moveTo>
                  <a:lnTo>
                    <a:pt x="226" y="92"/>
                  </a:lnTo>
                  <a:lnTo>
                    <a:pt x="226" y="92"/>
                  </a:lnTo>
                  <a:close/>
                  <a:moveTo>
                    <a:pt x="226" y="92"/>
                  </a:moveTo>
                  <a:lnTo>
                    <a:pt x="226" y="94"/>
                  </a:lnTo>
                  <a:lnTo>
                    <a:pt x="226" y="92"/>
                  </a:lnTo>
                  <a:close/>
                  <a:moveTo>
                    <a:pt x="226" y="92"/>
                  </a:moveTo>
                  <a:lnTo>
                    <a:pt x="226" y="92"/>
                  </a:lnTo>
                  <a:lnTo>
                    <a:pt x="226" y="92"/>
                  </a:lnTo>
                  <a:lnTo>
                    <a:pt x="226" y="92"/>
                  </a:lnTo>
                  <a:lnTo>
                    <a:pt x="226" y="92"/>
                  </a:lnTo>
                  <a:close/>
                  <a:moveTo>
                    <a:pt x="226" y="92"/>
                  </a:moveTo>
                  <a:lnTo>
                    <a:pt x="226" y="92"/>
                  </a:lnTo>
                  <a:lnTo>
                    <a:pt x="226" y="92"/>
                  </a:lnTo>
                  <a:close/>
                  <a:moveTo>
                    <a:pt x="226" y="90"/>
                  </a:moveTo>
                  <a:lnTo>
                    <a:pt x="226" y="92"/>
                  </a:lnTo>
                  <a:lnTo>
                    <a:pt x="226" y="90"/>
                  </a:lnTo>
                  <a:close/>
                  <a:moveTo>
                    <a:pt x="224" y="92"/>
                  </a:moveTo>
                  <a:lnTo>
                    <a:pt x="224" y="90"/>
                  </a:lnTo>
                  <a:lnTo>
                    <a:pt x="224" y="92"/>
                  </a:lnTo>
                  <a:close/>
                  <a:moveTo>
                    <a:pt x="224" y="88"/>
                  </a:moveTo>
                  <a:lnTo>
                    <a:pt x="222" y="88"/>
                  </a:lnTo>
                  <a:lnTo>
                    <a:pt x="224" y="88"/>
                  </a:lnTo>
                  <a:close/>
                  <a:moveTo>
                    <a:pt x="220" y="86"/>
                  </a:moveTo>
                  <a:lnTo>
                    <a:pt x="220" y="88"/>
                  </a:lnTo>
                  <a:lnTo>
                    <a:pt x="220" y="86"/>
                  </a:lnTo>
                  <a:close/>
                  <a:moveTo>
                    <a:pt x="214" y="84"/>
                  </a:moveTo>
                  <a:lnTo>
                    <a:pt x="216" y="84"/>
                  </a:lnTo>
                  <a:lnTo>
                    <a:pt x="214" y="84"/>
                  </a:lnTo>
                  <a:close/>
                  <a:moveTo>
                    <a:pt x="214" y="84"/>
                  </a:moveTo>
                  <a:lnTo>
                    <a:pt x="214" y="82"/>
                  </a:lnTo>
                  <a:lnTo>
                    <a:pt x="214" y="84"/>
                  </a:lnTo>
                  <a:lnTo>
                    <a:pt x="214" y="82"/>
                  </a:lnTo>
                  <a:lnTo>
                    <a:pt x="214" y="84"/>
                  </a:lnTo>
                  <a:close/>
                  <a:moveTo>
                    <a:pt x="214" y="84"/>
                  </a:moveTo>
                  <a:lnTo>
                    <a:pt x="214" y="82"/>
                  </a:lnTo>
                  <a:lnTo>
                    <a:pt x="214" y="84"/>
                  </a:lnTo>
                  <a:close/>
                  <a:moveTo>
                    <a:pt x="214" y="80"/>
                  </a:moveTo>
                  <a:lnTo>
                    <a:pt x="214" y="82"/>
                  </a:lnTo>
                  <a:lnTo>
                    <a:pt x="214" y="80"/>
                  </a:lnTo>
                  <a:close/>
                  <a:moveTo>
                    <a:pt x="214" y="80"/>
                  </a:moveTo>
                  <a:lnTo>
                    <a:pt x="212" y="80"/>
                  </a:lnTo>
                  <a:lnTo>
                    <a:pt x="214" y="80"/>
                  </a:lnTo>
                  <a:close/>
                  <a:moveTo>
                    <a:pt x="320" y="62"/>
                  </a:moveTo>
                  <a:lnTo>
                    <a:pt x="322" y="62"/>
                  </a:lnTo>
                  <a:lnTo>
                    <a:pt x="320" y="62"/>
                  </a:lnTo>
                  <a:lnTo>
                    <a:pt x="322" y="62"/>
                  </a:lnTo>
                  <a:lnTo>
                    <a:pt x="320" y="62"/>
                  </a:lnTo>
                  <a:close/>
                  <a:moveTo>
                    <a:pt x="322" y="62"/>
                  </a:moveTo>
                  <a:lnTo>
                    <a:pt x="320" y="62"/>
                  </a:lnTo>
                  <a:lnTo>
                    <a:pt x="322" y="62"/>
                  </a:lnTo>
                  <a:close/>
                  <a:moveTo>
                    <a:pt x="320" y="60"/>
                  </a:moveTo>
                  <a:lnTo>
                    <a:pt x="320" y="58"/>
                  </a:lnTo>
                  <a:lnTo>
                    <a:pt x="320" y="60"/>
                  </a:lnTo>
                  <a:close/>
                  <a:moveTo>
                    <a:pt x="214" y="76"/>
                  </a:moveTo>
                  <a:lnTo>
                    <a:pt x="212" y="76"/>
                  </a:lnTo>
                  <a:lnTo>
                    <a:pt x="214" y="76"/>
                  </a:lnTo>
                  <a:close/>
                  <a:moveTo>
                    <a:pt x="320" y="58"/>
                  </a:moveTo>
                  <a:lnTo>
                    <a:pt x="318" y="58"/>
                  </a:lnTo>
                  <a:lnTo>
                    <a:pt x="320" y="58"/>
                  </a:lnTo>
                  <a:close/>
                  <a:moveTo>
                    <a:pt x="210" y="76"/>
                  </a:moveTo>
                  <a:lnTo>
                    <a:pt x="210" y="74"/>
                  </a:lnTo>
                  <a:lnTo>
                    <a:pt x="212" y="74"/>
                  </a:lnTo>
                  <a:lnTo>
                    <a:pt x="212" y="76"/>
                  </a:lnTo>
                  <a:lnTo>
                    <a:pt x="210" y="76"/>
                  </a:lnTo>
                  <a:close/>
                  <a:moveTo>
                    <a:pt x="212" y="74"/>
                  </a:moveTo>
                  <a:lnTo>
                    <a:pt x="212" y="76"/>
                  </a:lnTo>
                  <a:lnTo>
                    <a:pt x="212" y="74"/>
                  </a:lnTo>
                  <a:close/>
                  <a:moveTo>
                    <a:pt x="128" y="84"/>
                  </a:moveTo>
                  <a:lnTo>
                    <a:pt x="128" y="84"/>
                  </a:lnTo>
                  <a:lnTo>
                    <a:pt x="130" y="84"/>
                  </a:lnTo>
                  <a:lnTo>
                    <a:pt x="128" y="84"/>
                  </a:lnTo>
                  <a:lnTo>
                    <a:pt x="130" y="84"/>
                  </a:lnTo>
                  <a:lnTo>
                    <a:pt x="128" y="86"/>
                  </a:lnTo>
                  <a:lnTo>
                    <a:pt x="128" y="88"/>
                  </a:lnTo>
                  <a:lnTo>
                    <a:pt x="128" y="88"/>
                  </a:lnTo>
                  <a:lnTo>
                    <a:pt x="128" y="86"/>
                  </a:lnTo>
                  <a:lnTo>
                    <a:pt x="126" y="86"/>
                  </a:lnTo>
                  <a:lnTo>
                    <a:pt x="124" y="86"/>
                  </a:lnTo>
                  <a:lnTo>
                    <a:pt x="124" y="84"/>
                  </a:lnTo>
                  <a:lnTo>
                    <a:pt x="126" y="84"/>
                  </a:lnTo>
                  <a:lnTo>
                    <a:pt x="128" y="84"/>
                  </a:lnTo>
                  <a:lnTo>
                    <a:pt x="128" y="86"/>
                  </a:lnTo>
                  <a:lnTo>
                    <a:pt x="128" y="84"/>
                  </a:lnTo>
                  <a:lnTo>
                    <a:pt x="128" y="86"/>
                  </a:lnTo>
                  <a:lnTo>
                    <a:pt x="128" y="84"/>
                  </a:lnTo>
                  <a:lnTo>
                    <a:pt x="128" y="86"/>
                  </a:lnTo>
                  <a:lnTo>
                    <a:pt x="128" y="86"/>
                  </a:lnTo>
                  <a:lnTo>
                    <a:pt x="128" y="84"/>
                  </a:lnTo>
                  <a:lnTo>
                    <a:pt x="128" y="86"/>
                  </a:lnTo>
                  <a:lnTo>
                    <a:pt x="128" y="84"/>
                  </a:lnTo>
                  <a:lnTo>
                    <a:pt x="128" y="86"/>
                  </a:lnTo>
                  <a:lnTo>
                    <a:pt x="128" y="84"/>
                  </a:lnTo>
                  <a:lnTo>
                    <a:pt x="128" y="84"/>
                  </a:lnTo>
                  <a:close/>
                  <a:moveTo>
                    <a:pt x="318" y="58"/>
                  </a:moveTo>
                  <a:lnTo>
                    <a:pt x="320" y="58"/>
                  </a:lnTo>
                  <a:lnTo>
                    <a:pt x="320" y="58"/>
                  </a:lnTo>
                  <a:lnTo>
                    <a:pt x="320" y="58"/>
                  </a:lnTo>
                  <a:lnTo>
                    <a:pt x="318" y="58"/>
                  </a:lnTo>
                  <a:close/>
                  <a:moveTo>
                    <a:pt x="140" y="82"/>
                  </a:moveTo>
                  <a:lnTo>
                    <a:pt x="138" y="82"/>
                  </a:lnTo>
                  <a:lnTo>
                    <a:pt x="140" y="82"/>
                  </a:lnTo>
                  <a:close/>
                  <a:moveTo>
                    <a:pt x="318" y="58"/>
                  </a:moveTo>
                  <a:lnTo>
                    <a:pt x="320" y="58"/>
                  </a:lnTo>
                  <a:lnTo>
                    <a:pt x="320" y="58"/>
                  </a:lnTo>
                  <a:lnTo>
                    <a:pt x="320" y="60"/>
                  </a:lnTo>
                  <a:lnTo>
                    <a:pt x="322" y="60"/>
                  </a:lnTo>
                  <a:lnTo>
                    <a:pt x="322" y="62"/>
                  </a:lnTo>
                  <a:lnTo>
                    <a:pt x="322" y="64"/>
                  </a:lnTo>
                  <a:lnTo>
                    <a:pt x="322" y="64"/>
                  </a:lnTo>
                  <a:lnTo>
                    <a:pt x="322" y="66"/>
                  </a:lnTo>
                  <a:lnTo>
                    <a:pt x="324" y="66"/>
                  </a:lnTo>
                  <a:lnTo>
                    <a:pt x="324" y="68"/>
                  </a:lnTo>
                  <a:lnTo>
                    <a:pt x="324" y="70"/>
                  </a:lnTo>
                  <a:lnTo>
                    <a:pt x="326" y="70"/>
                  </a:lnTo>
                  <a:lnTo>
                    <a:pt x="326" y="72"/>
                  </a:lnTo>
                  <a:lnTo>
                    <a:pt x="328" y="72"/>
                  </a:lnTo>
                  <a:lnTo>
                    <a:pt x="328" y="74"/>
                  </a:lnTo>
                  <a:lnTo>
                    <a:pt x="328" y="76"/>
                  </a:lnTo>
                  <a:lnTo>
                    <a:pt x="330" y="76"/>
                  </a:lnTo>
                  <a:lnTo>
                    <a:pt x="330" y="78"/>
                  </a:lnTo>
                  <a:lnTo>
                    <a:pt x="332" y="80"/>
                  </a:lnTo>
                  <a:lnTo>
                    <a:pt x="332" y="82"/>
                  </a:lnTo>
                  <a:lnTo>
                    <a:pt x="334" y="82"/>
                  </a:lnTo>
                  <a:lnTo>
                    <a:pt x="334" y="84"/>
                  </a:lnTo>
                  <a:lnTo>
                    <a:pt x="336" y="86"/>
                  </a:lnTo>
                  <a:lnTo>
                    <a:pt x="336" y="88"/>
                  </a:lnTo>
                  <a:lnTo>
                    <a:pt x="338" y="88"/>
                  </a:lnTo>
                  <a:lnTo>
                    <a:pt x="336" y="88"/>
                  </a:lnTo>
                  <a:lnTo>
                    <a:pt x="338" y="88"/>
                  </a:lnTo>
                  <a:lnTo>
                    <a:pt x="336" y="88"/>
                  </a:lnTo>
                  <a:lnTo>
                    <a:pt x="336" y="86"/>
                  </a:lnTo>
                  <a:lnTo>
                    <a:pt x="334" y="86"/>
                  </a:lnTo>
                  <a:lnTo>
                    <a:pt x="334" y="84"/>
                  </a:lnTo>
                  <a:lnTo>
                    <a:pt x="332" y="82"/>
                  </a:lnTo>
                  <a:lnTo>
                    <a:pt x="332" y="80"/>
                  </a:lnTo>
                  <a:lnTo>
                    <a:pt x="330" y="80"/>
                  </a:lnTo>
                  <a:lnTo>
                    <a:pt x="330" y="78"/>
                  </a:lnTo>
                  <a:lnTo>
                    <a:pt x="328" y="76"/>
                  </a:lnTo>
                  <a:lnTo>
                    <a:pt x="328" y="74"/>
                  </a:lnTo>
                  <a:lnTo>
                    <a:pt x="326" y="74"/>
                  </a:lnTo>
                  <a:lnTo>
                    <a:pt x="326" y="72"/>
                  </a:lnTo>
                  <a:lnTo>
                    <a:pt x="326" y="70"/>
                  </a:lnTo>
                  <a:lnTo>
                    <a:pt x="324" y="70"/>
                  </a:lnTo>
                  <a:lnTo>
                    <a:pt x="326" y="70"/>
                  </a:lnTo>
                  <a:lnTo>
                    <a:pt x="324" y="70"/>
                  </a:lnTo>
                  <a:lnTo>
                    <a:pt x="324" y="68"/>
                  </a:lnTo>
                  <a:lnTo>
                    <a:pt x="324" y="66"/>
                  </a:lnTo>
                  <a:lnTo>
                    <a:pt x="324" y="68"/>
                  </a:lnTo>
                  <a:lnTo>
                    <a:pt x="322" y="68"/>
                  </a:lnTo>
                  <a:lnTo>
                    <a:pt x="322" y="66"/>
                  </a:lnTo>
                  <a:lnTo>
                    <a:pt x="322" y="64"/>
                  </a:lnTo>
                  <a:lnTo>
                    <a:pt x="322" y="64"/>
                  </a:lnTo>
                  <a:lnTo>
                    <a:pt x="322" y="62"/>
                  </a:lnTo>
                  <a:lnTo>
                    <a:pt x="320" y="62"/>
                  </a:lnTo>
                  <a:lnTo>
                    <a:pt x="320" y="60"/>
                  </a:lnTo>
                  <a:lnTo>
                    <a:pt x="320" y="58"/>
                  </a:lnTo>
                  <a:lnTo>
                    <a:pt x="320" y="58"/>
                  </a:lnTo>
                  <a:lnTo>
                    <a:pt x="318" y="58"/>
                  </a:lnTo>
                  <a:close/>
                  <a:moveTo>
                    <a:pt x="120" y="84"/>
                  </a:moveTo>
                  <a:lnTo>
                    <a:pt x="118" y="84"/>
                  </a:lnTo>
                  <a:lnTo>
                    <a:pt x="120" y="84"/>
                  </a:lnTo>
                  <a:close/>
                  <a:moveTo>
                    <a:pt x="120" y="84"/>
                  </a:moveTo>
                  <a:lnTo>
                    <a:pt x="118" y="84"/>
                  </a:lnTo>
                  <a:lnTo>
                    <a:pt x="120" y="84"/>
                  </a:lnTo>
                  <a:close/>
                  <a:moveTo>
                    <a:pt x="120" y="84"/>
                  </a:moveTo>
                  <a:lnTo>
                    <a:pt x="118" y="84"/>
                  </a:lnTo>
                  <a:lnTo>
                    <a:pt x="120" y="84"/>
                  </a:lnTo>
                  <a:lnTo>
                    <a:pt x="118" y="84"/>
                  </a:lnTo>
                  <a:lnTo>
                    <a:pt x="120" y="84"/>
                  </a:lnTo>
                  <a:close/>
                  <a:moveTo>
                    <a:pt x="120" y="84"/>
                  </a:moveTo>
                  <a:lnTo>
                    <a:pt x="118" y="84"/>
                  </a:lnTo>
                  <a:lnTo>
                    <a:pt x="120" y="84"/>
                  </a:lnTo>
                  <a:close/>
                  <a:moveTo>
                    <a:pt x="118" y="84"/>
                  </a:moveTo>
                  <a:lnTo>
                    <a:pt x="118" y="82"/>
                  </a:lnTo>
                  <a:lnTo>
                    <a:pt x="118" y="84"/>
                  </a:lnTo>
                  <a:close/>
                  <a:moveTo>
                    <a:pt x="318" y="56"/>
                  </a:moveTo>
                  <a:lnTo>
                    <a:pt x="316" y="56"/>
                  </a:lnTo>
                  <a:lnTo>
                    <a:pt x="318" y="56"/>
                  </a:lnTo>
                  <a:close/>
                  <a:moveTo>
                    <a:pt x="316" y="56"/>
                  </a:moveTo>
                  <a:lnTo>
                    <a:pt x="316" y="54"/>
                  </a:lnTo>
                  <a:lnTo>
                    <a:pt x="316" y="56"/>
                  </a:lnTo>
                  <a:close/>
                  <a:moveTo>
                    <a:pt x="148" y="78"/>
                  </a:moveTo>
                  <a:lnTo>
                    <a:pt x="146" y="78"/>
                  </a:lnTo>
                  <a:lnTo>
                    <a:pt x="146" y="80"/>
                  </a:lnTo>
                  <a:lnTo>
                    <a:pt x="144" y="82"/>
                  </a:lnTo>
                  <a:lnTo>
                    <a:pt x="142" y="82"/>
                  </a:lnTo>
                  <a:lnTo>
                    <a:pt x="142" y="84"/>
                  </a:lnTo>
                  <a:lnTo>
                    <a:pt x="140" y="84"/>
                  </a:lnTo>
                  <a:lnTo>
                    <a:pt x="138" y="84"/>
                  </a:lnTo>
                  <a:lnTo>
                    <a:pt x="138" y="86"/>
                  </a:lnTo>
                  <a:lnTo>
                    <a:pt x="136" y="86"/>
                  </a:lnTo>
                  <a:lnTo>
                    <a:pt x="136" y="88"/>
                  </a:lnTo>
                  <a:lnTo>
                    <a:pt x="134" y="88"/>
                  </a:lnTo>
                  <a:lnTo>
                    <a:pt x="132" y="88"/>
                  </a:lnTo>
                  <a:lnTo>
                    <a:pt x="132" y="90"/>
                  </a:lnTo>
                  <a:lnTo>
                    <a:pt x="130" y="90"/>
                  </a:lnTo>
                  <a:lnTo>
                    <a:pt x="130" y="88"/>
                  </a:lnTo>
                  <a:lnTo>
                    <a:pt x="128" y="88"/>
                  </a:lnTo>
                  <a:lnTo>
                    <a:pt x="130" y="88"/>
                  </a:lnTo>
                  <a:lnTo>
                    <a:pt x="132" y="88"/>
                  </a:lnTo>
                  <a:lnTo>
                    <a:pt x="134" y="88"/>
                  </a:lnTo>
                  <a:lnTo>
                    <a:pt x="136" y="88"/>
                  </a:lnTo>
                  <a:lnTo>
                    <a:pt x="136" y="86"/>
                  </a:lnTo>
                  <a:lnTo>
                    <a:pt x="138" y="86"/>
                  </a:lnTo>
                  <a:lnTo>
                    <a:pt x="138" y="84"/>
                  </a:lnTo>
                  <a:lnTo>
                    <a:pt x="140" y="84"/>
                  </a:lnTo>
                  <a:lnTo>
                    <a:pt x="142" y="84"/>
                  </a:lnTo>
                  <a:lnTo>
                    <a:pt x="142" y="82"/>
                  </a:lnTo>
                  <a:lnTo>
                    <a:pt x="144" y="82"/>
                  </a:lnTo>
                  <a:lnTo>
                    <a:pt x="144" y="80"/>
                  </a:lnTo>
                  <a:lnTo>
                    <a:pt x="146" y="80"/>
                  </a:lnTo>
                  <a:lnTo>
                    <a:pt x="144" y="80"/>
                  </a:lnTo>
                  <a:lnTo>
                    <a:pt x="144" y="82"/>
                  </a:lnTo>
                  <a:lnTo>
                    <a:pt x="144" y="80"/>
                  </a:lnTo>
                  <a:lnTo>
                    <a:pt x="146" y="80"/>
                  </a:lnTo>
                  <a:lnTo>
                    <a:pt x="146" y="78"/>
                  </a:lnTo>
                  <a:lnTo>
                    <a:pt x="148" y="78"/>
                  </a:lnTo>
                  <a:lnTo>
                    <a:pt x="148" y="76"/>
                  </a:lnTo>
                  <a:lnTo>
                    <a:pt x="148" y="78"/>
                  </a:lnTo>
                  <a:close/>
                  <a:moveTo>
                    <a:pt x="154" y="72"/>
                  </a:moveTo>
                  <a:lnTo>
                    <a:pt x="154" y="74"/>
                  </a:lnTo>
                  <a:lnTo>
                    <a:pt x="152" y="74"/>
                  </a:lnTo>
                  <a:lnTo>
                    <a:pt x="152" y="76"/>
                  </a:lnTo>
                  <a:lnTo>
                    <a:pt x="150" y="76"/>
                  </a:lnTo>
                  <a:lnTo>
                    <a:pt x="148" y="76"/>
                  </a:lnTo>
                  <a:lnTo>
                    <a:pt x="150" y="76"/>
                  </a:lnTo>
                  <a:lnTo>
                    <a:pt x="152" y="76"/>
                  </a:lnTo>
                  <a:lnTo>
                    <a:pt x="152" y="74"/>
                  </a:lnTo>
                  <a:lnTo>
                    <a:pt x="154" y="74"/>
                  </a:lnTo>
                  <a:lnTo>
                    <a:pt x="154" y="72"/>
                  </a:lnTo>
                  <a:close/>
                  <a:moveTo>
                    <a:pt x="164" y="68"/>
                  </a:moveTo>
                  <a:lnTo>
                    <a:pt x="162" y="68"/>
                  </a:lnTo>
                  <a:lnTo>
                    <a:pt x="164" y="68"/>
                  </a:lnTo>
                  <a:close/>
                  <a:moveTo>
                    <a:pt x="158" y="68"/>
                  </a:moveTo>
                  <a:lnTo>
                    <a:pt x="158" y="70"/>
                  </a:lnTo>
                  <a:lnTo>
                    <a:pt x="158" y="68"/>
                  </a:lnTo>
                  <a:close/>
                  <a:moveTo>
                    <a:pt x="162" y="68"/>
                  </a:moveTo>
                  <a:lnTo>
                    <a:pt x="160" y="68"/>
                  </a:lnTo>
                  <a:lnTo>
                    <a:pt x="162" y="68"/>
                  </a:lnTo>
                  <a:close/>
                  <a:moveTo>
                    <a:pt x="314" y="48"/>
                  </a:moveTo>
                  <a:lnTo>
                    <a:pt x="316" y="48"/>
                  </a:lnTo>
                  <a:lnTo>
                    <a:pt x="316" y="50"/>
                  </a:lnTo>
                  <a:lnTo>
                    <a:pt x="316" y="52"/>
                  </a:lnTo>
                  <a:lnTo>
                    <a:pt x="316" y="54"/>
                  </a:lnTo>
                  <a:lnTo>
                    <a:pt x="318" y="54"/>
                  </a:lnTo>
                  <a:lnTo>
                    <a:pt x="318" y="56"/>
                  </a:lnTo>
                  <a:lnTo>
                    <a:pt x="318" y="58"/>
                  </a:lnTo>
                  <a:lnTo>
                    <a:pt x="318" y="56"/>
                  </a:lnTo>
                  <a:lnTo>
                    <a:pt x="318" y="54"/>
                  </a:lnTo>
                  <a:lnTo>
                    <a:pt x="316" y="54"/>
                  </a:lnTo>
                  <a:lnTo>
                    <a:pt x="316" y="52"/>
                  </a:lnTo>
                  <a:lnTo>
                    <a:pt x="314" y="52"/>
                  </a:lnTo>
                  <a:lnTo>
                    <a:pt x="314" y="50"/>
                  </a:lnTo>
                  <a:lnTo>
                    <a:pt x="314" y="48"/>
                  </a:lnTo>
                  <a:lnTo>
                    <a:pt x="312" y="48"/>
                  </a:lnTo>
                  <a:lnTo>
                    <a:pt x="314" y="48"/>
                  </a:lnTo>
                  <a:lnTo>
                    <a:pt x="314" y="46"/>
                  </a:lnTo>
                  <a:lnTo>
                    <a:pt x="314" y="48"/>
                  </a:lnTo>
                  <a:close/>
                  <a:moveTo>
                    <a:pt x="160" y="66"/>
                  </a:moveTo>
                  <a:lnTo>
                    <a:pt x="160" y="68"/>
                  </a:lnTo>
                  <a:lnTo>
                    <a:pt x="160" y="66"/>
                  </a:lnTo>
                  <a:close/>
                  <a:moveTo>
                    <a:pt x="194" y="62"/>
                  </a:moveTo>
                  <a:lnTo>
                    <a:pt x="196" y="62"/>
                  </a:lnTo>
                  <a:lnTo>
                    <a:pt x="194" y="62"/>
                  </a:lnTo>
                  <a:close/>
                  <a:moveTo>
                    <a:pt x="310" y="42"/>
                  </a:moveTo>
                  <a:lnTo>
                    <a:pt x="310" y="44"/>
                  </a:lnTo>
                  <a:lnTo>
                    <a:pt x="310" y="42"/>
                  </a:lnTo>
                  <a:close/>
                  <a:moveTo>
                    <a:pt x="192" y="60"/>
                  </a:moveTo>
                  <a:lnTo>
                    <a:pt x="190" y="60"/>
                  </a:lnTo>
                  <a:lnTo>
                    <a:pt x="192" y="60"/>
                  </a:lnTo>
                  <a:lnTo>
                    <a:pt x="190" y="60"/>
                  </a:lnTo>
                  <a:lnTo>
                    <a:pt x="192" y="60"/>
                  </a:lnTo>
                  <a:close/>
                  <a:moveTo>
                    <a:pt x="190" y="58"/>
                  </a:moveTo>
                  <a:lnTo>
                    <a:pt x="190" y="60"/>
                  </a:lnTo>
                  <a:lnTo>
                    <a:pt x="190" y="58"/>
                  </a:lnTo>
                  <a:lnTo>
                    <a:pt x="190" y="60"/>
                  </a:lnTo>
                  <a:lnTo>
                    <a:pt x="190" y="58"/>
                  </a:lnTo>
                  <a:close/>
                  <a:moveTo>
                    <a:pt x="190" y="58"/>
                  </a:moveTo>
                  <a:lnTo>
                    <a:pt x="190" y="60"/>
                  </a:lnTo>
                  <a:lnTo>
                    <a:pt x="190" y="58"/>
                  </a:lnTo>
                  <a:lnTo>
                    <a:pt x="188" y="58"/>
                  </a:lnTo>
                  <a:lnTo>
                    <a:pt x="190" y="58"/>
                  </a:lnTo>
                  <a:close/>
                  <a:moveTo>
                    <a:pt x="188" y="58"/>
                  </a:moveTo>
                  <a:lnTo>
                    <a:pt x="188" y="60"/>
                  </a:lnTo>
                  <a:lnTo>
                    <a:pt x="188" y="58"/>
                  </a:lnTo>
                  <a:close/>
                  <a:moveTo>
                    <a:pt x="310" y="42"/>
                  </a:moveTo>
                  <a:lnTo>
                    <a:pt x="310" y="40"/>
                  </a:lnTo>
                  <a:lnTo>
                    <a:pt x="310" y="42"/>
                  </a:lnTo>
                  <a:close/>
                  <a:moveTo>
                    <a:pt x="310" y="40"/>
                  </a:moveTo>
                  <a:lnTo>
                    <a:pt x="308" y="40"/>
                  </a:lnTo>
                  <a:lnTo>
                    <a:pt x="310" y="40"/>
                  </a:lnTo>
                  <a:close/>
                  <a:moveTo>
                    <a:pt x="308" y="40"/>
                  </a:moveTo>
                  <a:lnTo>
                    <a:pt x="308" y="38"/>
                  </a:lnTo>
                  <a:lnTo>
                    <a:pt x="308" y="40"/>
                  </a:lnTo>
                  <a:close/>
                  <a:moveTo>
                    <a:pt x="164" y="58"/>
                  </a:moveTo>
                  <a:lnTo>
                    <a:pt x="164" y="60"/>
                  </a:lnTo>
                  <a:lnTo>
                    <a:pt x="164" y="58"/>
                  </a:lnTo>
                  <a:lnTo>
                    <a:pt x="164" y="60"/>
                  </a:lnTo>
                  <a:lnTo>
                    <a:pt x="164" y="58"/>
                  </a:lnTo>
                  <a:close/>
                  <a:moveTo>
                    <a:pt x="102" y="66"/>
                  </a:moveTo>
                  <a:lnTo>
                    <a:pt x="102" y="64"/>
                  </a:lnTo>
                  <a:lnTo>
                    <a:pt x="102" y="66"/>
                  </a:lnTo>
                  <a:lnTo>
                    <a:pt x="104" y="66"/>
                  </a:lnTo>
                  <a:lnTo>
                    <a:pt x="104" y="68"/>
                  </a:lnTo>
                  <a:lnTo>
                    <a:pt x="104" y="66"/>
                  </a:lnTo>
                  <a:lnTo>
                    <a:pt x="104" y="68"/>
                  </a:lnTo>
                  <a:lnTo>
                    <a:pt x="106" y="68"/>
                  </a:lnTo>
                  <a:lnTo>
                    <a:pt x="104" y="68"/>
                  </a:lnTo>
                  <a:lnTo>
                    <a:pt x="104" y="66"/>
                  </a:lnTo>
                  <a:lnTo>
                    <a:pt x="102" y="66"/>
                  </a:lnTo>
                  <a:lnTo>
                    <a:pt x="102" y="64"/>
                  </a:lnTo>
                  <a:lnTo>
                    <a:pt x="102" y="66"/>
                  </a:lnTo>
                  <a:close/>
                  <a:moveTo>
                    <a:pt x="164" y="58"/>
                  </a:moveTo>
                  <a:lnTo>
                    <a:pt x="162" y="58"/>
                  </a:lnTo>
                  <a:lnTo>
                    <a:pt x="164" y="58"/>
                  </a:lnTo>
                  <a:lnTo>
                    <a:pt x="162" y="58"/>
                  </a:lnTo>
                  <a:lnTo>
                    <a:pt x="164" y="58"/>
                  </a:lnTo>
                  <a:close/>
                  <a:moveTo>
                    <a:pt x="166" y="58"/>
                  </a:moveTo>
                  <a:lnTo>
                    <a:pt x="166" y="58"/>
                  </a:lnTo>
                  <a:lnTo>
                    <a:pt x="166" y="58"/>
                  </a:lnTo>
                  <a:lnTo>
                    <a:pt x="164" y="58"/>
                  </a:lnTo>
                  <a:lnTo>
                    <a:pt x="166" y="58"/>
                  </a:lnTo>
                  <a:close/>
                  <a:moveTo>
                    <a:pt x="308" y="36"/>
                  </a:moveTo>
                  <a:lnTo>
                    <a:pt x="308" y="38"/>
                  </a:lnTo>
                  <a:lnTo>
                    <a:pt x="308" y="36"/>
                  </a:lnTo>
                  <a:close/>
                  <a:moveTo>
                    <a:pt x="174" y="58"/>
                  </a:moveTo>
                  <a:lnTo>
                    <a:pt x="174" y="56"/>
                  </a:lnTo>
                  <a:lnTo>
                    <a:pt x="174" y="58"/>
                  </a:lnTo>
                  <a:close/>
                  <a:moveTo>
                    <a:pt x="180" y="56"/>
                  </a:moveTo>
                  <a:lnTo>
                    <a:pt x="178" y="56"/>
                  </a:lnTo>
                  <a:lnTo>
                    <a:pt x="180" y="56"/>
                  </a:lnTo>
                  <a:lnTo>
                    <a:pt x="178" y="56"/>
                  </a:lnTo>
                  <a:lnTo>
                    <a:pt x="180" y="56"/>
                  </a:lnTo>
                  <a:close/>
                  <a:moveTo>
                    <a:pt x="176" y="56"/>
                  </a:moveTo>
                  <a:lnTo>
                    <a:pt x="174" y="56"/>
                  </a:lnTo>
                  <a:lnTo>
                    <a:pt x="176" y="56"/>
                  </a:lnTo>
                  <a:close/>
                  <a:moveTo>
                    <a:pt x="178" y="56"/>
                  </a:moveTo>
                  <a:lnTo>
                    <a:pt x="180" y="56"/>
                  </a:lnTo>
                  <a:lnTo>
                    <a:pt x="178" y="56"/>
                  </a:lnTo>
                  <a:close/>
                  <a:moveTo>
                    <a:pt x="170" y="58"/>
                  </a:moveTo>
                  <a:lnTo>
                    <a:pt x="170" y="56"/>
                  </a:lnTo>
                  <a:lnTo>
                    <a:pt x="170" y="58"/>
                  </a:lnTo>
                  <a:lnTo>
                    <a:pt x="172" y="58"/>
                  </a:lnTo>
                  <a:lnTo>
                    <a:pt x="170" y="58"/>
                  </a:lnTo>
                  <a:lnTo>
                    <a:pt x="170" y="56"/>
                  </a:lnTo>
                  <a:lnTo>
                    <a:pt x="170" y="58"/>
                  </a:lnTo>
                  <a:close/>
                  <a:moveTo>
                    <a:pt x="178" y="54"/>
                  </a:moveTo>
                  <a:lnTo>
                    <a:pt x="178" y="56"/>
                  </a:lnTo>
                  <a:lnTo>
                    <a:pt x="178" y="54"/>
                  </a:lnTo>
                  <a:lnTo>
                    <a:pt x="178" y="56"/>
                  </a:lnTo>
                  <a:lnTo>
                    <a:pt x="178" y="54"/>
                  </a:lnTo>
                  <a:close/>
                  <a:moveTo>
                    <a:pt x="178" y="54"/>
                  </a:moveTo>
                  <a:lnTo>
                    <a:pt x="178" y="56"/>
                  </a:lnTo>
                  <a:lnTo>
                    <a:pt x="178" y="54"/>
                  </a:lnTo>
                  <a:close/>
                  <a:moveTo>
                    <a:pt x="96" y="62"/>
                  </a:moveTo>
                  <a:lnTo>
                    <a:pt x="98" y="62"/>
                  </a:lnTo>
                  <a:lnTo>
                    <a:pt x="98" y="64"/>
                  </a:lnTo>
                  <a:lnTo>
                    <a:pt x="100" y="64"/>
                  </a:lnTo>
                  <a:lnTo>
                    <a:pt x="98" y="64"/>
                  </a:lnTo>
                  <a:lnTo>
                    <a:pt x="96" y="62"/>
                  </a:lnTo>
                  <a:close/>
                  <a:moveTo>
                    <a:pt x="102" y="54"/>
                  </a:moveTo>
                  <a:lnTo>
                    <a:pt x="104" y="54"/>
                  </a:lnTo>
                  <a:lnTo>
                    <a:pt x="102" y="54"/>
                  </a:lnTo>
                  <a:close/>
                  <a:moveTo>
                    <a:pt x="10" y="58"/>
                  </a:moveTo>
                  <a:lnTo>
                    <a:pt x="10" y="60"/>
                  </a:lnTo>
                  <a:lnTo>
                    <a:pt x="8" y="60"/>
                  </a:lnTo>
                  <a:lnTo>
                    <a:pt x="6" y="60"/>
                  </a:lnTo>
                  <a:lnTo>
                    <a:pt x="8" y="60"/>
                  </a:lnTo>
                  <a:lnTo>
                    <a:pt x="8" y="58"/>
                  </a:lnTo>
                  <a:lnTo>
                    <a:pt x="8" y="60"/>
                  </a:lnTo>
                  <a:lnTo>
                    <a:pt x="8" y="58"/>
                  </a:lnTo>
                  <a:lnTo>
                    <a:pt x="10" y="58"/>
                  </a:lnTo>
                  <a:close/>
                  <a:moveTo>
                    <a:pt x="92" y="54"/>
                  </a:moveTo>
                  <a:lnTo>
                    <a:pt x="92" y="52"/>
                  </a:lnTo>
                  <a:lnTo>
                    <a:pt x="92" y="54"/>
                  </a:lnTo>
                  <a:close/>
                  <a:moveTo>
                    <a:pt x="92" y="54"/>
                  </a:moveTo>
                  <a:lnTo>
                    <a:pt x="92" y="52"/>
                  </a:lnTo>
                  <a:lnTo>
                    <a:pt x="92" y="54"/>
                  </a:lnTo>
                  <a:close/>
                  <a:moveTo>
                    <a:pt x="18" y="58"/>
                  </a:moveTo>
                  <a:lnTo>
                    <a:pt x="18" y="58"/>
                  </a:lnTo>
                  <a:lnTo>
                    <a:pt x="16" y="58"/>
                  </a:lnTo>
                  <a:lnTo>
                    <a:pt x="14" y="58"/>
                  </a:lnTo>
                  <a:lnTo>
                    <a:pt x="12" y="58"/>
                  </a:lnTo>
                  <a:lnTo>
                    <a:pt x="12" y="60"/>
                  </a:lnTo>
                  <a:lnTo>
                    <a:pt x="10" y="60"/>
                  </a:lnTo>
                  <a:lnTo>
                    <a:pt x="8" y="60"/>
                  </a:lnTo>
                  <a:lnTo>
                    <a:pt x="6" y="60"/>
                  </a:lnTo>
                  <a:lnTo>
                    <a:pt x="8" y="60"/>
                  </a:lnTo>
                  <a:lnTo>
                    <a:pt x="10" y="60"/>
                  </a:lnTo>
                  <a:lnTo>
                    <a:pt x="10" y="58"/>
                  </a:lnTo>
                  <a:lnTo>
                    <a:pt x="12" y="58"/>
                  </a:lnTo>
                  <a:lnTo>
                    <a:pt x="14" y="58"/>
                  </a:lnTo>
                  <a:lnTo>
                    <a:pt x="12" y="58"/>
                  </a:lnTo>
                  <a:lnTo>
                    <a:pt x="14" y="58"/>
                  </a:lnTo>
                  <a:lnTo>
                    <a:pt x="16" y="58"/>
                  </a:lnTo>
                  <a:lnTo>
                    <a:pt x="18" y="58"/>
                  </a:lnTo>
                  <a:lnTo>
                    <a:pt x="16" y="58"/>
                  </a:lnTo>
                  <a:lnTo>
                    <a:pt x="18" y="58"/>
                  </a:lnTo>
                  <a:lnTo>
                    <a:pt x="18" y="58"/>
                  </a:lnTo>
                  <a:lnTo>
                    <a:pt x="18" y="58"/>
                  </a:lnTo>
                  <a:lnTo>
                    <a:pt x="18" y="58"/>
                  </a:lnTo>
                  <a:close/>
                  <a:moveTo>
                    <a:pt x="38" y="54"/>
                  </a:moveTo>
                  <a:lnTo>
                    <a:pt x="38" y="52"/>
                  </a:lnTo>
                  <a:lnTo>
                    <a:pt x="38" y="54"/>
                  </a:lnTo>
                  <a:close/>
                  <a:moveTo>
                    <a:pt x="302" y="20"/>
                  </a:moveTo>
                  <a:lnTo>
                    <a:pt x="304" y="20"/>
                  </a:lnTo>
                  <a:lnTo>
                    <a:pt x="302" y="20"/>
                  </a:lnTo>
                  <a:lnTo>
                    <a:pt x="304" y="20"/>
                  </a:lnTo>
                  <a:lnTo>
                    <a:pt x="304" y="22"/>
                  </a:lnTo>
                  <a:lnTo>
                    <a:pt x="304" y="24"/>
                  </a:lnTo>
                  <a:lnTo>
                    <a:pt x="304" y="26"/>
                  </a:lnTo>
                  <a:lnTo>
                    <a:pt x="306" y="26"/>
                  </a:lnTo>
                  <a:lnTo>
                    <a:pt x="306" y="28"/>
                  </a:lnTo>
                  <a:lnTo>
                    <a:pt x="306" y="30"/>
                  </a:lnTo>
                  <a:lnTo>
                    <a:pt x="308" y="32"/>
                  </a:lnTo>
                  <a:lnTo>
                    <a:pt x="308" y="34"/>
                  </a:lnTo>
                  <a:lnTo>
                    <a:pt x="308" y="36"/>
                  </a:lnTo>
                  <a:lnTo>
                    <a:pt x="310" y="36"/>
                  </a:lnTo>
                  <a:lnTo>
                    <a:pt x="310" y="38"/>
                  </a:lnTo>
                  <a:lnTo>
                    <a:pt x="310" y="40"/>
                  </a:lnTo>
                  <a:lnTo>
                    <a:pt x="312" y="40"/>
                  </a:lnTo>
                  <a:lnTo>
                    <a:pt x="312" y="42"/>
                  </a:lnTo>
                  <a:lnTo>
                    <a:pt x="312" y="44"/>
                  </a:lnTo>
                  <a:lnTo>
                    <a:pt x="312" y="46"/>
                  </a:lnTo>
                  <a:lnTo>
                    <a:pt x="314" y="46"/>
                  </a:lnTo>
                  <a:lnTo>
                    <a:pt x="312" y="46"/>
                  </a:lnTo>
                  <a:lnTo>
                    <a:pt x="314" y="46"/>
                  </a:lnTo>
                  <a:lnTo>
                    <a:pt x="312" y="46"/>
                  </a:lnTo>
                  <a:lnTo>
                    <a:pt x="312" y="44"/>
                  </a:lnTo>
                  <a:lnTo>
                    <a:pt x="310" y="44"/>
                  </a:lnTo>
                  <a:lnTo>
                    <a:pt x="310" y="42"/>
                  </a:lnTo>
                  <a:lnTo>
                    <a:pt x="312" y="42"/>
                  </a:lnTo>
                  <a:lnTo>
                    <a:pt x="310" y="42"/>
                  </a:lnTo>
                  <a:lnTo>
                    <a:pt x="312" y="42"/>
                  </a:lnTo>
                  <a:lnTo>
                    <a:pt x="310" y="42"/>
                  </a:lnTo>
                  <a:lnTo>
                    <a:pt x="312" y="42"/>
                  </a:lnTo>
                  <a:lnTo>
                    <a:pt x="310" y="42"/>
                  </a:lnTo>
                  <a:lnTo>
                    <a:pt x="310" y="40"/>
                  </a:lnTo>
                  <a:lnTo>
                    <a:pt x="310" y="42"/>
                  </a:lnTo>
                  <a:lnTo>
                    <a:pt x="312" y="42"/>
                  </a:lnTo>
                  <a:lnTo>
                    <a:pt x="310" y="42"/>
                  </a:lnTo>
                  <a:lnTo>
                    <a:pt x="312" y="42"/>
                  </a:lnTo>
                  <a:lnTo>
                    <a:pt x="310" y="42"/>
                  </a:lnTo>
                  <a:lnTo>
                    <a:pt x="310" y="40"/>
                  </a:lnTo>
                  <a:lnTo>
                    <a:pt x="308" y="40"/>
                  </a:lnTo>
                  <a:lnTo>
                    <a:pt x="308" y="38"/>
                  </a:lnTo>
                  <a:lnTo>
                    <a:pt x="308" y="36"/>
                  </a:lnTo>
                  <a:lnTo>
                    <a:pt x="308" y="34"/>
                  </a:lnTo>
                  <a:lnTo>
                    <a:pt x="308" y="36"/>
                  </a:lnTo>
                  <a:lnTo>
                    <a:pt x="306" y="34"/>
                  </a:lnTo>
                  <a:lnTo>
                    <a:pt x="308" y="34"/>
                  </a:lnTo>
                  <a:lnTo>
                    <a:pt x="306" y="34"/>
                  </a:lnTo>
                  <a:lnTo>
                    <a:pt x="306" y="32"/>
                  </a:lnTo>
                  <a:lnTo>
                    <a:pt x="304" y="30"/>
                  </a:lnTo>
                  <a:lnTo>
                    <a:pt x="304" y="28"/>
                  </a:lnTo>
                  <a:lnTo>
                    <a:pt x="304" y="26"/>
                  </a:lnTo>
                  <a:lnTo>
                    <a:pt x="302" y="24"/>
                  </a:lnTo>
                  <a:lnTo>
                    <a:pt x="304" y="24"/>
                  </a:lnTo>
                  <a:lnTo>
                    <a:pt x="302" y="24"/>
                  </a:lnTo>
                  <a:lnTo>
                    <a:pt x="304" y="24"/>
                  </a:lnTo>
                  <a:lnTo>
                    <a:pt x="302" y="24"/>
                  </a:lnTo>
                  <a:lnTo>
                    <a:pt x="302" y="22"/>
                  </a:lnTo>
                  <a:lnTo>
                    <a:pt x="300" y="20"/>
                  </a:lnTo>
                  <a:lnTo>
                    <a:pt x="302" y="20"/>
                  </a:lnTo>
                  <a:lnTo>
                    <a:pt x="302" y="22"/>
                  </a:lnTo>
                  <a:lnTo>
                    <a:pt x="302" y="20"/>
                  </a:lnTo>
                  <a:lnTo>
                    <a:pt x="302" y="22"/>
                  </a:lnTo>
                  <a:lnTo>
                    <a:pt x="302" y="20"/>
                  </a:lnTo>
                  <a:lnTo>
                    <a:pt x="300" y="20"/>
                  </a:lnTo>
                  <a:lnTo>
                    <a:pt x="302" y="20"/>
                  </a:lnTo>
                  <a:close/>
                  <a:moveTo>
                    <a:pt x="48" y="52"/>
                  </a:moveTo>
                  <a:lnTo>
                    <a:pt x="50" y="52"/>
                  </a:lnTo>
                  <a:lnTo>
                    <a:pt x="52" y="52"/>
                  </a:lnTo>
                  <a:lnTo>
                    <a:pt x="54" y="52"/>
                  </a:lnTo>
                  <a:lnTo>
                    <a:pt x="56" y="52"/>
                  </a:lnTo>
                  <a:lnTo>
                    <a:pt x="54" y="52"/>
                  </a:lnTo>
                  <a:lnTo>
                    <a:pt x="52" y="52"/>
                  </a:lnTo>
                  <a:lnTo>
                    <a:pt x="50" y="52"/>
                  </a:lnTo>
                  <a:lnTo>
                    <a:pt x="48" y="52"/>
                  </a:lnTo>
                  <a:lnTo>
                    <a:pt x="46" y="52"/>
                  </a:lnTo>
                  <a:lnTo>
                    <a:pt x="44" y="52"/>
                  </a:lnTo>
                  <a:lnTo>
                    <a:pt x="42" y="52"/>
                  </a:lnTo>
                  <a:lnTo>
                    <a:pt x="42" y="54"/>
                  </a:lnTo>
                  <a:lnTo>
                    <a:pt x="40" y="54"/>
                  </a:lnTo>
                  <a:lnTo>
                    <a:pt x="38" y="54"/>
                  </a:lnTo>
                  <a:lnTo>
                    <a:pt x="36" y="54"/>
                  </a:lnTo>
                  <a:lnTo>
                    <a:pt x="34" y="54"/>
                  </a:lnTo>
                  <a:lnTo>
                    <a:pt x="34" y="56"/>
                  </a:lnTo>
                  <a:lnTo>
                    <a:pt x="32" y="56"/>
                  </a:lnTo>
                  <a:lnTo>
                    <a:pt x="32" y="56"/>
                  </a:lnTo>
                  <a:lnTo>
                    <a:pt x="30" y="56"/>
                  </a:lnTo>
                  <a:lnTo>
                    <a:pt x="30" y="58"/>
                  </a:lnTo>
                  <a:lnTo>
                    <a:pt x="28" y="58"/>
                  </a:lnTo>
                  <a:lnTo>
                    <a:pt x="26" y="58"/>
                  </a:lnTo>
                  <a:lnTo>
                    <a:pt x="24" y="58"/>
                  </a:lnTo>
                  <a:lnTo>
                    <a:pt x="22" y="58"/>
                  </a:lnTo>
                  <a:lnTo>
                    <a:pt x="20" y="58"/>
                  </a:lnTo>
                  <a:lnTo>
                    <a:pt x="20" y="58"/>
                  </a:lnTo>
                  <a:lnTo>
                    <a:pt x="20" y="58"/>
                  </a:lnTo>
                  <a:lnTo>
                    <a:pt x="18" y="58"/>
                  </a:lnTo>
                  <a:lnTo>
                    <a:pt x="20" y="58"/>
                  </a:lnTo>
                  <a:lnTo>
                    <a:pt x="22" y="58"/>
                  </a:lnTo>
                  <a:lnTo>
                    <a:pt x="24" y="58"/>
                  </a:lnTo>
                  <a:lnTo>
                    <a:pt x="26" y="58"/>
                  </a:lnTo>
                  <a:lnTo>
                    <a:pt x="26" y="56"/>
                  </a:lnTo>
                  <a:lnTo>
                    <a:pt x="26" y="58"/>
                  </a:lnTo>
                  <a:lnTo>
                    <a:pt x="28" y="58"/>
                  </a:lnTo>
                  <a:lnTo>
                    <a:pt x="28" y="56"/>
                  </a:lnTo>
                  <a:lnTo>
                    <a:pt x="28" y="58"/>
                  </a:lnTo>
                  <a:lnTo>
                    <a:pt x="28" y="56"/>
                  </a:lnTo>
                  <a:lnTo>
                    <a:pt x="30" y="56"/>
                  </a:lnTo>
                  <a:lnTo>
                    <a:pt x="32" y="56"/>
                  </a:lnTo>
                  <a:lnTo>
                    <a:pt x="32" y="56"/>
                  </a:lnTo>
                  <a:lnTo>
                    <a:pt x="32" y="54"/>
                  </a:lnTo>
                  <a:lnTo>
                    <a:pt x="34" y="56"/>
                  </a:lnTo>
                  <a:lnTo>
                    <a:pt x="34" y="54"/>
                  </a:lnTo>
                  <a:lnTo>
                    <a:pt x="36" y="54"/>
                  </a:lnTo>
                  <a:lnTo>
                    <a:pt x="38" y="54"/>
                  </a:lnTo>
                  <a:lnTo>
                    <a:pt x="40" y="54"/>
                  </a:lnTo>
                  <a:lnTo>
                    <a:pt x="42" y="52"/>
                  </a:lnTo>
                  <a:lnTo>
                    <a:pt x="44" y="52"/>
                  </a:lnTo>
                  <a:lnTo>
                    <a:pt x="46" y="52"/>
                  </a:lnTo>
                  <a:lnTo>
                    <a:pt x="48" y="52"/>
                  </a:lnTo>
                  <a:close/>
                  <a:moveTo>
                    <a:pt x="76" y="48"/>
                  </a:moveTo>
                  <a:lnTo>
                    <a:pt x="76" y="50"/>
                  </a:lnTo>
                  <a:lnTo>
                    <a:pt x="76" y="48"/>
                  </a:lnTo>
                  <a:close/>
                  <a:moveTo>
                    <a:pt x="76" y="48"/>
                  </a:moveTo>
                  <a:lnTo>
                    <a:pt x="74" y="48"/>
                  </a:lnTo>
                  <a:lnTo>
                    <a:pt x="76" y="48"/>
                  </a:lnTo>
                  <a:close/>
                  <a:moveTo>
                    <a:pt x="300" y="18"/>
                  </a:moveTo>
                  <a:lnTo>
                    <a:pt x="300" y="16"/>
                  </a:lnTo>
                  <a:lnTo>
                    <a:pt x="300" y="18"/>
                  </a:lnTo>
                  <a:close/>
                  <a:moveTo>
                    <a:pt x="300" y="16"/>
                  </a:moveTo>
                  <a:lnTo>
                    <a:pt x="302" y="18"/>
                  </a:lnTo>
                  <a:lnTo>
                    <a:pt x="304" y="18"/>
                  </a:lnTo>
                  <a:lnTo>
                    <a:pt x="302" y="18"/>
                  </a:lnTo>
                  <a:lnTo>
                    <a:pt x="302" y="20"/>
                  </a:lnTo>
                  <a:lnTo>
                    <a:pt x="300" y="20"/>
                  </a:lnTo>
                  <a:lnTo>
                    <a:pt x="302" y="20"/>
                  </a:lnTo>
                  <a:lnTo>
                    <a:pt x="300" y="20"/>
                  </a:lnTo>
                  <a:lnTo>
                    <a:pt x="302" y="20"/>
                  </a:lnTo>
                  <a:lnTo>
                    <a:pt x="302" y="18"/>
                  </a:lnTo>
                  <a:lnTo>
                    <a:pt x="300" y="18"/>
                  </a:lnTo>
                  <a:lnTo>
                    <a:pt x="300" y="20"/>
                  </a:lnTo>
                  <a:lnTo>
                    <a:pt x="300" y="18"/>
                  </a:lnTo>
                  <a:lnTo>
                    <a:pt x="300" y="16"/>
                  </a:lnTo>
                  <a:lnTo>
                    <a:pt x="300" y="18"/>
                  </a:lnTo>
                  <a:lnTo>
                    <a:pt x="300" y="16"/>
                  </a:lnTo>
                  <a:close/>
                  <a:moveTo>
                    <a:pt x="302" y="14"/>
                  </a:moveTo>
                  <a:lnTo>
                    <a:pt x="300" y="14"/>
                  </a:lnTo>
                  <a:lnTo>
                    <a:pt x="302" y="14"/>
                  </a:lnTo>
                  <a:lnTo>
                    <a:pt x="300" y="14"/>
                  </a:lnTo>
                  <a:lnTo>
                    <a:pt x="302" y="14"/>
                  </a:lnTo>
                  <a:close/>
                  <a:moveTo>
                    <a:pt x="300" y="14"/>
                  </a:moveTo>
                  <a:lnTo>
                    <a:pt x="302" y="14"/>
                  </a:lnTo>
                  <a:lnTo>
                    <a:pt x="302" y="18"/>
                  </a:lnTo>
                  <a:lnTo>
                    <a:pt x="302" y="16"/>
                  </a:lnTo>
                  <a:lnTo>
                    <a:pt x="300" y="16"/>
                  </a:lnTo>
                  <a:lnTo>
                    <a:pt x="300" y="14"/>
                  </a:lnTo>
                  <a:lnTo>
                    <a:pt x="298" y="14"/>
                  </a:lnTo>
                  <a:lnTo>
                    <a:pt x="300" y="14"/>
                  </a:lnTo>
                  <a:lnTo>
                    <a:pt x="300" y="12"/>
                  </a:lnTo>
                  <a:lnTo>
                    <a:pt x="300" y="14"/>
                  </a:lnTo>
                  <a:close/>
                  <a:moveTo>
                    <a:pt x="300" y="12"/>
                  </a:moveTo>
                  <a:lnTo>
                    <a:pt x="300" y="14"/>
                  </a:lnTo>
                  <a:lnTo>
                    <a:pt x="298" y="14"/>
                  </a:lnTo>
                  <a:lnTo>
                    <a:pt x="300" y="12"/>
                  </a:lnTo>
                  <a:close/>
                  <a:moveTo>
                    <a:pt x="32" y="46"/>
                  </a:moveTo>
                  <a:lnTo>
                    <a:pt x="32" y="46"/>
                  </a:lnTo>
                  <a:lnTo>
                    <a:pt x="32" y="46"/>
                  </a:lnTo>
                  <a:close/>
                  <a:moveTo>
                    <a:pt x="32" y="46"/>
                  </a:moveTo>
                  <a:lnTo>
                    <a:pt x="32" y="44"/>
                  </a:lnTo>
                  <a:lnTo>
                    <a:pt x="32" y="46"/>
                  </a:lnTo>
                  <a:close/>
                  <a:moveTo>
                    <a:pt x="24" y="44"/>
                  </a:moveTo>
                  <a:lnTo>
                    <a:pt x="24" y="46"/>
                  </a:lnTo>
                  <a:lnTo>
                    <a:pt x="24" y="44"/>
                  </a:lnTo>
                  <a:close/>
                  <a:moveTo>
                    <a:pt x="32" y="44"/>
                  </a:moveTo>
                  <a:lnTo>
                    <a:pt x="32" y="44"/>
                  </a:lnTo>
                  <a:lnTo>
                    <a:pt x="32" y="44"/>
                  </a:lnTo>
                  <a:close/>
                  <a:moveTo>
                    <a:pt x="298" y="12"/>
                  </a:moveTo>
                  <a:lnTo>
                    <a:pt x="296" y="10"/>
                  </a:lnTo>
                  <a:lnTo>
                    <a:pt x="298" y="12"/>
                  </a:lnTo>
                  <a:close/>
                  <a:moveTo>
                    <a:pt x="24" y="44"/>
                  </a:moveTo>
                  <a:lnTo>
                    <a:pt x="24" y="46"/>
                  </a:lnTo>
                  <a:lnTo>
                    <a:pt x="22" y="46"/>
                  </a:lnTo>
                  <a:lnTo>
                    <a:pt x="22" y="44"/>
                  </a:lnTo>
                  <a:lnTo>
                    <a:pt x="24" y="44"/>
                  </a:lnTo>
                  <a:close/>
                  <a:moveTo>
                    <a:pt x="298" y="10"/>
                  </a:moveTo>
                  <a:lnTo>
                    <a:pt x="298" y="12"/>
                  </a:lnTo>
                  <a:lnTo>
                    <a:pt x="298" y="10"/>
                  </a:lnTo>
                  <a:lnTo>
                    <a:pt x="296" y="10"/>
                  </a:lnTo>
                  <a:lnTo>
                    <a:pt x="298" y="10"/>
                  </a:lnTo>
                  <a:close/>
                  <a:moveTo>
                    <a:pt x="22" y="44"/>
                  </a:moveTo>
                  <a:lnTo>
                    <a:pt x="24" y="44"/>
                  </a:lnTo>
                  <a:lnTo>
                    <a:pt x="22" y="44"/>
                  </a:lnTo>
                  <a:close/>
                  <a:moveTo>
                    <a:pt x="298" y="10"/>
                  </a:moveTo>
                  <a:lnTo>
                    <a:pt x="298" y="10"/>
                  </a:lnTo>
                  <a:lnTo>
                    <a:pt x="296" y="10"/>
                  </a:lnTo>
                  <a:lnTo>
                    <a:pt x="296" y="10"/>
                  </a:lnTo>
                  <a:lnTo>
                    <a:pt x="298" y="10"/>
                  </a:lnTo>
                  <a:close/>
                  <a:moveTo>
                    <a:pt x="298" y="10"/>
                  </a:moveTo>
                  <a:lnTo>
                    <a:pt x="298" y="10"/>
                  </a:lnTo>
                  <a:lnTo>
                    <a:pt x="298" y="10"/>
                  </a:lnTo>
                  <a:close/>
                  <a:moveTo>
                    <a:pt x="298" y="10"/>
                  </a:moveTo>
                  <a:lnTo>
                    <a:pt x="298" y="10"/>
                  </a:lnTo>
                  <a:lnTo>
                    <a:pt x="298" y="10"/>
                  </a:lnTo>
                  <a:close/>
                  <a:moveTo>
                    <a:pt x="32" y="42"/>
                  </a:moveTo>
                  <a:lnTo>
                    <a:pt x="30" y="42"/>
                  </a:lnTo>
                  <a:lnTo>
                    <a:pt x="30" y="40"/>
                  </a:lnTo>
                  <a:lnTo>
                    <a:pt x="32" y="40"/>
                  </a:lnTo>
                  <a:lnTo>
                    <a:pt x="32" y="42"/>
                  </a:lnTo>
                  <a:close/>
                  <a:moveTo>
                    <a:pt x="298" y="8"/>
                  </a:moveTo>
                  <a:lnTo>
                    <a:pt x="298" y="10"/>
                  </a:lnTo>
                  <a:lnTo>
                    <a:pt x="296" y="10"/>
                  </a:lnTo>
                  <a:lnTo>
                    <a:pt x="298" y="10"/>
                  </a:lnTo>
                  <a:lnTo>
                    <a:pt x="298" y="8"/>
                  </a:lnTo>
                  <a:close/>
                  <a:moveTo>
                    <a:pt x="294" y="4"/>
                  </a:moveTo>
                  <a:lnTo>
                    <a:pt x="296" y="4"/>
                  </a:lnTo>
                  <a:lnTo>
                    <a:pt x="294" y="4"/>
                  </a:lnTo>
                  <a:close/>
                  <a:moveTo>
                    <a:pt x="294" y="6"/>
                  </a:moveTo>
                  <a:lnTo>
                    <a:pt x="294" y="4"/>
                  </a:lnTo>
                  <a:lnTo>
                    <a:pt x="294" y="6"/>
                  </a:lnTo>
                  <a:close/>
                  <a:moveTo>
                    <a:pt x="298" y="4"/>
                  </a:moveTo>
                  <a:lnTo>
                    <a:pt x="300" y="4"/>
                  </a:lnTo>
                  <a:lnTo>
                    <a:pt x="300" y="6"/>
                  </a:lnTo>
                  <a:lnTo>
                    <a:pt x="300" y="8"/>
                  </a:lnTo>
                  <a:lnTo>
                    <a:pt x="300" y="10"/>
                  </a:lnTo>
                  <a:lnTo>
                    <a:pt x="300" y="10"/>
                  </a:lnTo>
                  <a:lnTo>
                    <a:pt x="300" y="12"/>
                  </a:lnTo>
                  <a:lnTo>
                    <a:pt x="298" y="12"/>
                  </a:lnTo>
                  <a:lnTo>
                    <a:pt x="298" y="10"/>
                  </a:lnTo>
                  <a:lnTo>
                    <a:pt x="298" y="10"/>
                  </a:lnTo>
                  <a:lnTo>
                    <a:pt x="298" y="8"/>
                  </a:lnTo>
                  <a:lnTo>
                    <a:pt x="296" y="8"/>
                  </a:lnTo>
                  <a:lnTo>
                    <a:pt x="298" y="8"/>
                  </a:lnTo>
                  <a:lnTo>
                    <a:pt x="296" y="8"/>
                  </a:lnTo>
                  <a:lnTo>
                    <a:pt x="298" y="8"/>
                  </a:lnTo>
                  <a:lnTo>
                    <a:pt x="296" y="8"/>
                  </a:lnTo>
                  <a:lnTo>
                    <a:pt x="296" y="6"/>
                  </a:lnTo>
                  <a:lnTo>
                    <a:pt x="298" y="6"/>
                  </a:lnTo>
                  <a:lnTo>
                    <a:pt x="298" y="4"/>
                  </a:lnTo>
                  <a:close/>
                  <a:moveTo>
                    <a:pt x="294" y="4"/>
                  </a:moveTo>
                  <a:lnTo>
                    <a:pt x="296" y="4"/>
                  </a:lnTo>
                  <a:lnTo>
                    <a:pt x="294" y="4"/>
                  </a:lnTo>
                  <a:lnTo>
                    <a:pt x="294" y="6"/>
                  </a:lnTo>
                  <a:lnTo>
                    <a:pt x="292" y="6"/>
                  </a:lnTo>
                  <a:lnTo>
                    <a:pt x="292" y="4"/>
                  </a:lnTo>
                  <a:lnTo>
                    <a:pt x="294" y="4"/>
                  </a:lnTo>
                  <a:close/>
                  <a:moveTo>
                    <a:pt x="404" y="309"/>
                  </a:moveTo>
                  <a:lnTo>
                    <a:pt x="402" y="309"/>
                  </a:lnTo>
                  <a:lnTo>
                    <a:pt x="402" y="307"/>
                  </a:lnTo>
                  <a:lnTo>
                    <a:pt x="402" y="305"/>
                  </a:lnTo>
                  <a:lnTo>
                    <a:pt x="400" y="305"/>
                  </a:lnTo>
                  <a:lnTo>
                    <a:pt x="398" y="305"/>
                  </a:lnTo>
                  <a:lnTo>
                    <a:pt x="398" y="307"/>
                  </a:lnTo>
                  <a:lnTo>
                    <a:pt x="398" y="305"/>
                  </a:lnTo>
                  <a:lnTo>
                    <a:pt x="396" y="305"/>
                  </a:lnTo>
                  <a:lnTo>
                    <a:pt x="396" y="307"/>
                  </a:lnTo>
                  <a:lnTo>
                    <a:pt x="396" y="305"/>
                  </a:lnTo>
                  <a:lnTo>
                    <a:pt x="398" y="305"/>
                  </a:lnTo>
                  <a:lnTo>
                    <a:pt x="396" y="305"/>
                  </a:lnTo>
                  <a:lnTo>
                    <a:pt x="398" y="305"/>
                  </a:lnTo>
                  <a:lnTo>
                    <a:pt x="398" y="303"/>
                  </a:lnTo>
                  <a:lnTo>
                    <a:pt x="398" y="305"/>
                  </a:lnTo>
                  <a:lnTo>
                    <a:pt x="398" y="303"/>
                  </a:lnTo>
                  <a:lnTo>
                    <a:pt x="396" y="303"/>
                  </a:lnTo>
                  <a:lnTo>
                    <a:pt x="398" y="303"/>
                  </a:lnTo>
                  <a:lnTo>
                    <a:pt x="396" y="303"/>
                  </a:lnTo>
                  <a:lnTo>
                    <a:pt x="396" y="305"/>
                  </a:lnTo>
                  <a:lnTo>
                    <a:pt x="396" y="303"/>
                  </a:lnTo>
                  <a:lnTo>
                    <a:pt x="396" y="305"/>
                  </a:lnTo>
                  <a:lnTo>
                    <a:pt x="396" y="303"/>
                  </a:lnTo>
                  <a:lnTo>
                    <a:pt x="396" y="305"/>
                  </a:lnTo>
                  <a:lnTo>
                    <a:pt x="396" y="303"/>
                  </a:lnTo>
                  <a:lnTo>
                    <a:pt x="396" y="305"/>
                  </a:lnTo>
                  <a:lnTo>
                    <a:pt x="394" y="305"/>
                  </a:lnTo>
                  <a:lnTo>
                    <a:pt x="396" y="305"/>
                  </a:lnTo>
                  <a:lnTo>
                    <a:pt x="394" y="305"/>
                  </a:lnTo>
                  <a:lnTo>
                    <a:pt x="396" y="305"/>
                  </a:lnTo>
                  <a:lnTo>
                    <a:pt x="394" y="305"/>
                  </a:lnTo>
                  <a:lnTo>
                    <a:pt x="394" y="307"/>
                  </a:lnTo>
                  <a:lnTo>
                    <a:pt x="394" y="305"/>
                  </a:lnTo>
                  <a:lnTo>
                    <a:pt x="394" y="307"/>
                  </a:lnTo>
                  <a:lnTo>
                    <a:pt x="394" y="305"/>
                  </a:lnTo>
                  <a:lnTo>
                    <a:pt x="394" y="307"/>
                  </a:lnTo>
                  <a:lnTo>
                    <a:pt x="394" y="309"/>
                  </a:lnTo>
                  <a:lnTo>
                    <a:pt x="392" y="309"/>
                  </a:lnTo>
                  <a:lnTo>
                    <a:pt x="394" y="309"/>
                  </a:lnTo>
                  <a:lnTo>
                    <a:pt x="394" y="307"/>
                  </a:lnTo>
                  <a:lnTo>
                    <a:pt x="392" y="307"/>
                  </a:lnTo>
                  <a:lnTo>
                    <a:pt x="392" y="309"/>
                  </a:lnTo>
                  <a:lnTo>
                    <a:pt x="390" y="309"/>
                  </a:lnTo>
                  <a:lnTo>
                    <a:pt x="392" y="309"/>
                  </a:lnTo>
                  <a:lnTo>
                    <a:pt x="392" y="311"/>
                  </a:lnTo>
                  <a:lnTo>
                    <a:pt x="390" y="311"/>
                  </a:lnTo>
                  <a:lnTo>
                    <a:pt x="392" y="311"/>
                  </a:lnTo>
                  <a:lnTo>
                    <a:pt x="392" y="309"/>
                  </a:lnTo>
                  <a:lnTo>
                    <a:pt x="390" y="309"/>
                  </a:lnTo>
                  <a:lnTo>
                    <a:pt x="390" y="311"/>
                  </a:lnTo>
                  <a:lnTo>
                    <a:pt x="388" y="311"/>
                  </a:lnTo>
                  <a:lnTo>
                    <a:pt x="390" y="311"/>
                  </a:lnTo>
                  <a:lnTo>
                    <a:pt x="388" y="311"/>
                  </a:lnTo>
                  <a:lnTo>
                    <a:pt x="386" y="311"/>
                  </a:lnTo>
                  <a:lnTo>
                    <a:pt x="388" y="311"/>
                  </a:lnTo>
                  <a:lnTo>
                    <a:pt x="386" y="311"/>
                  </a:lnTo>
                  <a:lnTo>
                    <a:pt x="384" y="311"/>
                  </a:lnTo>
                  <a:lnTo>
                    <a:pt x="386" y="311"/>
                  </a:lnTo>
                  <a:lnTo>
                    <a:pt x="386" y="313"/>
                  </a:lnTo>
                  <a:lnTo>
                    <a:pt x="384" y="313"/>
                  </a:lnTo>
                  <a:lnTo>
                    <a:pt x="384" y="311"/>
                  </a:lnTo>
                  <a:lnTo>
                    <a:pt x="386" y="311"/>
                  </a:lnTo>
                  <a:lnTo>
                    <a:pt x="384" y="311"/>
                  </a:lnTo>
                  <a:lnTo>
                    <a:pt x="384" y="313"/>
                  </a:lnTo>
                  <a:lnTo>
                    <a:pt x="384" y="311"/>
                  </a:lnTo>
                  <a:lnTo>
                    <a:pt x="384" y="309"/>
                  </a:lnTo>
                  <a:lnTo>
                    <a:pt x="382" y="309"/>
                  </a:lnTo>
                  <a:lnTo>
                    <a:pt x="382" y="311"/>
                  </a:lnTo>
                  <a:lnTo>
                    <a:pt x="382" y="309"/>
                  </a:lnTo>
                  <a:lnTo>
                    <a:pt x="382" y="311"/>
                  </a:lnTo>
                  <a:lnTo>
                    <a:pt x="380" y="311"/>
                  </a:lnTo>
                  <a:lnTo>
                    <a:pt x="378" y="311"/>
                  </a:lnTo>
                  <a:lnTo>
                    <a:pt x="378" y="313"/>
                  </a:lnTo>
                  <a:lnTo>
                    <a:pt x="376" y="313"/>
                  </a:lnTo>
                  <a:lnTo>
                    <a:pt x="376" y="315"/>
                  </a:lnTo>
                  <a:lnTo>
                    <a:pt x="374" y="315"/>
                  </a:lnTo>
                  <a:lnTo>
                    <a:pt x="372" y="315"/>
                  </a:lnTo>
                  <a:lnTo>
                    <a:pt x="370" y="315"/>
                  </a:lnTo>
                  <a:lnTo>
                    <a:pt x="370" y="315"/>
                  </a:lnTo>
                  <a:lnTo>
                    <a:pt x="368" y="315"/>
                  </a:lnTo>
                  <a:lnTo>
                    <a:pt x="368" y="313"/>
                  </a:lnTo>
                  <a:lnTo>
                    <a:pt x="366" y="313"/>
                  </a:lnTo>
                  <a:lnTo>
                    <a:pt x="366" y="311"/>
                  </a:lnTo>
                  <a:lnTo>
                    <a:pt x="364" y="311"/>
                  </a:lnTo>
                  <a:lnTo>
                    <a:pt x="364" y="309"/>
                  </a:lnTo>
                  <a:lnTo>
                    <a:pt x="364" y="307"/>
                  </a:lnTo>
                  <a:lnTo>
                    <a:pt x="364" y="309"/>
                  </a:lnTo>
                  <a:lnTo>
                    <a:pt x="364" y="307"/>
                  </a:lnTo>
                  <a:lnTo>
                    <a:pt x="364" y="305"/>
                  </a:lnTo>
                  <a:lnTo>
                    <a:pt x="366" y="305"/>
                  </a:lnTo>
                  <a:lnTo>
                    <a:pt x="368" y="305"/>
                  </a:lnTo>
                  <a:lnTo>
                    <a:pt x="366" y="305"/>
                  </a:lnTo>
                  <a:lnTo>
                    <a:pt x="368" y="305"/>
                  </a:lnTo>
                  <a:lnTo>
                    <a:pt x="368" y="307"/>
                  </a:lnTo>
                  <a:lnTo>
                    <a:pt x="370" y="307"/>
                  </a:lnTo>
                  <a:lnTo>
                    <a:pt x="370" y="309"/>
                  </a:lnTo>
                  <a:lnTo>
                    <a:pt x="370" y="309"/>
                  </a:lnTo>
                  <a:lnTo>
                    <a:pt x="372" y="309"/>
                  </a:lnTo>
                  <a:lnTo>
                    <a:pt x="372" y="311"/>
                  </a:lnTo>
                  <a:lnTo>
                    <a:pt x="372" y="309"/>
                  </a:lnTo>
                  <a:lnTo>
                    <a:pt x="374" y="309"/>
                  </a:lnTo>
                  <a:lnTo>
                    <a:pt x="372" y="309"/>
                  </a:lnTo>
                  <a:lnTo>
                    <a:pt x="372" y="311"/>
                  </a:lnTo>
                  <a:lnTo>
                    <a:pt x="374" y="311"/>
                  </a:lnTo>
                  <a:lnTo>
                    <a:pt x="374" y="309"/>
                  </a:lnTo>
                  <a:lnTo>
                    <a:pt x="374" y="311"/>
                  </a:lnTo>
                  <a:lnTo>
                    <a:pt x="374" y="309"/>
                  </a:lnTo>
                  <a:lnTo>
                    <a:pt x="376" y="309"/>
                  </a:lnTo>
                  <a:lnTo>
                    <a:pt x="376" y="307"/>
                  </a:lnTo>
                  <a:lnTo>
                    <a:pt x="376" y="305"/>
                  </a:lnTo>
                  <a:lnTo>
                    <a:pt x="376" y="307"/>
                  </a:lnTo>
                  <a:lnTo>
                    <a:pt x="376" y="305"/>
                  </a:lnTo>
                  <a:lnTo>
                    <a:pt x="376" y="307"/>
                  </a:lnTo>
                  <a:lnTo>
                    <a:pt x="376" y="305"/>
                  </a:lnTo>
                  <a:lnTo>
                    <a:pt x="374" y="305"/>
                  </a:lnTo>
                  <a:lnTo>
                    <a:pt x="374" y="303"/>
                  </a:lnTo>
                  <a:lnTo>
                    <a:pt x="374" y="305"/>
                  </a:lnTo>
                  <a:lnTo>
                    <a:pt x="374" y="303"/>
                  </a:lnTo>
                  <a:lnTo>
                    <a:pt x="374" y="305"/>
                  </a:lnTo>
                  <a:lnTo>
                    <a:pt x="374" y="303"/>
                  </a:lnTo>
                  <a:lnTo>
                    <a:pt x="376" y="303"/>
                  </a:lnTo>
                  <a:lnTo>
                    <a:pt x="374" y="303"/>
                  </a:lnTo>
                  <a:lnTo>
                    <a:pt x="374" y="301"/>
                  </a:lnTo>
                  <a:lnTo>
                    <a:pt x="376" y="301"/>
                  </a:lnTo>
                  <a:lnTo>
                    <a:pt x="374" y="301"/>
                  </a:lnTo>
                  <a:lnTo>
                    <a:pt x="374" y="303"/>
                  </a:lnTo>
                  <a:lnTo>
                    <a:pt x="372" y="303"/>
                  </a:lnTo>
                  <a:lnTo>
                    <a:pt x="372" y="305"/>
                  </a:lnTo>
                  <a:lnTo>
                    <a:pt x="372" y="303"/>
                  </a:lnTo>
                  <a:lnTo>
                    <a:pt x="374" y="303"/>
                  </a:lnTo>
                  <a:lnTo>
                    <a:pt x="372" y="303"/>
                  </a:lnTo>
                  <a:lnTo>
                    <a:pt x="374" y="303"/>
                  </a:lnTo>
                  <a:lnTo>
                    <a:pt x="372" y="303"/>
                  </a:lnTo>
                  <a:lnTo>
                    <a:pt x="374" y="303"/>
                  </a:lnTo>
                  <a:lnTo>
                    <a:pt x="372" y="303"/>
                  </a:lnTo>
                  <a:lnTo>
                    <a:pt x="374" y="303"/>
                  </a:lnTo>
                  <a:lnTo>
                    <a:pt x="372" y="303"/>
                  </a:lnTo>
                  <a:lnTo>
                    <a:pt x="372" y="301"/>
                  </a:lnTo>
                  <a:lnTo>
                    <a:pt x="370" y="301"/>
                  </a:lnTo>
                  <a:lnTo>
                    <a:pt x="370" y="303"/>
                  </a:lnTo>
                  <a:lnTo>
                    <a:pt x="370" y="303"/>
                  </a:lnTo>
                  <a:lnTo>
                    <a:pt x="368" y="303"/>
                  </a:lnTo>
                  <a:lnTo>
                    <a:pt x="368" y="301"/>
                  </a:lnTo>
                  <a:lnTo>
                    <a:pt x="370" y="301"/>
                  </a:lnTo>
                  <a:lnTo>
                    <a:pt x="370" y="299"/>
                  </a:lnTo>
                  <a:lnTo>
                    <a:pt x="370" y="299"/>
                  </a:lnTo>
                  <a:lnTo>
                    <a:pt x="370" y="299"/>
                  </a:lnTo>
                  <a:lnTo>
                    <a:pt x="372" y="299"/>
                  </a:lnTo>
                  <a:lnTo>
                    <a:pt x="370" y="299"/>
                  </a:lnTo>
                  <a:lnTo>
                    <a:pt x="372" y="299"/>
                  </a:lnTo>
                  <a:lnTo>
                    <a:pt x="370" y="299"/>
                  </a:lnTo>
                  <a:lnTo>
                    <a:pt x="372" y="299"/>
                  </a:lnTo>
                  <a:lnTo>
                    <a:pt x="372" y="297"/>
                  </a:lnTo>
                  <a:lnTo>
                    <a:pt x="372" y="299"/>
                  </a:lnTo>
                  <a:lnTo>
                    <a:pt x="372" y="297"/>
                  </a:lnTo>
                  <a:lnTo>
                    <a:pt x="372" y="299"/>
                  </a:lnTo>
                  <a:lnTo>
                    <a:pt x="372" y="297"/>
                  </a:lnTo>
                  <a:lnTo>
                    <a:pt x="372" y="299"/>
                  </a:lnTo>
                  <a:lnTo>
                    <a:pt x="370" y="299"/>
                  </a:lnTo>
                  <a:lnTo>
                    <a:pt x="370" y="299"/>
                  </a:lnTo>
                  <a:lnTo>
                    <a:pt x="368" y="299"/>
                  </a:lnTo>
                  <a:lnTo>
                    <a:pt x="366" y="299"/>
                  </a:lnTo>
                  <a:lnTo>
                    <a:pt x="364" y="299"/>
                  </a:lnTo>
                  <a:lnTo>
                    <a:pt x="364" y="299"/>
                  </a:lnTo>
                  <a:lnTo>
                    <a:pt x="362" y="299"/>
                  </a:lnTo>
                  <a:lnTo>
                    <a:pt x="364" y="299"/>
                  </a:lnTo>
                  <a:lnTo>
                    <a:pt x="362" y="299"/>
                  </a:lnTo>
                  <a:lnTo>
                    <a:pt x="362" y="297"/>
                  </a:lnTo>
                  <a:lnTo>
                    <a:pt x="364" y="297"/>
                  </a:lnTo>
                  <a:lnTo>
                    <a:pt x="366" y="297"/>
                  </a:lnTo>
                  <a:lnTo>
                    <a:pt x="364" y="297"/>
                  </a:lnTo>
                  <a:lnTo>
                    <a:pt x="362" y="297"/>
                  </a:lnTo>
                  <a:lnTo>
                    <a:pt x="364" y="297"/>
                  </a:lnTo>
                  <a:lnTo>
                    <a:pt x="364" y="295"/>
                  </a:lnTo>
                  <a:lnTo>
                    <a:pt x="364" y="297"/>
                  </a:lnTo>
                  <a:lnTo>
                    <a:pt x="362" y="297"/>
                  </a:lnTo>
                  <a:lnTo>
                    <a:pt x="360" y="297"/>
                  </a:lnTo>
                  <a:lnTo>
                    <a:pt x="360" y="295"/>
                  </a:lnTo>
                  <a:lnTo>
                    <a:pt x="360" y="293"/>
                  </a:lnTo>
                  <a:lnTo>
                    <a:pt x="362" y="293"/>
                  </a:lnTo>
                  <a:lnTo>
                    <a:pt x="362" y="291"/>
                  </a:lnTo>
                  <a:lnTo>
                    <a:pt x="362" y="293"/>
                  </a:lnTo>
                  <a:lnTo>
                    <a:pt x="362" y="291"/>
                  </a:lnTo>
                  <a:lnTo>
                    <a:pt x="364" y="291"/>
                  </a:lnTo>
                  <a:lnTo>
                    <a:pt x="364" y="293"/>
                  </a:lnTo>
                  <a:lnTo>
                    <a:pt x="366" y="293"/>
                  </a:lnTo>
                  <a:lnTo>
                    <a:pt x="368" y="293"/>
                  </a:lnTo>
                  <a:lnTo>
                    <a:pt x="366" y="293"/>
                  </a:lnTo>
                  <a:lnTo>
                    <a:pt x="368" y="293"/>
                  </a:lnTo>
                  <a:lnTo>
                    <a:pt x="370" y="293"/>
                  </a:lnTo>
                  <a:lnTo>
                    <a:pt x="368" y="293"/>
                  </a:lnTo>
                  <a:lnTo>
                    <a:pt x="370" y="293"/>
                  </a:lnTo>
                  <a:lnTo>
                    <a:pt x="368" y="293"/>
                  </a:lnTo>
                  <a:lnTo>
                    <a:pt x="370" y="293"/>
                  </a:lnTo>
                  <a:lnTo>
                    <a:pt x="368" y="293"/>
                  </a:lnTo>
                  <a:lnTo>
                    <a:pt x="368" y="291"/>
                  </a:lnTo>
                  <a:lnTo>
                    <a:pt x="368" y="293"/>
                  </a:lnTo>
                  <a:lnTo>
                    <a:pt x="368" y="291"/>
                  </a:lnTo>
                  <a:lnTo>
                    <a:pt x="366" y="291"/>
                  </a:lnTo>
                  <a:lnTo>
                    <a:pt x="368" y="291"/>
                  </a:lnTo>
                  <a:lnTo>
                    <a:pt x="366" y="291"/>
                  </a:lnTo>
                  <a:lnTo>
                    <a:pt x="368" y="291"/>
                  </a:lnTo>
                  <a:lnTo>
                    <a:pt x="366" y="291"/>
                  </a:lnTo>
                  <a:lnTo>
                    <a:pt x="364" y="291"/>
                  </a:lnTo>
                  <a:lnTo>
                    <a:pt x="364" y="289"/>
                  </a:lnTo>
                  <a:lnTo>
                    <a:pt x="362" y="289"/>
                  </a:lnTo>
                  <a:lnTo>
                    <a:pt x="362" y="291"/>
                  </a:lnTo>
                  <a:lnTo>
                    <a:pt x="362" y="289"/>
                  </a:lnTo>
                  <a:lnTo>
                    <a:pt x="364" y="289"/>
                  </a:lnTo>
                  <a:lnTo>
                    <a:pt x="362" y="289"/>
                  </a:lnTo>
                  <a:lnTo>
                    <a:pt x="362" y="291"/>
                  </a:lnTo>
                  <a:lnTo>
                    <a:pt x="362" y="293"/>
                  </a:lnTo>
                  <a:lnTo>
                    <a:pt x="360" y="293"/>
                  </a:lnTo>
                  <a:lnTo>
                    <a:pt x="358" y="293"/>
                  </a:lnTo>
                  <a:lnTo>
                    <a:pt x="358" y="291"/>
                  </a:lnTo>
                  <a:lnTo>
                    <a:pt x="356" y="291"/>
                  </a:lnTo>
                  <a:lnTo>
                    <a:pt x="358" y="291"/>
                  </a:lnTo>
                  <a:lnTo>
                    <a:pt x="356" y="291"/>
                  </a:lnTo>
                  <a:lnTo>
                    <a:pt x="356" y="289"/>
                  </a:lnTo>
                  <a:lnTo>
                    <a:pt x="354" y="289"/>
                  </a:lnTo>
                  <a:lnTo>
                    <a:pt x="354" y="287"/>
                  </a:lnTo>
                  <a:lnTo>
                    <a:pt x="354" y="285"/>
                  </a:lnTo>
                  <a:lnTo>
                    <a:pt x="356" y="285"/>
                  </a:lnTo>
                  <a:lnTo>
                    <a:pt x="356" y="283"/>
                  </a:lnTo>
                  <a:lnTo>
                    <a:pt x="358" y="283"/>
                  </a:lnTo>
                  <a:lnTo>
                    <a:pt x="358" y="285"/>
                  </a:lnTo>
                  <a:lnTo>
                    <a:pt x="360" y="285"/>
                  </a:lnTo>
                  <a:lnTo>
                    <a:pt x="358" y="285"/>
                  </a:lnTo>
                  <a:lnTo>
                    <a:pt x="358" y="283"/>
                  </a:lnTo>
                  <a:lnTo>
                    <a:pt x="356" y="283"/>
                  </a:lnTo>
                  <a:lnTo>
                    <a:pt x="356" y="281"/>
                  </a:lnTo>
                  <a:lnTo>
                    <a:pt x="354" y="281"/>
                  </a:lnTo>
                  <a:lnTo>
                    <a:pt x="356" y="281"/>
                  </a:lnTo>
                  <a:lnTo>
                    <a:pt x="354" y="281"/>
                  </a:lnTo>
                  <a:lnTo>
                    <a:pt x="354" y="279"/>
                  </a:lnTo>
                  <a:lnTo>
                    <a:pt x="354" y="281"/>
                  </a:lnTo>
                  <a:lnTo>
                    <a:pt x="354" y="279"/>
                  </a:lnTo>
                  <a:lnTo>
                    <a:pt x="352" y="279"/>
                  </a:lnTo>
                  <a:lnTo>
                    <a:pt x="350" y="279"/>
                  </a:lnTo>
                  <a:lnTo>
                    <a:pt x="348" y="279"/>
                  </a:lnTo>
                  <a:lnTo>
                    <a:pt x="350" y="279"/>
                  </a:lnTo>
                  <a:lnTo>
                    <a:pt x="350" y="277"/>
                  </a:lnTo>
                  <a:lnTo>
                    <a:pt x="350" y="279"/>
                  </a:lnTo>
                  <a:lnTo>
                    <a:pt x="348" y="279"/>
                  </a:lnTo>
                  <a:lnTo>
                    <a:pt x="346" y="279"/>
                  </a:lnTo>
                  <a:lnTo>
                    <a:pt x="346" y="277"/>
                  </a:lnTo>
                  <a:lnTo>
                    <a:pt x="344" y="277"/>
                  </a:lnTo>
                  <a:lnTo>
                    <a:pt x="342" y="277"/>
                  </a:lnTo>
                  <a:lnTo>
                    <a:pt x="344" y="277"/>
                  </a:lnTo>
                  <a:lnTo>
                    <a:pt x="342" y="277"/>
                  </a:lnTo>
                  <a:lnTo>
                    <a:pt x="342" y="275"/>
                  </a:lnTo>
                  <a:lnTo>
                    <a:pt x="340" y="275"/>
                  </a:lnTo>
                  <a:lnTo>
                    <a:pt x="342" y="275"/>
                  </a:lnTo>
                  <a:lnTo>
                    <a:pt x="340" y="275"/>
                  </a:lnTo>
                  <a:lnTo>
                    <a:pt x="340" y="277"/>
                  </a:lnTo>
                  <a:lnTo>
                    <a:pt x="338" y="277"/>
                  </a:lnTo>
                  <a:lnTo>
                    <a:pt x="340" y="277"/>
                  </a:lnTo>
                  <a:lnTo>
                    <a:pt x="338" y="277"/>
                  </a:lnTo>
                  <a:lnTo>
                    <a:pt x="340" y="277"/>
                  </a:lnTo>
                  <a:lnTo>
                    <a:pt x="338" y="277"/>
                  </a:lnTo>
                  <a:lnTo>
                    <a:pt x="340" y="277"/>
                  </a:lnTo>
                  <a:lnTo>
                    <a:pt x="338" y="277"/>
                  </a:lnTo>
                  <a:lnTo>
                    <a:pt x="340" y="277"/>
                  </a:lnTo>
                  <a:lnTo>
                    <a:pt x="338" y="277"/>
                  </a:lnTo>
                  <a:lnTo>
                    <a:pt x="338" y="279"/>
                  </a:lnTo>
                  <a:lnTo>
                    <a:pt x="338" y="277"/>
                  </a:lnTo>
                  <a:lnTo>
                    <a:pt x="338" y="275"/>
                  </a:lnTo>
                  <a:lnTo>
                    <a:pt x="338" y="277"/>
                  </a:lnTo>
                  <a:lnTo>
                    <a:pt x="340" y="277"/>
                  </a:lnTo>
                  <a:lnTo>
                    <a:pt x="340" y="275"/>
                  </a:lnTo>
                  <a:lnTo>
                    <a:pt x="340" y="277"/>
                  </a:lnTo>
                  <a:lnTo>
                    <a:pt x="340" y="275"/>
                  </a:lnTo>
                  <a:lnTo>
                    <a:pt x="338" y="275"/>
                  </a:lnTo>
                  <a:lnTo>
                    <a:pt x="336" y="275"/>
                  </a:lnTo>
                  <a:lnTo>
                    <a:pt x="338" y="275"/>
                  </a:lnTo>
                  <a:lnTo>
                    <a:pt x="336" y="275"/>
                  </a:lnTo>
                  <a:lnTo>
                    <a:pt x="338" y="275"/>
                  </a:lnTo>
                  <a:lnTo>
                    <a:pt x="336" y="275"/>
                  </a:lnTo>
                  <a:lnTo>
                    <a:pt x="336" y="277"/>
                  </a:lnTo>
                  <a:lnTo>
                    <a:pt x="336" y="275"/>
                  </a:lnTo>
                  <a:lnTo>
                    <a:pt x="334" y="275"/>
                  </a:lnTo>
                  <a:lnTo>
                    <a:pt x="334" y="277"/>
                  </a:lnTo>
                  <a:lnTo>
                    <a:pt x="336" y="277"/>
                  </a:lnTo>
                  <a:lnTo>
                    <a:pt x="334" y="277"/>
                  </a:lnTo>
                  <a:lnTo>
                    <a:pt x="334" y="275"/>
                  </a:lnTo>
                  <a:lnTo>
                    <a:pt x="334" y="277"/>
                  </a:lnTo>
                  <a:lnTo>
                    <a:pt x="334" y="275"/>
                  </a:lnTo>
                  <a:lnTo>
                    <a:pt x="334" y="277"/>
                  </a:lnTo>
                  <a:lnTo>
                    <a:pt x="334" y="275"/>
                  </a:lnTo>
                  <a:lnTo>
                    <a:pt x="336" y="275"/>
                  </a:lnTo>
                  <a:lnTo>
                    <a:pt x="334" y="275"/>
                  </a:lnTo>
                  <a:lnTo>
                    <a:pt x="334" y="273"/>
                  </a:lnTo>
                  <a:lnTo>
                    <a:pt x="334" y="275"/>
                  </a:lnTo>
                  <a:lnTo>
                    <a:pt x="332" y="275"/>
                  </a:lnTo>
                  <a:lnTo>
                    <a:pt x="334" y="275"/>
                  </a:lnTo>
                  <a:lnTo>
                    <a:pt x="334" y="277"/>
                  </a:lnTo>
                  <a:lnTo>
                    <a:pt x="334" y="275"/>
                  </a:lnTo>
                  <a:lnTo>
                    <a:pt x="332" y="275"/>
                  </a:lnTo>
                  <a:lnTo>
                    <a:pt x="334" y="275"/>
                  </a:lnTo>
                  <a:lnTo>
                    <a:pt x="334" y="277"/>
                  </a:lnTo>
                  <a:lnTo>
                    <a:pt x="332" y="277"/>
                  </a:lnTo>
                  <a:lnTo>
                    <a:pt x="332" y="275"/>
                  </a:lnTo>
                  <a:lnTo>
                    <a:pt x="330" y="275"/>
                  </a:lnTo>
                  <a:lnTo>
                    <a:pt x="330" y="273"/>
                  </a:lnTo>
                  <a:lnTo>
                    <a:pt x="330" y="275"/>
                  </a:lnTo>
                  <a:lnTo>
                    <a:pt x="330" y="273"/>
                  </a:lnTo>
                  <a:lnTo>
                    <a:pt x="328" y="273"/>
                  </a:lnTo>
                  <a:lnTo>
                    <a:pt x="330" y="273"/>
                  </a:lnTo>
                  <a:lnTo>
                    <a:pt x="328" y="273"/>
                  </a:lnTo>
                  <a:lnTo>
                    <a:pt x="330" y="273"/>
                  </a:lnTo>
                  <a:lnTo>
                    <a:pt x="330" y="271"/>
                  </a:lnTo>
                  <a:lnTo>
                    <a:pt x="330" y="273"/>
                  </a:lnTo>
                  <a:lnTo>
                    <a:pt x="328" y="273"/>
                  </a:lnTo>
                  <a:lnTo>
                    <a:pt x="330" y="273"/>
                  </a:lnTo>
                  <a:lnTo>
                    <a:pt x="328" y="273"/>
                  </a:lnTo>
                  <a:lnTo>
                    <a:pt x="328" y="271"/>
                  </a:lnTo>
                  <a:lnTo>
                    <a:pt x="328" y="273"/>
                  </a:lnTo>
                  <a:lnTo>
                    <a:pt x="326" y="273"/>
                  </a:lnTo>
                  <a:lnTo>
                    <a:pt x="326" y="271"/>
                  </a:lnTo>
                  <a:lnTo>
                    <a:pt x="328" y="271"/>
                  </a:lnTo>
                  <a:lnTo>
                    <a:pt x="326" y="271"/>
                  </a:lnTo>
                  <a:lnTo>
                    <a:pt x="326" y="269"/>
                  </a:lnTo>
                  <a:lnTo>
                    <a:pt x="324" y="269"/>
                  </a:lnTo>
                  <a:lnTo>
                    <a:pt x="324" y="271"/>
                  </a:lnTo>
                  <a:lnTo>
                    <a:pt x="324" y="269"/>
                  </a:lnTo>
                  <a:lnTo>
                    <a:pt x="322" y="269"/>
                  </a:lnTo>
                  <a:lnTo>
                    <a:pt x="322" y="267"/>
                  </a:lnTo>
                  <a:lnTo>
                    <a:pt x="322" y="265"/>
                  </a:lnTo>
                  <a:lnTo>
                    <a:pt x="322" y="263"/>
                  </a:lnTo>
                  <a:lnTo>
                    <a:pt x="322" y="265"/>
                  </a:lnTo>
                  <a:lnTo>
                    <a:pt x="322" y="263"/>
                  </a:lnTo>
                  <a:lnTo>
                    <a:pt x="322" y="265"/>
                  </a:lnTo>
                  <a:lnTo>
                    <a:pt x="322" y="267"/>
                  </a:lnTo>
                  <a:lnTo>
                    <a:pt x="322" y="265"/>
                  </a:lnTo>
                  <a:lnTo>
                    <a:pt x="322" y="267"/>
                  </a:lnTo>
                  <a:lnTo>
                    <a:pt x="322" y="265"/>
                  </a:lnTo>
                  <a:lnTo>
                    <a:pt x="322" y="265"/>
                  </a:lnTo>
                  <a:lnTo>
                    <a:pt x="322" y="263"/>
                  </a:lnTo>
                  <a:lnTo>
                    <a:pt x="322" y="261"/>
                  </a:lnTo>
                  <a:lnTo>
                    <a:pt x="322" y="259"/>
                  </a:lnTo>
                  <a:lnTo>
                    <a:pt x="322" y="257"/>
                  </a:lnTo>
                  <a:lnTo>
                    <a:pt x="320" y="257"/>
                  </a:lnTo>
                  <a:lnTo>
                    <a:pt x="320" y="255"/>
                  </a:lnTo>
                  <a:lnTo>
                    <a:pt x="320" y="253"/>
                  </a:lnTo>
                  <a:lnTo>
                    <a:pt x="318" y="253"/>
                  </a:lnTo>
                  <a:lnTo>
                    <a:pt x="318" y="251"/>
                  </a:lnTo>
                  <a:lnTo>
                    <a:pt x="320" y="251"/>
                  </a:lnTo>
                  <a:lnTo>
                    <a:pt x="318" y="251"/>
                  </a:lnTo>
                  <a:lnTo>
                    <a:pt x="318" y="251"/>
                  </a:lnTo>
                  <a:lnTo>
                    <a:pt x="318" y="249"/>
                  </a:lnTo>
                  <a:lnTo>
                    <a:pt x="318" y="247"/>
                  </a:lnTo>
                  <a:lnTo>
                    <a:pt x="318" y="249"/>
                  </a:lnTo>
                  <a:lnTo>
                    <a:pt x="318" y="247"/>
                  </a:lnTo>
                  <a:lnTo>
                    <a:pt x="316" y="247"/>
                  </a:lnTo>
                  <a:lnTo>
                    <a:pt x="316" y="245"/>
                  </a:lnTo>
                  <a:lnTo>
                    <a:pt x="316" y="247"/>
                  </a:lnTo>
                  <a:lnTo>
                    <a:pt x="316" y="249"/>
                  </a:lnTo>
                  <a:lnTo>
                    <a:pt x="316" y="247"/>
                  </a:lnTo>
                  <a:lnTo>
                    <a:pt x="316" y="249"/>
                  </a:lnTo>
                  <a:lnTo>
                    <a:pt x="314" y="249"/>
                  </a:lnTo>
                  <a:lnTo>
                    <a:pt x="314" y="247"/>
                  </a:lnTo>
                  <a:lnTo>
                    <a:pt x="314" y="249"/>
                  </a:lnTo>
                  <a:lnTo>
                    <a:pt x="314" y="247"/>
                  </a:lnTo>
                  <a:lnTo>
                    <a:pt x="312" y="247"/>
                  </a:lnTo>
                  <a:lnTo>
                    <a:pt x="314" y="247"/>
                  </a:lnTo>
                  <a:lnTo>
                    <a:pt x="312" y="247"/>
                  </a:lnTo>
                  <a:lnTo>
                    <a:pt x="310" y="247"/>
                  </a:lnTo>
                  <a:lnTo>
                    <a:pt x="308" y="247"/>
                  </a:lnTo>
                  <a:lnTo>
                    <a:pt x="310" y="247"/>
                  </a:lnTo>
                  <a:lnTo>
                    <a:pt x="308" y="247"/>
                  </a:lnTo>
                  <a:lnTo>
                    <a:pt x="310" y="247"/>
                  </a:lnTo>
                  <a:lnTo>
                    <a:pt x="310" y="245"/>
                  </a:lnTo>
                  <a:lnTo>
                    <a:pt x="308" y="245"/>
                  </a:lnTo>
                  <a:lnTo>
                    <a:pt x="310" y="245"/>
                  </a:lnTo>
                  <a:lnTo>
                    <a:pt x="308" y="245"/>
                  </a:lnTo>
                  <a:lnTo>
                    <a:pt x="308" y="243"/>
                  </a:lnTo>
                  <a:lnTo>
                    <a:pt x="308" y="245"/>
                  </a:lnTo>
                  <a:lnTo>
                    <a:pt x="308" y="243"/>
                  </a:lnTo>
                  <a:lnTo>
                    <a:pt x="308" y="245"/>
                  </a:lnTo>
                  <a:lnTo>
                    <a:pt x="308" y="243"/>
                  </a:lnTo>
                  <a:lnTo>
                    <a:pt x="308" y="245"/>
                  </a:lnTo>
                  <a:lnTo>
                    <a:pt x="306" y="245"/>
                  </a:lnTo>
                  <a:lnTo>
                    <a:pt x="306" y="243"/>
                  </a:lnTo>
                  <a:lnTo>
                    <a:pt x="306" y="245"/>
                  </a:lnTo>
                  <a:lnTo>
                    <a:pt x="306" y="243"/>
                  </a:lnTo>
                  <a:lnTo>
                    <a:pt x="306" y="245"/>
                  </a:lnTo>
                  <a:lnTo>
                    <a:pt x="306" y="243"/>
                  </a:lnTo>
                  <a:lnTo>
                    <a:pt x="306" y="245"/>
                  </a:lnTo>
                  <a:lnTo>
                    <a:pt x="306" y="243"/>
                  </a:lnTo>
                  <a:lnTo>
                    <a:pt x="304" y="243"/>
                  </a:lnTo>
                  <a:lnTo>
                    <a:pt x="306" y="243"/>
                  </a:lnTo>
                  <a:lnTo>
                    <a:pt x="306" y="241"/>
                  </a:lnTo>
                  <a:lnTo>
                    <a:pt x="306" y="243"/>
                  </a:lnTo>
                  <a:lnTo>
                    <a:pt x="306" y="241"/>
                  </a:lnTo>
                  <a:lnTo>
                    <a:pt x="306" y="239"/>
                  </a:lnTo>
                  <a:lnTo>
                    <a:pt x="304" y="239"/>
                  </a:lnTo>
                  <a:lnTo>
                    <a:pt x="306" y="239"/>
                  </a:lnTo>
                  <a:lnTo>
                    <a:pt x="304" y="239"/>
                  </a:lnTo>
                  <a:lnTo>
                    <a:pt x="304" y="237"/>
                  </a:lnTo>
                  <a:lnTo>
                    <a:pt x="304" y="239"/>
                  </a:lnTo>
                  <a:lnTo>
                    <a:pt x="304" y="237"/>
                  </a:lnTo>
                  <a:lnTo>
                    <a:pt x="304" y="235"/>
                  </a:lnTo>
                  <a:lnTo>
                    <a:pt x="304" y="237"/>
                  </a:lnTo>
                  <a:lnTo>
                    <a:pt x="304" y="235"/>
                  </a:lnTo>
                  <a:lnTo>
                    <a:pt x="302" y="235"/>
                  </a:lnTo>
                  <a:lnTo>
                    <a:pt x="304" y="235"/>
                  </a:lnTo>
                  <a:lnTo>
                    <a:pt x="302" y="235"/>
                  </a:lnTo>
                  <a:lnTo>
                    <a:pt x="304" y="235"/>
                  </a:lnTo>
                  <a:lnTo>
                    <a:pt x="302" y="235"/>
                  </a:lnTo>
                  <a:lnTo>
                    <a:pt x="304" y="235"/>
                  </a:lnTo>
                  <a:lnTo>
                    <a:pt x="302" y="235"/>
                  </a:lnTo>
                  <a:lnTo>
                    <a:pt x="304" y="235"/>
                  </a:lnTo>
                  <a:lnTo>
                    <a:pt x="304" y="233"/>
                  </a:lnTo>
                  <a:lnTo>
                    <a:pt x="302" y="233"/>
                  </a:lnTo>
                  <a:lnTo>
                    <a:pt x="304" y="233"/>
                  </a:lnTo>
                  <a:lnTo>
                    <a:pt x="304" y="231"/>
                  </a:lnTo>
                  <a:lnTo>
                    <a:pt x="304" y="229"/>
                  </a:lnTo>
                  <a:lnTo>
                    <a:pt x="302" y="229"/>
                  </a:lnTo>
                  <a:lnTo>
                    <a:pt x="304" y="229"/>
                  </a:lnTo>
                  <a:lnTo>
                    <a:pt x="304" y="227"/>
                  </a:lnTo>
                  <a:lnTo>
                    <a:pt x="304" y="229"/>
                  </a:lnTo>
                  <a:lnTo>
                    <a:pt x="304" y="227"/>
                  </a:lnTo>
                  <a:lnTo>
                    <a:pt x="304" y="229"/>
                  </a:lnTo>
                  <a:lnTo>
                    <a:pt x="304" y="227"/>
                  </a:lnTo>
                  <a:lnTo>
                    <a:pt x="302" y="227"/>
                  </a:lnTo>
                  <a:lnTo>
                    <a:pt x="304" y="227"/>
                  </a:lnTo>
                  <a:lnTo>
                    <a:pt x="302" y="227"/>
                  </a:lnTo>
                  <a:lnTo>
                    <a:pt x="304" y="227"/>
                  </a:lnTo>
                  <a:lnTo>
                    <a:pt x="302" y="227"/>
                  </a:lnTo>
                  <a:lnTo>
                    <a:pt x="304" y="225"/>
                  </a:lnTo>
                  <a:lnTo>
                    <a:pt x="302" y="225"/>
                  </a:lnTo>
                  <a:lnTo>
                    <a:pt x="304" y="225"/>
                  </a:lnTo>
                  <a:lnTo>
                    <a:pt x="302" y="225"/>
                  </a:lnTo>
                  <a:lnTo>
                    <a:pt x="304" y="225"/>
                  </a:lnTo>
                  <a:lnTo>
                    <a:pt x="302" y="225"/>
                  </a:lnTo>
                  <a:lnTo>
                    <a:pt x="304" y="225"/>
                  </a:lnTo>
                  <a:lnTo>
                    <a:pt x="302" y="225"/>
                  </a:lnTo>
                  <a:lnTo>
                    <a:pt x="304" y="225"/>
                  </a:lnTo>
                  <a:lnTo>
                    <a:pt x="302" y="225"/>
                  </a:lnTo>
                  <a:lnTo>
                    <a:pt x="302" y="223"/>
                  </a:lnTo>
                  <a:lnTo>
                    <a:pt x="304" y="223"/>
                  </a:lnTo>
                  <a:lnTo>
                    <a:pt x="302" y="223"/>
                  </a:lnTo>
                  <a:lnTo>
                    <a:pt x="304" y="223"/>
                  </a:lnTo>
                  <a:lnTo>
                    <a:pt x="304" y="221"/>
                  </a:lnTo>
                  <a:lnTo>
                    <a:pt x="304" y="223"/>
                  </a:lnTo>
                  <a:lnTo>
                    <a:pt x="304" y="221"/>
                  </a:lnTo>
                  <a:lnTo>
                    <a:pt x="304" y="223"/>
                  </a:lnTo>
                  <a:lnTo>
                    <a:pt x="304" y="221"/>
                  </a:lnTo>
                  <a:lnTo>
                    <a:pt x="304" y="223"/>
                  </a:lnTo>
                  <a:lnTo>
                    <a:pt x="302" y="223"/>
                  </a:lnTo>
                  <a:lnTo>
                    <a:pt x="304" y="223"/>
                  </a:lnTo>
                  <a:lnTo>
                    <a:pt x="302" y="223"/>
                  </a:lnTo>
                  <a:lnTo>
                    <a:pt x="300" y="223"/>
                  </a:lnTo>
                  <a:lnTo>
                    <a:pt x="300" y="221"/>
                  </a:lnTo>
                  <a:lnTo>
                    <a:pt x="300" y="223"/>
                  </a:lnTo>
                  <a:lnTo>
                    <a:pt x="300" y="221"/>
                  </a:lnTo>
                  <a:lnTo>
                    <a:pt x="302" y="221"/>
                  </a:lnTo>
                  <a:lnTo>
                    <a:pt x="300" y="221"/>
                  </a:lnTo>
                  <a:lnTo>
                    <a:pt x="302" y="221"/>
                  </a:lnTo>
                  <a:lnTo>
                    <a:pt x="300" y="221"/>
                  </a:lnTo>
                  <a:lnTo>
                    <a:pt x="302" y="221"/>
                  </a:lnTo>
                  <a:lnTo>
                    <a:pt x="300" y="221"/>
                  </a:lnTo>
                  <a:lnTo>
                    <a:pt x="302" y="221"/>
                  </a:lnTo>
                  <a:lnTo>
                    <a:pt x="302" y="219"/>
                  </a:lnTo>
                  <a:lnTo>
                    <a:pt x="300" y="219"/>
                  </a:lnTo>
                  <a:lnTo>
                    <a:pt x="298" y="219"/>
                  </a:lnTo>
                  <a:lnTo>
                    <a:pt x="300" y="219"/>
                  </a:lnTo>
                  <a:lnTo>
                    <a:pt x="298" y="219"/>
                  </a:lnTo>
                  <a:lnTo>
                    <a:pt x="300" y="219"/>
                  </a:lnTo>
                  <a:lnTo>
                    <a:pt x="298" y="219"/>
                  </a:lnTo>
                  <a:lnTo>
                    <a:pt x="300" y="219"/>
                  </a:lnTo>
                  <a:lnTo>
                    <a:pt x="298" y="219"/>
                  </a:lnTo>
                  <a:lnTo>
                    <a:pt x="300" y="219"/>
                  </a:lnTo>
                  <a:lnTo>
                    <a:pt x="298" y="219"/>
                  </a:lnTo>
                  <a:lnTo>
                    <a:pt x="300" y="219"/>
                  </a:lnTo>
                  <a:lnTo>
                    <a:pt x="298" y="219"/>
                  </a:lnTo>
                  <a:lnTo>
                    <a:pt x="298" y="217"/>
                  </a:lnTo>
                  <a:lnTo>
                    <a:pt x="298" y="219"/>
                  </a:lnTo>
                  <a:lnTo>
                    <a:pt x="298" y="221"/>
                  </a:lnTo>
                  <a:lnTo>
                    <a:pt x="296" y="221"/>
                  </a:lnTo>
                  <a:lnTo>
                    <a:pt x="296" y="223"/>
                  </a:lnTo>
                  <a:lnTo>
                    <a:pt x="296" y="225"/>
                  </a:lnTo>
                  <a:lnTo>
                    <a:pt x="296" y="223"/>
                  </a:lnTo>
                  <a:lnTo>
                    <a:pt x="296" y="225"/>
                  </a:lnTo>
                  <a:lnTo>
                    <a:pt x="296" y="223"/>
                  </a:lnTo>
                  <a:lnTo>
                    <a:pt x="296" y="225"/>
                  </a:lnTo>
                  <a:lnTo>
                    <a:pt x="298" y="225"/>
                  </a:lnTo>
                  <a:lnTo>
                    <a:pt x="298" y="227"/>
                  </a:lnTo>
                  <a:lnTo>
                    <a:pt x="298" y="229"/>
                  </a:lnTo>
                  <a:lnTo>
                    <a:pt x="298" y="231"/>
                  </a:lnTo>
                  <a:lnTo>
                    <a:pt x="298" y="229"/>
                  </a:lnTo>
                  <a:lnTo>
                    <a:pt x="298" y="231"/>
                  </a:lnTo>
                  <a:lnTo>
                    <a:pt x="298" y="229"/>
                  </a:lnTo>
                  <a:lnTo>
                    <a:pt x="296" y="229"/>
                  </a:lnTo>
                  <a:lnTo>
                    <a:pt x="298" y="229"/>
                  </a:lnTo>
                  <a:lnTo>
                    <a:pt x="298" y="227"/>
                  </a:lnTo>
                  <a:lnTo>
                    <a:pt x="298" y="229"/>
                  </a:lnTo>
                  <a:lnTo>
                    <a:pt x="298" y="227"/>
                  </a:lnTo>
                  <a:lnTo>
                    <a:pt x="298" y="229"/>
                  </a:lnTo>
                  <a:lnTo>
                    <a:pt x="298" y="227"/>
                  </a:lnTo>
                  <a:lnTo>
                    <a:pt x="298" y="229"/>
                  </a:lnTo>
                  <a:lnTo>
                    <a:pt x="298" y="227"/>
                  </a:lnTo>
                  <a:lnTo>
                    <a:pt x="296" y="227"/>
                  </a:lnTo>
                  <a:lnTo>
                    <a:pt x="296" y="229"/>
                  </a:lnTo>
                  <a:lnTo>
                    <a:pt x="294" y="229"/>
                  </a:lnTo>
                  <a:lnTo>
                    <a:pt x="296" y="229"/>
                  </a:lnTo>
                  <a:lnTo>
                    <a:pt x="294" y="229"/>
                  </a:lnTo>
                  <a:lnTo>
                    <a:pt x="296" y="229"/>
                  </a:lnTo>
                  <a:lnTo>
                    <a:pt x="294" y="227"/>
                  </a:lnTo>
                  <a:lnTo>
                    <a:pt x="294" y="229"/>
                  </a:lnTo>
                  <a:lnTo>
                    <a:pt x="294" y="227"/>
                  </a:lnTo>
                  <a:lnTo>
                    <a:pt x="294" y="229"/>
                  </a:lnTo>
                  <a:lnTo>
                    <a:pt x="296" y="229"/>
                  </a:lnTo>
                  <a:lnTo>
                    <a:pt x="294" y="229"/>
                  </a:lnTo>
                  <a:lnTo>
                    <a:pt x="292" y="229"/>
                  </a:lnTo>
                  <a:lnTo>
                    <a:pt x="294" y="229"/>
                  </a:lnTo>
                  <a:lnTo>
                    <a:pt x="294" y="227"/>
                  </a:lnTo>
                  <a:lnTo>
                    <a:pt x="292" y="227"/>
                  </a:lnTo>
                  <a:lnTo>
                    <a:pt x="292" y="229"/>
                  </a:lnTo>
                  <a:lnTo>
                    <a:pt x="292" y="227"/>
                  </a:lnTo>
                  <a:lnTo>
                    <a:pt x="292" y="229"/>
                  </a:lnTo>
                  <a:lnTo>
                    <a:pt x="292" y="227"/>
                  </a:lnTo>
                  <a:lnTo>
                    <a:pt x="292" y="229"/>
                  </a:lnTo>
                  <a:lnTo>
                    <a:pt x="292" y="227"/>
                  </a:lnTo>
                  <a:lnTo>
                    <a:pt x="290" y="227"/>
                  </a:lnTo>
                  <a:lnTo>
                    <a:pt x="292" y="227"/>
                  </a:lnTo>
                  <a:lnTo>
                    <a:pt x="292" y="229"/>
                  </a:lnTo>
                  <a:lnTo>
                    <a:pt x="292" y="227"/>
                  </a:lnTo>
                  <a:lnTo>
                    <a:pt x="290" y="227"/>
                  </a:lnTo>
                  <a:lnTo>
                    <a:pt x="288" y="227"/>
                  </a:lnTo>
                  <a:lnTo>
                    <a:pt x="290" y="227"/>
                  </a:lnTo>
                  <a:lnTo>
                    <a:pt x="288" y="227"/>
                  </a:lnTo>
                  <a:lnTo>
                    <a:pt x="288" y="225"/>
                  </a:lnTo>
                  <a:lnTo>
                    <a:pt x="290" y="225"/>
                  </a:lnTo>
                  <a:lnTo>
                    <a:pt x="288" y="225"/>
                  </a:lnTo>
                  <a:lnTo>
                    <a:pt x="288" y="223"/>
                  </a:lnTo>
                  <a:lnTo>
                    <a:pt x="286" y="223"/>
                  </a:lnTo>
                  <a:lnTo>
                    <a:pt x="288" y="223"/>
                  </a:lnTo>
                  <a:lnTo>
                    <a:pt x="286" y="223"/>
                  </a:lnTo>
                  <a:lnTo>
                    <a:pt x="288" y="223"/>
                  </a:lnTo>
                  <a:lnTo>
                    <a:pt x="288" y="221"/>
                  </a:lnTo>
                  <a:lnTo>
                    <a:pt x="288" y="223"/>
                  </a:lnTo>
                  <a:lnTo>
                    <a:pt x="286" y="223"/>
                  </a:lnTo>
                  <a:lnTo>
                    <a:pt x="286" y="221"/>
                  </a:lnTo>
                  <a:lnTo>
                    <a:pt x="286" y="223"/>
                  </a:lnTo>
                  <a:lnTo>
                    <a:pt x="286" y="221"/>
                  </a:lnTo>
                  <a:lnTo>
                    <a:pt x="286" y="223"/>
                  </a:lnTo>
                  <a:lnTo>
                    <a:pt x="286" y="221"/>
                  </a:lnTo>
                  <a:lnTo>
                    <a:pt x="284" y="221"/>
                  </a:lnTo>
                  <a:lnTo>
                    <a:pt x="286" y="221"/>
                  </a:lnTo>
                  <a:lnTo>
                    <a:pt x="284" y="221"/>
                  </a:lnTo>
                  <a:lnTo>
                    <a:pt x="284" y="219"/>
                  </a:lnTo>
                  <a:lnTo>
                    <a:pt x="282" y="219"/>
                  </a:lnTo>
                  <a:lnTo>
                    <a:pt x="282" y="217"/>
                  </a:lnTo>
                  <a:lnTo>
                    <a:pt x="282" y="215"/>
                  </a:lnTo>
                  <a:lnTo>
                    <a:pt x="282" y="217"/>
                  </a:lnTo>
                  <a:lnTo>
                    <a:pt x="280" y="217"/>
                  </a:lnTo>
                  <a:lnTo>
                    <a:pt x="280" y="215"/>
                  </a:lnTo>
                  <a:lnTo>
                    <a:pt x="280" y="213"/>
                  </a:lnTo>
                  <a:lnTo>
                    <a:pt x="278" y="213"/>
                  </a:lnTo>
                  <a:lnTo>
                    <a:pt x="280" y="213"/>
                  </a:lnTo>
                  <a:lnTo>
                    <a:pt x="280" y="211"/>
                  </a:lnTo>
                  <a:lnTo>
                    <a:pt x="280" y="213"/>
                  </a:lnTo>
                  <a:lnTo>
                    <a:pt x="278" y="213"/>
                  </a:lnTo>
                  <a:lnTo>
                    <a:pt x="278" y="211"/>
                  </a:lnTo>
                  <a:lnTo>
                    <a:pt x="278" y="213"/>
                  </a:lnTo>
                  <a:lnTo>
                    <a:pt x="278" y="211"/>
                  </a:lnTo>
                  <a:lnTo>
                    <a:pt x="278" y="213"/>
                  </a:lnTo>
                  <a:lnTo>
                    <a:pt x="278" y="211"/>
                  </a:lnTo>
                  <a:lnTo>
                    <a:pt x="276" y="211"/>
                  </a:lnTo>
                  <a:lnTo>
                    <a:pt x="278" y="211"/>
                  </a:lnTo>
                  <a:lnTo>
                    <a:pt x="278" y="209"/>
                  </a:lnTo>
                  <a:lnTo>
                    <a:pt x="278" y="211"/>
                  </a:lnTo>
                  <a:lnTo>
                    <a:pt x="278" y="209"/>
                  </a:lnTo>
                  <a:lnTo>
                    <a:pt x="278" y="211"/>
                  </a:lnTo>
                  <a:lnTo>
                    <a:pt x="278" y="209"/>
                  </a:lnTo>
                  <a:lnTo>
                    <a:pt x="276" y="209"/>
                  </a:lnTo>
                  <a:lnTo>
                    <a:pt x="276" y="207"/>
                  </a:lnTo>
                  <a:lnTo>
                    <a:pt x="276" y="205"/>
                  </a:lnTo>
                  <a:lnTo>
                    <a:pt x="274" y="205"/>
                  </a:lnTo>
                  <a:lnTo>
                    <a:pt x="276" y="205"/>
                  </a:lnTo>
                  <a:lnTo>
                    <a:pt x="274" y="205"/>
                  </a:lnTo>
                  <a:lnTo>
                    <a:pt x="274" y="203"/>
                  </a:lnTo>
                  <a:lnTo>
                    <a:pt x="274" y="205"/>
                  </a:lnTo>
                  <a:lnTo>
                    <a:pt x="274" y="203"/>
                  </a:lnTo>
                  <a:lnTo>
                    <a:pt x="274" y="205"/>
                  </a:lnTo>
                  <a:lnTo>
                    <a:pt x="274" y="203"/>
                  </a:lnTo>
                  <a:lnTo>
                    <a:pt x="274" y="203"/>
                  </a:lnTo>
                  <a:lnTo>
                    <a:pt x="274" y="203"/>
                  </a:lnTo>
                  <a:lnTo>
                    <a:pt x="274" y="205"/>
                  </a:lnTo>
                  <a:lnTo>
                    <a:pt x="274" y="203"/>
                  </a:lnTo>
                  <a:lnTo>
                    <a:pt x="274" y="203"/>
                  </a:lnTo>
                  <a:lnTo>
                    <a:pt x="274" y="203"/>
                  </a:lnTo>
                  <a:lnTo>
                    <a:pt x="274" y="203"/>
                  </a:lnTo>
                  <a:lnTo>
                    <a:pt x="274" y="203"/>
                  </a:lnTo>
                  <a:lnTo>
                    <a:pt x="274" y="203"/>
                  </a:lnTo>
                  <a:lnTo>
                    <a:pt x="274" y="203"/>
                  </a:lnTo>
                  <a:lnTo>
                    <a:pt x="274" y="203"/>
                  </a:lnTo>
                  <a:lnTo>
                    <a:pt x="274" y="203"/>
                  </a:lnTo>
                  <a:lnTo>
                    <a:pt x="274" y="203"/>
                  </a:lnTo>
                  <a:lnTo>
                    <a:pt x="274" y="203"/>
                  </a:lnTo>
                  <a:lnTo>
                    <a:pt x="274" y="203"/>
                  </a:lnTo>
                  <a:lnTo>
                    <a:pt x="274" y="203"/>
                  </a:lnTo>
                  <a:lnTo>
                    <a:pt x="274" y="203"/>
                  </a:lnTo>
                  <a:lnTo>
                    <a:pt x="274" y="203"/>
                  </a:lnTo>
                  <a:lnTo>
                    <a:pt x="274" y="203"/>
                  </a:lnTo>
                  <a:lnTo>
                    <a:pt x="274" y="203"/>
                  </a:lnTo>
                  <a:lnTo>
                    <a:pt x="274" y="203"/>
                  </a:lnTo>
                  <a:lnTo>
                    <a:pt x="274" y="201"/>
                  </a:lnTo>
                  <a:lnTo>
                    <a:pt x="272" y="201"/>
                  </a:lnTo>
                  <a:lnTo>
                    <a:pt x="274" y="201"/>
                  </a:lnTo>
                  <a:lnTo>
                    <a:pt x="272" y="201"/>
                  </a:lnTo>
                  <a:lnTo>
                    <a:pt x="272" y="199"/>
                  </a:lnTo>
                  <a:lnTo>
                    <a:pt x="272" y="197"/>
                  </a:lnTo>
                  <a:lnTo>
                    <a:pt x="272" y="199"/>
                  </a:lnTo>
                  <a:lnTo>
                    <a:pt x="272" y="197"/>
                  </a:lnTo>
                  <a:lnTo>
                    <a:pt x="270" y="197"/>
                  </a:lnTo>
                  <a:lnTo>
                    <a:pt x="268" y="197"/>
                  </a:lnTo>
                  <a:lnTo>
                    <a:pt x="268" y="195"/>
                  </a:lnTo>
                  <a:lnTo>
                    <a:pt x="268" y="197"/>
                  </a:lnTo>
                  <a:lnTo>
                    <a:pt x="268" y="195"/>
                  </a:lnTo>
                  <a:lnTo>
                    <a:pt x="268" y="197"/>
                  </a:lnTo>
                  <a:lnTo>
                    <a:pt x="268" y="195"/>
                  </a:lnTo>
                  <a:lnTo>
                    <a:pt x="268" y="197"/>
                  </a:lnTo>
                  <a:lnTo>
                    <a:pt x="268" y="195"/>
                  </a:lnTo>
                  <a:lnTo>
                    <a:pt x="268" y="197"/>
                  </a:lnTo>
                  <a:lnTo>
                    <a:pt x="266" y="197"/>
                  </a:lnTo>
                  <a:lnTo>
                    <a:pt x="266" y="195"/>
                  </a:lnTo>
                  <a:lnTo>
                    <a:pt x="268" y="195"/>
                  </a:lnTo>
                  <a:lnTo>
                    <a:pt x="266" y="195"/>
                  </a:lnTo>
                  <a:lnTo>
                    <a:pt x="268" y="195"/>
                  </a:lnTo>
                  <a:lnTo>
                    <a:pt x="268" y="193"/>
                  </a:lnTo>
                  <a:lnTo>
                    <a:pt x="266" y="193"/>
                  </a:lnTo>
                  <a:lnTo>
                    <a:pt x="266" y="195"/>
                  </a:lnTo>
                  <a:lnTo>
                    <a:pt x="266" y="193"/>
                  </a:lnTo>
                  <a:lnTo>
                    <a:pt x="268" y="193"/>
                  </a:lnTo>
                  <a:lnTo>
                    <a:pt x="268" y="191"/>
                  </a:lnTo>
                  <a:lnTo>
                    <a:pt x="268" y="193"/>
                  </a:lnTo>
                  <a:lnTo>
                    <a:pt x="270" y="193"/>
                  </a:lnTo>
                  <a:lnTo>
                    <a:pt x="270" y="191"/>
                  </a:lnTo>
                  <a:lnTo>
                    <a:pt x="270" y="189"/>
                  </a:lnTo>
                  <a:lnTo>
                    <a:pt x="270" y="191"/>
                  </a:lnTo>
                  <a:lnTo>
                    <a:pt x="272" y="191"/>
                  </a:lnTo>
                  <a:lnTo>
                    <a:pt x="272" y="189"/>
                  </a:lnTo>
                  <a:lnTo>
                    <a:pt x="270" y="189"/>
                  </a:lnTo>
                  <a:lnTo>
                    <a:pt x="272" y="189"/>
                  </a:lnTo>
                  <a:lnTo>
                    <a:pt x="270" y="189"/>
                  </a:lnTo>
                  <a:lnTo>
                    <a:pt x="272" y="189"/>
                  </a:lnTo>
                  <a:lnTo>
                    <a:pt x="272" y="187"/>
                  </a:lnTo>
                  <a:lnTo>
                    <a:pt x="272" y="189"/>
                  </a:lnTo>
                  <a:lnTo>
                    <a:pt x="270" y="189"/>
                  </a:lnTo>
                  <a:lnTo>
                    <a:pt x="272" y="189"/>
                  </a:lnTo>
                  <a:lnTo>
                    <a:pt x="270" y="189"/>
                  </a:lnTo>
                  <a:lnTo>
                    <a:pt x="268" y="189"/>
                  </a:lnTo>
                  <a:lnTo>
                    <a:pt x="270" y="189"/>
                  </a:lnTo>
                  <a:lnTo>
                    <a:pt x="270" y="187"/>
                  </a:lnTo>
                  <a:lnTo>
                    <a:pt x="270" y="189"/>
                  </a:lnTo>
                  <a:lnTo>
                    <a:pt x="270" y="187"/>
                  </a:lnTo>
                  <a:lnTo>
                    <a:pt x="272" y="187"/>
                  </a:lnTo>
                  <a:lnTo>
                    <a:pt x="272" y="185"/>
                  </a:lnTo>
                  <a:lnTo>
                    <a:pt x="272" y="187"/>
                  </a:lnTo>
                  <a:lnTo>
                    <a:pt x="272" y="185"/>
                  </a:lnTo>
                  <a:lnTo>
                    <a:pt x="270" y="185"/>
                  </a:lnTo>
                  <a:lnTo>
                    <a:pt x="270" y="187"/>
                  </a:lnTo>
                  <a:lnTo>
                    <a:pt x="272" y="187"/>
                  </a:lnTo>
                  <a:lnTo>
                    <a:pt x="270" y="187"/>
                  </a:lnTo>
                  <a:lnTo>
                    <a:pt x="272" y="187"/>
                  </a:lnTo>
                  <a:lnTo>
                    <a:pt x="270" y="187"/>
                  </a:lnTo>
                  <a:lnTo>
                    <a:pt x="270" y="185"/>
                  </a:lnTo>
                  <a:lnTo>
                    <a:pt x="272" y="185"/>
                  </a:lnTo>
                  <a:lnTo>
                    <a:pt x="270" y="185"/>
                  </a:lnTo>
                  <a:lnTo>
                    <a:pt x="272" y="185"/>
                  </a:lnTo>
                  <a:lnTo>
                    <a:pt x="270" y="185"/>
                  </a:lnTo>
                  <a:lnTo>
                    <a:pt x="272" y="185"/>
                  </a:lnTo>
                  <a:lnTo>
                    <a:pt x="270" y="185"/>
                  </a:lnTo>
                  <a:lnTo>
                    <a:pt x="272" y="185"/>
                  </a:lnTo>
                  <a:lnTo>
                    <a:pt x="270" y="185"/>
                  </a:lnTo>
                  <a:lnTo>
                    <a:pt x="272" y="185"/>
                  </a:lnTo>
                  <a:lnTo>
                    <a:pt x="272" y="183"/>
                  </a:lnTo>
                  <a:lnTo>
                    <a:pt x="272" y="181"/>
                  </a:lnTo>
                  <a:lnTo>
                    <a:pt x="272" y="183"/>
                  </a:lnTo>
                  <a:lnTo>
                    <a:pt x="274" y="183"/>
                  </a:lnTo>
                  <a:lnTo>
                    <a:pt x="274" y="181"/>
                  </a:lnTo>
                  <a:lnTo>
                    <a:pt x="272" y="181"/>
                  </a:lnTo>
                  <a:lnTo>
                    <a:pt x="274" y="181"/>
                  </a:lnTo>
                  <a:lnTo>
                    <a:pt x="274" y="179"/>
                  </a:lnTo>
                  <a:lnTo>
                    <a:pt x="274" y="179"/>
                  </a:lnTo>
                  <a:lnTo>
                    <a:pt x="274" y="179"/>
                  </a:lnTo>
                  <a:lnTo>
                    <a:pt x="274" y="177"/>
                  </a:lnTo>
                  <a:lnTo>
                    <a:pt x="274" y="179"/>
                  </a:lnTo>
                  <a:lnTo>
                    <a:pt x="274" y="177"/>
                  </a:lnTo>
                  <a:lnTo>
                    <a:pt x="274" y="179"/>
                  </a:lnTo>
                  <a:lnTo>
                    <a:pt x="274" y="177"/>
                  </a:lnTo>
                  <a:lnTo>
                    <a:pt x="274" y="179"/>
                  </a:lnTo>
                  <a:lnTo>
                    <a:pt x="274" y="177"/>
                  </a:lnTo>
                  <a:lnTo>
                    <a:pt x="274" y="179"/>
                  </a:lnTo>
                  <a:lnTo>
                    <a:pt x="274" y="177"/>
                  </a:lnTo>
                  <a:lnTo>
                    <a:pt x="274" y="179"/>
                  </a:lnTo>
                  <a:lnTo>
                    <a:pt x="274" y="177"/>
                  </a:lnTo>
                  <a:lnTo>
                    <a:pt x="274" y="177"/>
                  </a:lnTo>
                  <a:lnTo>
                    <a:pt x="274" y="177"/>
                  </a:lnTo>
                  <a:lnTo>
                    <a:pt x="274" y="177"/>
                  </a:lnTo>
                  <a:lnTo>
                    <a:pt x="276" y="177"/>
                  </a:lnTo>
                  <a:lnTo>
                    <a:pt x="276" y="175"/>
                  </a:lnTo>
                  <a:lnTo>
                    <a:pt x="276" y="177"/>
                  </a:lnTo>
                  <a:lnTo>
                    <a:pt x="276" y="175"/>
                  </a:lnTo>
                  <a:lnTo>
                    <a:pt x="276" y="177"/>
                  </a:lnTo>
                  <a:lnTo>
                    <a:pt x="274" y="177"/>
                  </a:lnTo>
                  <a:lnTo>
                    <a:pt x="276" y="175"/>
                  </a:lnTo>
                  <a:lnTo>
                    <a:pt x="274" y="177"/>
                  </a:lnTo>
                  <a:lnTo>
                    <a:pt x="276" y="175"/>
                  </a:lnTo>
                  <a:lnTo>
                    <a:pt x="274" y="175"/>
                  </a:lnTo>
                  <a:lnTo>
                    <a:pt x="276" y="175"/>
                  </a:lnTo>
                  <a:lnTo>
                    <a:pt x="274" y="177"/>
                  </a:lnTo>
                  <a:lnTo>
                    <a:pt x="274" y="175"/>
                  </a:lnTo>
                  <a:lnTo>
                    <a:pt x="274" y="177"/>
                  </a:lnTo>
                  <a:lnTo>
                    <a:pt x="274" y="175"/>
                  </a:lnTo>
                  <a:lnTo>
                    <a:pt x="276" y="175"/>
                  </a:lnTo>
                  <a:lnTo>
                    <a:pt x="274" y="175"/>
                  </a:lnTo>
                  <a:lnTo>
                    <a:pt x="276" y="175"/>
                  </a:lnTo>
                  <a:lnTo>
                    <a:pt x="274" y="175"/>
                  </a:lnTo>
                  <a:lnTo>
                    <a:pt x="276" y="175"/>
                  </a:lnTo>
                  <a:lnTo>
                    <a:pt x="274" y="175"/>
                  </a:lnTo>
                  <a:lnTo>
                    <a:pt x="276" y="175"/>
                  </a:lnTo>
                  <a:lnTo>
                    <a:pt x="274" y="175"/>
                  </a:lnTo>
                  <a:lnTo>
                    <a:pt x="276" y="175"/>
                  </a:lnTo>
                  <a:lnTo>
                    <a:pt x="274" y="175"/>
                  </a:lnTo>
                  <a:lnTo>
                    <a:pt x="276" y="175"/>
                  </a:lnTo>
                  <a:lnTo>
                    <a:pt x="276" y="173"/>
                  </a:lnTo>
                  <a:lnTo>
                    <a:pt x="276" y="175"/>
                  </a:lnTo>
                  <a:lnTo>
                    <a:pt x="276" y="173"/>
                  </a:lnTo>
                  <a:lnTo>
                    <a:pt x="276" y="175"/>
                  </a:lnTo>
                  <a:lnTo>
                    <a:pt x="276" y="173"/>
                  </a:lnTo>
                  <a:lnTo>
                    <a:pt x="276" y="171"/>
                  </a:lnTo>
                  <a:lnTo>
                    <a:pt x="276" y="173"/>
                  </a:lnTo>
                  <a:lnTo>
                    <a:pt x="276" y="171"/>
                  </a:lnTo>
                  <a:lnTo>
                    <a:pt x="276" y="169"/>
                  </a:lnTo>
                  <a:lnTo>
                    <a:pt x="274" y="169"/>
                  </a:lnTo>
                  <a:lnTo>
                    <a:pt x="274" y="167"/>
                  </a:lnTo>
                  <a:lnTo>
                    <a:pt x="274" y="169"/>
                  </a:lnTo>
                  <a:lnTo>
                    <a:pt x="274" y="167"/>
                  </a:lnTo>
                  <a:lnTo>
                    <a:pt x="274" y="165"/>
                  </a:lnTo>
                  <a:lnTo>
                    <a:pt x="274" y="165"/>
                  </a:lnTo>
                  <a:lnTo>
                    <a:pt x="274" y="167"/>
                  </a:lnTo>
                  <a:lnTo>
                    <a:pt x="274" y="167"/>
                  </a:lnTo>
                  <a:lnTo>
                    <a:pt x="274" y="167"/>
                  </a:lnTo>
                  <a:lnTo>
                    <a:pt x="274" y="167"/>
                  </a:lnTo>
                  <a:lnTo>
                    <a:pt x="274" y="167"/>
                  </a:lnTo>
                  <a:lnTo>
                    <a:pt x="274" y="165"/>
                  </a:lnTo>
                  <a:lnTo>
                    <a:pt x="274" y="167"/>
                  </a:lnTo>
                  <a:lnTo>
                    <a:pt x="272" y="167"/>
                  </a:lnTo>
                  <a:lnTo>
                    <a:pt x="272" y="169"/>
                  </a:lnTo>
                  <a:lnTo>
                    <a:pt x="272" y="171"/>
                  </a:lnTo>
                  <a:lnTo>
                    <a:pt x="274" y="171"/>
                  </a:lnTo>
                  <a:lnTo>
                    <a:pt x="274" y="173"/>
                  </a:lnTo>
                  <a:lnTo>
                    <a:pt x="272" y="173"/>
                  </a:lnTo>
                  <a:lnTo>
                    <a:pt x="270" y="173"/>
                  </a:lnTo>
                  <a:lnTo>
                    <a:pt x="270" y="171"/>
                  </a:lnTo>
                  <a:lnTo>
                    <a:pt x="270" y="173"/>
                  </a:lnTo>
                  <a:lnTo>
                    <a:pt x="270" y="171"/>
                  </a:lnTo>
                  <a:lnTo>
                    <a:pt x="270" y="173"/>
                  </a:lnTo>
                  <a:lnTo>
                    <a:pt x="270" y="171"/>
                  </a:lnTo>
                  <a:lnTo>
                    <a:pt x="270" y="169"/>
                  </a:lnTo>
                  <a:lnTo>
                    <a:pt x="270" y="167"/>
                  </a:lnTo>
                  <a:lnTo>
                    <a:pt x="268" y="167"/>
                  </a:lnTo>
                  <a:lnTo>
                    <a:pt x="270" y="167"/>
                  </a:lnTo>
                  <a:lnTo>
                    <a:pt x="270" y="165"/>
                  </a:lnTo>
                  <a:lnTo>
                    <a:pt x="268" y="165"/>
                  </a:lnTo>
                  <a:lnTo>
                    <a:pt x="266" y="165"/>
                  </a:lnTo>
                  <a:lnTo>
                    <a:pt x="268" y="165"/>
                  </a:lnTo>
                  <a:lnTo>
                    <a:pt x="266" y="165"/>
                  </a:lnTo>
                  <a:lnTo>
                    <a:pt x="268" y="165"/>
                  </a:lnTo>
                  <a:lnTo>
                    <a:pt x="266" y="165"/>
                  </a:lnTo>
                  <a:lnTo>
                    <a:pt x="266" y="163"/>
                  </a:lnTo>
                  <a:lnTo>
                    <a:pt x="266" y="165"/>
                  </a:lnTo>
                  <a:lnTo>
                    <a:pt x="266" y="163"/>
                  </a:lnTo>
                  <a:lnTo>
                    <a:pt x="266" y="165"/>
                  </a:lnTo>
                  <a:lnTo>
                    <a:pt x="264" y="165"/>
                  </a:lnTo>
                  <a:lnTo>
                    <a:pt x="264" y="163"/>
                  </a:lnTo>
                  <a:lnTo>
                    <a:pt x="266" y="163"/>
                  </a:lnTo>
                  <a:lnTo>
                    <a:pt x="264" y="163"/>
                  </a:lnTo>
                  <a:lnTo>
                    <a:pt x="262" y="163"/>
                  </a:lnTo>
                  <a:lnTo>
                    <a:pt x="262" y="165"/>
                  </a:lnTo>
                  <a:lnTo>
                    <a:pt x="262" y="163"/>
                  </a:lnTo>
                  <a:lnTo>
                    <a:pt x="262" y="161"/>
                  </a:lnTo>
                  <a:lnTo>
                    <a:pt x="262" y="163"/>
                  </a:lnTo>
                  <a:lnTo>
                    <a:pt x="260" y="163"/>
                  </a:lnTo>
                  <a:lnTo>
                    <a:pt x="262" y="163"/>
                  </a:lnTo>
                  <a:lnTo>
                    <a:pt x="262" y="165"/>
                  </a:lnTo>
                  <a:lnTo>
                    <a:pt x="260" y="165"/>
                  </a:lnTo>
                  <a:lnTo>
                    <a:pt x="260" y="167"/>
                  </a:lnTo>
                  <a:lnTo>
                    <a:pt x="262" y="167"/>
                  </a:lnTo>
                  <a:lnTo>
                    <a:pt x="260" y="165"/>
                  </a:lnTo>
                  <a:lnTo>
                    <a:pt x="262" y="165"/>
                  </a:lnTo>
                  <a:lnTo>
                    <a:pt x="262" y="167"/>
                  </a:lnTo>
                  <a:lnTo>
                    <a:pt x="260" y="167"/>
                  </a:lnTo>
                  <a:lnTo>
                    <a:pt x="262" y="167"/>
                  </a:lnTo>
                  <a:lnTo>
                    <a:pt x="260" y="167"/>
                  </a:lnTo>
                  <a:lnTo>
                    <a:pt x="260" y="169"/>
                  </a:lnTo>
                  <a:lnTo>
                    <a:pt x="262" y="169"/>
                  </a:lnTo>
                  <a:lnTo>
                    <a:pt x="264" y="169"/>
                  </a:lnTo>
                  <a:lnTo>
                    <a:pt x="262" y="169"/>
                  </a:lnTo>
                  <a:lnTo>
                    <a:pt x="264" y="169"/>
                  </a:lnTo>
                  <a:lnTo>
                    <a:pt x="264" y="171"/>
                  </a:lnTo>
                  <a:lnTo>
                    <a:pt x="264" y="169"/>
                  </a:lnTo>
                  <a:lnTo>
                    <a:pt x="264" y="171"/>
                  </a:lnTo>
                  <a:lnTo>
                    <a:pt x="266" y="171"/>
                  </a:lnTo>
                  <a:lnTo>
                    <a:pt x="264" y="171"/>
                  </a:lnTo>
                  <a:lnTo>
                    <a:pt x="266" y="171"/>
                  </a:lnTo>
                  <a:lnTo>
                    <a:pt x="264" y="171"/>
                  </a:lnTo>
                  <a:lnTo>
                    <a:pt x="266" y="171"/>
                  </a:lnTo>
                  <a:lnTo>
                    <a:pt x="268" y="171"/>
                  </a:lnTo>
                  <a:lnTo>
                    <a:pt x="266" y="171"/>
                  </a:lnTo>
                  <a:lnTo>
                    <a:pt x="266" y="173"/>
                  </a:lnTo>
                  <a:lnTo>
                    <a:pt x="266" y="171"/>
                  </a:lnTo>
                  <a:lnTo>
                    <a:pt x="266" y="173"/>
                  </a:lnTo>
                  <a:lnTo>
                    <a:pt x="266" y="171"/>
                  </a:lnTo>
                  <a:lnTo>
                    <a:pt x="268" y="171"/>
                  </a:lnTo>
                  <a:lnTo>
                    <a:pt x="268" y="173"/>
                  </a:lnTo>
                  <a:lnTo>
                    <a:pt x="266" y="173"/>
                  </a:lnTo>
                  <a:lnTo>
                    <a:pt x="266" y="171"/>
                  </a:lnTo>
                  <a:lnTo>
                    <a:pt x="266" y="173"/>
                  </a:lnTo>
                  <a:lnTo>
                    <a:pt x="268" y="173"/>
                  </a:lnTo>
                  <a:lnTo>
                    <a:pt x="266" y="173"/>
                  </a:lnTo>
                  <a:lnTo>
                    <a:pt x="266" y="171"/>
                  </a:lnTo>
                  <a:lnTo>
                    <a:pt x="266" y="173"/>
                  </a:lnTo>
                  <a:lnTo>
                    <a:pt x="264" y="173"/>
                  </a:lnTo>
                  <a:lnTo>
                    <a:pt x="266" y="173"/>
                  </a:lnTo>
                  <a:lnTo>
                    <a:pt x="268" y="173"/>
                  </a:lnTo>
                  <a:lnTo>
                    <a:pt x="268" y="175"/>
                  </a:lnTo>
                  <a:lnTo>
                    <a:pt x="268" y="173"/>
                  </a:lnTo>
                  <a:lnTo>
                    <a:pt x="268" y="175"/>
                  </a:lnTo>
                  <a:lnTo>
                    <a:pt x="266" y="175"/>
                  </a:lnTo>
                  <a:lnTo>
                    <a:pt x="268" y="175"/>
                  </a:lnTo>
                  <a:lnTo>
                    <a:pt x="266" y="175"/>
                  </a:lnTo>
                  <a:lnTo>
                    <a:pt x="268" y="175"/>
                  </a:lnTo>
                  <a:lnTo>
                    <a:pt x="266" y="175"/>
                  </a:lnTo>
                  <a:lnTo>
                    <a:pt x="268" y="175"/>
                  </a:lnTo>
                  <a:lnTo>
                    <a:pt x="266" y="177"/>
                  </a:lnTo>
                  <a:lnTo>
                    <a:pt x="266" y="175"/>
                  </a:lnTo>
                  <a:lnTo>
                    <a:pt x="266" y="177"/>
                  </a:lnTo>
                  <a:lnTo>
                    <a:pt x="266" y="179"/>
                  </a:lnTo>
                  <a:lnTo>
                    <a:pt x="266" y="177"/>
                  </a:lnTo>
                  <a:lnTo>
                    <a:pt x="266" y="179"/>
                  </a:lnTo>
                  <a:lnTo>
                    <a:pt x="266" y="181"/>
                  </a:lnTo>
                  <a:lnTo>
                    <a:pt x="264" y="181"/>
                  </a:lnTo>
                  <a:lnTo>
                    <a:pt x="264" y="183"/>
                  </a:lnTo>
                  <a:lnTo>
                    <a:pt x="264" y="181"/>
                  </a:lnTo>
                  <a:lnTo>
                    <a:pt x="264" y="179"/>
                  </a:lnTo>
                  <a:lnTo>
                    <a:pt x="262" y="179"/>
                  </a:lnTo>
                  <a:lnTo>
                    <a:pt x="262" y="181"/>
                  </a:lnTo>
                  <a:lnTo>
                    <a:pt x="262" y="179"/>
                  </a:lnTo>
                  <a:lnTo>
                    <a:pt x="260" y="179"/>
                  </a:lnTo>
                  <a:lnTo>
                    <a:pt x="262" y="179"/>
                  </a:lnTo>
                  <a:lnTo>
                    <a:pt x="260" y="179"/>
                  </a:lnTo>
                  <a:lnTo>
                    <a:pt x="260" y="177"/>
                  </a:lnTo>
                  <a:lnTo>
                    <a:pt x="258" y="177"/>
                  </a:lnTo>
                  <a:lnTo>
                    <a:pt x="258" y="175"/>
                  </a:lnTo>
                  <a:lnTo>
                    <a:pt x="258" y="177"/>
                  </a:lnTo>
                  <a:lnTo>
                    <a:pt x="258" y="175"/>
                  </a:lnTo>
                  <a:lnTo>
                    <a:pt x="260" y="175"/>
                  </a:lnTo>
                  <a:lnTo>
                    <a:pt x="258" y="175"/>
                  </a:lnTo>
                  <a:lnTo>
                    <a:pt x="260" y="175"/>
                  </a:lnTo>
                  <a:lnTo>
                    <a:pt x="258" y="175"/>
                  </a:lnTo>
                  <a:lnTo>
                    <a:pt x="258" y="177"/>
                  </a:lnTo>
                  <a:lnTo>
                    <a:pt x="258" y="175"/>
                  </a:lnTo>
                  <a:lnTo>
                    <a:pt x="258" y="177"/>
                  </a:lnTo>
                  <a:lnTo>
                    <a:pt x="258" y="175"/>
                  </a:lnTo>
                  <a:lnTo>
                    <a:pt x="258" y="177"/>
                  </a:lnTo>
                  <a:lnTo>
                    <a:pt x="256" y="177"/>
                  </a:lnTo>
                  <a:lnTo>
                    <a:pt x="258" y="177"/>
                  </a:lnTo>
                  <a:lnTo>
                    <a:pt x="256" y="177"/>
                  </a:lnTo>
                  <a:lnTo>
                    <a:pt x="256" y="175"/>
                  </a:lnTo>
                  <a:lnTo>
                    <a:pt x="254" y="175"/>
                  </a:lnTo>
                  <a:lnTo>
                    <a:pt x="256" y="175"/>
                  </a:lnTo>
                  <a:lnTo>
                    <a:pt x="254" y="175"/>
                  </a:lnTo>
                  <a:lnTo>
                    <a:pt x="256" y="175"/>
                  </a:lnTo>
                  <a:lnTo>
                    <a:pt x="254" y="175"/>
                  </a:lnTo>
                  <a:lnTo>
                    <a:pt x="254" y="173"/>
                  </a:lnTo>
                  <a:lnTo>
                    <a:pt x="254" y="171"/>
                  </a:lnTo>
                  <a:lnTo>
                    <a:pt x="254" y="169"/>
                  </a:lnTo>
                  <a:lnTo>
                    <a:pt x="256" y="169"/>
                  </a:lnTo>
                  <a:lnTo>
                    <a:pt x="256" y="167"/>
                  </a:lnTo>
                  <a:lnTo>
                    <a:pt x="256" y="165"/>
                  </a:lnTo>
                  <a:lnTo>
                    <a:pt x="256" y="167"/>
                  </a:lnTo>
                  <a:lnTo>
                    <a:pt x="256" y="165"/>
                  </a:lnTo>
                  <a:lnTo>
                    <a:pt x="256" y="163"/>
                  </a:lnTo>
                  <a:lnTo>
                    <a:pt x="256" y="161"/>
                  </a:lnTo>
                  <a:lnTo>
                    <a:pt x="256" y="163"/>
                  </a:lnTo>
                  <a:lnTo>
                    <a:pt x="256" y="161"/>
                  </a:lnTo>
                  <a:lnTo>
                    <a:pt x="256" y="159"/>
                  </a:lnTo>
                  <a:lnTo>
                    <a:pt x="256" y="161"/>
                  </a:lnTo>
                  <a:lnTo>
                    <a:pt x="256" y="159"/>
                  </a:lnTo>
                  <a:lnTo>
                    <a:pt x="256" y="157"/>
                  </a:lnTo>
                  <a:lnTo>
                    <a:pt x="254" y="157"/>
                  </a:lnTo>
                  <a:lnTo>
                    <a:pt x="254" y="155"/>
                  </a:lnTo>
                  <a:lnTo>
                    <a:pt x="254" y="157"/>
                  </a:lnTo>
                  <a:lnTo>
                    <a:pt x="254" y="155"/>
                  </a:lnTo>
                  <a:lnTo>
                    <a:pt x="254" y="155"/>
                  </a:lnTo>
                  <a:lnTo>
                    <a:pt x="256" y="155"/>
                  </a:lnTo>
                  <a:lnTo>
                    <a:pt x="256" y="153"/>
                  </a:lnTo>
                  <a:lnTo>
                    <a:pt x="256" y="151"/>
                  </a:lnTo>
                  <a:lnTo>
                    <a:pt x="256" y="153"/>
                  </a:lnTo>
                  <a:lnTo>
                    <a:pt x="256" y="151"/>
                  </a:lnTo>
                  <a:lnTo>
                    <a:pt x="258" y="151"/>
                  </a:lnTo>
                  <a:lnTo>
                    <a:pt x="256" y="151"/>
                  </a:lnTo>
                  <a:lnTo>
                    <a:pt x="258" y="151"/>
                  </a:lnTo>
                  <a:lnTo>
                    <a:pt x="256" y="151"/>
                  </a:lnTo>
                  <a:lnTo>
                    <a:pt x="256" y="149"/>
                  </a:lnTo>
                  <a:lnTo>
                    <a:pt x="256" y="151"/>
                  </a:lnTo>
                  <a:lnTo>
                    <a:pt x="256" y="149"/>
                  </a:lnTo>
                  <a:lnTo>
                    <a:pt x="256" y="147"/>
                  </a:lnTo>
                  <a:lnTo>
                    <a:pt x="256" y="149"/>
                  </a:lnTo>
                  <a:lnTo>
                    <a:pt x="256" y="147"/>
                  </a:lnTo>
                  <a:lnTo>
                    <a:pt x="256" y="149"/>
                  </a:lnTo>
                  <a:lnTo>
                    <a:pt x="256" y="147"/>
                  </a:lnTo>
                  <a:lnTo>
                    <a:pt x="258" y="147"/>
                  </a:lnTo>
                  <a:lnTo>
                    <a:pt x="256" y="147"/>
                  </a:lnTo>
                  <a:lnTo>
                    <a:pt x="256" y="145"/>
                  </a:lnTo>
                  <a:lnTo>
                    <a:pt x="256" y="147"/>
                  </a:lnTo>
                  <a:lnTo>
                    <a:pt x="256" y="145"/>
                  </a:lnTo>
                  <a:lnTo>
                    <a:pt x="258" y="145"/>
                  </a:lnTo>
                  <a:lnTo>
                    <a:pt x="256" y="145"/>
                  </a:lnTo>
                  <a:lnTo>
                    <a:pt x="258" y="145"/>
                  </a:lnTo>
                  <a:lnTo>
                    <a:pt x="256" y="145"/>
                  </a:lnTo>
                  <a:lnTo>
                    <a:pt x="258" y="145"/>
                  </a:lnTo>
                  <a:lnTo>
                    <a:pt x="256" y="145"/>
                  </a:lnTo>
                  <a:lnTo>
                    <a:pt x="258" y="143"/>
                  </a:lnTo>
                  <a:lnTo>
                    <a:pt x="256" y="143"/>
                  </a:lnTo>
                  <a:lnTo>
                    <a:pt x="258" y="143"/>
                  </a:lnTo>
                  <a:lnTo>
                    <a:pt x="256" y="143"/>
                  </a:lnTo>
                  <a:lnTo>
                    <a:pt x="258" y="143"/>
                  </a:lnTo>
                  <a:lnTo>
                    <a:pt x="258" y="141"/>
                  </a:lnTo>
                  <a:lnTo>
                    <a:pt x="258" y="143"/>
                  </a:lnTo>
                  <a:lnTo>
                    <a:pt x="258" y="141"/>
                  </a:lnTo>
                  <a:lnTo>
                    <a:pt x="258" y="143"/>
                  </a:lnTo>
                  <a:lnTo>
                    <a:pt x="258" y="141"/>
                  </a:lnTo>
                  <a:lnTo>
                    <a:pt x="258" y="139"/>
                  </a:lnTo>
                  <a:lnTo>
                    <a:pt x="258" y="137"/>
                  </a:lnTo>
                  <a:lnTo>
                    <a:pt x="258" y="135"/>
                  </a:lnTo>
                  <a:lnTo>
                    <a:pt x="258" y="137"/>
                  </a:lnTo>
                  <a:lnTo>
                    <a:pt x="258" y="135"/>
                  </a:lnTo>
                  <a:lnTo>
                    <a:pt x="260" y="135"/>
                  </a:lnTo>
                  <a:lnTo>
                    <a:pt x="258" y="135"/>
                  </a:lnTo>
                  <a:lnTo>
                    <a:pt x="260" y="135"/>
                  </a:lnTo>
                  <a:lnTo>
                    <a:pt x="260" y="132"/>
                  </a:lnTo>
                  <a:lnTo>
                    <a:pt x="260" y="135"/>
                  </a:lnTo>
                  <a:lnTo>
                    <a:pt x="260" y="132"/>
                  </a:lnTo>
                  <a:lnTo>
                    <a:pt x="260" y="135"/>
                  </a:lnTo>
                  <a:lnTo>
                    <a:pt x="258" y="135"/>
                  </a:lnTo>
                  <a:lnTo>
                    <a:pt x="260" y="135"/>
                  </a:lnTo>
                  <a:lnTo>
                    <a:pt x="258" y="135"/>
                  </a:lnTo>
                  <a:lnTo>
                    <a:pt x="258" y="132"/>
                  </a:lnTo>
                  <a:lnTo>
                    <a:pt x="258" y="130"/>
                  </a:lnTo>
                  <a:lnTo>
                    <a:pt x="258" y="128"/>
                  </a:lnTo>
                  <a:lnTo>
                    <a:pt x="258" y="130"/>
                  </a:lnTo>
                  <a:lnTo>
                    <a:pt x="258" y="128"/>
                  </a:lnTo>
                  <a:lnTo>
                    <a:pt x="256" y="128"/>
                  </a:lnTo>
                  <a:lnTo>
                    <a:pt x="258" y="128"/>
                  </a:lnTo>
                  <a:lnTo>
                    <a:pt x="258" y="126"/>
                  </a:lnTo>
                  <a:lnTo>
                    <a:pt x="258" y="128"/>
                  </a:lnTo>
                  <a:lnTo>
                    <a:pt x="258" y="126"/>
                  </a:lnTo>
                  <a:lnTo>
                    <a:pt x="258" y="124"/>
                  </a:lnTo>
                  <a:lnTo>
                    <a:pt x="258" y="126"/>
                  </a:lnTo>
                  <a:lnTo>
                    <a:pt x="258" y="124"/>
                  </a:lnTo>
                  <a:lnTo>
                    <a:pt x="258" y="126"/>
                  </a:lnTo>
                  <a:lnTo>
                    <a:pt x="258" y="124"/>
                  </a:lnTo>
                  <a:lnTo>
                    <a:pt x="258" y="122"/>
                  </a:lnTo>
                  <a:lnTo>
                    <a:pt x="258" y="124"/>
                  </a:lnTo>
                  <a:lnTo>
                    <a:pt x="258" y="122"/>
                  </a:lnTo>
                  <a:lnTo>
                    <a:pt x="258" y="124"/>
                  </a:lnTo>
                  <a:lnTo>
                    <a:pt x="258" y="122"/>
                  </a:lnTo>
                  <a:lnTo>
                    <a:pt x="256" y="122"/>
                  </a:lnTo>
                  <a:lnTo>
                    <a:pt x="258" y="122"/>
                  </a:lnTo>
                  <a:lnTo>
                    <a:pt x="256" y="122"/>
                  </a:lnTo>
                  <a:lnTo>
                    <a:pt x="258" y="122"/>
                  </a:lnTo>
                  <a:lnTo>
                    <a:pt x="256" y="122"/>
                  </a:lnTo>
                  <a:lnTo>
                    <a:pt x="258" y="122"/>
                  </a:lnTo>
                  <a:lnTo>
                    <a:pt x="256" y="122"/>
                  </a:lnTo>
                  <a:lnTo>
                    <a:pt x="258" y="122"/>
                  </a:lnTo>
                  <a:lnTo>
                    <a:pt x="256" y="122"/>
                  </a:lnTo>
                  <a:lnTo>
                    <a:pt x="258" y="122"/>
                  </a:lnTo>
                  <a:lnTo>
                    <a:pt x="256" y="122"/>
                  </a:lnTo>
                  <a:lnTo>
                    <a:pt x="258" y="122"/>
                  </a:lnTo>
                  <a:lnTo>
                    <a:pt x="256" y="122"/>
                  </a:lnTo>
                  <a:lnTo>
                    <a:pt x="258" y="122"/>
                  </a:lnTo>
                  <a:lnTo>
                    <a:pt x="256" y="122"/>
                  </a:lnTo>
                  <a:lnTo>
                    <a:pt x="256" y="120"/>
                  </a:lnTo>
                  <a:lnTo>
                    <a:pt x="258" y="120"/>
                  </a:lnTo>
                  <a:lnTo>
                    <a:pt x="256" y="120"/>
                  </a:lnTo>
                  <a:lnTo>
                    <a:pt x="258" y="120"/>
                  </a:lnTo>
                  <a:lnTo>
                    <a:pt x="256" y="120"/>
                  </a:lnTo>
                  <a:lnTo>
                    <a:pt x="258" y="120"/>
                  </a:lnTo>
                  <a:lnTo>
                    <a:pt x="256" y="120"/>
                  </a:lnTo>
                  <a:lnTo>
                    <a:pt x="258" y="120"/>
                  </a:lnTo>
                  <a:lnTo>
                    <a:pt x="256" y="120"/>
                  </a:lnTo>
                  <a:lnTo>
                    <a:pt x="256" y="118"/>
                  </a:lnTo>
                  <a:lnTo>
                    <a:pt x="256" y="120"/>
                  </a:lnTo>
                  <a:lnTo>
                    <a:pt x="256" y="118"/>
                  </a:lnTo>
                  <a:lnTo>
                    <a:pt x="258" y="118"/>
                  </a:lnTo>
                  <a:lnTo>
                    <a:pt x="256" y="118"/>
                  </a:lnTo>
                  <a:lnTo>
                    <a:pt x="258" y="118"/>
                  </a:lnTo>
                  <a:lnTo>
                    <a:pt x="258" y="120"/>
                  </a:lnTo>
                  <a:lnTo>
                    <a:pt x="258" y="118"/>
                  </a:lnTo>
                  <a:lnTo>
                    <a:pt x="256" y="118"/>
                  </a:lnTo>
                  <a:lnTo>
                    <a:pt x="258" y="118"/>
                  </a:lnTo>
                  <a:lnTo>
                    <a:pt x="256" y="118"/>
                  </a:lnTo>
                  <a:lnTo>
                    <a:pt x="256" y="116"/>
                  </a:lnTo>
                  <a:lnTo>
                    <a:pt x="258" y="116"/>
                  </a:lnTo>
                  <a:lnTo>
                    <a:pt x="256" y="116"/>
                  </a:lnTo>
                  <a:lnTo>
                    <a:pt x="256" y="118"/>
                  </a:lnTo>
                  <a:lnTo>
                    <a:pt x="256" y="116"/>
                  </a:lnTo>
                  <a:lnTo>
                    <a:pt x="258" y="116"/>
                  </a:lnTo>
                  <a:lnTo>
                    <a:pt x="256" y="116"/>
                  </a:lnTo>
                  <a:lnTo>
                    <a:pt x="256" y="114"/>
                  </a:lnTo>
                  <a:lnTo>
                    <a:pt x="256" y="112"/>
                  </a:lnTo>
                  <a:lnTo>
                    <a:pt x="254" y="112"/>
                  </a:lnTo>
                  <a:lnTo>
                    <a:pt x="254" y="110"/>
                  </a:lnTo>
                  <a:lnTo>
                    <a:pt x="254" y="112"/>
                  </a:lnTo>
                  <a:lnTo>
                    <a:pt x="254" y="110"/>
                  </a:lnTo>
                  <a:lnTo>
                    <a:pt x="254" y="112"/>
                  </a:lnTo>
                  <a:lnTo>
                    <a:pt x="254" y="110"/>
                  </a:lnTo>
                  <a:lnTo>
                    <a:pt x="252" y="110"/>
                  </a:lnTo>
                  <a:lnTo>
                    <a:pt x="254" y="110"/>
                  </a:lnTo>
                  <a:lnTo>
                    <a:pt x="252" y="110"/>
                  </a:lnTo>
                  <a:lnTo>
                    <a:pt x="252" y="108"/>
                  </a:lnTo>
                  <a:lnTo>
                    <a:pt x="250" y="108"/>
                  </a:lnTo>
                  <a:lnTo>
                    <a:pt x="252" y="108"/>
                  </a:lnTo>
                  <a:lnTo>
                    <a:pt x="250" y="108"/>
                  </a:lnTo>
                  <a:lnTo>
                    <a:pt x="252" y="108"/>
                  </a:lnTo>
                  <a:lnTo>
                    <a:pt x="250" y="108"/>
                  </a:lnTo>
                  <a:lnTo>
                    <a:pt x="252" y="108"/>
                  </a:lnTo>
                  <a:lnTo>
                    <a:pt x="250" y="108"/>
                  </a:lnTo>
                  <a:lnTo>
                    <a:pt x="250" y="106"/>
                  </a:lnTo>
                  <a:lnTo>
                    <a:pt x="250" y="108"/>
                  </a:lnTo>
                  <a:lnTo>
                    <a:pt x="250" y="106"/>
                  </a:lnTo>
                  <a:lnTo>
                    <a:pt x="250" y="108"/>
                  </a:lnTo>
                  <a:lnTo>
                    <a:pt x="250" y="106"/>
                  </a:lnTo>
                  <a:lnTo>
                    <a:pt x="250" y="108"/>
                  </a:lnTo>
                  <a:lnTo>
                    <a:pt x="250" y="106"/>
                  </a:lnTo>
                  <a:lnTo>
                    <a:pt x="250" y="108"/>
                  </a:lnTo>
                  <a:lnTo>
                    <a:pt x="250" y="106"/>
                  </a:lnTo>
                  <a:lnTo>
                    <a:pt x="248" y="106"/>
                  </a:lnTo>
                  <a:lnTo>
                    <a:pt x="250" y="106"/>
                  </a:lnTo>
                  <a:lnTo>
                    <a:pt x="248" y="106"/>
                  </a:lnTo>
                  <a:lnTo>
                    <a:pt x="250" y="106"/>
                  </a:lnTo>
                  <a:lnTo>
                    <a:pt x="250" y="106"/>
                  </a:lnTo>
                  <a:lnTo>
                    <a:pt x="248" y="106"/>
                  </a:lnTo>
                  <a:lnTo>
                    <a:pt x="248" y="106"/>
                  </a:lnTo>
                  <a:lnTo>
                    <a:pt x="248" y="106"/>
                  </a:lnTo>
                  <a:lnTo>
                    <a:pt x="248" y="106"/>
                  </a:lnTo>
                  <a:lnTo>
                    <a:pt x="248" y="106"/>
                  </a:lnTo>
                  <a:lnTo>
                    <a:pt x="250" y="106"/>
                  </a:lnTo>
                  <a:lnTo>
                    <a:pt x="248" y="106"/>
                  </a:lnTo>
                  <a:lnTo>
                    <a:pt x="250" y="106"/>
                  </a:lnTo>
                  <a:lnTo>
                    <a:pt x="248" y="106"/>
                  </a:lnTo>
                  <a:lnTo>
                    <a:pt x="250" y="106"/>
                  </a:lnTo>
                  <a:lnTo>
                    <a:pt x="248" y="106"/>
                  </a:lnTo>
                  <a:lnTo>
                    <a:pt x="250" y="106"/>
                  </a:lnTo>
                  <a:lnTo>
                    <a:pt x="248" y="106"/>
                  </a:lnTo>
                  <a:lnTo>
                    <a:pt x="250" y="106"/>
                  </a:lnTo>
                  <a:lnTo>
                    <a:pt x="248" y="106"/>
                  </a:lnTo>
                  <a:lnTo>
                    <a:pt x="250" y="106"/>
                  </a:lnTo>
                  <a:lnTo>
                    <a:pt x="248" y="106"/>
                  </a:lnTo>
                  <a:lnTo>
                    <a:pt x="248" y="104"/>
                  </a:lnTo>
                  <a:lnTo>
                    <a:pt x="246" y="104"/>
                  </a:lnTo>
                  <a:lnTo>
                    <a:pt x="248" y="104"/>
                  </a:lnTo>
                  <a:lnTo>
                    <a:pt x="246" y="104"/>
                  </a:lnTo>
                  <a:lnTo>
                    <a:pt x="246" y="102"/>
                  </a:lnTo>
                  <a:lnTo>
                    <a:pt x="248" y="102"/>
                  </a:lnTo>
                  <a:lnTo>
                    <a:pt x="246" y="102"/>
                  </a:lnTo>
                  <a:lnTo>
                    <a:pt x="248" y="102"/>
                  </a:lnTo>
                  <a:lnTo>
                    <a:pt x="246" y="102"/>
                  </a:lnTo>
                  <a:lnTo>
                    <a:pt x="246" y="100"/>
                  </a:lnTo>
                  <a:lnTo>
                    <a:pt x="246" y="102"/>
                  </a:lnTo>
                  <a:lnTo>
                    <a:pt x="246" y="100"/>
                  </a:lnTo>
                  <a:lnTo>
                    <a:pt x="244" y="100"/>
                  </a:lnTo>
                  <a:lnTo>
                    <a:pt x="246" y="100"/>
                  </a:lnTo>
                  <a:lnTo>
                    <a:pt x="246" y="98"/>
                  </a:lnTo>
                  <a:lnTo>
                    <a:pt x="248" y="98"/>
                  </a:lnTo>
                  <a:lnTo>
                    <a:pt x="246" y="98"/>
                  </a:lnTo>
                  <a:lnTo>
                    <a:pt x="246" y="100"/>
                  </a:lnTo>
                  <a:lnTo>
                    <a:pt x="246" y="98"/>
                  </a:lnTo>
                  <a:lnTo>
                    <a:pt x="246" y="100"/>
                  </a:lnTo>
                  <a:lnTo>
                    <a:pt x="246" y="98"/>
                  </a:lnTo>
                  <a:lnTo>
                    <a:pt x="246" y="100"/>
                  </a:lnTo>
                  <a:lnTo>
                    <a:pt x="244" y="100"/>
                  </a:lnTo>
                  <a:lnTo>
                    <a:pt x="242" y="100"/>
                  </a:lnTo>
                  <a:lnTo>
                    <a:pt x="240" y="100"/>
                  </a:lnTo>
                  <a:lnTo>
                    <a:pt x="238" y="100"/>
                  </a:lnTo>
                  <a:lnTo>
                    <a:pt x="236" y="100"/>
                  </a:lnTo>
                  <a:lnTo>
                    <a:pt x="238" y="100"/>
                  </a:lnTo>
                  <a:lnTo>
                    <a:pt x="236" y="100"/>
                  </a:lnTo>
                  <a:lnTo>
                    <a:pt x="234" y="100"/>
                  </a:lnTo>
                  <a:lnTo>
                    <a:pt x="236" y="100"/>
                  </a:lnTo>
                  <a:lnTo>
                    <a:pt x="236" y="102"/>
                  </a:lnTo>
                  <a:lnTo>
                    <a:pt x="234" y="102"/>
                  </a:lnTo>
                  <a:lnTo>
                    <a:pt x="236" y="102"/>
                  </a:lnTo>
                  <a:lnTo>
                    <a:pt x="234" y="102"/>
                  </a:lnTo>
                  <a:lnTo>
                    <a:pt x="234" y="100"/>
                  </a:lnTo>
                  <a:lnTo>
                    <a:pt x="234" y="102"/>
                  </a:lnTo>
                  <a:lnTo>
                    <a:pt x="234" y="100"/>
                  </a:lnTo>
                  <a:lnTo>
                    <a:pt x="234" y="102"/>
                  </a:lnTo>
                  <a:lnTo>
                    <a:pt x="234" y="100"/>
                  </a:lnTo>
                  <a:lnTo>
                    <a:pt x="234" y="102"/>
                  </a:lnTo>
                  <a:lnTo>
                    <a:pt x="234" y="100"/>
                  </a:lnTo>
                  <a:lnTo>
                    <a:pt x="234" y="102"/>
                  </a:lnTo>
                  <a:lnTo>
                    <a:pt x="234" y="100"/>
                  </a:lnTo>
                  <a:lnTo>
                    <a:pt x="234" y="102"/>
                  </a:lnTo>
                  <a:lnTo>
                    <a:pt x="234" y="100"/>
                  </a:lnTo>
                  <a:lnTo>
                    <a:pt x="232" y="100"/>
                  </a:lnTo>
                  <a:lnTo>
                    <a:pt x="234" y="100"/>
                  </a:lnTo>
                  <a:lnTo>
                    <a:pt x="232" y="100"/>
                  </a:lnTo>
                  <a:lnTo>
                    <a:pt x="232" y="98"/>
                  </a:lnTo>
                  <a:lnTo>
                    <a:pt x="230" y="98"/>
                  </a:lnTo>
                  <a:lnTo>
                    <a:pt x="232" y="98"/>
                  </a:lnTo>
                  <a:lnTo>
                    <a:pt x="230" y="98"/>
                  </a:lnTo>
                  <a:lnTo>
                    <a:pt x="232" y="98"/>
                  </a:lnTo>
                  <a:lnTo>
                    <a:pt x="230" y="98"/>
                  </a:lnTo>
                  <a:lnTo>
                    <a:pt x="232" y="98"/>
                  </a:lnTo>
                  <a:lnTo>
                    <a:pt x="230" y="98"/>
                  </a:lnTo>
                  <a:lnTo>
                    <a:pt x="232" y="98"/>
                  </a:lnTo>
                  <a:lnTo>
                    <a:pt x="230" y="96"/>
                  </a:lnTo>
                  <a:lnTo>
                    <a:pt x="230" y="98"/>
                  </a:lnTo>
                  <a:lnTo>
                    <a:pt x="230" y="96"/>
                  </a:lnTo>
                  <a:lnTo>
                    <a:pt x="230" y="98"/>
                  </a:lnTo>
                  <a:lnTo>
                    <a:pt x="230" y="96"/>
                  </a:lnTo>
                  <a:lnTo>
                    <a:pt x="228" y="96"/>
                  </a:lnTo>
                  <a:lnTo>
                    <a:pt x="230" y="96"/>
                  </a:lnTo>
                  <a:lnTo>
                    <a:pt x="228" y="96"/>
                  </a:lnTo>
                  <a:lnTo>
                    <a:pt x="228" y="94"/>
                  </a:lnTo>
                  <a:lnTo>
                    <a:pt x="228" y="96"/>
                  </a:lnTo>
                  <a:lnTo>
                    <a:pt x="226" y="96"/>
                  </a:lnTo>
                  <a:lnTo>
                    <a:pt x="226" y="94"/>
                  </a:lnTo>
                  <a:lnTo>
                    <a:pt x="228" y="94"/>
                  </a:lnTo>
                  <a:lnTo>
                    <a:pt x="226" y="94"/>
                  </a:lnTo>
                  <a:lnTo>
                    <a:pt x="226" y="92"/>
                  </a:lnTo>
                  <a:lnTo>
                    <a:pt x="226" y="92"/>
                  </a:lnTo>
                  <a:lnTo>
                    <a:pt x="226" y="92"/>
                  </a:lnTo>
                  <a:lnTo>
                    <a:pt x="226" y="92"/>
                  </a:lnTo>
                  <a:lnTo>
                    <a:pt x="226" y="92"/>
                  </a:lnTo>
                  <a:lnTo>
                    <a:pt x="226" y="90"/>
                  </a:lnTo>
                  <a:lnTo>
                    <a:pt x="226" y="92"/>
                  </a:lnTo>
                  <a:lnTo>
                    <a:pt x="226" y="92"/>
                  </a:lnTo>
                  <a:lnTo>
                    <a:pt x="226" y="90"/>
                  </a:lnTo>
                  <a:lnTo>
                    <a:pt x="226" y="90"/>
                  </a:lnTo>
                  <a:lnTo>
                    <a:pt x="226" y="90"/>
                  </a:lnTo>
                  <a:lnTo>
                    <a:pt x="226" y="90"/>
                  </a:lnTo>
                  <a:lnTo>
                    <a:pt x="226" y="90"/>
                  </a:lnTo>
                  <a:lnTo>
                    <a:pt x="226" y="88"/>
                  </a:lnTo>
                  <a:lnTo>
                    <a:pt x="226" y="90"/>
                  </a:lnTo>
                  <a:lnTo>
                    <a:pt x="224" y="90"/>
                  </a:lnTo>
                  <a:lnTo>
                    <a:pt x="226" y="90"/>
                  </a:lnTo>
                  <a:lnTo>
                    <a:pt x="224" y="90"/>
                  </a:lnTo>
                  <a:lnTo>
                    <a:pt x="224" y="88"/>
                  </a:lnTo>
                  <a:lnTo>
                    <a:pt x="226" y="88"/>
                  </a:lnTo>
                  <a:lnTo>
                    <a:pt x="224" y="88"/>
                  </a:lnTo>
                  <a:lnTo>
                    <a:pt x="224" y="86"/>
                  </a:lnTo>
                  <a:lnTo>
                    <a:pt x="224" y="88"/>
                  </a:lnTo>
                  <a:lnTo>
                    <a:pt x="224" y="86"/>
                  </a:lnTo>
                  <a:lnTo>
                    <a:pt x="224" y="88"/>
                  </a:lnTo>
                  <a:lnTo>
                    <a:pt x="224" y="86"/>
                  </a:lnTo>
                  <a:lnTo>
                    <a:pt x="222" y="86"/>
                  </a:lnTo>
                  <a:lnTo>
                    <a:pt x="224" y="88"/>
                  </a:lnTo>
                  <a:lnTo>
                    <a:pt x="222" y="88"/>
                  </a:lnTo>
                  <a:lnTo>
                    <a:pt x="222" y="86"/>
                  </a:lnTo>
                  <a:lnTo>
                    <a:pt x="224" y="86"/>
                  </a:lnTo>
                  <a:lnTo>
                    <a:pt x="222" y="86"/>
                  </a:lnTo>
                  <a:lnTo>
                    <a:pt x="222" y="88"/>
                  </a:lnTo>
                  <a:lnTo>
                    <a:pt x="222" y="86"/>
                  </a:lnTo>
                  <a:lnTo>
                    <a:pt x="222" y="88"/>
                  </a:lnTo>
                  <a:lnTo>
                    <a:pt x="222" y="86"/>
                  </a:lnTo>
                  <a:lnTo>
                    <a:pt x="222" y="88"/>
                  </a:lnTo>
                  <a:lnTo>
                    <a:pt x="222" y="86"/>
                  </a:lnTo>
                  <a:lnTo>
                    <a:pt x="222" y="88"/>
                  </a:lnTo>
                  <a:lnTo>
                    <a:pt x="222" y="86"/>
                  </a:lnTo>
                  <a:lnTo>
                    <a:pt x="222" y="88"/>
                  </a:lnTo>
                  <a:lnTo>
                    <a:pt x="220" y="88"/>
                  </a:lnTo>
                  <a:lnTo>
                    <a:pt x="222" y="88"/>
                  </a:lnTo>
                  <a:lnTo>
                    <a:pt x="220" y="88"/>
                  </a:lnTo>
                  <a:lnTo>
                    <a:pt x="220" y="86"/>
                  </a:lnTo>
                  <a:lnTo>
                    <a:pt x="220" y="88"/>
                  </a:lnTo>
                  <a:lnTo>
                    <a:pt x="220" y="86"/>
                  </a:lnTo>
                  <a:lnTo>
                    <a:pt x="222" y="86"/>
                  </a:lnTo>
                  <a:lnTo>
                    <a:pt x="220" y="86"/>
                  </a:lnTo>
                  <a:lnTo>
                    <a:pt x="220" y="88"/>
                  </a:lnTo>
                  <a:lnTo>
                    <a:pt x="220" y="86"/>
                  </a:lnTo>
                  <a:lnTo>
                    <a:pt x="218" y="86"/>
                  </a:lnTo>
                  <a:lnTo>
                    <a:pt x="218" y="84"/>
                  </a:lnTo>
                  <a:lnTo>
                    <a:pt x="218" y="86"/>
                  </a:lnTo>
                  <a:lnTo>
                    <a:pt x="218" y="84"/>
                  </a:lnTo>
                  <a:lnTo>
                    <a:pt x="218" y="86"/>
                  </a:lnTo>
                  <a:lnTo>
                    <a:pt x="218" y="84"/>
                  </a:lnTo>
                  <a:lnTo>
                    <a:pt x="216" y="84"/>
                  </a:lnTo>
                  <a:lnTo>
                    <a:pt x="214" y="84"/>
                  </a:lnTo>
                  <a:lnTo>
                    <a:pt x="216" y="84"/>
                  </a:lnTo>
                  <a:lnTo>
                    <a:pt x="214" y="84"/>
                  </a:lnTo>
                  <a:lnTo>
                    <a:pt x="216" y="84"/>
                  </a:lnTo>
                  <a:lnTo>
                    <a:pt x="214" y="84"/>
                  </a:lnTo>
                  <a:lnTo>
                    <a:pt x="214" y="82"/>
                  </a:lnTo>
                  <a:lnTo>
                    <a:pt x="216" y="82"/>
                  </a:lnTo>
                  <a:lnTo>
                    <a:pt x="214" y="82"/>
                  </a:lnTo>
                  <a:lnTo>
                    <a:pt x="214" y="84"/>
                  </a:lnTo>
                  <a:lnTo>
                    <a:pt x="214" y="82"/>
                  </a:lnTo>
                  <a:lnTo>
                    <a:pt x="214" y="84"/>
                  </a:lnTo>
                  <a:lnTo>
                    <a:pt x="214" y="82"/>
                  </a:lnTo>
                  <a:lnTo>
                    <a:pt x="214" y="84"/>
                  </a:lnTo>
                  <a:lnTo>
                    <a:pt x="214" y="82"/>
                  </a:lnTo>
                  <a:lnTo>
                    <a:pt x="214" y="80"/>
                  </a:lnTo>
                  <a:lnTo>
                    <a:pt x="214" y="82"/>
                  </a:lnTo>
                  <a:lnTo>
                    <a:pt x="214" y="80"/>
                  </a:lnTo>
                  <a:lnTo>
                    <a:pt x="212" y="80"/>
                  </a:lnTo>
                  <a:lnTo>
                    <a:pt x="214" y="80"/>
                  </a:lnTo>
                  <a:lnTo>
                    <a:pt x="212" y="80"/>
                  </a:lnTo>
                  <a:lnTo>
                    <a:pt x="214" y="80"/>
                  </a:lnTo>
                  <a:lnTo>
                    <a:pt x="212" y="80"/>
                  </a:lnTo>
                  <a:lnTo>
                    <a:pt x="212" y="78"/>
                  </a:lnTo>
                  <a:lnTo>
                    <a:pt x="214" y="78"/>
                  </a:lnTo>
                  <a:lnTo>
                    <a:pt x="212" y="78"/>
                  </a:lnTo>
                  <a:lnTo>
                    <a:pt x="214" y="78"/>
                  </a:lnTo>
                  <a:lnTo>
                    <a:pt x="212" y="78"/>
                  </a:lnTo>
                  <a:lnTo>
                    <a:pt x="214" y="78"/>
                  </a:lnTo>
                  <a:lnTo>
                    <a:pt x="212" y="78"/>
                  </a:lnTo>
                  <a:lnTo>
                    <a:pt x="212" y="76"/>
                  </a:lnTo>
                  <a:lnTo>
                    <a:pt x="214" y="76"/>
                  </a:lnTo>
                  <a:lnTo>
                    <a:pt x="212" y="76"/>
                  </a:lnTo>
                  <a:lnTo>
                    <a:pt x="214" y="76"/>
                  </a:lnTo>
                  <a:lnTo>
                    <a:pt x="212" y="76"/>
                  </a:lnTo>
                  <a:lnTo>
                    <a:pt x="214" y="76"/>
                  </a:lnTo>
                  <a:lnTo>
                    <a:pt x="212" y="76"/>
                  </a:lnTo>
                  <a:lnTo>
                    <a:pt x="214" y="76"/>
                  </a:lnTo>
                  <a:lnTo>
                    <a:pt x="212" y="76"/>
                  </a:lnTo>
                  <a:lnTo>
                    <a:pt x="214" y="76"/>
                  </a:lnTo>
                  <a:lnTo>
                    <a:pt x="212" y="76"/>
                  </a:lnTo>
                  <a:lnTo>
                    <a:pt x="214" y="76"/>
                  </a:lnTo>
                  <a:lnTo>
                    <a:pt x="212" y="76"/>
                  </a:lnTo>
                  <a:lnTo>
                    <a:pt x="212" y="74"/>
                  </a:lnTo>
                  <a:lnTo>
                    <a:pt x="214" y="74"/>
                  </a:lnTo>
                  <a:lnTo>
                    <a:pt x="212" y="74"/>
                  </a:lnTo>
                  <a:lnTo>
                    <a:pt x="212" y="76"/>
                  </a:lnTo>
                  <a:lnTo>
                    <a:pt x="212" y="74"/>
                  </a:lnTo>
                  <a:lnTo>
                    <a:pt x="210" y="74"/>
                  </a:lnTo>
                  <a:lnTo>
                    <a:pt x="208" y="74"/>
                  </a:lnTo>
                  <a:lnTo>
                    <a:pt x="208" y="72"/>
                  </a:lnTo>
                  <a:lnTo>
                    <a:pt x="206" y="72"/>
                  </a:lnTo>
                  <a:lnTo>
                    <a:pt x="204" y="72"/>
                  </a:lnTo>
                  <a:lnTo>
                    <a:pt x="204" y="70"/>
                  </a:lnTo>
                  <a:lnTo>
                    <a:pt x="202" y="70"/>
                  </a:lnTo>
                  <a:lnTo>
                    <a:pt x="204" y="70"/>
                  </a:lnTo>
                  <a:lnTo>
                    <a:pt x="202" y="70"/>
                  </a:lnTo>
                  <a:lnTo>
                    <a:pt x="202" y="68"/>
                  </a:lnTo>
                  <a:lnTo>
                    <a:pt x="204" y="68"/>
                  </a:lnTo>
                  <a:lnTo>
                    <a:pt x="202" y="68"/>
                  </a:lnTo>
                  <a:lnTo>
                    <a:pt x="204" y="68"/>
                  </a:lnTo>
                  <a:lnTo>
                    <a:pt x="204" y="70"/>
                  </a:lnTo>
                  <a:lnTo>
                    <a:pt x="204" y="68"/>
                  </a:lnTo>
                  <a:lnTo>
                    <a:pt x="202" y="68"/>
                  </a:lnTo>
                  <a:lnTo>
                    <a:pt x="202" y="66"/>
                  </a:lnTo>
                  <a:lnTo>
                    <a:pt x="202" y="68"/>
                  </a:lnTo>
                  <a:lnTo>
                    <a:pt x="202" y="66"/>
                  </a:lnTo>
                  <a:lnTo>
                    <a:pt x="202" y="68"/>
                  </a:lnTo>
                  <a:lnTo>
                    <a:pt x="202" y="66"/>
                  </a:lnTo>
                  <a:lnTo>
                    <a:pt x="202" y="68"/>
                  </a:lnTo>
                  <a:lnTo>
                    <a:pt x="202" y="66"/>
                  </a:lnTo>
                  <a:lnTo>
                    <a:pt x="200" y="66"/>
                  </a:lnTo>
                  <a:lnTo>
                    <a:pt x="202" y="66"/>
                  </a:lnTo>
                  <a:lnTo>
                    <a:pt x="200" y="66"/>
                  </a:lnTo>
                  <a:lnTo>
                    <a:pt x="200" y="64"/>
                  </a:lnTo>
                  <a:lnTo>
                    <a:pt x="198" y="64"/>
                  </a:lnTo>
                  <a:lnTo>
                    <a:pt x="200" y="64"/>
                  </a:lnTo>
                  <a:lnTo>
                    <a:pt x="198" y="64"/>
                  </a:lnTo>
                  <a:lnTo>
                    <a:pt x="198" y="62"/>
                  </a:lnTo>
                  <a:lnTo>
                    <a:pt x="198" y="64"/>
                  </a:lnTo>
                  <a:lnTo>
                    <a:pt x="198" y="62"/>
                  </a:lnTo>
                  <a:lnTo>
                    <a:pt x="196" y="62"/>
                  </a:lnTo>
                  <a:lnTo>
                    <a:pt x="198" y="62"/>
                  </a:lnTo>
                  <a:lnTo>
                    <a:pt x="196" y="62"/>
                  </a:lnTo>
                  <a:lnTo>
                    <a:pt x="194" y="62"/>
                  </a:lnTo>
                  <a:lnTo>
                    <a:pt x="194" y="60"/>
                  </a:lnTo>
                  <a:lnTo>
                    <a:pt x="192" y="60"/>
                  </a:lnTo>
                  <a:lnTo>
                    <a:pt x="194" y="60"/>
                  </a:lnTo>
                  <a:lnTo>
                    <a:pt x="192" y="60"/>
                  </a:lnTo>
                  <a:lnTo>
                    <a:pt x="192" y="58"/>
                  </a:lnTo>
                  <a:lnTo>
                    <a:pt x="192" y="60"/>
                  </a:lnTo>
                  <a:lnTo>
                    <a:pt x="192" y="58"/>
                  </a:lnTo>
                  <a:lnTo>
                    <a:pt x="192" y="60"/>
                  </a:lnTo>
                  <a:lnTo>
                    <a:pt x="192" y="58"/>
                  </a:lnTo>
                  <a:lnTo>
                    <a:pt x="192" y="60"/>
                  </a:lnTo>
                  <a:lnTo>
                    <a:pt x="190" y="58"/>
                  </a:lnTo>
                  <a:lnTo>
                    <a:pt x="190" y="60"/>
                  </a:lnTo>
                  <a:lnTo>
                    <a:pt x="190" y="58"/>
                  </a:lnTo>
                  <a:lnTo>
                    <a:pt x="192" y="58"/>
                  </a:lnTo>
                  <a:lnTo>
                    <a:pt x="190" y="58"/>
                  </a:lnTo>
                  <a:lnTo>
                    <a:pt x="192" y="58"/>
                  </a:lnTo>
                  <a:lnTo>
                    <a:pt x="190" y="58"/>
                  </a:lnTo>
                  <a:lnTo>
                    <a:pt x="192" y="58"/>
                  </a:lnTo>
                  <a:lnTo>
                    <a:pt x="190" y="58"/>
                  </a:lnTo>
                  <a:lnTo>
                    <a:pt x="190" y="60"/>
                  </a:lnTo>
                  <a:lnTo>
                    <a:pt x="190" y="58"/>
                  </a:lnTo>
                  <a:lnTo>
                    <a:pt x="190" y="60"/>
                  </a:lnTo>
                  <a:lnTo>
                    <a:pt x="190" y="58"/>
                  </a:lnTo>
                  <a:lnTo>
                    <a:pt x="190" y="60"/>
                  </a:lnTo>
                  <a:lnTo>
                    <a:pt x="190" y="58"/>
                  </a:lnTo>
                  <a:lnTo>
                    <a:pt x="190" y="60"/>
                  </a:lnTo>
                  <a:lnTo>
                    <a:pt x="190" y="58"/>
                  </a:lnTo>
                  <a:lnTo>
                    <a:pt x="188" y="58"/>
                  </a:lnTo>
                  <a:lnTo>
                    <a:pt x="190" y="58"/>
                  </a:lnTo>
                  <a:lnTo>
                    <a:pt x="188" y="58"/>
                  </a:lnTo>
                  <a:lnTo>
                    <a:pt x="190" y="58"/>
                  </a:lnTo>
                  <a:lnTo>
                    <a:pt x="188" y="58"/>
                  </a:lnTo>
                  <a:lnTo>
                    <a:pt x="188" y="60"/>
                  </a:lnTo>
                  <a:lnTo>
                    <a:pt x="188" y="58"/>
                  </a:lnTo>
                  <a:lnTo>
                    <a:pt x="186" y="58"/>
                  </a:lnTo>
                  <a:lnTo>
                    <a:pt x="184" y="58"/>
                  </a:lnTo>
                  <a:lnTo>
                    <a:pt x="184" y="58"/>
                  </a:lnTo>
                  <a:lnTo>
                    <a:pt x="182" y="58"/>
                  </a:lnTo>
                  <a:lnTo>
                    <a:pt x="180" y="58"/>
                  </a:lnTo>
                  <a:lnTo>
                    <a:pt x="180" y="56"/>
                  </a:lnTo>
                  <a:lnTo>
                    <a:pt x="178" y="54"/>
                  </a:lnTo>
                  <a:lnTo>
                    <a:pt x="178" y="56"/>
                  </a:lnTo>
                  <a:lnTo>
                    <a:pt x="178" y="54"/>
                  </a:lnTo>
                  <a:lnTo>
                    <a:pt x="178" y="56"/>
                  </a:lnTo>
                  <a:lnTo>
                    <a:pt x="178" y="54"/>
                  </a:lnTo>
                  <a:lnTo>
                    <a:pt x="178" y="56"/>
                  </a:lnTo>
                  <a:lnTo>
                    <a:pt x="178" y="54"/>
                  </a:lnTo>
                  <a:lnTo>
                    <a:pt x="178" y="56"/>
                  </a:lnTo>
                  <a:lnTo>
                    <a:pt x="176" y="56"/>
                  </a:lnTo>
                  <a:lnTo>
                    <a:pt x="178" y="56"/>
                  </a:lnTo>
                  <a:lnTo>
                    <a:pt x="176" y="56"/>
                  </a:lnTo>
                  <a:lnTo>
                    <a:pt x="178" y="56"/>
                  </a:lnTo>
                  <a:lnTo>
                    <a:pt x="176" y="56"/>
                  </a:lnTo>
                  <a:lnTo>
                    <a:pt x="178" y="56"/>
                  </a:lnTo>
                  <a:lnTo>
                    <a:pt x="176" y="56"/>
                  </a:lnTo>
                  <a:lnTo>
                    <a:pt x="178" y="56"/>
                  </a:lnTo>
                  <a:lnTo>
                    <a:pt x="176" y="56"/>
                  </a:lnTo>
                  <a:lnTo>
                    <a:pt x="178" y="56"/>
                  </a:lnTo>
                  <a:lnTo>
                    <a:pt x="176" y="56"/>
                  </a:lnTo>
                  <a:lnTo>
                    <a:pt x="176" y="56"/>
                  </a:lnTo>
                  <a:lnTo>
                    <a:pt x="174" y="56"/>
                  </a:lnTo>
                  <a:lnTo>
                    <a:pt x="176" y="56"/>
                  </a:lnTo>
                  <a:lnTo>
                    <a:pt x="174" y="56"/>
                  </a:lnTo>
                  <a:lnTo>
                    <a:pt x="176" y="56"/>
                  </a:lnTo>
                  <a:lnTo>
                    <a:pt x="174" y="56"/>
                  </a:lnTo>
                  <a:lnTo>
                    <a:pt x="176" y="56"/>
                  </a:lnTo>
                  <a:lnTo>
                    <a:pt x="174" y="56"/>
                  </a:lnTo>
                  <a:lnTo>
                    <a:pt x="176" y="56"/>
                  </a:lnTo>
                  <a:lnTo>
                    <a:pt x="174" y="56"/>
                  </a:lnTo>
                  <a:lnTo>
                    <a:pt x="174" y="58"/>
                  </a:lnTo>
                  <a:lnTo>
                    <a:pt x="172" y="58"/>
                  </a:lnTo>
                  <a:lnTo>
                    <a:pt x="172" y="56"/>
                  </a:lnTo>
                  <a:lnTo>
                    <a:pt x="174" y="56"/>
                  </a:lnTo>
                  <a:lnTo>
                    <a:pt x="174" y="54"/>
                  </a:lnTo>
                  <a:lnTo>
                    <a:pt x="174" y="56"/>
                  </a:lnTo>
                  <a:lnTo>
                    <a:pt x="172" y="56"/>
                  </a:lnTo>
                  <a:lnTo>
                    <a:pt x="170" y="56"/>
                  </a:lnTo>
                  <a:lnTo>
                    <a:pt x="170" y="58"/>
                  </a:lnTo>
                  <a:lnTo>
                    <a:pt x="170" y="56"/>
                  </a:lnTo>
                  <a:lnTo>
                    <a:pt x="170" y="58"/>
                  </a:lnTo>
                  <a:lnTo>
                    <a:pt x="170" y="56"/>
                  </a:lnTo>
                  <a:lnTo>
                    <a:pt x="170" y="58"/>
                  </a:lnTo>
                  <a:lnTo>
                    <a:pt x="170" y="56"/>
                  </a:lnTo>
                  <a:lnTo>
                    <a:pt x="170" y="58"/>
                  </a:lnTo>
                  <a:lnTo>
                    <a:pt x="168" y="58"/>
                  </a:lnTo>
                  <a:lnTo>
                    <a:pt x="170" y="58"/>
                  </a:lnTo>
                  <a:lnTo>
                    <a:pt x="168" y="58"/>
                  </a:lnTo>
                  <a:lnTo>
                    <a:pt x="170" y="58"/>
                  </a:lnTo>
                  <a:lnTo>
                    <a:pt x="168" y="58"/>
                  </a:lnTo>
                  <a:lnTo>
                    <a:pt x="168" y="56"/>
                  </a:lnTo>
                  <a:lnTo>
                    <a:pt x="168" y="58"/>
                  </a:lnTo>
                  <a:lnTo>
                    <a:pt x="170" y="58"/>
                  </a:lnTo>
                  <a:lnTo>
                    <a:pt x="168" y="58"/>
                  </a:lnTo>
                  <a:lnTo>
                    <a:pt x="168" y="56"/>
                  </a:lnTo>
                  <a:lnTo>
                    <a:pt x="170" y="56"/>
                  </a:lnTo>
                  <a:lnTo>
                    <a:pt x="168" y="56"/>
                  </a:lnTo>
                  <a:lnTo>
                    <a:pt x="170" y="56"/>
                  </a:lnTo>
                  <a:lnTo>
                    <a:pt x="168" y="56"/>
                  </a:lnTo>
                  <a:lnTo>
                    <a:pt x="170" y="56"/>
                  </a:lnTo>
                  <a:lnTo>
                    <a:pt x="168" y="56"/>
                  </a:lnTo>
                  <a:lnTo>
                    <a:pt x="168" y="58"/>
                  </a:lnTo>
                  <a:lnTo>
                    <a:pt x="168" y="56"/>
                  </a:lnTo>
                  <a:lnTo>
                    <a:pt x="166" y="56"/>
                  </a:lnTo>
                  <a:lnTo>
                    <a:pt x="168" y="56"/>
                  </a:lnTo>
                  <a:lnTo>
                    <a:pt x="166" y="56"/>
                  </a:lnTo>
                  <a:lnTo>
                    <a:pt x="168" y="56"/>
                  </a:lnTo>
                  <a:lnTo>
                    <a:pt x="168" y="58"/>
                  </a:lnTo>
                  <a:lnTo>
                    <a:pt x="166" y="58"/>
                  </a:lnTo>
                  <a:lnTo>
                    <a:pt x="166" y="56"/>
                  </a:lnTo>
                  <a:lnTo>
                    <a:pt x="166" y="58"/>
                  </a:lnTo>
                  <a:lnTo>
                    <a:pt x="168" y="58"/>
                  </a:lnTo>
                  <a:lnTo>
                    <a:pt x="168" y="58"/>
                  </a:lnTo>
                  <a:lnTo>
                    <a:pt x="166" y="58"/>
                  </a:lnTo>
                  <a:lnTo>
                    <a:pt x="168" y="58"/>
                  </a:lnTo>
                  <a:lnTo>
                    <a:pt x="168" y="58"/>
                  </a:lnTo>
                  <a:lnTo>
                    <a:pt x="166" y="58"/>
                  </a:lnTo>
                  <a:lnTo>
                    <a:pt x="168" y="58"/>
                  </a:lnTo>
                  <a:lnTo>
                    <a:pt x="166" y="58"/>
                  </a:lnTo>
                  <a:lnTo>
                    <a:pt x="166" y="58"/>
                  </a:lnTo>
                  <a:lnTo>
                    <a:pt x="166" y="58"/>
                  </a:lnTo>
                  <a:lnTo>
                    <a:pt x="166" y="58"/>
                  </a:lnTo>
                  <a:lnTo>
                    <a:pt x="166" y="58"/>
                  </a:lnTo>
                  <a:lnTo>
                    <a:pt x="164" y="58"/>
                  </a:lnTo>
                  <a:lnTo>
                    <a:pt x="166" y="58"/>
                  </a:lnTo>
                  <a:lnTo>
                    <a:pt x="164" y="58"/>
                  </a:lnTo>
                  <a:lnTo>
                    <a:pt x="164" y="58"/>
                  </a:lnTo>
                  <a:lnTo>
                    <a:pt x="164" y="58"/>
                  </a:lnTo>
                  <a:lnTo>
                    <a:pt x="164" y="58"/>
                  </a:lnTo>
                  <a:lnTo>
                    <a:pt x="164" y="58"/>
                  </a:lnTo>
                  <a:lnTo>
                    <a:pt x="164" y="58"/>
                  </a:lnTo>
                  <a:lnTo>
                    <a:pt x="164" y="58"/>
                  </a:lnTo>
                  <a:lnTo>
                    <a:pt x="164" y="58"/>
                  </a:lnTo>
                  <a:lnTo>
                    <a:pt x="164" y="58"/>
                  </a:lnTo>
                  <a:lnTo>
                    <a:pt x="164" y="58"/>
                  </a:lnTo>
                  <a:lnTo>
                    <a:pt x="162" y="58"/>
                  </a:lnTo>
                  <a:lnTo>
                    <a:pt x="164" y="58"/>
                  </a:lnTo>
                  <a:lnTo>
                    <a:pt x="162" y="58"/>
                  </a:lnTo>
                  <a:lnTo>
                    <a:pt x="164" y="58"/>
                  </a:lnTo>
                  <a:lnTo>
                    <a:pt x="162" y="58"/>
                  </a:lnTo>
                  <a:lnTo>
                    <a:pt x="164" y="58"/>
                  </a:lnTo>
                  <a:lnTo>
                    <a:pt x="164" y="58"/>
                  </a:lnTo>
                  <a:lnTo>
                    <a:pt x="164" y="58"/>
                  </a:lnTo>
                  <a:lnTo>
                    <a:pt x="162" y="58"/>
                  </a:lnTo>
                  <a:lnTo>
                    <a:pt x="164" y="58"/>
                  </a:lnTo>
                  <a:lnTo>
                    <a:pt x="162" y="58"/>
                  </a:lnTo>
                  <a:lnTo>
                    <a:pt x="164" y="58"/>
                  </a:lnTo>
                  <a:lnTo>
                    <a:pt x="162" y="58"/>
                  </a:lnTo>
                  <a:lnTo>
                    <a:pt x="164" y="58"/>
                  </a:lnTo>
                  <a:lnTo>
                    <a:pt x="162" y="58"/>
                  </a:lnTo>
                  <a:lnTo>
                    <a:pt x="164" y="58"/>
                  </a:lnTo>
                  <a:lnTo>
                    <a:pt x="162" y="58"/>
                  </a:lnTo>
                  <a:lnTo>
                    <a:pt x="162" y="60"/>
                  </a:lnTo>
                  <a:lnTo>
                    <a:pt x="164" y="60"/>
                  </a:lnTo>
                  <a:lnTo>
                    <a:pt x="162" y="60"/>
                  </a:lnTo>
                  <a:lnTo>
                    <a:pt x="164" y="60"/>
                  </a:lnTo>
                  <a:lnTo>
                    <a:pt x="162" y="60"/>
                  </a:lnTo>
                  <a:lnTo>
                    <a:pt x="164" y="60"/>
                  </a:lnTo>
                  <a:lnTo>
                    <a:pt x="162" y="60"/>
                  </a:lnTo>
                  <a:lnTo>
                    <a:pt x="164" y="60"/>
                  </a:lnTo>
                  <a:lnTo>
                    <a:pt x="162" y="60"/>
                  </a:lnTo>
                  <a:lnTo>
                    <a:pt x="162" y="62"/>
                  </a:lnTo>
                  <a:lnTo>
                    <a:pt x="162" y="60"/>
                  </a:lnTo>
                  <a:lnTo>
                    <a:pt x="162" y="62"/>
                  </a:lnTo>
                  <a:lnTo>
                    <a:pt x="162" y="60"/>
                  </a:lnTo>
                  <a:lnTo>
                    <a:pt x="162" y="62"/>
                  </a:lnTo>
                  <a:lnTo>
                    <a:pt x="162" y="60"/>
                  </a:lnTo>
                  <a:lnTo>
                    <a:pt x="164" y="60"/>
                  </a:lnTo>
                  <a:lnTo>
                    <a:pt x="164" y="62"/>
                  </a:lnTo>
                  <a:lnTo>
                    <a:pt x="164" y="64"/>
                  </a:lnTo>
                  <a:lnTo>
                    <a:pt x="164" y="62"/>
                  </a:lnTo>
                  <a:lnTo>
                    <a:pt x="164" y="64"/>
                  </a:lnTo>
                  <a:lnTo>
                    <a:pt x="164" y="62"/>
                  </a:lnTo>
                  <a:lnTo>
                    <a:pt x="164" y="64"/>
                  </a:lnTo>
                  <a:lnTo>
                    <a:pt x="164" y="62"/>
                  </a:lnTo>
                  <a:lnTo>
                    <a:pt x="164" y="64"/>
                  </a:lnTo>
                  <a:lnTo>
                    <a:pt x="164" y="62"/>
                  </a:lnTo>
                  <a:lnTo>
                    <a:pt x="164" y="64"/>
                  </a:lnTo>
                  <a:lnTo>
                    <a:pt x="164" y="62"/>
                  </a:lnTo>
                  <a:lnTo>
                    <a:pt x="164" y="64"/>
                  </a:lnTo>
                  <a:lnTo>
                    <a:pt x="164" y="62"/>
                  </a:lnTo>
                  <a:lnTo>
                    <a:pt x="162" y="62"/>
                  </a:lnTo>
                  <a:lnTo>
                    <a:pt x="160" y="62"/>
                  </a:lnTo>
                  <a:lnTo>
                    <a:pt x="160" y="64"/>
                  </a:lnTo>
                  <a:lnTo>
                    <a:pt x="162" y="64"/>
                  </a:lnTo>
                  <a:lnTo>
                    <a:pt x="164" y="64"/>
                  </a:lnTo>
                  <a:lnTo>
                    <a:pt x="166" y="64"/>
                  </a:lnTo>
                  <a:lnTo>
                    <a:pt x="166" y="66"/>
                  </a:lnTo>
                  <a:lnTo>
                    <a:pt x="166" y="68"/>
                  </a:lnTo>
                  <a:lnTo>
                    <a:pt x="164" y="68"/>
                  </a:lnTo>
                  <a:lnTo>
                    <a:pt x="164" y="66"/>
                  </a:lnTo>
                  <a:lnTo>
                    <a:pt x="164" y="68"/>
                  </a:lnTo>
                  <a:lnTo>
                    <a:pt x="164" y="66"/>
                  </a:lnTo>
                  <a:lnTo>
                    <a:pt x="164" y="68"/>
                  </a:lnTo>
                  <a:lnTo>
                    <a:pt x="164" y="66"/>
                  </a:lnTo>
                  <a:lnTo>
                    <a:pt x="162" y="66"/>
                  </a:lnTo>
                  <a:lnTo>
                    <a:pt x="160" y="66"/>
                  </a:lnTo>
                  <a:lnTo>
                    <a:pt x="158" y="66"/>
                  </a:lnTo>
                  <a:lnTo>
                    <a:pt x="158" y="68"/>
                  </a:lnTo>
                  <a:lnTo>
                    <a:pt x="156" y="68"/>
                  </a:lnTo>
                  <a:lnTo>
                    <a:pt x="154" y="68"/>
                  </a:lnTo>
                  <a:lnTo>
                    <a:pt x="154" y="70"/>
                  </a:lnTo>
                  <a:lnTo>
                    <a:pt x="152" y="70"/>
                  </a:lnTo>
                  <a:lnTo>
                    <a:pt x="150" y="72"/>
                  </a:lnTo>
                  <a:lnTo>
                    <a:pt x="148" y="72"/>
                  </a:lnTo>
                  <a:lnTo>
                    <a:pt x="150" y="72"/>
                  </a:lnTo>
                  <a:lnTo>
                    <a:pt x="148" y="72"/>
                  </a:lnTo>
                  <a:lnTo>
                    <a:pt x="148" y="74"/>
                  </a:lnTo>
                  <a:lnTo>
                    <a:pt x="146" y="74"/>
                  </a:lnTo>
                  <a:lnTo>
                    <a:pt x="146" y="76"/>
                  </a:lnTo>
                  <a:lnTo>
                    <a:pt x="144" y="76"/>
                  </a:lnTo>
                  <a:lnTo>
                    <a:pt x="144" y="78"/>
                  </a:lnTo>
                  <a:lnTo>
                    <a:pt x="142" y="78"/>
                  </a:lnTo>
                  <a:lnTo>
                    <a:pt x="140" y="78"/>
                  </a:lnTo>
                  <a:lnTo>
                    <a:pt x="140" y="80"/>
                  </a:lnTo>
                  <a:lnTo>
                    <a:pt x="138" y="80"/>
                  </a:lnTo>
                  <a:lnTo>
                    <a:pt x="136" y="80"/>
                  </a:lnTo>
                  <a:lnTo>
                    <a:pt x="138" y="80"/>
                  </a:lnTo>
                  <a:lnTo>
                    <a:pt x="138" y="78"/>
                  </a:lnTo>
                  <a:lnTo>
                    <a:pt x="138" y="76"/>
                  </a:lnTo>
                  <a:lnTo>
                    <a:pt x="140" y="76"/>
                  </a:lnTo>
                  <a:lnTo>
                    <a:pt x="140" y="74"/>
                  </a:lnTo>
                  <a:lnTo>
                    <a:pt x="140" y="76"/>
                  </a:lnTo>
                  <a:lnTo>
                    <a:pt x="138" y="76"/>
                  </a:lnTo>
                  <a:lnTo>
                    <a:pt x="138" y="78"/>
                  </a:lnTo>
                  <a:lnTo>
                    <a:pt x="138" y="76"/>
                  </a:lnTo>
                  <a:lnTo>
                    <a:pt x="138" y="78"/>
                  </a:lnTo>
                  <a:lnTo>
                    <a:pt x="136" y="78"/>
                  </a:lnTo>
                  <a:lnTo>
                    <a:pt x="136" y="76"/>
                  </a:lnTo>
                  <a:lnTo>
                    <a:pt x="136" y="78"/>
                  </a:lnTo>
                  <a:lnTo>
                    <a:pt x="136" y="80"/>
                  </a:lnTo>
                  <a:lnTo>
                    <a:pt x="136" y="78"/>
                  </a:lnTo>
                  <a:lnTo>
                    <a:pt x="136" y="80"/>
                  </a:lnTo>
                  <a:lnTo>
                    <a:pt x="134" y="80"/>
                  </a:lnTo>
                  <a:lnTo>
                    <a:pt x="134" y="78"/>
                  </a:lnTo>
                  <a:lnTo>
                    <a:pt x="134" y="80"/>
                  </a:lnTo>
                  <a:lnTo>
                    <a:pt x="136" y="80"/>
                  </a:lnTo>
                  <a:lnTo>
                    <a:pt x="134" y="80"/>
                  </a:lnTo>
                  <a:lnTo>
                    <a:pt x="134" y="82"/>
                  </a:lnTo>
                  <a:lnTo>
                    <a:pt x="132" y="82"/>
                  </a:lnTo>
                  <a:lnTo>
                    <a:pt x="130" y="82"/>
                  </a:lnTo>
                  <a:lnTo>
                    <a:pt x="128" y="82"/>
                  </a:lnTo>
                  <a:lnTo>
                    <a:pt x="128" y="82"/>
                  </a:lnTo>
                  <a:lnTo>
                    <a:pt x="126" y="84"/>
                  </a:lnTo>
                  <a:lnTo>
                    <a:pt x="124" y="84"/>
                  </a:lnTo>
                  <a:lnTo>
                    <a:pt x="122" y="84"/>
                  </a:lnTo>
                  <a:lnTo>
                    <a:pt x="124" y="84"/>
                  </a:lnTo>
                  <a:lnTo>
                    <a:pt x="124" y="86"/>
                  </a:lnTo>
                  <a:lnTo>
                    <a:pt x="122" y="86"/>
                  </a:lnTo>
                  <a:lnTo>
                    <a:pt x="120" y="86"/>
                  </a:lnTo>
                  <a:lnTo>
                    <a:pt x="118" y="86"/>
                  </a:lnTo>
                  <a:lnTo>
                    <a:pt x="118" y="88"/>
                  </a:lnTo>
                  <a:lnTo>
                    <a:pt x="118" y="86"/>
                  </a:lnTo>
                  <a:lnTo>
                    <a:pt x="118" y="88"/>
                  </a:lnTo>
                  <a:lnTo>
                    <a:pt x="118" y="86"/>
                  </a:lnTo>
                  <a:lnTo>
                    <a:pt x="116" y="86"/>
                  </a:lnTo>
                  <a:lnTo>
                    <a:pt x="116" y="84"/>
                  </a:lnTo>
                  <a:lnTo>
                    <a:pt x="114" y="84"/>
                  </a:lnTo>
                  <a:lnTo>
                    <a:pt x="114" y="82"/>
                  </a:lnTo>
                  <a:lnTo>
                    <a:pt x="114" y="80"/>
                  </a:lnTo>
                  <a:lnTo>
                    <a:pt x="114" y="78"/>
                  </a:lnTo>
                  <a:lnTo>
                    <a:pt x="112" y="78"/>
                  </a:lnTo>
                  <a:lnTo>
                    <a:pt x="112" y="76"/>
                  </a:lnTo>
                  <a:lnTo>
                    <a:pt x="114" y="76"/>
                  </a:lnTo>
                  <a:lnTo>
                    <a:pt x="114" y="74"/>
                  </a:lnTo>
                  <a:lnTo>
                    <a:pt x="114" y="76"/>
                  </a:lnTo>
                  <a:lnTo>
                    <a:pt x="114" y="78"/>
                  </a:lnTo>
                  <a:lnTo>
                    <a:pt x="114" y="80"/>
                  </a:lnTo>
                  <a:lnTo>
                    <a:pt x="114" y="82"/>
                  </a:lnTo>
                  <a:lnTo>
                    <a:pt x="114" y="80"/>
                  </a:lnTo>
                  <a:lnTo>
                    <a:pt x="114" y="82"/>
                  </a:lnTo>
                  <a:lnTo>
                    <a:pt x="114" y="84"/>
                  </a:lnTo>
                  <a:lnTo>
                    <a:pt x="116" y="84"/>
                  </a:lnTo>
                  <a:lnTo>
                    <a:pt x="116" y="86"/>
                  </a:lnTo>
                  <a:lnTo>
                    <a:pt x="116" y="84"/>
                  </a:lnTo>
                  <a:lnTo>
                    <a:pt x="116" y="86"/>
                  </a:lnTo>
                  <a:lnTo>
                    <a:pt x="118" y="86"/>
                  </a:lnTo>
                  <a:lnTo>
                    <a:pt x="118" y="84"/>
                  </a:lnTo>
                  <a:lnTo>
                    <a:pt x="118" y="86"/>
                  </a:lnTo>
                  <a:lnTo>
                    <a:pt x="120" y="86"/>
                  </a:lnTo>
                  <a:lnTo>
                    <a:pt x="120" y="84"/>
                  </a:lnTo>
                  <a:lnTo>
                    <a:pt x="120" y="82"/>
                  </a:lnTo>
                  <a:lnTo>
                    <a:pt x="118" y="82"/>
                  </a:lnTo>
                  <a:lnTo>
                    <a:pt x="118" y="80"/>
                  </a:lnTo>
                  <a:lnTo>
                    <a:pt x="120" y="80"/>
                  </a:lnTo>
                  <a:lnTo>
                    <a:pt x="118" y="80"/>
                  </a:lnTo>
                  <a:lnTo>
                    <a:pt x="118" y="78"/>
                  </a:lnTo>
                  <a:lnTo>
                    <a:pt x="118" y="76"/>
                  </a:lnTo>
                  <a:lnTo>
                    <a:pt x="116" y="76"/>
                  </a:lnTo>
                  <a:lnTo>
                    <a:pt x="116" y="74"/>
                  </a:lnTo>
                  <a:lnTo>
                    <a:pt x="116" y="72"/>
                  </a:lnTo>
                  <a:lnTo>
                    <a:pt x="114" y="72"/>
                  </a:lnTo>
                  <a:lnTo>
                    <a:pt x="114" y="70"/>
                  </a:lnTo>
                  <a:lnTo>
                    <a:pt x="112" y="70"/>
                  </a:lnTo>
                  <a:lnTo>
                    <a:pt x="110" y="70"/>
                  </a:lnTo>
                  <a:lnTo>
                    <a:pt x="108" y="70"/>
                  </a:lnTo>
                  <a:lnTo>
                    <a:pt x="106" y="70"/>
                  </a:lnTo>
                  <a:lnTo>
                    <a:pt x="106" y="68"/>
                  </a:lnTo>
                  <a:lnTo>
                    <a:pt x="108" y="68"/>
                  </a:lnTo>
                  <a:lnTo>
                    <a:pt x="108" y="70"/>
                  </a:lnTo>
                  <a:lnTo>
                    <a:pt x="110" y="70"/>
                  </a:lnTo>
                  <a:lnTo>
                    <a:pt x="108" y="70"/>
                  </a:lnTo>
                  <a:lnTo>
                    <a:pt x="108" y="68"/>
                  </a:lnTo>
                  <a:lnTo>
                    <a:pt x="108" y="70"/>
                  </a:lnTo>
                  <a:lnTo>
                    <a:pt x="110" y="70"/>
                  </a:lnTo>
                  <a:lnTo>
                    <a:pt x="108" y="70"/>
                  </a:lnTo>
                  <a:lnTo>
                    <a:pt x="108" y="68"/>
                  </a:lnTo>
                  <a:lnTo>
                    <a:pt x="106" y="68"/>
                  </a:lnTo>
                  <a:lnTo>
                    <a:pt x="106" y="66"/>
                  </a:lnTo>
                  <a:lnTo>
                    <a:pt x="106" y="68"/>
                  </a:lnTo>
                  <a:lnTo>
                    <a:pt x="106" y="66"/>
                  </a:lnTo>
                  <a:lnTo>
                    <a:pt x="104" y="66"/>
                  </a:lnTo>
                  <a:lnTo>
                    <a:pt x="106" y="66"/>
                  </a:lnTo>
                  <a:lnTo>
                    <a:pt x="104" y="66"/>
                  </a:lnTo>
                  <a:lnTo>
                    <a:pt x="102" y="64"/>
                  </a:lnTo>
                  <a:lnTo>
                    <a:pt x="100" y="64"/>
                  </a:lnTo>
                  <a:lnTo>
                    <a:pt x="100" y="62"/>
                  </a:lnTo>
                  <a:lnTo>
                    <a:pt x="98" y="62"/>
                  </a:lnTo>
                  <a:lnTo>
                    <a:pt x="98" y="60"/>
                  </a:lnTo>
                  <a:lnTo>
                    <a:pt x="98" y="62"/>
                  </a:lnTo>
                  <a:lnTo>
                    <a:pt x="98" y="60"/>
                  </a:lnTo>
                  <a:lnTo>
                    <a:pt x="98" y="62"/>
                  </a:lnTo>
                  <a:lnTo>
                    <a:pt x="100" y="62"/>
                  </a:lnTo>
                  <a:lnTo>
                    <a:pt x="100" y="60"/>
                  </a:lnTo>
                  <a:lnTo>
                    <a:pt x="100" y="62"/>
                  </a:lnTo>
                  <a:lnTo>
                    <a:pt x="102" y="62"/>
                  </a:lnTo>
                  <a:lnTo>
                    <a:pt x="100" y="62"/>
                  </a:lnTo>
                  <a:lnTo>
                    <a:pt x="102" y="62"/>
                  </a:lnTo>
                  <a:lnTo>
                    <a:pt x="100" y="62"/>
                  </a:lnTo>
                  <a:lnTo>
                    <a:pt x="100" y="64"/>
                  </a:lnTo>
                  <a:lnTo>
                    <a:pt x="102" y="62"/>
                  </a:lnTo>
                  <a:lnTo>
                    <a:pt x="102" y="64"/>
                  </a:lnTo>
                  <a:lnTo>
                    <a:pt x="102" y="62"/>
                  </a:lnTo>
                  <a:lnTo>
                    <a:pt x="102" y="64"/>
                  </a:lnTo>
                  <a:lnTo>
                    <a:pt x="102" y="62"/>
                  </a:lnTo>
                  <a:lnTo>
                    <a:pt x="104" y="62"/>
                  </a:lnTo>
                  <a:lnTo>
                    <a:pt x="104" y="64"/>
                  </a:lnTo>
                  <a:lnTo>
                    <a:pt x="104" y="62"/>
                  </a:lnTo>
                  <a:lnTo>
                    <a:pt x="104" y="64"/>
                  </a:lnTo>
                  <a:lnTo>
                    <a:pt x="106" y="64"/>
                  </a:lnTo>
                  <a:lnTo>
                    <a:pt x="104" y="64"/>
                  </a:lnTo>
                  <a:lnTo>
                    <a:pt x="106" y="64"/>
                  </a:lnTo>
                  <a:lnTo>
                    <a:pt x="106" y="66"/>
                  </a:lnTo>
                  <a:lnTo>
                    <a:pt x="108" y="66"/>
                  </a:lnTo>
                  <a:lnTo>
                    <a:pt x="106" y="66"/>
                  </a:lnTo>
                  <a:lnTo>
                    <a:pt x="108" y="66"/>
                  </a:lnTo>
                  <a:lnTo>
                    <a:pt x="110" y="66"/>
                  </a:lnTo>
                  <a:lnTo>
                    <a:pt x="108" y="66"/>
                  </a:lnTo>
                  <a:lnTo>
                    <a:pt x="110" y="66"/>
                  </a:lnTo>
                  <a:lnTo>
                    <a:pt x="108" y="66"/>
                  </a:lnTo>
                  <a:lnTo>
                    <a:pt x="110" y="66"/>
                  </a:lnTo>
                  <a:lnTo>
                    <a:pt x="108" y="66"/>
                  </a:lnTo>
                  <a:lnTo>
                    <a:pt x="110" y="66"/>
                  </a:lnTo>
                  <a:lnTo>
                    <a:pt x="108" y="66"/>
                  </a:lnTo>
                  <a:lnTo>
                    <a:pt x="108" y="68"/>
                  </a:lnTo>
                  <a:lnTo>
                    <a:pt x="110" y="68"/>
                  </a:lnTo>
                  <a:lnTo>
                    <a:pt x="110" y="66"/>
                  </a:lnTo>
                  <a:lnTo>
                    <a:pt x="112" y="66"/>
                  </a:lnTo>
                  <a:lnTo>
                    <a:pt x="110" y="66"/>
                  </a:lnTo>
                  <a:lnTo>
                    <a:pt x="112" y="66"/>
                  </a:lnTo>
                  <a:lnTo>
                    <a:pt x="110" y="66"/>
                  </a:lnTo>
                  <a:lnTo>
                    <a:pt x="110" y="64"/>
                  </a:lnTo>
                  <a:lnTo>
                    <a:pt x="112" y="64"/>
                  </a:lnTo>
                  <a:lnTo>
                    <a:pt x="112" y="66"/>
                  </a:lnTo>
                  <a:lnTo>
                    <a:pt x="112" y="64"/>
                  </a:lnTo>
                  <a:lnTo>
                    <a:pt x="112" y="66"/>
                  </a:lnTo>
                  <a:lnTo>
                    <a:pt x="114" y="66"/>
                  </a:lnTo>
                  <a:lnTo>
                    <a:pt x="112" y="66"/>
                  </a:lnTo>
                  <a:lnTo>
                    <a:pt x="114" y="66"/>
                  </a:lnTo>
                  <a:lnTo>
                    <a:pt x="112" y="66"/>
                  </a:lnTo>
                  <a:lnTo>
                    <a:pt x="112" y="64"/>
                  </a:lnTo>
                  <a:lnTo>
                    <a:pt x="114" y="64"/>
                  </a:lnTo>
                  <a:lnTo>
                    <a:pt x="112" y="64"/>
                  </a:lnTo>
                  <a:lnTo>
                    <a:pt x="110" y="64"/>
                  </a:lnTo>
                  <a:lnTo>
                    <a:pt x="110" y="62"/>
                  </a:lnTo>
                  <a:lnTo>
                    <a:pt x="112" y="62"/>
                  </a:lnTo>
                  <a:lnTo>
                    <a:pt x="110" y="62"/>
                  </a:lnTo>
                  <a:lnTo>
                    <a:pt x="112" y="62"/>
                  </a:lnTo>
                  <a:lnTo>
                    <a:pt x="110" y="62"/>
                  </a:lnTo>
                  <a:lnTo>
                    <a:pt x="112" y="62"/>
                  </a:lnTo>
                  <a:lnTo>
                    <a:pt x="110" y="62"/>
                  </a:lnTo>
                  <a:lnTo>
                    <a:pt x="112" y="62"/>
                  </a:lnTo>
                  <a:lnTo>
                    <a:pt x="110" y="62"/>
                  </a:lnTo>
                  <a:lnTo>
                    <a:pt x="112" y="62"/>
                  </a:lnTo>
                  <a:lnTo>
                    <a:pt x="110" y="62"/>
                  </a:lnTo>
                  <a:lnTo>
                    <a:pt x="110" y="64"/>
                  </a:lnTo>
                  <a:lnTo>
                    <a:pt x="110" y="62"/>
                  </a:lnTo>
                  <a:lnTo>
                    <a:pt x="110" y="64"/>
                  </a:lnTo>
                  <a:lnTo>
                    <a:pt x="110" y="66"/>
                  </a:lnTo>
                  <a:lnTo>
                    <a:pt x="108" y="66"/>
                  </a:lnTo>
                  <a:lnTo>
                    <a:pt x="108" y="64"/>
                  </a:lnTo>
                  <a:lnTo>
                    <a:pt x="108" y="62"/>
                  </a:lnTo>
                  <a:lnTo>
                    <a:pt x="106" y="62"/>
                  </a:lnTo>
                  <a:lnTo>
                    <a:pt x="108" y="62"/>
                  </a:lnTo>
                  <a:lnTo>
                    <a:pt x="106" y="62"/>
                  </a:lnTo>
                  <a:lnTo>
                    <a:pt x="106" y="60"/>
                  </a:lnTo>
                  <a:lnTo>
                    <a:pt x="106" y="62"/>
                  </a:lnTo>
                  <a:lnTo>
                    <a:pt x="106" y="60"/>
                  </a:lnTo>
                  <a:lnTo>
                    <a:pt x="108" y="60"/>
                  </a:lnTo>
                  <a:lnTo>
                    <a:pt x="106" y="60"/>
                  </a:lnTo>
                  <a:lnTo>
                    <a:pt x="104" y="60"/>
                  </a:lnTo>
                  <a:lnTo>
                    <a:pt x="104" y="62"/>
                  </a:lnTo>
                  <a:lnTo>
                    <a:pt x="104" y="60"/>
                  </a:lnTo>
                  <a:lnTo>
                    <a:pt x="104" y="62"/>
                  </a:lnTo>
                  <a:lnTo>
                    <a:pt x="104" y="60"/>
                  </a:lnTo>
                  <a:lnTo>
                    <a:pt x="104" y="62"/>
                  </a:lnTo>
                  <a:lnTo>
                    <a:pt x="102" y="62"/>
                  </a:lnTo>
                  <a:lnTo>
                    <a:pt x="104" y="62"/>
                  </a:lnTo>
                  <a:lnTo>
                    <a:pt x="102" y="62"/>
                  </a:lnTo>
                  <a:lnTo>
                    <a:pt x="102" y="60"/>
                  </a:lnTo>
                  <a:lnTo>
                    <a:pt x="102" y="62"/>
                  </a:lnTo>
                  <a:lnTo>
                    <a:pt x="102" y="60"/>
                  </a:lnTo>
                  <a:lnTo>
                    <a:pt x="102" y="62"/>
                  </a:lnTo>
                  <a:lnTo>
                    <a:pt x="102" y="60"/>
                  </a:lnTo>
                  <a:lnTo>
                    <a:pt x="100" y="60"/>
                  </a:lnTo>
                  <a:lnTo>
                    <a:pt x="100" y="58"/>
                  </a:lnTo>
                  <a:lnTo>
                    <a:pt x="100" y="60"/>
                  </a:lnTo>
                  <a:lnTo>
                    <a:pt x="98" y="60"/>
                  </a:lnTo>
                  <a:lnTo>
                    <a:pt x="100" y="60"/>
                  </a:lnTo>
                  <a:lnTo>
                    <a:pt x="98" y="60"/>
                  </a:lnTo>
                  <a:lnTo>
                    <a:pt x="100" y="60"/>
                  </a:lnTo>
                  <a:lnTo>
                    <a:pt x="98" y="60"/>
                  </a:lnTo>
                  <a:lnTo>
                    <a:pt x="98" y="58"/>
                  </a:lnTo>
                  <a:lnTo>
                    <a:pt x="98" y="60"/>
                  </a:lnTo>
                  <a:lnTo>
                    <a:pt x="98" y="58"/>
                  </a:lnTo>
                  <a:lnTo>
                    <a:pt x="98" y="60"/>
                  </a:lnTo>
                  <a:lnTo>
                    <a:pt x="96" y="60"/>
                  </a:lnTo>
                  <a:lnTo>
                    <a:pt x="96" y="58"/>
                  </a:lnTo>
                  <a:lnTo>
                    <a:pt x="94" y="58"/>
                  </a:lnTo>
                  <a:lnTo>
                    <a:pt x="96" y="58"/>
                  </a:lnTo>
                  <a:lnTo>
                    <a:pt x="96" y="58"/>
                  </a:lnTo>
                  <a:lnTo>
                    <a:pt x="96" y="58"/>
                  </a:lnTo>
                  <a:lnTo>
                    <a:pt x="96" y="58"/>
                  </a:lnTo>
                  <a:lnTo>
                    <a:pt x="96" y="58"/>
                  </a:lnTo>
                  <a:lnTo>
                    <a:pt x="96" y="58"/>
                  </a:lnTo>
                  <a:lnTo>
                    <a:pt x="98" y="58"/>
                  </a:lnTo>
                  <a:lnTo>
                    <a:pt x="96" y="58"/>
                  </a:lnTo>
                  <a:lnTo>
                    <a:pt x="96" y="56"/>
                  </a:lnTo>
                  <a:lnTo>
                    <a:pt x="98" y="56"/>
                  </a:lnTo>
                  <a:lnTo>
                    <a:pt x="96" y="56"/>
                  </a:lnTo>
                  <a:lnTo>
                    <a:pt x="98" y="56"/>
                  </a:lnTo>
                  <a:lnTo>
                    <a:pt x="98" y="58"/>
                  </a:lnTo>
                  <a:lnTo>
                    <a:pt x="98" y="56"/>
                  </a:lnTo>
                  <a:lnTo>
                    <a:pt x="98" y="58"/>
                  </a:lnTo>
                  <a:lnTo>
                    <a:pt x="98" y="56"/>
                  </a:lnTo>
                  <a:lnTo>
                    <a:pt x="100" y="56"/>
                  </a:lnTo>
                  <a:lnTo>
                    <a:pt x="98" y="56"/>
                  </a:lnTo>
                  <a:lnTo>
                    <a:pt x="100" y="56"/>
                  </a:lnTo>
                  <a:lnTo>
                    <a:pt x="98" y="56"/>
                  </a:lnTo>
                  <a:lnTo>
                    <a:pt x="100" y="56"/>
                  </a:lnTo>
                  <a:lnTo>
                    <a:pt x="102" y="56"/>
                  </a:lnTo>
                  <a:lnTo>
                    <a:pt x="100" y="56"/>
                  </a:lnTo>
                  <a:lnTo>
                    <a:pt x="102" y="56"/>
                  </a:lnTo>
                  <a:lnTo>
                    <a:pt x="100" y="56"/>
                  </a:lnTo>
                  <a:lnTo>
                    <a:pt x="100" y="54"/>
                  </a:lnTo>
                  <a:lnTo>
                    <a:pt x="102" y="54"/>
                  </a:lnTo>
                  <a:lnTo>
                    <a:pt x="102" y="56"/>
                  </a:lnTo>
                  <a:lnTo>
                    <a:pt x="102" y="54"/>
                  </a:lnTo>
                  <a:lnTo>
                    <a:pt x="102" y="56"/>
                  </a:lnTo>
                  <a:lnTo>
                    <a:pt x="102" y="54"/>
                  </a:lnTo>
                  <a:lnTo>
                    <a:pt x="102" y="52"/>
                  </a:lnTo>
                  <a:lnTo>
                    <a:pt x="102" y="54"/>
                  </a:lnTo>
                  <a:lnTo>
                    <a:pt x="104" y="54"/>
                  </a:lnTo>
                  <a:lnTo>
                    <a:pt x="102" y="54"/>
                  </a:lnTo>
                  <a:lnTo>
                    <a:pt x="102" y="52"/>
                  </a:lnTo>
                  <a:lnTo>
                    <a:pt x="102" y="50"/>
                  </a:lnTo>
                  <a:lnTo>
                    <a:pt x="104" y="50"/>
                  </a:lnTo>
                  <a:lnTo>
                    <a:pt x="104" y="52"/>
                  </a:lnTo>
                  <a:lnTo>
                    <a:pt x="104" y="50"/>
                  </a:lnTo>
                  <a:lnTo>
                    <a:pt x="102" y="50"/>
                  </a:lnTo>
                  <a:lnTo>
                    <a:pt x="102" y="48"/>
                  </a:lnTo>
                  <a:lnTo>
                    <a:pt x="102" y="50"/>
                  </a:lnTo>
                  <a:lnTo>
                    <a:pt x="100" y="50"/>
                  </a:lnTo>
                  <a:lnTo>
                    <a:pt x="102" y="50"/>
                  </a:lnTo>
                  <a:lnTo>
                    <a:pt x="102" y="52"/>
                  </a:lnTo>
                  <a:lnTo>
                    <a:pt x="100" y="52"/>
                  </a:lnTo>
                  <a:lnTo>
                    <a:pt x="102" y="52"/>
                  </a:lnTo>
                  <a:lnTo>
                    <a:pt x="100" y="52"/>
                  </a:lnTo>
                  <a:lnTo>
                    <a:pt x="102" y="52"/>
                  </a:lnTo>
                  <a:lnTo>
                    <a:pt x="102" y="54"/>
                  </a:lnTo>
                  <a:lnTo>
                    <a:pt x="100" y="54"/>
                  </a:lnTo>
                  <a:lnTo>
                    <a:pt x="100" y="56"/>
                  </a:lnTo>
                  <a:lnTo>
                    <a:pt x="98" y="56"/>
                  </a:lnTo>
                  <a:lnTo>
                    <a:pt x="98" y="54"/>
                  </a:lnTo>
                  <a:lnTo>
                    <a:pt x="100" y="54"/>
                  </a:lnTo>
                  <a:lnTo>
                    <a:pt x="98" y="54"/>
                  </a:lnTo>
                  <a:lnTo>
                    <a:pt x="98" y="56"/>
                  </a:lnTo>
                  <a:lnTo>
                    <a:pt x="98" y="54"/>
                  </a:lnTo>
                  <a:lnTo>
                    <a:pt x="98" y="56"/>
                  </a:lnTo>
                  <a:lnTo>
                    <a:pt x="96" y="56"/>
                  </a:lnTo>
                  <a:lnTo>
                    <a:pt x="96" y="58"/>
                  </a:lnTo>
                  <a:lnTo>
                    <a:pt x="94" y="58"/>
                  </a:lnTo>
                  <a:lnTo>
                    <a:pt x="96" y="58"/>
                  </a:lnTo>
                  <a:lnTo>
                    <a:pt x="94" y="56"/>
                  </a:lnTo>
                  <a:lnTo>
                    <a:pt x="94" y="58"/>
                  </a:lnTo>
                  <a:lnTo>
                    <a:pt x="94" y="56"/>
                  </a:lnTo>
                  <a:lnTo>
                    <a:pt x="94" y="58"/>
                  </a:lnTo>
                  <a:lnTo>
                    <a:pt x="94" y="56"/>
                  </a:lnTo>
                  <a:lnTo>
                    <a:pt x="96" y="56"/>
                  </a:lnTo>
                  <a:lnTo>
                    <a:pt x="94" y="56"/>
                  </a:lnTo>
                  <a:lnTo>
                    <a:pt x="94" y="54"/>
                  </a:lnTo>
                  <a:lnTo>
                    <a:pt x="92" y="54"/>
                  </a:lnTo>
                  <a:lnTo>
                    <a:pt x="94" y="54"/>
                  </a:lnTo>
                  <a:lnTo>
                    <a:pt x="92" y="54"/>
                  </a:lnTo>
                  <a:lnTo>
                    <a:pt x="94" y="54"/>
                  </a:lnTo>
                  <a:lnTo>
                    <a:pt x="92" y="54"/>
                  </a:lnTo>
                  <a:lnTo>
                    <a:pt x="94" y="54"/>
                  </a:lnTo>
                  <a:lnTo>
                    <a:pt x="92" y="54"/>
                  </a:lnTo>
                  <a:lnTo>
                    <a:pt x="92" y="52"/>
                  </a:lnTo>
                  <a:lnTo>
                    <a:pt x="92" y="54"/>
                  </a:lnTo>
                  <a:lnTo>
                    <a:pt x="90" y="54"/>
                  </a:lnTo>
                  <a:lnTo>
                    <a:pt x="92" y="54"/>
                  </a:lnTo>
                  <a:lnTo>
                    <a:pt x="90" y="54"/>
                  </a:lnTo>
                  <a:lnTo>
                    <a:pt x="92" y="54"/>
                  </a:lnTo>
                  <a:lnTo>
                    <a:pt x="90" y="54"/>
                  </a:lnTo>
                  <a:lnTo>
                    <a:pt x="90" y="52"/>
                  </a:lnTo>
                  <a:lnTo>
                    <a:pt x="90" y="54"/>
                  </a:lnTo>
                  <a:lnTo>
                    <a:pt x="88" y="54"/>
                  </a:lnTo>
                  <a:lnTo>
                    <a:pt x="88" y="56"/>
                  </a:lnTo>
                  <a:lnTo>
                    <a:pt x="88" y="58"/>
                  </a:lnTo>
                  <a:lnTo>
                    <a:pt x="88" y="56"/>
                  </a:lnTo>
                  <a:lnTo>
                    <a:pt x="88" y="58"/>
                  </a:lnTo>
                  <a:lnTo>
                    <a:pt x="90" y="58"/>
                  </a:lnTo>
                  <a:lnTo>
                    <a:pt x="90" y="56"/>
                  </a:lnTo>
                  <a:lnTo>
                    <a:pt x="92" y="56"/>
                  </a:lnTo>
                  <a:lnTo>
                    <a:pt x="90" y="56"/>
                  </a:lnTo>
                  <a:lnTo>
                    <a:pt x="92" y="56"/>
                  </a:lnTo>
                  <a:lnTo>
                    <a:pt x="92" y="58"/>
                  </a:lnTo>
                  <a:lnTo>
                    <a:pt x="92" y="56"/>
                  </a:lnTo>
                  <a:lnTo>
                    <a:pt x="92" y="58"/>
                  </a:lnTo>
                  <a:lnTo>
                    <a:pt x="94" y="58"/>
                  </a:lnTo>
                  <a:lnTo>
                    <a:pt x="92" y="58"/>
                  </a:lnTo>
                  <a:lnTo>
                    <a:pt x="94" y="58"/>
                  </a:lnTo>
                  <a:lnTo>
                    <a:pt x="92" y="58"/>
                  </a:lnTo>
                  <a:lnTo>
                    <a:pt x="92" y="56"/>
                  </a:lnTo>
                  <a:lnTo>
                    <a:pt x="92" y="58"/>
                  </a:lnTo>
                  <a:lnTo>
                    <a:pt x="94" y="58"/>
                  </a:lnTo>
                  <a:lnTo>
                    <a:pt x="92" y="58"/>
                  </a:lnTo>
                  <a:lnTo>
                    <a:pt x="94" y="58"/>
                  </a:lnTo>
                  <a:lnTo>
                    <a:pt x="94" y="58"/>
                  </a:lnTo>
                  <a:lnTo>
                    <a:pt x="94" y="60"/>
                  </a:lnTo>
                  <a:lnTo>
                    <a:pt x="94" y="58"/>
                  </a:lnTo>
                  <a:lnTo>
                    <a:pt x="94" y="60"/>
                  </a:lnTo>
                  <a:lnTo>
                    <a:pt x="96" y="60"/>
                  </a:lnTo>
                  <a:lnTo>
                    <a:pt x="94" y="60"/>
                  </a:lnTo>
                  <a:lnTo>
                    <a:pt x="92" y="60"/>
                  </a:lnTo>
                  <a:lnTo>
                    <a:pt x="94" y="60"/>
                  </a:lnTo>
                  <a:lnTo>
                    <a:pt x="96" y="62"/>
                  </a:lnTo>
                  <a:lnTo>
                    <a:pt x="94" y="62"/>
                  </a:lnTo>
                  <a:lnTo>
                    <a:pt x="94" y="60"/>
                  </a:lnTo>
                  <a:lnTo>
                    <a:pt x="92" y="60"/>
                  </a:lnTo>
                  <a:lnTo>
                    <a:pt x="90" y="58"/>
                  </a:lnTo>
                  <a:lnTo>
                    <a:pt x="88" y="58"/>
                  </a:lnTo>
                  <a:lnTo>
                    <a:pt x="86" y="58"/>
                  </a:lnTo>
                  <a:lnTo>
                    <a:pt x="84" y="58"/>
                  </a:lnTo>
                  <a:lnTo>
                    <a:pt x="82" y="58"/>
                  </a:lnTo>
                  <a:lnTo>
                    <a:pt x="82" y="56"/>
                  </a:lnTo>
                  <a:lnTo>
                    <a:pt x="80" y="56"/>
                  </a:lnTo>
                  <a:lnTo>
                    <a:pt x="80" y="56"/>
                  </a:lnTo>
                  <a:lnTo>
                    <a:pt x="78" y="56"/>
                  </a:lnTo>
                  <a:lnTo>
                    <a:pt x="78" y="54"/>
                  </a:lnTo>
                  <a:lnTo>
                    <a:pt x="76" y="54"/>
                  </a:lnTo>
                  <a:lnTo>
                    <a:pt x="74" y="54"/>
                  </a:lnTo>
                  <a:lnTo>
                    <a:pt x="72" y="54"/>
                  </a:lnTo>
                  <a:lnTo>
                    <a:pt x="70" y="54"/>
                  </a:lnTo>
                  <a:lnTo>
                    <a:pt x="70" y="52"/>
                  </a:lnTo>
                  <a:lnTo>
                    <a:pt x="68" y="52"/>
                  </a:lnTo>
                  <a:lnTo>
                    <a:pt x="66" y="52"/>
                  </a:lnTo>
                  <a:lnTo>
                    <a:pt x="64" y="52"/>
                  </a:lnTo>
                  <a:lnTo>
                    <a:pt x="62" y="52"/>
                  </a:lnTo>
                  <a:lnTo>
                    <a:pt x="60" y="52"/>
                  </a:lnTo>
                  <a:lnTo>
                    <a:pt x="58" y="52"/>
                  </a:lnTo>
                  <a:lnTo>
                    <a:pt x="56" y="52"/>
                  </a:lnTo>
                  <a:lnTo>
                    <a:pt x="58" y="52"/>
                  </a:lnTo>
                  <a:lnTo>
                    <a:pt x="56" y="52"/>
                  </a:lnTo>
                  <a:lnTo>
                    <a:pt x="56" y="50"/>
                  </a:lnTo>
                  <a:lnTo>
                    <a:pt x="58" y="50"/>
                  </a:lnTo>
                  <a:lnTo>
                    <a:pt x="60" y="50"/>
                  </a:lnTo>
                  <a:lnTo>
                    <a:pt x="58" y="50"/>
                  </a:lnTo>
                  <a:lnTo>
                    <a:pt x="60" y="50"/>
                  </a:lnTo>
                  <a:lnTo>
                    <a:pt x="60" y="52"/>
                  </a:lnTo>
                  <a:lnTo>
                    <a:pt x="60" y="50"/>
                  </a:lnTo>
                  <a:lnTo>
                    <a:pt x="62" y="50"/>
                  </a:lnTo>
                  <a:lnTo>
                    <a:pt x="60" y="50"/>
                  </a:lnTo>
                  <a:lnTo>
                    <a:pt x="62" y="50"/>
                  </a:lnTo>
                  <a:lnTo>
                    <a:pt x="62" y="52"/>
                  </a:lnTo>
                  <a:lnTo>
                    <a:pt x="64" y="52"/>
                  </a:lnTo>
                  <a:lnTo>
                    <a:pt x="66" y="52"/>
                  </a:lnTo>
                  <a:lnTo>
                    <a:pt x="66" y="50"/>
                  </a:lnTo>
                  <a:lnTo>
                    <a:pt x="66" y="48"/>
                  </a:lnTo>
                  <a:lnTo>
                    <a:pt x="66" y="50"/>
                  </a:lnTo>
                  <a:lnTo>
                    <a:pt x="68" y="50"/>
                  </a:lnTo>
                  <a:lnTo>
                    <a:pt x="70" y="50"/>
                  </a:lnTo>
                  <a:lnTo>
                    <a:pt x="68" y="50"/>
                  </a:lnTo>
                  <a:lnTo>
                    <a:pt x="70" y="50"/>
                  </a:lnTo>
                  <a:lnTo>
                    <a:pt x="68" y="50"/>
                  </a:lnTo>
                  <a:lnTo>
                    <a:pt x="68" y="48"/>
                  </a:lnTo>
                  <a:lnTo>
                    <a:pt x="70" y="48"/>
                  </a:lnTo>
                  <a:lnTo>
                    <a:pt x="70" y="50"/>
                  </a:lnTo>
                  <a:lnTo>
                    <a:pt x="72" y="50"/>
                  </a:lnTo>
                  <a:lnTo>
                    <a:pt x="74" y="50"/>
                  </a:lnTo>
                  <a:lnTo>
                    <a:pt x="74" y="52"/>
                  </a:lnTo>
                  <a:lnTo>
                    <a:pt x="74" y="50"/>
                  </a:lnTo>
                  <a:lnTo>
                    <a:pt x="74" y="52"/>
                  </a:lnTo>
                  <a:lnTo>
                    <a:pt x="74" y="50"/>
                  </a:lnTo>
                  <a:lnTo>
                    <a:pt x="76" y="50"/>
                  </a:lnTo>
                  <a:lnTo>
                    <a:pt x="76" y="52"/>
                  </a:lnTo>
                  <a:lnTo>
                    <a:pt x="76" y="50"/>
                  </a:lnTo>
                  <a:lnTo>
                    <a:pt x="76" y="52"/>
                  </a:lnTo>
                  <a:lnTo>
                    <a:pt x="76" y="50"/>
                  </a:lnTo>
                  <a:lnTo>
                    <a:pt x="78" y="50"/>
                  </a:lnTo>
                  <a:lnTo>
                    <a:pt x="78" y="52"/>
                  </a:lnTo>
                  <a:lnTo>
                    <a:pt x="80" y="52"/>
                  </a:lnTo>
                  <a:lnTo>
                    <a:pt x="80" y="52"/>
                  </a:lnTo>
                  <a:lnTo>
                    <a:pt x="80" y="54"/>
                  </a:lnTo>
                  <a:lnTo>
                    <a:pt x="80" y="52"/>
                  </a:lnTo>
                  <a:lnTo>
                    <a:pt x="80" y="52"/>
                  </a:lnTo>
                  <a:lnTo>
                    <a:pt x="78" y="52"/>
                  </a:lnTo>
                  <a:lnTo>
                    <a:pt x="76" y="50"/>
                  </a:lnTo>
                  <a:lnTo>
                    <a:pt x="78" y="50"/>
                  </a:lnTo>
                  <a:lnTo>
                    <a:pt x="80" y="50"/>
                  </a:lnTo>
                  <a:lnTo>
                    <a:pt x="80" y="48"/>
                  </a:lnTo>
                  <a:lnTo>
                    <a:pt x="80" y="50"/>
                  </a:lnTo>
                  <a:lnTo>
                    <a:pt x="80" y="48"/>
                  </a:lnTo>
                  <a:lnTo>
                    <a:pt x="80" y="50"/>
                  </a:lnTo>
                  <a:lnTo>
                    <a:pt x="80" y="50"/>
                  </a:lnTo>
                  <a:lnTo>
                    <a:pt x="80" y="48"/>
                  </a:lnTo>
                  <a:lnTo>
                    <a:pt x="80" y="50"/>
                  </a:lnTo>
                  <a:lnTo>
                    <a:pt x="80" y="50"/>
                  </a:lnTo>
                  <a:lnTo>
                    <a:pt x="80" y="48"/>
                  </a:lnTo>
                  <a:lnTo>
                    <a:pt x="80" y="50"/>
                  </a:lnTo>
                  <a:lnTo>
                    <a:pt x="80" y="48"/>
                  </a:lnTo>
                  <a:lnTo>
                    <a:pt x="80" y="50"/>
                  </a:lnTo>
                  <a:lnTo>
                    <a:pt x="78" y="50"/>
                  </a:lnTo>
                  <a:lnTo>
                    <a:pt x="78" y="48"/>
                  </a:lnTo>
                  <a:lnTo>
                    <a:pt x="78" y="50"/>
                  </a:lnTo>
                  <a:lnTo>
                    <a:pt x="78" y="48"/>
                  </a:lnTo>
                  <a:lnTo>
                    <a:pt x="76" y="48"/>
                  </a:lnTo>
                  <a:lnTo>
                    <a:pt x="76" y="50"/>
                  </a:lnTo>
                  <a:lnTo>
                    <a:pt x="76" y="48"/>
                  </a:lnTo>
                  <a:lnTo>
                    <a:pt x="78" y="48"/>
                  </a:lnTo>
                  <a:lnTo>
                    <a:pt x="76" y="48"/>
                  </a:lnTo>
                  <a:lnTo>
                    <a:pt x="78" y="48"/>
                  </a:lnTo>
                  <a:lnTo>
                    <a:pt x="76" y="48"/>
                  </a:lnTo>
                  <a:lnTo>
                    <a:pt x="74" y="48"/>
                  </a:lnTo>
                  <a:lnTo>
                    <a:pt x="76" y="48"/>
                  </a:lnTo>
                  <a:lnTo>
                    <a:pt x="74" y="48"/>
                  </a:lnTo>
                  <a:lnTo>
                    <a:pt x="74" y="46"/>
                  </a:lnTo>
                  <a:lnTo>
                    <a:pt x="76" y="46"/>
                  </a:lnTo>
                  <a:lnTo>
                    <a:pt x="74" y="46"/>
                  </a:lnTo>
                  <a:lnTo>
                    <a:pt x="76" y="46"/>
                  </a:lnTo>
                  <a:lnTo>
                    <a:pt x="74" y="46"/>
                  </a:lnTo>
                  <a:lnTo>
                    <a:pt x="74" y="44"/>
                  </a:lnTo>
                  <a:lnTo>
                    <a:pt x="74" y="46"/>
                  </a:lnTo>
                  <a:lnTo>
                    <a:pt x="72" y="46"/>
                  </a:lnTo>
                  <a:lnTo>
                    <a:pt x="72" y="44"/>
                  </a:lnTo>
                  <a:lnTo>
                    <a:pt x="72" y="46"/>
                  </a:lnTo>
                  <a:lnTo>
                    <a:pt x="72" y="44"/>
                  </a:lnTo>
                  <a:lnTo>
                    <a:pt x="72" y="46"/>
                  </a:lnTo>
                  <a:lnTo>
                    <a:pt x="72" y="44"/>
                  </a:lnTo>
                  <a:lnTo>
                    <a:pt x="70" y="44"/>
                  </a:lnTo>
                  <a:lnTo>
                    <a:pt x="70" y="46"/>
                  </a:lnTo>
                  <a:lnTo>
                    <a:pt x="68" y="46"/>
                  </a:lnTo>
                  <a:lnTo>
                    <a:pt x="68" y="44"/>
                  </a:lnTo>
                  <a:lnTo>
                    <a:pt x="68" y="46"/>
                  </a:lnTo>
                  <a:lnTo>
                    <a:pt x="66" y="46"/>
                  </a:lnTo>
                  <a:lnTo>
                    <a:pt x="64" y="46"/>
                  </a:lnTo>
                  <a:lnTo>
                    <a:pt x="62" y="46"/>
                  </a:lnTo>
                  <a:lnTo>
                    <a:pt x="62" y="48"/>
                  </a:lnTo>
                  <a:lnTo>
                    <a:pt x="62" y="46"/>
                  </a:lnTo>
                  <a:lnTo>
                    <a:pt x="62" y="48"/>
                  </a:lnTo>
                  <a:lnTo>
                    <a:pt x="60" y="48"/>
                  </a:lnTo>
                  <a:lnTo>
                    <a:pt x="62" y="48"/>
                  </a:lnTo>
                  <a:lnTo>
                    <a:pt x="60" y="48"/>
                  </a:lnTo>
                  <a:lnTo>
                    <a:pt x="60" y="46"/>
                  </a:lnTo>
                  <a:lnTo>
                    <a:pt x="58" y="46"/>
                  </a:lnTo>
                  <a:lnTo>
                    <a:pt x="60" y="46"/>
                  </a:lnTo>
                  <a:lnTo>
                    <a:pt x="58" y="46"/>
                  </a:lnTo>
                  <a:lnTo>
                    <a:pt x="60" y="46"/>
                  </a:lnTo>
                  <a:lnTo>
                    <a:pt x="60" y="44"/>
                  </a:lnTo>
                  <a:lnTo>
                    <a:pt x="58" y="44"/>
                  </a:lnTo>
                  <a:lnTo>
                    <a:pt x="60" y="44"/>
                  </a:lnTo>
                  <a:lnTo>
                    <a:pt x="58" y="44"/>
                  </a:lnTo>
                  <a:lnTo>
                    <a:pt x="58" y="46"/>
                  </a:lnTo>
                  <a:lnTo>
                    <a:pt x="58" y="44"/>
                  </a:lnTo>
                  <a:lnTo>
                    <a:pt x="56" y="44"/>
                  </a:lnTo>
                  <a:lnTo>
                    <a:pt x="58" y="44"/>
                  </a:lnTo>
                  <a:lnTo>
                    <a:pt x="56" y="46"/>
                  </a:lnTo>
                  <a:lnTo>
                    <a:pt x="58" y="46"/>
                  </a:lnTo>
                  <a:lnTo>
                    <a:pt x="58" y="48"/>
                  </a:lnTo>
                  <a:lnTo>
                    <a:pt x="56" y="48"/>
                  </a:lnTo>
                  <a:lnTo>
                    <a:pt x="54" y="48"/>
                  </a:lnTo>
                  <a:lnTo>
                    <a:pt x="56" y="48"/>
                  </a:lnTo>
                  <a:lnTo>
                    <a:pt x="54" y="48"/>
                  </a:lnTo>
                  <a:lnTo>
                    <a:pt x="54" y="50"/>
                  </a:lnTo>
                  <a:lnTo>
                    <a:pt x="52" y="50"/>
                  </a:lnTo>
                  <a:lnTo>
                    <a:pt x="52" y="48"/>
                  </a:lnTo>
                  <a:lnTo>
                    <a:pt x="52" y="46"/>
                  </a:lnTo>
                  <a:lnTo>
                    <a:pt x="52" y="48"/>
                  </a:lnTo>
                  <a:lnTo>
                    <a:pt x="50" y="48"/>
                  </a:lnTo>
                  <a:lnTo>
                    <a:pt x="52" y="48"/>
                  </a:lnTo>
                  <a:lnTo>
                    <a:pt x="50" y="48"/>
                  </a:lnTo>
                  <a:lnTo>
                    <a:pt x="52" y="48"/>
                  </a:lnTo>
                  <a:lnTo>
                    <a:pt x="52" y="50"/>
                  </a:lnTo>
                  <a:lnTo>
                    <a:pt x="50" y="50"/>
                  </a:lnTo>
                  <a:lnTo>
                    <a:pt x="52" y="50"/>
                  </a:lnTo>
                  <a:lnTo>
                    <a:pt x="50" y="50"/>
                  </a:lnTo>
                  <a:lnTo>
                    <a:pt x="52" y="50"/>
                  </a:lnTo>
                  <a:lnTo>
                    <a:pt x="52" y="52"/>
                  </a:lnTo>
                  <a:lnTo>
                    <a:pt x="50" y="52"/>
                  </a:lnTo>
                  <a:lnTo>
                    <a:pt x="48" y="52"/>
                  </a:lnTo>
                  <a:lnTo>
                    <a:pt x="46" y="52"/>
                  </a:lnTo>
                  <a:lnTo>
                    <a:pt x="44" y="52"/>
                  </a:lnTo>
                  <a:lnTo>
                    <a:pt x="42" y="52"/>
                  </a:lnTo>
                  <a:lnTo>
                    <a:pt x="40" y="52"/>
                  </a:lnTo>
                  <a:lnTo>
                    <a:pt x="38" y="52"/>
                  </a:lnTo>
                  <a:lnTo>
                    <a:pt x="36" y="52"/>
                  </a:lnTo>
                  <a:lnTo>
                    <a:pt x="36" y="54"/>
                  </a:lnTo>
                  <a:lnTo>
                    <a:pt x="34" y="54"/>
                  </a:lnTo>
                  <a:lnTo>
                    <a:pt x="32" y="54"/>
                  </a:lnTo>
                  <a:lnTo>
                    <a:pt x="32" y="54"/>
                  </a:lnTo>
                  <a:lnTo>
                    <a:pt x="30" y="54"/>
                  </a:lnTo>
                  <a:lnTo>
                    <a:pt x="28" y="56"/>
                  </a:lnTo>
                  <a:lnTo>
                    <a:pt x="28" y="54"/>
                  </a:lnTo>
                  <a:lnTo>
                    <a:pt x="28" y="56"/>
                  </a:lnTo>
                  <a:lnTo>
                    <a:pt x="26" y="56"/>
                  </a:lnTo>
                  <a:lnTo>
                    <a:pt x="24" y="56"/>
                  </a:lnTo>
                  <a:lnTo>
                    <a:pt x="24" y="58"/>
                  </a:lnTo>
                  <a:lnTo>
                    <a:pt x="24" y="56"/>
                  </a:lnTo>
                  <a:lnTo>
                    <a:pt x="26" y="56"/>
                  </a:lnTo>
                  <a:lnTo>
                    <a:pt x="26" y="54"/>
                  </a:lnTo>
                  <a:lnTo>
                    <a:pt x="28" y="54"/>
                  </a:lnTo>
                  <a:lnTo>
                    <a:pt x="30" y="54"/>
                  </a:lnTo>
                  <a:lnTo>
                    <a:pt x="32" y="54"/>
                  </a:lnTo>
                  <a:lnTo>
                    <a:pt x="32" y="52"/>
                  </a:lnTo>
                  <a:lnTo>
                    <a:pt x="32" y="52"/>
                  </a:lnTo>
                  <a:lnTo>
                    <a:pt x="34" y="52"/>
                  </a:lnTo>
                  <a:lnTo>
                    <a:pt x="34" y="50"/>
                  </a:lnTo>
                  <a:lnTo>
                    <a:pt x="36" y="50"/>
                  </a:lnTo>
                  <a:lnTo>
                    <a:pt x="38" y="50"/>
                  </a:lnTo>
                  <a:lnTo>
                    <a:pt x="36" y="50"/>
                  </a:lnTo>
                  <a:lnTo>
                    <a:pt x="38" y="50"/>
                  </a:lnTo>
                  <a:lnTo>
                    <a:pt x="36" y="50"/>
                  </a:lnTo>
                  <a:lnTo>
                    <a:pt x="34" y="50"/>
                  </a:lnTo>
                  <a:lnTo>
                    <a:pt x="34" y="48"/>
                  </a:lnTo>
                  <a:lnTo>
                    <a:pt x="32" y="48"/>
                  </a:lnTo>
                  <a:lnTo>
                    <a:pt x="32" y="48"/>
                  </a:lnTo>
                  <a:lnTo>
                    <a:pt x="32" y="46"/>
                  </a:lnTo>
                  <a:lnTo>
                    <a:pt x="32" y="48"/>
                  </a:lnTo>
                  <a:lnTo>
                    <a:pt x="32" y="48"/>
                  </a:lnTo>
                  <a:lnTo>
                    <a:pt x="32" y="46"/>
                  </a:lnTo>
                  <a:lnTo>
                    <a:pt x="32" y="46"/>
                  </a:lnTo>
                  <a:lnTo>
                    <a:pt x="32" y="46"/>
                  </a:lnTo>
                  <a:lnTo>
                    <a:pt x="32" y="46"/>
                  </a:lnTo>
                  <a:lnTo>
                    <a:pt x="32" y="44"/>
                  </a:lnTo>
                  <a:lnTo>
                    <a:pt x="32" y="46"/>
                  </a:lnTo>
                  <a:lnTo>
                    <a:pt x="32" y="44"/>
                  </a:lnTo>
                  <a:lnTo>
                    <a:pt x="32" y="44"/>
                  </a:lnTo>
                  <a:lnTo>
                    <a:pt x="32" y="46"/>
                  </a:lnTo>
                  <a:lnTo>
                    <a:pt x="32" y="44"/>
                  </a:lnTo>
                  <a:lnTo>
                    <a:pt x="32" y="44"/>
                  </a:lnTo>
                  <a:lnTo>
                    <a:pt x="32" y="44"/>
                  </a:lnTo>
                  <a:lnTo>
                    <a:pt x="32" y="44"/>
                  </a:lnTo>
                  <a:lnTo>
                    <a:pt x="32" y="44"/>
                  </a:lnTo>
                  <a:lnTo>
                    <a:pt x="32" y="44"/>
                  </a:lnTo>
                  <a:lnTo>
                    <a:pt x="32" y="42"/>
                  </a:lnTo>
                  <a:lnTo>
                    <a:pt x="32" y="42"/>
                  </a:lnTo>
                  <a:lnTo>
                    <a:pt x="32" y="42"/>
                  </a:lnTo>
                  <a:lnTo>
                    <a:pt x="32" y="42"/>
                  </a:lnTo>
                  <a:lnTo>
                    <a:pt x="32" y="40"/>
                  </a:lnTo>
                  <a:lnTo>
                    <a:pt x="30" y="40"/>
                  </a:lnTo>
                  <a:lnTo>
                    <a:pt x="32" y="40"/>
                  </a:lnTo>
                  <a:lnTo>
                    <a:pt x="32" y="38"/>
                  </a:lnTo>
                  <a:lnTo>
                    <a:pt x="32" y="40"/>
                  </a:lnTo>
                  <a:lnTo>
                    <a:pt x="32" y="38"/>
                  </a:lnTo>
                  <a:lnTo>
                    <a:pt x="32" y="38"/>
                  </a:lnTo>
                  <a:lnTo>
                    <a:pt x="32" y="38"/>
                  </a:lnTo>
                  <a:lnTo>
                    <a:pt x="32" y="40"/>
                  </a:lnTo>
                  <a:lnTo>
                    <a:pt x="30" y="40"/>
                  </a:lnTo>
                  <a:lnTo>
                    <a:pt x="30" y="42"/>
                  </a:lnTo>
                  <a:lnTo>
                    <a:pt x="32" y="42"/>
                  </a:lnTo>
                  <a:lnTo>
                    <a:pt x="30" y="42"/>
                  </a:lnTo>
                  <a:lnTo>
                    <a:pt x="32" y="42"/>
                  </a:lnTo>
                  <a:lnTo>
                    <a:pt x="32" y="44"/>
                  </a:lnTo>
                  <a:lnTo>
                    <a:pt x="32" y="46"/>
                  </a:lnTo>
                  <a:lnTo>
                    <a:pt x="30" y="46"/>
                  </a:lnTo>
                  <a:lnTo>
                    <a:pt x="32" y="46"/>
                  </a:lnTo>
                  <a:lnTo>
                    <a:pt x="30" y="46"/>
                  </a:lnTo>
                  <a:lnTo>
                    <a:pt x="30" y="48"/>
                  </a:lnTo>
                  <a:lnTo>
                    <a:pt x="30" y="50"/>
                  </a:lnTo>
                  <a:lnTo>
                    <a:pt x="28" y="50"/>
                  </a:lnTo>
                  <a:lnTo>
                    <a:pt x="28" y="52"/>
                  </a:lnTo>
                  <a:lnTo>
                    <a:pt x="28" y="50"/>
                  </a:lnTo>
                  <a:lnTo>
                    <a:pt x="28" y="48"/>
                  </a:lnTo>
                  <a:lnTo>
                    <a:pt x="28" y="46"/>
                  </a:lnTo>
                  <a:lnTo>
                    <a:pt x="28" y="48"/>
                  </a:lnTo>
                  <a:lnTo>
                    <a:pt x="28" y="46"/>
                  </a:lnTo>
                  <a:lnTo>
                    <a:pt x="28" y="48"/>
                  </a:lnTo>
                  <a:lnTo>
                    <a:pt x="28" y="46"/>
                  </a:lnTo>
                  <a:lnTo>
                    <a:pt x="30" y="46"/>
                  </a:lnTo>
                  <a:lnTo>
                    <a:pt x="28" y="46"/>
                  </a:lnTo>
                  <a:lnTo>
                    <a:pt x="26" y="46"/>
                  </a:lnTo>
                  <a:lnTo>
                    <a:pt x="28" y="46"/>
                  </a:lnTo>
                  <a:lnTo>
                    <a:pt x="26" y="46"/>
                  </a:lnTo>
                  <a:lnTo>
                    <a:pt x="28" y="46"/>
                  </a:lnTo>
                  <a:lnTo>
                    <a:pt x="28" y="44"/>
                  </a:lnTo>
                  <a:lnTo>
                    <a:pt x="26" y="44"/>
                  </a:lnTo>
                  <a:lnTo>
                    <a:pt x="26" y="46"/>
                  </a:lnTo>
                  <a:lnTo>
                    <a:pt x="26" y="44"/>
                  </a:lnTo>
                  <a:lnTo>
                    <a:pt x="26" y="46"/>
                  </a:lnTo>
                  <a:lnTo>
                    <a:pt x="26" y="44"/>
                  </a:lnTo>
                  <a:lnTo>
                    <a:pt x="24" y="44"/>
                  </a:lnTo>
                  <a:lnTo>
                    <a:pt x="24" y="42"/>
                  </a:lnTo>
                  <a:lnTo>
                    <a:pt x="22" y="42"/>
                  </a:lnTo>
                  <a:lnTo>
                    <a:pt x="24" y="42"/>
                  </a:lnTo>
                  <a:lnTo>
                    <a:pt x="24" y="44"/>
                  </a:lnTo>
                  <a:lnTo>
                    <a:pt x="22" y="44"/>
                  </a:lnTo>
                  <a:lnTo>
                    <a:pt x="22" y="42"/>
                  </a:lnTo>
                  <a:lnTo>
                    <a:pt x="22" y="44"/>
                  </a:lnTo>
                  <a:lnTo>
                    <a:pt x="22" y="42"/>
                  </a:lnTo>
                  <a:lnTo>
                    <a:pt x="22" y="44"/>
                  </a:lnTo>
                  <a:lnTo>
                    <a:pt x="24" y="44"/>
                  </a:lnTo>
                  <a:lnTo>
                    <a:pt x="22" y="44"/>
                  </a:lnTo>
                  <a:lnTo>
                    <a:pt x="24" y="44"/>
                  </a:lnTo>
                  <a:lnTo>
                    <a:pt x="22" y="44"/>
                  </a:lnTo>
                  <a:lnTo>
                    <a:pt x="22" y="42"/>
                  </a:lnTo>
                  <a:lnTo>
                    <a:pt x="22" y="44"/>
                  </a:lnTo>
                  <a:lnTo>
                    <a:pt x="22" y="42"/>
                  </a:lnTo>
                  <a:lnTo>
                    <a:pt x="20" y="42"/>
                  </a:lnTo>
                  <a:lnTo>
                    <a:pt x="22" y="42"/>
                  </a:lnTo>
                  <a:lnTo>
                    <a:pt x="22" y="44"/>
                  </a:lnTo>
                  <a:lnTo>
                    <a:pt x="20" y="44"/>
                  </a:lnTo>
                  <a:lnTo>
                    <a:pt x="20" y="42"/>
                  </a:lnTo>
                  <a:lnTo>
                    <a:pt x="20" y="44"/>
                  </a:lnTo>
                  <a:lnTo>
                    <a:pt x="22" y="44"/>
                  </a:lnTo>
                  <a:lnTo>
                    <a:pt x="20" y="44"/>
                  </a:lnTo>
                  <a:lnTo>
                    <a:pt x="22" y="44"/>
                  </a:lnTo>
                  <a:lnTo>
                    <a:pt x="20" y="44"/>
                  </a:lnTo>
                  <a:lnTo>
                    <a:pt x="22" y="44"/>
                  </a:lnTo>
                  <a:lnTo>
                    <a:pt x="20" y="44"/>
                  </a:lnTo>
                  <a:lnTo>
                    <a:pt x="22" y="44"/>
                  </a:lnTo>
                  <a:lnTo>
                    <a:pt x="22" y="46"/>
                  </a:lnTo>
                  <a:lnTo>
                    <a:pt x="22" y="44"/>
                  </a:lnTo>
                  <a:lnTo>
                    <a:pt x="22" y="46"/>
                  </a:lnTo>
                  <a:lnTo>
                    <a:pt x="24" y="46"/>
                  </a:lnTo>
                  <a:lnTo>
                    <a:pt x="24" y="48"/>
                  </a:lnTo>
                  <a:lnTo>
                    <a:pt x="26" y="48"/>
                  </a:lnTo>
                  <a:lnTo>
                    <a:pt x="26" y="50"/>
                  </a:lnTo>
                  <a:lnTo>
                    <a:pt x="24" y="50"/>
                  </a:lnTo>
                  <a:lnTo>
                    <a:pt x="26" y="50"/>
                  </a:lnTo>
                  <a:lnTo>
                    <a:pt x="24" y="50"/>
                  </a:lnTo>
                  <a:lnTo>
                    <a:pt x="24" y="52"/>
                  </a:lnTo>
                  <a:lnTo>
                    <a:pt x="24" y="50"/>
                  </a:lnTo>
                  <a:lnTo>
                    <a:pt x="22" y="50"/>
                  </a:lnTo>
                  <a:lnTo>
                    <a:pt x="24" y="50"/>
                  </a:lnTo>
                  <a:lnTo>
                    <a:pt x="24" y="52"/>
                  </a:lnTo>
                  <a:lnTo>
                    <a:pt x="24" y="54"/>
                  </a:lnTo>
                  <a:lnTo>
                    <a:pt x="24" y="52"/>
                  </a:lnTo>
                  <a:lnTo>
                    <a:pt x="24" y="54"/>
                  </a:lnTo>
                  <a:lnTo>
                    <a:pt x="22" y="54"/>
                  </a:lnTo>
                  <a:lnTo>
                    <a:pt x="24" y="54"/>
                  </a:lnTo>
                  <a:lnTo>
                    <a:pt x="22" y="54"/>
                  </a:lnTo>
                  <a:lnTo>
                    <a:pt x="20" y="54"/>
                  </a:lnTo>
                  <a:lnTo>
                    <a:pt x="20" y="56"/>
                  </a:lnTo>
                  <a:lnTo>
                    <a:pt x="18" y="56"/>
                  </a:lnTo>
                  <a:lnTo>
                    <a:pt x="20" y="56"/>
                  </a:lnTo>
                  <a:lnTo>
                    <a:pt x="18" y="56"/>
                  </a:lnTo>
                  <a:lnTo>
                    <a:pt x="16" y="56"/>
                  </a:lnTo>
                  <a:lnTo>
                    <a:pt x="18" y="56"/>
                  </a:lnTo>
                  <a:lnTo>
                    <a:pt x="16" y="56"/>
                  </a:lnTo>
                  <a:lnTo>
                    <a:pt x="18" y="56"/>
                  </a:lnTo>
                  <a:lnTo>
                    <a:pt x="20" y="56"/>
                  </a:lnTo>
                  <a:lnTo>
                    <a:pt x="20" y="58"/>
                  </a:lnTo>
                  <a:lnTo>
                    <a:pt x="18" y="58"/>
                  </a:lnTo>
                  <a:lnTo>
                    <a:pt x="16" y="58"/>
                  </a:lnTo>
                  <a:lnTo>
                    <a:pt x="14" y="58"/>
                  </a:lnTo>
                  <a:lnTo>
                    <a:pt x="14" y="58"/>
                  </a:lnTo>
                  <a:lnTo>
                    <a:pt x="12" y="58"/>
                  </a:lnTo>
                  <a:lnTo>
                    <a:pt x="10" y="58"/>
                  </a:lnTo>
                  <a:lnTo>
                    <a:pt x="8" y="58"/>
                  </a:lnTo>
                  <a:lnTo>
                    <a:pt x="10" y="58"/>
                  </a:lnTo>
                  <a:lnTo>
                    <a:pt x="12" y="58"/>
                  </a:lnTo>
                  <a:lnTo>
                    <a:pt x="12" y="58"/>
                  </a:lnTo>
                  <a:lnTo>
                    <a:pt x="12" y="56"/>
                  </a:lnTo>
                  <a:lnTo>
                    <a:pt x="12" y="54"/>
                  </a:lnTo>
                  <a:lnTo>
                    <a:pt x="14" y="54"/>
                  </a:lnTo>
                  <a:lnTo>
                    <a:pt x="16" y="54"/>
                  </a:lnTo>
                  <a:lnTo>
                    <a:pt x="16" y="52"/>
                  </a:lnTo>
                  <a:lnTo>
                    <a:pt x="14" y="52"/>
                  </a:lnTo>
                  <a:lnTo>
                    <a:pt x="12" y="52"/>
                  </a:lnTo>
                  <a:lnTo>
                    <a:pt x="12" y="50"/>
                  </a:lnTo>
                  <a:lnTo>
                    <a:pt x="12" y="52"/>
                  </a:lnTo>
                  <a:lnTo>
                    <a:pt x="12" y="50"/>
                  </a:lnTo>
                  <a:lnTo>
                    <a:pt x="12" y="48"/>
                  </a:lnTo>
                  <a:lnTo>
                    <a:pt x="10" y="48"/>
                  </a:lnTo>
                  <a:lnTo>
                    <a:pt x="10" y="46"/>
                  </a:lnTo>
                  <a:lnTo>
                    <a:pt x="12" y="46"/>
                  </a:lnTo>
                  <a:lnTo>
                    <a:pt x="12" y="44"/>
                  </a:lnTo>
                  <a:lnTo>
                    <a:pt x="12" y="42"/>
                  </a:lnTo>
                  <a:lnTo>
                    <a:pt x="12" y="40"/>
                  </a:lnTo>
                  <a:lnTo>
                    <a:pt x="12" y="38"/>
                  </a:lnTo>
                  <a:lnTo>
                    <a:pt x="10" y="38"/>
                  </a:lnTo>
                  <a:lnTo>
                    <a:pt x="8" y="38"/>
                  </a:lnTo>
                  <a:lnTo>
                    <a:pt x="8" y="36"/>
                  </a:lnTo>
                  <a:lnTo>
                    <a:pt x="6" y="36"/>
                  </a:lnTo>
                  <a:lnTo>
                    <a:pt x="6" y="34"/>
                  </a:lnTo>
                  <a:lnTo>
                    <a:pt x="4" y="34"/>
                  </a:lnTo>
                  <a:lnTo>
                    <a:pt x="4" y="32"/>
                  </a:lnTo>
                  <a:lnTo>
                    <a:pt x="2" y="32"/>
                  </a:lnTo>
                  <a:lnTo>
                    <a:pt x="2" y="30"/>
                  </a:lnTo>
                  <a:lnTo>
                    <a:pt x="0" y="30"/>
                  </a:lnTo>
                  <a:lnTo>
                    <a:pt x="0" y="28"/>
                  </a:lnTo>
                  <a:lnTo>
                    <a:pt x="0" y="26"/>
                  </a:lnTo>
                  <a:lnTo>
                    <a:pt x="0" y="24"/>
                  </a:lnTo>
                  <a:lnTo>
                    <a:pt x="2" y="24"/>
                  </a:lnTo>
                  <a:lnTo>
                    <a:pt x="2" y="22"/>
                  </a:lnTo>
                  <a:lnTo>
                    <a:pt x="2" y="20"/>
                  </a:lnTo>
                  <a:lnTo>
                    <a:pt x="0" y="20"/>
                  </a:lnTo>
                  <a:lnTo>
                    <a:pt x="2" y="20"/>
                  </a:lnTo>
                  <a:lnTo>
                    <a:pt x="4" y="20"/>
                  </a:lnTo>
                  <a:lnTo>
                    <a:pt x="6" y="20"/>
                  </a:lnTo>
                  <a:lnTo>
                    <a:pt x="8" y="20"/>
                  </a:lnTo>
                  <a:lnTo>
                    <a:pt x="10" y="20"/>
                  </a:lnTo>
                  <a:lnTo>
                    <a:pt x="12" y="20"/>
                  </a:lnTo>
                  <a:lnTo>
                    <a:pt x="14" y="20"/>
                  </a:lnTo>
                  <a:lnTo>
                    <a:pt x="16" y="20"/>
                  </a:lnTo>
                  <a:lnTo>
                    <a:pt x="18" y="20"/>
                  </a:lnTo>
                  <a:lnTo>
                    <a:pt x="20" y="20"/>
                  </a:lnTo>
                  <a:lnTo>
                    <a:pt x="22" y="20"/>
                  </a:lnTo>
                  <a:lnTo>
                    <a:pt x="22" y="18"/>
                  </a:lnTo>
                  <a:lnTo>
                    <a:pt x="24" y="18"/>
                  </a:lnTo>
                  <a:lnTo>
                    <a:pt x="26" y="18"/>
                  </a:lnTo>
                  <a:lnTo>
                    <a:pt x="28" y="18"/>
                  </a:lnTo>
                  <a:lnTo>
                    <a:pt x="30" y="18"/>
                  </a:lnTo>
                  <a:lnTo>
                    <a:pt x="32" y="18"/>
                  </a:lnTo>
                  <a:lnTo>
                    <a:pt x="32" y="18"/>
                  </a:lnTo>
                  <a:lnTo>
                    <a:pt x="34" y="18"/>
                  </a:lnTo>
                  <a:lnTo>
                    <a:pt x="36" y="18"/>
                  </a:lnTo>
                  <a:lnTo>
                    <a:pt x="38" y="18"/>
                  </a:lnTo>
                  <a:lnTo>
                    <a:pt x="40" y="18"/>
                  </a:lnTo>
                  <a:lnTo>
                    <a:pt x="42" y="18"/>
                  </a:lnTo>
                  <a:lnTo>
                    <a:pt x="44" y="18"/>
                  </a:lnTo>
                  <a:lnTo>
                    <a:pt x="46" y="18"/>
                  </a:lnTo>
                  <a:lnTo>
                    <a:pt x="48" y="18"/>
                  </a:lnTo>
                  <a:lnTo>
                    <a:pt x="48" y="16"/>
                  </a:lnTo>
                  <a:lnTo>
                    <a:pt x="50" y="16"/>
                  </a:lnTo>
                  <a:lnTo>
                    <a:pt x="52" y="16"/>
                  </a:lnTo>
                  <a:lnTo>
                    <a:pt x="54" y="16"/>
                  </a:lnTo>
                  <a:lnTo>
                    <a:pt x="56" y="16"/>
                  </a:lnTo>
                  <a:lnTo>
                    <a:pt x="58" y="16"/>
                  </a:lnTo>
                  <a:lnTo>
                    <a:pt x="60" y="16"/>
                  </a:lnTo>
                  <a:lnTo>
                    <a:pt x="62" y="16"/>
                  </a:lnTo>
                  <a:lnTo>
                    <a:pt x="64" y="16"/>
                  </a:lnTo>
                  <a:lnTo>
                    <a:pt x="66" y="16"/>
                  </a:lnTo>
                  <a:lnTo>
                    <a:pt x="68" y="16"/>
                  </a:lnTo>
                  <a:lnTo>
                    <a:pt x="70" y="16"/>
                  </a:lnTo>
                  <a:lnTo>
                    <a:pt x="72" y="16"/>
                  </a:lnTo>
                  <a:lnTo>
                    <a:pt x="72" y="14"/>
                  </a:lnTo>
                  <a:lnTo>
                    <a:pt x="76" y="14"/>
                  </a:lnTo>
                  <a:lnTo>
                    <a:pt x="78" y="14"/>
                  </a:lnTo>
                  <a:lnTo>
                    <a:pt x="80" y="14"/>
                  </a:lnTo>
                  <a:lnTo>
                    <a:pt x="80" y="14"/>
                  </a:lnTo>
                  <a:lnTo>
                    <a:pt x="82" y="14"/>
                  </a:lnTo>
                  <a:lnTo>
                    <a:pt x="84" y="14"/>
                  </a:lnTo>
                  <a:lnTo>
                    <a:pt x="86" y="14"/>
                  </a:lnTo>
                  <a:lnTo>
                    <a:pt x="88" y="14"/>
                  </a:lnTo>
                  <a:lnTo>
                    <a:pt x="90" y="14"/>
                  </a:lnTo>
                  <a:lnTo>
                    <a:pt x="90" y="12"/>
                  </a:lnTo>
                  <a:lnTo>
                    <a:pt x="92" y="12"/>
                  </a:lnTo>
                  <a:lnTo>
                    <a:pt x="94" y="12"/>
                  </a:lnTo>
                  <a:lnTo>
                    <a:pt x="96" y="12"/>
                  </a:lnTo>
                  <a:lnTo>
                    <a:pt x="98" y="12"/>
                  </a:lnTo>
                  <a:lnTo>
                    <a:pt x="100" y="12"/>
                  </a:lnTo>
                  <a:lnTo>
                    <a:pt x="102" y="12"/>
                  </a:lnTo>
                  <a:lnTo>
                    <a:pt x="104" y="12"/>
                  </a:lnTo>
                  <a:lnTo>
                    <a:pt x="106" y="12"/>
                  </a:lnTo>
                  <a:lnTo>
                    <a:pt x="108" y="12"/>
                  </a:lnTo>
                  <a:lnTo>
                    <a:pt x="108" y="10"/>
                  </a:lnTo>
                  <a:lnTo>
                    <a:pt x="110" y="10"/>
                  </a:lnTo>
                  <a:lnTo>
                    <a:pt x="112" y="10"/>
                  </a:lnTo>
                  <a:lnTo>
                    <a:pt x="114" y="10"/>
                  </a:lnTo>
                  <a:lnTo>
                    <a:pt x="116" y="10"/>
                  </a:lnTo>
                  <a:lnTo>
                    <a:pt x="118" y="10"/>
                  </a:lnTo>
                  <a:lnTo>
                    <a:pt x="120" y="10"/>
                  </a:lnTo>
                  <a:lnTo>
                    <a:pt x="122" y="10"/>
                  </a:lnTo>
                  <a:lnTo>
                    <a:pt x="124" y="10"/>
                  </a:lnTo>
                  <a:lnTo>
                    <a:pt x="126" y="10"/>
                  </a:lnTo>
                  <a:lnTo>
                    <a:pt x="126" y="10"/>
                  </a:lnTo>
                  <a:lnTo>
                    <a:pt x="126" y="10"/>
                  </a:lnTo>
                  <a:lnTo>
                    <a:pt x="128" y="10"/>
                  </a:lnTo>
                  <a:lnTo>
                    <a:pt x="128" y="12"/>
                  </a:lnTo>
                  <a:lnTo>
                    <a:pt x="128" y="14"/>
                  </a:lnTo>
                  <a:lnTo>
                    <a:pt x="128" y="14"/>
                  </a:lnTo>
                  <a:lnTo>
                    <a:pt x="128" y="16"/>
                  </a:lnTo>
                  <a:lnTo>
                    <a:pt x="128" y="18"/>
                  </a:lnTo>
                  <a:lnTo>
                    <a:pt x="130" y="18"/>
                  </a:lnTo>
                  <a:lnTo>
                    <a:pt x="128" y="18"/>
                  </a:lnTo>
                  <a:lnTo>
                    <a:pt x="128" y="20"/>
                  </a:lnTo>
                  <a:lnTo>
                    <a:pt x="130" y="20"/>
                  </a:lnTo>
                  <a:lnTo>
                    <a:pt x="130" y="22"/>
                  </a:lnTo>
                  <a:lnTo>
                    <a:pt x="132" y="22"/>
                  </a:lnTo>
                  <a:lnTo>
                    <a:pt x="132" y="24"/>
                  </a:lnTo>
                  <a:lnTo>
                    <a:pt x="134" y="24"/>
                  </a:lnTo>
                  <a:lnTo>
                    <a:pt x="136" y="24"/>
                  </a:lnTo>
                  <a:lnTo>
                    <a:pt x="138" y="24"/>
                  </a:lnTo>
                  <a:lnTo>
                    <a:pt x="140" y="24"/>
                  </a:lnTo>
                  <a:lnTo>
                    <a:pt x="142" y="24"/>
                  </a:lnTo>
                  <a:lnTo>
                    <a:pt x="144" y="24"/>
                  </a:lnTo>
                  <a:lnTo>
                    <a:pt x="146" y="24"/>
                  </a:lnTo>
                  <a:lnTo>
                    <a:pt x="148" y="24"/>
                  </a:lnTo>
                  <a:lnTo>
                    <a:pt x="150" y="24"/>
                  </a:lnTo>
                  <a:lnTo>
                    <a:pt x="152" y="24"/>
                  </a:lnTo>
                  <a:lnTo>
                    <a:pt x="154" y="24"/>
                  </a:lnTo>
                  <a:lnTo>
                    <a:pt x="156" y="24"/>
                  </a:lnTo>
                  <a:lnTo>
                    <a:pt x="158" y="24"/>
                  </a:lnTo>
                  <a:lnTo>
                    <a:pt x="160" y="24"/>
                  </a:lnTo>
                  <a:lnTo>
                    <a:pt x="162" y="24"/>
                  </a:lnTo>
                  <a:lnTo>
                    <a:pt x="164" y="24"/>
                  </a:lnTo>
                  <a:lnTo>
                    <a:pt x="164" y="22"/>
                  </a:lnTo>
                  <a:lnTo>
                    <a:pt x="166" y="22"/>
                  </a:lnTo>
                  <a:lnTo>
                    <a:pt x="168" y="22"/>
                  </a:lnTo>
                  <a:lnTo>
                    <a:pt x="170" y="22"/>
                  </a:lnTo>
                  <a:lnTo>
                    <a:pt x="172" y="22"/>
                  </a:lnTo>
                  <a:lnTo>
                    <a:pt x="174" y="22"/>
                  </a:lnTo>
                  <a:lnTo>
                    <a:pt x="176" y="22"/>
                  </a:lnTo>
                  <a:lnTo>
                    <a:pt x="176" y="22"/>
                  </a:lnTo>
                  <a:lnTo>
                    <a:pt x="178" y="22"/>
                  </a:lnTo>
                  <a:lnTo>
                    <a:pt x="180" y="22"/>
                  </a:lnTo>
                  <a:lnTo>
                    <a:pt x="182" y="22"/>
                  </a:lnTo>
                  <a:lnTo>
                    <a:pt x="184" y="22"/>
                  </a:lnTo>
                  <a:lnTo>
                    <a:pt x="186" y="22"/>
                  </a:lnTo>
                  <a:lnTo>
                    <a:pt x="188" y="22"/>
                  </a:lnTo>
                  <a:lnTo>
                    <a:pt x="190" y="22"/>
                  </a:lnTo>
                  <a:lnTo>
                    <a:pt x="192" y="22"/>
                  </a:lnTo>
                  <a:lnTo>
                    <a:pt x="192" y="20"/>
                  </a:lnTo>
                  <a:lnTo>
                    <a:pt x="194" y="20"/>
                  </a:lnTo>
                  <a:lnTo>
                    <a:pt x="196" y="20"/>
                  </a:lnTo>
                  <a:lnTo>
                    <a:pt x="198" y="20"/>
                  </a:lnTo>
                  <a:lnTo>
                    <a:pt x="200" y="20"/>
                  </a:lnTo>
                  <a:lnTo>
                    <a:pt x="202" y="20"/>
                  </a:lnTo>
                  <a:lnTo>
                    <a:pt x="204" y="20"/>
                  </a:lnTo>
                  <a:lnTo>
                    <a:pt x="206" y="20"/>
                  </a:lnTo>
                  <a:lnTo>
                    <a:pt x="208" y="20"/>
                  </a:lnTo>
                  <a:lnTo>
                    <a:pt x="210" y="20"/>
                  </a:lnTo>
                  <a:lnTo>
                    <a:pt x="212" y="20"/>
                  </a:lnTo>
                  <a:lnTo>
                    <a:pt x="214" y="20"/>
                  </a:lnTo>
                  <a:lnTo>
                    <a:pt x="216" y="20"/>
                  </a:lnTo>
                  <a:lnTo>
                    <a:pt x="218" y="20"/>
                  </a:lnTo>
                  <a:lnTo>
                    <a:pt x="220" y="20"/>
                  </a:lnTo>
                  <a:lnTo>
                    <a:pt x="222" y="20"/>
                  </a:lnTo>
                  <a:lnTo>
                    <a:pt x="222" y="18"/>
                  </a:lnTo>
                  <a:lnTo>
                    <a:pt x="224" y="18"/>
                  </a:lnTo>
                  <a:lnTo>
                    <a:pt x="226" y="18"/>
                  </a:lnTo>
                  <a:lnTo>
                    <a:pt x="226" y="18"/>
                  </a:lnTo>
                  <a:lnTo>
                    <a:pt x="228" y="18"/>
                  </a:lnTo>
                  <a:lnTo>
                    <a:pt x="230" y="18"/>
                  </a:lnTo>
                  <a:lnTo>
                    <a:pt x="232" y="18"/>
                  </a:lnTo>
                  <a:lnTo>
                    <a:pt x="234" y="18"/>
                  </a:lnTo>
                  <a:lnTo>
                    <a:pt x="236" y="18"/>
                  </a:lnTo>
                  <a:lnTo>
                    <a:pt x="238" y="18"/>
                  </a:lnTo>
                  <a:lnTo>
                    <a:pt x="240" y="18"/>
                  </a:lnTo>
                  <a:lnTo>
                    <a:pt x="242" y="18"/>
                  </a:lnTo>
                  <a:lnTo>
                    <a:pt x="244" y="18"/>
                  </a:lnTo>
                  <a:lnTo>
                    <a:pt x="246" y="18"/>
                  </a:lnTo>
                  <a:lnTo>
                    <a:pt x="246" y="16"/>
                  </a:lnTo>
                  <a:lnTo>
                    <a:pt x="248" y="16"/>
                  </a:lnTo>
                  <a:lnTo>
                    <a:pt x="250" y="16"/>
                  </a:lnTo>
                  <a:lnTo>
                    <a:pt x="252" y="16"/>
                  </a:lnTo>
                  <a:lnTo>
                    <a:pt x="254" y="16"/>
                  </a:lnTo>
                  <a:lnTo>
                    <a:pt x="258" y="16"/>
                  </a:lnTo>
                  <a:lnTo>
                    <a:pt x="260" y="16"/>
                  </a:lnTo>
                  <a:lnTo>
                    <a:pt x="262" y="16"/>
                  </a:lnTo>
                  <a:lnTo>
                    <a:pt x="262" y="18"/>
                  </a:lnTo>
                  <a:lnTo>
                    <a:pt x="262" y="20"/>
                  </a:lnTo>
                  <a:lnTo>
                    <a:pt x="264" y="20"/>
                  </a:lnTo>
                  <a:lnTo>
                    <a:pt x="264" y="22"/>
                  </a:lnTo>
                  <a:lnTo>
                    <a:pt x="264" y="24"/>
                  </a:lnTo>
                  <a:lnTo>
                    <a:pt x="264" y="26"/>
                  </a:lnTo>
                  <a:lnTo>
                    <a:pt x="266" y="26"/>
                  </a:lnTo>
                  <a:lnTo>
                    <a:pt x="266" y="28"/>
                  </a:lnTo>
                  <a:lnTo>
                    <a:pt x="268" y="28"/>
                  </a:lnTo>
                  <a:lnTo>
                    <a:pt x="268" y="26"/>
                  </a:lnTo>
                  <a:lnTo>
                    <a:pt x="268" y="28"/>
                  </a:lnTo>
                  <a:lnTo>
                    <a:pt x="268" y="26"/>
                  </a:lnTo>
                  <a:lnTo>
                    <a:pt x="270" y="26"/>
                  </a:lnTo>
                  <a:lnTo>
                    <a:pt x="272" y="26"/>
                  </a:lnTo>
                  <a:lnTo>
                    <a:pt x="274" y="26"/>
                  </a:lnTo>
                  <a:lnTo>
                    <a:pt x="274" y="24"/>
                  </a:lnTo>
                  <a:lnTo>
                    <a:pt x="272" y="24"/>
                  </a:lnTo>
                  <a:lnTo>
                    <a:pt x="274" y="24"/>
                  </a:lnTo>
                  <a:lnTo>
                    <a:pt x="272" y="24"/>
                  </a:lnTo>
                  <a:lnTo>
                    <a:pt x="274" y="24"/>
                  </a:lnTo>
                  <a:lnTo>
                    <a:pt x="274" y="22"/>
                  </a:lnTo>
                  <a:lnTo>
                    <a:pt x="272" y="22"/>
                  </a:lnTo>
                  <a:lnTo>
                    <a:pt x="274" y="22"/>
                  </a:lnTo>
                  <a:lnTo>
                    <a:pt x="274" y="20"/>
                  </a:lnTo>
                  <a:lnTo>
                    <a:pt x="274" y="18"/>
                  </a:lnTo>
                  <a:lnTo>
                    <a:pt x="274" y="16"/>
                  </a:lnTo>
                  <a:lnTo>
                    <a:pt x="274" y="14"/>
                  </a:lnTo>
                  <a:lnTo>
                    <a:pt x="272" y="14"/>
                  </a:lnTo>
                  <a:lnTo>
                    <a:pt x="272" y="12"/>
                  </a:lnTo>
                  <a:lnTo>
                    <a:pt x="272" y="10"/>
                  </a:lnTo>
                  <a:lnTo>
                    <a:pt x="270" y="10"/>
                  </a:lnTo>
                  <a:lnTo>
                    <a:pt x="270" y="10"/>
                  </a:lnTo>
                  <a:lnTo>
                    <a:pt x="270" y="8"/>
                  </a:lnTo>
                  <a:lnTo>
                    <a:pt x="270" y="6"/>
                  </a:lnTo>
                  <a:lnTo>
                    <a:pt x="272" y="6"/>
                  </a:lnTo>
                  <a:lnTo>
                    <a:pt x="270" y="6"/>
                  </a:lnTo>
                  <a:lnTo>
                    <a:pt x="272" y="6"/>
                  </a:lnTo>
                  <a:lnTo>
                    <a:pt x="272" y="4"/>
                  </a:lnTo>
                  <a:lnTo>
                    <a:pt x="270" y="4"/>
                  </a:lnTo>
                  <a:lnTo>
                    <a:pt x="272" y="4"/>
                  </a:lnTo>
                  <a:lnTo>
                    <a:pt x="274" y="4"/>
                  </a:lnTo>
                  <a:lnTo>
                    <a:pt x="274" y="2"/>
                  </a:lnTo>
                  <a:lnTo>
                    <a:pt x="274" y="0"/>
                  </a:lnTo>
                  <a:lnTo>
                    <a:pt x="274" y="2"/>
                  </a:lnTo>
                  <a:lnTo>
                    <a:pt x="274" y="2"/>
                  </a:lnTo>
                  <a:lnTo>
                    <a:pt x="274" y="0"/>
                  </a:lnTo>
                  <a:lnTo>
                    <a:pt x="274" y="2"/>
                  </a:lnTo>
                  <a:lnTo>
                    <a:pt x="276" y="2"/>
                  </a:lnTo>
                  <a:lnTo>
                    <a:pt x="278" y="2"/>
                  </a:lnTo>
                  <a:lnTo>
                    <a:pt x="280" y="2"/>
                  </a:lnTo>
                  <a:lnTo>
                    <a:pt x="280" y="4"/>
                  </a:lnTo>
                  <a:lnTo>
                    <a:pt x="282" y="4"/>
                  </a:lnTo>
                  <a:lnTo>
                    <a:pt x="282" y="2"/>
                  </a:lnTo>
                  <a:lnTo>
                    <a:pt x="282" y="4"/>
                  </a:lnTo>
                  <a:lnTo>
                    <a:pt x="284" y="4"/>
                  </a:lnTo>
                  <a:lnTo>
                    <a:pt x="286" y="4"/>
                  </a:lnTo>
                  <a:lnTo>
                    <a:pt x="286" y="2"/>
                  </a:lnTo>
                  <a:lnTo>
                    <a:pt x="286" y="4"/>
                  </a:lnTo>
                  <a:lnTo>
                    <a:pt x="288" y="4"/>
                  </a:lnTo>
                  <a:lnTo>
                    <a:pt x="290" y="4"/>
                  </a:lnTo>
                  <a:lnTo>
                    <a:pt x="288" y="4"/>
                  </a:lnTo>
                  <a:lnTo>
                    <a:pt x="290" y="4"/>
                  </a:lnTo>
                  <a:lnTo>
                    <a:pt x="292" y="4"/>
                  </a:lnTo>
                  <a:lnTo>
                    <a:pt x="292" y="6"/>
                  </a:lnTo>
                  <a:lnTo>
                    <a:pt x="292" y="4"/>
                  </a:lnTo>
                  <a:lnTo>
                    <a:pt x="292" y="6"/>
                  </a:lnTo>
                  <a:lnTo>
                    <a:pt x="294" y="6"/>
                  </a:lnTo>
                  <a:lnTo>
                    <a:pt x="294" y="4"/>
                  </a:lnTo>
                  <a:lnTo>
                    <a:pt x="296" y="4"/>
                  </a:lnTo>
                  <a:lnTo>
                    <a:pt x="294" y="4"/>
                  </a:lnTo>
                  <a:lnTo>
                    <a:pt x="296" y="4"/>
                  </a:lnTo>
                  <a:lnTo>
                    <a:pt x="294" y="4"/>
                  </a:lnTo>
                  <a:lnTo>
                    <a:pt x="294" y="6"/>
                  </a:lnTo>
                  <a:lnTo>
                    <a:pt x="296" y="6"/>
                  </a:lnTo>
                  <a:lnTo>
                    <a:pt x="296" y="4"/>
                  </a:lnTo>
                  <a:lnTo>
                    <a:pt x="296" y="6"/>
                  </a:lnTo>
                  <a:lnTo>
                    <a:pt x="296" y="4"/>
                  </a:lnTo>
                  <a:lnTo>
                    <a:pt x="298" y="4"/>
                  </a:lnTo>
                  <a:lnTo>
                    <a:pt x="298" y="6"/>
                  </a:lnTo>
                  <a:lnTo>
                    <a:pt x="296" y="6"/>
                  </a:lnTo>
                  <a:lnTo>
                    <a:pt x="296" y="8"/>
                  </a:lnTo>
                  <a:lnTo>
                    <a:pt x="296" y="10"/>
                  </a:lnTo>
                  <a:lnTo>
                    <a:pt x="296" y="8"/>
                  </a:lnTo>
                  <a:lnTo>
                    <a:pt x="298" y="8"/>
                  </a:lnTo>
                  <a:lnTo>
                    <a:pt x="296" y="8"/>
                  </a:lnTo>
                  <a:lnTo>
                    <a:pt x="296" y="10"/>
                  </a:lnTo>
                  <a:lnTo>
                    <a:pt x="298" y="10"/>
                  </a:lnTo>
                  <a:lnTo>
                    <a:pt x="296" y="10"/>
                  </a:lnTo>
                  <a:lnTo>
                    <a:pt x="296" y="10"/>
                  </a:lnTo>
                  <a:lnTo>
                    <a:pt x="296" y="12"/>
                  </a:lnTo>
                  <a:lnTo>
                    <a:pt x="296" y="10"/>
                  </a:lnTo>
                  <a:lnTo>
                    <a:pt x="296" y="12"/>
                  </a:lnTo>
                  <a:lnTo>
                    <a:pt x="298" y="12"/>
                  </a:lnTo>
                  <a:lnTo>
                    <a:pt x="298" y="14"/>
                  </a:lnTo>
                  <a:lnTo>
                    <a:pt x="300" y="14"/>
                  </a:lnTo>
                  <a:lnTo>
                    <a:pt x="300" y="16"/>
                  </a:lnTo>
                  <a:lnTo>
                    <a:pt x="300" y="18"/>
                  </a:lnTo>
                  <a:lnTo>
                    <a:pt x="300" y="20"/>
                  </a:lnTo>
                  <a:lnTo>
                    <a:pt x="300" y="18"/>
                  </a:lnTo>
                  <a:lnTo>
                    <a:pt x="300" y="20"/>
                  </a:lnTo>
                  <a:lnTo>
                    <a:pt x="300" y="22"/>
                  </a:lnTo>
                  <a:lnTo>
                    <a:pt x="302" y="22"/>
                  </a:lnTo>
                  <a:lnTo>
                    <a:pt x="302" y="24"/>
                  </a:lnTo>
                  <a:lnTo>
                    <a:pt x="302" y="26"/>
                  </a:lnTo>
                  <a:lnTo>
                    <a:pt x="304" y="26"/>
                  </a:lnTo>
                  <a:lnTo>
                    <a:pt x="302" y="26"/>
                  </a:lnTo>
                  <a:lnTo>
                    <a:pt x="304" y="26"/>
                  </a:lnTo>
                  <a:lnTo>
                    <a:pt x="302" y="26"/>
                  </a:lnTo>
                  <a:lnTo>
                    <a:pt x="304" y="26"/>
                  </a:lnTo>
                  <a:lnTo>
                    <a:pt x="304" y="28"/>
                  </a:lnTo>
                  <a:lnTo>
                    <a:pt x="302" y="28"/>
                  </a:lnTo>
                  <a:lnTo>
                    <a:pt x="302" y="30"/>
                  </a:lnTo>
                  <a:lnTo>
                    <a:pt x="302" y="28"/>
                  </a:lnTo>
                  <a:lnTo>
                    <a:pt x="304" y="28"/>
                  </a:lnTo>
                  <a:lnTo>
                    <a:pt x="306" y="34"/>
                  </a:lnTo>
                  <a:lnTo>
                    <a:pt x="308" y="36"/>
                  </a:lnTo>
                  <a:lnTo>
                    <a:pt x="308" y="38"/>
                  </a:lnTo>
                  <a:lnTo>
                    <a:pt x="308" y="40"/>
                  </a:lnTo>
                  <a:lnTo>
                    <a:pt x="308" y="38"/>
                  </a:lnTo>
                  <a:lnTo>
                    <a:pt x="308" y="40"/>
                  </a:lnTo>
                  <a:lnTo>
                    <a:pt x="308" y="38"/>
                  </a:lnTo>
                  <a:lnTo>
                    <a:pt x="308" y="40"/>
                  </a:lnTo>
                  <a:lnTo>
                    <a:pt x="310" y="40"/>
                  </a:lnTo>
                  <a:lnTo>
                    <a:pt x="310" y="42"/>
                  </a:lnTo>
                  <a:lnTo>
                    <a:pt x="310" y="40"/>
                  </a:lnTo>
                  <a:lnTo>
                    <a:pt x="308" y="40"/>
                  </a:lnTo>
                  <a:lnTo>
                    <a:pt x="310" y="40"/>
                  </a:lnTo>
                  <a:lnTo>
                    <a:pt x="308" y="40"/>
                  </a:lnTo>
                  <a:lnTo>
                    <a:pt x="310" y="42"/>
                  </a:lnTo>
                  <a:lnTo>
                    <a:pt x="308" y="42"/>
                  </a:lnTo>
                  <a:lnTo>
                    <a:pt x="310" y="42"/>
                  </a:lnTo>
                  <a:lnTo>
                    <a:pt x="310" y="40"/>
                  </a:lnTo>
                  <a:lnTo>
                    <a:pt x="310" y="42"/>
                  </a:lnTo>
                  <a:lnTo>
                    <a:pt x="310" y="40"/>
                  </a:lnTo>
                  <a:lnTo>
                    <a:pt x="310" y="42"/>
                  </a:lnTo>
                  <a:lnTo>
                    <a:pt x="310" y="44"/>
                  </a:lnTo>
                  <a:lnTo>
                    <a:pt x="310" y="42"/>
                  </a:lnTo>
                  <a:lnTo>
                    <a:pt x="310" y="44"/>
                  </a:lnTo>
                  <a:lnTo>
                    <a:pt x="310" y="42"/>
                  </a:lnTo>
                  <a:lnTo>
                    <a:pt x="310" y="44"/>
                  </a:lnTo>
                  <a:lnTo>
                    <a:pt x="310" y="42"/>
                  </a:lnTo>
                  <a:lnTo>
                    <a:pt x="310" y="44"/>
                  </a:lnTo>
                  <a:lnTo>
                    <a:pt x="312" y="44"/>
                  </a:lnTo>
                  <a:lnTo>
                    <a:pt x="312" y="46"/>
                  </a:lnTo>
                  <a:lnTo>
                    <a:pt x="312" y="44"/>
                  </a:lnTo>
                  <a:lnTo>
                    <a:pt x="312" y="46"/>
                  </a:lnTo>
                  <a:lnTo>
                    <a:pt x="312" y="44"/>
                  </a:lnTo>
                  <a:lnTo>
                    <a:pt x="312" y="46"/>
                  </a:lnTo>
                  <a:lnTo>
                    <a:pt x="312" y="48"/>
                  </a:lnTo>
                  <a:lnTo>
                    <a:pt x="312" y="46"/>
                  </a:lnTo>
                  <a:lnTo>
                    <a:pt x="312" y="48"/>
                  </a:lnTo>
                  <a:lnTo>
                    <a:pt x="314" y="48"/>
                  </a:lnTo>
                  <a:lnTo>
                    <a:pt x="312" y="48"/>
                  </a:lnTo>
                  <a:lnTo>
                    <a:pt x="314" y="48"/>
                  </a:lnTo>
                  <a:lnTo>
                    <a:pt x="312" y="48"/>
                  </a:lnTo>
                  <a:lnTo>
                    <a:pt x="312" y="46"/>
                  </a:lnTo>
                  <a:lnTo>
                    <a:pt x="312" y="48"/>
                  </a:lnTo>
                  <a:lnTo>
                    <a:pt x="312" y="50"/>
                  </a:lnTo>
                  <a:lnTo>
                    <a:pt x="314" y="50"/>
                  </a:lnTo>
                  <a:lnTo>
                    <a:pt x="314" y="52"/>
                  </a:lnTo>
                  <a:lnTo>
                    <a:pt x="312" y="52"/>
                  </a:lnTo>
                  <a:lnTo>
                    <a:pt x="314" y="52"/>
                  </a:lnTo>
                  <a:lnTo>
                    <a:pt x="312" y="52"/>
                  </a:lnTo>
                  <a:lnTo>
                    <a:pt x="314" y="52"/>
                  </a:lnTo>
                  <a:lnTo>
                    <a:pt x="312" y="52"/>
                  </a:lnTo>
                  <a:lnTo>
                    <a:pt x="314" y="52"/>
                  </a:lnTo>
                  <a:lnTo>
                    <a:pt x="314" y="54"/>
                  </a:lnTo>
                  <a:lnTo>
                    <a:pt x="316" y="54"/>
                  </a:lnTo>
                  <a:lnTo>
                    <a:pt x="316" y="56"/>
                  </a:lnTo>
                  <a:lnTo>
                    <a:pt x="316" y="54"/>
                  </a:lnTo>
                  <a:lnTo>
                    <a:pt x="316" y="56"/>
                  </a:lnTo>
                  <a:lnTo>
                    <a:pt x="318" y="56"/>
                  </a:lnTo>
                  <a:lnTo>
                    <a:pt x="318" y="58"/>
                  </a:lnTo>
                  <a:lnTo>
                    <a:pt x="320" y="58"/>
                  </a:lnTo>
                  <a:lnTo>
                    <a:pt x="320" y="58"/>
                  </a:lnTo>
                  <a:lnTo>
                    <a:pt x="318" y="58"/>
                  </a:lnTo>
                  <a:lnTo>
                    <a:pt x="320" y="58"/>
                  </a:lnTo>
                  <a:lnTo>
                    <a:pt x="318" y="58"/>
                  </a:lnTo>
                  <a:lnTo>
                    <a:pt x="320" y="58"/>
                  </a:lnTo>
                  <a:lnTo>
                    <a:pt x="320" y="60"/>
                  </a:lnTo>
                  <a:lnTo>
                    <a:pt x="320" y="62"/>
                  </a:lnTo>
                  <a:lnTo>
                    <a:pt x="322" y="62"/>
                  </a:lnTo>
                  <a:lnTo>
                    <a:pt x="320" y="62"/>
                  </a:lnTo>
                  <a:lnTo>
                    <a:pt x="322" y="62"/>
                  </a:lnTo>
                  <a:lnTo>
                    <a:pt x="320" y="62"/>
                  </a:lnTo>
                  <a:lnTo>
                    <a:pt x="322" y="62"/>
                  </a:lnTo>
                  <a:lnTo>
                    <a:pt x="322" y="64"/>
                  </a:lnTo>
                  <a:lnTo>
                    <a:pt x="320" y="64"/>
                  </a:lnTo>
                  <a:lnTo>
                    <a:pt x="322" y="64"/>
                  </a:lnTo>
                  <a:lnTo>
                    <a:pt x="320" y="64"/>
                  </a:lnTo>
                  <a:lnTo>
                    <a:pt x="320" y="62"/>
                  </a:lnTo>
                  <a:lnTo>
                    <a:pt x="322" y="62"/>
                  </a:lnTo>
                  <a:lnTo>
                    <a:pt x="320" y="62"/>
                  </a:lnTo>
                  <a:lnTo>
                    <a:pt x="322" y="62"/>
                  </a:lnTo>
                  <a:lnTo>
                    <a:pt x="320" y="62"/>
                  </a:lnTo>
                  <a:lnTo>
                    <a:pt x="322" y="62"/>
                  </a:lnTo>
                  <a:lnTo>
                    <a:pt x="320" y="62"/>
                  </a:lnTo>
                  <a:lnTo>
                    <a:pt x="322" y="62"/>
                  </a:lnTo>
                  <a:lnTo>
                    <a:pt x="320" y="62"/>
                  </a:lnTo>
                  <a:lnTo>
                    <a:pt x="320" y="64"/>
                  </a:lnTo>
                  <a:lnTo>
                    <a:pt x="320" y="62"/>
                  </a:lnTo>
                  <a:lnTo>
                    <a:pt x="320" y="64"/>
                  </a:lnTo>
                  <a:lnTo>
                    <a:pt x="322" y="64"/>
                  </a:lnTo>
                  <a:lnTo>
                    <a:pt x="320" y="64"/>
                  </a:lnTo>
                  <a:lnTo>
                    <a:pt x="322" y="64"/>
                  </a:lnTo>
                  <a:lnTo>
                    <a:pt x="320" y="64"/>
                  </a:lnTo>
                  <a:lnTo>
                    <a:pt x="322" y="64"/>
                  </a:lnTo>
                  <a:lnTo>
                    <a:pt x="322" y="62"/>
                  </a:lnTo>
                  <a:lnTo>
                    <a:pt x="322" y="64"/>
                  </a:lnTo>
                  <a:lnTo>
                    <a:pt x="322" y="64"/>
                  </a:lnTo>
                  <a:lnTo>
                    <a:pt x="322" y="66"/>
                  </a:lnTo>
                  <a:lnTo>
                    <a:pt x="322" y="68"/>
                  </a:lnTo>
                  <a:lnTo>
                    <a:pt x="324" y="68"/>
                  </a:lnTo>
                  <a:lnTo>
                    <a:pt x="324" y="70"/>
                  </a:lnTo>
                  <a:lnTo>
                    <a:pt x="326" y="70"/>
                  </a:lnTo>
                  <a:lnTo>
                    <a:pt x="324" y="70"/>
                  </a:lnTo>
                  <a:lnTo>
                    <a:pt x="326" y="70"/>
                  </a:lnTo>
                  <a:lnTo>
                    <a:pt x="326" y="72"/>
                  </a:lnTo>
                  <a:lnTo>
                    <a:pt x="326" y="74"/>
                  </a:lnTo>
                  <a:lnTo>
                    <a:pt x="328" y="74"/>
                  </a:lnTo>
                  <a:lnTo>
                    <a:pt x="328" y="76"/>
                  </a:lnTo>
                  <a:lnTo>
                    <a:pt x="328" y="78"/>
                  </a:lnTo>
                  <a:lnTo>
                    <a:pt x="330" y="78"/>
                  </a:lnTo>
                  <a:lnTo>
                    <a:pt x="330" y="80"/>
                  </a:lnTo>
                  <a:lnTo>
                    <a:pt x="332" y="82"/>
                  </a:lnTo>
                  <a:lnTo>
                    <a:pt x="332" y="84"/>
                  </a:lnTo>
                  <a:lnTo>
                    <a:pt x="332" y="82"/>
                  </a:lnTo>
                  <a:lnTo>
                    <a:pt x="332" y="84"/>
                  </a:lnTo>
                  <a:lnTo>
                    <a:pt x="334" y="84"/>
                  </a:lnTo>
                  <a:lnTo>
                    <a:pt x="332" y="84"/>
                  </a:lnTo>
                  <a:lnTo>
                    <a:pt x="334" y="84"/>
                  </a:lnTo>
                  <a:lnTo>
                    <a:pt x="332" y="84"/>
                  </a:lnTo>
                  <a:lnTo>
                    <a:pt x="334" y="84"/>
                  </a:lnTo>
                  <a:lnTo>
                    <a:pt x="334" y="86"/>
                  </a:lnTo>
                  <a:lnTo>
                    <a:pt x="336" y="86"/>
                  </a:lnTo>
                  <a:lnTo>
                    <a:pt x="334" y="86"/>
                  </a:lnTo>
                  <a:lnTo>
                    <a:pt x="336" y="86"/>
                  </a:lnTo>
                  <a:lnTo>
                    <a:pt x="336" y="88"/>
                  </a:lnTo>
                  <a:lnTo>
                    <a:pt x="336" y="90"/>
                  </a:lnTo>
                  <a:lnTo>
                    <a:pt x="338" y="90"/>
                  </a:lnTo>
                  <a:lnTo>
                    <a:pt x="340" y="90"/>
                  </a:lnTo>
                  <a:lnTo>
                    <a:pt x="340" y="92"/>
                  </a:lnTo>
                  <a:lnTo>
                    <a:pt x="338" y="92"/>
                  </a:lnTo>
                  <a:lnTo>
                    <a:pt x="340" y="92"/>
                  </a:lnTo>
                  <a:lnTo>
                    <a:pt x="340" y="94"/>
                  </a:lnTo>
                  <a:lnTo>
                    <a:pt x="340" y="92"/>
                  </a:lnTo>
                  <a:lnTo>
                    <a:pt x="340" y="94"/>
                  </a:lnTo>
                  <a:lnTo>
                    <a:pt x="340" y="96"/>
                  </a:lnTo>
                  <a:lnTo>
                    <a:pt x="342" y="96"/>
                  </a:lnTo>
                  <a:lnTo>
                    <a:pt x="340" y="96"/>
                  </a:lnTo>
                  <a:lnTo>
                    <a:pt x="342" y="96"/>
                  </a:lnTo>
                  <a:lnTo>
                    <a:pt x="342" y="98"/>
                  </a:lnTo>
                  <a:lnTo>
                    <a:pt x="342" y="96"/>
                  </a:lnTo>
                  <a:lnTo>
                    <a:pt x="342" y="98"/>
                  </a:lnTo>
                  <a:lnTo>
                    <a:pt x="342" y="96"/>
                  </a:lnTo>
                  <a:lnTo>
                    <a:pt x="342" y="98"/>
                  </a:lnTo>
                  <a:lnTo>
                    <a:pt x="344" y="98"/>
                  </a:lnTo>
                  <a:lnTo>
                    <a:pt x="344" y="100"/>
                  </a:lnTo>
                  <a:lnTo>
                    <a:pt x="346" y="102"/>
                  </a:lnTo>
                  <a:lnTo>
                    <a:pt x="346" y="100"/>
                  </a:lnTo>
                  <a:lnTo>
                    <a:pt x="346" y="102"/>
                  </a:lnTo>
                  <a:lnTo>
                    <a:pt x="346" y="104"/>
                  </a:lnTo>
                  <a:lnTo>
                    <a:pt x="348" y="104"/>
                  </a:lnTo>
                  <a:lnTo>
                    <a:pt x="348" y="106"/>
                  </a:lnTo>
                  <a:lnTo>
                    <a:pt x="350" y="106"/>
                  </a:lnTo>
                  <a:lnTo>
                    <a:pt x="350" y="106"/>
                  </a:lnTo>
                  <a:lnTo>
                    <a:pt x="348" y="106"/>
                  </a:lnTo>
                  <a:lnTo>
                    <a:pt x="348" y="106"/>
                  </a:lnTo>
                  <a:lnTo>
                    <a:pt x="348" y="106"/>
                  </a:lnTo>
                  <a:lnTo>
                    <a:pt x="348" y="106"/>
                  </a:lnTo>
                  <a:lnTo>
                    <a:pt x="346" y="106"/>
                  </a:lnTo>
                  <a:lnTo>
                    <a:pt x="346" y="104"/>
                  </a:lnTo>
                  <a:lnTo>
                    <a:pt x="346" y="106"/>
                  </a:lnTo>
                  <a:lnTo>
                    <a:pt x="344" y="106"/>
                  </a:lnTo>
                  <a:lnTo>
                    <a:pt x="344" y="104"/>
                  </a:lnTo>
                  <a:lnTo>
                    <a:pt x="344" y="106"/>
                  </a:lnTo>
                  <a:lnTo>
                    <a:pt x="346" y="106"/>
                  </a:lnTo>
                  <a:lnTo>
                    <a:pt x="344" y="106"/>
                  </a:lnTo>
                  <a:lnTo>
                    <a:pt x="346" y="106"/>
                  </a:lnTo>
                  <a:lnTo>
                    <a:pt x="344" y="106"/>
                  </a:lnTo>
                  <a:lnTo>
                    <a:pt x="346" y="106"/>
                  </a:lnTo>
                  <a:lnTo>
                    <a:pt x="346" y="106"/>
                  </a:lnTo>
                  <a:lnTo>
                    <a:pt x="346" y="108"/>
                  </a:lnTo>
                  <a:lnTo>
                    <a:pt x="348" y="108"/>
                  </a:lnTo>
                  <a:lnTo>
                    <a:pt x="348" y="110"/>
                  </a:lnTo>
                  <a:lnTo>
                    <a:pt x="348" y="112"/>
                  </a:lnTo>
                  <a:lnTo>
                    <a:pt x="350" y="112"/>
                  </a:lnTo>
                  <a:lnTo>
                    <a:pt x="350" y="110"/>
                  </a:lnTo>
                  <a:lnTo>
                    <a:pt x="350" y="108"/>
                  </a:lnTo>
                  <a:lnTo>
                    <a:pt x="350" y="110"/>
                  </a:lnTo>
                  <a:lnTo>
                    <a:pt x="350" y="108"/>
                  </a:lnTo>
                  <a:lnTo>
                    <a:pt x="352" y="108"/>
                  </a:lnTo>
                  <a:lnTo>
                    <a:pt x="352" y="106"/>
                  </a:lnTo>
                  <a:lnTo>
                    <a:pt x="350" y="106"/>
                  </a:lnTo>
                  <a:lnTo>
                    <a:pt x="352" y="106"/>
                  </a:lnTo>
                  <a:lnTo>
                    <a:pt x="352" y="108"/>
                  </a:lnTo>
                  <a:lnTo>
                    <a:pt x="354" y="108"/>
                  </a:lnTo>
                  <a:lnTo>
                    <a:pt x="354" y="110"/>
                  </a:lnTo>
                  <a:lnTo>
                    <a:pt x="356" y="110"/>
                  </a:lnTo>
                  <a:lnTo>
                    <a:pt x="358" y="110"/>
                  </a:lnTo>
                  <a:lnTo>
                    <a:pt x="356" y="110"/>
                  </a:lnTo>
                  <a:lnTo>
                    <a:pt x="356" y="108"/>
                  </a:lnTo>
                  <a:lnTo>
                    <a:pt x="356" y="110"/>
                  </a:lnTo>
                  <a:lnTo>
                    <a:pt x="356" y="108"/>
                  </a:lnTo>
                  <a:lnTo>
                    <a:pt x="356" y="110"/>
                  </a:lnTo>
                  <a:lnTo>
                    <a:pt x="356" y="108"/>
                  </a:lnTo>
                  <a:lnTo>
                    <a:pt x="356" y="106"/>
                  </a:lnTo>
                  <a:lnTo>
                    <a:pt x="354" y="106"/>
                  </a:lnTo>
                  <a:lnTo>
                    <a:pt x="354" y="106"/>
                  </a:lnTo>
                  <a:lnTo>
                    <a:pt x="352" y="106"/>
                  </a:lnTo>
                  <a:lnTo>
                    <a:pt x="350" y="106"/>
                  </a:lnTo>
                  <a:lnTo>
                    <a:pt x="352" y="104"/>
                  </a:lnTo>
                  <a:lnTo>
                    <a:pt x="350" y="104"/>
                  </a:lnTo>
                  <a:lnTo>
                    <a:pt x="350" y="102"/>
                  </a:lnTo>
                  <a:lnTo>
                    <a:pt x="350" y="104"/>
                  </a:lnTo>
                  <a:lnTo>
                    <a:pt x="350" y="102"/>
                  </a:lnTo>
                  <a:lnTo>
                    <a:pt x="350" y="104"/>
                  </a:lnTo>
                  <a:lnTo>
                    <a:pt x="348" y="102"/>
                  </a:lnTo>
                  <a:lnTo>
                    <a:pt x="348" y="104"/>
                  </a:lnTo>
                  <a:lnTo>
                    <a:pt x="348" y="102"/>
                  </a:lnTo>
                  <a:lnTo>
                    <a:pt x="348" y="104"/>
                  </a:lnTo>
                  <a:lnTo>
                    <a:pt x="348" y="102"/>
                  </a:lnTo>
                  <a:lnTo>
                    <a:pt x="348" y="100"/>
                  </a:lnTo>
                  <a:lnTo>
                    <a:pt x="346" y="100"/>
                  </a:lnTo>
                  <a:lnTo>
                    <a:pt x="346" y="98"/>
                  </a:lnTo>
                  <a:lnTo>
                    <a:pt x="344" y="98"/>
                  </a:lnTo>
                  <a:lnTo>
                    <a:pt x="344" y="96"/>
                  </a:lnTo>
                  <a:lnTo>
                    <a:pt x="342" y="96"/>
                  </a:lnTo>
                  <a:lnTo>
                    <a:pt x="344" y="96"/>
                  </a:lnTo>
                  <a:lnTo>
                    <a:pt x="342" y="96"/>
                  </a:lnTo>
                  <a:lnTo>
                    <a:pt x="344" y="96"/>
                  </a:lnTo>
                  <a:lnTo>
                    <a:pt x="342" y="96"/>
                  </a:lnTo>
                  <a:lnTo>
                    <a:pt x="344" y="96"/>
                  </a:lnTo>
                  <a:lnTo>
                    <a:pt x="342" y="96"/>
                  </a:lnTo>
                  <a:lnTo>
                    <a:pt x="344" y="96"/>
                  </a:lnTo>
                  <a:lnTo>
                    <a:pt x="342" y="96"/>
                  </a:lnTo>
                  <a:lnTo>
                    <a:pt x="342" y="94"/>
                  </a:lnTo>
                  <a:lnTo>
                    <a:pt x="340" y="94"/>
                  </a:lnTo>
                  <a:lnTo>
                    <a:pt x="342" y="94"/>
                  </a:lnTo>
                  <a:lnTo>
                    <a:pt x="340" y="94"/>
                  </a:lnTo>
                  <a:lnTo>
                    <a:pt x="342" y="94"/>
                  </a:lnTo>
                  <a:lnTo>
                    <a:pt x="340" y="94"/>
                  </a:lnTo>
                  <a:lnTo>
                    <a:pt x="340" y="92"/>
                  </a:lnTo>
                  <a:lnTo>
                    <a:pt x="340" y="90"/>
                  </a:lnTo>
                  <a:lnTo>
                    <a:pt x="338" y="90"/>
                  </a:lnTo>
                  <a:lnTo>
                    <a:pt x="340" y="90"/>
                  </a:lnTo>
                  <a:lnTo>
                    <a:pt x="340" y="92"/>
                  </a:lnTo>
                  <a:lnTo>
                    <a:pt x="342" y="92"/>
                  </a:lnTo>
                  <a:lnTo>
                    <a:pt x="342" y="94"/>
                  </a:lnTo>
                  <a:lnTo>
                    <a:pt x="344" y="96"/>
                  </a:lnTo>
                  <a:lnTo>
                    <a:pt x="344" y="98"/>
                  </a:lnTo>
                  <a:lnTo>
                    <a:pt x="346" y="98"/>
                  </a:lnTo>
                  <a:lnTo>
                    <a:pt x="346" y="100"/>
                  </a:lnTo>
                  <a:lnTo>
                    <a:pt x="348" y="100"/>
                  </a:lnTo>
                  <a:lnTo>
                    <a:pt x="348" y="102"/>
                  </a:lnTo>
                  <a:lnTo>
                    <a:pt x="350" y="102"/>
                  </a:lnTo>
                  <a:lnTo>
                    <a:pt x="350" y="104"/>
                  </a:lnTo>
                  <a:lnTo>
                    <a:pt x="352" y="104"/>
                  </a:lnTo>
                  <a:lnTo>
                    <a:pt x="352" y="106"/>
                  </a:lnTo>
                  <a:lnTo>
                    <a:pt x="354" y="106"/>
                  </a:lnTo>
                  <a:lnTo>
                    <a:pt x="356" y="106"/>
                  </a:lnTo>
                  <a:lnTo>
                    <a:pt x="356" y="108"/>
                  </a:lnTo>
                  <a:lnTo>
                    <a:pt x="358" y="108"/>
                  </a:lnTo>
                  <a:lnTo>
                    <a:pt x="358" y="110"/>
                  </a:lnTo>
                  <a:lnTo>
                    <a:pt x="360" y="110"/>
                  </a:lnTo>
                  <a:lnTo>
                    <a:pt x="360" y="112"/>
                  </a:lnTo>
                  <a:lnTo>
                    <a:pt x="362" y="112"/>
                  </a:lnTo>
                  <a:lnTo>
                    <a:pt x="362" y="114"/>
                  </a:lnTo>
                  <a:lnTo>
                    <a:pt x="362" y="116"/>
                  </a:lnTo>
                  <a:lnTo>
                    <a:pt x="364" y="116"/>
                  </a:lnTo>
                  <a:lnTo>
                    <a:pt x="364" y="118"/>
                  </a:lnTo>
                  <a:lnTo>
                    <a:pt x="364" y="120"/>
                  </a:lnTo>
                  <a:lnTo>
                    <a:pt x="366" y="120"/>
                  </a:lnTo>
                  <a:lnTo>
                    <a:pt x="364" y="120"/>
                  </a:lnTo>
                  <a:lnTo>
                    <a:pt x="364" y="122"/>
                  </a:lnTo>
                  <a:lnTo>
                    <a:pt x="362" y="122"/>
                  </a:lnTo>
                  <a:lnTo>
                    <a:pt x="362" y="124"/>
                  </a:lnTo>
                  <a:lnTo>
                    <a:pt x="362" y="122"/>
                  </a:lnTo>
                  <a:lnTo>
                    <a:pt x="362" y="124"/>
                  </a:lnTo>
                  <a:lnTo>
                    <a:pt x="360" y="124"/>
                  </a:lnTo>
                  <a:lnTo>
                    <a:pt x="362" y="124"/>
                  </a:lnTo>
                  <a:lnTo>
                    <a:pt x="362" y="126"/>
                  </a:lnTo>
                  <a:lnTo>
                    <a:pt x="362" y="128"/>
                  </a:lnTo>
                  <a:lnTo>
                    <a:pt x="362" y="130"/>
                  </a:lnTo>
                  <a:lnTo>
                    <a:pt x="362" y="132"/>
                  </a:lnTo>
                  <a:lnTo>
                    <a:pt x="364" y="132"/>
                  </a:lnTo>
                  <a:lnTo>
                    <a:pt x="364" y="135"/>
                  </a:lnTo>
                  <a:lnTo>
                    <a:pt x="364" y="137"/>
                  </a:lnTo>
                  <a:lnTo>
                    <a:pt x="364" y="139"/>
                  </a:lnTo>
                  <a:lnTo>
                    <a:pt x="366" y="139"/>
                  </a:lnTo>
                  <a:lnTo>
                    <a:pt x="366" y="141"/>
                  </a:lnTo>
                  <a:lnTo>
                    <a:pt x="366" y="143"/>
                  </a:lnTo>
                  <a:lnTo>
                    <a:pt x="368" y="143"/>
                  </a:lnTo>
                  <a:lnTo>
                    <a:pt x="368" y="145"/>
                  </a:lnTo>
                  <a:lnTo>
                    <a:pt x="368" y="147"/>
                  </a:lnTo>
                  <a:lnTo>
                    <a:pt x="370" y="147"/>
                  </a:lnTo>
                  <a:lnTo>
                    <a:pt x="370" y="149"/>
                  </a:lnTo>
                  <a:lnTo>
                    <a:pt x="370" y="149"/>
                  </a:lnTo>
                  <a:lnTo>
                    <a:pt x="370" y="151"/>
                  </a:lnTo>
                  <a:lnTo>
                    <a:pt x="372" y="151"/>
                  </a:lnTo>
                  <a:lnTo>
                    <a:pt x="372" y="153"/>
                  </a:lnTo>
                  <a:lnTo>
                    <a:pt x="374" y="155"/>
                  </a:lnTo>
                  <a:lnTo>
                    <a:pt x="372" y="155"/>
                  </a:lnTo>
                  <a:lnTo>
                    <a:pt x="372" y="153"/>
                  </a:lnTo>
                  <a:lnTo>
                    <a:pt x="370" y="153"/>
                  </a:lnTo>
                  <a:lnTo>
                    <a:pt x="370" y="151"/>
                  </a:lnTo>
                  <a:lnTo>
                    <a:pt x="370" y="151"/>
                  </a:lnTo>
                  <a:lnTo>
                    <a:pt x="370" y="151"/>
                  </a:lnTo>
                  <a:lnTo>
                    <a:pt x="370" y="149"/>
                  </a:lnTo>
                  <a:lnTo>
                    <a:pt x="370" y="149"/>
                  </a:lnTo>
                  <a:lnTo>
                    <a:pt x="370" y="147"/>
                  </a:lnTo>
                  <a:lnTo>
                    <a:pt x="368" y="147"/>
                  </a:lnTo>
                  <a:lnTo>
                    <a:pt x="368" y="145"/>
                  </a:lnTo>
                  <a:lnTo>
                    <a:pt x="366" y="143"/>
                  </a:lnTo>
                  <a:lnTo>
                    <a:pt x="366" y="141"/>
                  </a:lnTo>
                  <a:lnTo>
                    <a:pt x="364" y="141"/>
                  </a:lnTo>
                  <a:lnTo>
                    <a:pt x="364" y="139"/>
                  </a:lnTo>
                  <a:lnTo>
                    <a:pt x="364" y="137"/>
                  </a:lnTo>
                  <a:lnTo>
                    <a:pt x="362" y="137"/>
                  </a:lnTo>
                  <a:lnTo>
                    <a:pt x="362" y="135"/>
                  </a:lnTo>
                  <a:lnTo>
                    <a:pt x="362" y="132"/>
                  </a:lnTo>
                  <a:lnTo>
                    <a:pt x="362" y="130"/>
                  </a:lnTo>
                  <a:lnTo>
                    <a:pt x="360" y="130"/>
                  </a:lnTo>
                  <a:lnTo>
                    <a:pt x="360" y="128"/>
                  </a:lnTo>
                  <a:lnTo>
                    <a:pt x="362" y="128"/>
                  </a:lnTo>
                  <a:lnTo>
                    <a:pt x="362" y="130"/>
                  </a:lnTo>
                  <a:lnTo>
                    <a:pt x="362" y="128"/>
                  </a:lnTo>
                  <a:lnTo>
                    <a:pt x="362" y="130"/>
                  </a:lnTo>
                  <a:lnTo>
                    <a:pt x="362" y="128"/>
                  </a:lnTo>
                  <a:lnTo>
                    <a:pt x="360" y="128"/>
                  </a:lnTo>
                  <a:lnTo>
                    <a:pt x="362" y="128"/>
                  </a:lnTo>
                  <a:lnTo>
                    <a:pt x="362" y="126"/>
                  </a:lnTo>
                  <a:lnTo>
                    <a:pt x="362" y="124"/>
                  </a:lnTo>
                  <a:lnTo>
                    <a:pt x="360" y="124"/>
                  </a:lnTo>
                  <a:lnTo>
                    <a:pt x="362" y="124"/>
                  </a:lnTo>
                  <a:lnTo>
                    <a:pt x="362" y="122"/>
                  </a:lnTo>
                  <a:lnTo>
                    <a:pt x="362" y="120"/>
                  </a:lnTo>
                  <a:lnTo>
                    <a:pt x="362" y="118"/>
                  </a:lnTo>
                  <a:lnTo>
                    <a:pt x="360" y="116"/>
                  </a:lnTo>
                  <a:lnTo>
                    <a:pt x="360" y="114"/>
                  </a:lnTo>
                  <a:lnTo>
                    <a:pt x="360" y="112"/>
                  </a:lnTo>
                  <a:lnTo>
                    <a:pt x="360" y="114"/>
                  </a:lnTo>
                  <a:lnTo>
                    <a:pt x="360" y="112"/>
                  </a:lnTo>
                  <a:lnTo>
                    <a:pt x="360" y="114"/>
                  </a:lnTo>
                  <a:lnTo>
                    <a:pt x="360" y="112"/>
                  </a:lnTo>
                  <a:lnTo>
                    <a:pt x="358" y="112"/>
                  </a:lnTo>
                  <a:lnTo>
                    <a:pt x="358" y="114"/>
                  </a:lnTo>
                  <a:lnTo>
                    <a:pt x="360" y="114"/>
                  </a:lnTo>
                  <a:lnTo>
                    <a:pt x="360" y="116"/>
                  </a:lnTo>
                  <a:lnTo>
                    <a:pt x="360" y="118"/>
                  </a:lnTo>
                  <a:lnTo>
                    <a:pt x="358" y="118"/>
                  </a:lnTo>
                  <a:lnTo>
                    <a:pt x="360" y="118"/>
                  </a:lnTo>
                  <a:lnTo>
                    <a:pt x="358" y="120"/>
                  </a:lnTo>
                  <a:lnTo>
                    <a:pt x="358" y="122"/>
                  </a:lnTo>
                  <a:lnTo>
                    <a:pt x="358" y="124"/>
                  </a:lnTo>
                  <a:lnTo>
                    <a:pt x="358" y="126"/>
                  </a:lnTo>
                  <a:lnTo>
                    <a:pt x="360" y="126"/>
                  </a:lnTo>
                  <a:lnTo>
                    <a:pt x="358" y="126"/>
                  </a:lnTo>
                  <a:lnTo>
                    <a:pt x="360" y="126"/>
                  </a:lnTo>
                  <a:lnTo>
                    <a:pt x="358" y="126"/>
                  </a:lnTo>
                  <a:lnTo>
                    <a:pt x="360" y="126"/>
                  </a:lnTo>
                  <a:lnTo>
                    <a:pt x="360" y="128"/>
                  </a:lnTo>
                  <a:lnTo>
                    <a:pt x="360" y="126"/>
                  </a:lnTo>
                  <a:lnTo>
                    <a:pt x="360" y="128"/>
                  </a:lnTo>
                  <a:lnTo>
                    <a:pt x="360" y="130"/>
                  </a:lnTo>
                  <a:lnTo>
                    <a:pt x="360" y="128"/>
                  </a:lnTo>
                  <a:lnTo>
                    <a:pt x="358" y="128"/>
                  </a:lnTo>
                  <a:lnTo>
                    <a:pt x="360" y="128"/>
                  </a:lnTo>
                  <a:lnTo>
                    <a:pt x="358" y="128"/>
                  </a:lnTo>
                  <a:lnTo>
                    <a:pt x="358" y="130"/>
                  </a:lnTo>
                  <a:lnTo>
                    <a:pt x="360" y="130"/>
                  </a:lnTo>
                  <a:lnTo>
                    <a:pt x="360" y="132"/>
                  </a:lnTo>
                  <a:lnTo>
                    <a:pt x="360" y="135"/>
                  </a:lnTo>
                  <a:lnTo>
                    <a:pt x="362" y="135"/>
                  </a:lnTo>
                  <a:lnTo>
                    <a:pt x="362" y="137"/>
                  </a:lnTo>
                  <a:lnTo>
                    <a:pt x="364" y="137"/>
                  </a:lnTo>
                  <a:lnTo>
                    <a:pt x="362" y="137"/>
                  </a:lnTo>
                  <a:lnTo>
                    <a:pt x="362" y="139"/>
                  </a:lnTo>
                  <a:lnTo>
                    <a:pt x="364" y="139"/>
                  </a:lnTo>
                  <a:lnTo>
                    <a:pt x="364" y="141"/>
                  </a:lnTo>
                  <a:lnTo>
                    <a:pt x="364" y="139"/>
                  </a:lnTo>
                  <a:lnTo>
                    <a:pt x="362" y="139"/>
                  </a:lnTo>
                  <a:lnTo>
                    <a:pt x="362" y="137"/>
                  </a:lnTo>
                  <a:lnTo>
                    <a:pt x="362" y="135"/>
                  </a:lnTo>
                  <a:lnTo>
                    <a:pt x="360" y="135"/>
                  </a:lnTo>
                  <a:lnTo>
                    <a:pt x="360" y="132"/>
                  </a:lnTo>
                  <a:lnTo>
                    <a:pt x="358" y="132"/>
                  </a:lnTo>
                  <a:lnTo>
                    <a:pt x="358" y="130"/>
                  </a:lnTo>
                  <a:lnTo>
                    <a:pt x="358" y="128"/>
                  </a:lnTo>
                  <a:lnTo>
                    <a:pt x="356" y="128"/>
                  </a:lnTo>
                  <a:lnTo>
                    <a:pt x="356" y="126"/>
                  </a:lnTo>
                  <a:lnTo>
                    <a:pt x="356" y="124"/>
                  </a:lnTo>
                  <a:lnTo>
                    <a:pt x="356" y="126"/>
                  </a:lnTo>
                  <a:lnTo>
                    <a:pt x="356" y="124"/>
                  </a:lnTo>
                  <a:lnTo>
                    <a:pt x="356" y="122"/>
                  </a:lnTo>
                  <a:lnTo>
                    <a:pt x="354" y="122"/>
                  </a:lnTo>
                  <a:lnTo>
                    <a:pt x="354" y="120"/>
                  </a:lnTo>
                  <a:lnTo>
                    <a:pt x="354" y="118"/>
                  </a:lnTo>
                  <a:lnTo>
                    <a:pt x="352" y="118"/>
                  </a:lnTo>
                  <a:lnTo>
                    <a:pt x="354" y="118"/>
                  </a:lnTo>
                  <a:lnTo>
                    <a:pt x="354" y="116"/>
                  </a:lnTo>
                  <a:lnTo>
                    <a:pt x="354" y="118"/>
                  </a:lnTo>
                  <a:lnTo>
                    <a:pt x="354" y="116"/>
                  </a:lnTo>
                  <a:lnTo>
                    <a:pt x="354" y="114"/>
                  </a:lnTo>
                  <a:lnTo>
                    <a:pt x="354" y="116"/>
                  </a:lnTo>
                  <a:lnTo>
                    <a:pt x="354" y="114"/>
                  </a:lnTo>
                  <a:lnTo>
                    <a:pt x="354" y="116"/>
                  </a:lnTo>
                  <a:lnTo>
                    <a:pt x="354" y="114"/>
                  </a:lnTo>
                  <a:lnTo>
                    <a:pt x="356" y="114"/>
                  </a:lnTo>
                  <a:lnTo>
                    <a:pt x="354" y="114"/>
                  </a:lnTo>
                  <a:lnTo>
                    <a:pt x="352" y="114"/>
                  </a:lnTo>
                  <a:lnTo>
                    <a:pt x="350" y="114"/>
                  </a:lnTo>
                  <a:lnTo>
                    <a:pt x="350" y="112"/>
                  </a:lnTo>
                  <a:lnTo>
                    <a:pt x="350" y="114"/>
                  </a:lnTo>
                  <a:lnTo>
                    <a:pt x="350" y="112"/>
                  </a:lnTo>
                  <a:lnTo>
                    <a:pt x="348" y="112"/>
                  </a:lnTo>
                  <a:lnTo>
                    <a:pt x="348" y="114"/>
                  </a:lnTo>
                  <a:lnTo>
                    <a:pt x="348" y="112"/>
                  </a:lnTo>
                  <a:lnTo>
                    <a:pt x="348" y="114"/>
                  </a:lnTo>
                  <a:lnTo>
                    <a:pt x="350" y="114"/>
                  </a:lnTo>
                  <a:lnTo>
                    <a:pt x="350" y="116"/>
                  </a:lnTo>
                  <a:lnTo>
                    <a:pt x="350" y="118"/>
                  </a:lnTo>
                  <a:lnTo>
                    <a:pt x="352" y="118"/>
                  </a:lnTo>
                  <a:lnTo>
                    <a:pt x="352" y="120"/>
                  </a:lnTo>
                  <a:lnTo>
                    <a:pt x="352" y="122"/>
                  </a:lnTo>
                  <a:lnTo>
                    <a:pt x="354" y="122"/>
                  </a:lnTo>
                  <a:lnTo>
                    <a:pt x="352" y="122"/>
                  </a:lnTo>
                  <a:lnTo>
                    <a:pt x="354" y="122"/>
                  </a:lnTo>
                  <a:lnTo>
                    <a:pt x="354" y="124"/>
                  </a:lnTo>
                  <a:lnTo>
                    <a:pt x="354" y="126"/>
                  </a:lnTo>
                  <a:lnTo>
                    <a:pt x="356" y="126"/>
                  </a:lnTo>
                  <a:lnTo>
                    <a:pt x="356" y="128"/>
                  </a:lnTo>
                  <a:lnTo>
                    <a:pt x="356" y="130"/>
                  </a:lnTo>
                  <a:lnTo>
                    <a:pt x="358" y="130"/>
                  </a:lnTo>
                  <a:lnTo>
                    <a:pt x="358" y="132"/>
                  </a:lnTo>
                  <a:lnTo>
                    <a:pt x="360" y="132"/>
                  </a:lnTo>
                  <a:lnTo>
                    <a:pt x="360" y="135"/>
                  </a:lnTo>
                  <a:lnTo>
                    <a:pt x="360" y="137"/>
                  </a:lnTo>
                  <a:lnTo>
                    <a:pt x="362" y="137"/>
                  </a:lnTo>
                  <a:lnTo>
                    <a:pt x="360" y="137"/>
                  </a:lnTo>
                  <a:lnTo>
                    <a:pt x="362" y="137"/>
                  </a:lnTo>
                  <a:lnTo>
                    <a:pt x="362" y="139"/>
                  </a:lnTo>
                  <a:lnTo>
                    <a:pt x="362" y="141"/>
                  </a:lnTo>
                  <a:lnTo>
                    <a:pt x="364" y="141"/>
                  </a:lnTo>
                  <a:lnTo>
                    <a:pt x="364" y="143"/>
                  </a:lnTo>
                  <a:lnTo>
                    <a:pt x="364" y="141"/>
                  </a:lnTo>
                  <a:lnTo>
                    <a:pt x="364" y="143"/>
                  </a:lnTo>
                  <a:lnTo>
                    <a:pt x="366" y="143"/>
                  </a:lnTo>
                  <a:lnTo>
                    <a:pt x="366" y="145"/>
                  </a:lnTo>
                  <a:lnTo>
                    <a:pt x="366" y="143"/>
                  </a:lnTo>
                  <a:lnTo>
                    <a:pt x="366" y="145"/>
                  </a:lnTo>
                  <a:lnTo>
                    <a:pt x="366" y="143"/>
                  </a:lnTo>
                  <a:lnTo>
                    <a:pt x="366" y="145"/>
                  </a:lnTo>
                  <a:lnTo>
                    <a:pt x="364" y="145"/>
                  </a:lnTo>
                  <a:lnTo>
                    <a:pt x="366" y="145"/>
                  </a:lnTo>
                  <a:lnTo>
                    <a:pt x="366" y="147"/>
                  </a:lnTo>
                  <a:lnTo>
                    <a:pt x="368" y="147"/>
                  </a:lnTo>
                  <a:lnTo>
                    <a:pt x="368" y="149"/>
                  </a:lnTo>
                  <a:lnTo>
                    <a:pt x="370" y="149"/>
                  </a:lnTo>
                  <a:lnTo>
                    <a:pt x="370" y="151"/>
                  </a:lnTo>
                  <a:lnTo>
                    <a:pt x="370" y="153"/>
                  </a:lnTo>
                  <a:lnTo>
                    <a:pt x="370" y="153"/>
                  </a:lnTo>
                  <a:lnTo>
                    <a:pt x="370" y="155"/>
                  </a:lnTo>
                  <a:lnTo>
                    <a:pt x="372" y="155"/>
                  </a:lnTo>
                  <a:lnTo>
                    <a:pt x="372" y="155"/>
                  </a:lnTo>
                  <a:lnTo>
                    <a:pt x="374" y="157"/>
                  </a:lnTo>
                  <a:lnTo>
                    <a:pt x="374" y="159"/>
                  </a:lnTo>
                  <a:lnTo>
                    <a:pt x="376" y="159"/>
                  </a:lnTo>
                  <a:lnTo>
                    <a:pt x="376" y="161"/>
                  </a:lnTo>
                  <a:lnTo>
                    <a:pt x="378" y="161"/>
                  </a:lnTo>
                  <a:lnTo>
                    <a:pt x="378" y="163"/>
                  </a:lnTo>
                  <a:lnTo>
                    <a:pt x="380" y="165"/>
                  </a:lnTo>
                  <a:lnTo>
                    <a:pt x="380" y="167"/>
                  </a:lnTo>
                  <a:lnTo>
                    <a:pt x="380" y="169"/>
                  </a:lnTo>
                  <a:lnTo>
                    <a:pt x="382" y="169"/>
                  </a:lnTo>
                  <a:lnTo>
                    <a:pt x="382" y="171"/>
                  </a:lnTo>
                  <a:lnTo>
                    <a:pt x="382" y="173"/>
                  </a:lnTo>
                  <a:lnTo>
                    <a:pt x="384" y="173"/>
                  </a:lnTo>
                  <a:lnTo>
                    <a:pt x="384" y="175"/>
                  </a:lnTo>
                  <a:lnTo>
                    <a:pt x="384" y="177"/>
                  </a:lnTo>
                  <a:lnTo>
                    <a:pt x="386" y="179"/>
                  </a:lnTo>
                  <a:lnTo>
                    <a:pt x="386" y="181"/>
                  </a:lnTo>
                  <a:lnTo>
                    <a:pt x="388" y="181"/>
                  </a:lnTo>
                  <a:lnTo>
                    <a:pt x="388" y="183"/>
                  </a:lnTo>
                  <a:lnTo>
                    <a:pt x="390" y="183"/>
                  </a:lnTo>
                  <a:lnTo>
                    <a:pt x="390" y="185"/>
                  </a:lnTo>
                  <a:lnTo>
                    <a:pt x="390" y="187"/>
                  </a:lnTo>
                  <a:lnTo>
                    <a:pt x="392" y="187"/>
                  </a:lnTo>
                  <a:lnTo>
                    <a:pt x="392" y="189"/>
                  </a:lnTo>
                  <a:lnTo>
                    <a:pt x="394" y="189"/>
                  </a:lnTo>
                  <a:lnTo>
                    <a:pt x="394" y="191"/>
                  </a:lnTo>
                  <a:lnTo>
                    <a:pt x="394" y="189"/>
                  </a:lnTo>
                  <a:lnTo>
                    <a:pt x="392" y="189"/>
                  </a:lnTo>
                  <a:lnTo>
                    <a:pt x="390" y="189"/>
                  </a:lnTo>
                  <a:lnTo>
                    <a:pt x="390" y="191"/>
                  </a:lnTo>
                  <a:lnTo>
                    <a:pt x="390" y="189"/>
                  </a:lnTo>
                  <a:lnTo>
                    <a:pt x="388" y="189"/>
                  </a:lnTo>
                  <a:lnTo>
                    <a:pt x="386" y="189"/>
                  </a:lnTo>
                  <a:lnTo>
                    <a:pt x="386" y="187"/>
                  </a:lnTo>
                  <a:lnTo>
                    <a:pt x="386" y="189"/>
                  </a:lnTo>
                  <a:lnTo>
                    <a:pt x="388" y="189"/>
                  </a:lnTo>
                  <a:lnTo>
                    <a:pt x="386" y="189"/>
                  </a:lnTo>
                  <a:lnTo>
                    <a:pt x="386" y="187"/>
                  </a:lnTo>
                  <a:lnTo>
                    <a:pt x="386" y="189"/>
                  </a:lnTo>
                  <a:lnTo>
                    <a:pt x="388" y="189"/>
                  </a:lnTo>
                  <a:lnTo>
                    <a:pt x="390" y="189"/>
                  </a:lnTo>
                  <a:lnTo>
                    <a:pt x="390" y="191"/>
                  </a:lnTo>
                  <a:lnTo>
                    <a:pt x="388" y="191"/>
                  </a:lnTo>
                  <a:lnTo>
                    <a:pt x="390" y="191"/>
                  </a:lnTo>
                  <a:lnTo>
                    <a:pt x="388" y="191"/>
                  </a:lnTo>
                  <a:lnTo>
                    <a:pt x="390" y="191"/>
                  </a:lnTo>
                  <a:lnTo>
                    <a:pt x="390" y="193"/>
                  </a:lnTo>
                  <a:lnTo>
                    <a:pt x="392" y="193"/>
                  </a:lnTo>
                  <a:lnTo>
                    <a:pt x="390" y="193"/>
                  </a:lnTo>
                  <a:lnTo>
                    <a:pt x="392" y="193"/>
                  </a:lnTo>
                  <a:lnTo>
                    <a:pt x="392" y="191"/>
                  </a:lnTo>
                  <a:lnTo>
                    <a:pt x="390" y="191"/>
                  </a:lnTo>
                  <a:lnTo>
                    <a:pt x="392" y="191"/>
                  </a:lnTo>
                  <a:lnTo>
                    <a:pt x="392" y="189"/>
                  </a:lnTo>
                  <a:lnTo>
                    <a:pt x="394" y="191"/>
                  </a:lnTo>
                  <a:lnTo>
                    <a:pt x="396" y="191"/>
                  </a:lnTo>
                  <a:lnTo>
                    <a:pt x="396" y="193"/>
                  </a:lnTo>
                  <a:lnTo>
                    <a:pt x="398" y="193"/>
                  </a:lnTo>
                  <a:lnTo>
                    <a:pt x="398" y="195"/>
                  </a:lnTo>
                  <a:lnTo>
                    <a:pt x="398" y="197"/>
                  </a:lnTo>
                  <a:lnTo>
                    <a:pt x="400" y="197"/>
                  </a:lnTo>
                  <a:lnTo>
                    <a:pt x="400" y="199"/>
                  </a:lnTo>
                  <a:lnTo>
                    <a:pt x="400" y="201"/>
                  </a:lnTo>
                  <a:lnTo>
                    <a:pt x="402" y="201"/>
                  </a:lnTo>
                  <a:lnTo>
                    <a:pt x="402" y="203"/>
                  </a:lnTo>
                  <a:lnTo>
                    <a:pt x="404" y="203"/>
                  </a:lnTo>
                  <a:lnTo>
                    <a:pt x="402" y="203"/>
                  </a:lnTo>
                  <a:lnTo>
                    <a:pt x="400" y="203"/>
                  </a:lnTo>
                  <a:lnTo>
                    <a:pt x="402" y="203"/>
                  </a:lnTo>
                  <a:lnTo>
                    <a:pt x="400" y="203"/>
                  </a:lnTo>
                  <a:lnTo>
                    <a:pt x="400" y="203"/>
                  </a:lnTo>
                  <a:lnTo>
                    <a:pt x="402" y="203"/>
                  </a:lnTo>
                  <a:lnTo>
                    <a:pt x="402" y="203"/>
                  </a:lnTo>
                  <a:lnTo>
                    <a:pt x="402" y="203"/>
                  </a:lnTo>
                  <a:lnTo>
                    <a:pt x="402" y="203"/>
                  </a:lnTo>
                  <a:lnTo>
                    <a:pt x="402" y="203"/>
                  </a:lnTo>
                  <a:lnTo>
                    <a:pt x="402" y="203"/>
                  </a:lnTo>
                  <a:lnTo>
                    <a:pt x="402" y="203"/>
                  </a:lnTo>
                  <a:lnTo>
                    <a:pt x="402" y="203"/>
                  </a:lnTo>
                  <a:lnTo>
                    <a:pt x="402" y="203"/>
                  </a:lnTo>
                  <a:lnTo>
                    <a:pt x="404" y="203"/>
                  </a:lnTo>
                  <a:lnTo>
                    <a:pt x="402" y="203"/>
                  </a:lnTo>
                  <a:lnTo>
                    <a:pt x="404" y="203"/>
                  </a:lnTo>
                  <a:lnTo>
                    <a:pt x="402" y="203"/>
                  </a:lnTo>
                  <a:lnTo>
                    <a:pt x="404" y="203"/>
                  </a:lnTo>
                  <a:lnTo>
                    <a:pt x="404" y="205"/>
                  </a:lnTo>
                  <a:lnTo>
                    <a:pt x="404" y="203"/>
                  </a:lnTo>
                  <a:lnTo>
                    <a:pt x="404" y="205"/>
                  </a:lnTo>
                  <a:lnTo>
                    <a:pt x="404" y="207"/>
                  </a:lnTo>
                  <a:lnTo>
                    <a:pt x="404" y="209"/>
                  </a:lnTo>
                  <a:lnTo>
                    <a:pt x="406" y="209"/>
                  </a:lnTo>
                  <a:lnTo>
                    <a:pt x="406" y="211"/>
                  </a:lnTo>
                  <a:lnTo>
                    <a:pt x="406" y="213"/>
                  </a:lnTo>
                  <a:lnTo>
                    <a:pt x="406" y="211"/>
                  </a:lnTo>
                  <a:lnTo>
                    <a:pt x="406" y="213"/>
                  </a:lnTo>
                  <a:lnTo>
                    <a:pt x="406" y="215"/>
                  </a:lnTo>
                  <a:lnTo>
                    <a:pt x="408" y="215"/>
                  </a:lnTo>
                  <a:lnTo>
                    <a:pt x="406" y="215"/>
                  </a:lnTo>
                  <a:lnTo>
                    <a:pt x="408" y="215"/>
                  </a:lnTo>
                  <a:lnTo>
                    <a:pt x="408" y="217"/>
                  </a:lnTo>
                  <a:lnTo>
                    <a:pt x="408" y="219"/>
                  </a:lnTo>
                  <a:lnTo>
                    <a:pt x="408" y="221"/>
                  </a:lnTo>
                  <a:lnTo>
                    <a:pt x="408" y="223"/>
                  </a:lnTo>
                  <a:lnTo>
                    <a:pt x="408" y="225"/>
                  </a:lnTo>
                  <a:lnTo>
                    <a:pt x="408" y="227"/>
                  </a:lnTo>
                  <a:lnTo>
                    <a:pt x="408" y="229"/>
                  </a:lnTo>
                  <a:lnTo>
                    <a:pt x="410" y="229"/>
                  </a:lnTo>
                  <a:lnTo>
                    <a:pt x="410" y="231"/>
                  </a:lnTo>
                  <a:lnTo>
                    <a:pt x="410" y="233"/>
                  </a:lnTo>
                  <a:lnTo>
                    <a:pt x="410" y="235"/>
                  </a:lnTo>
                  <a:lnTo>
                    <a:pt x="410" y="237"/>
                  </a:lnTo>
                  <a:lnTo>
                    <a:pt x="410" y="235"/>
                  </a:lnTo>
                  <a:lnTo>
                    <a:pt x="410" y="233"/>
                  </a:lnTo>
                  <a:lnTo>
                    <a:pt x="410" y="231"/>
                  </a:lnTo>
                  <a:lnTo>
                    <a:pt x="410" y="229"/>
                  </a:lnTo>
                  <a:lnTo>
                    <a:pt x="410" y="227"/>
                  </a:lnTo>
                  <a:lnTo>
                    <a:pt x="408" y="227"/>
                  </a:lnTo>
                  <a:lnTo>
                    <a:pt x="410" y="227"/>
                  </a:lnTo>
                  <a:lnTo>
                    <a:pt x="408" y="227"/>
                  </a:lnTo>
                  <a:lnTo>
                    <a:pt x="408" y="225"/>
                  </a:lnTo>
                  <a:lnTo>
                    <a:pt x="410" y="225"/>
                  </a:lnTo>
                  <a:lnTo>
                    <a:pt x="408" y="225"/>
                  </a:lnTo>
                  <a:lnTo>
                    <a:pt x="410" y="225"/>
                  </a:lnTo>
                  <a:lnTo>
                    <a:pt x="410" y="223"/>
                  </a:lnTo>
                  <a:lnTo>
                    <a:pt x="408" y="223"/>
                  </a:lnTo>
                  <a:lnTo>
                    <a:pt x="410" y="223"/>
                  </a:lnTo>
                  <a:lnTo>
                    <a:pt x="408" y="223"/>
                  </a:lnTo>
                  <a:lnTo>
                    <a:pt x="408" y="221"/>
                  </a:lnTo>
                  <a:lnTo>
                    <a:pt x="408" y="219"/>
                  </a:lnTo>
                  <a:lnTo>
                    <a:pt x="408" y="217"/>
                  </a:lnTo>
                  <a:lnTo>
                    <a:pt x="408" y="215"/>
                  </a:lnTo>
                  <a:lnTo>
                    <a:pt x="408" y="213"/>
                  </a:lnTo>
                  <a:lnTo>
                    <a:pt x="406" y="213"/>
                  </a:lnTo>
                  <a:lnTo>
                    <a:pt x="406" y="211"/>
                  </a:lnTo>
                  <a:lnTo>
                    <a:pt x="408" y="211"/>
                  </a:lnTo>
                  <a:lnTo>
                    <a:pt x="408" y="213"/>
                  </a:lnTo>
                  <a:lnTo>
                    <a:pt x="408" y="215"/>
                  </a:lnTo>
                  <a:lnTo>
                    <a:pt x="408" y="217"/>
                  </a:lnTo>
                  <a:lnTo>
                    <a:pt x="408" y="219"/>
                  </a:lnTo>
                  <a:lnTo>
                    <a:pt x="408" y="221"/>
                  </a:lnTo>
                  <a:lnTo>
                    <a:pt x="410" y="223"/>
                  </a:lnTo>
                  <a:lnTo>
                    <a:pt x="410" y="225"/>
                  </a:lnTo>
                  <a:lnTo>
                    <a:pt x="410" y="227"/>
                  </a:lnTo>
                  <a:lnTo>
                    <a:pt x="410" y="229"/>
                  </a:lnTo>
                  <a:lnTo>
                    <a:pt x="410" y="231"/>
                  </a:lnTo>
                  <a:lnTo>
                    <a:pt x="410" y="233"/>
                  </a:lnTo>
                  <a:lnTo>
                    <a:pt x="410" y="235"/>
                  </a:lnTo>
                  <a:lnTo>
                    <a:pt x="410" y="237"/>
                  </a:lnTo>
                  <a:lnTo>
                    <a:pt x="410" y="239"/>
                  </a:lnTo>
                  <a:lnTo>
                    <a:pt x="410" y="241"/>
                  </a:lnTo>
                  <a:lnTo>
                    <a:pt x="410" y="243"/>
                  </a:lnTo>
                  <a:lnTo>
                    <a:pt x="410" y="241"/>
                  </a:lnTo>
                  <a:lnTo>
                    <a:pt x="410" y="239"/>
                  </a:lnTo>
                  <a:lnTo>
                    <a:pt x="410" y="237"/>
                  </a:lnTo>
                  <a:lnTo>
                    <a:pt x="410" y="239"/>
                  </a:lnTo>
                  <a:lnTo>
                    <a:pt x="410" y="241"/>
                  </a:lnTo>
                  <a:lnTo>
                    <a:pt x="410" y="243"/>
                  </a:lnTo>
                  <a:lnTo>
                    <a:pt x="410" y="245"/>
                  </a:lnTo>
                  <a:lnTo>
                    <a:pt x="410" y="247"/>
                  </a:lnTo>
                  <a:lnTo>
                    <a:pt x="410" y="249"/>
                  </a:lnTo>
                  <a:lnTo>
                    <a:pt x="410" y="251"/>
                  </a:lnTo>
                  <a:lnTo>
                    <a:pt x="410" y="249"/>
                  </a:lnTo>
                  <a:lnTo>
                    <a:pt x="410" y="251"/>
                  </a:lnTo>
                  <a:lnTo>
                    <a:pt x="410" y="251"/>
                  </a:lnTo>
                  <a:lnTo>
                    <a:pt x="410" y="253"/>
                  </a:lnTo>
                  <a:lnTo>
                    <a:pt x="410" y="255"/>
                  </a:lnTo>
                  <a:lnTo>
                    <a:pt x="412" y="255"/>
                  </a:lnTo>
                  <a:lnTo>
                    <a:pt x="410" y="255"/>
                  </a:lnTo>
                  <a:lnTo>
                    <a:pt x="412" y="255"/>
                  </a:lnTo>
                  <a:lnTo>
                    <a:pt x="410" y="255"/>
                  </a:lnTo>
                  <a:lnTo>
                    <a:pt x="412" y="255"/>
                  </a:lnTo>
                  <a:lnTo>
                    <a:pt x="412" y="257"/>
                  </a:lnTo>
                  <a:lnTo>
                    <a:pt x="412" y="259"/>
                  </a:lnTo>
                  <a:lnTo>
                    <a:pt x="412" y="257"/>
                  </a:lnTo>
                  <a:lnTo>
                    <a:pt x="412" y="259"/>
                  </a:lnTo>
                  <a:lnTo>
                    <a:pt x="410" y="259"/>
                  </a:lnTo>
                  <a:lnTo>
                    <a:pt x="412" y="259"/>
                  </a:lnTo>
                  <a:lnTo>
                    <a:pt x="410" y="259"/>
                  </a:lnTo>
                  <a:lnTo>
                    <a:pt x="412" y="259"/>
                  </a:lnTo>
                  <a:lnTo>
                    <a:pt x="412" y="261"/>
                  </a:lnTo>
                  <a:lnTo>
                    <a:pt x="412" y="263"/>
                  </a:lnTo>
                  <a:lnTo>
                    <a:pt x="410" y="263"/>
                  </a:lnTo>
                  <a:lnTo>
                    <a:pt x="410" y="265"/>
                  </a:lnTo>
                  <a:lnTo>
                    <a:pt x="410" y="267"/>
                  </a:lnTo>
                  <a:lnTo>
                    <a:pt x="410" y="269"/>
                  </a:lnTo>
                  <a:lnTo>
                    <a:pt x="410" y="271"/>
                  </a:lnTo>
                  <a:lnTo>
                    <a:pt x="410" y="273"/>
                  </a:lnTo>
                  <a:lnTo>
                    <a:pt x="408" y="273"/>
                  </a:lnTo>
                  <a:lnTo>
                    <a:pt x="408" y="275"/>
                  </a:lnTo>
                  <a:lnTo>
                    <a:pt x="406" y="275"/>
                  </a:lnTo>
                  <a:lnTo>
                    <a:pt x="408" y="275"/>
                  </a:lnTo>
                  <a:lnTo>
                    <a:pt x="408" y="277"/>
                  </a:lnTo>
                  <a:lnTo>
                    <a:pt x="408" y="275"/>
                  </a:lnTo>
                  <a:lnTo>
                    <a:pt x="406" y="275"/>
                  </a:lnTo>
                  <a:lnTo>
                    <a:pt x="406" y="277"/>
                  </a:lnTo>
                  <a:lnTo>
                    <a:pt x="406" y="275"/>
                  </a:lnTo>
                  <a:lnTo>
                    <a:pt x="406" y="277"/>
                  </a:lnTo>
                  <a:lnTo>
                    <a:pt x="408" y="277"/>
                  </a:lnTo>
                  <a:lnTo>
                    <a:pt x="406" y="277"/>
                  </a:lnTo>
                  <a:lnTo>
                    <a:pt x="408" y="277"/>
                  </a:lnTo>
                  <a:lnTo>
                    <a:pt x="406" y="277"/>
                  </a:lnTo>
                  <a:lnTo>
                    <a:pt x="408" y="277"/>
                  </a:lnTo>
                  <a:lnTo>
                    <a:pt x="406" y="277"/>
                  </a:lnTo>
                  <a:lnTo>
                    <a:pt x="408" y="277"/>
                  </a:lnTo>
                  <a:lnTo>
                    <a:pt x="406" y="277"/>
                  </a:lnTo>
                  <a:lnTo>
                    <a:pt x="408" y="277"/>
                  </a:lnTo>
                  <a:lnTo>
                    <a:pt x="406" y="277"/>
                  </a:lnTo>
                  <a:lnTo>
                    <a:pt x="408" y="277"/>
                  </a:lnTo>
                  <a:lnTo>
                    <a:pt x="408" y="279"/>
                  </a:lnTo>
                  <a:lnTo>
                    <a:pt x="406" y="279"/>
                  </a:lnTo>
                  <a:lnTo>
                    <a:pt x="408" y="279"/>
                  </a:lnTo>
                  <a:lnTo>
                    <a:pt x="406" y="279"/>
                  </a:lnTo>
                  <a:lnTo>
                    <a:pt x="408" y="279"/>
                  </a:lnTo>
                  <a:lnTo>
                    <a:pt x="406" y="279"/>
                  </a:lnTo>
                  <a:lnTo>
                    <a:pt x="408" y="279"/>
                  </a:lnTo>
                  <a:lnTo>
                    <a:pt x="406" y="279"/>
                  </a:lnTo>
                  <a:lnTo>
                    <a:pt x="406" y="281"/>
                  </a:lnTo>
                  <a:lnTo>
                    <a:pt x="406" y="279"/>
                  </a:lnTo>
                  <a:lnTo>
                    <a:pt x="406" y="281"/>
                  </a:lnTo>
                  <a:lnTo>
                    <a:pt x="406" y="279"/>
                  </a:lnTo>
                  <a:lnTo>
                    <a:pt x="406" y="281"/>
                  </a:lnTo>
                  <a:lnTo>
                    <a:pt x="406" y="283"/>
                  </a:lnTo>
                  <a:lnTo>
                    <a:pt x="406" y="285"/>
                  </a:lnTo>
                  <a:lnTo>
                    <a:pt x="406" y="283"/>
                  </a:lnTo>
                  <a:lnTo>
                    <a:pt x="406" y="285"/>
                  </a:lnTo>
                  <a:lnTo>
                    <a:pt x="406" y="287"/>
                  </a:lnTo>
                  <a:lnTo>
                    <a:pt x="404" y="287"/>
                  </a:lnTo>
                  <a:lnTo>
                    <a:pt x="406" y="287"/>
                  </a:lnTo>
                  <a:lnTo>
                    <a:pt x="404" y="289"/>
                  </a:lnTo>
                  <a:lnTo>
                    <a:pt x="406" y="289"/>
                  </a:lnTo>
                  <a:lnTo>
                    <a:pt x="404" y="289"/>
                  </a:lnTo>
                  <a:lnTo>
                    <a:pt x="406" y="289"/>
                  </a:lnTo>
                  <a:lnTo>
                    <a:pt x="406" y="291"/>
                  </a:lnTo>
                  <a:lnTo>
                    <a:pt x="406" y="293"/>
                  </a:lnTo>
                  <a:lnTo>
                    <a:pt x="406" y="291"/>
                  </a:lnTo>
                  <a:lnTo>
                    <a:pt x="406" y="293"/>
                  </a:lnTo>
                  <a:lnTo>
                    <a:pt x="406" y="295"/>
                  </a:lnTo>
                  <a:lnTo>
                    <a:pt x="408" y="295"/>
                  </a:lnTo>
                  <a:lnTo>
                    <a:pt x="408" y="297"/>
                  </a:lnTo>
                  <a:lnTo>
                    <a:pt x="406" y="297"/>
                  </a:lnTo>
                  <a:lnTo>
                    <a:pt x="408" y="297"/>
                  </a:lnTo>
                  <a:lnTo>
                    <a:pt x="406" y="297"/>
                  </a:lnTo>
                  <a:lnTo>
                    <a:pt x="406" y="299"/>
                  </a:lnTo>
                  <a:lnTo>
                    <a:pt x="404" y="299"/>
                  </a:lnTo>
                  <a:lnTo>
                    <a:pt x="406" y="299"/>
                  </a:lnTo>
                  <a:lnTo>
                    <a:pt x="406" y="299"/>
                  </a:lnTo>
                  <a:lnTo>
                    <a:pt x="404" y="299"/>
                  </a:lnTo>
                  <a:lnTo>
                    <a:pt x="406" y="299"/>
                  </a:lnTo>
                  <a:lnTo>
                    <a:pt x="406" y="299"/>
                  </a:lnTo>
                  <a:lnTo>
                    <a:pt x="404" y="299"/>
                  </a:lnTo>
                  <a:lnTo>
                    <a:pt x="404" y="299"/>
                  </a:lnTo>
                  <a:lnTo>
                    <a:pt x="406" y="299"/>
                  </a:lnTo>
                  <a:lnTo>
                    <a:pt x="404" y="299"/>
                  </a:lnTo>
                  <a:lnTo>
                    <a:pt x="404" y="301"/>
                  </a:lnTo>
                  <a:lnTo>
                    <a:pt x="402" y="301"/>
                  </a:lnTo>
                  <a:lnTo>
                    <a:pt x="404" y="301"/>
                  </a:lnTo>
                  <a:lnTo>
                    <a:pt x="402" y="301"/>
                  </a:lnTo>
                  <a:lnTo>
                    <a:pt x="404" y="301"/>
                  </a:lnTo>
                  <a:lnTo>
                    <a:pt x="402" y="301"/>
                  </a:lnTo>
                  <a:lnTo>
                    <a:pt x="404" y="301"/>
                  </a:lnTo>
                  <a:lnTo>
                    <a:pt x="402" y="301"/>
                  </a:lnTo>
                  <a:lnTo>
                    <a:pt x="402" y="303"/>
                  </a:lnTo>
                  <a:lnTo>
                    <a:pt x="404" y="303"/>
                  </a:lnTo>
                  <a:lnTo>
                    <a:pt x="402" y="303"/>
                  </a:lnTo>
                  <a:lnTo>
                    <a:pt x="404" y="303"/>
                  </a:lnTo>
                  <a:lnTo>
                    <a:pt x="404" y="305"/>
                  </a:lnTo>
                  <a:lnTo>
                    <a:pt x="406" y="305"/>
                  </a:lnTo>
                  <a:lnTo>
                    <a:pt x="408" y="303"/>
                  </a:lnTo>
                  <a:lnTo>
                    <a:pt x="408" y="305"/>
                  </a:lnTo>
                  <a:lnTo>
                    <a:pt x="408" y="303"/>
                  </a:lnTo>
                  <a:lnTo>
                    <a:pt x="408" y="301"/>
                  </a:lnTo>
                  <a:lnTo>
                    <a:pt x="408" y="299"/>
                  </a:lnTo>
                  <a:lnTo>
                    <a:pt x="408" y="301"/>
                  </a:lnTo>
                  <a:lnTo>
                    <a:pt x="408" y="299"/>
                  </a:lnTo>
                  <a:lnTo>
                    <a:pt x="406" y="299"/>
                  </a:lnTo>
                  <a:lnTo>
                    <a:pt x="408" y="299"/>
                  </a:lnTo>
                  <a:lnTo>
                    <a:pt x="406" y="299"/>
                  </a:lnTo>
                  <a:lnTo>
                    <a:pt x="408" y="299"/>
                  </a:lnTo>
                  <a:lnTo>
                    <a:pt x="408" y="299"/>
                  </a:lnTo>
                  <a:lnTo>
                    <a:pt x="410" y="299"/>
                  </a:lnTo>
                  <a:lnTo>
                    <a:pt x="410" y="297"/>
                  </a:lnTo>
                  <a:lnTo>
                    <a:pt x="412" y="297"/>
                  </a:lnTo>
                  <a:lnTo>
                    <a:pt x="412" y="299"/>
                  </a:lnTo>
                  <a:lnTo>
                    <a:pt x="410" y="299"/>
                  </a:lnTo>
                  <a:lnTo>
                    <a:pt x="410" y="299"/>
                  </a:lnTo>
                  <a:lnTo>
                    <a:pt x="410" y="301"/>
                  </a:lnTo>
                  <a:lnTo>
                    <a:pt x="408" y="301"/>
                  </a:lnTo>
                  <a:lnTo>
                    <a:pt x="408" y="303"/>
                  </a:lnTo>
                  <a:lnTo>
                    <a:pt x="408" y="305"/>
                  </a:lnTo>
                  <a:lnTo>
                    <a:pt x="408" y="307"/>
                  </a:lnTo>
                  <a:lnTo>
                    <a:pt x="406" y="307"/>
                  </a:lnTo>
                  <a:lnTo>
                    <a:pt x="408" y="307"/>
                  </a:lnTo>
                  <a:lnTo>
                    <a:pt x="408" y="309"/>
                  </a:lnTo>
                  <a:lnTo>
                    <a:pt x="406" y="309"/>
                  </a:lnTo>
                  <a:lnTo>
                    <a:pt x="406" y="311"/>
                  </a:lnTo>
                  <a:lnTo>
                    <a:pt x="404" y="311"/>
                  </a:lnTo>
                  <a:lnTo>
                    <a:pt x="406" y="311"/>
                  </a:lnTo>
                  <a:lnTo>
                    <a:pt x="404" y="311"/>
                  </a:lnTo>
                  <a:lnTo>
                    <a:pt x="404" y="313"/>
                  </a:lnTo>
                  <a:lnTo>
                    <a:pt x="402" y="313"/>
                  </a:lnTo>
                  <a:lnTo>
                    <a:pt x="402" y="315"/>
                  </a:lnTo>
                  <a:lnTo>
                    <a:pt x="402" y="317"/>
                  </a:lnTo>
                  <a:lnTo>
                    <a:pt x="400" y="317"/>
                  </a:lnTo>
                  <a:lnTo>
                    <a:pt x="400" y="319"/>
                  </a:lnTo>
                  <a:lnTo>
                    <a:pt x="400" y="317"/>
                  </a:lnTo>
                  <a:lnTo>
                    <a:pt x="400" y="319"/>
                  </a:lnTo>
                  <a:lnTo>
                    <a:pt x="400" y="317"/>
                  </a:lnTo>
                  <a:lnTo>
                    <a:pt x="400" y="319"/>
                  </a:lnTo>
                  <a:lnTo>
                    <a:pt x="400" y="321"/>
                  </a:lnTo>
                  <a:lnTo>
                    <a:pt x="398" y="321"/>
                  </a:lnTo>
                  <a:lnTo>
                    <a:pt x="396" y="321"/>
                  </a:lnTo>
                  <a:lnTo>
                    <a:pt x="398" y="321"/>
                  </a:lnTo>
                  <a:lnTo>
                    <a:pt x="398" y="319"/>
                  </a:lnTo>
                  <a:lnTo>
                    <a:pt x="400" y="319"/>
                  </a:lnTo>
                  <a:lnTo>
                    <a:pt x="400" y="317"/>
                  </a:lnTo>
                  <a:lnTo>
                    <a:pt x="398" y="317"/>
                  </a:lnTo>
                  <a:lnTo>
                    <a:pt x="400" y="317"/>
                  </a:lnTo>
                  <a:lnTo>
                    <a:pt x="400" y="315"/>
                  </a:lnTo>
                  <a:lnTo>
                    <a:pt x="402" y="315"/>
                  </a:lnTo>
                  <a:lnTo>
                    <a:pt x="402" y="313"/>
                  </a:lnTo>
                  <a:lnTo>
                    <a:pt x="402" y="311"/>
                  </a:lnTo>
                  <a:lnTo>
                    <a:pt x="402" y="313"/>
                  </a:lnTo>
                  <a:lnTo>
                    <a:pt x="404" y="313"/>
                  </a:lnTo>
                  <a:lnTo>
                    <a:pt x="404" y="311"/>
                  </a:lnTo>
                  <a:lnTo>
                    <a:pt x="404" y="309"/>
                  </a:lnTo>
                  <a:lnTo>
                    <a:pt x="404" y="311"/>
                  </a:lnTo>
                  <a:lnTo>
                    <a:pt x="404" y="309"/>
                  </a:lnTo>
                  <a:lnTo>
                    <a:pt x="404" y="311"/>
                  </a:lnTo>
                  <a:lnTo>
                    <a:pt x="404" y="309"/>
                  </a:lnTo>
                  <a:close/>
                  <a:moveTo>
                    <a:pt x="406" y="309"/>
                  </a:moveTo>
                  <a:lnTo>
                    <a:pt x="406" y="307"/>
                  </a:lnTo>
                  <a:lnTo>
                    <a:pt x="406" y="305"/>
                  </a:lnTo>
                  <a:lnTo>
                    <a:pt x="404" y="305"/>
                  </a:lnTo>
                  <a:lnTo>
                    <a:pt x="402" y="305"/>
                  </a:lnTo>
                  <a:lnTo>
                    <a:pt x="404" y="305"/>
                  </a:lnTo>
                  <a:lnTo>
                    <a:pt x="402" y="305"/>
                  </a:lnTo>
                  <a:lnTo>
                    <a:pt x="402" y="303"/>
                  </a:lnTo>
                  <a:lnTo>
                    <a:pt x="400" y="303"/>
                  </a:lnTo>
                  <a:lnTo>
                    <a:pt x="400" y="305"/>
                  </a:lnTo>
                  <a:lnTo>
                    <a:pt x="402" y="305"/>
                  </a:lnTo>
                  <a:lnTo>
                    <a:pt x="402" y="307"/>
                  </a:lnTo>
                  <a:lnTo>
                    <a:pt x="404" y="307"/>
                  </a:lnTo>
                  <a:lnTo>
                    <a:pt x="402" y="307"/>
                  </a:lnTo>
                  <a:lnTo>
                    <a:pt x="402" y="309"/>
                  </a:lnTo>
                  <a:lnTo>
                    <a:pt x="404" y="309"/>
                  </a:lnTo>
                  <a:lnTo>
                    <a:pt x="406" y="309"/>
                  </a:lnTo>
                  <a:close/>
                  <a:moveTo>
                    <a:pt x="398" y="305"/>
                  </a:moveTo>
                  <a:lnTo>
                    <a:pt x="400" y="305"/>
                  </a:lnTo>
                  <a:lnTo>
                    <a:pt x="398" y="305"/>
                  </a:lnTo>
                  <a:close/>
                  <a:moveTo>
                    <a:pt x="400" y="305"/>
                  </a:moveTo>
                  <a:lnTo>
                    <a:pt x="398" y="305"/>
                  </a:lnTo>
                  <a:lnTo>
                    <a:pt x="400" y="305"/>
                  </a:lnTo>
                  <a:lnTo>
                    <a:pt x="398" y="305"/>
                  </a:lnTo>
                  <a:lnTo>
                    <a:pt x="400" y="305"/>
                  </a:lnTo>
                  <a:lnTo>
                    <a:pt x="398" y="305"/>
                  </a:lnTo>
                  <a:lnTo>
                    <a:pt x="400" y="305"/>
                  </a:lnTo>
                  <a:close/>
                  <a:moveTo>
                    <a:pt x="398" y="303"/>
                  </a:moveTo>
                  <a:lnTo>
                    <a:pt x="398" y="305"/>
                  </a:lnTo>
                  <a:lnTo>
                    <a:pt x="398" y="303"/>
                  </a:lnTo>
                  <a:close/>
                  <a:moveTo>
                    <a:pt x="402" y="303"/>
                  </a:moveTo>
                  <a:lnTo>
                    <a:pt x="400" y="303"/>
                  </a:lnTo>
                  <a:lnTo>
                    <a:pt x="402" y="303"/>
                  </a:lnTo>
                  <a:lnTo>
                    <a:pt x="400" y="303"/>
                  </a:lnTo>
                  <a:lnTo>
                    <a:pt x="402" y="303"/>
                  </a:lnTo>
                  <a:close/>
                  <a:moveTo>
                    <a:pt x="396" y="303"/>
                  </a:moveTo>
                  <a:lnTo>
                    <a:pt x="396" y="305"/>
                  </a:lnTo>
                  <a:lnTo>
                    <a:pt x="396" y="303"/>
                  </a:lnTo>
                  <a:lnTo>
                    <a:pt x="396" y="305"/>
                  </a:lnTo>
                  <a:lnTo>
                    <a:pt x="396" y="303"/>
                  </a:lnTo>
                  <a:close/>
                  <a:moveTo>
                    <a:pt x="402" y="303"/>
                  </a:moveTo>
                  <a:lnTo>
                    <a:pt x="402" y="301"/>
                  </a:lnTo>
                  <a:lnTo>
                    <a:pt x="402" y="303"/>
                  </a:lnTo>
                  <a:lnTo>
                    <a:pt x="402" y="301"/>
                  </a:lnTo>
                  <a:lnTo>
                    <a:pt x="402" y="303"/>
                  </a:lnTo>
                  <a:lnTo>
                    <a:pt x="402" y="301"/>
                  </a:lnTo>
                  <a:lnTo>
                    <a:pt x="402" y="303"/>
                  </a:lnTo>
                  <a:close/>
                  <a:moveTo>
                    <a:pt x="402" y="301"/>
                  </a:moveTo>
                  <a:lnTo>
                    <a:pt x="402" y="303"/>
                  </a:lnTo>
                  <a:lnTo>
                    <a:pt x="402" y="301"/>
                  </a:lnTo>
                  <a:lnTo>
                    <a:pt x="402" y="303"/>
                  </a:lnTo>
                  <a:lnTo>
                    <a:pt x="402" y="301"/>
                  </a:lnTo>
                  <a:close/>
                  <a:moveTo>
                    <a:pt x="400" y="305"/>
                  </a:moveTo>
                  <a:lnTo>
                    <a:pt x="400" y="303"/>
                  </a:lnTo>
                  <a:lnTo>
                    <a:pt x="400" y="305"/>
                  </a:lnTo>
                  <a:close/>
                  <a:moveTo>
                    <a:pt x="400" y="303"/>
                  </a:moveTo>
                  <a:lnTo>
                    <a:pt x="398" y="303"/>
                  </a:lnTo>
                  <a:lnTo>
                    <a:pt x="400" y="303"/>
                  </a:lnTo>
                  <a:close/>
                  <a:moveTo>
                    <a:pt x="406" y="305"/>
                  </a:moveTo>
                  <a:lnTo>
                    <a:pt x="406" y="307"/>
                  </a:lnTo>
                  <a:lnTo>
                    <a:pt x="406" y="305"/>
                  </a:lnTo>
                  <a:close/>
                  <a:moveTo>
                    <a:pt x="406" y="307"/>
                  </a:moveTo>
                  <a:lnTo>
                    <a:pt x="406" y="305"/>
                  </a:lnTo>
                  <a:lnTo>
                    <a:pt x="406" y="307"/>
                  </a:lnTo>
                  <a:close/>
                  <a:moveTo>
                    <a:pt x="370" y="223"/>
                  </a:moveTo>
                  <a:lnTo>
                    <a:pt x="372" y="223"/>
                  </a:lnTo>
                  <a:lnTo>
                    <a:pt x="370" y="221"/>
                  </a:lnTo>
                  <a:lnTo>
                    <a:pt x="370" y="219"/>
                  </a:lnTo>
                  <a:lnTo>
                    <a:pt x="370" y="217"/>
                  </a:lnTo>
                  <a:lnTo>
                    <a:pt x="370" y="219"/>
                  </a:lnTo>
                  <a:lnTo>
                    <a:pt x="372" y="219"/>
                  </a:lnTo>
                  <a:lnTo>
                    <a:pt x="372" y="217"/>
                  </a:lnTo>
                  <a:lnTo>
                    <a:pt x="372" y="215"/>
                  </a:lnTo>
                  <a:lnTo>
                    <a:pt x="374" y="215"/>
                  </a:lnTo>
                  <a:lnTo>
                    <a:pt x="374" y="213"/>
                  </a:lnTo>
                  <a:lnTo>
                    <a:pt x="374" y="211"/>
                  </a:lnTo>
                  <a:lnTo>
                    <a:pt x="374" y="209"/>
                  </a:lnTo>
                  <a:lnTo>
                    <a:pt x="374" y="207"/>
                  </a:lnTo>
                  <a:lnTo>
                    <a:pt x="374" y="205"/>
                  </a:lnTo>
                  <a:lnTo>
                    <a:pt x="374" y="203"/>
                  </a:lnTo>
                  <a:lnTo>
                    <a:pt x="372" y="203"/>
                  </a:lnTo>
                  <a:lnTo>
                    <a:pt x="372" y="203"/>
                  </a:lnTo>
                  <a:lnTo>
                    <a:pt x="372" y="201"/>
                  </a:lnTo>
                  <a:lnTo>
                    <a:pt x="370" y="201"/>
                  </a:lnTo>
                  <a:lnTo>
                    <a:pt x="370" y="199"/>
                  </a:lnTo>
                  <a:lnTo>
                    <a:pt x="370" y="199"/>
                  </a:lnTo>
                  <a:lnTo>
                    <a:pt x="370" y="197"/>
                  </a:lnTo>
                  <a:lnTo>
                    <a:pt x="368" y="197"/>
                  </a:lnTo>
                  <a:lnTo>
                    <a:pt x="366" y="195"/>
                  </a:lnTo>
                  <a:lnTo>
                    <a:pt x="364" y="195"/>
                  </a:lnTo>
                  <a:lnTo>
                    <a:pt x="362" y="195"/>
                  </a:lnTo>
                  <a:lnTo>
                    <a:pt x="362" y="197"/>
                  </a:lnTo>
                  <a:lnTo>
                    <a:pt x="360" y="199"/>
                  </a:lnTo>
                  <a:lnTo>
                    <a:pt x="360" y="201"/>
                  </a:lnTo>
                  <a:lnTo>
                    <a:pt x="358" y="201"/>
                  </a:lnTo>
                  <a:lnTo>
                    <a:pt x="358" y="203"/>
                  </a:lnTo>
                  <a:lnTo>
                    <a:pt x="358" y="201"/>
                  </a:lnTo>
                  <a:lnTo>
                    <a:pt x="360" y="203"/>
                  </a:lnTo>
                  <a:lnTo>
                    <a:pt x="358" y="203"/>
                  </a:lnTo>
                  <a:lnTo>
                    <a:pt x="356" y="203"/>
                  </a:lnTo>
                  <a:lnTo>
                    <a:pt x="358" y="203"/>
                  </a:lnTo>
                  <a:lnTo>
                    <a:pt x="358" y="205"/>
                  </a:lnTo>
                  <a:lnTo>
                    <a:pt x="356" y="205"/>
                  </a:lnTo>
                  <a:lnTo>
                    <a:pt x="356" y="203"/>
                  </a:lnTo>
                  <a:lnTo>
                    <a:pt x="356" y="205"/>
                  </a:lnTo>
                  <a:lnTo>
                    <a:pt x="354" y="205"/>
                  </a:lnTo>
                  <a:lnTo>
                    <a:pt x="354" y="207"/>
                  </a:lnTo>
                  <a:lnTo>
                    <a:pt x="352" y="207"/>
                  </a:lnTo>
                  <a:lnTo>
                    <a:pt x="352" y="209"/>
                  </a:lnTo>
                  <a:lnTo>
                    <a:pt x="350" y="209"/>
                  </a:lnTo>
                  <a:lnTo>
                    <a:pt x="352" y="209"/>
                  </a:lnTo>
                  <a:lnTo>
                    <a:pt x="352" y="211"/>
                  </a:lnTo>
                  <a:lnTo>
                    <a:pt x="350" y="211"/>
                  </a:lnTo>
                  <a:lnTo>
                    <a:pt x="352" y="211"/>
                  </a:lnTo>
                  <a:lnTo>
                    <a:pt x="352" y="213"/>
                  </a:lnTo>
                  <a:lnTo>
                    <a:pt x="352" y="211"/>
                  </a:lnTo>
                  <a:lnTo>
                    <a:pt x="350" y="213"/>
                  </a:lnTo>
                  <a:lnTo>
                    <a:pt x="350" y="215"/>
                  </a:lnTo>
                  <a:lnTo>
                    <a:pt x="352" y="215"/>
                  </a:lnTo>
                  <a:lnTo>
                    <a:pt x="352" y="217"/>
                  </a:lnTo>
                  <a:lnTo>
                    <a:pt x="354" y="217"/>
                  </a:lnTo>
                  <a:lnTo>
                    <a:pt x="354" y="219"/>
                  </a:lnTo>
                  <a:lnTo>
                    <a:pt x="356" y="219"/>
                  </a:lnTo>
                  <a:lnTo>
                    <a:pt x="358" y="219"/>
                  </a:lnTo>
                  <a:lnTo>
                    <a:pt x="360" y="217"/>
                  </a:lnTo>
                  <a:lnTo>
                    <a:pt x="360" y="219"/>
                  </a:lnTo>
                  <a:lnTo>
                    <a:pt x="358" y="219"/>
                  </a:lnTo>
                  <a:lnTo>
                    <a:pt x="360" y="219"/>
                  </a:lnTo>
                  <a:lnTo>
                    <a:pt x="360" y="221"/>
                  </a:lnTo>
                  <a:lnTo>
                    <a:pt x="362" y="221"/>
                  </a:lnTo>
                  <a:lnTo>
                    <a:pt x="364" y="221"/>
                  </a:lnTo>
                  <a:lnTo>
                    <a:pt x="366" y="221"/>
                  </a:lnTo>
                  <a:lnTo>
                    <a:pt x="366" y="223"/>
                  </a:lnTo>
                  <a:lnTo>
                    <a:pt x="368" y="223"/>
                  </a:lnTo>
                  <a:lnTo>
                    <a:pt x="370" y="223"/>
                  </a:lnTo>
                  <a:lnTo>
                    <a:pt x="370" y="223"/>
                  </a:lnTo>
                  <a:lnTo>
                    <a:pt x="372" y="223"/>
                  </a:lnTo>
                  <a:lnTo>
                    <a:pt x="370" y="223"/>
                  </a:lnTo>
                  <a:close/>
                  <a:moveTo>
                    <a:pt x="400" y="203"/>
                  </a:moveTo>
                  <a:lnTo>
                    <a:pt x="402" y="203"/>
                  </a:lnTo>
                  <a:lnTo>
                    <a:pt x="400" y="203"/>
                  </a:lnTo>
                  <a:close/>
                  <a:moveTo>
                    <a:pt x="350" y="110"/>
                  </a:moveTo>
                  <a:lnTo>
                    <a:pt x="350" y="112"/>
                  </a:lnTo>
                  <a:lnTo>
                    <a:pt x="350" y="110"/>
                  </a:lnTo>
                  <a:close/>
                  <a:moveTo>
                    <a:pt x="76" y="48"/>
                  </a:moveTo>
                  <a:lnTo>
                    <a:pt x="76" y="46"/>
                  </a:lnTo>
                  <a:lnTo>
                    <a:pt x="78" y="46"/>
                  </a:lnTo>
                  <a:lnTo>
                    <a:pt x="76" y="46"/>
                  </a:lnTo>
                  <a:lnTo>
                    <a:pt x="76" y="48"/>
                  </a:lnTo>
                  <a:lnTo>
                    <a:pt x="78" y="48"/>
                  </a:lnTo>
                  <a:lnTo>
                    <a:pt x="80" y="48"/>
                  </a:lnTo>
                  <a:lnTo>
                    <a:pt x="78" y="48"/>
                  </a:lnTo>
                  <a:lnTo>
                    <a:pt x="76" y="48"/>
                  </a:lnTo>
                  <a:close/>
                  <a:moveTo>
                    <a:pt x="394" y="305"/>
                  </a:moveTo>
                  <a:lnTo>
                    <a:pt x="392" y="305"/>
                  </a:lnTo>
                  <a:lnTo>
                    <a:pt x="392" y="307"/>
                  </a:lnTo>
                  <a:lnTo>
                    <a:pt x="394" y="307"/>
                  </a:lnTo>
                  <a:lnTo>
                    <a:pt x="394" y="305"/>
                  </a:lnTo>
                  <a:close/>
                  <a:moveTo>
                    <a:pt x="384" y="307"/>
                  </a:moveTo>
                  <a:lnTo>
                    <a:pt x="384" y="309"/>
                  </a:lnTo>
                  <a:lnTo>
                    <a:pt x="386" y="309"/>
                  </a:lnTo>
                  <a:lnTo>
                    <a:pt x="386" y="307"/>
                  </a:lnTo>
                  <a:lnTo>
                    <a:pt x="384" y="307"/>
                  </a:lnTo>
                  <a:close/>
                  <a:moveTo>
                    <a:pt x="394" y="307"/>
                  </a:moveTo>
                  <a:lnTo>
                    <a:pt x="392" y="307"/>
                  </a:lnTo>
                  <a:lnTo>
                    <a:pt x="394" y="307"/>
                  </a:lnTo>
                  <a:lnTo>
                    <a:pt x="392" y="307"/>
                  </a:lnTo>
                  <a:lnTo>
                    <a:pt x="394" y="307"/>
                  </a:lnTo>
                  <a:close/>
                  <a:moveTo>
                    <a:pt x="386" y="307"/>
                  </a:moveTo>
                  <a:lnTo>
                    <a:pt x="386" y="309"/>
                  </a:lnTo>
                  <a:lnTo>
                    <a:pt x="388" y="309"/>
                  </a:lnTo>
                  <a:lnTo>
                    <a:pt x="386" y="307"/>
                  </a:lnTo>
                  <a:close/>
                  <a:moveTo>
                    <a:pt x="386" y="309"/>
                  </a:moveTo>
                  <a:lnTo>
                    <a:pt x="388" y="309"/>
                  </a:lnTo>
                  <a:lnTo>
                    <a:pt x="386" y="309"/>
                  </a:lnTo>
                  <a:lnTo>
                    <a:pt x="386" y="311"/>
                  </a:lnTo>
                  <a:lnTo>
                    <a:pt x="386" y="309"/>
                  </a:lnTo>
                  <a:close/>
                  <a:moveTo>
                    <a:pt x="384" y="311"/>
                  </a:moveTo>
                  <a:lnTo>
                    <a:pt x="386" y="311"/>
                  </a:lnTo>
                  <a:lnTo>
                    <a:pt x="386" y="309"/>
                  </a:lnTo>
                  <a:lnTo>
                    <a:pt x="386" y="311"/>
                  </a:lnTo>
                  <a:lnTo>
                    <a:pt x="386" y="309"/>
                  </a:lnTo>
                  <a:lnTo>
                    <a:pt x="384" y="309"/>
                  </a:lnTo>
                  <a:lnTo>
                    <a:pt x="384" y="311"/>
                  </a:lnTo>
                  <a:lnTo>
                    <a:pt x="384" y="309"/>
                  </a:lnTo>
                  <a:lnTo>
                    <a:pt x="384" y="311"/>
                  </a:lnTo>
                  <a:close/>
                  <a:moveTo>
                    <a:pt x="384" y="311"/>
                  </a:moveTo>
                  <a:lnTo>
                    <a:pt x="384" y="309"/>
                  </a:lnTo>
                  <a:lnTo>
                    <a:pt x="384" y="311"/>
                  </a:lnTo>
                  <a:close/>
                  <a:moveTo>
                    <a:pt x="384" y="309"/>
                  </a:moveTo>
                  <a:lnTo>
                    <a:pt x="382" y="309"/>
                  </a:lnTo>
                  <a:lnTo>
                    <a:pt x="384" y="309"/>
                  </a:lnTo>
                  <a:close/>
                  <a:moveTo>
                    <a:pt x="382" y="309"/>
                  </a:moveTo>
                  <a:lnTo>
                    <a:pt x="384" y="309"/>
                  </a:lnTo>
                  <a:lnTo>
                    <a:pt x="382" y="309"/>
                  </a:lnTo>
                  <a:lnTo>
                    <a:pt x="382" y="307"/>
                  </a:lnTo>
                  <a:lnTo>
                    <a:pt x="382" y="309"/>
                  </a:lnTo>
                  <a:lnTo>
                    <a:pt x="382" y="307"/>
                  </a:lnTo>
                  <a:lnTo>
                    <a:pt x="382" y="309"/>
                  </a:lnTo>
                  <a:lnTo>
                    <a:pt x="382" y="307"/>
                  </a:lnTo>
                  <a:lnTo>
                    <a:pt x="382" y="309"/>
                  </a:lnTo>
                  <a:lnTo>
                    <a:pt x="380" y="309"/>
                  </a:lnTo>
                  <a:lnTo>
                    <a:pt x="382" y="309"/>
                  </a:lnTo>
                  <a:close/>
                  <a:moveTo>
                    <a:pt x="380" y="309"/>
                  </a:moveTo>
                  <a:lnTo>
                    <a:pt x="380" y="307"/>
                  </a:lnTo>
                  <a:lnTo>
                    <a:pt x="380" y="309"/>
                  </a:lnTo>
                  <a:close/>
                  <a:moveTo>
                    <a:pt x="384" y="309"/>
                  </a:moveTo>
                  <a:lnTo>
                    <a:pt x="386" y="309"/>
                  </a:lnTo>
                  <a:lnTo>
                    <a:pt x="384" y="309"/>
                  </a:lnTo>
                  <a:lnTo>
                    <a:pt x="386" y="309"/>
                  </a:lnTo>
                  <a:lnTo>
                    <a:pt x="384" y="309"/>
                  </a:lnTo>
                  <a:close/>
                  <a:moveTo>
                    <a:pt x="386" y="309"/>
                  </a:moveTo>
                  <a:lnTo>
                    <a:pt x="384" y="309"/>
                  </a:lnTo>
                  <a:lnTo>
                    <a:pt x="386" y="309"/>
                  </a:lnTo>
                  <a:close/>
                </a:path>
              </a:pathLst>
            </a:custGeom>
            <a:solidFill>
              <a:srgbClr val="9F5353"/>
            </a:solidFill>
            <a:ln w="3175">
              <a:solidFill>
                <a:srgbClr val="4F81BD">
                  <a:lumMod val="40000"/>
                  <a:lumOff val="60000"/>
                </a:srgb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black"/>
                </a:solidFill>
                <a:effectLst/>
                <a:uLnTx/>
                <a:uFillTx/>
                <a:ea typeface="宋体" panose="02010600030101010101" pitchFamily="2" charset="-122"/>
              </a:endParaRPr>
            </a:p>
          </p:txBody>
        </p:sp>
        <p:sp>
          <p:nvSpPr>
            <p:cNvPr id="26" name="Freeform 1733">
              <a:extLst>
                <a:ext uri="{FF2B5EF4-FFF2-40B4-BE49-F238E27FC236}">
                  <a16:creationId xmlns:a16="http://schemas.microsoft.com/office/drawing/2014/main" id="{A2210142-1F68-A655-CBBB-5A9AB28BA25B}"/>
                </a:ext>
              </a:extLst>
            </p:cNvPr>
            <p:cNvSpPr>
              <a:spLocks noEditPoints="1"/>
            </p:cNvSpPr>
            <p:nvPr/>
          </p:nvSpPr>
          <p:spPr bwMode="auto">
            <a:xfrm>
              <a:off x="5953126" y="3657601"/>
              <a:ext cx="381000" cy="393700"/>
            </a:xfrm>
            <a:custGeom>
              <a:avLst/>
              <a:gdLst>
                <a:gd name="T0" fmla="*/ 212 w 240"/>
                <a:gd name="T1" fmla="*/ 218 h 248"/>
                <a:gd name="T2" fmla="*/ 218 w 240"/>
                <a:gd name="T3" fmla="*/ 214 h 248"/>
                <a:gd name="T4" fmla="*/ 220 w 240"/>
                <a:gd name="T5" fmla="*/ 212 h 248"/>
                <a:gd name="T6" fmla="*/ 222 w 240"/>
                <a:gd name="T7" fmla="*/ 210 h 248"/>
                <a:gd name="T8" fmla="*/ 220 w 240"/>
                <a:gd name="T9" fmla="*/ 208 h 248"/>
                <a:gd name="T10" fmla="*/ 220 w 240"/>
                <a:gd name="T11" fmla="*/ 218 h 248"/>
                <a:gd name="T12" fmla="*/ 222 w 240"/>
                <a:gd name="T13" fmla="*/ 210 h 248"/>
                <a:gd name="T14" fmla="*/ 216 w 240"/>
                <a:gd name="T15" fmla="*/ 208 h 248"/>
                <a:gd name="T16" fmla="*/ 214 w 240"/>
                <a:gd name="T17" fmla="*/ 204 h 248"/>
                <a:gd name="T18" fmla="*/ 220 w 240"/>
                <a:gd name="T19" fmla="*/ 202 h 248"/>
                <a:gd name="T20" fmla="*/ 218 w 240"/>
                <a:gd name="T21" fmla="*/ 202 h 248"/>
                <a:gd name="T22" fmla="*/ 218 w 240"/>
                <a:gd name="T23" fmla="*/ 198 h 248"/>
                <a:gd name="T24" fmla="*/ 218 w 240"/>
                <a:gd name="T25" fmla="*/ 206 h 248"/>
                <a:gd name="T26" fmla="*/ 214 w 240"/>
                <a:gd name="T27" fmla="*/ 200 h 248"/>
                <a:gd name="T28" fmla="*/ 212 w 240"/>
                <a:gd name="T29" fmla="*/ 200 h 248"/>
                <a:gd name="T30" fmla="*/ 218 w 240"/>
                <a:gd name="T31" fmla="*/ 196 h 248"/>
                <a:gd name="T32" fmla="*/ 218 w 240"/>
                <a:gd name="T33" fmla="*/ 196 h 248"/>
                <a:gd name="T34" fmla="*/ 220 w 240"/>
                <a:gd name="T35" fmla="*/ 194 h 248"/>
                <a:gd name="T36" fmla="*/ 220 w 240"/>
                <a:gd name="T37" fmla="*/ 190 h 248"/>
                <a:gd name="T38" fmla="*/ 222 w 240"/>
                <a:gd name="T39" fmla="*/ 188 h 248"/>
                <a:gd name="T40" fmla="*/ 218 w 240"/>
                <a:gd name="T41" fmla="*/ 194 h 248"/>
                <a:gd name="T42" fmla="*/ 224 w 240"/>
                <a:gd name="T43" fmla="*/ 188 h 248"/>
                <a:gd name="T44" fmla="*/ 108 w 240"/>
                <a:gd name="T45" fmla="*/ 4 h 248"/>
                <a:gd name="T46" fmla="*/ 110 w 240"/>
                <a:gd name="T47" fmla="*/ 22 h 248"/>
                <a:gd name="T48" fmla="*/ 132 w 240"/>
                <a:gd name="T49" fmla="*/ 38 h 248"/>
                <a:gd name="T50" fmla="*/ 150 w 240"/>
                <a:gd name="T51" fmla="*/ 58 h 248"/>
                <a:gd name="T52" fmla="*/ 176 w 240"/>
                <a:gd name="T53" fmla="*/ 76 h 248"/>
                <a:gd name="T54" fmla="*/ 182 w 240"/>
                <a:gd name="T55" fmla="*/ 86 h 248"/>
                <a:gd name="T56" fmla="*/ 198 w 240"/>
                <a:gd name="T57" fmla="*/ 96 h 248"/>
                <a:gd name="T58" fmla="*/ 204 w 240"/>
                <a:gd name="T59" fmla="*/ 112 h 248"/>
                <a:gd name="T60" fmla="*/ 222 w 240"/>
                <a:gd name="T61" fmla="*/ 132 h 248"/>
                <a:gd name="T62" fmla="*/ 240 w 240"/>
                <a:gd name="T63" fmla="*/ 146 h 248"/>
                <a:gd name="T64" fmla="*/ 228 w 240"/>
                <a:gd name="T65" fmla="*/ 178 h 248"/>
                <a:gd name="T66" fmla="*/ 218 w 240"/>
                <a:gd name="T67" fmla="*/ 184 h 248"/>
                <a:gd name="T68" fmla="*/ 226 w 240"/>
                <a:gd name="T69" fmla="*/ 188 h 248"/>
                <a:gd name="T70" fmla="*/ 220 w 240"/>
                <a:gd name="T71" fmla="*/ 190 h 248"/>
                <a:gd name="T72" fmla="*/ 214 w 240"/>
                <a:gd name="T73" fmla="*/ 198 h 248"/>
                <a:gd name="T74" fmla="*/ 210 w 240"/>
                <a:gd name="T75" fmla="*/ 196 h 248"/>
                <a:gd name="T76" fmla="*/ 212 w 240"/>
                <a:gd name="T77" fmla="*/ 200 h 248"/>
                <a:gd name="T78" fmla="*/ 216 w 240"/>
                <a:gd name="T79" fmla="*/ 206 h 248"/>
                <a:gd name="T80" fmla="*/ 216 w 240"/>
                <a:gd name="T81" fmla="*/ 208 h 248"/>
                <a:gd name="T82" fmla="*/ 214 w 240"/>
                <a:gd name="T83" fmla="*/ 216 h 248"/>
                <a:gd name="T84" fmla="*/ 218 w 240"/>
                <a:gd name="T85" fmla="*/ 222 h 248"/>
                <a:gd name="T86" fmla="*/ 216 w 240"/>
                <a:gd name="T87" fmla="*/ 222 h 248"/>
                <a:gd name="T88" fmla="*/ 216 w 240"/>
                <a:gd name="T89" fmla="*/ 224 h 248"/>
                <a:gd name="T90" fmla="*/ 202 w 240"/>
                <a:gd name="T91" fmla="*/ 222 h 248"/>
                <a:gd name="T92" fmla="*/ 196 w 240"/>
                <a:gd name="T93" fmla="*/ 234 h 248"/>
                <a:gd name="T94" fmla="*/ 190 w 240"/>
                <a:gd name="T95" fmla="*/ 246 h 248"/>
                <a:gd name="T96" fmla="*/ 158 w 240"/>
                <a:gd name="T97" fmla="*/ 238 h 248"/>
                <a:gd name="T98" fmla="*/ 120 w 240"/>
                <a:gd name="T99" fmla="*/ 240 h 248"/>
                <a:gd name="T100" fmla="*/ 84 w 240"/>
                <a:gd name="T101" fmla="*/ 244 h 248"/>
                <a:gd name="T102" fmla="*/ 52 w 240"/>
                <a:gd name="T103" fmla="*/ 238 h 248"/>
                <a:gd name="T104" fmla="*/ 44 w 240"/>
                <a:gd name="T105" fmla="*/ 208 h 248"/>
                <a:gd name="T106" fmla="*/ 38 w 240"/>
                <a:gd name="T107" fmla="*/ 184 h 248"/>
                <a:gd name="T108" fmla="*/ 48 w 240"/>
                <a:gd name="T109" fmla="*/ 160 h 248"/>
                <a:gd name="T110" fmla="*/ 38 w 240"/>
                <a:gd name="T111" fmla="*/ 144 h 248"/>
                <a:gd name="T112" fmla="*/ 28 w 240"/>
                <a:gd name="T113" fmla="*/ 118 h 248"/>
                <a:gd name="T114" fmla="*/ 18 w 240"/>
                <a:gd name="T115" fmla="*/ 84 h 248"/>
                <a:gd name="T116" fmla="*/ 8 w 240"/>
                <a:gd name="T117" fmla="*/ 52 h 248"/>
                <a:gd name="T118" fmla="*/ 2 w 240"/>
                <a:gd name="T119" fmla="*/ 18 h 248"/>
                <a:gd name="T120" fmla="*/ 34 w 240"/>
                <a:gd name="T121" fmla="*/ 10 h 248"/>
                <a:gd name="T122" fmla="*/ 74 w 240"/>
                <a:gd name="T123" fmla="*/ 6 h 248"/>
                <a:gd name="T124" fmla="*/ 110 w 240"/>
                <a:gd name="T125" fmla="*/ 0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40" h="248">
                  <a:moveTo>
                    <a:pt x="220" y="222"/>
                  </a:moveTo>
                  <a:lnTo>
                    <a:pt x="220" y="220"/>
                  </a:lnTo>
                  <a:lnTo>
                    <a:pt x="220" y="222"/>
                  </a:lnTo>
                  <a:close/>
                  <a:moveTo>
                    <a:pt x="220" y="218"/>
                  </a:moveTo>
                  <a:lnTo>
                    <a:pt x="218" y="218"/>
                  </a:lnTo>
                  <a:lnTo>
                    <a:pt x="220" y="218"/>
                  </a:lnTo>
                  <a:close/>
                  <a:moveTo>
                    <a:pt x="218" y="218"/>
                  </a:moveTo>
                  <a:lnTo>
                    <a:pt x="218" y="220"/>
                  </a:lnTo>
                  <a:lnTo>
                    <a:pt x="218" y="218"/>
                  </a:lnTo>
                  <a:close/>
                  <a:moveTo>
                    <a:pt x="218" y="218"/>
                  </a:moveTo>
                  <a:lnTo>
                    <a:pt x="216" y="218"/>
                  </a:lnTo>
                  <a:lnTo>
                    <a:pt x="218" y="218"/>
                  </a:lnTo>
                  <a:lnTo>
                    <a:pt x="216" y="218"/>
                  </a:lnTo>
                  <a:lnTo>
                    <a:pt x="216" y="216"/>
                  </a:lnTo>
                  <a:lnTo>
                    <a:pt x="218" y="216"/>
                  </a:lnTo>
                  <a:lnTo>
                    <a:pt x="218" y="218"/>
                  </a:lnTo>
                  <a:close/>
                  <a:moveTo>
                    <a:pt x="220" y="216"/>
                  </a:moveTo>
                  <a:lnTo>
                    <a:pt x="218" y="216"/>
                  </a:lnTo>
                  <a:lnTo>
                    <a:pt x="220" y="216"/>
                  </a:lnTo>
                  <a:close/>
                  <a:moveTo>
                    <a:pt x="214" y="218"/>
                  </a:moveTo>
                  <a:lnTo>
                    <a:pt x="212" y="218"/>
                  </a:lnTo>
                  <a:lnTo>
                    <a:pt x="214" y="218"/>
                  </a:lnTo>
                  <a:close/>
                  <a:moveTo>
                    <a:pt x="216" y="216"/>
                  </a:moveTo>
                  <a:lnTo>
                    <a:pt x="216" y="218"/>
                  </a:lnTo>
                  <a:lnTo>
                    <a:pt x="216" y="216"/>
                  </a:lnTo>
                  <a:close/>
                  <a:moveTo>
                    <a:pt x="218" y="216"/>
                  </a:moveTo>
                  <a:lnTo>
                    <a:pt x="218" y="218"/>
                  </a:lnTo>
                  <a:lnTo>
                    <a:pt x="218" y="216"/>
                  </a:lnTo>
                  <a:close/>
                  <a:moveTo>
                    <a:pt x="220" y="216"/>
                  </a:moveTo>
                  <a:lnTo>
                    <a:pt x="218" y="216"/>
                  </a:lnTo>
                  <a:lnTo>
                    <a:pt x="220" y="216"/>
                  </a:lnTo>
                  <a:lnTo>
                    <a:pt x="218" y="216"/>
                  </a:lnTo>
                  <a:lnTo>
                    <a:pt x="220" y="216"/>
                  </a:lnTo>
                  <a:close/>
                  <a:moveTo>
                    <a:pt x="218" y="214"/>
                  </a:moveTo>
                  <a:lnTo>
                    <a:pt x="216" y="214"/>
                  </a:lnTo>
                  <a:lnTo>
                    <a:pt x="218" y="214"/>
                  </a:lnTo>
                  <a:close/>
                  <a:moveTo>
                    <a:pt x="218" y="214"/>
                  </a:moveTo>
                  <a:lnTo>
                    <a:pt x="216" y="214"/>
                  </a:lnTo>
                  <a:lnTo>
                    <a:pt x="218" y="214"/>
                  </a:lnTo>
                  <a:close/>
                  <a:moveTo>
                    <a:pt x="218" y="214"/>
                  </a:moveTo>
                  <a:lnTo>
                    <a:pt x="220" y="214"/>
                  </a:lnTo>
                  <a:lnTo>
                    <a:pt x="218" y="214"/>
                  </a:lnTo>
                  <a:close/>
                  <a:moveTo>
                    <a:pt x="216" y="214"/>
                  </a:moveTo>
                  <a:lnTo>
                    <a:pt x="216" y="216"/>
                  </a:lnTo>
                  <a:lnTo>
                    <a:pt x="216" y="214"/>
                  </a:lnTo>
                  <a:lnTo>
                    <a:pt x="216" y="216"/>
                  </a:lnTo>
                  <a:lnTo>
                    <a:pt x="214" y="216"/>
                  </a:lnTo>
                  <a:lnTo>
                    <a:pt x="214" y="214"/>
                  </a:lnTo>
                  <a:lnTo>
                    <a:pt x="216" y="214"/>
                  </a:lnTo>
                  <a:close/>
                  <a:moveTo>
                    <a:pt x="220" y="212"/>
                  </a:moveTo>
                  <a:lnTo>
                    <a:pt x="220" y="214"/>
                  </a:lnTo>
                  <a:lnTo>
                    <a:pt x="218" y="214"/>
                  </a:lnTo>
                  <a:lnTo>
                    <a:pt x="218" y="216"/>
                  </a:lnTo>
                  <a:lnTo>
                    <a:pt x="218" y="214"/>
                  </a:lnTo>
                  <a:lnTo>
                    <a:pt x="220" y="214"/>
                  </a:lnTo>
                  <a:lnTo>
                    <a:pt x="220" y="216"/>
                  </a:lnTo>
                  <a:lnTo>
                    <a:pt x="218" y="216"/>
                  </a:lnTo>
                  <a:lnTo>
                    <a:pt x="218" y="214"/>
                  </a:lnTo>
                  <a:lnTo>
                    <a:pt x="218" y="212"/>
                  </a:lnTo>
                  <a:lnTo>
                    <a:pt x="220" y="214"/>
                  </a:lnTo>
                  <a:lnTo>
                    <a:pt x="220" y="212"/>
                  </a:lnTo>
                  <a:lnTo>
                    <a:pt x="220" y="214"/>
                  </a:lnTo>
                  <a:lnTo>
                    <a:pt x="220" y="212"/>
                  </a:lnTo>
                  <a:lnTo>
                    <a:pt x="218" y="212"/>
                  </a:lnTo>
                  <a:lnTo>
                    <a:pt x="220" y="212"/>
                  </a:lnTo>
                  <a:close/>
                  <a:moveTo>
                    <a:pt x="218" y="212"/>
                  </a:moveTo>
                  <a:lnTo>
                    <a:pt x="220" y="212"/>
                  </a:lnTo>
                  <a:lnTo>
                    <a:pt x="220" y="214"/>
                  </a:lnTo>
                  <a:lnTo>
                    <a:pt x="218" y="212"/>
                  </a:lnTo>
                  <a:lnTo>
                    <a:pt x="218" y="214"/>
                  </a:lnTo>
                  <a:lnTo>
                    <a:pt x="218" y="212"/>
                  </a:lnTo>
                  <a:close/>
                  <a:moveTo>
                    <a:pt x="218" y="212"/>
                  </a:moveTo>
                  <a:lnTo>
                    <a:pt x="218" y="214"/>
                  </a:lnTo>
                  <a:lnTo>
                    <a:pt x="216" y="214"/>
                  </a:lnTo>
                  <a:lnTo>
                    <a:pt x="218" y="214"/>
                  </a:lnTo>
                  <a:lnTo>
                    <a:pt x="216" y="214"/>
                  </a:lnTo>
                  <a:lnTo>
                    <a:pt x="216" y="212"/>
                  </a:lnTo>
                  <a:lnTo>
                    <a:pt x="218" y="212"/>
                  </a:lnTo>
                  <a:close/>
                  <a:moveTo>
                    <a:pt x="218" y="212"/>
                  </a:moveTo>
                  <a:lnTo>
                    <a:pt x="216" y="212"/>
                  </a:lnTo>
                  <a:lnTo>
                    <a:pt x="218" y="212"/>
                  </a:lnTo>
                  <a:close/>
                  <a:moveTo>
                    <a:pt x="222" y="210"/>
                  </a:moveTo>
                  <a:lnTo>
                    <a:pt x="222" y="208"/>
                  </a:lnTo>
                  <a:lnTo>
                    <a:pt x="222" y="210"/>
                  </a:lnTo>
                  <a:close/>
                  <a:moveTo>
                    <a:pt x="218" y="210"/>
                  </a:moveTo>
                  <a:lnTo>
                    <a:pt x="218" y="208"/>
                  </a:lnTo>
                  <a:lnTo>
                    <a:pt x="218" y="210"/>
                  </a:lnTo>
                  <a:close/>
                  <a:moveTo>
                    <a:pt x="218" y="208"/>
                  </a:moveTo>
                  <a:lnTo>
                    <a:pt x="220" y="208"/>
                  </a:lnTo>
                  <a:lnTo>
                    <a:pt x="220" y="210"/>
                  </a:lnTo>
                  <a:lnTo>
                    <a:pt x="218" y="210"/>
                  </a:lnTo>
                  <a:lnTo>
                    <a:pt x="220" y="210"/>
                  </a:lnTo>
                  <a:lnTo>
                    <a:pt x="218" y="210"/>
                  </a:lnTo>
                  <a:lnTo>
                    <a:pt x="218" y="212"/>
                  </a:lnTo>
                  <a:lnTo>
                    <a:pt x="218" y="210"/>
                  </a:lnTo>
                  <a:lnTo>
                    <a:pt x="218" y="212"/>
                  </a:lnTo>
                  <a:lnTo>
                    <a:pt x="218" y="210"/>
                  </a:lnTo>
                  <a:lnTo>
                    <a:pt x="220" y="210"/>
                  </a:lnTo>
                  <a:lnTo>
                    <a:pt x="218" y="210"/>
                  </a:lnTo>
                  <a:lnTo>
                    <a:pt x="220" y="210"/>
                  </a:lnTo>
                  <a:lnTo>
                    <a:pt x="218" y="210"/>
                  </a:lnTo>
                  <a:lnTo>
                    <a:pt x="220" y="210"/>
                  </a:lnTo>
                  <a:lnTo>
                    <a:pt x="218" y="210"/>
                  </a:lnTo>
                  <a:lnTo>
                    <a:pt x="220" y="210"/>
                  </a:lnTo>
                  <a:lnTo>
                    <a:pt x="220" y="208"/>
                  </a:lnTo>
                  <a:lnTo>
                    <a:pt x="220" y="210"/>
                  </a:lnTo>
                  <a:lnTo>
                    <a:pt x="220" y="212"/>
                  </a:lnTo>
                  <a:lnTo>
                    <a:pt x="218" y="212"/>
                  </a:lnTo>
                  <a:lnTo>
                    <a:pt x="216" y="212"/>
                  </a:lnTo>
                  <a:lnTo>
                    <a:pt x="216" y="210"/>
                  </a:lnTo>
                  <a:lnTo>
                    <a:pt x="218" y="210"/>
                  </a:lnTo>
                  <a:lnTo>
                    <a:pt x="216" y="210"/>
                  </a:lnTo>
                  <a:lnTo>
                    <a:pt x="218" y="210"/>
                  </a:lnTo>
                  <a:lnTo>
                    <a:pt x="218" y="208"/>
                  </a:lnTo>
                  <a:close/>
                  <a:moveTo>
                    <a:pt x="222" y="210"/>
                  </a:moveTo>
                  <a:lnTo>
                    <a:pt x="220" y="210"/>
                  </a:lnTo>
                  <a:lnTo>
                    <a:pt x="222" y="210"/>
                  </a:lnTo>
                  <a:lnTo>
                    <a:pt x="222" y="212"/>
                  </a:lnTo>
                  <a:lnTo>
                    <a:pt x="222" y="210"/>
                  </a:lnTo>
                  <a:lnTo>
                    <a:pt x="222" y="212"/>
                  </a:lnTo>
                  <a:lnTo>
                    <a:pt x="222" y="210"/>
                  </a:lnTo>
                  <a:lnTo>
                    <a:pt x="222" y="212"/>
                  </a:lnTo>
                  <a:lnTo>
                    <a:pt x="222" y="214"/>
                  </a:lnTo>
                  <a:lnTo>
                    <a:pt x="222" y="216"/>
                  </a:lnTo>
                  <a:lnTo>
                    <a:pt x="222" y="218"/>
                  </a:lnTo>
                  <a:lnTo>
                    <a:pt x="220" y="218"/>
                  </a:lnTo>
                  <a:lnTo>
                    <a:pt x="220" y="220"/>
                  </a:lnTo>
                  <a:lnTo>
                    <a:pt x="220" y="222"/>
                  </a:lnTo>
                  <a:lnTo>
                    <a:pt x="222" y="222"/>
                  </a:lnTo>
                  <a:lnTo>
                    <a:pt x="222" y="224"/>
                  </a:lnTo>
                  <a:lnTo>
                    <a:pt x="220" y="224"/>
                  </a:lnTo>
                  <a:lnTo>
                    <a:pt x="222" y="224"/>
                  </a:lnTo>
                  <a:lnTo>
                    <a:pt x="220" y="224"/>
                  </a:lnTo>
                  <a:lnTo>
                    <a:pt x="220" y="222"/>
                  </a:lnTo>
                  <a:lnTo>
                    <a:pt x="220" y="220"/>
                  </a:lnTo>
                  <a:lnTo>
                    <a:pt x="220" y="218"/>
                  </a:lnTo>
                  <a:lnTo>
                    <a:pt x="220" y="216"/>
                  </a:lnTo>
                  <a:lnTo>
                    <a:pt x="220" y="214"/>
                  </a:lnTo>
                  <a:lnTo>
                    <a:pt x="218" y="214"/>
                  </a:lnTo>
                  <a:lnTo>
                    <a:pt x="220" y="214"/>
                  </a:lnTo>
                  <a:lnTo>
                    <a:pt x="218" y="214"/>
                  </a:lnTo>
                  <a:lnTo>
                    <a:pt x="220" y="214"/>
                  </a:lnTo>
                  <a:lnTo>
                    <a:pt x="220" y="212"/>
                  </a:lnTo>
                  <a:lnTo>
                    <a:pt x="220" y="210"/>
                  </a:lnTo>
                  <a:lnTo>
                    <a:pt x="220" y="208"/>
                  </a:lnTo>
                  <a:lnTo>
                    <a:pt x="222" y="208"/>
                  </a:lnTo>
                  <a:lnTo>
                    <a:pt x="222" y="210"/>
                  </a:lnTo>
                  <a:close/>
                  <a:moveTo>
                    <a:pt x="214" y="210"/>
                  </a:moveTo>
                  <a:lnTo>
                    <a:pt x="212" y="208"/>
                  </a:lnTo>
                  <a:lnTo>
                    <a:pt x="214" y="208"/>
                  </a:lnTo>
                  <a:lnTo>
                    <a:pt x="214" y="210"/>
                  </a:lnTo>
                  <a:close/>
                  <a:moveTo>
                    <a:pt x="216" y="208"/>
                  </a:moveTo>
                  <a:lnTo>
                    <a:pt x="218" y="208"/>
                  </a:lnTo>
                  <a:lnTo>
                    <a:pt x="216" y="208"/>
                  </a:lnTo>
                  <a:lnTo>
                    <a:pt x="216" y="206"/>
                  </a:lnTo>
                  <a:lnTo>
                    <a:pt x="216" y="208"/>
                  </a:lnTo>
                  <a:close/>
                  <a:moveTo>
                    <a:pt x="214" y="208"/>
                  </a:moveTo>
                  <a:lnTo>
                    <a:pt x="216" y="208"/>
                  </a:lnTo>
                  <a:lnTo>
                    <a:pt x="214" y="208"/>
                  </a:lnTo>
                  <a:close/>
                  <a:moveTo>
                    <a:pt x="214" y="206"/>
                  </a:moveTo>
                  <a:lnTo>
                    <a:pt x="214" y="208"/>
                  </a:lnTo>
                  <a:lnTo>
                    <a:pt x="214" y="206"/>
                  </a:lnTo>
                  <a:close/>
                  <a:moveTo>
                    <a:pt x="216" y="206"/>
                  </a:moveTo>
                  <a:lnTo>
                    <a:pt x="218" y="206"/>
                  </a:lnTo>
                  <a:lnTo>
                    <a:pt x="216" y="206"/>
                  </a:lnTo>
                  <a:lnTo>
                    <a:pt x="218" y="206"/>
                  </a:lnTo>
                  <a:lnTo>
                    <a:pt x="216" y="206"/>
                  </a:lnTo>
                  <a:lnTo>
                    <a:pt x="216" y="208"/>
                  </a:lnTo>
                  <a:lnTo>
                    <a:pt x="214" y="208"/>
                  </a:lnTo>
                  <a:lnTo>
                    <a:pt x="214" y="206"/>
                  </a:lnTo>
                  <a:lnTo>
                    <a:pt x="216" y="206"/>
                  </a:lnTo>
                  <a:close/>
                  <a:moveTo>
                    <a:pt x="218" y="206"/>
                  </a:moveTo>
                  <a:lnTo>
                    <a:pt x="218" y="208"/>
                  </a:lnTo>
                  <a:lnTo>
                    <a:pt x="218" y="206"/>
                  </a:lnTo>
                  <a:lnTo>
                    <a:pt x="218" y="208"/>
                  </a:lnTo>
                  <a:lnTo>
                    <a:pt x="218" y="206"/>
                  </a:lnTo>
                  <a:close/>
                  <a:moveTo>
                    <a:pt x="218" y="206"/>
                  </a:moveTo>
                  <a:lnTo>
                    <a:pt x="216" y="206"/>
                  </a:lnTo>
                  <a:lnTo>
                    <a:pt x="218" y="206"/>
                  </a:lnTo>
                  <a:close/>
                  <a:moveTo>
                    <a:pt x="218" y="204"/>
                  </a:moveTo>
                  <a:lnTo>
                    <a:pt x="216" y="204"/>
                  </a:lnTo>
                  <a:lnTo>
                    <a:pt x="218" y="204"/>
                  </a:lnTo>
                  <a:close/>
                  <a:moveTo>
                    <a:pt x="216" y="204"/>
                  </a:moveTo>
                  <a:lnTo>
                    <a:pt x="214" y="204"/>
                  </a:lnTo>
                  <a:lnTo>
                    <a:pt x="216" y="204"/>
                  </a:lnTo>
                  <a:close/>
                  <a:moveTo>
                    <a:pt x="216" y="204"/>
                  </a:moveTo>
                  <a:lnTo>
                    <a:pt x="216" y="202"/>
                  </a:lnTo>
                  <a:lnTo>
                    <a:pt x="216" y="204"/>
                  </a:lnTo>
                  <a:close/>
                  <a:moveTo>
                    <a:pt x="214" y="204"/>
                  </a:moveTo>
                  <a:lnTo>
                    <a:pt x="214" y="202"/>
                  </a:lnTo>
                  <a:lnTo>
                    <a:pt x="214" y="204"/>
                  </a:lnTo>
                  <a:close/>
                  <a:moveTo>
                    <a:pt x="216" y="202"/>
                  </a:moveTo>
                  <a:lnTo>
                    <a:pt x="216" y="204"/>
                  </a:lnTo>
                  <a:lnTo>
                    <a:pt x="216" y="202"/>
                  </a:lnTo>
                  <a:close/>
                  <a:moveTo>
                    <a:pt x="216" y="202"/>
                  </a:moveTo>
                  <a:lnTo>
                    <a:pt x="216" y="204"/>
                  </a:lnTo>
                  <a:lnTo>
                    <a:pt x="216" y="202"/>
                  </a:lnTo>
                  <a:lnTo>
                    <a:pt x="216" y="204"/>
                  </a:lnTo>
                  <a:lnTo>
                    <a:pt x="214" y="204"/>
                  </a:lnTo>
                  <a:lnTo>
                    <a:pt x="214" y="202"/>
                  </a:lnTo>
                  <a:lnTo>
                    <a:pt x="216" y="202"/>
                  </a:lnTo>
                  <a:close/>
                  <a:moveTo>
                    <a:pt x="216" y="202"/>
                  </a:moveTo>
                  <a:lnTo>
                    <a:pt x="214" y="202"/>
                  </a:lnTo>
                  <a:lnTo>
                    <a:pt x="216" y="202"/>
                  </a:lnTo>
                  <a:close/>
                  <a:moveTo>
                    <a:pt x="218" y="202"/>
                  </a:moveTo>
                  <a:lnTo>
                    <a:pt x="216" y="202"/>
                  </a:lnTo>
                  <a:lnTo>
                    <a:pt x="218" y="202"/>
                  </a:lnTo>
                  <a:lnTo>
                    <a:pt x="216" y="202"/>
                  </a:lnTo>
                  <a:lnTo>
                    <a:pt x="218" y="202"/>
                  </a:lnTo>
                  <a:lnTo>
                    <a:pt x="220" y="202"/>
                  </a:lnTo>
                  <a:lnTo>
                    <a:pt x="218" y="202"/>
                  </a:lnTo>
                  <a:lnTo>
                    <a:pt x="218" y="204"/>
                  </a:lnTo>
                  <a:lnTo>
                    <a:pt x="220" y="204"/>
                  </a:lnTo>
                  <a:lnTo>
                    <a:pt x="218" y="204"/>
                  </a:lnTo>
                  <a:lnTo>
                    <a:pt x="220" y="204"/>
                  </a:lnTo>
                  <a:lnTo>
                    <a:pt x="218" y="204"/>
                  </a:lnTo>
                  <a:lnTo>
                    <a:pt x="218" y="202"/>
                  </a:lnTo>
                  <a:lnTo>
                    <a:pt x="220" y="202"/>
                  </a:lnTo>
                  <a:lnTo>
                    <a:pt x="220" y="204"/>
                  </a:lnTo>
                  <a:lnTo>
                    <a:pt x="220" y="202"/>
                  </a:lnTo>
                  <a:lnTo>
                    <a:pt x="220" y="204"/>
                  </a:lnTo>
                  <a:lnTo>
                    <a:pt x="218" y="204"/>
                  </a:lnTo>
                  <a:lnTo>
                    <a:pt x="220" y="204"/>
                  </a:lnTo>
                  <a:lnTo>
                    <a:pt x="218" y="204"/>
                  </a:lnTo>
                  <a:lnTo>
                    <a:pt x="218" y="202"/>
                  </a:lnTo>
                  <a:lnTo>
                    <a:pt x="218" y="204"/>
                  </a:lnTo>
                  <a:lnTo>
                    <a:pt x="216" y="204"/>
                  </a:lnTo>
                  <a:lnTo>
                    <a:pt x="218" y="204"/>
                  </a:lnTo>
                  <a:lnTo>
                    <a:pt x="216" y="204"/>
                  </a:lnTo>
                  <a:lnTo>
                    <a:pt x="216" y="202"/>
                  </a:lnTo>
                  <a:lnTo>
                    <a:pt x="218" y="202"/>
                  </a:lnTo>
                  <a:lnTo>
                    <a:pt x="216" y="202"/>
                  </a:lnTo>
                  <a:lnTo>
                    <a:pt x="218" y="202"/>
                  </a:lnTo>
                  <a:close/>
                  <a:moveTo>
                    <a:pt x="214" y="202"/>
                  </a:moveTo>
                  <a:lnTo>
                    <a:pt x="216" y="202"/>
                  </a:lnTo>
                  <a:lnTo>
                    <a:pt x="214" y="202"/>
                  </a:lnTo>
                  <a:close/>
                  <a:moveTo>
                    <a:pt x="220" y="202"/>
                  </a:moveTo>
                  <a:lnTo>
                    <a:pt x="220" y="204"/>
                  </a:lnTo>
                  <a:lnTo>
                    <a:pt x="220" y="206"/>
                  </a:lnTo>
                  <a:lnTo>
                    <a:pt x="220" y="204"/>
                  </a:lnTo>
                  <a:lnTo>
                    <a:pt x="220" y="202"/>
                  </a:lnTo>
                  <a:lnTo>
                    <a:pt x="218" y="202"/>
                  </a:lnTo>
                  <a:lnTo>
                    <a:pt x="220" y="202"/>
                  </a:lnTo>
                  <a:lnTo>
                    <a:pt x="220" y="200"/>
                  </a:lnTo>
                  <a:lnTo>
                    <a:pt x="220" y="202"/>
                  </a:lnTo>
                  <a:close/>
                  <a:moveTo>
                    <a:pt x="218" y="200"/>
                  </a:moveTo>
                  <a:lnTo>
                    <a:pt x="216" y="200"/>
                  </a:lnTo>
                  <a:lnTo>
                    <a:pt x="218" y="200"/>
                  </a:lnTo>
                  <a:lnTo>
                    <a:pt x="216" y="200"/>
                  </a:lnTo>
                  <a:lnTo>
                    <a:pt x="218" y="200"/>
                  </a:lnTo>
                  <a:close/>
                  <a:moveTo>
                    <a:pt x="218" y="200"/>
                  </a:moveTo>
                  <a:lnTo>
                    <a:pt x="218" y="198"/>
                  </a:lnTo>
                  <a:lnTo>
                    <a:pt x="218" y="200"/>
                  </a:lnTo>
                  <a:close/>
                  <a:moveTo>
                    <a:pt x="214" y="200"/>
                  </a:moveTo>
                  <a:lnTo>
                    <a:pt x="216" y="200"/>
                  </a:lnTo>
                  <a:lnTo>
                    <a:pt x="214" y="200"/>
                  </a:lnTo>
                  <a:lnTo>
                    <a:pt x="216" y="200"/>
                  </a:lnTo>
                  <a:lnTo>
                    <a:pt x="214" y="200"/>
                  </a:lnTo>
                  <a:lnTo>
                    <a:pt x="214" y="202"/>
                  </a:lnTo>
                  <a:lnTo>
                    <a:pt x="216" y="202"/>
                  </a:lnTo>
                  <a:lnTo>
                    <a:pt x="216" y="200"/>
                  </a:lnTo>
                  <a:lnTo>
                    <a:pt x="216" y="202"/>
                  </a:lnTo>
                  <a:lnTo>
                    <a:pt x="216" y="200"/>
                  </a:lnTo>
                  <a:lnTo>
                    <a:pt x="216" y="202"/>
                  </a:lnTo>
                  <a:lnTo>
                    <a:pt x="214" y="202"/>
                  </a:lnTo>
                  <a:lnTo>
                    <a:pt x="216" y="202"/>
                  </a:lnTo>
                  <a:lnTo>
                    <a:pt x="214" y="202"/>
                  </a:lnTo>
                  <a:lnTo>
                    <a:pt x="216" y="202"/>
                  </a:lnTo>
                  <a:lnTo>
                    <a:pt x="214" y="202"/>
                  </a:lnTo>
                  <a:lnTo>
                    <a:pt x="214" y="204"/>
                  </a:lnTo>
                  <a:lnTo>
                    <a:pt x="216" y="204"/>
                  </a:lnTo>
                  <a:lnTo>
                    <a:pt x="218" y="204"/>
                  </a:lnTo>
                  <a:lnTo>
                    <a:pt x="218" y="206"/>
                  </a:lnTo>
                  <a:lnTo>
                    <a:pt x="218" y="204"/>
                  </a:lnTo>
                  <a:lnTo>
                    <a:pt x="218" y="206"/>
                  </a:lnTo>
                  <a:lnTo>
                    <a:pt x="218" y="204"/>
                  </a:lnTo>
                  <a:lnTo>
                    <a:pt x="218" y="206"/>
                  </a:lnTo>
                  <a:lnTo>
                    <a:pt x="218" y="204"/>
                  </a:lnTo>
                  <a:lnTo>
                    <a:pt x="216" y="204"/>
                  </a:lnTo>
                  <a:lnTo>
                    <a:pt x="214" y="204"/>
                  </a:lnTo>
                  <a:lnTo>
                    <a:pt x="214" y="202"/>
                  </a:lnTo>
                  <a:lnTo>
                    <a:pt x="212" y="202"/>
                  </a:lnTo>
                  <a:lnTo>
                    <a:pt x="214" y="202"/>
                  </a:lnTo>
                  <a:lnTo>
                    <a:pt x="214" y="204"/>
                  </a:lnTo>
                  <a:lnTo>
                    <a:pt x="212" y="204"/>
                  </a:lnTo>
                  <a:lnTo>
                    <a:pt x="212" y="202"/>
                  </a:lnTo>
                  <a:lnTo>
                    <a:pt x="212" y="200"/>
                  </a:lnTo>
                  <a:lnTo>
                    <a:pt x="214" y="200"/>
                  </a:lnTo>
                  <a:lnTo>
                    <a:pt x="212" y="200"/>
                  </a:lnTo>
                  <a:lnTo>
                    <a:pt x="214" y="200"/>
                  </a:lnTo>
                  <a:lnTo>
                    <a:pt x="212" y="200"/>
                  </a:lnTo>
                  <a:lnTo>
                    <a:pt x="214" y="200"/>
                  </a:lnTo>
                  <a:lnTo>
                    <a:pt x="212" y="200"/>
                  </a:lnTo>
                  <a:lnTo>
                    <a:pt x="214" y="200"/>
                  </a:lnTo>
                  <a:close/>
                  <a:moveTo>
                    <a:pt x="218" y="200"/>
                  </a:moveTo>
                  <a:lnTo>
                    <a:pt x="216" y="200"/>
                  </a:lnTo>
                  <a:lnTo>
                    <a:pt x="218" y="200"/>
                  </a:lnTo>
                  <a:lnTo>
                    <a:pt x="216" y="200"/>
                  </a:lnTo>
                  <a:lnTo>
                    <a:pt x="218" y="200"/>
                  </a:lnTo>
                  <a:lnTo>
                    <a:pt x="218" y="198"/>
                  </a:lnTo>
                  <a:lnTo>
                    <a:pt x="218" y="200"/>
                  </a:lnTo>
                  <a:close/>
                  <a:moveTo>
                    <a:pt x="218" y="198"/>
                  </a:moveTo>
                  <a:lnTo>
                    <a:pt x="218" y="200"/>
                  </a:lnTo>
                  <a:lnTo>
                    <a:pt x="218" y="198"/>
                  </a:lnTo>
                  <a:close/>
                  <a:moveTo>
                    <a:pt x="218" y="198"/>
                  </a:moveTo>
                  <a:lnTo>
                    <a:pt x="218" y="200"/>
                  </a:lnTo>
                  <a:lnTo>
                    <a:pt x="216" y="200"/>
                  </a:lnTo>
                  <a:lnTo>
                    <a:pt x="218" y="200"/>
                  </a:lnTo>
                  <a:lnTo>
                    <a:pt x="216" y="200"/>
                  </a:lnTo>
                  <a:lnTo>
                    <a:pt x="216" y="198"/>
                  </a:lnTo>
                  <a:lnTo>
                    <a:pt x="216" y="200"/>
                  </a:lnTo>
                  <a:lnTo>
                    <a:pt x="216" y="198"/>
                  </a:lnTo>
                  <a:lnTo>
                    <a:pt x="218" y="198"/>
                  </a:lnTo>
                  <a:close/>
                  <a:moveTo>
                    <a:pt x="212" y="198"/>
                  </a:moveTo>
                  <a:lnTo>
                    <a:pt x="212" y="200"/>
                  </a:lnTo>
                  <a:lnTo>
                    <a:pt x="212" y="198"/>
                  </a:lnTo>
                  <a:close/>
                  <a:moveTo>
                    <a:pt x="212" y="200"/>
                  </a:moveTo>
                  <a:lnTo>
                    <a:pt x="212" y="198"/>
                  </a:lnTo>
                  <a:lnTo>
                    <a:pt x="212" y="200"/>
                  </a:lnTo>
                  <a:close/>
                  <a:moveTo>
                    <a:pt x="218" y="198"/>
                  </a:moveTo>
                  <a:lnTo>
                    <a:pt x="216" y="198"/>
                  </a:lnTo>
                  <a:lnTo>
                    <a:pt x="218" y="198"/>
                  </a:lnTo>
                  <a:close/>
                  <a:moveTo>
                    <a:pt x="220" y="196"/>
                  </a:moveTo>
                  <a:lnTo>
                    <a:pt x="220" y="198"/>
                  </a:lnTo>
                  <a:lnTo>
                    <a:pt x="218" y="198"/>
                  </a:lnTo>
                  <a:lnTo>
                    <a:pt x="218" y="196"/>
                  </a:lnTo>
                  <a:lnTo>
                    <a:pt x="220" y="196"/>
                  </a:lnTo>
                  <a:close/>
                  <a:moveTo>
                    <a:pt x="214" y="198"/>
                  </a:moveTo>
                  <a:lnTo>
                    <a:pt x="214" y="196"/>
                  </a:lnTo>
                  <a:lnTo>
                    <a:pt x="214" y="198"/>
                  </a:lnTo>
                  <a:close/>
                  <a:moveTo>
                    <a:pt x="212" y="196"/>
                  </a:moveTo>
                  <a:lnTo>
                    <a:pt x="214" y="196"/>
                  </a:lnTo>
                  <a:lnTo>
                    <a:pt x="212" y="196"/>
                  </a:lnTo>
                  <a:close/>
                  <a:moveTo>
                    <a:pt x="218" y="196"/>
                  </a:moveTo>
                  <a:lnTo>
                    <a:pt x="218" y="198"/>
                  </a:lnTo>
                  <a:lnTo>
                    <a:pt x="218" y="196"/>
                  </a:lnTo>
                  <a:lnTo>
                    <a:pt x="218" y="198"/>
                  </a:lnTo>
                  <a:lnTo>
                    <a:pt x="218" y="196"/>
                  </a:lnTo>
                  <a:lnTo>
                    <a:pt x="216" y="196"/>
                  </a:lnTo>
                  <a:lnTo>
                    <a:pt x="218" y="196"/>
                  </a:lnTo>
                  <a:close/>
                  <a:moveTo>
                    <a:pt x="226" y="194"/>
                  </a:moveTo>
                  <a:lnTo>
                    <a:pt x="224" y="194"/>
                  </a:lnTo>
                  <a:lnTo>
                    <a:pt x="226" y="194"/>
                  </a:lnTo>
                  <a:close/>
                  <a:moveTo>
                    <a:pt x="218" y="196"/>
                  </a:moveTo>
                  <a:lnTo>
                    <a:pt x="218" y="194"/>
                  </a:lnTo>
                  <a:lnTo>
                    <a:pt x="218" y="196"/>
                  </a:lnTo>
                  <a:close/>
                  <a:moveTo>
                    <a:pt x="212" y="196"/>
                  </a:moveTo>
                  <a:lnTo>
                    <a:pt x="214" y="196"/>
                  </a:lnTo>
                  <a:lnTo>
                    <a:pt x="214" y="198"/>
                  </a:lnTo>
                  <a:lnTo>
                    <a:pt x="214" y="200"/>
                  </a:lnTo>
                  <a:lnTo>
                    <a:pt x="212" y="200"/>
                  </a:lnTo>
                  <a:lnTo>
                    <a:pt x="212" y="198"/>
                  </a:lnTo>
                  <a:lnTo>
                    <a:pt x="212" y="196"/>
                  </a:lnTo>
                  <a:close/>
                  <a:moveTo>
                    <a:pt x="218" y="194"/>
                  </a:moveTo>
                  <a:lnTo>
                    <a:pt x="220" y="194"/>
                  </a:lnTo>
                  <a:lnTo>
                    <a:pt x="218" y="194"/>
                  </a:lnTo>
                  <a:lnTo>
                    <a:pt x="218" y="196"/>
                  </a:lnTo>
                  <a:lnTo>
                    <a:pt x="218" y="194"/>
                  </a:lnTo>
                  <a:close/>
                  <a:moveTo>
                    <a:pt x="224" y="194"/>
                  </a:moveTo>
                  <a:lnTo>
                    <a:pt x="222" y="196"/>
                  </a:lnTo>
                  <a:lnTo>
                    <a:pt x="222" y="198"/>
                  </a:lnTo>
                  <a:lnTo>
                    <a:pt x="222" y="196"/>
                  </a:lnTo>
                  <a:lnTo>
                    <a:pt x="222" y="194"/>
                  </a:lnTo>
                  <a:lnTo>
                    <a:pt x="224" y="194"/>
                  </a:lnTo>
                  <a:lnTo>
                    <a:pt x="224" y="192"/>
                  </a:lnTo>
                  <a:lnTo>
                    <a:pt x="222" y="192"/>
                  </a:lnTo>
                  <a:lnTo>
                    <a:pt x="224" y="192"/>
                  </a:lnTo>
                  <a:lnTo>
                    <a:pt x="224" y="194"/>
                  </a:lnTo>
                  <a:close/>
                  <a:moveTo>
                    <a:pt x="220" y="192"/>
                  </a:moveTo>
                  <a:lnTo>
                    <a:pt x="220" y="194"/>
                  </a:lnTo>
                  <a:lnTo>
                    <a:pt x="218" y="194"/>
                  </a:lnTo>
                  <a:lnTo>
                    <a:pt x="218" y="196"/>
                  </a:lnTo>
                  <a:lnTo>
                    <a:pt x="218" y="194"/>
                  </a:lnTo>
                  <a:lnTo>
                    <a:pt x="220" y="194"/>
                  </a:lnTo>
                  <a:lnTo>
                    <a:pt x="218" y="194"/>
                  </a:lnTo>
                  <a:lnTo>
                    <a:pt x="220" y="194"/>
                  </a:lnTo>
                  <a:lnTo>
                    <a:pt x="218" y="194"/>
                  </a:lnTo>
                  <a:lnTo>
                    <a:pt x="220" y="194"/>
                  </a:lnTo>
                  <a:lnTo>
                    <a:pt x="218" y="194"/>
                  </a:lnTo>
                  <a:lnTo>
                    <a:pt x="218" y="192"/>
                  </a:lnTo>
                  <a:lnTo>
                    <a:pt x="218" y="194"/>
                  </a:lnTo>
                  <a:lnTo>
                    <a:pt x="218" y="192"/>
                  </a:lnTo>
                  <a:lnTo>
                    <a:pt x="218" y="194"/>
                  </a:lnTo>
                  <a:lnTo>
                    <a:pt x="218" y="192"/>
                  </a:lnTo>
                  <a:lnTo>
                    <a:pt x="218" y="194"/>
                  </a:lnTo>
                  <a:lnTo>
                    <a:pt x="218" y="192"/>
                  </a:lnTo>
                  <a:lnTo>
                    <a:pt x="220" y="192"/>
                  </a:lnTo>
                  <a:close/>
                  <a:moveTo>
                    <a:pt x="224" y="192"/>
                  </a:moveTo>
                  <a:lnTo>
                    <a:pt x="222" y="192"/>
                  </a:lnTo>
                  <a:lnTo>
                    <a:pt x="222" y="190"/>
                  </a:lnTo>
                  <a:lnTo>
                    <a:pt x="224" y="190"/>
                  </a:lnTo>
                  <a:lnTo>
                    <a:pt x="224" y="192"/>
                  </a:lnTo>
                  <a:close/>
                  <a:moveTo>
                    <a:pt x="222" y="190"/>
                  </a:moveTo>
                  <a:lnTo>
                    <a:pt x="224" y="190"/>
                  </a:lnTo>
                  <a:lnTo>
                    <a:pt x="222" y="190"/>
                  </a:lnTo>
                  <a:close/>
                  <a:moveTo>
                    <a:pt x="220" y="192"/>
                  </a:moveTo>
                  <a:lnTo>
                    <a:pt x="218" y="192"/>
                  </a:lnTo>
                  <a:lnTo>
                    <a:pt x="220" y="192"/>
                  </a:lnTo>
                  <a:lnTo>
                    <a:pt x="220" y="190"/>
                  </a:lnTo>
                  <a:lnTo>
                    <a:pt x="220" y="192"/>
                  </a:lnTo>
                  <a:close/>
                  <a:moveTo>
                    <a:pt x="226" y="190"/>
                  </a:moveTo>
                  <a:lnTo>
                    <a:pt x="226" y="192"/>
                  </a:lnTo>
                  <a:lnTo>
                    <a:pt x="224" y="192"/>
                  </a:lnTo>
                  <a:lnTo>
                    <a:pt x="226" y="192"/>
                  </a:lnTo>
                  <a:lnTo>
                    <a:pt x="224" y="192"/>
                  </a:lnTo>
                  <a:lnTo>
                    <a:pt x="224" y="194"/>
                  </a:lnTo>
                  <a:lnTo>
                    <a:pt x="224" y="192"/>
                  </a:lnTo>
                  <a:lnTo>
                    <a:pt x="226" y="192"/>
                  </a:lnTo>
                  <a:lnTo>
                    <a:pt x="224" y="194"/>
                  </a:lnTo>
                  <a:lnTo>
                    <a:pt x="224" y="192"/>
                  </a:lnTo>
                  <a:lnTo>
                    <a:pt x="222" y="192"/>
                  </a:lnTo>
                  <a:lnTo>
                    <a:pt x="224" y="192"/>
                  </a:lnTo>
                  <a:lnTo>
                    <a:pt x="224" y="190"/>
                  </a:lnTo>
                  <a:lnTo>
                    <a:pt x="224" y="192"/>
                  </a:lnTo>
                  <a:lnTo>
                    <a:pt x="224" y="190"/>
                  </a:lnTo>
                  <a:lnTo>
                    <a:pt x="222" y="190"/>
                  </a:lnTo>
                  <a:lnTo>
                    <a:pt x="224" y="190"/>
                  </a:lnTo>
                  <a:lnTo>
                    <a:pt x="226" y="190"/>
                  </a:lnTo>
                  <a:close/>
                  <a:moveTo>
                    <a:pt x="222" y="190"/>
                  </a:moveTo>
                  <a:lnTo>
                    <a:pt x="222" y="188"/>
                  </a:lnTo>
                  <a:lnTo>
                    <a:pt x="222" y="190"/>
                  </a:lnTo>
                  <a:lnTo>
                    <a:pt x="224" y="190"/>
                  </a:lnTo>
                  <a:lnTo>
                    <a:pt x="222" y="190"/>
                  </a:lnTo>
                  <a:lnTo>
                    <a:pt x="222" y="192"/>
                  </a:lnTo>
                  <a:lnTo>
                    <a:pt x="222" y="194"/>
                  </a:lnTo>
                  <a:lnTo>
                    <a:pt x="224" y="194"/>
                  </a:lnTo>
                  <a:lnTo>
                    <a:pt x="222" y="194"/>
                  </a:lnTo>
                  <a:lnTo>
                    <a:pt x="222" y="196"/>
                  </a:lnTo>
                  <a:lnTo>
                    <a:pt x="222" y="194"/>
                  </a:lnTo>
                  <a:lnTo>
                    <a:pt x="222" y="196"/>
                  </a:lnTo>
                  <a:lnTo>
                    <a:pt x="222" y="198"/>
                  </a:lnTo>
                  <a:lnTo>
                    <a:pt x="222" y="196"/>
                  </a:lnTo>
                  <a:lnTo>
                    <a:pt x="222" y="198"/>
                  </a:lnTo>
                  <a:lnTo>
                    <a:pt x="220" y="198"/>
                  </a:lnTo>
                  <a:lnTo>
                    <a:pt x="222" y="198"/>
                  </a:lnTo>
                  <a:lnTo>
                    <a:pt x="220" y="198"/>
                  </a:lnTo>
                  <a:lnTo>
                    <a:pt x="220" y="196"/>
                  </a:lnTo>
                  <a:lnTo>
                    <a:pt x="218" y="196"/>
                  </a:lnTo>
                  <a:lnTo>
                    <a:pt x="220" y="196"/>
                  </a:lnTo>
                  <a:lnTo>
                    <a:pt x="218" y="196"/>
                  </a:lnTo>
                  <a:lnTo>
                    <a:pt x="218" y="194"/>
                  </a:lnTo>
                  <a:lnTo>
                    <a:pt x="220" y="194"/>
                  </a:lnTo>
                  <a:lnTo>
                    <a:pt x="220" y="196"/>
                  </a:lnTo>
                  <a:lnTo>
                    <a:pt x="220" y="194"/>
                  </a:lnTo>
                  <a:lnTo>
                    <a:pt x="220" y="196"/>
                  </a:lnTo>
                  <a:lnTo>
                    <a:pt x="220" y="194"/>
                  </a:lnTo>
                  <a:lnTo>
                    <a:pt x="220" y="196"/>
                  </a:lnTo>
                  <a:lnTo>
                    <a:pt x="220" y="194"/>
                  </a:lnTo>
                  <a:lnTo>
                    <a:pt x="220" y="192"/>
                  </a:lnTo>
                  <a:lnTo>
                    <a:pt x="220" y="190"/>
                  </a:lnTo>
                  <a:lnTo>
                    <a:pt x="220" y="188"/>
                  </a:lnTo>
                  <a:lnTo>
                    <a:pt x="222" y="188"/>
                  </a:lnTo>
                  <a:lnTo>
                    <a:pt x="222" y="190"/>
                  </a:lnTo>
                  <a:close/>
                  <a:moveTo>
                    <a:pt x="226" y="188"/>
                  </a:moveTo>
                  <a:lnTo>
                    <a:pt x="224" y="188"/>
                  </a:lnTo>
                  <a:lnTo>
                    <a:pt x="226" y="188"/>
                  </a:lnTo>
                  <a:close/>
                  <a:moveTo>
                    <a:pt x="224" y="188"/>
                  </a:moveTo>
                  <a:lnTo>
                    <a:pt x="226" y="188"/>
                  </a:lnTo>
                  <a:lnTo>
                    <a:pt x="224" y="188"/>
                  </a:lnTo>
                  <a:close/>
                  <a:moveTo>
                    <a:pt x="224" y="188"/>
                  </a:moveTo>
                  <a:lnTo>
                    <a:pt x="222" y="188"/>
                  </a:lnTo>
                  <a:lnTo>
                    <a:pt x="224" y="188"/>
                  </a:lnTo>
                  <a:close/>
                  <a:moveTo>
                    <a:pt x="222" y="188"/>
                  </a:moveTo>
                  <a:lnTo>
                    <a:pt x="220" y="188"/>
                  </a:lnTo>
                  <a:lnTo>
                    <a:pt x="222" y="188"/>
                  </a:lnTo>
                  <a:close/>
                  <a:moveTo>
                    <a:pt x="226" y="184"/>
                  </a:moveTo>
                  <a:lnTo>
                    <a:pt x="224" y="184"/>
                  </a:lnTo>
                  <a:lnTo>
                    <a:pt x="226" y="184"/>
                  </a:lnTo>
                  <a:close/>
                  <a:moveTo>
                    <a:pt x="222" y="184"/>
                  </a:moveTo>
                  <a:lnTo>
                    <a:pt x="224" y="184"/>
                  </a:lnTo>
                  <a:lnTo>
                    <a:pt x="222" y="184"/>
                  </a:lnTo>
                  <a:close/>
                  <a:moveTo>
                    <a:pt x="220" y="184"/>
                  </a:moveTo>
                  <a:lnTo>
                    <a:pt x="222" y="184"/>
                  </a:lnTo>
                  <a:lnTo>
                    <a:pt x="220" y="184"/>
                  </a:lnTo>
                  <a:close/>
                  <a:moveTo>
                    <a:pt x="222" y="182"/>
                  </a:moveTo>
                  <a:lnTo>
                    <a:pt x="222" y="184"/>
                  </a:lnTo>
                  <a:lnTo>
                    <a:pt x="222" y="182"/>
                  </a:lnTo>
                  <a:close/>
                  <a:moveTo>
                    <a:pt x="110" y="0"/>
                  </a:moveTo>
                  <a:lnTo>
                    <a:pt x="110" y="2"/>
                  </a:lnTo>
                  <a:lnTo>
                    <a:pt x="108" y="2"/>
                  </a:lnTo>
                  <a:lnTo>
                    <a:pt x="108" y="4"/>
                  </a:lnTo>
                  <a:lnTo>
                    <a:pt x="110" y="4"/>
                  </a:lnTo>
                  <a:lnTo>
                    <a:pt x="108" y="4"/>
                  </a:lnTo>
                  <a:lnTo>
                    <a:pt x="108" y="6"/>
                  </a:lnTo>
                  <a:lnTo>
                    <a:pt x="108" y="4"/>
                  </a:lnTo>
                  <a:lnTo>
                    <a:pt x="108" y="6"/>
                  </a:lnTo>
                  <a:lnTo>
                    <a:pt x="106" y="6"/>
                  </a:lnTo>
                  <a:lnTo>
                    <a:pt x="106" y="8"/>
                  </a:lnTo>
                  <a:lnTo>
                    <a:pt x="104" y="8"/>
                  </a:lnTo>
                  <a:lnTo>
                    <a:pt x="104" y="10"/>
                  </a:lnTo>
                  <a:lnTo>
                    <a:pt x="104" y="12"/>
                  </a:lnTo>
                  <a:lnTo>
                    <a:pt x="102" y="12"/>
                  </a:lnTo>
                  <a:lnTo>
                    <a:pt x="102" y="14"/>
                  </a:lnTo>
                  <a:lnTo>
                    <a:pt x="102" y="16"/>
                  </a:lnTo>
                  <a:lnTo>
                    <a:pt x="100" y="16"/>
                  </a:lnTo>
                  <a:lnTo>
                    <a:pt x="100" y="18"/>
                  </a:lnTo>
                  <a:lnTo>
                    <a:pt x="102" y="20"/>
                  </a:lnTo>
                  <a:lnTo>
                    <a:pt x="100" y="20"/>
                  </a:lnTo>
                  <a:lnTo>
                    <a:pt x="102" y="20"/>
                  </a:lnTo>
                  <a:lnTo>
                    <a:pt x="104" y="20"/>
                  </a:lnTo>
                  <a:lnTo>
                    <a:pt x="104" y="22"/>
                  </a:lnTo>
                  <a:lnTo>
                    <a:pt x="106" y="22"/>
                  </a:lnTo>
                  <a:lnTo>
                    <a:pt x="108" y="22"/>
                  </a:lnTo>
                  <a:lnTo>
                    <a:pt x="110" y="22"/>
                  </a:lnTo>
                  <a:lnTo>
                    <a:pt x="110" y="24"/>
                  </a:lnTo>
                  <a:lnTo>
                    <a:pt x="112" y="24"/>
                  </a:lnTo>
                  <a:lnTo>
                    <a:pt x="112" y="26"/>
                  </a:lnTo>
                  <a:lnTo>
                    <a:pt x="114" y="26"/>
                  </a:lnTo>
                  <a:lnTo>
                    <a:pt x="114" y="28"/>
                  </a:lnTo>
                  <a:lnTo>
                    <a:pt x="116" y="28"/>
                  </a:lnTo>
                  <a:lnTo>
                    <a:pt x="118" y="28"/>
                  </a:lnTo>
                  <a:lnTo>
                    <a:pt x="118" y="30"/>
                  </a:lnTo>
                  <a:lnTo>
                    <a:pt x="118" y="28"/>
                  </a:lnTo>
                  <a:lnTo>
                    <a:pt x="120" y="28"/>
                  </a:lnTo>
                  <a:lnTo>
                    <a:pt x="122" y="28"/>
                  </a:lnTo>
                  <a:lnTo>
                    <a:pt x="124" y="28"/>
                  </a:lnTo>
                  <a:lnTo>
                    <a:pt x="126" y="28"/>
                  </a:lnTo>
                  <a:lnTo>
                    <a:pt x="126" y="30"/>
                  </a:lnTo>
                  <a:lnTo>
                    <a:pt x="126" y="32"/>
                  </a:lnTo>
                  <a:lnTo>
                    <a:pt x="126" y="34"/>
                  </a:lnTo>
                  <a:lnTo>
                    <a:pt x="128" y="34"/>
                  </a:lnTo>
                  <a:lnTo>
                    <a:pt x="128" y="36"/>
                  </a:lnTo>
                  <a:lnTo>
                    <a:pt x="130" y="36"/>
                  </a:lnTo>
                  <a:lnTo>
                    <a:pt x="130" y="38"/>
                  </a:lnTo>
                  <a:lnTo>
                    <a:pt x="132" y="38"/>
                  </a:lnTo>
                  <a:lnTo>
                    <a:pt x="132" y="38"/>
                  </a:lnTo>
                  <a:lnTo>
                    <a:pt x="132" y="40"/>
                  </a:lnTo>
                  <a:lnTo>
                    <a:pt x="134" y="40"/>
                  </a:lnTo>
                  <a:lnTo>
                    <a:pt x="134" y="42"/>
                  </a:lnTo>
                  <a:lnTo>
                    <a:pt x="134" y="44"/>
                  </a:lnTo>
                  <a:lnTo>
                    <a:pt x="136" y="44"/>
                  </a:lnTo>
                  <a:lnTo>
                    <a:pt x="136" y="46"/>
                  </a:lnTo>
                  <a:lnTo>
                    <a:pt x="138" y="46"/>
                  </a:lnTo>
                  <a:lnTo>
                    <a:pt x="138" y="48"/>
                  </a:lnTo>
                  <a:lnTo>
                    <a:pt x="140" y="48"/>
                  </a:lnTo>
                  <a:lnTo>
                    <a:pt x="140" y="50"/>
                  </a:lnTo>
                  <a:lnTo>
                    <a:pt x="142" y="50"/>
                  </a:lnTo>
                  <a:lnTo>
                    <a:pt x="142" y="52"/>
                  </a:lnTo>
                  <a:lnTo>
                    <a:pt x="142" y="54"/>
                  </a:lnTo>
                  <a:lnTo>
                    <a:pt x="144" y="54"/>
                  </a:lnTo>
                  <a:lnTo>
                    <a:pt x="146" y="54"/>
                  </a:lnTo>
                  <a:lnTo>
                    <a:pt x="146" y="56"/>
                  </a:lnTo>
                  <a:lnTo>
                    <a:pt x="148" y="56"/>
                  </a:lnTo>
                  <a:lnTo>
                    <a:pt x="150" y="56"/>
                  </a:lnTo>
                  <a:lnTo>
                    <a:pt x="150" y="58"/>
                  </a:lnTo>
                  <a:lnTo>
                    <a:pt x="150" y="58"/>
                  </a:lnTo>
                  <a:lnTo>
                    <a:pt x="152" y="58"/>
                  </a:lnTo>
                  <a:lnTo>
                    <a:pt x="154" y="58"/>
                  </a:lnTo>
                  <a:lnTo>
                    <a:pt x="154" y="60"/>
                  </a:lnTo>
                  <a:lnTo>
                    <a:pt x="156" y="62"/>
                  </a:lnTo>
                  <a:lnTo>
                    <a:pt x="158" y="62"/>
                  </a:lnTo>
                  <a:lnTo>
                    <a:pt x="158" y="64"/>
                  </a:lnTo>
                  <a:lnTo>
                    <a:pt x="158" y="66"/>
                  </a:lnTo>
                  <a:lnTo>
                    <a:pt x="160" y="66"/>
                  </a:lnTo>
                  <a:lnTo>
                    <a:pt x="160" y="68"/>
                  </a:lnTo>
                  <a:lnTo>
                    <a:pt x="162" y="68"/>
                  </a:lnTo>
                  <a:lnTo>
                    <a:pt x="162" y="70"/>
                  </a:lnTo>
                  <a:lnTo>
                    <a:pt x="164" y="70"/>
                  </a:lnTo>
                  <a:lnTo>
                    <a:pt x="166" y="70"/>
                  </a:lnTo>
                  <a:lnTo>
                    <a:pt x="168" y="70"/>
                  </a:lnTo>
                  <a:lnTo>
                    <a:pt x="168" y="72"/>
                  </a:lnTo>
                  <a:lnTo>
                    <a:pt x="170" y="72"/>
                  </a:lnTo>
                  <a:lnTo>
                    <a:pt x="170" y="74"/>
                  </a:lnTo>
                  <a:lnTo>
                    <a:pt x="172" y="74"/>
                  </a:lnTo>
                  <a:lnTo>
                    <a:pt x="172" y="76"/>
                  </a:lnTo>
                  <a:lnTo>
                    <a:pt x="174" y="76"/>
                  </a:lnTo>
                  <a:lnTo>
                    <a:pt x="176" y="76"/>
                  </a:lnTo>
                  <a:lnTo>
                    <a:pt x="176" y="78"/>
                  </a:lnTo>
                  <a:lnTo>
                    <a:pt x="176" y="80"/>
                  </a:lnTo>
                  <a:lnTo>
                    <a:pt x="174" y="80"/>
                  </a:lnTo>
                  <a:lnTo>
                    <a:pt x="176" y="80"/>
                  </a:lnTo>
                  <a:lnTo>
                    <a:pt x="176" y="82"/>
                  </a:lnTo>
                  <a:lnTo>
                    <a:pt x="176" y="84"/>
                  </a:lnTo>
                  <a:lnTo>
                    <a:pt x="176" y="82"/>
                  </a:lnTo>
                  <a:lnTo>
                    <a:pt x="178" y="82"/>
                  </a:lnTo>
                  <a:lnTo>
                    <a:pt x="178" y="84"/>
                  </a:lnTo>
                  <a:lnTo>
                    <a:pt x="176" y="84"/>
                  </a:lnTo>
                  <a:lnTo>
                    <a:pt x="178" y="84"/>
                  </a:lnTo>
                  <a:lnTo>
                    <a:pt x="178" y="86"/>
                  </a:lnTo>
                  <a:lnTo>
                    <a:pt x="180" y="86"/>
                  </a:lnTo>
                  <a:lnTo>
                    <a:pt x="180" y="84"/>
                  </a:lnTo>
                  <a:lnTo>
                    <a:pt x="180" y="86"/>
                  </a:lnTo>
                  <a:lnTo>
                    <a:pt x="182" y="86"/>
                  </a:lnTo>
                  <a:lnTo>
                    <a:pt x="182" y="86"/>
                  </a:lnTo>
                  <a:lnTo>
                    <a:pt x="182" y="86"/>
                  </a:lnTo>
                  <a:lnTo>
                    <a:pt x="180" y="86"/>
                  </a:lnTo>
                  <a:lnTo>
                    <a:pt x="180" y="86"/>
                  </a:lnTo>
                  <a:lnTo>
                    <a:pt x="182" y="86"/>
                  </a:lnTo>
                  <a:lnTo>
                    <a:pt x="180" y="86"/>
                  </a:lnTo>
                  <a:lnTo>
                    <a:pt x="182" y="86"/>
                  </a:lnTo>
                  <a:lnTo>
                    <a:pt x="182" y="88"/>
                  </a:lnTo>
                  <a:lnTo>
                    <a:pt x="184" y="88"/>
                  </a:lnTo>
                  <a:lnTo>
                    <a:pt x="184" y="86"/>
                  </a:lnTo>
                  <a:lnTo>
                    <a:pt x="184" y="88"/>
                  </a:lnTo>
                  <a:lnTo>
                    <a:pt x="186" y="88"/>
                  </a:lnTo>
                  <a:lnTo>
                    <a:pt x="186" y="90"/>
                  </a:lnTo>
                  <a:lnTo>
                    <a:pt x="186" y="92"/>
                  </a:lnTo>
                  <a:lnTo>
                    <a:pt x="188" y="92"/>
                  </a:lnTo>
                  <a:lnTo>
                    <a:pt x="190" y="92"/>
                  </a:lnTo>
                  <a:lnTo>
                    <a:pt x="192" y="92"/>
                  </a:lnTo>
                  <a:lnTo>
                    <a:pt x="192" y="94"/>
                  </a:lnTo>
                  <a:lnTo>
                    <a:pt x="192" y="92"/>
                  </a:lnTo>
                  <a:lnTo>
                    <a:pt x="194" y="92"/>
                  </a:lnTo>
                  <a:lnTo>
                    <a:pt x="194" y="94"/>
                  </a:lnTo>
                  <a:lnTo>
                    <a:pt x="196" y="94"/>
                  </a:lnTo>
                  <a:lnTo>
                    <a:pt x="196" y="96"/>
                  </a:lnTo>
                  <a:lnTo>
                    <a:pt x="198" y="96"/>
                  </a:lnTo>
                  <a:lnTo>
                    <a:pt x="198" y="94"/>
                  </a:lnTo>
                  <a:lnTo>
                    <a:pt x="198" y="96"/>
                  </a:lnTo>
                  <a:lnTo>
                    <a:pt x="198" y="96"/>
                  </a:lnTo>
                  <a:lnTo>
                    <a:pt x="198" y="96"/>
                  </a:lnTo>
                  <a:lnTo>
                    <a:pt x="198" y="96"/>
                  </a:lnTo>
                  <a:lnTo>
                    <a:pt x="198" y="98"/>
                  </a:lnTo>
                  <a:lnTo>
                    <a:pt x="198" y="100"/>
                  </a:lnTo>
                  <a:lnTo>
                    <a:pt x="198" y="102"/>
                  </a:lnTo>
                  <a:lnTo>
                    <a:pt x="200" y="102"/>
                  </a:lnTo>
                  <a:lnTo>
                    <a:pt x="200" y="104"/>
                  </a:lnTo>
                  <a:lnTo>
                    <a:pt x="200" y="102"/>
                  </a:lnTo>
                  <a:lnTo>
                    <a:pt x="200" y="104"/>
                  </a:lnTo>
                  <a:lnTo>
                    <a:pt x="202" y="104"/>
                  </a:lnTo>
                  <a:lnTo>
                    <a:pt x="202" y="106"/>
                  </a:lnTo>
                  <a:lnTo>
                    <a:pt x="204" y="106"/>
                  </a:lnTo>
                  <a:lnTo>
                    <a:pt x="202" y="106"/>
                  </a:lnTo>
                  <a:lnTo>
                    <a:pt x="204" y="106"/>
                  </a:lnTo>
                  <a:lnTo>
                    <a:pt x="202" y="106"/>
                  </a:lnTo>
                  <a:lnTo>
                    <a:pt x="204" y="108"/>
                  </a:lnTo>
                  <a:lnTo>
                    <a:pt x="204" y="106"/>
                  </a:lnTo>
                  <a:lnTo>
                    <a:pt x="204" y="108"/>
                  </a:lnTo>
                  <a:lnTo>
                    <a:pt x="204" y="110"/>
                  </a:lnTo>
                  <a:lnTo>
                    <a:pt x="204" y="112"/>
                  </a:lnTo>
                  <a:lnTo>
                    <a:pt x="204" y="114"/>
                  </a:lnTo>
                  <a:lnTo>
                    <a:pt x="206" y="114"/>
                  </a:lnTo>
                  <a:lnTo>
                    <a:pt x="206" y="116"/>
                  </a:lnTo>
                  <a:lnTo>
                    <a:pt x="206" y="118"/>
                  </a:lnTo>
                  <a:lnTo>
                    <a:pt x="206" y="120"/>
                  </a:lnTo>
                  <a:lnTo>
                    <a:pt x="208" y="120"/>
                  </a:lnTo>
                  <a:lnTo>
                    <a:pt x="210" y="120"/>
                  </a:lnTo>
                  <a:lnTo>
                    <a:pt x="212" y="120"/>
                  </a:lnTo>
                  <a:lnTo>
                    <a:pt x="212" y="122"/>
                  </a:lnTo>
                  <a:lnTo>
                    <a:pt x="214" y="122"/>
                  </a:lnTo>
                  <a:lnTo>
                    <a:pt x="216" y="122"/>
                  </a:lnTo>
                  <a:lnTo>
                    <a:pt x="216" y="124"/>
                  </a:lnTo>
                  <a:lnTo>
                    <a:pt x="218" y="124"/>
                  </a:lnTo>
                  <a:lnTo>
                    <a:pt x="218" y="126"/>
                  </a:lnTo>
                  <a:lnTo>
                    <a:pt x="218" y="128"/>
                  </a:lnTo>
                  <a:lnTo>
                    <a:pt x="218" y="130"/>
                  </a:lnTo>
                  <a:lnTo>
                    <a:pt x="220" y="130"/>
                  </a:lnTo>
                  <a:lnTo>
                    <a:pt x="218" y="130"/>
                  </a:lnTo>
                  <a:lnTo>
                    <a:pt x="220" y="130"/>
                  </a:lnTo>
                  <a:lnTo>
                    <a:pt x="220" y="132"/>
                  </a:lnTo>
                  <a:lnTo>
                    <a:pt x="222" y="132"/>
                  </a:lnTo>
                  <a:lnTo>
                    <a:pt x="222" y="134"/>
                  </a:lnTo>
                  <a:lnTo>
                    <a:pt x="222" y="134"/>
                  </a:lnTo>
                  <a:lnTo>
                    <a:pt x="222" y="136"/>
                  </a:lnTo>
                  <a:lnTo>
                    <a:pt x="222" y="138"/>
                  </a:lnTo>
                  <a:lnTo>
                    <a:pt x="224" y="138"/>
                  </a:lnTo>
                  <a:lnTo>
                    <a:pt x="224" y="140"/>
                  </a:lnTo>
                  <a:lnTo>
                    <a:pt x="224" y="138"/>
                  </a:lnTo>
                  <a:lnTo>
                    <a:pt x="224" y="140"/>
                  </a:lnTo>
                  <a:lnTo>
                    <a:pt x="224" y="142"/>
                  </a:lnTo>
                  <a:lnTo>
                    <a:pt x="226" y="142"/>
                  </a:lnTo>
                  <a:lnTo>
                    <a:pt x="226" y="144"/>
                  </a:lnTo>
                  <a:lnTo>
                    <a:pt x="228" y="144"/>
                  </a:lnTo>
                  <a:lnTo>
                    <a:pt x="230" y="144"/>
                  </a:lnTo>
                  <a:lnTo>
                    <a:pt x="230" y="142"/>
                  </a:lnTo>
                  <a:lnTo>
                    <a:pt x="232" y="142"/>
                  </a:lnTo>
                  <a:lnTo>
                    <a:pt x="232" y="144"/>
                  </a:lnTo>
                  <a:lnTo>
                    <a:pt x="234" y="144"/>
                  </a:lnTo>
                  <a:lnTo>
                    <a:pt x="234" y="146"/>
                  </a:lnTo>
                  <a:lnTo>
                    <a:pt x="236" y="146"/>
                  </a:lnTo>
                  <a:lnTo>
                    <a:pt x="238" y="146"/>
                  </a:lnTo>
                  <a:lnTo>
                    <a:pt x="240" y="146"/>
                  </a:lnTo>
                  <a:lnTo>
                    <a:pt x="238" y="146"/>
                  </a:lnTo>
                  <a:lnTo>
                    <a:pt x="238" y="148"/>
                  </a:lnTo>
                  <a:lnTo>
                    <a:pt x="238" y="150"/>
                  </a:lnTo>
                  <a:lnTo>
                    <a:pt x="236" y="150"/>
                  </a:lnTo>
                  <a:lnTo>
                    <a:pt x="236" y="152"/>
                  </a:lnTo>
                  <a:lnTo>
                    <a:pt x="236" y="154"/>
                  </a:lnTo>
                  <a:lnTo>
                    <a:pt x="234" y="154"/>
                  </a:lnTo>
                  <a:lnTo>
                    <a:pt x="234" y="156"/>
                  </a:lnTo>
                  <a:lnTo>
                    <a:pt x="232" y="156"/>
                  </a:lnTo>
                  <a:lnTo>
                    <a:pt x="232" y="158"/>
                  </a:lnTo>
                  <a:lnTo>
                    <a:pt x="232" y="160"/>
                  </a:lnTo>
                  <a:lnTo>
                    <a:pt x="230" y="160"/>
                  </a:lnTo>
                  <a:lnTo>
                    <a:pt x="230" y="162"/>
                  </a:lnTo>
                  <a:lnTo>
                    <a:pt x="228" y="164"/>
                  </a:lnTo>
                  <a:lnTo>
                    <a:pt x="228" y="166"/>
                  </a:lnTo>
                  <a:lnTo>
                    <a:pt x="228" y="168"/>
                  </a:lnTo>
                  <a:lnTo>
                    <a:pt x="228" y="170"/>
                  </a:lnTo>
                  <a:lnTo>
                    <a:pt x="228" y="172"/>
                  </a:lnTo>
                  <a:lnTo>
                    <a:pt x="228" y="174"/>
                  </a:lnTo>
                  <a:lnTo>
                    <a:pt x="228" y="176"/>
                  </a:lnTo>
                  <a:lnTo>
                    <a:pt x="228" y="178"/>
                  </a:lnTo>
                  <a:lnTo>
                    <a:pt x="226" y="178"/>
                  </a:lnTo>
                  <a:lnTo>
                    <a:pt x="226" y="180"/>
                  </a:lnTo>
                  <a:lnTo>
                    <a:pt x="226" y="182"/>
                  </a:lnTo>
                  <a:lnTo>
                    <a:pt x="224" y="182"/>
                  </a:lnTo>
                  <a:lnTo>
                    <a:pt x="224" y="182"/>
                  </a:lnTo>
                  <a:lnTo>
                    <a:pt x="224" y="182"/>
                  </a:lnTo>
                  <a:lnTo>
                    <a:pt x="224" y="182"/>
                  </a:lnTo>
                  <a:lnTo>
                    <a:pt x="224" y="184"/>
                  </a:lnTo>
                  <a:lnTo>
                    <a:pt x="224" y="182"/>
                  </a:lnTo>
                  <a:lnTo>
                    <a:pt x="222" y="182"/>
                  </a:lnTo>
                  <a:lnTo>
                    <a:pt x="220" y="182"/>
                  </a:lnTo>
                  <a:lnTo>
                    <a:pt x="222" y="182"/>
                  </a:lnTo>
                  <a:lnTo>
                    <a:pt x="222" y="184"/>
                  </a:lnTo>
                  <a:lnTo>
                    <a:pt x="220" y="184"/>
                  </a:lnTo>
                  <a:lnTo>
                    <a:pt x="220" y="182"/>
                  </a:lnTo>
                  <a:lnTo>
                    <a:pt x="220" y="184"/>
                  </a:lnTo>
                  <a:lnTo>
                    <a:pt x="220" y="182"/>
                  </a:lnTo>
                  <a:lnTo>
                    <a:pt x="218" y="182"/>
                  </a:lnTo>
                  <a:lnTo>
                    <a:pt x="218" y="184"/>
                  </a:lnTo>
                  <a:lnTo>
                    <a:pt x="218" y="182"/>
                  </a:lnTo>
                  <a:lnTo>
                    <a:pt x="218" y="184"/>
                  </a:lnTo>
                  <a:lnTo>
                    <a:pt x="220" y="182"/>
                  </a:lnTo>
                  <a:lnTo>
                    <a:pt x="220" y="184"/>
                  </a:lnTo>
                  <a:lnTo>
                    <a:pt x="220" y="182"/>
                  </a:lnTo>
                  <a:lnTo>
                    <a:pt x="220" y="184"/>
                  </a:lnTo>
                  <a:lnTo>
                    <a:pt x="220" y="186"/>
                  </a:lnTo>
                  <a:lnTo>
                    <a:pt x="218" y="186"/>
                  </a:lnTo>
                  <a:lnTo>
                    <a:pt x="216" y="186"/>
                  </a:lnTo>
                  <a:lnTo>
                    <a:pt x="218" y="186"/>
                  </a:lnTo>
                  <a:lnTo>
                    <a:pt x="220" y="186"/>
                  </a:lnTo>
                  <a:lnTo>
                    <a:pt x="220" y="184"/>
                  </a:lnTo>
                  <a:lnTo>
                    <a:pt x="222" y="184"/>
                  </a:lnTo>
                  <a:lnTo>
                    <a:pt x="220" y="184"/>
                  </a:lnTo>
                  <a:lnTo>
                    <a:pt x="220" y="186"/>
                  </a:lnTo>
                  <a:lnTo>
                    <a:pt x="220" y="184"/>
                  </a:lnTo>
                  <a:lnTo>
                    <a:pt x="222" y="184"/>
                  </a:lnTo>
                  <a:lnTo>
                    <a:pt x="222" y="186"/>
                  </a:lnTo>
                  <a:lnTo>
                    <a:pt x="222" y="184"/>
                  </a:lnTo>
                  <a:lnTo>
                    <a:pt x="224" y="184"/>
                  </a:lnTo>
                  <a:lnTo>
                    <a:pt x="224" y="186"/>
                  </a:lnTo>
                  <a:lnTo>
                    <a:pt x="226" y="186"/>
                  </a:lnTo>
                  <a:lnTo>
                    <a:pt x="226" y="188"/>
                  </a:lnTo>
                  <a:lnTo>
                    <a:pt x="224" y="188"/>
                  </a:lnTo>
                  <a:lnTo>
                    <a:pt x="224" y="186"/>
                  </a:lnTo>
                  <a:lnTo>
                    <a:pt x="224" y="188"/>
                  </a:lnTo>
                  <a:lnTo>
                    <a:pt x="224" y="186"/>
                  </a:lnTo>
                  <a:lnTo>
                    <a:pt x="224" y="188"/>
                  </a:lnTo>
                  <a:lnTo>
                    <a:pt x="222" y="188"/>
                  </a:lnTo>
                  <a:lnTo>
                    <a:pt x="222" y="186"/>
                  </a:lnTo>
                  <a:lnTo>
                    <a:pt x="222" y="188"/>
                  </a:lnTo>
                  <a:lnTo>
                    <a:pt x="220" y="186"/>
                  </a:lnTo>
                  <a:lnTo>
                    <a:pt x="222" y="186"/>
                  </a:lnTo>
                  <a:lnTo>
                    <a:pt x="220" y="186"/>
                  </a:lnTo>
                  <a:lnTo>
                    <a:pt x="218" y="186"/>
                  </a:lnTo>
                  <a:lnTo>
                    <a:pt x="218" y="188"/>
                  </a:lnTo>
                  <a:lnTo>
                    <a:pt x="218" y="186"/>
                  </a:lnTo>
                  <a:lnTo>
                    <a:pt x="218" y="188"/>
                  </a:lnTo>
                  <a:lnTo>
                    <a:pt x="216" y="188"/>
                  </a:lnTo>
                  <a:lnTo>
                    <a:pt x="218" y="188"/>
                  </a:lnTo>
                  <a:lnTo>
                    <a:pt x="220" y="188"/>
                  </a:lnTo>
                  <a:lnTo>
                    <a:pt x="218" y="188"/>
                  </a:lnTo>
                  <a:lnTo>
                    <a:pt x="218" y="190"/>
                  </a:lnTo>
                  <a:lnTo>
                    <a:pt x="220" y="190"/>
                  </a:lnTo>
                  <a:lnTo>
                    <a:pt x="220" y="192"/>
                  </a:lnTo>
                  <a:lnTo>
                    <a:pt x="218" y="192"/>
                  </a:lnTo>
                  <a:lnTo>
                    <a:pt x="218" y="190"/>
                  </a:lnTo>
                  <a:lnTo>
                    <a:pt x="216" y="190"/>
                  </a:lnTo>
                  <a:lnTo>
                    <a:pt x="218" y="190"/>
                  </a:lnTo>
                  <a:lnTo>
                    <a:pt x="218" y="192"/>
                  </a:lnTo>
                  <a:lnTo>
                    <a:pt x="220" y="192"/>
                  </a:lnTo>
                  <a:lnTo>
                    <a:pt x="218" y="192"/>
                  </a:lnTo>
                  <a:lnTo>
                    <a:pt x="218" y="194"/>
                  </a:lnTo>
                  <a:lnTo>
                    <a:pt x="218" y="192"/>
                  </a:lnTo>
                  <a:lnTo>
                    <a:pt x="218" y="194"/>
                  </a:lnTo>
                  <a:lnTo>
                    <a:pt x="218" y="196"/>
                  </a:lnTo>
                  <a:lnTo>
                    <a:pt x="216" y="196"/>
                  </a:lnTo>
                  <a:lnTo>
                    <a:pt x="218" y="196"/>
                  </a:lnTo>
                  <a:lnTo>
                    <a:pt x="216" y="196"/>
                  </a:lnTo>
                  <a:lnTo>
                    <a:pt x="216" y="198"/>
                  </a:lnTo>
                  <a:lnTo>
                    <a:pt x="218" y="198"/>
                  </a:lnTo>
                  <a:lnTo>
                    <a:pt x="216" y="198"/>
                  </a:lnTo>
                  <a:lnTo>
                    <a:pt x="216" y="200"/>
                  </a:lnTo>
                  <a:lnTo>
                    <a:pt x="216" y="198"/>
                  </a:lnTo>
                  <a:lnTo>
                    <a:pt x="214" y="198"/>
                  </a:lnTo>
                  <a:lnTo>
                    <a:pt x="216" y="198"/>
                  </a:lnTo>
                  <a:lnTo>
                    <a:pt x="214" y="198"/>
                  </a:lnTo>
                  <a:lnTo>
                    <a:pt x="216" y="198"/>
                  </a:lnTo>
                  <a:lnTo>
                    <a:pt x="216" y="200"/>
                  </a:lnTo>
                  <a:lnTo>
                    <a:pt x="214" y="200"/>
                  </a:lnTo>
                  <a:lnTo>
                    <a:pt x="216" y="200"/>
                  </a:lnTo>
                  <a:lnTo>
                    <a:pt x="214" y="200"/>
                  </a:lnTo>
                  <a:lnTo>
                    <a:pt x="214" y="198"/>
                  </a:lnTo>
                  <a:lnTo>
                    <a:pt x="214" y="196"/>
                  </a:lnTo>
                  <a:lnTo>
                    <a:pt x="214" y="198"/>
                  </a:lnTo>
                  <a:lnTo>
                    <a:pt x="214" y="196"/>
                  </a:lnTo>
                  <a:lnTo>
                    <a:pt x="214" y="198"/>
                  </a:lnTo>
                  <a:lnTo>
                    <a:pt x="214" y="196"/>
                  </a:lnTo>
                  <a:lnTo>
                    <a:pt x="212" y="196"/>
                  </a:lnTo>
                  <a:lnTo>
                    <a:pt x="214" y="196"/>
                  </a:lnTo>
                  <a:lnTo>
                    <a:pt x="212" y="196"/>
                  </a:lnTo>
                  <a:lnTo>
                    <a:pt x="212" y="194"/>
                  </a:lnTo>
                  <a:lnTo>
                    <a:pt x="212" y="196"/>
                  </a:lnTo>
                  <a:lnTo>
                    <a:pt x="212" y="194"/>
                  </a:lnTo>
                  <a:lnTo>
                    <a:pt x="212" y="196"/>
                  </a:lnTo>
                  <a:lnTo>
                    <a:pt x="210" y="196"/>
                  </a:lnTo>
                  <a:lnTo>
                    <a:pt x="210" y="194"/>
                  </a:lnTo>
                  <a:lnTo>
                    <a:pt x="210" y="196"/>
                  </a:lnTo>
                  <a:lnTo>
                    <a:pt x="208" y="196"/>
                  </a:lnTo>
                  <a:lnTo>
                    <a:pt x="210" y="196"/>
                  </a:lnTo>
                  <a:lnTo>
                    <a:pt x="212" y="196"/>
                  </a:lnTo>
                  <a:lnTo>
                    <a:pt x="210" y="196"/>
                  </a:lnTo>
                  <a:lnTo>
                    <a:pt x="212" y="196"/>
                  </a:lnTo>
                  <a:lnTo>
                    <a:pt x="210" y="196"/>
                  </a:lnTo>
                  <a:lnTo>
                    <a:pt x="212" y="196"/>
                  </a:lnTo>
                  <a:lnTo>
                    <a:pt x="210" y="196"/>
                  </a:lnTo>
                  <a:lnTo>
                    <a:pt x="212" y="196"/>
                  </a:lnTo>
                  <a:lnTo>
                    <a:pt x="212" y="198"/>
                  </a:lnTo>
                  <a:lnTo>
                    <a:pt x="212" y="200"/>
                  </a:lnTo>
                  <a:lnTo>
                    <a:pt x="212" y="198"/>
                  </a:lnTo>
                  <a:lnTo>
                    <a:pt x="212" y="200"/>
                  </a:lnTo>
                  <a:lnTo>
                    <a:pt x="214" y="200"/>
                  </a:lnTo>
                  <a:lnTo>
                    <a:pt x="212" y="200"/>
                  </a:lnTo>
                  <a:lnTo>
                    <a:pt x="214" y="200"/>
                  </a:lnTo>
                  <a:lnTo>
                    <a:pt x="212" y="200"/>
                  </a:lnTo>
                  <a:lnTo>
                    <a:pt x="214" y="200"/>
                  </a:lnTo>
                  <a:lnTo>
                    <a:pt x="212" y="200"/>
                  </a:lnTo>
                  <a:lnTo>
                    <a:pt x="212" y="202"/>
                  </a:lnTo>
                  <a:lnTo>
                    <a:pt x="210" y="202"/>
                  </a:lnTo>
                  <a:lnTo>
                    <a:pt x="212" y="202"/>
                  </a:lnTo>
                  <a:lnTo>
                    <a:pt x="212" y="200"/>
                  </a:lnTo>
                  <a:lnTo>
                    <a:pt x="212" y="202"/>
                  </a:lnTo>
                  <a:lnTo>
                    <a:pt x="212" y="204"/>
                  </a:lnTo>
                  <a:lnTo>
                    <a:pt x="214" y="204"/>
                  </a:lnTo>
                  <a:lnTo>
                    <a:pt x="214" y="202"/>
                  </a:lnTo>
                  <a:lnTo>
                    <a:pt x="214" y="204"/>
                  </a:lnTo>
                  <a:lnTo>
                    <a:pt x="212" y="204"/>
                  </a:lnTo>
                  <a:lnTo>
                    <a:pt x="214" y="204"/>
                  </a:lnTo>
                  <a:lnTo>
                    <a:pt x="212" y="204"/>
                  </a:lnTo>
                  <a:lnTo>
                    <a:pt x="214" y="204"/>
                  </a:lnTo>
                  <a:lnTo>
                    <a:pt x="212" y="204"/>
                  </a:lnTo>
                  <a:lnTo>
                    <a:pt x="214" y="204"/>
                  </a:lnTo>
                  <a:lnTo>
                    <a:pt x="214" y="206"/>
                  </a:lnTo>
                  <a:lnTo>
                    <a:pt x="214" y="204"/>
                  </a:lnTo>
                  <a:lnTo>
                    <a:pt x="216" y="204"/>
                  </a:lnTo>
                  <a:lnTo>
                    <a:pt x="214" y="204"/>
                  </a:lnTo>
                  <a:lnTo>
                    <a:pt x="216" y="204"/>
                  </a:lnTo>
                  <a:lnTo>
                    <a:pt x="216" y="206"/>
                  </a:lnTo>
                  <a:lnTo>
                    <a:pt x="218" y="206"/>
                  </a:lnTo>
                  <a:lnTo>
                    <a:pt x="216" y="206"/>
                  </a:lnTo>
                  <a:lnTo>
                    <a:pt x="214" y="206"/>
                  </a:lnTo>
                  <a:lnTo>
                    <a:pt x="214" y="208"/>
                  </a:lnTo>
                  <a:lnTo>
                    <a:pt x="214" y="206"/>
                  </a:lnTo>
                  <a:lnTo>
                    <a:pt x="214" y="208"/>
                  </a:lnTo>
                  <a:lnTo>
                    <a:pt x="212" y="208"/>
                  </a:lnTo>
                  <a:lnTo>
                    <a:pt x="214" y="208"/>
                  </a:lnTo>
                  <a:lnTo>
                    <a:pt x="214" y="206"/>
                  </a:lnTo>
                  <a:lnTo>
                    <a:pt x="214" y="208"/>
                  </a:lnTo>
                  <a:lnTo>
                    <a:pt x="212" y="208"/>
                  </a:lnTo>
                  <a:lnTo>
                    <a:pt x="214" y="208"/>
                  </a:lnTo>
                  <a:lnTo>
                    <a:pt x="212" y="208"/>
                  </a:lnTo>
                  <a:lnTo>
                    <a:pt x="212" y="210"/>
                  </a:lnTo>
                  <a:lnTo>
                    <a:pt x="212" y="208"/>
                  </a:lnTo>
                  <a:lnTo>
                    <a:pt x="210" y="208"/>
                  </a:lnTo>
                  <a:lnTo>
                    <a:pt x="212" y="208"/>
                  </a:lnTo>
                  <a:lnTo>
                    <a:pt x="212" y="210"/>
                  </a:lnTo>
                  <a:lnTo>
                    <a:pt x="214" y="210"/>
                  </a:lnTo>
                  <a:lnTo>
                    <a:pt x="214" y="208"/>
                  </a:lnTo>
                  <a:lnTo>
                    <a:pt x="216" y="208"/>
                  </a:lnTo>
                  <a:lnTo>
                    <a:pt x="216" y="210"/>
                  </a:lnTo>
                  <a:lnTo>
                    <a:pt x="214" y="210"/>
                  </a:lnTo>
                  <a:lnTo>
                    <a:pt x="212" y="210"/>
                  </a:lnTo>
                  <a:lnTo>
                    <a:pt x="214" y="210"/>
                  </a:lnTo>
                  <a:lnTo>
                    <a:pt x="216" y="210"/>
                  </a:lnTo>
                  <a:lnTo>
                    <a:pt x="218" y="210"/>
                  </a:lnTo>
                  <a:lnTo>
                    <a:pt x="216" y="210"/>
                  </a:lnTo>
                  <a:lnTo>
                    <a:pt x="216" y="212"/>
                  </a:lnTo>
                  <a:lnTo>
                    <a:pt x="216" y="214"/>
                  </a:lnTo>
                  <a:lnTo>
                    <a:pt x="218" y="214"/>
                  </a:lnTo>
                  <a:lnTo>
                    <a:pt x="216" y="214"/>
                  </a:lnTo>
                  <a:lnTo>
                    <a:pt x="218" y="214"/>
                  </a:lnTo>
                  <a:lnTo>
                    <a:pt x="218" y="216"/>
                  </a:lnTo>
                  <a:lnTo>
                    <a:pt x="216" y="216"/>
                  </a:lnTo>
                  <a:lnTo>
                    <a:pt x="216" y="214"/>
                  </a:lnTo>
                  <a:lnTo>
                    <a:pt x="214" y="214"/>
                  </a:lnTo>
                  <a:lnTo>
                    <a:pt x="214" y="216"/>
                  </a:lnTo>
                  <a:lnTo>
                    <a:pt x="212" y="216"/>
                  </a:lnTo>
                  <a:lnTo>
                    <a:pt x="214" y="216"/>
                  </a:lnTo>
                  <a:lnTo>
                    <a:pt x="214" y="218"/>
                  </a:lnTo>
                  <a:lnTo>
                    <a:pt x="214" y="216"/>
                  </a:lnTo>
                  <a:lnTo>
                    <a:pt x="214" y="218"/>
                  </a:lnTo>
                  <a:lnTo>
                    <a:pt x="212" y="218"/>
                  </a:lnTo>
                  <a:lnTo>
                    <a:pt x="210" y="218"/>
                  </a:lnTo>
                  <a:lnTo>
                    <a:pt x="212" y="218"/>
                  </a:lnTo>
                  <a:lnTo>
                    <a:pt x="214" y="218"/>
                  </a:lnTo>
                  <a:lnTo>
                    <a:pt x="212" y="218"/>
                  </a:lnTo>
                  <a:lnTo>
                    <a:pt x="214" y="218"/>
                  </a:lnTo>
                  <a:lnTo>
                    <a:pt x="214" y="216"/>
                  </a:lnTo>
                  <a:lnTo>
                    <a:pt x="214" y="218"/>
                  </a:lnTo>
                  <a:lnTo>
                    <a:pt x="214" y="216"/>
                  </a:lnTo>
                  <a:lnTo>
                    <a:pt x="214" y="218"/>
                  </a:lnTo>
                  <a:lnTo>
                    <a:pt x="214" y="216"/>
                  </a:lnTo>
                  <a:lnTo>
                    <a:pt x="216" y="216"/>
                  </a:lnTo>
                  <a:lnTo>
                    <a:pt x="216" y="218"/>
                  </a:lnTo>
                  <a:lnTo>
                    <a:pt x="218" y="218"/>
                  </a:lnTo>
                  <a:lnTo>
                    <a:pt x="218" y="220"/>
                  </a:lnTo>
                  <a:lnTo>
                    <a:pt x="220" y="220"/>
                  </a:lnTo>
                  <a:lnTo>
                    <a:pt x="218" y="220"/>
                  </a:lnTo>
                  <a:lnTo>
                    <a:pt x="220" y="220"/>
                  </a:lnTo>
                  <a:lnTo>
                    <a:pt x="220" y="222"/>
                  </a:lnTo>
                  <a:lnTo>
                    <a:pt x="218" y="222"/>
                  </a:lnTo>
                  <a:lnTo>
                    <a:pt x="218" y="220"/>
                  </a:lnTo>
                  <a:lnTo>
                    <a:pt x="218" y="222"/>
                  </a:lnTo>
                  <a:lnTo>
                    <a:pt x="220" y="222"/>
                  </a:lnTo>
                  <a:lnTo>
                    <a:pt x="218" y="222"/>
                  </a:lnTo>
                  <a:lnTo>
                    <a:pt x="218" y="224"/>
                  </a:lnTo>
                  <a:lnTo>
                    <a:pt x="218" y="222"/>
                  </a:lnTo>
                  <a:lnTo>
                    <a:pt x="218" y="224"/>
                  </a:lnTo>
                  <a:lnTo>
                    <a:pt x="218" y="222"/>
                  </a:lnTo>
                  <a:lnTo>
                    <a:pt x="216" y="222"/>
                  </a:lnTo>
                  <a:lnTo>
                    <a:pt x="218" y="222"/>
                  </a:lnTo>
                  <a:lnTo>
                    <a:pt x="218" y="220"/>
                  </a:lnTo>
                  <a:lnTo>
                    <a:pt x="218" y="222"/>
                  </a:lnTo>
                  <a:lnTo>
                    <a:pt x="216" y="222"/>
                  </a:lnTo>
                  <a:lnTo>
                    <a:pt x="218" y="222"/>
                  </a:lnTo>
                  <a:lnTo>
                    <a:pt x="216" y="222"/>
                  </a:lnTo>
                  <a:lnTo>
                    <a:pt x="218" y="222"/>
                  </a:lnTo>
                  <a:lnTo>
                    <a:pt x="218" y="224"/>
                  </a:lnTo>
                  <a:lnTo>
                    <a:pt x="216" y="224"/>
                  </a:lnTo>
                  <a:lnTo>
                    <a:pt x="216" y="222"/>
                  </a:lnTo>
                  <a:lnTo>
                    <a:pt x="216" y="224"/>
                  </a:lnTo>
                  <a:lnTo>
                    <a:pt x="216" y="222"/>
                  </a:lnTo>
                  <a:lnTo>
                    <a:pt x="216" y="224"/>
                  </a:lnTo>
                  <a:lnTo>
                    <a:pt x="214" y="224"/>
                  </a:lnTo>
                  <a:lnTo>
                    <a:pt x="216" y="224"/>
                  </a:lnTo>
                  <a:lnTo>
                    <a:pt x="216" y="222"/>
                  </a:lnTo>
                  <a:lnTo>
                    <a:pt x="214" y="222"/>
                  </a:lnTo>
                  <a:lnTo>
                    <a:pt x="214" y="224"/>
                  </a:lnTo>
                  <a:lnTo>
                    <a:pt x="214" y="222"/>
                  </a:lnTo>
                  <a:lnTo>
                    <a:pt x="214" y="224"/>
                  </a:lnTo>
                  <a:lnTo>
                    <a:pt x="214" y="222"/>
                  </a:lnTo>
                  <a:lnTo>
                    <a:pt x="216" y="222"/>
                  </a:lnTo>
                  <a:lnTo>
                    <a:pt x="214" y="222"/>
                  </a:lnTo>
                  <a:lnTo>
                    <a:pt x="214" y="224"/>
                  </a:lnTo>
                  <a:lnTo>
                    <a:pt x="214" y="222"/>
                  </a:lnTo>
                  <a:lnTo>
                    <a:pt x="214" y="224"/>
                  </a:lnTo>
                  <a:lnTo>
                    <a:pt x="214" y="222"/>
                  </a:lnTo>
                  <a:lnTo>
                    <a:pt x="214" y="224"/>
                  </a:lnTo>
                  <a:lnTo>
                    <a:pt x="214" y="222"/>
                  </a:lnTo>
                  <a:lnTo>
                    <a:pt x="214" y="224"/>
                  </a:lnTo>
                  <a:lnTo>
                    <a:pt x="216" y="224"/>
                  </a:lnTo>
                  <a:lnTo>
                    <a:pt x="214" y="224"/>
                  </a:lnTo>
                  <a:lnTo>
                    <a:pt x="216" y="224"/>
                  </a:lnTo>
                  <a:lnTo>
                    <a:pt x="214" y="224"/>
                  </a:lnTo>
                  <a:lnTo>
                    <a:pt x="216" y="224"/>
                  </a:lnTo>
                  <a:lnTo>
                    <a:pt x="216" y="222"/>
                  </a:lnTo>
                  <a:lnTo>
                    <a:pt x="216" y="224"/>
                  </a:lnTo>
                  <a:lnTo>
                    <a:pt x="214" y="224"/>
                  </a:lnTo>
                  <a:lnTo>
                    <a:pt x="212" y="224"/>
                  </a:lnTo>
                  <a:lnTo>
                    <a:pt x="212" y="222"/>
                  </a:lnTo>
                  <a:lnTo>
                    <a:pt x="212" y="224"/>
                  </a:lnTo>
                  <a:lnTo>
                    <a:pt x="212" y="222"/>
                  </a:lnTo>
                  <a:lnTo>
                    <a:pt x="212" y="224"/>
                  </a:lnTo>
                  <a:lnTo>
                    <a:pt x="210" y="224"/>
                  </a:lnTo>
                  <a:lnTo>
                    <a:pt x="212" y="222"/>
                  </a:lnTo>
                  <a:lnTo>
                    <a:pt x="210" y="222"/>
                  </a:lnTo>
                  <a:lnTo>
                    <a:pt x="210" y="224"/>
                  </a:lnTo>
                  <a:lnTo>
                    <a:pt x="208" y="224"/>
                  </a:lnTo>
                  <a:lnTo>
                    <a:pt x="206" y="224"/>
                  </a:lnTo>
                  <a:lnTo>
                    <a:pt x="206" y="222"/>
                  </a:lnTo>
                  <a:lnTo>
                    <a:pt x="206" y="224"/>
                  </a:lnTo>
                  <a:lnTo>
                    <a:pt x="204" y="224"/>
                  </a:lnTo>
                  <a:lnTo>
                    <a:pt x="204" y="222"/>
                  </a:lnTo>
                  <a:lnTo>
                    <a:pt x="202" y="222"/>
                  </a:lnTo>
                  <a:lnTo>
                    <a:pt x="200" y="222"/>
                  </a:lnTo>
                  <a:lnTo>
                    <a:pt x="198" y="222"/>
                  </a:lnTo>
                  <a:lnTo>
                    <a:pt x="198" y="220"/>
                  </a:lnTo>
                  <a:lnTo>
                    <a:pt x="198" y="222"/>
                  </a:lnTo>
                  <a:lnTo>
                    <a:pt x="198" y="222"/>
                  </a:lnTo>
                  <a:lnTo>
                    <a:pt x="198" y="220"/>
                  </a:lnTo>
                  <a:lnTo>
                    <a:pt x="198" y="222"/>
                  </a:lnTo>
                  <a:lnTo>
                    <a:pt x="198" y="224"/>
                  </a:lnTo>
                  <a:lnTo>
                    <a:pt x="196" y="224"/>
                  </a:lnTo>
                  <a:lnTo>
                    <a:pt x="194" y="224"/>
                  </a:lnTo>
                  <a:lnTo>
                    <a:pt x="196" y="224"/>
                  </a:lnTo>
                  <a:lnTo>
                    <a:pt x="196" y="226"/>
                  </a:lnTo>
                  <a:lnTo>
                    <a:pt x="194" y="226"/>
                  </a:lnTo>
                  <a:lnTo>
                    <a:pt x="196" y="226"/>
                  </a:lnTo>
                  <a:lnTo>
                    <a:pt x="194" y="226"/>
                  </a:lnTo>
                  <a:lnTo>
                    <a:pt x="194" y="228"/>
                  </a:lnTo>
                  <a:lnTo>
                    <a:pt x="194" y="230"/>
                  </a:lnTo>
                  <a:lnTo>
                    <a:pt x="194" y="230"/>
                  </a:lnTo>
                  <a:lnTo>
                    <a:pt x="196" y="230"/>
                  </a:lnTo>
                  <a:lnTo>
                    <a:pt x="196" y="232"/>
                  </a:lnTo>
                  <a:lnTo>
                    <a:pt x="196" y="234"/>
                  </a:lnTo>
                  <a:lnTo>
                    <a:pt x="198" y="234"/>
                  </a:lnTo>
                  <a:lnTo>
                    <a:pt x="198" y="236"/>
                  </a:lnTo>
                  <a:lnTo>
                    <a:pt x="198" y="238"/>
                  </a:lnTo>
                  <a:lnTo>
                    <a:pt x="198" y="240"/>
                  </a:lnTo>
                  <a:lnTo>
                    <a:pt x="198" y="242"/>
                  </a:lnTo>
                  <a:lnTo>
                    <a:pt x="196" y="242"/>
                  </a:lnTo>
                  <a:lnTo>
                    <a:pt x="198" y="242"/>
                  </a:lnTo>
                  <a:lnTo>
                    <a:pt x="198" y="244"/>
                  </a:lnTo>
                  <a:lnTo>
                    <a:pt x="196" y="244"/>
                  </a:lnTo>
                  <a:lnTo>
                    <a:pt x="198" y="244"/>
                  </a:lnTo>
                  <a:lnTo>
                    <a:pt x="196" y="244"/>
                  </a:lnTo>
                  <a:lnTo>
                    <a:pt x="198" y="244"/>
                  </a:lnTo>
                  <a:lnTo>
                    <a:pt x="198" y="246"/>
                  </a:lnTo>
                  <a:lnTo>
                    <a:pt x="196" y="246"/>
                  </a:lnTo>
                  <a:lnTo>
                    <a:pt x="194" y="246"/>
                  </a:lnTo>
                  <a:lnTo>
                    <a:pt x="192" y="246"/>
                  </a:lnTo>
                  <a:lnTo>
                    <a:pt x="192" y="248"/>
                  </a:lnTo>
                  <a:lnTo>
                    <a:pt x="192" y="246"/>
                  </a:lnTo>
                  <a:lnTo>
                    <a:pt x="192" y="248"/>
                  </a:lnTo>
                  <a:lnTo>
                    <a:pt x="190" y="248"/>
                  </a:lnTo>
                  <a:lnTo>
                    <a:pt x="190" y="246"/>
                  </a:lnTo>
                  <a:lnTo>
                    <a:pt x="188" y="246"/>
                  </a:lnTo>
                  <a:lnTo>
                    <a:pt x="188" y="244"/>
                  </a:lnTo>
                  <a:lnTo>
                    <a:pt x="188" y="242"/>
                  </a:lnTo>
                  <a:lnTo>
                    <a:pt x="188" y="240"/>
                  </a:lnTo>
                  <a:lnTo>
                    <a:pt x="186" y="240"/>
                  </a:lnTo>
                  <a:lnTo>
                    <a:pt x="186" y="238"/>
                  </a:lnTo>
                  <a:lnTo>
                    <a:pt x="186" y="236"/>
                  </a:lnTo>
                  <a:lnTo>
                    <a:pt x="184" y="236"/>
                  </a:lnTo>
                  <a:lnTo>
                    <a:pt x="182" y="236"/>
                  </a:lnTo>
                  <a:lnTo>
                    <a:pt x="178" y="236"/>
                  </a:lnTo>
                  <a:lnTo>
                    <a:pt x="176" y="236"/>
                  </a:lnTo>
                  <a:lnTo>
                    <a:pt x="174" y="236"/>
                  </a:lnTo>
                  <a:lnTo>
                    <a:pt x="172" y="236"/>
                  </a:lnTo>
                  <a:lnTo>
                    <a:pt x="170" y="236"/>
                  </a:lnTo>
                  <a:lnTo>
                    <a:pt x="170" y="238"/>
                  </a:lnTo>
                  <a:lnTo>
                    <a:pt x="168" y="238"/>
                  </a:lnTo>
                  <a:lnTo>
                    <a:pt x="166" y="238"/>
                  </a:lnTo>
                  <a:lnTo>
                    <a:pt x="164" y="238"/>
                  </a:lnTo>
                  <a:lnTo>
                    <a:pt x="162" y="238"/>
                  </a:lnTo>
                  <a:lnTo>
                    <a:pt x="160" y="238"/>
                  </a:lnTo>
                  <a:lnTo>
                    <a:pt x="158" y="238"/>
                  </a:lnTo>
                  <a:lnTo>
                    <a:pt x="156" y="238"/>
                  </a:lnTo>
                  <a:lnTo>
                    <a:pt x="154" y="238"/>
                  </a:lnTo>
                  <a:lnTo>
                    <a:pt x="152" y="238"/>
                  </a:lnTo>
                  <a:lnTo>
                    <a:pt x="150" y="238"/>
                  </a:lnTo>
                  <a:lnTo>
                    <a:pt x="150" y="238"/>
                  </a:lnTo>
                  <a:lnTo>
                    <a:pt x="148" y="238"/>
                  </a:lnTo>
                  <a:lnTo>
                    <a:pt x="146" y="238"/>
                  </a:lnTo>
                  <a:lnTo>
                    <a:pt x="146" y="240"/>
                  </a:lnTo>
                  <a:lnTo>
                    <a:pt x="144" y="240"/>
                  </a:lnTo>
                  <a:lnTo>
                    <a:pt x="142" y="240"/>
                  </a:lnTo>
                  <a:lnTo>
                    <a:pt x="140" y="240"/>
                  </a:lnTo>
                  <a:lnTo>
                    <a:pt x="138" y="240"/>
                  </a:lnTo>
                  <a:lnTo>
                    <a:pt x="136" y="240"/>
                  </a:lnTo>
                  <a:lnTo>
                    <a:pt x="134" y="240"/>
                  </a:lnTo>
                  <a:lnTo>
                    <a:pt x="132" y="240"/>
                  </a:lnTo>
                  <a:lnTo>
                    <a:pt x="130" y="240"/>
                  </a:lnTo>
                  <a:lnTo>
                    <a:pt x="128" y="240"/>
                  </a:lnTo>
                  <a:lnTo>
                    <a:pt x="126" y="240"/>
                  </a:lnTo>
                  <a:lnTo>
                    <a:pt x="124" y="240"/>
                  </a:lnTo>
                  <a:lnTo>
                    <a:pt x="122" y="240"/>
                  </a:lnTo>
                  <a:lnTo>
                    <a:pt x="120" y="240"/>
                  </a:lnTo>
                  <a:lnTo>
                    <a:pt x="118" y="240"/>
                  </a:lnTo>
                  <a:lnTo>
                    <a:pt x="116" y="240"/>
                  </a:lnTo>
                  <a:lnTo>
                    <a:pt x="116" y="242"/>
                  </a:lnTo>
                  <a:lnTo>
                    <a:pt x="114" y="242"/>
                  </a:lnTo>
                  <a:lnTo>
                    <a:pt x="112" y="242"/>
                  </a:lnTo>
                  <a:lnTo>
                    <a:pt x="110" y="242"/>
                  </a:lnTo>
                  <a:lnTo>
                    <a:pt x="108" y="242"/>
                  </a:lnTo>
                  <a:lnTo>
                    <a:pt x="106" y="242"/>
                  </a:lnTo>
                  <a:lnTo>
                    <a:pt x="104" y="242"/>
                  </a:lnTo>
                  <a:lnTo>
                    <a:pt x="102" y="242"/>
                  </a:lnTo>
                  <a:lnTo>
                    <a:pt x="100" y="242"/>
                  </a:lnTo>
                  <a:lnTo>
                    <a:pt x="100" y="242"/>
                  </a:lnTo>
                  <a:lnTo>
                    <a:pt x="98" y="242"/>
                  </a:lnTo>
                  <a:lnTo>
                    <a:pt x="96" y="242"/>
                  </a:lnTo>
                  <a:lnTo>
                    <a:pt x="94" y="242"/>
                  </a:lnTo>
                  <a:lnTo>
                    <a:pt x="92" y="242"/>
                  </a:lnTo>
                  <a:lnTo>
                    <a:pt x="90" y="242"/>
                  </a:lnTo>
                  <a:lnTo>
                    <a:pt x="88" y="242"/>
                  </a:lnTo>
                  <a:lnTo>
                    <a:pt x="88" y="244"/>
                  </a:lnTo>
                  <a:lnTo>
                    <a:pt x="86" y="244"/>
                  </a:lnTo>
                  <a:lnTo>
                    <a:pt x="84" y="244"/>
                  </a:lnTo>
                  <a:lnTo>
                    <a:pt x="82" y="244"/>
                  </a:lnTo>
                  <a:lnTo>
                    <a:pt x="80" y="244"/>
                  </a:lnTo>
                  <a:lnTo>
                    <a:pt x="78" y="244"/>
                  </a:lnTo>
                  <a:lnTo>
                    <a:pt x="76" y="244"/>
                  </a:lnTo>
                  <a:lnTo>
                    <a:pt x="74" y="244"/>
                  </a:lnTo>
                  <a:lnTo>
                    <a:pt x="72" y="244"/>
                  </a:lnTo>
                  <a:lnTo>
                    <a:pt x="70" y="244"/>
                  </a:lnTo>
                  <a:lnTo>
                    <a:pt x="68" y="244"/>
                  </a:lnTo>
                  <a:lnTo>
                    <a:pt x="66" y="244"/>
                  </a:lnTo>
                  <a:lnTo>
                    <a:pt x="64" y="244"/>
                  </a:lnTo>
                  <a:lnTo>
                    <a:pt x="62" y="244"/>
                  </a:lnTo>
                  <a:lnTo>
                    <a:pt x="60" y="244"/>
                  </a:lnTo>
                  <a:lnTo>
                    <a:pt x="58" y="244"/>
                  </a:lnTo>
                  <a:lnTo>
                    <a:pt x="56" y="244"/>
                  </a:lnTo>
                  <a:lnTo>
                    <a:pt x="56" y="242"/>
                  </a:lnTo>
                  <a:lnTo>
                    <a:pt x="54" y="242"/>
                  </a:lnTo>
                  <a:lnTo>
                    <a:pt x="54" y="240"/>
                  </a:lnTo>
                  <a:lnTo>
                    <a:pt x="52" y="240"/>
                  </a:lnTo>
                  <a:lnTo>
                    <a:pt x="52" y="238"/>
                  </a:lnTo>
                  <a:lnTo>
                    <a:pt x="54" y="238"/>
                  </a:lnTo>
                  <a:lnTo>
                    <a:pt x="52" y="238"/>
                  </a:lnTo>
                  <a:lnTo>
                    <a:pt x="52" y="236"/>
                  </a:lnTo>
                  <a:lnTo>
                    <a:pt x="52" y="234"/>
                  </a:lnTo>
                  <a:lnTo>
                    <a:pt x="52" y="234"/>
                  </a:lnTo>
                  <a:lnTo>
                    <a:pt x="52" y="232"/>
                  </a:lnTo>
                  <a:lnTo>
                    <a:pt x="52" y="230"/>
                  </a:lnTo>
                  <a:lnTo>
                    <a:pt x="50" y="230"/>
                  </a:lnTo>
                  <a:lnTo>
                    <a:pt x="50" y="230"/>
                  </a:lnTo>
                  <a:lnTo>
                    <a:pt x="50" y="228"/>
                  </a:lnTo>
                  <a:lnTo>
                    <a:pt x="48" y="228"/>
                  </a:lnTo>
                  <a:lnTo>
                    <a:pt x="48" y="226"/>
                  </a:lnTo>
                  <a:lnTo>
                    <a:pt x="48" y="224"/>
                  </a:lnTo>
                  <a:lnTo>
                    <a:pt x="46" y="224"/>
                  </a:lnTo>
                  <a:lnTo>
                    <a:pt x="46" y="222"/>
                  </a:lnTo>
                  <a:lnTo>
                    <a:pt x="44" y="222"/>
                  </a:lnTo>
                  <a:lnTo>
                    <a:pt x="44" y="220"/>
                  </a:lnTo>
                  <a:lnTo>
                    <a:pt x="44" y="218"/>
                  </a:lnTo>
                  <a:lnTo>
                    <a:pt x="44" y="216"/>
                  </a:lnTo>
                  <a:lnTo>
                    <a:pt x="44" y="214"/>
                  </a:lnTo>
                  <a:lnTo>
                    <a:pt x="44" y="212"/>
                  </a:lnTo>
                  <a:lnTo>
                    <a:pt x="44" y="210"/>
                  </a:lnTo>
                  <a:lnTo>
                    <a:pt x="44" y="208"/>
                  </a:lnTo>
                  <a:lnTo>
                    <a:pt x="44" y="206"/>
                  </a:lnTo>
                  <a:lnTo>
                    <a:pt x="44" y="204"/>
                  </a:lnTo>
                  <a:lnTo>
                    <a:pt x="44" y="202"/>
                  </a:lnTo>
                  <a:lnTo>
                    <a:pt x="46" y="202"/>
                  </a:lnTo>
                  <a:lnTo>
                    <a:pt x="46" y="200"/>
                  </a:lnTo>
                  <a:lnTo>
                    <a:pt x="44" y="200"/>
                  </a:lnTo>
                  <a:lnTo>
                    <a:pt x="44" y="198"/>
                  </a:lnTo>
                  <a:lnTo>
                    <a:pt x="44" y="196"/>
                  </a:lnTo>
                  <a:lnTo>
                    <a:pt x="44" y="194"/>
                  </a:lnTo>
                  <a:lnTo>
                    <a:pt x="42" y="194"/>
                  </a:lnTo>
                  <a:lnTo>
                    <a:pt x="42" y="192"/>
                  </a:lnTo>
                  <a:lnTo>
                    <a:pt x="40" y="192"/>
                  </a:lnTo>
                  <a:lnTo>
                    <a:pt x="40" y="190"/>
                  </a:lnTo>
                  <a:lnTo>
                    <a:pt x="40" y="188"/>
                  </a:lnTo>
                  <a:lnTo>
                    <a:pt x="40" y="186"/>
                  </a:lnTo>
                  <a:lnTo>
                    <a:pt x="38" y="186"/>
                  </a:lnTo>
                  <a:lnTo>
                    <a:pt x="40" y="186"/>
                  </a:lnTo>
                  <a:lnTo>
                    <a:pt x="40" y="184"/>
                  </a:lnTo>
                  <a:lnTo>
                    <a:pt x="38" y="184"/>
                  </a:lnTo>
                  <a:lnTo>
                    <a:pt x="40" y="184"/>
                  </a:lnTo>
                  <a:lnTo>
                    <a:pt x="38" y="184"/>
                  </a:lnTo>
                  <a:lnTo>
                    <a:pt x="38" y="182"/>
                  </a:lnTo>
                  <a:lnTo>
                    <a:pt x="38" y="182"/>
                  </a:lnTo>
                  <a:lnTo>
                    <a:pt x="40" y="182"/>
                  </a:lnTo>
                  <a:lnTo>
                    <a:pt x="40" y="180"/>
                  </a:lnTo>
                  <a:lnTo>
                    <a:pt x="40" y="178"/>
                  </a:lnTo>
                  <a:lnTo>
                    <a:pt x="42" y="178"/>
                  </a:lnTo>
                  <a:lnTo>
                    <a:pt x="42" y="176"/>
                  </a:lnTo>
                  <a:lnTo>
                    <a:pt x="42" y="174"/>
                  </a:lnTo>
                  <a:lnTo>
                    <a:pt x="42" y="172"/>
                  </a:lnTo>
                  <a:lnTo>
                    <a:pt x="42" y="170"/>
                  </a:lnTo>
                  <a:lnTo>
                    <a:pt x="40" y="168"/>
                  </a:lnTo>
                  <a:lnTo>
                    <a:pt x="42" y="168"/>
                  </a:lnTo>
                  <a:lnTo>
                    <a:pt x="42" y="166"/>
                  </a:lnTo>
                  <a:lnTo>
                    <a:pt x="42" y="164"/>
                  </a:lnTo>
                  <a:lnTo>
                    <a:pt x="44" y="164"/>
                  </a:lnTo>
                  <a:lnTo>
                    <a:pt x="46" y="164"/>
                  </a:lnTo>
                  <a:lnTo>
                    <a:pt x="44" y="164"/>
                  </a:lnTo>
                  <a:lnTo>
                    <a:pt x="44" y="162"/>
                  </a:lnTo>
                  <a:lnTo>
                    <a:pt x="46" y="162"/>
                  </a:lnTo>
                  <a:lnTo>
                    <a:pt x="48" y="162"/>
                  </a:lnTo>
                  <a:lnTo>
                    <a:pt x="48" y="160"/>
                  </a:lnTo>
                  <a:lnTo>
                    <a:pt x="46" y="160"/>
                  </a:lnTo>
                  <a:lnTo>
                    <a:pt x="48" y="160"/>
                  </a:lnTo>
                  <a:lnTo>
                    <a:pt x="48" y="158"/>
                  </a:lnTo>
                  <a:lnTo>
                    <a:pt x="46" y="158"/>
                  </a:lnTo>
                  <a:lnTo>
                    <a:pt x="44" y="158"/>
                  </a:lnTo>
                  <a:lnTo>
                    <a:pt x="44" y="156"/>
                  </a:lnTo>
                  <a:lnTo>
                    <a:pt x="42" y="156"/>
                  </a:lnTo>
                  <a:lnTo>
                    <a:pt x="42" y="154"/>
                  </a:lnTo>
                  <a:lnTo>
                    <a:pt x="44" y="154"/>
                  </a:lnTo>
                  <a:lnTo>
                    <a:pt x="42" y="154"/>
                  </a:lnTo>
                  <a:lnTo>
                    <a:pt x="42" y="152"/>
                  </a:lnTo>
                  <a:lnTo>
                    <a:pt x="44" y="152"/>
                  </a:lnTo>
                  <a:lnTo>
                    <a:pt x="42" y="152"/>
                  </a:lnTo>
                  <a:lnTo>
                    <a:pt x="44" y="152"/>
                  </a:lnTo>
                  <a:lnTo>
                    <a:pt x="44" y="150"/>
                  </a:lnTo>
                  <a:lnTo>
                    <a:pt x="42" y="150"/>
                  </a:lnTo>
                  <a:lnTo>
                    <a:pt x="42" y="148"/>
                  </a:lnTo>
                  <a:lnTo>
                    <a:pt x="42" y="146"/>
                  </a:lnTo>
                  <a:lnTo>
                    <a:pt x="40" y="146"/>
                  </a:lnTo>
                  <a:lnTo>
                    <a:pt x="40" y="144"/>
                  </a:lnTo>
                  <a:lnTo>
                    <a:pt x="38" y="144"/>
                  </a:lnTo>
                  <a:lnTo>
                    <a:pt x="38" y="142"/>
                  </a:lnTo>
                  <a:lnTo>
                    <a:pt x="36" y="142"/>
                  </a:lnTo>
                  <a:lnTo>
                    <a:pt x="36" y="140"/>
                  </a:lnTo>
                  <a:lnTo>
                    <a:pt x="36" y="138"/>
                  </a:lnTo>
                  <a:lnTo>
                    <a:pt x="36" y="136"/>
                  </a:lnTo>
                  <a:lnTo>
                    <a:pt x="34" y="136"/>
                  </a:lnTo>
                  <a:lnTo>
                    <a:pt x="34" y="134"/>
                  </a:lnTo>
                  <a:lnTo>
                    <a:pt x="34" y="134"/>
                  </a:lnTo>
                  <a:lnTo>
                    <a:pt x="32" y="134"/>
                  </a:lnTo>
                  <a:lnTo>
                    <a:pt x="34" y="134"/>
                  </a:lnTo>
                  <a:lnTo>
                    <a:pt x="32" y="134"/>
                  </a:lnTo>
                  <a:lnTo>
                    <a:pt x="32" y="132"/>
                  </a:lnTo>
                  <a:lnTo>
                    <a:pt x="32" y="130"/>
                  </a:lnTo>
                  <a:lnTo>
                    <a:pt x="30" y="130"/>
                  </a:lnTo>
                  <a:lnTo>
                    <a:pt x="30" y="128"/>
                  </a:lnTo>
                  <a:lnTo>
                    <a:pt x="30" y="126"/>
                  </a:lnTo>
                  <a:lnTo>
                    <a:pt x="30" y="124"/>
                  </a:lnTo>
                  <a:lnTo>
                    <a:pt x="28" y="124"/>
                  </a:lnTo>
                  <a:lnTo>
                    <a:pt x="28" y="122"/>
                  </a:lnTo>
                  <a:lnTo>
                    <a:pt x="28" y="120"/>
                  </a:lnTo>
                  <a:lnTo>
                    <a:pt x="28" y="118"/>
                  </a:lnTo>
                  <a:lnTo>
                    <a:pt x="26" y="116"/>
                  </a:lnTo>
                  <a:lnTo>
                    <a:pt x="26" y="114"/>
                  </a:lnTo>
                  <a:lnTo>
                    <a:pt x="26" y="112"/>
                  </a:lnTo>
                  <a:lnTo>
                    <a:pt x="26" y="110"/>
                  </a:lnTo>
                  <a:lnTo>
                    <a:pt x="24" y="110"/>
                  </a:lnTo>
                  <a:lnTo>
                    <a:pt x="24" y="108"/>
                  </a:lnTo>
                  <a:lnTo>
                    <a:pt x="24" y="106"/>
                  </a:lnTo>
                  <a:lnTo>
                    <a:pt x="24" y="104"/>
                  </a:lnTo>
                  <a:lnTo>
                    <a:pt x="24" y="102"/>
                  </a:lnTo>
                  <a:lnTo>
                    <a:pt x="22" y="102"/>
                  </a:lnTo>
                  <a:lnTo>
                    <a:pt x="22" y="100"/>
                  </a:lnTo>
                  <a:lnTo>
                    <a:pt x="22" y="98"/>
                  </a:lnTo>
                  <a:lnTo>
                    <a:pt x="22" y="96"/>
                  </a:lnTo>
                  <a:lnTo>
                    <a:pt x="20" y="94"/>
                  </a:lnTo>
                  <a:lnTo>
                    <a:pt x="20" y="92"/>
                  </a:lnTo>
                  <a:lnTo>
                    <a:pt x="20" y="90"/>
                  </a:lnTo>
                  <a:lnTo>
                    <a:pt x="20" y="88"/>
                  </a:lnTo>
                  <a:lnTo>
                    <a:pt x="18" y="88"/>
                  </a:lnTo>
                  <a:lnTo>
                    <a:pt x="18" y="86"/>
                  </a:lnTo>
                  <a:lnTo>
                    <a:pt x="18" y="86"/>
                  </a:lnTo>
                  <a:lnTo>
                    <a:pt x="18" y="84"/>
                  </a:lnTo>
                  <a:lnTo>
                    <a:pt x="18" y="82"/>
                  </a:lnTo>
                  <a:lnTo>
                    <a:pt x="16" y="82"/>
                  </a:lnTo>
                  <a:lnTo>
                    <a:pt x="16" y="80"/>
                  </a:lnTo>
                  <a:lnTo>
                    <a:pt x="16" y="78"/>
                  </a:lnTo>
                  <a:lnTo>
                    <a:pt x="16" y="76"/>
                  </a:lnTo>
                  <a:lnTo>
                    <a:pt x="16" y="74"/>
                  </a:lnTo>
                  <a:lnTo>
                    <a:pt x="14" y="74"/>
                  </a:lnTo>
                  <a:lnTo>
                    <a:pt x="14" y="72"/>
                  </a:lnTo>
                  <a:lnTo>
                    <a:pt x="14" y="70"/>
                  </a:lnTo>
                  <a:lnTo>
                    <a:pt x="14" y="68"/>
                  </a:lnTo>
                  <a:lnTo>
                    <a:pt x="12" y="68"/>
                  </a:lnTo>
                  <a:lnTo>
                    <a:pt x="12" y="66"/>
                  </a:lnTo>
                  <a:lnTo>
                    <a:pt x="12" y="64"/>
                  </a:lnTo>
                  <a:lnTo>
                    <a:pt x="12" y="62"/>
                  </a:lnTo>
                  <a:lnTo>
                    <a:pt x="12" y="60"/>
                  </a:lnTo>
                  <a:lnTo>
                    <a:pt x="10" y="60"/>
                  </a:lnTo>
                  <a:lnTo>
                    <a:pt x="10" y="58"/>
                  </a:lnTo>
                  <a:lnTo>
                    <a:pt x="10" y="56"/>
                  </a:lnTo>
                  <a:lnTo>
                    <a:pt x="10" y="54"/>
                  </a:lnTo>
                  <a:lnTo>
                    <a:pt x="10" y="52"/>
                  </a:lnTo>
                  <a:lnTo>
                    <a:pt x="8" y="52"/>
                  </a:lnTo>
                  <a:lnTo>
                    <a:pt x="8" y="50"/>
                  </a:lnTo>
                  <a:lnTo>
                    <a:pt x="8" y="48"/>
                  </a:lnTo>
                  <a:lnTo>
                    <a:pt x="8" y="46"/>
                  </a:lnTo>
                  <a:lnTo>
                    <a:pt x="6" y="46"/>
                  </a:lnTo>
                  <a:lnTo>
                    <a:pt x="6" y="44"/>
                  </a:lnTo>
                  <a:lnTo>
                    <a:pt x="6" y="42"/>
                  </a:lnTo>
                  <a:lnTo>
                    <a:pt x="6" y="40"/>
                  </a:lnTo>
                  <a:lnTo>
                    <a:pt x="6" y="38"/>
                  </a:lnTo>
                  <a:lnTo>
                    <a:pt x="4" y="38"/>
                  </a:lnTo>
                  <a:lnTo>
                    <a:pt x="4" y="38"/>
                  </a:lnTo>
                  <a:lnTo>
                    <a:pt x="4" y="36"/>
                  </a:lnTo>
                  <a:lnTo>
                    <a:pt x="4" y="34"/>
                  </a:lnTo>
                  <a:lnTo>
                    <a:pt x="4" y="32"/>
                  </a:lnTo>
                  <a:lnTo>
                    <a:pt x="4" y="30"/>
                  </a:lnTo>
                  <a:lnTo>
                    <a:pt x="4" y="28"/>
                  </a:lnTo>
                  <a:lnTo>
                    <a:pt x="4" y="26"/>
                  </a:lnTo>
                  <a:lnTo>
                    <a:pt x="2" y="26"/>
                  </a:lnTo>
                  <a:lnTo>
                    <a:pt x="2" y="24"/>
                  </a:lnTo>
                  <a:lnTo>
                    <a:pt x="2" y="22"/>
                  </a:lnTo>
                  <a:lnTo>
                    <a:pt x="2" y="20"/>
                  </a:lnTo>
                  <a:lnTo>
                    <a:pt x="2" y="18"/>
                  </a:lnTo>
                  <a:lnTo>
                    <a:pt x="0" y="18"/>
                  </a:lnTo>
                  <a:lnTo>
                    <a:pt x="0" y="16"/>
                  </a:lnTo>
                  <a:lnTo>
                    <a:pt x="0" y="14"/>
                  </a:lnTo>
                  <a:lnTo>
                    <a:pt x="2" y="14"/>
                  </a:lnTo>
                  <a:lnTo>
                    <a:pt x="4" y="14"/>
                  </a:lnTo>
                  <a:lnTo>
                    <a:pt x="4" y="14"/>
                  </a:lnTo>
                  <a:lnTo>
                    <a:pt x="6" y="14"/>
                  </a:lnTo>
                  <a:lnTo>
                    <a:pt x="8" y="14"/>
                  </a:lnTo>
                  <a:lnTo>
                    <a:pt x="10" y="14"/>
                  </a:lnTo>
                  <a:lnTo>
                    <a:pt x="12" y="14"/>
                  </a:lnTo>
                  <a:lnTo>
                    <a:pt x="14" y="14"/>
                  </a:lnTo>
                  <a:lnTo>
                    <a:pt x="14" y="12"/>
                  </a:lnTo>
                  <a:lnTo>
                    <a:pt x="16" y="12"/>
                  </a:lnTo>
                  <a:lnTo>
                    <a:pt x="18" y="12"/>
                  </a:lnTo>
                  <a:lnTo>
                    <a:pt x="20" y="12"/>
                  </a:lnTo>
                  <a:lnTo>
                    <a:pt x="22" y="12"/>
                  </a:lnTo>
                  <a:lnTo>
                    <a:pt x="24" y="12"/>
                  </a:lnTo>
                  <a:lnTo>
                    <a:pt x="26" y="12"/>
                  </a:lnTo>
                  <a:lnTo>
                    <a:pt x="28" y="12"/>
                  </a:lnTo>
                  <a:lnTo>
                    <a:pt x="32" y="10"/>
                  </a:lnTo>
                  <a:lnTo>
                    <a:pt x="34" y="10"/>
                  </a:lnTo>
                  <a:lnTo>
                    <a:pt x="36" y="10"/>
                  </a:lnTo>
                  <a:lnTo>
                    <a:pt x="38" y="10"/>
                  </a:lnTo>
                  <a:lnTo>
                    <a:pt x="40" y="10"/>
                  </a:lnTo>
                  <a:lnTo>
                    <a:pt x="42" y="10"/>
                  </a:lnTo>
                  <a:lnTo>
                    <a:pt x="44" y="10"/>
                  </a:lnTo>
                  <a:lnTo>
                    <a:pt x="46" y="10"/>
                  </a:lnTo>
                  <a:lnTo>
                    <a:pt x="48" y="10"/>
                  </a:lnTo>
                  <a:lnTo>
                    <a:pt x="50" y="8"/>
                  </a:lnTo>
                  <a:lnTo>
                    <a:pt x="52" y="8"/>
                  </a:lnTo>
                  <a:lnTo>
                    <a:pt x="52" y="8"/>
                  </a:lnTo>
                  <a:lnTo>
                    <a:pt x="54" y="8"/>
                  </a:lnTo>
                  <a:lnTo>
                    <a:pt x="56" y="8"/>
                  </a:lnTo>
                  <a:lnTo>
                    <a:pt x="58" y="8"/>
                  </a:lnTo>
                  <a:lnTo>
                    <a:pt x="62" y="8"/>
                  </a:lnTo>
                  <a:lnTo>
                    <a:pt x="64" y="8"/>
                  </a:lnTo>
                  <a:lnTo>
                    <a:pt x="64" y="6"/>
                  </a:lnTo>
                  <a:lnTo>
                    <a:pt x="66" y="6"/>
                  </a:lnTo>
                  <a:lnTo>
                    <a:pt x="68" y="6"/>
                  </a:lnTo>
                  <a:lnTo>
                    <a:pt x="70" y="6"/>
                  </a:lnTo>
                  <a:lnTo>
                    <a:pt x="72" y="6"/>
                  </a:lnTo>
                  <a:lnTo>
                    <a:pt x="74" y="6"/>
                  </a:lnTo>
                  <a:lnTo>
                    <a:pt x="76" y="6"/>
                  </a:lnTo>
                  <a:lnTo>
                    <a:pt x="78" y="6"/>
                  </a:lnTo>
                  <a:lnTo>
                    <a:pt x="80" y="6"/>
                  </a:lnTo>
                  <a:lnTo>
                    <a:pt x="80" y="4"/>
                  </a:lnTo>
                  <a:lnTo>
                    <a:pt x="82" y="4"/>
                  </a:lnTo>
                  <a:lnTo>
                    <a:pt x="84" y="4"/>
                  </a:lnTo>
                  <a:lnTo>
                    <a:pt x="86" y="4"/>
                  </a:lnTo>
                  <a:lnTo>
                    <a:pt x="88" y="4"/>
                  </a:lnTo>
                  <a:lnTo>
                    <a:pt x="90" y="4"/>
                  </a:lnTo>
                  <a:lnTo>
                    <a:pt x="92" y="4"/>
                  </a:lnTo>
                  <a:lnTo>
                    <a:pt x="94" y="2"/>
                  </a:lnTo>
                  <a:lnTo>
                    <a:pt x="96" y="2"/>
                  </a:lnTo>
                  <a:lnTo>
                    <a:pt x="98" y="2"/>
                  </a:lnTo>
                  <a:lnTo>
                    <a:pt x="100" y="2"/>
                  </a:lnTo>
                  <a:lnTo>
                    <a:pt x="100" y="2"/>
                  </a:lnTo>
                  <a:lnTo>
                    <a:pt x="102" y="2"/>
                  </a:lnTo>
                  <a:lnTo>
                    <a:pt x="104" y="2"/>
                  </a:lnTo>
                  <a:lnTo>
                    <a:pt x="104" y="0"/>
                  </a:lnTo>
                  <a:lnTo>
                    <a:pt x="106" y="0"/>
                  </a:lnTo>
                  <a:lnTo>
                    <a:pt x="108" y="0"/>
                  </a:lnTo>
                  <a:lnTo>
                    <a:pt x="110" y="0"/>
                  </a:lnTo>
                  <a:close/>
                  <a:moveTo>
                    <a:pt x="224" y="142"/>
                  </a:moveTo>
                  <a:lnTo>
                    <a:pt x="224" y="140"/>
                  </a:lnTo>
                  <a:lnTo>
                    <a:pt x="224" y="142"/>
                  </a:lnTo>
                  <a:close/>
                </a:path>
              </a:pathLst>
            </a:custGeom>
            <a:solidFill>
              <a:srgbClr val="575F9F"/>
            </a:solidFill>
            <a:ln w="3175">
              <a:solidFill>
                <a:sysClr val="window" lastClr="FFFF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black"/>
                </a:solidFill>
                <a:effectLst/>
                <a:uLnTx/>
                <a:uFillTx/>
                <a:ea typeface="宋体" panose="02010600030101010101" pitchFamily="2" charset="-122"/>
              </a:endParaRPr>
            </a:p>
          </p:txBody>
        </p:sp>
        <p:sp>
          <p:nvSpPr>
            <p:cNvPr id="27" name="Freeform 1807">
              <a:extLst>
                <a:ext uri="{FF2B5EF4-FFF2-40B4-BE49-F238E27FC236}">
                  <a16:creationId xmlns:a16="http://schemas.microsoft.com/office/drawing/2014/main" id="{EA738CB0-96E5-35D9-0B28-5451EB2A5731}"/>
                </a:ext>
              </a:extLst>
            </p:cNvPr>
            <p:cNvSpPr>
              <a:spLocks/>
            </p:cNvSpPr>
            <p:nvPr/>
          </p:nvSpPr>
          <p:spPr bwMode="auto">
            <a:xfrm>
              <a:off x="5218113" y="2973388"/>
              <a:ext cx="393700" cy="273050"/>
            </a:xfrm>
            <a:custGeom>
              <a:avLst/>
              <a:gdLst>
                <a:gd name="T0" fmla="*/ 174 w 248"/>
                <a:gd name="T1" fmla="*/ 8 h 172"/>
                <a:gd name="T2" fmla="*/ 190 w 248"/>
                <a:gd name="T3" fmla="*/ 8 h 172"/>
                <a:gd name="T4" fmla="*/ 206 w 248"/>
                <a:gd name="T5" fmla="*/ 8 h 172"/>
                <a:gd name="T6" fmla="*/ 210 w 248"/>
                <a:gd name="T7" fmla="*/ 16 h 172"/>
                <a:gd name="T8" fmla="*/ 208 w 248"/>
                <a:gd name="T9" fmla="*/ 28 h 172"/>
                <a:gd name="T10" fmla="*/ 212 w 248"/>
                <a:gd name="T11" fmla="*/ 38 h 172"/>
                <a:gd name="T12" fmla="*/ 214 w 248"/>
                <a:gd name="T13" fmla="*/ 48 h 172"/>
                <a:gd name="T14" fmla="*/ 226 w 248"/>
                <a:gd name="T15" fmla="*/ 52 h 172"/>
                <a:gd name="T16" fmla="*/ 230 w 248"/>
                <a:gd name="T17" fmla="*/ 62 h 172"/>
                <a:gd name="T18" fmla="*/ 238 w 248"/>
                <a:gd name="T19" fmla="*/ 70 h 172"/>
                <a:gd name="T20" fmla="*/ 244 w 248"/>
                <a:gd name="T21" fmla="*/ 76 h 172"/>
                <a:gd name="T22" fmla="*/ 248 w 248"/>
                <a:gd name="T23" fmla="*/ 86 h 172"/>
                <a:gd name="T24" fmla="*/ 244 w 248"/>
                <a:gd name="T25" fmla="*/ 98 h 172"/>
                <a:gd name="T26" fmla="*/ 238 w 248"/>
                <a:gd name="T27" fmla="*/ 108 h 172"/>
                <a:gd name="T28" fmla="*/ 226 w 248"/>
                <a:gd name="T29" fmla="*/ 114 h 172"/>
                <a:gd name="T30" fmla="*/ 214 w 248"/>
                <a:gd name="T31" fmla="*/ 118 h 172"/>
                <a:gd name="T32" fmla="*/ 216 w 248"/>
                <a:gd name="T33" fmla="*/ 130 h 172"/>
                <a:gd name="T34" fmla="*/ 220 w 248"/>
                <a:gd name="T35" fmla="*/ 136 h 172"/>
                <a:gd name="T36" fmla="*/ 214 w 248"/>
                <a:gd name="T37" fmla="*/ 148 h 172"/>
                <a:gd name="T38" fmla="*/ 210 w 248"/>
                <a:gd name="T39" fmla="*/ 156 h 172"/>
                <a:gd name="T40" fmla="*/ 202 w 248"/>
                <a:gd name="T41" fmla="*/ 162 h 172"/>
                <a:gd name="T42" fmla="*/ 198 w 248"/>
                <a:gd name="T43" fmla="*/ 170 h 172"/>
                <a:gd name="T44" fmla="*/ 192 w 248"/>
                <a:gd name="T45" fmla="*/ 164 h 172"/>
                <a:gd name="T46" fmla="*/ 182 w 248"/>
                <a:gd name="T47" fmla="*/ 158 h 172"/>
                <a:gd name="T48" fmla="*/ 170 w 248"/>
                <a:gd name="T49" fmla="*/ 160 h 172"/>
                <a:gd name="T50" fmla="*/ 154 w 248"/>
                <a:gd name="T51" fmla="*/ 160 h 172"/>
                <a:gd name="T52" fmla="*/ 138 w 248"/>
                <a:gd name="T53" fmla="*/ 160 h 172"/>
                <a:gd name="T54" fmla="*/ 124 w 248"/>
                <a:gd name="T55" fmla="*/ 160 h 172"/>
                <a:gd name="T56" fmla="*/ 108 w 248"/>
                <a:gd name="T57" fmla="*/ 160 h 172"/>
                <a:gd name="T58" fmla="*/ 98 w 248"/>
                <a:gd name="T59" fmla="*/ 158 h 172"/>
                <a:gd name="T60" fmla="*/ 82 w 248"/>
                <a:gd name="T61" fmla="*/ 158 h 172"/>
                <a:gd name="T62" fmla="*/ 68 w 248"/>
                <a:gd name="T63" fmla="*/ 158 h 172"/>
                <a:gd name="T64" fmla="*/ 54 w 248"/>
                <a:gd name="T65" fmla="*/ 156 h 172"/>
                <a:gd name="T66" fmla="*/ 38 w 248"/>
                <a:gd name="T67" fmla="*/ 156 h 172"/>
                <a:gd name="T68" fmla="*/ 26 w 248"/>
                <a:gd name="T69" fmla="*/ 154 h 172"/>
                <a:gd name="T70" fmla="*/ 22 w 248"/>
                <a:gd name="T71" fmla="*/ 146 h 172"/>
                <a:gd name="T72" fmla="*/ 26 w 248"/>
                <a:gd name="T73" fmla="*/ 134 h 172"/>
                <a:gd name="T74" fmla="*/ 26 w 248"/>
                <a:gd name="T75" fmla="*/ 126 h 172"/>
                <a:gd name="T76" fmla="*/ 22 w 248"/>
                <a:gd name="T77" fmla="*/ 118 h 172"/>
                <a:gd name="T78" fmla="*/ 22 w 248"/>
                <a:gd name="T79" fmla="*/ 110 h 172"/>
                <a:gd name="T80" fmla="*/ 18 w 248"/>
                <a:gd name="T81" fmla="*/ 106 h 172"/>
                <a:gd name="T82" fmla="*/ 16 w 248"/>
                <a:gd name="T83" fmla="*/ 96 h 172"/>
                <a:gd name="T84" fmla="*/ 16 w 248"/>
                <a:gd name="T85" fmla="*/ 88 h 172"/>
                <a:gd name="T86" fmla="*/ 14 w 248"/>
                <a:gd name="T87" fmla="*/ 80 h 172"/>
                <a:gd name="T88" fmla="*/ 12 w 248"/>
                <a:gd name="T89" fmla="*/ 74 h 172"/>
                <a:gd name="T90" fmla="*/ 8 w 248"/>
                <a:gd name="T91" fmla="*/ 66 h 172"/>
                <a:gd name="T92" fmla="*/ 8 w 248"/>
                <a:gd name="T93" fmla="*/ 58 h 172"/>
                <a:gd name="T94" fmla="*/ 4 w 248"/>
                <a:gd name="T95" fmla="*/ 46 h 172"/>
                <a:gd name="T96" fmla="*/ 0 w 248"/>
                <a:gd name="T97" fmla="*/ 38 h 172"/>
                <a:gd name="T98" fmla="*/ 4 w 248"/>
                <a:gd name="T99" fmla="*/ 32 h 172"/>
                <a:gd name="T100" fmla="*/ 8 w 248"/>
                <a:gd name="T101" fmla="*/ 24 h 172"/>
                <a:gd name="T102" fmla="*/ 4 w 248"/>
                <a:gd name="T103" fmla="*/ 12 h 172"/>
                <a:gd name="T104" fmla="*/ 4 w 248"/>
                <a:gd name="T105" fmla="*/ 0 h 172"/>
                <a:gd name="T106" fmla="*/ 20 w 248"/>
                <a:gd name="T107" fmla="*/ 2 h 172"/>
                <a:gd name="T108" fmla="*/ 34 w 248"/>
                <a:gd name="T109" fmla="*/ 4 h 172"/>
                <a:gd name="T110" fmla="*/ 52 w 248"/>
                <a:gd name="T111" fmla="*/ 4 h 172"/>
                <a:gd name="T112" fmla="*/ 72 w 248"/>
                <a:gd name="T113" fmla="*/ 6 h 172"/>
                <a:gd name="T114" fmla="*/ 88 w 248"/>
                <a:gd name="T115" fmla="*/ 6 h 172"/>
                <a:gd name="T116" fmla="*/ 112 w 248"/>
                <a:gd name="T117" fmla="*/ 6 h 172"/>
                <a:gd name="T118" fmla="*/ 134 w 248"/>
                <a:gd name="T119" fmla="*/ 8 h 172"/>
                <a:gd name="T120" fmla="*/ 150 w 248"/>
                <a:gd name="T121" fmla="*/ 8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48" h="172">
                  <a:moveTo>
                    <a:pt x="160" y="8"/>
                  </a:moveTo>
                  <a:lnTo>
                    <a:pt x="162" y="8"/>
                  </a:lnTo>
                  <a:lnTo>
                    <a:pt x="164" y="8"/>
                  </a:lnTo>
                  <a:lnTo>
                    <a:pt x="166" y="8"/>
                  </a:lnTo>
                  <a:lnTo>
                    <a:pt x="168" y="8"/>
                  </a:lnTo>
                  <a:lnTo>
                    <a:pt x="170" y="8"/>
                  </a:lnTo>
                  <a:lnTo>
                    <a:pt x="172" y="8"/>
                  </a:lnTo>
                  <a:lnTo>
                    <a:pt x="174" y="8"/>
                  </a:lnTo>
                  <a:lnTo>
                    <a:pt x="176" y="8"/>
                  </a:lnTo>
                  <a:lnTo>
                    <a:pt x="178" y="8"/>
                  </a:lnTo>
                  <a:lnTo>
                    <a:pt x="178" y="8"/>
                  </a:lnTo>
                  <a:lnTo>
                    <a:pt x="182" y="8"/>
                  </a:lnTo>
                  <a:lnTo>
                    <a:pt x="184" y="8"/>
                  </a:lnTo>
                  <a:lnTo>
                    <a:pt x="186" y="8"/>
                  </a:lnTo>
                  <a:lnTo>
                    <a:pt x="188" y="8"/>
                  </a:lnTo>
                  <a:lnTo>
                    <a:pt x="190" y="8"/>
                  </a:lnTo>
                  <a:lnTo>
                    <a:pt x="192" y="8"/>
                  </a:lnTo>
                  <a:lnTo>
                    <a:pt x="194" y="8"/>
                  </a:lnTo>
                  <a:lnTo>
                    <a:pt x="196" y="8"/>
                  </a:lnTo>
                  <a:lnTo>
                    <a:pt x="198" y="8"/>
                  </a:lnTo>
                  <a:lnTo>
                    <a:pt x="200" y="8"/>
                  </a:lnTo>
                  <a:lnTo>
                    <a:pt x="202" y="8"/>
                  </a:lnTo>
                  <a:lnTo>
                    <a:pt x="204" y="8"/>
                  </a:lnTo>
                  <a:lnTo>
                    <a:pt x="206" y="8"/>
                  </a:lnTo>
                  <a:lnTo>
                    <a:pt x="206" y="10"/>
                  </a:lnTo>
                  <a:lnTo>
                    <a:pt x="206" y="12"/>
                  </a:lnTo>
                  <a:lnTo>
                    <a:pt x="208" y="12"/>
                  </a:lnTo>
                  <a:lnTo>
                    <a:pt x="208" y="14"/>
                  </a:lnTo>
                  <a:lnTo>
                    <a:pt x="206" y="14"/>
                  </a:lnTo>
                  <a:lnTo>
                    <a:pt x="206" y="16"/>
                  </a:lnTo>
                  <a:lnTo>
                    <a:pt x="208" y="16"/>
                  </a:lnTo>
                  <a:lnTo>
                    <a:pt x="210" y="16"/>
                  </a:lnTo>
                  <a:lnTo>
                    <a:pt x="210" y="18"/>
                  </a:lnTo>
                  <a:lnTo>
                    <a:pt x="212" y="18"/>
                  </a:lnTo>
                  <a:lnTo>
                    <a:pt x="212" y="20"/>
                  </a:lnTo>
                  <a:lnTo>
                    <a:pt x="212" y="22"/>
                  </a:lnTo>
                  <a:lnTo>
                    <a:pt x="212" y="24"/>
                  </a:lnTo>
                  <a:lnTo>
                    <a:pt x="210" y="24"/>
                  </a:lnTo>
                  <a:lnTo>
                    <a:pt x="210" y="26"/>
                  </a:lnTo>
                  <a:lnTo>
                    <a:pt x="208" y="28"/>
                  </a:lnTo>
                  <a:lnTo>
                    <a:pt x="208" y="30"/>
                  </a:lnTo>
                  <a:lnTo>
                    <a:pt x="208" y="32"/>
                  </a:lnTo>
                  <a:lnTo>
                    <a:pt x="208" y="34"/>
                  </a:lnTo>
                  <a:lnTo>
                    <a:pt x="210" y="34"/>
                  </a:lnTo>
                  <a:lnTo>
                    <a:pt x="210" y="36"/>
                  </a:lnTo>
                  <a:lnTo>
                    <a:pt x="210" y="36"/>
                  </a:lnTo>
                  <a:lnTo>
                    <a:pt x="210" y="38"/>
                  </a:lnTo>
                  <a:lnTo>
                    <a:pt x="212" y="38"/>
                  </a:lnTo>
                  <a:lnTo>
                    <a:pt x="212" y="40"/>
                  </a:lnTo>
                  <a:lnTo>
                    <a:pt x="212" y="42"/>
                  </a:lnTo>
                  <a:lnTo>
                    <a:pt x="212" y="44"/>
                  </a:lnTo>
                  <a:lnTo>
                    <a:pt x="212" y="46"/>
                  </a:lnTo>
                  <a:lnTo>
                    <a:pt x="214" y="46"/>
                  </a:lnTo>
                  <a:lnTo>
                    <a:pt x="212" y="46"/>
                  </a:lnTo>
                  <a:lnTo>
                    <a:pt x="214" y="46"/>
                  </a:lnTo>
                  <a:lnTo>
                    <a:pt x="214" y="48"/>
                  </a:lnTo>
                  <a:lnTo>
                    <a:pt x="216" y="48"/>
                  </a:lnTo>
                  <a:lnTo>
                    <a:pt x="216" y="50"/>
                  </a:lnTo>
                  <a:lnTo>
                    <a:pt x="218" y="50"/>
                  </a:lnTo>
                  <a:lnTo>
                    <a:pt x="220" y="50"/>
                  </a:lnTo>
                  <a:lnTo>
                    <a:pt x="222" y="50"/>
                  </a:lnTo>
                  <a:lnTo>
                    <a:pt x="224" y="50"/>
                  </a:lnTo>
                  <a:lnTo>
                    <a:pt x="224" y="52"/>
                  </a:lnTo>
                  <a:lnTo>
                    <a:pt x="226" y="52"/>
                  </a:lnTo>
                  <a:lnTo>
                    <a:pt x="226" y="52"/>
                  </a:lnTo>
                  <a:lnTo>
                    <a:pt x="226" y="54"/>
                  </a:lnTo>
                  <a:lnTo>
                    <a:pt x="226" y="56"/>
                  </a:lnTo>
                  <a:lnTo>
                    <a:pt x="228" y="56"/>
                  </a:lnTo>
                  <a:lnTo>
                    <a:pt x="228" y="58"/>
                  </a:lnTo>
                  <a:lnTo>
                    <a:pt x="228" y="60"/>
                  </a:lnTo>
                  <a:lnTo>
                    <a:pt x="228" y="62"/>
                  </a:lnTo>
                  <a:lnTo>
                    <a:pt x="230" y="62"/>
                  </a:lnTo>
                  <a:lnTo>
                    <a:pt x="232" y="62"/>
                  </a:lnTo>
                  <a:lnTo>
                    <a:pt x="232" y="64"/>
                  </a:lnTo>
                  <a:lnTo>
                    <a:pt x="234" y="64"/>
                  </a:lnTo>
                  <a:lnTo>
                    <a:pt x="234" y="66"/>
                  </a:lnTo>
                  <a:lnTo>
                    <a:pt x="236" y="66"/>
                  </a:lnTo>
                  <a:lnTo>
                    <a:pt x="236" y="68"/>
                  </a:lnTo>
                  <a:lnTo>
                    <a:pt x="238" y="68"/>
                  </a:lnTo>
                  <a:lnTo>
                    <a:pt x="238" y="70"/>
                  </a:lnTo>
                  <a:lnTo>
                    <a:pt x="236" y="70"/>
                  </a:lnTo>
                  <a:lnTo>
                    <a:pt x="236" y="72"/>
                  </a:lnTo>
                  <a:lnTo>
                    <a:pt x="238" y="72"/>
                  </a:lnTo>
                  <a:lnTo>
                    <a:pt x="238" y="74"/>
                  </a:lnTo>
                  <a:lnTo>
                    <a:pt x="240" y="74"/>
                  </a:lnTo>
                  <a:lnTo>
                    <a:pt x="240" y="76"/>
                  </a:lnTo>
                  <a:lnTo>
                    <a:pt x="242" y="76"/>
                  </a:lnTo>
                  <a:lnTo>
                    <a:pt x="244" y="76"/>
                  </a:lnTo>
                  <a:lnTo>
                    <a:pt x="244" y="78"/>
                  </a:lnTo>
                  <a:lnTo>
                    <a:pt x="246" y="78"/>
                  </a:lnTo>
                  <a:lnTo>
                    <a:pt x="246" y="80"/>
                  </a:lnTo>
                  <a:lnTo>
                    <a:pt x="248" y="80"/>
                  </a:lnTo>
                  <a:lnTo>
                    <a:pt x="248" y="82"/>
                  </a:lnTo>
                  <a:lnTo>
                    <a:pt x="248" y="84"/>
                  </a:lnTo>
                  <a:lnTo>
                    <a:pt x="248" y="84"/>
                  </a:lnTo>
                  <a:lnTo>
                    <a:pt x="248" y="86"/>
                  </a:lnTo>
                  <a:lnTo>
                    <a:pt x="248" y="88"/>
                  </a:lnTo>
                  <a:lnTo>
                    <a:pt x="248" y="90"/>
                  </a:lnTo>
                  <a:lnTo>
                    <a:pt x="248" y="92"/>
                  </a:lnTo>
                  <a:lnTo>
                    <a:pt x="248" y="94"/>
                  </a:lnTo>
                  <a:lnTo>
                    <a:pt x="246" y="94"/>
                  </a:lnTo>
                  <a:lnTo>
                    <a:pt x="246" y="96"/>
                  </a:lnTo>
                  <a:lnTo>
                    <a:pt x="244" y="96"/>
                  </a:lnTo>
                  <a:lnTo>
                    <a:pt x="244" y="98"/>
                  </a:lnTo>
                  <a:lnTo>
                    <a:pt x="242" y="98"/>
                  </a:lnTo>
                  <a:lnTo>
                    <a:pt x="242" y="100"/>
                  </a:lnTo>
                  <a:lnTo>
                    <a:pt x="242" y="102"/>
                  </a:lnTo>
                  <a:lnTo>
                    <a:pt x="242" y="104"/>
                  </a:lnTo>
                  <a:lnTo>
                    <a:pt x="242" y="106"/>
                  </a:lnTo>
                  <a:lnTo>
                    <a:pt x="240" y="106"/>
                  </a:lnTo>
                  <a:lnTo>
                    <a:pt x="240" y="108"/>
                  </a:lnTo>
                  <a:lnTo>
                    <a:pt x="238" y="108"/>
                  </a:lnTo>
                  <a:lnTo>
                    <a:pt x="238" y="110"/>
                  </a:lnTo>
                  <a:lnTo>
                    <a:pt x="236" y="110"/>
                  </a:lnTo>
                  <a:lnTo>
                    <a:pt x="234" y="110"/>
                  </a:lnTo>
                  <a:lnTo>
                    <a:pt x="232" y="110"/>
                  </a:lnTo>
                  <a:lnTo>
                    <a:pt x="230" y="112"/>
                  </a:lnTo>
                  <a:lnTo>
                    <a:pt x="228" y="114"/>
                  </a:lnTo>
                  <a:lnTo>
                    <a:pt x="226" y="114"/>
                  </a:lnTo>
                  <a:lnTo>
                    <a:pt x="226" y="114"/>
                  </a:lnTo>
                  <a:lnTo>
                    <a:pt x="224" y="114"/>
                  </a:lnTo>
                  <a:lnTo>
                    <a:pt x="222" y="114"/>
                  </a:lnTo>
                  <a:lnTo>
                    <a:pt x="222" y="116"/>
                  </a:lnTo>
                  <a:lnTo>
                    <a:pt x="220" y="116"/>
                  </a:lnTo>
                  <a:lnTo>
                    <a:pt x="218" y="116"/>
                  </a:lnTo>
                  <a:lnTo>
                    <a:pt x="216" y="116"/>
                  </a:lnTo>
                  <a:lnTo>
                    <a:pt x="214" y="116"/>
                  </a:lnTo>
                  <a:lnTo>
                    <a:pt x="214" y="118"/>
                  </a:lnTo>
                  <a:lnTo>
                    <a:pt x="214" y="120"/>
                  </a:lnTo>
                  <a:lnTo>
                    <a:pt x="214" y="122"/>
                  </a:lnTo>
                  <a:lnTo>
                    <a:pt x="214" y="124"/>
                  </a:lnTo>
                  <a:lnTo>
                    <a:pt x="212" y="124"/>
                  </a:lnTo>
                  <a:lnTo>
                    <a:pt x="212" y="126"/>
                  </a:lnTo>
                  <a:lnTo>
                    <a:pt x="214" y="128"/>
                  </a:lnTo>
                  <a:lnTo>
                    <a:pt x="214" y="130"/>
                  </a:lnTo>
                  <a:lnTo>
                    <a:pt x="216" y="130"/>
                  </a:lnTo>
                  <a:lnTo>
                    <a:pt x="218" y="130"/>
                  </a:lnTo>
                  <a:lnTo>
                    <a:pt x="218" y="132"/>
                  </a:lnTo>
                  <a:lnTo>
                    <a:pt x="218" y="132"/>
                  </a:lnTo>
                  <a:lnTo>
                    <a:pt x="220" y="132"/>
                  </a:lnTo>
                  <a:lnTo>
                    <a:pt x="218" y="132"/>
                  </a:lnTo>
                  <a:lnTo>
                    <a:pt x="218" y="134"/>
                  </a:lnTo>
                  <a:lnTo>
                    <a:pt x="220" y="134"/>
                  </a:lnTo>
                  <a:lnTo>
                    <a:pt x="220" y="136"/>
                  </a:lnTo>
                  <a:lnTo>
                    <a:pt x="218" y="138"/>
                  </a:lnTo>
                  <a:lnTo>
                    <a:pt x="218" y="140"/>
                  </a:lnTo>
                  <a:lnTo>
                    <a:pt x="218" y="142"/>
                  </a:lnTo>
                  <a:lnTo>
                    <a:pt x="216" y="142"/>
                  </a:lnTo>
                  <a:lnTo>
                    <a:pt x="216" y="144"/>
                  </a:lnTo>
                  <a:lnTo>
                    <a:pt x="214" y="144"/>
                  </a:lnTo>
                  <a:lnTo>
                    <a:pt x="214" y="146"/>
                  </a:lnTo>
                  <a:lnTo>
                    <a:pt x="214" y="148"/>
                  </a:lnTo>
                  <a:lnTo>
                    <a:pt x="212" y="148"/>
                  </a:lnTo>
                  <a:lnTo>
                    <a:pt x="214" y="148"/>
                  </a:lnTo>
                  <a:lnTo>
                    <a:pt x="214" y="150"/>
                  </a:lnTo>
                  <a:lnTo>
                    <a:pt x="212" y="150"/>
                  </a:lnTo>
                  <a:lnTo>
                    <a:pt x="212" y="152"/>
                  </a:lnTo>
                  <a:lnTo>
                    <a:pt x="212" y="154"/>
                  </a:lnTo>
                  <a:lnTo>
                    <a:pt x="212" y="156"/>
                  </a:lnTo>
                  <a:lnTo>
                    <a:pt x="210" y="156"/>
                  </a:lnTo>
                  <a:lnTo>
                    <a:pt x="208" y="156"/>
                  </a:lnTo>
                  <a:lnTo>
                    <a:pt x="206" y="156"/>
                  </a:lnTo>
                  <a:lnTo>
                    <a:pt x="206" y="158"/>
                  </a:lnTo>
                  <a:lnTo>
                    <a:pt x="204" y="158"/>
                  </a:lnTo>
                  <a:lnTo>
                    <a:pt x="202" y="158"/>
                  </a:lnTo>
                  <a:lnTo>
                    <a:pt x="202" y="160"/>
                  </a:lnTo>
                  <a:lnTo>
                    <a:pt x="200" y="162"/>
                  </a:lnTo>
                  <a:lnTo>
                    <a:pt x="202" y="162"/>
                  </a:lnTo>
                  <a:lnTo>
                    <a:pt x="202" y="164"/>
                  </a:lnTo>
                  <a:lnTo>
                    <a:pt x="202" y="166"/>
                  </a:lnTo>
                  <a:lnTo>
                    <a:pt x="202" y="168"/>
                  </a:lnTo>
                  <a:lnTo>
                    <a:pt x="202" y="170"/>
                  </a:lnTo>
                  <a:lnTo>
                    <a:pt x="200" y="170"/>
                  </a:lnTo>
                  <a:lnTo>
                    <a:pt x="200" y="172"/>
                  </a:lnTo>
                  <a:lnTo>
                    <a:pt x="200" y="170"/>
                  </a:lnTo>
                  <a:lnTo>
                    <a:pt x="198" y="170"/>
                  </a:lnTo>
                  <a:lnTo>
                    <a:pt x="198" y="172"/>
                  </a:lnTo>
                  <a:lnTo>
                    <a:pt x="198" y="170"/>
                  </a:lnTo>
                  <a:lnTo>
                    <a:pt x="196" y="170"/>
                  </a:lnTo>
                  <a:lnTo>
                    <a:pt x="196" y="168"/>
                  </a:lnTo>
                  <a:lnTo>
                    <a:pt x="196" y="166"/>
                  </a:lnTo>
                  <a:lnTo>
                    <a:pt x="194" y="166"/>
                  </a:lnTo>
                  <a:lnTo>
                    <a:pt x="192" y="166"/>
                  </a:lnTo>
                  <a:lnTo>
                    <a:pt x="192" y="164"/>
                  </a:lnTo>
                  <a:lnTo>
                    <a:pt x="192" y="162"/>
                  </a:lnTo>
                  <a:lnTo>
                    <a:pt x="190" y="162"/>
                  </a:lnTo>
                  <a:lnTo>
                    <a:pt x="188" y="162"/>
                  </a:lnTo>
                  <a:lnTo>
                    <a:pt x="188" y="160"/>
                  </a:lnTo>
                  <a:lnTo>
                    <a:pt x="188" y="158"/>
                  </a:lnTo>
                  <a:lnTo>
                    <a:pt x="186" y="158"/>
                  </a:lnTo>
                  <a:lnTo>
                    <a:pt x="184" y="158"/>
                  </a:lnTo>
                  <a:lnTo>
                    <a:pt x="182" y="158"/>
                  </a:lnTo>
                  <a:lnTo>
                    <a:pt x="180" y="158"/>
                  </a:lnTo>
                  <a:lnTo>
                    <a:pt x="178" y="158"/>
                  </a:lnTo>
                  <a:lnTo>
                    <a:pt x="178" y="158"/>
                  </a:lnTo>
                  <a:lnTo>
                    <a:pt x="176" y="158"/>
                  </a:lnTo>
                  <a:lnTo>
                    <a:pt x="174" y="158"/>
                  </a:lnTo>
                  <a:lnTo>
                    <a:pt x="172" y="158"/>
                  </a:lnTo>
                  <a:lnTo>
                    <a:pt x="170" y="158"/>
                  </a:lnTo>
                  <a:lnTo>
                    <a:pt x="170" y="160"/>
                  </a:lnTo>
                  <a:lnTo>
                    <a:pt x="168" y="160"/>
                  </a:lnTo>
                  <a:lnTo>
                    <a:pt x="166" y="160"/>
                  </a:lnTo>
                  <a:lnTo>
                    <a:pt x="164" y="160"/>
                  </a:lnTo>
                  <a:lnTo>
                    <a:pt x="162" y="160"/>
                  </a:lnTo>
                  <a:lnTo>
                    <a:pt x="160" y="160"/>
                  </a:lnTo>
                  <a:lnTo>
                    <a:pt x="158" y="160"/>
                  </a:lnTo>
                  <a:lnTo>
                    <a:pt x="156" y="160"/>
                  </a:lnTo>
                  <a:lnTo>
                    <a:pt x="154" y="160"/>
                  </a:lnTo>
                  <a:lnTo>
                    <a:pt x="152" y="160"/>
                  </a:lnTo>
                  <a:lnTo>
                    <a:pt x="150" y="160"/>
                  </a:lnTo>
                  <a:lnTo>
                    <a:pt x="148" y="160"/>
                  </a:lnTo>
                  <a:lnTo>
                    <a:pt x="146" y="160"/>
                  </a:lnTo>
                  <a:lnTo>
                    <a:pt x="144" y="160"/>
                  </a:lnTo>
                  <a:lnTo>
                    <a:pt x="142" y="160"/>
                  </a:lnTo>
                  <a:lnTo>
                    <a:pt x="140" y="160"/>
                  </a:lnTo>
                  <a:lnTo>
                    <a:pt x="138" y="160"/>
                  </a:lnTo>
                  <a:lnTo>
                    <a:pt x="136" y="160"/>
                  </a:lnTo>
                  <a:lnTo>
                    <a:pt x="134" y="160"/>
                  </a:lnTo>
                  <a:lnTo>
                    <a:pt x="132" y="160"/>
                  </a:lnTo>
                  <a:lnTo>
                    <a:pt x="130" y="160"/>
                  </a:lnTo>
                  <a:lnTo>
                    <a:pt x="130" y="160"/>
                  </a:lnTo>
                  <a:lnTo>
                    <a:pt x="128" y="160"/>
                  </a:lnTo>
                  <a:lnTo>
                    <a:pt x="126" y="160"/>
                  </a:lnTo>
                  <a:lnTo>
                    <a:pt x="124" y="160"/>
                  </a:lnTo>
                  <a:lnTo>
                    <a:pt x="122" y="160"/>
                  </a:lnTo>
                  <a:lnTo>
                    <a:pt x="120" y="160"/>
                  </a:lnTo>
                  <a:lnTo>
                    <a:pt x="118" y="160"/>
                  </a:lnTo>
                  <a:lnTo>
                    <a:pt x="116" y="160"/>
                  </a:lnTo>
                  <a:lnTo>
                    <a:pt x="114" y="160"/>
                  </a:lnTo>
                  <a:lnTo>
                    <a:pt x="112" y="160"/>
                  </a:lnTo>
                  <a:lnTo>
                    <a:pt x="110" y="160"/>
                  </a:lnTo>
                  <a:lnTo>
                    <a:pt x="108" y="160"/>
                  </a:lnTo>
                  <a:lnTo>
                    <a:pt x="106" y="160"/>
                  </a:lnTo>
                  <a:lnTo>
                    <a:pt x="104" y="160"/>
                  </a:lnTo>
                  <a:lnTo>
                    <a:pt x="102" y="160"/>
                  </a:lnTo>
                  <a:lnTo>
                    <a:pt x="100" y="160"/>
                  </a:lnTo>
                  <a:lnTo>
                    <a:pt x="100" y="158"/>
                  </a:lnTo>
                  <a:lnTo>
                    <a:pt x="100" y="160"/>
                  </a:lnTo>
                  <a:lnTo>
                    <a:pt x="100" y="158"/>
                  </a:lnTo>
                  <a:lnTo>
                    <a:pt x="98" y="158"/>
                  </a:lnTo>
                  <a:lnTo>
                    <a:pt x="96" y="158"/>
                  </a:lnTo>
                  <a:lnTo>
                    <a:pt x="94" y="158"/>
                  </a:lnTo>
                  <a:lnTo>
                    <a:pt x="92" y="158"/>
                  </a:lnTo>
                  <a:lnTo>
                    <a:pt x="90" y="158"/>
                  </a:lnTo>
                  <a:lnTo>
                    <a:pt x="88" y="158"/>
                  </a:lnTo>
                  <a:lnTo>
                    <a:pt x="86" y="158"/>
                  </a:lnTo>
                  <a:lnTo>
                    <a:pt x="84" y="158"/>
                  </a:lnTo>
                  <a:lnTo>
                    <a:pt x="82" y="158"/>
                  </a:lnTo>
                  <a:lnTo>
                    <a:pt x="80" y="158"/>
                  </a:lnTo>
                  <a:lnTo>
                    <a:pt x="80" y="158"/>
                  </a:lnTo>
                  <a:lnTo>
                    <a:pt x="78" y="158"/>
                  </a:lnTo>
                  <a:lnTo>
                    <a:pt x="76" y="158"/>
                  </a:lnTo>
                  <a:lnTo>
                    <a:pt x="74" y="158"/>
                  </a:lnTo>
                  <a:lnTo>
                    <a:pt x="72" y="158"/>
                  </a:lnTo>
                  <a:lnTo>
                    <a:pt x="70" y="158"/>
                  </a:lnTo>
                  <a:lnTo>
                    <a:pt x="68" y="158"/>
                  </a:lnTo>
                  <a:lnTo>
                    <a:pt x="66" y="158"/>
                  </a:lnTo>
                  <a:lnTo>
                    <a:pt x="64" y="158"/>
                  </a:lnTo>
                  <a:lnTo>
                    <a:pt x="62" y="158"/>
                  </a:lnTo>
                  <a:lnTo>
                    <a:pt x="60" y="158"/>
                  </a:lnTo>
                  <a:lnTo>
                    <a:pt x="58" y="158"/>
                  </a:lnTo>
                  <a:lnTo>
                    <a:pt x="56" y="158"/>
                  </a:lnTo>
                  <a:lnTo>
                    <a:pt x="54" y="158"/>
                  </a:lnTo>
                  <a:lnTo>
                    <a:pt x="54" y="156"/>
                  </a:lnTo>
                  <a:lnTo>
                    <a:pt x="52" y="156"/>
                  </a:lnTo>
                  <a:lnTo>
                    <a:pt x="50" y="156"/>
                  </a:lnTo>
                  <a:lnTo>
                    <a:pt x="48" y="156"/>
                  </a:lnTo>
                  <a:lnTo>
                    <a:pt x="46" y="156"/>
                  </a:lnTo>
                  <a:lnTo>
                    <a:pt x="44" y="156"/>
                  </a:lnTo>
                  <a:lnTo>
                    <a:pt x="42" y="156"/>
                  </a:lnTo>
                  <a:lnTo>
                    <a:pt x="40" y="156"/>
                  </a:lnTo>
                  <a:lnTo>
                    <a:pt x="38" y="156"/>
                  </a:lnTo>
                  <a:lnTo>
                    <a:pt x="36" y="156"/>
                  </a:lnTo>
                  <a:lnTo>
                    <a:pt x="34" y="156"/>
                  </a:lnTo>
                  <a:lnTo>
                    <a:pt x="32" y="156"/>
                  </a:lnTo>
                  <a:lnTo>
                    <a:pt x="32" y="156"/>
                  </a:lnTo>
                  <a:lnTo>
                    <a:pt x="30" y="156"/>
                  </a:lnTo>
                  <a:lnTo>
                    <a:pt x="28" y="156"/>
                  </a:lnTo>
                  <a:lnTo>
                    <a:pt x="28" y="154"/>
                  </a:lnTo>
                  <a:lnTo>
                    <a:pt x="26" y="154"/>
                  </a:lnTo>
                  <a:lnTo>
                    <a:pt x="28" y="154"/>
                  </a:lnTo>
                  <a:lnTo>
                    <a:pt x="26" y="154"/>
                  </a:lnTo>
                  <a:lnTo>
                    <a:pt x="26" y="152"/>
                  </a:lnTo>
                  <a:lnTo>
                    <a:pt x="26" y="150"/>
                  </a:lnTo>
                  <a:lnTo>
                    <a:pt x="24" y="150"/>
                  </a:lnTo>
                  <a:lnTo>
                    <a:pt x="24" y="148"/>
                  </a:lnTo>
                  <a:lnTo>
                    <a:pt x="22" y="148"/>
                  </a:lnTo>
                  <a:lnTo>
                    <a:pt x="22" y="146"/>
                  </a:lnTo>
                  <a:lnTo>
                    <a:pt x="24" y="146"/>
                  </a:lnTo>
                  <a:lnTo>
                    <a:pt x="24" y="144"/>
                  </a:lnTo>
                  <a:lnTo>
                    <a:pt x="24" y="142"/>
                  </a:lnTo>
                  <a:lnTo>
                    <a:pt x="24" y="140"/>
                  </a:lnTo>
                  <a:lnTo>
                    <a:pt x="26" y="138"/>
                  </a:lnTo>
                  <a:lnTo>
                    <a:pt x="26" y="136"/>
                  </a:lnTo>
                  <a:lnTo>
                    <a:pt x="24" y="136"/>
                  </a:lnTo>
                  <a:lnTo>
                    <a:pt x="26" y="134"/>
                  </a:lnTo>
                  <a:lnTo>
                    <a:pt x="26" y="132"/>
                  </a:lnTo>
                  <a:lnTo>
                    <a:pt x="24" y="132"/>
                  </a:lnTo>
                  <a:lnTo>
                    <a:pt x="24" y="132"/>
                  </a:lnTo>
                  <a:lnTo>
                    <a:pt x="24" y="130"/>
                  </a:lnTo>
                  <a:lnTo>
                    <a:pt x="24" y="128"/>
                  </a:lnTo>
                  <a:lnTo>
                    <a:pt x="24" y="126"/>
                  </a:lnTo>
                  <a:lnTo>
                    <a:pt x="24" y="124"/>
                  </a:lnTo>
                  <a:lnTo>
                    <a:pt x="26" y="126"/>
                  </a:lnTo>
                  <a:lnTo>
                    <a:pt x="26" y="124"/>
                  </a:lnTo>
                  <a:lnTo>
                    <a:pt x="24" y="124"/>
                  </a:lnTo>
                  <a:lnTo>
                    <a:pt x="22" y="124"/>
                  </a:lnTo>
                  <a:lnTo>
                    <a:pt x="22" y="122"/>
                  </a:lnTo>
                  <a:lnTo>
                    <a:pt x="24" y="122"/>
                  </a:lnTo>
                  <a:lnTo>
                    <a:pt x="24" y="120"/>
                  </a:lnTo>
                  <a:lnTo>
                    <a:pt x="22" y="120"/>
                  </a:lnTo>
                  <a:lnTo>
                    <a:pt x="22" y="118"/>
                  </a:lnTo>
                  <a:lnTo>
                    <a:pt x="24" y="118"/>
                  </a:lnTo>
                  <a:lnTo>
                    <a:pt x="24" y="120"/>
                  </a:lnTo>
                  <a:lnTo>
                    <a:pt x="24" y="118"/>
                  </a:lnTo>
                  <a:lnTo>
                    <a:pt x="24" y="116"/>
                  </a:lnTo>
                  <a:lnTo>
                    <a:pt x="22" y="116"/>
                  </a:lnTo>
                  <a:lnTo>
                    <a:pt x="22" y="114"/>
                  </a:lnTo>
                  <a:lnTo>
                    <a:pt x="22" y="112"/>
                  </a:lnTo>
                  <a:lnTo>
                    <a:pt x="22" y="110"/>
                  </a:lnTo>
                  <a:lnTo>
                    <a:pt x="24" y="110"/>
                  </a:lnTo>
                  <a:lnTo>
                    <a:pt x="24" y="108"/>
                  </a:lnTo>
                  <a:lnTo>
                    <a:pt x="22" y="108"/>
                  </a:lnTo>
                  <a:lnTo>
                    <a:pt x="20" y="108"/>
                  </a:lnTo>
                  <a:lnTo>
                    <a:pt x="20" y="106"/>
                  </a:lnTo>
                  <a:lnTo>
                    <a:pt x="20" y="104"/>
                  </a:lnTo>
                  <a:lnTo>
                    <a:pt x="20" y="106"/>
                  </a:lnTo>
                  <a:lnTo>
                    <a:pt x="18" y="106"/>
                  </a:lnTo>
                  <a:lnTo>
                    <a:pt x="18" y="104"/>
                  </a:lnTo>
                  <a:lnTo>
                    <a:pt x="16" y="104"/>
                  </a:lnTo>
                  <a:lnTo>
                    <a:pt x="16" y="102"/>
                  </a:lnTo>
                  <a:lnTo>
                    <a:pt x="18" y="102"/>
                  </a:lnTo>
                  <a:lnTo>
                    <a:pt x="16" y="102"/>
                  </a:lnTo>
                  <a:lnTo>
                    <a:pt x="16" y="100"/>
                  </a:lnTo>
                  <a:lnTo>
                    <a:pt x="16" y="98"/>
                  </a:lnTo>
                  <a:lnTo>
                    <a:pt x="16" y="96"/>
                  </a:lnTo>
                  <a:lnTo>
                    <a:pt x="18" y="96"/>
                  </a:lnTo>
                  <a:lnTo>
                    <a:pt x="18" y="94"/>
                  </a:lnTo>
                  <a:lnTo>
                    <a:pt x="16" y="94"/>
                  </a:lnTo>
                  <a:lnTo>
                    <a:pt x="16" y="92"/>
                  </a:lnTo>
                  <a:lnTo>
                    <a:pt x="18" y="92"/>
                  </a:lnTo>
                  <a:lnTo>
                    <a:pt x="18" y="90"/>
                  </a:lnTo>
                  <a:lnTo>
                    <a:pt x="18" y="88"/>
                  </a:lnTo>
                  <a:lnTo>
                    <a:pt x="16" y="88"/>
                  </a:lnTo>
                  <a:lnTo>
                    <a:pt x="18" y="88"/>
                  </a:lnTo>
                  <a:lnTo>
                    <a:pt x="16" y="88"/>
                  </a:lnTo>
                  <a:lnTo>
                    <a:pt x="16" y="86"/>
                  </a:lnTo>
                  <a:lnTo>
                    <a:pt x="16" y="84"/>
                  </a:lnTo>
                  <a:lnTo>
                    <a:pt x="16" y="84"/>
                  </a:lnTo>
                  <a:lnTo>
                    <a:pt x="16" y="82"/>
                  </a:lnTo>
                  <a:lnTo>
                    <a:pt x="14" y="82"/>
                  </a:lnTo>
                  <a:lnTo>
                    <a:pt x="14" y="80"/>
                  </a:lnTo>
                  <a:lnTo>
                    <a:pt x="14" y="82"/>
                  </a:lnTo>
                  <a:lnTo>
                    <a:pt x="12" y="82"/>
                  </a:lnTo>
                  <a:lnTo>
                    <a:pt x="12" y="80"/>
                  </a:lnTo>
                  <a:lnTo>
                    <a:pt x="14" y="80"/>
                  </a:lnTo>
                  <a:lnTo>
                    <a:pt x="14" y="78"/>
                  </a:lnTo>
                  <a:lnTo>
                    <a:pt x="12" y="78"/>
                  </a:lnTo>
                  <a:lnTo>
                    <a:pt x="12" y="76"/>
                  </a:lnTo>
                  <a:lnTo>
                    <a:pt x="12" y="74"/>
                  </a:lnTo>
                  <a:lnTo>
                    <a:pt x="10" y="74"/>
                  </a:lnTo>
                  <a:lnTo>
                    <a:pt x="10" y="72"/>
                  </a:lnTo>
                  <a:lnTo>
                    <a:pt x="8" y="72"/>
                  </a:lnTo>
                  <a:lnTo>
                    <a:pt x="8" y="70"/>
                  </a:lnTo>
                  <a:lnTo>
                    <a:pt x="8" y="68"/>
                  </a:lnTo>
                  <a:lnTo>
                    <a:pt x="10" y="68"/>
                  </a:lnTo>
                  <a:lnTo>
                    <a:pt x="10" y="66"/>
                  </a:lnTo>
                  <a:lnTo>
                    <a:pt x="8" y="66"/>
                  </a:lnTo>
                  <a:lnTo>
                    <a:pt x="8" y="64"/>
                  </a:lnTo>
                  <a:lnTo>
                    <a:pt x="8" y="62"/>
                  </a:lnTo>
                  <a:lnTo>
                    <a:pt x="6" y="62"/>
                  </a:lnTo>
                  <a:lnTo>
                    <a:pt x="6" y="60"/>
                  </a:lnTo>
                  <a:lnTo>
                    <a:pt x="8" y="60"/>
                  </a:lnTo>
                  <a:lnTo>
                    <a:pt x="6" y="60"/>
                  </a:lnTo>
                  <a:lnTo>
                    <a:pt x="6" y="58"/>
                  </a:lnTo>
                  <a:lnTo>
                    <a:pt x="8" y="58"/>
                  </a:lnTo>
                  <a:lnTo>
                    <a:pt x="8" y="56"/>
                  </a:lnTo>
                  <a:lnTo>
                    <a:pt x="8" y="54"/>
                  </a:lnTo>
                  <a:lnTo>
                    <a:pt x="6" y="54"/>
                  </a:lnTo>
                  <a:lnTo>
                    <a:pt x="4" y="54"/>
                  </a:lnTo>
                  <a:lnTo>
                    <a:pt x="4" y="52"/>
                  </a:lnTo>
                  <a:lnTo>
                    <a:pt x="4" y="50"/>
                  </a:lnTo>
                  <a:lnTo>
                    <a:pt x="4" y="48"/>
                  </a:lnTo>
                  <a:lnTo>
                    <a:pt x="4" y="46"/>
                  </a:lnTo>
                  <a:lnTo>
                    <a:pt x="4" y="48"/>
                  </a:lnTo>
                  <a:lnTo>
                    <a:pt x="4" y="46"/>
                  </a:lnTo>
                  <a:lnTo>
                    <a:pt x="2" y="46"/>
                  </a:lnTo>
                  <a:lnTo>
                    <a:pt x="2" y="44"/>
                  </a:lnTo>
                  <a:lnTo>
                    <a:pt x="2" y="42"/>
                  </a:lnTo>
                  <a:lnTo>
                    <a:pt x="0" y="42"/>
                  </a:lnTo>
                  <a:lnTo>
                    <a:pt x="0" y="40"/>
                  </a:lnTo>
                  <a:lnTo>
                    <a:pt x="0" y="38"/>
                  </a:lnTo>
                  <a:lnTo>
                    <a:pt x="2" y="38"/>
                  </a:lnTo>
                  <a:lnTo>
                    <a:pt x="2" y="36"/>
                  </a:lnTo>
                  <a:lnTo>
                    <a:pt x="2" y="36"/>
                  </a:lnTo>
                  <a:lnTo>
                    <a:pt x="2" y="36"/>
                  </a:lnTo>
                  <a:lnTo>
                    <a:pt x="2" y="36"/>
                  </a:lnTo>
                  <a:lnTo>
                    <a:pt x="4" y="36"/>
                  </a:lnTo>
                  <a:lnTo>
                    <a:pt x="4" y="34"/>
                  </a:lnTo>
                  <a:lnTo>
                    <a:pt x="4" y="32"/>
                  </a:lnTo>
                  <a:lnTo>
                    <a:pt x="6" y="32"/>
                  </a:lnTo>
                  <a:lnTo>
                    <a:pt x="6" y="30"/>
                  </a:lnTo>
                  <a:lnTo>
                    <a:pt x="4" y="30"/>
                  </a:lnTo>
                  <a:lnTo>
                    <a:pt x="6" y="30"/>
                  </a:lnTo>
                  <a:lnTo>
                    <a:pt x="6" y="28"/>
                  </a:lnTo>
                  <a:lnTo>
                    <a:pt x="6" y="26"/>
                  </a:lnTo>
                  <a:lnTo>
                    <a:pt x="6" y="24"/>
                  </a:lnTo>
                  <a:lnTo>
                    <a:pt x="8" y="24"/>
                  </a:lnTo>
                  <a:lnTo>
                    <a:pt x="8" y="22"/>
                  </a:lnTo>
                  <a:lnTo>
                    <a:pt x="8" y="20"/>
                  </a:lnTo>
                  <a:lnTo>
                    <a:pt x="8" y="18"/>
                  </a:lnTo>
                  <a:lnTo>
                    <a:pt x="8" y="16"/>
                  </a:lnTo>
                  <a:lnTo>
                    <a:pt x="6" y="16"/>
                  </a:lnTo>
                  <a:lnTo>
                    <a:pt x="4" y="16"/>
                  </a:lnTo>
                  <a:lnTo>
                    <a:pt x="4" y="14"/>
                  </a:lnTo>
                  <a:lnTo>
                    <a:pt x="4" y="12"/>
                  </a:lnTo>
                  <a:lnTo>
                    <a:pt x="6" y="12"/>
                  </a:lnTo>
                  <a:lnTo>
                    <a:pt x="6" y="10"/>
                  </a:lnTo>
                  <a:lnTo>
                    <a:pt x="6" y="8"/>
                  </a:lnTo>
                  <a:lnTo>
                    <a:pt x="6" y="6"/>
                  </a:lnTo>
                  <a:lnTo>
                    <a:pt x="4" y="6"/>
                  </a:lnTo>
                  <a:lnTo>
                    <a:pt x="4" y="4"/>
                  </a:lnTo>
                  <a:lnTo>
                    <a:pt x="4" y="2"/>
                  </a:lnTo>
                  <a:lnTo>
                    <a:pt x="4" y="0"/>
                  </a:lnTo>
                  <a:lnTo>
                    <a:pt x="6" y="2"/>
                  </a:lnTo>
                  <a:lnTo>
                    <a:pt x="8" y="2"/>
                  </a:lnTo>
                  <a:lnTo>
                    <a:pt x="10" y="2"/>
                  </a:lnTo>
                  <a:lnTo>
                    <a:pt x="12" y="2"/>
                  </a:lnTo>
                  <a:lnTo>
                    <a:pt x="14" y="2"/>
                  </a:lnTo>
                  <a:lnTo>
                    <a:pt x="16" y="2"/>
                  </a:lnTo>
                  <a:lnTo>
                    <a:pt x="18" y="2"/>
                  </a:lnTo>
                  <a:lnTo>
                    <a:pt x="20" y="2"/>
                  </a:lnTo>
                  <a:lnTo>
                    <a:pt x="22" y="2"/>
                  </a:lnTo>
                  <a:lnTo>
                    <a:pt x="24" y="2"/>
                  </a:lnTo>
                  <a:lnTo>
                    <a:pt x="26" y="2"/>
                  </a:lnTo>
                  <a:lnTo>
                    <a:pt x="28" y="2"/>
                  </a:lnTo>
                  <a:lnTo>
                    <a:pt x="32" y="2"/>
                  </a:lnTo>
                  <a:lnTo>
                    <a:pt x="32" y="2"/>
                  </a:lnTo>
                  <a:lnTo>
                    <a:pt x="32" y="4"/>
                  </a:lnTo>
                  <a:lnTo>
                    <a:pt x="34" y="4"/>
                  </a:lnTo>
                  <a:lnTo>
                    <a:pt x="36" y="4"/>
                  </a:lnTo>
                  <a:lnTo>
                    <a:pt x="38" y="4"/>
                  </a:lnTo>
                  <a:lnTo>
                    <a:pt x="40" y="4"/>
                  </a:lnTo>
                  <a:lnTo>
                    <a:pt x="44" y="4"/>
                  </a:lnTo>
                  <a:lnTo>
                    <a:pt x="46" y="4"/>
                  </a:lnTo>
                  <a:lnTo>
                    <a:pt x="48" y="4"/>
                  </a:lnTo>
                  <a:lnTo>
                    <a:pt x="50" y="4"/>
                  </a:lnTo>
                  <a:lnTo>
                    <a:pt x="52" y="4"/>
                  </a:lnTo>
                  <a:lnTo>
                    <a:pt x="54" y="4"/>
                  </a:lnTo>
                  <a:lnTo>
                    <a:pt x="56" y="4"/>
                  </a:lnTo>
                  <a:lnTo>
                    <a:pt x="58" y="4"/>
                  </a:lnTo>
                  <a:lnTo>
                    <a:pt x="60" y="4"/>
                  </a:lnTo>
                  <a:lnTo>
                    <a:pt x="64" y="4"/>
                  </a:lnTo>
                  <a:lnTo>
                    <a:pt x="68" y="4"/>
                  </a:lnTo>
                  <a:lnTo>
                    <a:pt x="70" y="6"/>
                  </a:lnTo>
                  <a:lnTo>
                    <a:pt x="72" y="6"/>
                  </a:lnTo>
                  <a:lnTo>
                    <a:pt x="76" y="6"/>
                  </a:lnTo>
                  <a:lnTo>
                    <a:pt x="78" y="6"/>
                  </a:lnTo>
                  <a:lnTo>
                    <a:pt x="80" y="6"/>
                  </a:lnTo>
                  <a:lnTo>
                    <a:pt x="80" y="6"/>
                  </a:lnTo>
                  <a:lnTo>
                    <a:pt x="82" y="6"/>
                  </a:lnTo>
                  <a:lnTo>
                    <a:pt x="84" y="6"/>
                  </a:lnTo>
                  <a:lnTo>
                    <a:pt x="86" y="6"/>
                  </a:lnTo>
                  <a:lnTo>
                    <a:pt x="88" y="6"/>
                  </a:lnTo>
                  <a:lnTo>
                    <a:pt x="90" y="6"/>
                  </a:lnTo>
                  <a:lnTo>
                    <a:pt x="92" y="6"/>
                  </a:lnTo>
                  <a:lnTo>
                    <a:pt x="96" y="6"/>
                  </a:lnTo>
                  <a:lnTo>
                    <a:pt x="98" y="6"/>
                  </a:lnTo>
                  <a:lnTo>
                    <a:pt x="100" y="6"/>
                  </a:lnTo>
                  <a:lnTo>
                    <a:pt x="102" y="6"/>
                  </a:lnTo>
                  <a:lnTo>
                    <a:pt x="106" y="6"/>
                  </a:lnTo>
                  <a:lnTo>
                    <a:pt x="112" y="6"/>
                  </a:lnTo>
                  <a:lnTo>
                    <a:pt x="114" y="6"/>
                  </a:lnTo>
                  <a:lnTo>
                    <a:pt x="116" y="6"/>
                  </a:lnTo>
                  <a:lnTo>
                    <a:pt x="122" y="8"/>
                  </a:lnTo>
                  <a:lnTo>
                    <a:pt x="126" y="8"/>
                  </a:lnTo>
                  <a:lnTo>
                    <a:pt x="130" y="8"/>
                  </a:lnTo>
                  <a:lnTo>
                    <a:pt x="130" y="8"/>
                  </a:lnTo>
                  <a:lnTo>
                    <a:pt x="132" y="8"/>
                  </a:lnTo>
                  <a:lnTo>
                    <a:pt x="134" y="8"/>
                  </a:lnTo>
                  <a:lnTo>
                    <a:pt x="136" y="8"/>
                  </a:lnTo>
                  <a:lnTo>
                    <a:pt x="138" y="8"/>
                  </a:lnTo>
                  <a:lnTo>
                    <a:pt x="140" y="8"/>
                  </a:lnTo>
                  <a:lnTo>
                    <a:pt x="142" y="8"/>
                  </a:lnTo>
                  <a:lnTo>
                    <a:pt x="144" y="8"/>
                  </a:lnTo>
                  <a:lnTo>
                    <a:pt x="146" y="8"/>
                  </a:lnTo>
                  <a:lnTo>
                    <a:pt x="148" y="8"/>
                  </a:lnTo>
                  <a:lnTo>
                    <a:pt x="150" y="8"/>
                  </a:lnTo>
                  <a:lnTo>
                    <a:pt x="152" y="8"/>
                  </a:lnTo>
                  <a:lnTo>
                    <a:pt x="154" y="8"/>
                  </a:lnTo>
                  <a:lnTo>
                    <a:pt x="156" y="8"/>
                  </a:lnTo>
                  <a:lnTo>
                    <a:pt x="158" y="8"/>
                  </a:lnTo>
                  <a:lnTo>
                    <a:pt x="160" y="8"/>
                  </a:lnTo>
                  <a:close/>
                </a:path>
              </a:pathLst>
            </a:custGeom>
            <a:solidFill>
              <a:srgbClr val="4D9926"/>
            </a:solidFill>
            <a:ln w="3175">
              <a:solidFill>
                <a:sysClr val="window" lastClr="FFFF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black"/>
                </a:solidFill>
                <a:effectLst/>
                <a:uLnTx/>
                <a:uFillTx/>
                <a:ea typeface="宋体" panose="02010600030101010101" pitchFamily="2" charset="-122"/>
              </a:endParaRPr>
            </a:p>
          </p:txBody>
        </p:sp>
        <p:sp>
          <p:nvSpPr>
            <p:cNvPr id="28" name="Freeform 1809">
              <a:extLst>
                <a:ext uri="{FF2B5EF4-FFF2-40B4-BE49-F238E27FC236}">
                  <a16:creationId xmlns:a16="http://schemas.microsoft.com/office/drawing/2014/main" id="{47E956F3-671B-05E1-8ABC-C42807B82DCC}"/>
                </a:ext>
              </a:extLst>
            </p:cNvPr>
            <p:cNvSpPr>
              <a:spLocks/>
            </p:cNvSpPr>
            <p:nvPr/>
          </p:nvSpPr>
          <p:spPr bwMode="auto">
            <a:xfrm>
              <a:off x="5529263" y="3062288"/>
              <a:ext cx="268288" cy="463550"/>
            </a:xfrm>
            <a:custGeom>
              <a:avLst/>
              <a:gdLst>
                <a:gd name="T0" fmla="*/ 50 w 169"/>
                <a:gd name="T1" fmla="*/ 2 h 292"/>
                <a:gd name="T2" fmla="*/ 71 w 169"/>
                <a:gd name="T3" fmla="*/ 2 h 292"/>
                <a:gd name="T4" fmla="*/ 89 w 169"/>
                <a:gd name="T5" fmla="*/ 2 h 292"/>
                <a:gd name="T6" fmla="*/ 109 w 169"/>
                <a:gd name="T7" fmla="*/ 2 h 292"/>
                <a:gd name="T8" fmla="*/ 127 w 169"/>
                <a:gd name="T9" fmla="*/ 0 h 292"/>
                <a:gd name="T10" fmla="*/ 143 w 169"/>
                <a:gd name="T11" fmla="*/ 4 h 292"/>
                <a:gd name="T12" fmla="*/ 145 w 169"/>
                <a:gd name="T13" fmla="*/ 18 h 292"/>
                <a:gd name="T14" fmla="*/ 153 w 169"/>
                <a:gd name="T15" fmla="*/ 28 h 292"/>
                <a:gd name="T16" fmla="*/ 157 w 169"/>
                <a:gd name="T17" fmla="*/ 36 h 292"/>
                <a:gd name="T18" fmla="*/ 157 w 169"/>
                <a:gd name="T19" fmla="*/ 52 h 292"/>
                <a:gd name="T20" fmla="*/ 159 w 169"/>
                <a:gd name="T21" fmla="*/ 70 h 292"/>
                <a:gd name="T22" fmla="*/ 161 w 169"/>
                <a:gd name="T23" fmla="*/ 86 h 292"/>
                <a:gd name="T24" fmla="*/ 161 w 169"/>
                <a:gd name="T25" fmla="*/ 106 h 292"/>
                <a:gd name="T26" fmla="*/ 163 w 169"/>
                <a:gd name="T27" fmla="*/ 124 h 292"/>
                <a:gd name="T28" fmla="*/ 163 w 169"/>
                <a:gd name="T29" fmla="*/ 144 h 292"/>
                <a:gd name="T30" fmla="*/ 165 w 169"/>
                <a:gd name="T31" fmla="*/ 164 h 292"/>
                <a:gd name="T32" fmla="*/ 161 w 169"/>
                <a:gd name="T33" fmla="*/ 172 h 292"/>
                <a:gd name="T34" fmla="*/ 165 w 169"/>
                <a:gd name="T35" fmla="*/ 180 h 292"/>
                <a:gd name="T36" fmla="*/ 169 w 169"/>
                <a:gd name="T37" fmla="*/ 196 h 292"/>
                <a:gd name="T38" fmla="*/ 163 w 169"/>
                <a:gd name="T39" fmla="*/ 204 h 292"/>
                <a:gd name="T40" fmla="*/ 159 w 169"/>
                <a:gd name="T41" fmla="*/ 216 h 292"/>
                <a:gd name="T42" fmla="*/ 153 w 169"/>
                <a:gd name="T43" fmla="*/ 220 h 292"/>
                <a:gd name="T44" fmla="*/ 151 w 169"/>
                <a:gd name="T45" fmla="*/ 226 h 292"/>
                <a:gd name="T46" fmla="*/ 151 w 169"/>
                <a:gd name="T47" fmla="*/ 230 h 292"/>
                <a:gd name="T48" fmla="*/ 147 w 169"/>
                <a:gd name="T49" fmla="*/ 238 h 292"/>
                <a:gd name="T50" fmla="*/ 149 w 169"/>
                <a:gd name="T51" fmla="*/ 244 h 292"/>
                <a:gd name="T52" fmla="*/ 143 w 169"/>
                <a:gd name="T53" fmla="*/ 256 h 292"/>
                <a:gd name="T54" fmla="*/ 145 w 169"/>
                <a:gd name="T55" fmla="*/ 266 h 292"/>
                <a:gd name="T56" fmla="*/ 131 w 169"/>
                <a:gd name="T57" fmla="*/ 268 h 292"/>
                <a:gd name="T58" fmla="*/ 133 w 169"/>
                <a:gd name="T59" fmla="*/ 280 h 292"/>
                <a:gd name="T60" fmla="*/ 125 w 169"/>
                <a:gd name="T61" fmla="*/ 282 h 292"/>
                <a:gd name="T62" fmla="*/ 109 w 169"/>
                <a:gd name="T63" fmla="*/ 280 h 292"/>
                <a:gd name="T64" fmla="*/ 105 w 169"/>
                <a:gd name="T65" fmla="*/ 292 h 292"/>
                <a:gd name="T66" fmla="*/ 97 w 169"/>
                <a:gd name="T67" fmla="*/ 292 h 292"/>
                <a:gd name="T68" fmla="*/ 89 w 169"/>
                <a:gd name="T69" fmla="*/ 278 h 292"/>
                <a:gd name="T70" fmla="*/ 89 w 169"/>
                <a:gd name="T71" fmla="*/ 268 h 292"/>
                <a:gd name="T72" fmla="*/ 85 w 169"/>
                <a:gd name="T73" fmla="*/ 256 h 292"/>
                <a:gd name="T74" fmla="*/ 77 w 169"/>
                <a:gd name="T75" fmla="*/ 248 h 292"/>
                <a:gd name="T76" fmla="*/ 69 w 169"/>
                <a:gd name="T77" fmla="*/ 242 h 292"/>
                <a:gd name="T78" fmla="*/ 58 w 169"/>
                <a:gd name="T79" fmla="*/ 234 h 292"/>
                <a:gd name="T80" fmla="*/ 48 w 169"/>
                <a:gd name="T81" fmla="*/ 220 h 292"/>
                <a:gd name="T82" fmla="*/ 56 w 169"/>
                <a:gd name="T83" fmla="*/ 208 h 292"/>
                <a:gd name="T84" fmla="*/ 58 w 169"/>
                <a:gd name="T85" fmla="*/ 194 h 292"/>
                <a:gd name="T86" fmla="*/ 44 w 169"/>
                <a:gd name="T87" fmla="*/ 188 h 292"/>
                <a:gd name="T88" fmla="*/ 34 w 169"/>
                <a:gd name="T89" fmla="*/ 190 h 292"/>
                <a:gd name="T90" fmla="*/ 32 w 169"/>
                <a:gd name="T91" fmla="*/ 174 h 292"/>
                <a:gd name="T92" fmla="*/ 24 w 169"/>
                <a:gd name="T93" fmla="*/ 166 h 292"/>
                <a:gd name="T94" fmla="*/ 14 w 169"/>
                <a:gd name="T95" fmla="*/ 156 h 292"/>
                <a:gd name="T96" fmla="*/ 6 w 169"/>
                <a:gd name="T97" fmla="*/ 144 h 292"/>
                <a:gd name="T98" fmla="*/ 0 w 169"/>
                <a:gd name="T99" fmla="*/ 132 h 292"/>
                <a:gd name="T100" fmla="*/ 2 w 169"/>
                <a:gd name="T101" fmla="*/ 116 h 292"/>
                <a:gd name="T102" fmla="*/ 6 w 169"/>
                <a:gd name="T103" fmla="*/ 102 h 292"/>
                <a:gd name="T104" fmla="*/ 18 w 169"/>
                <a:gd name="T105" fmla="*/ 94 h 292"/>
                <a:gd name="T106" fmla="*/ 22 w 169"/>
                <a:gd name="T107" fmla="*/ 82 h 292"/>
                <a:gd name="T108" fmla="*/ 18 w 169"/>
                <a:gd name="T109" fmla="*/ 74 h 292"/>
                <a:gd name="T110" fmla="*/ 22 w 169"/>
                <a:gd name="T111" fmla="*/ 60 h 292"/>
                <a:gd name="T112" fmla="*/ 38 w 169"/>
                <a:gd name="T113" fmla="*/ 54 h 292"/>
                <a:gd name="T114" fmla="*/ 46 w 169"/>
                <a:gd name="T115" fmla="*/ 42 h 292"/>
                <a:gd name="T116" fmla="*/ 52 w 169"/>
                <a:gd name="T117" fmla="*/ 28 h 292"/>
                <a:gd name="T118" fmla="*/ 44 w 169"/>
                <a:gd name="T119" fmla="*/ 18 h 292"/>
                <a:gd name="T120" fmla="*/ 38 w 169"/>
                <a:gd name="T121" fmla="*/ 8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69" h="292">
                  <a:moveTo>
                    <a:pt x="32" y="2"/>
                  </a:moveTo>
                  <a:lnTo>
                    <a:pt x="34" y="2"/>
                  </a:lnTo>
                  <a:lnTo>
                    <a:pt x="36" y="2"/>
                  </a:lnTo>
                  <a:lnTo>
                    <a:pt x="38" y="2"/>
                  </a:lnTo>
                  <a:lnTo>
                    <a:pt x="40" y="2"/>
                  </a:lnTo>
                  <a:lnTo>
                    <a:pt x="42" y="2"/>
                  </a:lnTo>
                  <a:lnTo>
                    <a:pt x="44" y="2"/>
                  </a:lnTo>
                  <a:lnTo>
                    <a:pt x="46" y="2"/>
                  </a:lnTo>
                  <a:lnTo>
                    <a:pt x="48" y="2"/>
                  </a:lnTo>
                  <a:lnTo>
                    <a:pt x="50" y="2"/>
                  </a:lnTo>
                  <a:lnTo>
                    <a:pt x="52" y="2"/>
                  </a:lnTo>
                  <a:lnTo>
                    <a:pt x="54" y="2"/>
                  </a:lnTo>
                  <a:lnTo>
                    <a:pt x="56" y="2"/>
                  </a:lnTo>
                  <a:lnTo>
                    <a:pt x="58" y="2"/>
                  </a:lnTo>
                  <a:lnTo>
                    <a:pt x="60" y="2"/>
                  </a:lnTo>
                  <a:lnTo>
                    <a:pt x="63" y="2"/>
                  </a:lnTo>
                  <a:lnTo>
                    <a:pt x="65" y="2"/>
                  </a:lnTo>
                  <a:lnTo>
                    <a:pt x="67" y="2"/>
                  </a:lnTo>
                  <a:lnTo>
                    <a:pt x="69" y="2"/>
                  </a:lnTo>
                  <a:lnTo>
                    <a:pt x="71" y="2"/>
                  </a:lnTo>
                  <a:lnTo>
                    <a:pt x="73" y="2"/>
                  </a:lnTo>
                  <a:lnTo>
                    <a:pt x="75" y="2"/>
                  </a:lnTo>
                  <a:lnTo>
                    <a:pt x="77" y="2"/>
                  </a:lnTo>
                  <a:lnTo>
                    <a:pt x="79" y="2"/>
                  </a:lnTo>
                  <a:lnTo>
                    <a:pt x="79" y="2"/>
                  </a:lnTo>
                  <a:lnTo>
                    <a:pt x="81" y="2"/>
                  </a:lnTo>
                  <a:lnTo>
                    <a:pt x="83" y="2"/>
                  </a:lnTo>
                  <a:lnTo>
                    <a:pt x="85" y="2"/>
                  </a:lnTo>
                  <a:lnTo>
                    <a:pt x="87" y="2"/>
                  </a:lnTo>
                  <a:lnTo>
                    <a:pt x="89" y="2"/>
                  </a:lnTo>
                  <a:lnTo>
                    <a:pt x="91" y="2"/>
                  </a:lnTo>
                  <a:lnTo>
                    <a:pt x="93" y="2"/>
                  </a:lnTo>
                  <a:lnTo>
                    <a:pt x="95" y="2"/>
                  </a:lnTo>
                  <a:lnTo>
                    <a:pt x="97" y="2"/>
                  </a:lnTo>
                  <a:lnTo>
                    <a:pt x="99" y="2"/>
                  </a:lnTo>
                  <a:lnTo>
                    <a:pt x="101" y="2"/>
                  </a:lnTo>
                  <a:lnTo>
                    <a:pt x="103" y="2"/>
                  </a:lnTo>
                  <a:lnTo>
                    <a:pt x="105" y="2"/>
                  </a:lnTo>
                  <a:lnTo>
                    <a:pt x="107" y="2"/>
                  </a:lnTo>
                  <a:lnTo>
                    <a:pt x="109" y="2"/>
                  </a:lnTo>
                  <a:lnTo>
                    <a:pt x="109" y="0"/>
                  </a:lnTo>
                  <a:lnTo>
                    <a:pt x="111" y="0"/>
                  </a:lnTo>
                  <a:lnTo>
                    <a:pt x="113" y="0"/>
                  </a:lnTo>
                  <a:lnTo>
                    <a:pt x="115" y="0"/>
                  </a:lnTo>
                  <a:lnTo>
                    <a:pt x="117" y="0"/>
                  </a:lnTo>
                  <a:lnTo>
                    <a:pt x="121" y="0"/>
                  </a:lnTo>
                  <a:lnTo>
                    <a:pt x="123" y="0"/>
                  </a:lnTo>
                  <a:lnTo>
                    <a:pt x="125" y="0"/>
                  </a:lnTo>
                  <a:lnTo>
                    <a:pt x="127" y="0"/>
                  </a:lnTo>
                  <a:lnTo>
                    <a:pt x="127" y="0"/>
                  </a:lnTo>
                  <a:lnTo>
                    <a:pt x="129" y="0"/>
                  </a:lnTo>
                  <a:lnTo>
                    <a:pt x="131" y="0"/>
                  </a:lnTo>
                  <a:lnTo>
                    <a:pt x="133" y="0"/>
                  </a:lnTo>
                  <a:lnTo>
                    <a:pt x="135" y="0"/>
                  </a:lnTo>
                  <a:lnTo>
                    <a:pt x="137" y="0"/>
                  </a:lnTo>
                  <a:lnTo>
                    <a:pt x="139" y="0"/>
                  </a:lnTo>
                  <a:lnTo>
                    <a:pt x="141" y="0"/>
                  </a:lnTo>
                  <a:lnTo>
                    <a:pt x="143" y="0"/>
                  </a:lnTo>
                  <a:lnTo>
                    <a:pt x="143" y="2"/>
                  </a:lnTo>
                  <a:lnTo>
                    <a:pt x="143" y="4"/>
                  </a:lnTo>
                  <a:lnTo>
                    <a:pt x="143" y="6"/>
                  </a:lnTo>
                  <a:lnTo>
                    <a:pt x="143" y="4"/>
                  </a:lnTo>
                  <a:lnTo>
                    <a:pt x="143" y="6"/>
                  </a:lnTo>
                  <a:lnTo>
                    <a:pt x="143" y="8"/>
                  </a:lnTo>
                  <a:lnTo>
                    <a:pt x="143" y="10"/>
                  </a:lnTo>
                  <a:lnTo>
                    <a:pt x="143" y="12"/>
                  </a:lnTo>
                  <a:lnTo>
                    <a:pt x="143" y="14"/>
                  </a:lnTo>
                  <a:lnTo>
                    <a:pt x="145" y="14"/>
                  </a:lnTo>
                  <a:lnTo>
                    <a:pt x="145" y="16"/>
                  </a:lnTo>
                  <a:lnTo>
                    <a:pt x="145" y="18"/>
                  </a:lnTo>
                  <a:lnTo>
                    <a:pt x="147" y="18"/>
                  </a:lnTo>
                  <a:lnTo>
                    <a:pt x="147" y="20"/>
                  </a:lnTo>
                  <a:lnTo>
                    <a:pt x="149" y="20"/>
                  </a:lnTo>
                  <a:lnTo>
                    <a:pt x="149" y="22"/>
                  </a:lnTo>
                  <a:lnTo>
                    <a:pt x="149" y="24"/>
                  </a:lnTo>
                  <a:lnTo>
                    <a:pt x="151" y="24"/>
                  </a:lnTo>
                  <a:lnTo>
                    <a:pt x="151" y="26"/>
                  </a:lnTo>
                  <a:lnTo>
                    <a:pt x="151" y="28"/>
                  </a:lnTo>
                  <a:lnTo>
                    <a:pt x="151" y="28"/>
                  </a:lnTo>
                  <a:lnTo>
                    <a:pt x="153" y="28"/>
                  </a:lnTo>
                  <a:lnTo>
                    <a:pt x="151" y="28"/>
                  </a:lnTo>
                  <a:lnTo>
                    <a:pt x="153" y="28"/>
                  </a:lnTo>
                  <a:lnTo>
                    <a:pt x="153" y="30"/>
                  </a:lnTo>
                  <a:lnTo>
                    <a:pt x="153" y="32"/>
                  </a:lnTo>
                  <a:lnTo>
                    <a:pt x="153" y="30"/>
                  </a:lnTo>
                  <a:lnTo>
                    <a:pt x="153" y="32"/>
                  </a:lnTo>
                  <a:lnTo>
                    <a:pt x="153" y="34"/>
                  </a:lnTo>
                  <a:lnTo>
                    <a:pt x="155" y="34"/>
                  </a:lnTo>
                  <a:lnTo>
                    <a:pt x="155" y="36"/>
                  </a:lnTo>
                  <a:lnTo>
                    <a:pt x="157" y="36"/>
                  </a:lnTo>
                  <a:lnTo>
                    <a:pt x="155" y="36"/>
                  </a:lnTo>
                  <a:lnTo>
                    <a:pt x="157" y="36"/>
                  </a:lnTo>
                  <a:lnTo>
                    <a:pt x="157" y="38"/>
                  </a:lnTo>
                  <a:lnTo>
                    <a:pt x="157" y="40"/>
                  </a:lnTo>
                  <a:lnTo>
                    <a:pt x="157" y="42"/>
                  </a:lnTo>
                  <a:lnTo>
                    <a:pt x="157" y="44"/>
                  </a:lnTo>
                  <a:lnTo>
                    <a:pt x="157" y="46"/>
                  </a:lnTo>
                  <a:lnTo>
                    <a:pt x="157" y="48"/>
                  </a:lnTo>
                  <a:lnTo>
                    <a:pt x="157" y="50"/>
                  </a:lnTo>
                  <a:lnTo>
                    <a:pt x="157" y="52"/>
                  </a:lnTo>
                  <a:lnTo>
                    <a:pt x="157" y="54"/>
                  </a:lnTo>
                  <a:lnTo>
                    <a:pt x="157" y="56"/>
                  </a:lnTo>
                  <a:lnTo>
                    <a:pt x="157" y="58"/>
                  </a:lnTo>
                  <a:lnTo>
                    <a:pt x="157" y="60"/>
                  </a:lnTo>
                  <a:lnTo>
                    <a:pt x="159" y="60"/>
                  </a:lnTo>
                  <a:lnTo>
                    <a:pt x="159" y="62"/>
                  </a:lnTo>
                  <a:lnTo>
                    <a:pt x="159" y="64"/>
                  </a:lnTo>
                  <a:lnTo>
                    <a:pt x="159" y="66"/>
                  </a:lnTo>
                  <a:lnTo>
                    <a:pt x="159" y="68"/>
                  </a:lnTo>
                  <a:lnTo>
                    <a:pt x="159" y="70"/>
                  </a:lnTo>
                  <a:lnTo>
                    <a:pt x="159" y="72"/>
                  </a:lnTo>
                  <a:lnTo>
                    <a:pt x="159" y="74"/>
                  </a:lnTo>
                  <a:lnTo>
                    <a:pt x="159" y="76"/>
                  </a:lnTo>
                  <a:lnTo>
                    <a:pt x="159" y="76"/>
                  </a:lnTo>
                  <a:lnTo>
                    <a:pt x="159" y="78"/>
                  </a:lnTo>
                  <a:lnTo>
                    <a:pt x="159" y="80"/>
                  </a:lnTo>
                  <a:lnTo>
                    <a:pt x="159" y="82"/>
                  </a:lnTo>
                  <a:lnTo>
                    <a:pt x="159" y="84"/>
                  </a:lnTo>
                  <a:lnTo>
                    <a:pt x="159" y="86"/>
                  </a:lnTo>
                  <a:lnTo>
                    <a:pt x="161" y="86"/>
                  </a:lnTo>
                  <a:lnTo>
                    <a:pt x="161" y="88"/>
                  </a:lnTo>
                  <a:lnTo>
                    <a:pt x="161" y="90"/>
                  </a:lnTo>
                  <a:lnTo>
                    <a:pt x="161" y="92"/>
                  </a:lnTo>
                  <a:lnTo>
                    <a:pt x="161" y="94"/>
                  </a:lnTo>
                  <a:lnTo>
                    <a:pt x="161" y="96"/>
                  </a:lnTo>
                  <a:lnTo>
                    <a:pt x="161" y="98"/>
                  </a:lnTo>
                  <a:lnTo>
                    <a:pt x="161" y="100"/>
                  </a:lnTo>
                  <a:lnTo>
                    <a:pt x="161" y="102"/>
                  </a:lnTo>
                  <a:lnTo>
                    <a:pt x="161" y="104"/>
                  </a:lnTo>
                  <a:lnTo>
                    <a:pt x="161" y="106"/>
                  </a:lnTo>
                  <a:lnTo>
                    <a:pt x="161" y="108"/>
                  </a:lnTo>
                  <a:lnTo>
                    <a:pt x="161" y="110"/>
                  </a:lnTo>
                  <a:lnTo>
                    <a:pt x="161" y="112"/>
                  </a:lnTo>
                  <a:lnTo>
                    <a:pt x="161" y="114"/>
                  </a:lnTo>
                  <a:lnTo>
                    <a:pt x="161" y="116"/>
                  </a:lnTo>
                  <a:lnTo>
                    <a:pt x="161" y="118"/>
                  </a:lnTo>
                  <a:lnTo>
                    <a:pt x="163" y="118"/>
                  </a:lnTo>
                  <a:lnTo>
                    <a:pt x="163" y="120"/>
                  </a:lnTo>
                  <a:lnTo>
                    <a:pt x="163" y="122"/>
                  </a:lnTo>
                  <a:lnTo>
                    <a:pt x="163" y="124"/>
                  </a:lnTo>
                  <a:lnTo>
                    <a:pt x="163" y="124"/>
                  </a:lnTo>
                  <a:lnTo>
                    <a:pt x="163" y="126"/>
                  </a:lnTo>
                  <a:lnTo>
                    <a:pt x="163" y="128"/>
                  </a:lnTo>
                  <a:lnTo>
                    <a:pt x="163" y="130"/>
                  </a:lnTo>
                  <a:lnTo>
                    <a:pt x="163" y="132"/>
                  </a:lnTo>
                  <a:lnTo>
                    <a:pt x="163" y="134"/>
                  </a:lnTo>
                  <a:lnTo>
                    <a:pt x="163" y="136"/>
                  </a:lnTo>
                  <a:lnTo>
                    <a:pt x="163" y="140"/>
                  </a:lnTo>
                  <a:lnTo>
                    <a:pt x="163" y="142"/>
                  </a:lnTo>
                  <a:lnTo>
                    <a:pt x="163" y="144"/>
                  </a:lnTo>
                  <a:lnTo>
                    <a:pt x="163" y="146"/>
                  </a:lnTo>
                  <a:lnTo>
                    <a:pt x="163" y="148"/>
                  </a:lnTo>
                  <a:lnTo>
                    <a:pt x="165" y="148"/>
                  </a:lnTo>
                  <a:lnTo>
                    <a:pt x="165" y="150"/>
                  </a:lnTo>
                  <a:lnTo>
                    <a:pt x="165" y="152"/>
                  </a:lnTo>
                  <a:lnTo>
                    <a:pt x="165" y="154"/>
                  </a:lnTo>
                  <a:lnTo>
                    <a:pt x="165" y="156"/>
                  </a:lnTo>
                  <a:lnTo>
                    <a:pt x="165" y="158"/>
                  </a:lnTo>
                  <a:lnTo>
                    <a:pt x="165" y="162"/>
                  </a:lnTo>
                  <a:lnTo>
                    <a:pt x="165" y="164"/>
                  </a:lnTo>
                  <a:lnTo>
                    <a:pt x="163" y="164"/>
                  </a:lnTo>
                  <a:lnTo>
                    <a:pt x="163" y="166"/>
                  </a:lnTo>
                  <a:lnTo>
                    <a:pt x="161" y="166"/>
                  </a:lnTo>
                  <a:lnTo>
                    <a:pt x="163" y="166"/>
                  </a:lnTo>
                  <a:lnTo>
                    <a:pt x="163" y="168"/>
                  </a:lnTo>
                  <a:lnTo>
                    <a:pt x="163" y="170"/>
                  </a:lnTo>
                  <a:lnTo>
                    <a:pt x="163" y="168"/>
                  </a:lnTo>
                  <a:lnTo>
                    <a:pt x="163" y="170"/>
                  </a:lnTo>
                  <a:lnTo>
                    <a:pt x="163" y="172"/>
                  </a:lnTo>
                  <a:lnTo>
                    <a:pt x="161" y="172"/>
                  </a:lnTo>
                  <a:lnTo>
                    <a:pt x="161" y="172"/>
                  </a:lnTo>
                  <a:lnTo>
                    <a:pt x="163" y="172"/>
                  </a:lnTo>
                  <a:lnTo>
                    <a:pt x="161" y="172"/>
                  </a:lnTo>
                  <a:lnTo>
                    <a:pt x="161" y="174"/>
                  </a:lnTo>
                  <a:lnTo>
                    <a:pt x="161" y="176"/>
                  </a:lnTo>
                  <a:lnTo>
                    <a:pt x="161" y="174"/>
                  </a:lnTo>
                  <a:lnTo>
                    <a:pt x="161" y="176"/>
                  </a:lnTo>
                  <a:lnTo>
                    <a:pt x="163" y="176"/>
                  </a:lnTo>
                  <a:lnTo>
                    <a:pt x="165" y="178"/>
                  </a:lnTo>
                  <a:lnTo>
                    <a:pt x="165" y="180"/>
                  </a:lnTo>
                  <a:lnTo>
                    <a:pt x="165" y="182"/>
                  </a:lnTo>
                  <a:lnTo>
                    <a:pt x="167" y="182"/>
                  </a:lnTo>
                  <a:lnTo>
                    <a:pt x="167" y="184"/>
                  </a:lnTo>
                  <a:lnTo>
                    <a:pt x="167" y="186"/>
                  </a:lnTo>
                  <a:lnTo>
                    <a:pt x="167" y="188"/>
                  </a:lnTo>
                  <a:lnTo>
                    <a:pt x="167" y="190"/>
                  </a:lnTo>
                  <a:lnTo>
                    <a:pt x="167" y="192"/>
                  </a:lnTo>
                  <a:lnTo>
                    <a:pt x="169" y="192"/>
                  </a:lnTo>
                  <a:lnTo>
                    <a:pt x="169" y="194"/>
                  </a:lnTo>
                  <a:lnTo>
                    <a:pt x="169" y="196"/>
                  </a:lnTo>
                  <a:lnTo>
                    <a:pt x="169" y="198"/>
                  </a:lnTo>
                  <a:lnTo>
                    <a:pt x="167" y="198"/>
                  </a:lnTo>
                  <a:lnTo>
                    <a:pt x="165" y="198"/>
                  </a:lnTo>
                  <a:lnTo>
                    <a:pt x="165" y="200"/>
                  </a:lnTo>
                  <a:lnTo>
                    <a:pt x="163" y="200"/>
                  </a:lnTo>
                  <a:lnTo>
                    <a:pt x="165" y="202"/>
                  </a:lnTo>
                  <a:lnTo>
                    <a:pt x="163" y="202"/>
                  </a:lnTo>
                  <a:lnTo>
                    <a:pt x="165" y="202"/>
                  </a:lnTo>
                  <a:lnTo>
                    <a:pt x="163" y="202"/>
                  </a:lnTo>
                  <a:lnTo>
                    <a:pt x="163" y="204"/>
                  </a:lnTo>
                  <a:lnTo>
                    <a:pt x="165" y="204"/>
                  </a:lnTo>
                  <a:lnTo>
                    <a:pt x="163" y="204"/>
                  </a:lnTo>
                  <a:lnTo>
                    <a:pt x="163" y="206"/>
                  </a:lnTo>
                  <a:lnTo>
                    <a:pt x="163" y="208"/>
                  </a:lnTo>
                  <a:lnTo>
                    <a:pt x="161" y="208"/>
                  </a:lnTo>
                  <a:lnTo>
                    <a:pt x="161" y="210"/>
                  </a:lnTo>
                  <a:lnTo>
                    <a:pt x="159" y="210"/>
                  </a:lnTo>
                  <a:lnTo>
                    <a:pt x="159" y="212"/>
                  </a:lnTo>
                  <a:lnTo>
                    <a:pt x="159" y="214"/>
                  </a:lnTo>
                  <a:lnTo>
                    <a:pt x="159" y="216"/>
                  </a:lnTo>
                  <a:lnTo>
                    <a:pt x="157" y="216"/>
                  </a:lnTo>
                  <a:lnTo>
                    <a:pt x="157" y="218"/>
                  </a:lnTo>
                  <a:lnTo>
                    <a:pt x="155" y="218"/>
                  </a:lnTo>
                  <a:lnTo>
                    <a:pt x="155" y="220"/>
                  </a:lnTo>
                  <a:lnTo>
                    <a:pt x="157" y="220"/>
                  </a:lnTo>
                  <a:lnTo>
                    <a:pt x="155" y="220"/>
                  </a:lnTo>
                  <a:lnTo>
                    <a:pt x="155" y="220"/>
                  </a:lnTo>
                  <a:lnTo>
                    <a:pt x="155" y="220"/>
                  </a:lnTo>
                  <a:lnTo>
                    <a:pt x="153" y="220"/>
                  </a:lnTo>
                  <a:lnTo>
                    <a:pt x="153" y="220"/>
                  </a:lnTo>
                  <a:lnTo>
                    <a:pt x="153" y="220"/>
                  </a:lnTo>
                  <a:lnTo>
                    <a:pt x="151" y="220"/>
                  </a:lnTo>
                  <a:lnTo>
                    <a:pt x="151" y="220"/>
                  </a:lnTo>
                  <a:lnTo>
                    <a:pt x="151" y="222"/>
                  </a:lnTo>
                  <a:lnTo>
                    <a:pt x="149" y="222"/>
                  </a:lnTo>
                  <a:lnTo>
                    <a:pt x="149" y="220"/>
                  </a:lnTo>
                  <a:lnTo>
                    <a:pt x="149" y="222"/>
                  </a:lnTo>
                  <a:lnTo>
                    <a:pt x="149" y="224"/>
                  </a:lnTo>
                  <a:lnTo>
                    <a:pt x="151" y="224"/>
                  </a:lnTo>
                  <a:lnTo>
                    <a:pt x="151" y="226"/>
                  </a:lnTo>
                  <a:lnTo>
                    <a:pt x="153" y="226"/>
                  </a:lnTo>
                  <a:lnTo>
                    <a:pt x="151" y="226"/>
                  </a:lnTo>
                  <a:lnTo>
                    <a:pt x="153" y="226"/>
                  </a:lnTo>
                  <a:lnTo>
                    <a:pt x="153" y="228"/>
                  </a:lnTo>
                  <a:lnTo>
                    <a:pt x="151" y="228"/>
                  </a:lnTo>
                  <a:lnTo>
                    <a:pt x="151" y="230"/>
                  </a:lnTo>
                  <a:lnTo>
                    <a:pt x="149" y="230"/>
                  </a:lnTo>
                  <a:lnTo>
                    <a:pt x="149" y="228"/>
                  </a:lnTo>
                  <a:lnTo>
                    <a:pt x="149" y="230"/>
                  </a:lnTo>
                  <a:lnTo>
                    <a:pt x="151" y="230"/>
                  </a:lnTo>
                  <a:lnTo>
                    <a:pt x="151" y="232"/>
                  </a:lnTo>
                  <a:lnTo>
                    <a:pt x="149" y="232"/>
                  </a:lnTo>
                  <a:lnTo>
                    <a:pt x="147" y="232"/>
                  </a:lnTo>
                  <a:lnTo>
                    <a:pt x="147" y="234"/>
                  </a:lnTo>
                  <a:lnTo>
                    <a:pt x="149" y="234"/>
                  </a:lnTo>
                  <a:lnTo>
                    <a:pt x="149" y="236"/>
                  </a:lnTo>
                  <a:lnTo>
                    <a:pt x="149" y="238"/>
                  </a:lnTo>
                  <a:lnTo>
                    <a:pt x="149" y="240"/>
                  </a:lnTo>
                  <a:lnTo>
                    <a:pt x="147" y="240"/>
                  </a:lnTo>
                  <a:lnTo>
                    <a:pt x="147" y="238"/>
                  </a:lnTo>
                  <a:lnTo>
                    <a:pt x="147" y="240"/>
                  </a:lnTo>
                  <a:lnTo>
                    <a:pt x="149" y="240"/>
                  </a:lnTo>
                  <a:lnTo>
                    <a:pt x="149" y="242"/>
                  </a:lnTo>
                  <a:lnTo>
                    <a:pt x="147" y="242"/>
                  </a:lnTo>
                  <a:lnTo>
                    <a:pt x="147" y="240"/>
                  </a:lnTo>
                  <a:lnTo>
                    <a:pt x="145" y="240"/>
                  </a:lnTo>
                  <a:lnTo>
                    <a:pt x="145" y="242"/>
                  </a:lnTo>
                  <a:lnTo>
                    <a:pt x="147" y="242"/>
                  </a:lnTo>
                  <a:lnTo>
                    <a:pt x="147" y="244"/>
                  </a:lnTo>
                  <a:lnTo>
                    <a:pt x="149" y="244"/>
                  </a:lnTo>
                  <a:lnTo>
                    <a:pt x="147" y="244"/>
                  </a:lnTo>
                  <a:lnTo>
                    <a:pt x="147" y="246"/>
                  </a:lnTo>
                  <a:lnTo>
                    <a:pt x="149" y="246"/>
                  </a:lnTo>
                  <a:lnTo>
                    <a:pt x="149" y="248"/>
                  </a:lnTo>
                  <a:lnTo>
                    <a:pt x="149" y="250"/>
                  </a:lnTo>
                  <a:lnTo>
                    <a:pt x="147" y="250"/>
                  </a:lnTo>
                  <a:lnTo>
                    <a:pt x="145" y="252"/>
                  </a:lnTo>
                  <a:lnTo>
                    <a:pt x="145" y="254"/>
                  </a:lnTo>
                  <a:lnTo>
                    <a:pt x="143" y="254"/>
                  </a:lnTo>
                  <a:lnTo>
                    <a:pt x="143" y="256"/>
                  </a:lnTo>
                  <a:lnTo>
                    <a:pt x="145" y="256"/>
                  </a:lnTo>
                  <a:lnTo>
                    <a:pt x="145" y="258"/>
                  </a:lnTo>
                  <a:lnTo>
                    <a:pt x="145" y="260"/>
                  </a:lnTo>
                  <a:lnTo>
                    <a:pt x="147" y="260"/>
                  </a:lnTo>
                  <a:lnTo>
                    <a:pt x="147" y="262"/>
                  </a:lnTo>
                  <a:lnTo>
                    <a:pt x="149" y="262"/>
                  </a:lnTo>
                  <a:lnTo>
                    <a:pt x="149" y="264"/>
                  </a:lnTo>
                  <a:lnTo>
                    <a:pt x="147" y="264"/>
                  </a:lnTo>
                  <a:lnTo>
                    <a:pt x="145" y="264"/>
                  </a:lnTo>
                  <a:lnTo>
                    <a:pt x="145" y="266"/>
                  </a:lnTo>
                  <a:lnTo>
                    <a:pt x="143" y="266"/>
                  </a:lnTo>
                  <a:lnTo>
                    <a:pt x="141" y="266"/>
                  </a:lnTo>
                  <a:lnTo>
                    <a:pt x="139" y="266"/>
                  </a:lnTo>
                  <a:lnTo>
                    <a:pt x="137" y="266"/>
                  </a:lnTo>
                  <a:lnTo>
                    <a:pt x="137" y="268"/>
                  </a:lnTo>
                  <a:lnTo>
                    <a:pt x="135" y="268"/>
                  </a:lnTo>
                  <a:lnTo>
                    <a:pt x="135" y="268"/>
                  </a:lnTo>
                  <a:lnTo>
                    <a:pt x="135" y="268"/>
                  </a:lnTo>
                  <a:lnTo>
                    <a:pt x="133" y="268"/>
                  </a:lnTo>
                  <a:lnTo>
                    <a:pt x="131" y="268"/>
                  </a:lnTo>
                  <a:lnTo>
                    <a:pt x="131" y="268"/>
                  </a:lnTo>
                  <a:lnTo>
                    <a:pt x="131" y="270"/>
                  </a:lnTo>
                  <a:lnTo>
                    <a:pt x="131" y="272"/>
                  </a:lnTo>
                  <a:lnTo>
                    <a:pt x="129" y="272"/>
                  </a:lnTo>
                  <a:lnTo>
                    <a:pt x="129" y="274"/>
                  </a:lnTo>
                  <a:lnTo>
                    <a:pt x="129" y="276"/>
                  </a:lnTo>
                  <a:lnTo>
                    <a:pt x="131" y="276"/>
                  </a:lnTo>
                  <a:lnTo>
                    <a:pt x="131" y="278"/>
                  </a:lnTo>
                  <a:lnTo>
                    <a:pt x="133" y="278"/>
                  </a:lnTo>
                  <a:lnTo>
                    <a:pt x="133" y="280"/>
                  </a:lnTo>
                  <a:lnTo>
                    <a:pt x="133" y="282"/>
                  </a:lnTo>
                  <a:lnTo>
                    <a:pt x="133" y="284"/>
                  </a:lnTo>
                  <a:lnTo>
                    <a:pt x="133" y="286"/>
                  </a:lnTo>
                  <a:lnTo>
                    <a:pt x="131" y="286"/>
                  </a:lnTo>
                  <a:lnTo>
                    <a:pt x="129" y="286"/>
                  </a:lnTo>
                  <a:lnTo>
                    <a:pt x="127" y="286"/>
                  </a:lnTo>
                  <a:lnTo>
                    <a:pt x="127" y="284"/>
                  </a:lnTo>
                  <a:lnTo>
                    <a:pt x="127" y="284"/>
                  </a:lnTo>
                  <a:lnTo>
                    <a:pt x="125" y="284"/>
                  </a:lnTo>
                  <a:lnTo>
                    <a:pt x="125" y="282"/>
                  </a:lnTo>
                  <a:lnTo>
                    <a:pt x="123" y="282"/>
                  </a:lnTo>
                  <a:lnTo>
                    <a:pt x="121" y="282"/>
                  </a:lnTo>
                  <a:lnTo>
                    <a:pt x="119" y="280"/>
                  </a:lnTo>
                  <a:lnTo>
                    <a:pt x="117" y="280"/>
                  </a:lnTo>
                  <a:lnTo>
                    <a:pt x="115" y="280"/>
                  </a:lnTo>
                  <a:lnTo>
                    <a:pt x="115" y="278"/>
                  </a:lnTo>
                  <a:lnTo>
                    <a:pt x="113" y="278"/>
                  </a:lnTo>
                  <a:lnTo>
                    <a:pt x="111" y="278"/>
                  </a:lnTo>
                  <a:lnTo>
                    <a:pt x="109" y="278"/>
                  </a:lnTo>
                  <a:lnTo>
                    <a:pt x="109" y="280"/>
                  </a:lnTo>
                  <a:lnTo>
                    <a:pt x="107" y="280"/>
                  </a:lnTo>
                  <a:lnTo>
                    <a:pt x="107" y="282"/>
                  </a:lnTo>
                  <a:lnTo>
                    <a:pt x="105" y="282"/>
                  </a:lnTo>
                  <a:lnTo>
                    <a:pt x="105" y="284"/>
                  </a:lnTo>
                  <a:lnTo>
                    <a:pt x="105" y="286"/>
                  </a:lnTo>
                  <a:lnTo>
                    <a:pt x="103" y="286"/>
                  </a:lnTo>
                  <a:lnTo>
                    <a:pt x="103" y="288"/>
                  </a:lnTo>
                  <a:lnTo>
                    <a:pt x="103" y="290"/>
                  </a:lnTo>
                  <a:lnTo>
                    <a:pt x="103" y="292"/>
                  </a:lnTo>
                  <a:lnTo>
                    <a:pt x="105" y="292"/>
                  </a:lnTo>
                  <a:lnTo>
                    <a:pt x="103" y="292"/>
                  </a:lnTo>
                  <a:lnTo>
                    <a:pt x="101" y="292"/>
                  </a:lnTo>
                  <a:lnTo>
                    <a:pt x="101" y="290"/>
                  </a:lnTo>
                  <a:lnTo>
                    <a:pt x="99" y="290"/>
                  </a:lnTo>
                  <a:lnTo>
                    <a:pt x="99" y="288"/>
                  </a:lnTo>
                  <a:lnTo>
                    <a:pt x="97" y="288"/>
                  </a:lnTo>
                  <a:lnTo>
                    <a:pt x="97" y="290"/>
                  </a:lnTo>
                  <a:lnTo>
                    <a:pt x="99" y="290"/>
                  </a:lnTo>
                  <a:lnTo>
                    <a:pt x="99" y="292"/>
                  </a:lnTo>
                  <a:lnTo>
                    <a:pt x="97" y="292"/>
                  </a:lnTo>
                  <a:lnTo>
                    <a:pt x="97" y="290"/>
                  </a:lnTo>
                  <a:lnTo>
                    <a:pt x="95" y="290"/>
                  </a:lnTo>
                  <a:lnTo>
                    <a:pt x="93" y="290"/>
                  </a:lnTo>
                  <a:lnTo>
                    <a:pt x="93" y="288"/>
                  </a:lnTo>
                  <a:lnTo>
                    <a:pt x="93" y="286"/>
                  </a:lnTo>
                  <a:lnTo>
                    <a:pt x="91" y="284"/>
                  </a:lnTo>
                  <a:lnTo>
                    <a:pt x="91" y="282"/>
                  </a:lnTo>
                  <a:lnTo>
                    <a:pt x="89" y="282"/>
                  </a:lnTo>
                  <a:lnTo>
                    <a:pt x="89" y="280"/>
                  </a:lnTo>
                  <a:lnTo>
                    <a:pt x="89" y="278"/>
                  </a:lnTo>
                  <a:lnTo>
                    <a:pt x="87" y="278"/>
                  </a:lnTo>
                  <a:lnTo>
                    <a:pt x="87" y="276"/>
                  </a:lnTo>
                  <a:lnTo>
                    <a:pt x="87" y="274"/>
                  </a:lnTo>
                  <a:lnTo>
                    <a:pt x="89" y="274"/>
                  </a:lnTo>
                  <a:lnTo>
                    <a:pt x="89" y="272"/>
                  </a:lnTo>
                  <a:lnTo>
                    <a:pt x="91" y="272"/>
                  </a:lnTo>
                  <a:lnTo>
                    <a:pt x="91" y="270"/>
                  </a:lnTo>
                  <a:lnTo>
                    <a:pt x="91" y="268"/>
                  </a:lnTo>
                  <a:lnTo>
                    <a:pt x="89" y="268"/>
                  </a:lnTo>
                  <a:lnTo>
                    <a:pt x="89" y="268"/>
                  </a:lnTo>
                  <a:lnTo>
                    <a:pt x="87" y="268"/>
                  </a:lnTo>
                  <a:lnTo>
                    <a:pt x="87" y="266"/>
                  </a:lnTo>
                  <a:lnTo>
                    <a:pt x="87" y="264"/>
                  </a:lnTo>
                  <a:lnTo>
                    <a:pt x="85" y="264"/>
                  </a:lnTo>
                  <a:lnTo>
                    <a:pt x="85" y="262"/>
                  </a:lnTo>
                  <a:lnTo>
                    <a:pt x="87" y="262"/>
                  </a:lnTo>
                  <a:lnTo>
                    <a:pt x="87" y="260"/>
                  </a:lnTo>
                  <a:lnTo>
                    <a:pt x="87" y="258"/>
                  </a:lnTo>
                  <a:lnTo>
                    <a:pt x="85" y="258"/>
                  </a:lnTo>
                  <a:lnTo>
                    <a:pt x="85" y="256"/>
                  </a:lnTo>
                  <a:lnTo>
                    <a:pt x="87" y="256"/>
                  </a:lnTo>
                  <a:lnTo>
                    <a:pt x="85" y="256"/>
                  </a:lnTo>
                  <a:lnTo>
                    <a:pt x="85" y="254"/>
                  </a:lnTo>
                  <a:lnTo>
                    <a:pt x="83" y="254"/>
                  </a:lnTo>
                  <a:lnTo>
                    <a:pt x="81" y="252"/>
                  </a:lnTo>
                  <a:lnTo>
                    <a:pt x="79" y="252"/>
                  </a:lnTo>
                  <a:lnTo>
                    <a:pt x="79" y="250"/>
                  </a:lnTo>
                  <a:lnTo>
                    <a:pt x="79" y="250"/>
                  </a:lnTo>
                  <a:lnTo>
                    <a:pt x="79" y="248"/>
                  </a:lnTo>
                  <a:lnTo>
                    <a:pt x="77" y="248"/>
                  </a:lnTo>
                  <a:lnTo>
                    <a:pt x="77" y="246"/>
                  </a:lnTo>
                  <a:lnTo>
                    <a:pt x="75" y="246"/>
                  </a:lnTo>
                  <a:lnTo>
                    <a:pt x="75" y="244"/>
                  </a:lnTo>
                  <a:lnTo>
                    <a:pt x="73" y="244"/>
                  </a:lnTo>
                  <a:lnTo>
                    <a:pt x="71" y="244"/>
                  </a:lnTo>
                  <a:lnTo>
                    <a:pt x="71" y="246"/>
                  </a:lnTo>
                  <a:lnTo>
                    <a:pt x="69" y="246"/>
                  </a:lnTo>
                  <a:lnTo>
                    <a:pt x="67" y="244"/>
                  </a:lnTo>
                  <a:lnTo>
                    <a:pt x="67" y="242"/>
                  </a:lnTo>
                  <a:lnTo>
                    <a:pt x="69" y="242"/>
                  </a:lnTo>
                  <a:lnTo>
                    <a:pt x="69" y="240"/>
                  </a:lnTo>
                  <a:lnTo>
                    <a:pt x="67" y="240"/>
                  </a:lnTo>
                  <a:lnTo>
                    <a:pt x="67" y="242"/>
                  </a:lnTo>
                  <a:lnTo>
                    <a:pt x="67" y="240"/>
                  </a:lnTo>
                  <a:lnTo>
                    <a:pt x="65" y="240"/>
                  </a:lnTo>
                  <a:lnTo>
                    <a:pt x="63" y="238"/>
                  </a:lnTo>
                  <a:lnTo>
                    <a:pt x="60" y="238"/>
                  </a:lnTo>
                  <a:lnTo>
                    <a:pt x="60" y="236"/>
                  </a:lnTo>
                  <a:lnTo>
                    <a:pt x="58" y="236"/>
                  </a:lnTo>
                  <a:lnTo>
                    <a:pt x="58" y="234"/>
                  </a:lnTo>
                  <a:lnTo>
                    <a:pt x="58" y="236"/>
                  </a:lnTo>
                  <a:lnTo>
                    <a:pt x="56" y="234"/>
                  </a:lnTo>
                  <a:lnTo>
                    <a:pt x="54" y="232"/>
                  </a:lnTo>
                  <a:lnTo>
                    <a:pt x="52" y="230"/>
                  </a:lnTo>
                  <a:lnTo>
                    <a:pt x="50" y="230"/>
                  </a:lnTo>
                  <a:lnTo>
                    <a:pt x="50" y="228"/>
                  </a:lnTo>
                  <a:lnTo>
                    <a:pt x="48" y="226"/>
                  </a:lnTo>
                  <a:lnTo>
                    <a:pt x="48" y="224"/>
                  </a:lnTo>
                  <a:lnTo>
                    <a:pt x="48" y="222"/>
                  </a:lnTo>
                  <a:lnTo>
                    <a:pt x="48" y="220"/>
                  </a:lnTo>
                  <a:lnTo>
                    <a:pt x="50" y="220"/>
                  </a:lnTo>
                  <a:lnTo>
                    <a:pt x="50" y="218"/>
                  </a:lnTo>
                  <a:lnTo>
                    <a:pt x="52" y="218"/>
                  </a:lnTo>
                  <a:lnTo>
                    <a:pt x="52" y="216"/>
                  </a:lnTo>
                  <a:lnTo>
                    <a:pt x="52" y="214"/>
                  </a:lnTo>
                  <a:lnTo>
                    <a:pt x="52" y="212"/>
                  </a:lnTo>
                  <a:lnTo>
                    <a:pt x="54" y="212"/>
                  </a:lnTo>
                  <a:lnTo>
                    <a:pt x="54" y="210"/>
                  </a:lnTo>
                  <a:lnTo>
                    <a:pt x="54" y="208"/>
                  </a:lnTo>
                  <a:lnTo>
                    <a:pt x="56" y="208"/>
                  </a:lnTo>
                  <a:lnTo>
                    <a:pt x="56" y="206"/>
                  </a:lnTo>
                  <a:lnTo>
                    <a:pt x="56" y="204"/>
                  </a:lnTo>
                  <a:lnTo>
                    <a:pt x="56" y="202"/>
                  </a:lnTo>
                  <a:lnTo>
                    <a:pt x="54" y="202"/>
                  </a:lnTo>
                  <a:lnTo>
                    <a:pt x="54" y="200"/>
                  </a:lnTo>
                  <a:lnTo>
                    <a:pt x="56" y="200"/>
                  </a:lnTo>
                  <a:lnTo>
                    <a:pt x="56" y="198"/>
                  </a:lnTo>
                  <a:lnTo>
                    <a:pt x="58" y="198"/>
                  </a:lnTo>
                  <a:lnTo>
                    <a:pt x="58" y="196"/>
                  </a:lnTo>
                  <a:lnTo>
                    <a:pt x="58" y="194"/>
                  </a:lnTo>
                  <a:lnTo>
                    <a:pt x="56" y="194"/>
                  </a:lnTo>
                  <a:lnTo>
                    <a:pt x="56" y="192"/>
                  </a:lnTo>
                  <a:lnTo>
                    <a:pt x="54" y="192"/>
                  </a:lnTo>
                  <a:lnTo>
                    <a:pt x="54" y="190"/>
                  </a:lnTo>
                  <a:lnTo>
                    <a:pt x="52" y="190"/>
                  </a:lnTo>
                  <a:lnTo>
                    <a:pt x="50" y="190"/>
                  </a:lnTo>
                  <a:lnTo>
                    <a:pt x="48" y="190"/>
                  </a:lnTo>
                  <a:lnTo>
                    <a:pt x="48" y="188"/>
                  </a:lnTo>
                  <a:lnTo>
                    <a:pt x="46" y="188"/>
                  </a:lnTo>
                  <a:lnTo>
                    <a:pt x="44" y="188"/>
                  </a:lnTo>
                  <a:lnTo>
                    <a:pt x="42" y="188"/>
                  </a:lnTo>
                  <a:lnTo>
                    <a:pt x="42" y="190"/>
                  </a:lnTo>
                  <a:lnTo>
                    <a:pt x="42" y="192"/>
                  </a:lnTo>
                  <a:lnTo>
                    <a:pt x="40" y="192"/>
                  </a:lnTo>
                  <a:lnTo>
                    <a:pt x="40" y="194"/>
                  </a:lnTo>
                  <a:lnTo>
                    <a:pt x="38" y="194"/>
                  </a:lnTo>
                  <a:lnTo>
                    <a:pt x="38" y="192"/>
                  </a:lnTo>
                  <a:lnTo>
                    <a:pt x="36" y="192"/>
                  </a:lnTo>
                  <a:lnTo>
                    <a:pt x="36" y="190"/>
                  </a:lnTo>
                  <a:lnTo>
                    <a:pt x="34" y="190"/>
                  </a:lnTo>
                  <a:lnTo>
                    <a:pt x="34" y="188"/>
                  </a:lnTo>
                  <a:lnTo>
                    <a:pt x="34" y="186"/>
                  </a:lnTo>
                  <a:lnTo>
                    <a:pt x="34" y="184"/>
                  </a:lnTo>
                  <a:lnTo>
                    <a:pt x="32" y="184"/>
                  </a:lnTo>
                  <a:lnTo>
                    <a:pt x="34" y="182"/>
                  </a:lnTo>
                  <a:lnTo>
                    <a:pt x="34" y="180"/>
                  </a:lnTo>
                  <a:lnTo>
                    <a:pt x="34" y="178"/>
                  </a:lnTo>
                  <a:lnTo>
                    <a:pt x="32" y="178"/>
                  </a:lnTo>
                  <a:lnTo>
                    <a:pt x="32" y="176"/>
                  </a:lnTo>
                  <a:lnTo>
                    <a:pt x="32" y="174"/>
                  </a:lnTo>
                  <a:lnTo>
                    <a:pt x="32" y="172"/>
                  </a:lnTo>
                  <a:lnTo>
                    <a:pt x="30" y="172"/>
                  </a:lnTo>
                  <a:lnTo>
                    <a:pt x="30" y="172"/>
                  </a:lnTo>
                  <a:lnTo>
                    <a:pt x="30" y="172"/>
                  </a:lnTo>
                  <a:lnTo>
                    <a:pt x="30" y="170"/>
                  </a:lnTo>
                  <a:lnTo>
                    <a:pt x="28" y="170"/>
                  </a:lnTo>
                  <a:lnTo>
                    <a:pt x="28" y="168"/>
                  </a:lnTo>
                  <a:lnTo>
                    <a:pt x="26" y="168"/>
                  </a:lnTo>
                  <a:lnTo>
                    <a:pt x="24" y="168"/>
                  </a:lnTo>
                  <a:lnTo>
                    <a:pt x="24" y="166"/>
                  </a:lnTo>
                  <a:lnTo>
                    <a:pt x="22" y="166"/>
                  </a:lnTo>
                  <a:lnTo>
                    <a:pt x="22" y="164"/>
                  </a:lnTo>
                  <a:lnTo>
                    <a:pt x="20" y="164"/>
                  </a:lnTo>
                  <a:lnTo>
                    <a:pt x="20" y="162"/>
                  </a:lnTo>
                  <a:lnTo>
                    <a:pt x="18" y="162"/>
                  </a:lnTo>
                  <a:lnTo>
                    <a:pt x="18" y="160"/>
                  </a:lnTo>
                  <a:lnTo>
                    <a:pt x="18" y="158"/>
                  </a:lnTo>
                  <a:lnTo>
                    <a:pt x="16" y="158"/>
                  </a:lnTo>
                  <a:lnTo>
                    <a:pt x="14" y="158"/>
                  </a:lnTo>
                  <a:lnTo>
                    <a:pt x="14" y="156"/>
                  </a:lnTo>
                  <a:lnTo>
                    <a:pt x="14" y="154"/>
                  </a:lnTo>
                  <a:lnTo>
                    <a:pt x="12" y="154"/>
                  </a:lnTo>
                  <a:lnTo>
                    <a:pt x="10" y="154"/>
                  </a:lnTo>
                  <a:lnTo>
                    <a:pt x="10" y="152"/>
                  </a:lnTo>
                  <a:lnTo>
                    <a:pt x="8" y="152"/>
                  </a:lnTo>
                  <a:lnTo>
                    <a:pt x="8" y="150"/>
                  </a:lnTo>
                  <a:lnTo>
                    <a:pt x="6" y="150"/>
                  </a:lnTo>
                  <a:lnTo>
                    <a:pt x="6" y="148"/>
                  </a:lnTo>
                  <a:lnTo>
                    <a:pt x="6" y="146"/>
                  </a:lnTo>
                  <a:lnTo>
                    <a:pt x="6" y="144"/>
                  </a:lnTo>
                  <a:lnTo>
                    <a:pt x="4" y="144"/>
                  </a:lnTo>
                  <a:lnTo>
                    <a:pt x="4" y="142"/>
                  </a:lnTo>
                  <a:lnTo>
                    <a:pt x="2" y="140"/>
                  </a:lnTo>
                  <a:lnTo>
                    <a:pt x="4" y="140"/>
                  </a:lnTo>
                  <a:lnTo>
                    <a:pt x="4" y="138"/>
                  </a:lnTo>
                  <a:lnTo>
                    <a:pt x="4" y="136"/>
                  </a:lnTo>
                  <a:lnTo>
                    <a:pt x="2" y="136"/>
                  </a:lnTo>
                  <a:lnTo>
                    <a:pt x="2" y="134"/>
                  </a:lnTo>
                  <a:lnTo>
                    <a:pt x="2" y="132"/>
                  </a:lnTo>
                  <a:lnTo>
                    <a:pt x="0" y="132"/>
                  </a:lnTo>
                  <a:lnTo>
                    <a:pt x="0" y="130"/>
                  </a:lnTo>
                  <a:lnTo>
                    <a:pt x="0" y="128"/>
                  </a:lnTo>
                  <a:lnTo>
                    <a:pt x="0" y="126"/>
                  </a:lnTo>
                  <a:lnTo>
                    <a:pt x="0" y="124"/>
                  </a:lnTo>
                  <a:lnTo>
                    <a:pt x="0" y="124"/>
                  </a:lnTo>
                  <a:lnTo>
                    <a:pt x="0" y="122"/>
                  </a:lnTo>
                  <a:lnTo>
                    <a:pt x="0" y="120"/>
                  </a:lnTo>
                  <a:lnTo>
                    <a:pt x="2" y="120"/>
                  </a:lnTo>
                  <a:lnTo>
                    <a:pt x="2" y="118"/>
                  </a:lnTo>
                  <a:lnTo>
                    <a:pt x="2" y="116"/>
                  </a:lnTo>
                  <a:lnTo>
                    <a:pt x="4" y="116"/>
                  </a:lnTo>
                  <a:lnTo>
                    <a:pt x="4" y="114"/>
                  </a:lnTo>
                  <a:lnTo>
                    <a:pt x="6" y="114"/>
                  </a:lnTo>
                  <a:lnTo>
                    <a:pt x="6" y="112"/>
                  </a:lnTo>
                  <a:lnTo>
                    <a:pt x="6" y="110"/>
                  </a:lnTo>
                  <a:lnTo>
                    <a:pt x="6" y="108"/>
                  </a:lnTo>
                  <a:lnTo>
                    <a:pt x="6" y="106"/>
                  </a:lnTo>
                  <a:lnTo>
                    <a:pt x="4" y="106"/>
                  </a:lnTo>
                  <a:lnTo>
                    <a:pt x="6" y="104"/>
                  </a:lnTo>
                  <a:lnTo>
                    <a:pt x="6" y="102"/>
                  </a:lnTo>
                  <a:lnTo>
                    <a:pt x="8" y="102"/>
                  </a:lnTo>
                  <a:lnTo>
                    <a:pt x="10" y="102"/>
                  </a:lnTo>
                  <a:lnTo>
                    <a:pt x="10" y="100"/>
                  </a:lnTo>
                  <a:lnTo>
                    <a:pt x="12" y="100"/>
                  </a:lnTo>
                  <a:lnTo>
                    <a:pt x="14" y="100"/>
                  </a:lnTo>
                  <a:lnTo>
                    <a:pt x="16" y="100"/>
                  </a:lnTo>
                  <a:lnTo>
                    <a:pt x="16" y="98"/>
                  </a:lnTo>
                  <a:lnTo>
                    <a:pt x="16" y="96"/>
                  </a:lnTo>
                  <a:lnTo>
                    <a:pt x="16" y="94"/>
                  </a:lnTo>
                  <a:lnTo>
                    <a:pt x="18" y="94"/>
                  </a:lnTo>
                  <a:lnTo>
                    <a:pt x="18" y="92"/>
                  </a:lnTo>
                  <a:lnTo>
                    <a:pt x="16" y="92"/>
                  </a:lnTo>
                  <a:lnTo>
                    <a:pt x="18" y="92"/>
                  </a:lnTo>
                  <a:lnTo>
                    <a:pt x="18" y="90"/>
                  </a:lnTo>
                  <a:lnTo>
                    <a:pt x="18" y="88"/>
                  </a:lnTo>
                  <a:lnTo>
                    <a:pt x="20" y="88"/>
                  </a:lnTo>
                  <a:lnTo>
                    <a:pt x="20" y="86"/>
                  </a:lnTo>
                  <a:lnTo>
                    <a:pt x="22" y="86"/>
                  </a:lnTo>
                  <a:lnTo>
                    <a:pt x="22" y="84"/>
                  </a:lnTo>
                  <a:lnTo>
                    <a:pt x="22" y="82"/>
                  </a:lnTo>
                  <a:lnTo>
                    <a:pt x="24" y="80"/>
                  </a:lnTo>
                  <a:lnTo>
                    <a:pt x="24" y="78"/>
                  </a:lnTo>
                  <a:lnTo>
                    <a:pt x="22" y="78"/>
                  </a:lnTo>
                  <a:lnTo>
                    <a:pt x="22" y="76"/>
                  </a:lnTo>
                  <a:lnTo>
                    <a:pt x="24" y="76"/>
                  </a:lnTo>
                  <a:lnTo>
                    <a:pt x="22" y="76"/>
                  </a:lnTo>
                  <a:lnTo>
                    <a:pt x="22" y="76"/>
                  </a:lnTo>
                  <a:lnTo>
                    <a:pt x="22" y="74"/>
                  </a:lnTo>
                  <a:lnTo>
                    <a:pt x="20" y="74"/>
                  </a:lnTo>
                  <a:lnTo>
                    <a:pt x="18" y="74"/>
                  </a:lnTo>
                  <a:lnTo>
                    <a:pt x="18" y="72"/>
                  </a:lnTo>
                  <a:lnTo>
                    <a:pt x="16" y="70"/>
                  </a:lnTo>
                  <a:lnTo>
                    <a:pt x="16" y="68"/>
                  </a:lnTo>
                  <a:lnTo>
                    <a:pt x="18" y="68"/>
                  </a:lnTo>
                  <a:lnTo>
                    <a:pt x="18" y="66"/>
                  </a:lnTo>
                  <a:lnTo>
                    <a:pt x="18" y="64"/>
                  </a:lnTo>
                  <a:lnTo>
                    <a:pt x="18" y="62"/>
                  </a:lnTo>
                  <a:lnTo>
                    <a:pt x="18" y="60"/>
                  </a:lnTo>
                  <a:lnTo>
                    <a:pt x="20" y="60"/>
                  </a:lnTo>
                  <a:lnTo>
                    <a:pt x="22" y="60"/>
                  </a:lnTo>
                  <a:lnTo>
                    <a:pt x="24" y="60"/>
                  </a:lnTo>
                  <a:lnTo>
                    <a:pt x="26" y="60"/>
                  </a:lnTo>
                  <a:lnTo>
                    <a:pt x="26" y="58"/>
                  </a:lnTo>
                  <a:lnTo>
                    <a:pt x="28" y="58"/>
                  </a:lnTo>
                  <a:lnTo>
                    <a:pt x="30" y="58"/>
                  </a:lnTo>
                  <a:lnTo>
                    <a:pt x="30" y="58"/>
                  </a:lnTo>
                  <a:lnTo>
                    <a:pt x="32" y="58"/>
                  </a:lnTo>
                  <a:lnTo>
                    <a:pt x="34" y="56"/>
                  </a:lnTo>
                  <a:lnTo>
                    <a:pt x="36" y="54"/>
                  </a:lnTo>
                  <a:lnTo>
                    <a:pt x="38" y="54"/>
                  </a:lnTo>
                  <a:lnTo>
                    <a:pt x="40" y="54"/>
                  </a:lnTo>
                  <a:lnTo>
                    <a:pt x="42" y="54"/>
                  </a:lnTo>
                  <a:lnTo>
                    <a:pt x="42" y="52"/>
                  </a:lnTo>
                  <a:lnTo>
                    <a:pt x="44" y="52"/>
                  </a:lnTo>
                  <a:lnTo>
                    <a:pt x="44" y="50"/>
                  </a:lnTo>
                  <a:lnTo>
                    <a:pt x="46" y="50"/>
                  </a:lnTo>
                  <a:lnTo>
                    <a:pt x="46" y="48"/>
                  </a:lnTo>
                  <a:lnTo>
                    <a:pt x="46" y="46"/>
                  </a:lnTo>
                  <a:lnTo>
                    <a:pt x="46" y="44"/>
                  </a:lnTo>
                  <a:lnTo>
                    <a:pt x="46" y="42"/>
                  </a:lnTo>
                  <a:lnTo>
                    <a:pt x="48" y="42"/>
                  </a:lnTo>
                  <a:lnTo>
                    <a:pt x="48" y="40"/>
                  </a:lnTo>
                  <a:lnTo>
                    <a:pt x="50" y="40"/>
                  </a:lnTo>
                  <a:lnTo>
                    <a:pt x="50" y="38"/>
                  </a:lnTo>
                  <a:lnTo>
                    <a:pt x="52" y="38"/>
                  </a:lnTo>
                  <a:lnTo>
                    <a:pt x="52" y="36"/>
                  </a:lnTo>
                  <a:lnTo>
                    <a:pt x="52" y="34"/>
                  </a:lnTo>
                  <a:lnTo>
                    <a:pt x="52" y="32"/>
                  </a:lnTo>
                  <a:lnTo>
                    <a:pt x="52" y="30"/>
                  </a:lnTo>
                  <a:lnTo>
                    <a:pt x="52" y="28"/>
                  </a:lnTo>
                  <a:lnTo>
                    <a:pt x="52" y="28"/>
                  </a:lnTo>
                  <a:lnTo>
                    <a:pt x="52" y="26"/>
                  </a:lnTo>
                  <a:lnTo>
                    <a:pt x="52" y="24"/>
                  </a:lnTo>
                  <a:lnTo>
                    <a:pt x="50" y="24"/>
                  </a:lnTo>
                  <a:lnTo>
                    <a:pt x="50" y="22"/>
                  </a:lnTo>
                  <a:lnTo>
                    <a:pt x="48" y="22"/>
                  </a:lnTo>
                  <a:lnTo>
                    <a:pt x="48" y="20"/>
                  </a:lnTo>
                  <a:lnTo>
                    <a:pt x="46" y="20"/>
                  </a:lnTo>
                  <a:lnTo>
                    <a:pt x="44" y="20"/>
                  </a:lnTo>
                  <a:lnTo>
                    <a:pt x="44" y="18"/>
                  </a:lnTo>
                  <a:lnTo>
                    <a:pt x="42" y="18"/>
                  </a:lnTo>
                  <a:lnTo>
                    <a:pt x="42" y="16"/>
                  </a:lnTo>
                  <a:lnTo>
                    <a:pt x="40" y="16"/>
                  </a:lnTo>
                  <a:lnTo>
                    <a:pt x="40" y="14"/>
                  </a:lnTo>
                  <a:lnTo>
                    <a:pt x="42" y="14"/>
                  </a:lnTo>
                  <a:lnTo>
                    <a:pt x="42" y="12"/>
                  </a:lnTo>
                  <a:lnTo>
                    <a:pt x="40" y="12"/>
                  </a:lnTo>
                  <a:lnTo>
                    <a:pt x="40" y="10"/>
                  </a:lnTo>
                  <a:lnTo>
                    <a:pt x="38" y="10"/>
                  </a:lnTo>
                  <a:lnTo>
                    <a:pt x="38" y="8"/>
                  </a:lnTo>
                  <a:lnTo>
                    <a:pt x="36" y="8"/>
                  </a:lnTo>
                  <a:lnTo>
                    <a:pt x="36" y="6"/>
                  </a:lnTo>
                  <a:lnTo>
                    <a:pt x="34" y="6"/>
                  </a:lnTo>
                  <a:lnTo>
                    <a:pt x="32" y="6"/>
                  </a:lnTo>
                  <a:lnTo>
                    <a:pt x="32" y="4"/>
                  </a:lnTo>
                  <a:lnTo>
                    <a:pt x="32" y="2"/>
                  </a:lnTo>
                  <a:close/>
                </a:path>
              </a:pathLst>
            </a:custGeom>
            <a:gradFill>
              <a:gsLst>
                <a:gs pos="38000">
                  <a:srgbClr val="74F283"/>
                </a:gs>
                <a:gs pos="49000">
                  <a:srgbClr val="EDFD51"/>
                </a:gs>
              </a:gsLst>
              <a:lin ang="6000000" scaled="0"/>
            </a:gradFill>
            <a:ln w="3175">
              <a:solidFill>
                <a:sysClr val="window" lastClr="FFFF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black"/>
                </a:solidFill>
                <a:effectLst/>
                <a:uLnTx/>
                <a:uFillTx/>
                <a:ea typeface="宋体" panose="02010600030101010101" pitchFamily="2" charset="-122"/>
              </a:endParaRPr>
            </a:p>
          </p:txBody>
        </p:sp>
        <p:sp>
          <p:nvSpPr>
            <p:cNvPr id="29" name="Freeform 2797">
              <a:extLst>
                <a:ext uri="{FF2B5EF4-FFF2-40B4-BE49-F238E27FC236}">
                  <a16:creationId xmlns:a16="http://schemas.microsoft.com/office/drawing/2014/main" id="{12EC0AEA-2F80-13BC-ECD0-7C4C2B90C92F}"/>
                </a:ext>
              </a:extLst>
            </p:cNvPr>
            <p:cNvSpPr>
              <a:spLocks noEditPoints="1"/>
            </p:cNvSpPr>
            <p:nvPr/>
          </p:nvSpPr>
          <p:spPr bwMode="auto">
            <a:xfrm>
              <a:off x="5522913" y="3695700"/>
              <a:ext cx="255588" cy="425450"/>
            </a:xfrm>
            <a:custGeom>
              <a:avLst/>
              <a:gdLst>
                <a:gd name="T0" fmla="*/ 149 w 161"/>
                <a:gd name="T1" fmla="*/ 0 h 268"/>
                <a:gd name="T2" fmla="*/ 159 w 161"/>
                <a:gd name="T3" fmla="*/ 14 h 268"/>
                <a:gd name="T4" fmla="*/ 159 w 161"/>
                <a:gd name="T5" fmla="*/ 36 h 268"/>
                <a:gd name="T6" fmla="*/ 157 w 161"/>
                <a:gd name="T7" fmla="*/ 58 h 268"/>
                <a:gd name="T8" fmla="*/ 155 w 161"/>
                <a:gd name="T9" fmla="*/ 78 h 268"/>
                <a:gd name="T10" fmla="*/ 155 w 161"/>
                <a:gd name="T11" fmla="*/ 102 h 268"/>
                <a:gd name="T12" fmla="*/ 153 w 161"/>
                <a:gd name="T13" fmla="*/ 122 h 268"/>
                <a:gd name="T14" fmla="*/ 153 w 161"/>
                <a:gd name="T15" fmla="*/ 146 h 268"/>
                <a:gd name="T16" fmla="*/ 151 w 161"/>
                <a:gd name="T17" fmla="*/ 166 h 268"/>
                <a:gd name="T18" fmla="*/ 153 w 161"/>
                <a:gd name="T19" fmla="*/ 188 h 268"/>
                <a:gd name="T20" fmla="*/ 155 w 161"/>
                <a:gd name="T21" fmla="*/ 208 h 268"/>
                <a:gd name="T22" fmla="*/ 157 w 161"/>
                <a:gd name="T23" fmla="*/ 230 h 268"/>
                <a:gd name="T24" fmla="*/ 159 w 161"/>
                <a:gd name="T25" fmla="*/ 252 h 268"/>
                <a:gd name="T26" fmla="*/ 153 w 161"/>
                <a:gd name="T27" fmla="*/ 256 h 268"/>
                <a:gd name="T28" fmla="*/ 139 w 161"/>
                <a:gd name="T29" fmla="*/ 254 h 268"/>
                <a:gd name="T30" fmla="*/ 137 w 161"/>
                <a:gd name="T31" fmla="*/ 254 h 268"/>
                <a:gd name="T32" fmla="*/ 119 w 161"/>
                <a:gd name="T33" fmla="*/ 258 h 268"/>
                <a:gd name="T34" fmla="*/ 111 w 161"/>
                <a:gd name="T35" fmla="*/ 262 h 268"/>
                <a:gd name="T36" fmla="*/ 103 w 161"/>
                <a:gd name="T37" fmla="*/ 268 h 268"/>
                <a:gd name="T38" fmla="*/ 95 w 161"/>
                <a:gd name="T39" fmla="*/ 252 h 268"/>
                <a:gd name="T40" fmla="*/ 89 w 161"/>
                <a:gd name="T41" fmla="*/ 242 h 268"/>
                <a:gd name="T42" fmla="*/ 89 w 161"/>
                <a:gd name="T43" fmla="*/ 234 h 268"/>
                <a:gd name="T44" fmla="*/ 87 w 161"/>
                <a:gd name="T45" fmla="*/ 222 h 268"/>
                <a:gd name="T46" fmla="*/ 64 w 161"/>
                <a:gd name="T47" fmla="*/ 222 h 268"/>
                <a:gd name="T48" fmla="*/ 38 w 161"/>
                <a:gd name="T49" fmla="*/ 224 h 268"/>
                <a:gd name="T50" fmla="*/ 14 w 161"/>
                <a:gd name="T51" fmla="*/ 224 h 268"/>
                <a:gd name="T52" fmla="*/ 4 w 161"/>
                <a:gd name="T53" fmla="*/ 218 h 268"/>
                <a:gd name="T54" fmla="*/ 6 w 161"/>
                <a:gd name="T55" fmla="*/ 206 h 268"/>
                <a:gd name="T56" fmla="*/ 10 w 161"/>
                <a:gd name="T57" fmla="*/ 202 h 268"/>
                <a:gd name="T58" fmla="*/ 10 w 161"/>
                <a:gd name="T59" fmla="*/ 190 h 268"/>
                <a:gd name="T60" fmla="*/ 12 w 161"/>
                <a:gd name="T61" fmla="*/ 184 h 268"/>
                <a:gd name="T62" fmla="*/ 14 w 161"/>
                <a:gd name="T63" fmla="*/ 176 h 268"/>
                <a:gd name="T64" fmla="*/ 26 w 161"/>
                <a:gd name="T65" fmla="*/ 168 h 268"/>
                <a:gd name="T66" fmla="*/ 30 w 161"/>
                <a:gd name="T67" fmla="*/ 160 h 268"/>
                <a:gd name="T68" fmla="*/ 24 w 161"/>
                <a:gd name="T69" fmla="*/ 158 h 268"/>
                <a:gd name="T70" fmla="*/ 34 w 161"/>
                <a:gd name="T71" fmla="*/ 152 h 268"/>
                <a:gd name="T72" fmla="*/ 32 w 161"/>
                <a:gd name="T73" fmla="*/ 144 h 268"/>
                <a:gd name="T74" fmla="*/ 30 w 161"/>
                <a:gd name="T75" fmla="*/ 140 h 268"/>
                <a:gd name="T76" fmla="*/ 24 w 161"/>
                <a:gd name="T77" fmla="*/ 136 h 268"/>
                <a:gd name="T78" fmla="*/ 26 w 161"/>
                <a:gd name="T79" fmla="*/ 120 h 268"/>
                <a:gd name="T80" fmla="*/ 22 w 161"/>
                <a:gd name="T81" fmla="*/ 116 h 268"/>
                <a:gd name="T82" fmla="*/ 26 w 161"/>
                <a:gd name="T83" fmla="*/ 104 h 268"/>
                <a:gd name="T84" fmla="*/ 26 w 161"/>
                <a:gd name="T85" fmla="*/ 92 h 268"/>
                <a:gd name="T86" fmla="*/ 24 w 161"/>
                <a:gd name="T87" fmla="*/ 90 h 268"/>
                <a:gd name="T88" fmla="*/ 20 w 161"/>
                <a:gd name="T89" fmla="*/ 82 h 268"/>
                <a:gd name="T90" fmla="*/ 26 w 161"/>
                <a:gd name="T91" fmla="*/ 76 h 268"/>
                <a:gd name="T92" fmla="*/ 28 w 161"/>
                <a:gd name="T93" fmla="*/ 70 h 268"/>
                <a:gd name="T94" fmla="*/ 26 w 161"/>
                <a:gd name="T95" fmla="*/ 62 h 268"/>
                <a:gd name="T96" fmla="*/ 34 w 161"/>
                <a:gd name="T97" fmla="*/ 56 h 268"/>
                <a:gd name="T98" fmla="*/ 36 w 161"/>
                <a:gd name="T99" fmla="*/ 48 h 268"/>
                <a:gd name="T100" fmla="*/ 40 w 161"/>
                <a:gd name="T101" fmla="*/ 42 h 268"/>
                <a:gd name="T102" fmla="*/ 46 w 161"/>
                <a:gd name="T103" fmla="*/ 36 h 268"/>
                <a:gd name="T104" fmla="*/ 46 w 161"/>
                <a:gd name="T105" fmla="*/ 20 h 268"/>
                <a:gd name="T106" fmla="*/ 48 w 161"/>
                <a:gd name="T107" fmla="*/ 18 h 268"/>
                <a:gd name="T108" fmla="*/ 52 w 161"/>
                <a:gd name="T109" fmla="*/ 14 h 268"/>
                <a:gd name="T110" fmla="*/ 62 w 161"/>
                <a:gd name="T111" fmla="*/ 6 h 268"/>
                <a:gd name="T112" fmla="*/ 81 w 161"/>
                <a:gd name="T113" fmla="*/ 4 h 268"/>
                <a:gd name="T114" fmla="*/ 103 w 161"/>
                <a:gd name="T115" fmla="*/ 2 h 268"/>
                <a:gd name="T116" fmla="*/ 127 w 161"/>
                <a:gd name="T117" fmla="*/ 2 h 268"/>
                <a:gd name="T118" fmla="*/ 89 w 161"/>
                <a:gd name="T119" fmla="*/ 238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1" h="268">
                  <a:moveTo>
                    <a:pt x="139" y="254"/>
                  </a:moveTo>
                  <a:lnTo>
                    <a:pt x="139" y="256"/>
                  </a:lnTo>
                  <a:lnTo>
                    <a:pt x="139" y="254"/>
                  </a:lnTo>
                  <a:lnTo>
                    <a:pt x="137" y="254"/>
                  </a:lnTo>
                  <a:lnTo>
                    <a:pt x="139" y="254"/>
                  </a:lnTo>
                  <a:close/>
                  <a:moveTo>
                    <a:pt x="135" y="254"/>
                  </a:moveTo>
                  <a:lnTo>
                    <a:pt x="133" y="254"/>
                  </a:lnTo>
                  <a:lnTo>
                    <a:pt x="135" y="254"/>
                  </a:lnTo>
                  <a:close/>
                  <a:moveTo>
                    <a:pt x="143" y="0"/>
                  </a:moveTo>
                  <a:lnTo>
                    <a:pt x="145" y="0"/>
                  </a:lnTo>
                  <a:lnTo>
                    <a:pt x="147" y="0"/>
                  </a:lnTo>
                  <a:lnTo>
                    <a:pt x="149" y="0"/>
                  </a:lnTo>
                  <a:lnTo>
                    <a:pt x="151" y="0"/>
                  </a:lnTo>
                  <a:lnTo>
                    <a:pt x="153" y="0"/>
                  </a:lnTo>
                  <a:lnTo>
                    <a:pt x="155" y="0"/>
                  </a:lnTo>
                  <a:lnTo>
                    <a:pt x="155" y="2"/>
                  </a:lnTo>
                  <a:lnTo>
                    <a:pt x="157" y="2"/>
                  </a:lnTo>
                  <a:lnTo>
                    <a:pt x="157" y="4"/>
                  </a:lnTo>
                  <a:lnTo>
                    <a:pt x="159" y="4"/>
                  </a:lnTo>
                  <a:lnTo>
                    <a:pt x="159" y="6"/>
                  </a:lnTo>
                  <a:lnTo>
                    <a:pt x="159" y="8"/>
                  </a:lnTo>
                  <a:lnTo>
                    <a:pt x="159" y="10"/>
                  </a:lnTo>
                  <a:lnTo>
                    <a:pt x="159" y="12"/>
                  </a:lnTo>
                  <a:lnTo>
                    <a:pt x="159" y="14"/>
                  </a:lnTo>
                  <a:lnTo>
                    <a:pt x="159" y="14"/>
                  </a:lnTo>
                  <a:lnTo>
                    <a:pt x="159" y="16"/>
                  </a:lnTo>
                  <a:lnTo>
                    <a:pt x="159" y="18"/>
                  </a:lnTo>
                  <a:lnTo>
                    <a:pt x="159" y="20"/>
                  </a:lnTo>
                  <a:lnTo>
                    <a:pt x="159" y="22"/>
                  </a:lnTo>
                  <a:lnTo>
                    <a:pt x="159" y="24"/>
                  </a:lnTo>
                  <a:lnTo>
                    <a:pt x="159" y="26"/>
                  </a:lnTo>
                  <a:lnTo>
                    <a:pt x="159" y="28"/>
                  </a:lnTo>
                  <a:lnTo>
                    <a:pt x="159" y="30"/>
                  </a:lnTo>
                  <a:lnTo>
                    <a:pt x="159" y="32"/>
                  </a:lnTo>
                  <a:lnTo>
                    <a:pt x="159" y="34"/>
                  </a:lnTo>
                  <a:lnTo>
                    <a:pt x="159" y="36"/>
                  </a:lnTo>
                  <a:lnTo>
                    <a:pt x="159" y="38"/>
                  </a:lnTo>
                  <a:lnTo>
                    <a:pt x="157" y="38"/>
                  </a:lnTo>
                  <a:lnTo>
                    <a:pt x="157" y="40"/>
                  </a:lnTo>
                  <a:lnTo>
                    <a:pt x="157" y="42"/>
                  </a:lnTo>
                  <a:lnTo>
                    <a:pt x="157" y="44"/>
                  </a:lnTo>
                  <a:lnTo>
                    <a:pt x="157" y="46"/>
                  </a:lnTo>
                  <a:lnTo>
                    <a:pt x="157" y="48"/>
                  </a:lnTo>
                  <a:lnTo>
                    <a:pt x="157" y="50"/>
                  </a:lnTo>
                  <a:lnTo>
                    <a:pt x="157" y="52"/>
                  </a:lnTo>
                  <a:lnTo>
                    <a:pt x="157" y="54"/>
                  </a:lnTo>
                  <a:lnTo>
                    <a:pt x="157" y="56"/>
                  </a:lnTo>
                  <a:lnTo>
                    <a:pt x="157" y="58"/>
                  </a:lnTo>
                  <a:lnTo>
                    <a:pt x="157" y="60"/>
                  </a:lnTo>
                  <a:lnTo>
                    <a:pt x="157" y="62"/>
                  </a:lnTo>
                  <a:lnTo>
                    <a:pt x="157" y="62"/>
                  </a:lnTo>
                  <a:lnTo>
                    <a:pt x="157" y="64"/>
                  </a:lnTo>
                  <a:lnTo>
                    <a:pt x="157" y="66"/>
                  </a:lnTo>
                  <a:lnTo>
                    <a:pt x="157" y="68"/>
                  </a:lnTo>
                  <a:lnTo>
                    <a:pt x="157" y="70"/>
                  </a:lnTo>
                  <a:lnTo>
                    <a:pt x="157" y="72"/>
                  </a:lnTo>
                  <a:lnTo>
                    <a:pt x="157" y="74"/>
                  </a:lnTo>
                  <a:lnTo>
                    <a:pt x="157" y="76"/>
                  </a:lnTo>
                  <a:lnTo>
                    <a:pt x="155" y="76"/>
                  </a:lnTo>
                  <a:lnTo>
                    <a:pt x="155" y="78"/>
                  </a:lnTo>
                  <a:lnTo>
                    <a:pt x="155" y="80"/>
                  </a:lnTo>
                  <a:lnTo>
                    <a:pt x="155" y="82"/>
                  </a:lnTo>
                  <a:lnTo>
                    <a:pt x="155" y="84"/>
                  </a:lnTo>
                  <a:lnTo>
                    <a:pt x="155" y="86"/>
                  </a:lnTo>
                  <a:lnTo>
                    <a:pt x="155" y="88"/>
                  </a:lnTo>
                  <a:lnTo>
                    <a:pt x="155" y="90"/>
                  </a:lnTo>
                  <a:lnTo>
                    <a:pt x="155" y="92"/>
                  </a:lnTo>
                  <a:lnTo>
                    <a:pt x="155" y="94"/>
                  </a:lnTo>
                  <a:lnTo>
                    <a:pt x="155" y="96"/>
                  </a:lnTo>
                  <a:lnTo>
                    <a:pt x="155" y="98"/>
                  </a:lnTo>
                  <a:lnTo>
                    <a:pt x="155" y="100"/>
                  </a:lnTo>
                  <a:lnTo>
                    <a:pt x="155" y="102"/>
                  </a:lnTo>
                  <a:lnTo>
                    <a:pt x="155" y="104"/>
                  </a:lnTo>
                  <a:lnTo>
                    <a:pt x="155" y="106"/>
                  </a:lnTo>
                  <a:lnTo>
                    <a:pt x="155" y="108"/>
                  </a:lnTo>
                  <a:lnTo>
                    <a:pt x="155" y="110"/>
                  </a:lnTo>
                  <a:lnTo>
                    <a:pt x="155" y="110"/>
                  </a:lnTo>
                  <a:lnTo>
                    <a:pt x="155" y="112"/>
                  </a:lnTo>
                  <a:lnTo>
                    <a:pt x="155" y="114"/>
                  </a:lnTo>
                  <a:lnTo>
                    <a:pt x="155" y="116"/>
                  </a:lnTo>
                  <a:lnTo>
                    <a:pt x="155" y="118"/>
                  </a:lnTo>
                  <a:lnTo>
                    <a:pt x="153" y="118"/>
                  </a:lnTo>
                  <a:lnTo>
                    <a:pt x="153" y="120"/>
                  </a:lnTo>
                  <a:lnTo>
                    <a:pt x="153" y="122"/>
                  </a:lnTo>
                  <a:lnTo>
                    <a:pt x="153" y="124"/>
                  </a:lnTo>
                  <a:lnTo>
                    <a:pt x="153" y="126"/>
                  </a:lnTo>
                  <a:lnTo>
                    <a:pt x="153" y="128"/>
                  </a:lnTo>
                  <a:lnTo>
                    <a:pt x="153" y="130"/>
                  </a:lnTo>
                  <a:lnTo>
                    <a:pt x="153" y="132"/>
                  </a:lnTo>
                  <a:lnTo>
                    <a:pt x="153" y="134"/>
                  </a:lnTo>
                  <a:lnTo>
                    <a:pt x="153" y="136"/>
                  </a:lnTo>
                  <a:lnTo>
                    <a:pt x="153" y="138"/>
                  </a:lnTo>
                  <a:lnTo>
                    <a:pt x="153" y="140"/>
                  </a:lnTo>
                  <a:lnTo>
                    <a:pt x="153" y="142"/>
                  </a:lnTo>
                  <a:lnTo>
                    <a:pt x="153" y="144"/>
                  </a:lnTo>
                  <a:lnTo>
                    <a:pt x="153" y="146"/>
                  </a:lnTo>
                  <a:lnTo>
                    <a:pt x="153" y="148"/>
                  </a:lnTo>
                  <a:lnTo>
                    <a:pt x="153" y="150"/>
                  </a:lnTo>
                  <a:lnTo>
                    <a:pt x="153" y="152"/>
                  </a:lnTo>
                  <a:lnTo>
                    <a:pt x="153" y="154"/>
                  </a:lnTo>
                  <a:lnTo>
                    <a:pt x="153" y="156"/>
                  </a:lnTo>
                  <a:lnTo>
                    <a:pt x="153" y="158"/>
                  </a:lnTo>
                  <a:lnTo>
                    <a:pt x="153" y="158"/>
                  </a:lnTo>
                  <a:lnTo>
                    <a:pt x="151" y="158"/>
                  </a:lnTo>
                  <a:lnTo>
                    <a:pt x="151" y="160"/>
                  </a:lnTo>
                  <a:lnTo>
                    <a:pt x="151" y="162"/>
                  </a:lnTo>
                  <a:lnTo>
                    <a:pt x="151" y="164"/>
                  </a:lnTo>
                  <a:lnTo>
                    <a:pt x="151" y="166"/>
                  </a:lnTo>
                  <a:lnTo>
                    <a:pt x="151" y="168"/>
                  </a:lnTo>
                  <a:lnTo>
                    <a:pt x="151" y="170"/>
                  </a:lnTo>
                  <a:lnTo>
                    <a:pt x="151" y="172"/>
                  </a:lnTo>
                  <a:lnTo>
                    <a:pt x="151" y="174"/>
                  </a:lnTo>
                  <a:lnTo>
                    <a:pt x="151" y="176"/>
                  </a:lnTo>
                  <a:lnTo>
                    <a:pt x="153" y="176"/>
                  </a:lnTo>
                  <a:lnTo>
                    <a:pt x="153" y="178"/>
                  </a:lnTo>
                  <a:lnTo>
                    <a:pt x="153" y="180"/>
                  </a:lnTo>
                  <a:lnTo>
                    <a:pt x="153" y="182"/>
                  </a:lnTo>
                  <a:lnTo>
                    <a:pt x="153" y="184"/>
                  </a:lnTo>
                  <a:lnTo>
                    <a:pt x="153" y="186"/>
                  </a:lnTo>
                  <a:lnTo>
                    <a:pt x="153" y="188"/>
                  </a:lnTo>
                  <a:lnTo>
                    <a:pt x="153" y="190"/>
                  </a:lnTo>
                  <a:lnTo>
                    <a:pt x="153" y="192"/>
                  </a:lnTo>
                  <a:lnTo>
                    <a:pt x="153" y="194"/>
                  </a:lnTo>
                  <a:lnTo>
                    <a:pt x="153" y="196"/>
                  </a:lnTo>
                  <a:lnTo>
                    <a:pt x="155" y="196"/>
                  </a:lnTo>
                  <a:lnTo>
                    <a:pt x="155" y="198"/>
                  </a:lnTo>
                  <a:lnTo>
                    <a:pt x="155" y="200"/>
                  </a:lnTo>
                  <a:lnTo>
                    <a:pt x="155" y="202"/>
                  </a:lnTo>
                  <a:lnTo>
                    <a:pt x="155" y="204"/>
                  </a:lnTo>
                  <a:lnTo>
                    <a:pt x="155" y="206"/>
                  </a:lnTo>
                  <a:lnTo>
                    <a:pt x="155" y="206"/>
                  </a:lnTo>
                  <a:lnTo>
                    <a:pt x="155" y="208"/>
                  </a:lnTo>
                  <a:lnTo>
                    <a:pt x="155" y="210"/>
                  </a:lnTo>
                  <a:lnTo>
                    <a:pt x="155" y="212"/>
                  </a:lnTo>
                  <a:lnTo>
                    <a:pt x="155" y="214"/>
                  </a:lnTo>
                  <a:lnTo>
                    <a:pt x="157" y="214"/>
                  </a:lnTo>
                  <a:lnTo>
                    <a:pt x="157" y="216"/>
                  </a:lnTo>
                  <a:lnTo>
                    <a:pt x="157" y="218"/>
                  </a:lnTo>
                  <a:lnTo>
                    <a:pt x="157" y="220"/>
                  </a:lnTo>
                  <a:lnTo>
                    <a:pt x="157" y="222"/>
                  </a:lnTo>
                  <a:lnTo>
                    <a:pt x="157" y="224"/>
                  </a:lnTo>
                  <a:lnTo>
                    <a:pt x="157" y="226"/>
                  </a:lnTo>
                  <a:lnTo>
                    <a:pt x="157" y="228"/>
                  </a:lnTo>
                  <a:lnTo>
                    <a:pt x="157" y="230"/>
                  </a:lnTo>
                  <a:lnTo>
                    <a:pt x="157" y="232"/>
                  </a:lnTo>
                  <a:lnTo>
                    <a:pt x="157" y="234"/>
                  </a:lnTo>
                  <a:lnTo>
                    <a:pt x="159" y="234"/>
                  </a:lnTo>
                  <a:lnTo>
                    <a:pt x="159" y="236"/>
                  </a:lnTo>
                  <a:lnTo>
                    <a:pt x="159" y="238"/>
                  </a:lnTo>
                  <a:lnTo>
                    <a:pt x="159" y="240"/>
                  </a:lnTo>
                  <a:lnTo>
                    <a:pt x="159" y="242"/>
                  </a:lnTo>
                  <a:lnTo>
                    <a:pt x="159" y="244"/>
                  </a:lnTo>
                  <a:lnTo>
                    <a:pt x="159" y="246"/>
                  </a:lnTo>
                  <a:lnTo>
                    <a:pt x="159" y="248"/>
                  </a:lnTo>
                  <a:lnTo>
                    <a:pt x="159" y="250"/>
                  </a:lnTo>
                  <a:lnTo>
                    <a:pt x="159" y="252"/>
                  </a:lnTo>
                  <a:lnTo>
                    <a:pt x="159" y="254"/>
                  </a:lnTo>
                  <a:lnTo>
                    <a:pt x="161" y="254"/>
                  </a:lnTo>
                  <a:lnTo>
                    <a:pt x="159" y="254"/>
                  </a:lnTo>
                  <a:lnTo>
                    <a:pt x="159" y="254"/>
                  </a:lnTo>
                  <a:lnTo>
                    <a:pt x="161" y="254"/>
                  </a:lnTo>
                  <a:lnTo>
                    <a:pt x="159" y="254"/>
                  </a:lnTo>
                  <a:lnTo>
                    <a:pt x="159" y="256"/>
                  </a:lnTo>
                  <a:lnTo>
                    <a:pt x="159" y="254"/>
                  </a:lnTo>
                  <a:lnTo>
                    <a:pt x="157" y="254"/>
                  </a:lnTo>
                  <a:lnTo>
                    <a:pt x="157" y="256"/>
                  </a:lnTo>
                  <a:lnTo>
                    <a:pt x="155" y="256"/>
                  </a:lnTo>
                  <a:lnTo>
                    <a:pt x="153" y="256"/>
                  </a:lnTo>
                  <a:lnTo>
                    <a:pt x="151" y="256"/>
                  </a:lnTo>
                  <a:lnTo>
                    <a:pt x="151" y="254"/>
                  </a:lnTo>
                  <a:lnTo>
                    <a:pt x="149" y="254"/>
                  </a:lnTo>
                  <a:lnTo>
                    <a:pt x="151" y="254"/>
                  </a:lnTo>
                  <a:lnTo>
                    <a:pt x="149" y="254"/>
                  </a:lnTo>
                  <a:lnTo>
                    <a:pt x="147" y="254"/>
                  </a:lnTo>
                  <a:lnTo>
                    <a:pt x="145" y="254"/>
                  </a:lnTo>
                  <a:lnTo>
                    <a:pt x="145" y="256"/>
                  </a:lnTo>
                  <a:lnTo>
                    <a:pt x="143" y="256"/>
                  </a:lnTo>
                  <a:lnTo>
                    <a:pt x="141" y="256"/>
                  </a:lnTo>
                  <a:lnTo>
                    <a:pt x="141" y="254"/>
                  </a:lnTo>
                  <a:lnTo>
                    <a:pt x="139" y="254"/>
                  </a:lnTo>
                  <a:lnTo>
                    <a:pt x="141" y="254"/>
                  </a:lnTo>
                  <a:lnTo>
                    <a:pt x="139" y="254"/>
                  </a:lnTo>
                  <a:lnTo>
                    <a:pt x="139" y="254"/>
                  </a:lnTo>
                  <a:lnTo>
                    <a:pt x="137" y="254"/>
                  </a:lnTo>
                  <a:lnTo>
                    <a:pt x="135" y="254"/>
                  </a:lnTo>
                  <a:lnTo>
                    <a:pt x="133" y="254"/>
                  </a:lnTo>
                  <a:lnTo>
                    <a:pt x="131" y="254"/>
                  </a:lnTo>
                  <a:lnTo>
                    <a:pt x="131" y="254"/>
                  </a:lnTo>
                  <a:lnTo>
                    <a:pt x="131" y="254"/>
                  </a:lnTo>
                  <a:lnTo>
                    <a:pt x="133" y="254"/>
                  </a:lnTo>
                  <a:lnTo>
                    <a:pt x="135" y="254"/>
                  </a:lnTo>
                  <a:lnTo>
                    <a:pt x="137" y="254"/>
                  </a:lnTo>
                  <a:lnTo>
                    <a:pt x="137" y="254"/>
                  </a:lnTo>
                  <a:lnTo>
                    <a:pt x="135" y="254"/>
                  </a:lnTo>
                  <a:lnTo>
                    <a:pt x="133" y="254"/>
                  </a:lnTo>
                  <a:lnTo>
                    <a:pt x="131" y="254"/>
                  </a:lnTo>
                  <a:lnTo>
                    <a:pt x="131" y="254"/>
                  </a:lnTo>
                  <a:lnTo>
                    <a:pt x="129" y="254"/>
                  </a:lnTo>
                  <a:lnTo>
                    <a:pt x="127" y="256"/>
                  </a:lnTo>
                  <a:lnTo>
                    <a:pt x="125" y="256"/>
                  </a:lnTo>
                  <a:lnTo>
                    <a:pt x="123" y="256"/>
                  </a:lnTo>
                  <a:lnTo>
                    <a:pt x="123" y="258"/>
                  </a:lnTo>
                  <a:lnTo>
                    <a:pt x="121" y="258"/>
                  </a:lnTo>
                  <a:lnTo>
                    <a:pt x="119" y="258"/>
                  </a:lnTo>
                  <a:lnTo>
                    <a:pt x="119" y="260"/>
                  </a:lnTo>
                  <a:lnTo>
                    <a:pt x="117" y="260"/>
                  </a:lnTo>
                  <a:lnTo>
                    <a:pt x="117" y="258"/>
                  </a:lnTo>
                  <a:lnTo>
                    <a:pt x="117" y="256"/>
                  </a:lnTo>
                  <a:lnTo>
                    <a:pt x="115" y="256"/>
                  </a:lnTo>
                  <a:lnTo>
                    <a:pt x="113" y="256"/>
                  </a:lnTo>
                  <a:lnTo>
                    <a:pt x="113" y="258"/>
                  </a:lnTo>
                  <a:lnTo>
                    <a:pt x="115" y="258"/>
                  </a:lnTo>
                  <a:lnTo>
                    <a:pt x="115" y="260"/>
                  </a:lnTo>
                  <a:lnTo>
                    <a:pt x="113" y="260"/>
                  </a:lnTo>
                  <a:lnTo>
                    <a:pt x="113" y="262"/>
                  </a:lnTo>
                  <a:lnTo>
                    <a:pt x="111" y="262"/>
                  </a:lnTo>
                  <a:lnTo>
                    <a:pt x="111" y="264"/>
                  </a:lnTo>
                  <a:lnTo>
                    <a:pt x="109" y="264"/>
                  </a:lnTo>
                  <a:lnTo>
                    <a:pt x="109" y="266"/>
                  </a:lnTo>
                  <a:lnTo>
                    <a:pt x="109" y="268"/>
                  </a:lnTo>
                  <a:lnTo>
                    <a:pt x="109" y="266"/>
                  </a:lnTo>
                  <a:lnTo>
                    <a:pt x="107" y="266"/>
                  </a:lnTo>
                  <a:lnTo>
                    <a:pt x="107" y="268"/>
                  </a:lnTo>
                  <a:lnTo>
                    <a:pt x="105" y="266"/>
                  </a:lnTo>
                  <a:lnTo>
                    <a:pt x="105" y="268"/>
                  </a:lnTo>
                  <a:lnTo>
                    <a:pt x="105" y="266"/>
                  </a:lnTo>
                  <a:lnTo>
                    <a:pt x="103" y="266"/>
                  </a:lnTo>
                  <a:lnTo>
                    <a:pt x="103" y="268"/>
                  </a:lnTo>
                  <a:lnTo>
                    <a:pt x="103" y="266"/>
                  </a:lnTo>
                  <a:lnTo>
                    <a:pt x="101" y="266"/>
                  </a:lnTo>
                  <a:lnTo>
                    <a:pt x="101" y="264"/>
                  </a:lnTo>
                  <a:lnTo>
                    <a:pt x="99" y="264"/>
                  </a:lnTo>
                  <a:lnTo>
                    <a:pt x="99" y="262"/>
                  </a:lnTo>
                  <a:lnTo>
                    <a:pt x="99" y="260"/>
                  </a:lnTo>
                  <a:lnTo>
                    <a:pt x="99" y="258"/>
                  </a:lnTo>
                  <a:lnTo>
                    <a:pt x="99" y="256"/>
                  </a:lnTo>
                  <a:lnTo>
                    <a:pt x="97" y="256"/>
                  </a:lnTo>
                  <a:lnTo>
                    <a:pt x="97" y="254"/>
                  </a:lnTo>
                  <a:lnTo>
                    <a:pt x="97" y="254"/>
                  </a:lnTo>
                  <a:lnTo>
                    <a:pt x="95" y="252"/>
                  </a:lnTo>
                  <a:lnTo>
                    <a:pt x="93" y="252"/>
                  </a:lnTo>
                  <a:lnTo>
                    <a:pt x="93" y="250"/>
                  </a:lnTo>
                  <a:lnTo>
                    <a:pt x="91" y="250"/>
                  </a:lnTo>
                  <a:lnTo>
                    <a:pt x="91" y="248"/>
                  </a:lnTo>
                  <a:lnTo>
                    <a:pt x="91" y="246"/>
                  </a:lnTo>
                  <a:lnTo>
                    <a:pt x="91" y="248"/>
                  </a:lnTo>
                  <a:lnTo>
                    <a:pt x="91" y="246"/>
                  </a:lnTo>
                  <a:lnTo>
                    <a:pt x="89" y="246"/>
                  </a:lnTo>
                  <a:lnTo>
                    <a:pt x="91" y="246"/>
                  </a:lnTo>
                  <a:lnTo>
                    <a:pt x="89" y="246"/>
                  </a:lnTo>
                  <a:lnTo>
                    <a:pt x="89" y="244"/>
                  </a:lnTo>
                  <a:lnTo>
                    <a:pt x="89" y="242"/>
                  </a:lnTo>
                  <a:lnTo>
                    <a:pt x="87" y="242"/>
                  </a:lnTo>
                  <a:lnTo>
                    <a:pt x="89" y="242"/>
                  </a:lnTo>
                  <a:lnTo>
                    <a:pt x="89" y="240"/>
                  </a:lnTo>
                  <a:lnTo>
                    <a:pt x="89" y="242"/>
                  </a:lnTo>
                  <a:lnTo>
                    <a:pt x="87" y="242"/>
                  </a:lnTo>
                  <a:lnTo>
                    <a:pt x="89" y="240"/>
                  </a:lnTo>
                  <a:lnTo>
                    <a:pt x="87" y="240"/>
                  </a:lnTo>
                  <a:lnTo>
                    <a:pt x="89" y="240"/>
                  </a:lnTo>
                  <a:lnTo>
                    <a:pt x="87" y="240"/>
                  </a:lnTo>
                  <a:lnTo>
                    <a:pt x="89" y="238"/>
                  </a:lnTo>
                  <a:lnTo>
                    <a:pt x="89" y="236"/>
                  </a:lnTo>
                  <a:lnTo>
                    <a:pt x="89" y="234"/>
                  </a:lnTo>
                  <a:lnTo>
                    <a:pt x="91" y="232"/>
                  </a:lnTo>
                  <a:lnTo>
                    <a:pt x="91" y="230"/>
                  </a:lnTo>
                  <a:lnTo>
                    <a:pt x="91" y="228"/>
                  </a:lnTo>
                  <a:lnTo>
                    <a:pt x="93" y="228"/>
                  </a:lnTo>
                  <a:lnTo>
                    <a:pt x="91" y="228"/>
                  </a:lnTo>
                  <a:lnTo>
                    <a:pt x="91" y="226"/>
                  </a:lnTo>
                  <a:lnTo>
                    <a:pt x="93" y="226"/>
                  </a:lnTo>
                  <a:lnTo>
                    <a:pt x="93" y="224"/>
                  </a:lnTo>
                  <a:lnTo>
                    <a:pt x="93" y="222"/>
                  </a:lnTo>
                  <a:lnTo>
                    <a:pt x="91" y="222"/>
                  </a:lnTo>
                  <a:lnTo>
                    <a:pt x="89" y="222"/>
                  </a:lnTo>
                  <a:lnTo>
                    <a:pt x="87" y="222"/>
                  </a:lnTo>
                  <a:lnTo>
                    <a:pt x="85" y="222"/>
                  </a:lnTo>
                  <a:lnTo>
                    <a:pt x="83" y="222"/>
                  </a:lnTo>
                  <a:lnTo>
                    <a:pt x="83" y="222"/>
                  </a:lnTo>
                  <a:lnTo>
                    <a:pt x="81" y="222"/>
                  </a:lnTo>
                  <a:lnTo>
                    <a:pt x="79" y="222"/>
                  </a:lnTo>
                  <a:lnTo>
                    <a:pt x="77" y="222"/>
                  </a:lnTo>
                  <a:lnTo>
                    <a:pt x="75" y="222"/>
                  </a:lnTo>
                  <a:lnTo>
                    <a:pt x="73" y="222"/>
                  </a:lnTo>
                  <a:lnTo>
                    <a:pt x="71" y="222"/>
                  </a:lnTo>
                  <a:lnTo>
                    <a:pt x="69" y="222"/>
                  </a:lnTo>
                  <a:lnTo>
                    <a:pt x="67" y="222"/>
                  </a:lnTo>
                  <a:lnTo>
                    <a:pt x="64" y="222"/>
                  </a:lnTo>
                  <a:lnTo>
                    <a:pt x="62" y="222"/>
                  </a:lnTo>
                  <a:lnTo>
                    <a:pt x="60" y="222"/>
                  </a:lnTo>
                  <a:lnTo>
                    <a:pt x="58" y="222"/>
                  </a:lnTo>
                  <a:lnTo>
                    <a:pt x="56" y="222"/>
                  </a:lnTo>
                  <a:lnTo>
                    <a:pt x="54" y="222"/>
                  </a:lnTo>
                  <a:lnTo>
                    <a:pt x="52" y="222"/>
                  </a:lnTo>
                  <a:lnTo>
                    <a:pt x="50" y="222"/>
                  </a:lnTo>
                  <a:lnTo>
                    <a:pt x="46" y="224"/>
                  </a:lnTo>
                  <a:lnTo>
                    <a:pt x="44" y="224"/>
                  </a:lnTo>
                  <a:lnTo>
                    <a:pt x="42" y="224"/>
                  </a:lnTo>
                  <a:lnTo>
                    <a:pt x="40" y="224"/>
                  </a:lnTo>
                  <a:lnTo>
                    <a:pt x="38" y="224"/>
                  </a:lnTo>
                  <a:lnTo>
                    <a:pt x="36" y="224"/>
                  </a:lnTo>
                  <a:lnTo>
                    <a:pt x="34" y="224"/>
                  </a:lnTo>
                  <a:lnTo>
                    <a:pt x="34" y="224"/>
                  </a:lnTo>
                  <a:lnTo>
                    <a:pt x="32" y="224"/>
                  </a:lnTo>
                  <a:lnTo>
                    <a:pt x="30" y="224"/>
                  </a:lnTo>
                  <a:lnTo>
                    <a:pt x="26" y="224"/>
                  </a:lnTo>
                  <a:lnTo>
                    <a:pt x="24" y="224"/>
                  </a:lnTo>
                  <a:lnTo>
                    <a:pt x="22" y="224"/>
                  </a:lnTo>
                  <a:lnTo>
                    <a:pt x="20" y="224"/>
                  </a:lnTo>
                  <a:lnTo>
                    <a:pt x="18" y="224"/>
                  </a:lnTo>
                  <a:lnTo>
                    <a:pt x="16" y="224"/>
                  </a:lnTo>
                  <a:lnTo>
                    <a:pt x="14" y="224"/>
                  </a:lnTo>
                  <a:lnTo>
                    <a:pt x="12" y="224"/>
                  </a:lnTo>
                  <a:lnTo>
                    <a:pt x="10" y="224"/>
                  </a:lnTo>
                  <a:lnTo>
                    <a:pt x="8" y="224"/>
                  </a:lnTo>
                  <a:lnTo>
                    <a:pt x="6" y="224"/>
                  </a:lnTo>
                  <a:lnTo>
                    <a:pt x="4" y="224"/>
                  </a:lnTo>
                  <a:lnTo>
                    <a:pt x="2" y="224"/>
                  </a:lnTo>
                  <a:lnTo>
                    <a:pt x="0" y="224"/>
                  </a:lnTo>
                  <a:lnTo>
                    <a:pt x="2" y="224"/>
                  </a:lnTo>
                  <a:lnTo>
                    <a:pt x="2" y="222"/>
                  </a:lnTo>
                  <a:lnTo>
                    <a:pt x="4" y="222"/>
                  </a:lnTo>
                  <a:lnTo>
                    <a:pt x="4" y="220"/>
                  </a:lnTo>
                  <a:lnTo>
                    <a:pt x="4" y="218"/>
                  </a:lnTo>
                  <a:lnTo>
                    <a:pt x="2" y="218"/>
                  </a:lnTo>
                  <a:lnTo>
                    <a:pt x="2" y="216"/>
                  </a:lnTo>
                  <a:lnTo>
                    <a:pt x="2" y="214"/>
                  </a:lnTo>
                  <a:lnTo>
                    <a:pt x="2" y="212"/>
                  </a:lnTo>
                  <a:lnTo>
                    <a:pt x="2" y="210"/>
                  </a:lnTo>
                  <a:lnTo>
                    <a:pt x="0" y="210"/>
                  </a:lnTo>
                  <a:lnTo>
                    <a:pt x="0" y="208"/>
                  </a:lnTo>
                  <a:lnTo>
                    <a:pt x="2" y="208"/>
                  </a:lnTo>
                  <a:lnTo>
                    <a:pt x="4" y="208"/>
                  </a:lnTo>
                  <a:lnTo>
                    <a:pt x="6" y="208"/>
                  </a:lnTo>
                  <a:lnTo>
                    <a:pt x="6" y="206"/>
                  </a:lnTo>
                  <a:lnTo>
                    <a:pt x="6" y="206"/>
                  </a:lnTo>
                  <a:lnTo>
                    <a:pt x="4" y="206"/>
                  </a:lnTo>
                  <a:lnTo>
                    <a:pt x="4" y="204"/>
                  </a:lnTo>
                  <a:lnTo>
                    <a:pt x="6" y="204"/>
                  </a:lnTo>
                  <a:lnTo>
                    <a:pt x="4" y="204"/>
                  </a:lnTo>
                  <a:lnTo>
                    <a:pt x="4" y="202"/>
                  </a:lnTo>
                  <a:lnTo>
                    <a:pt x="4" y="200"/>
                  </a:lnTo>
                  <a:lnTo>
                    <a:pt x="6" y="200"/>
                  </a:lnTo>
                  <a:lnTo>
                    <a:pt x="6" y="202"/>
                  </a:lnTo>
                  <a:lnTo>
                    <a:pt x="6" y="204"/>
                  </a:lnTo>
                  <a:lnTo>
                    <a:pt x="8" y="204"/>
                  </a:lnTo>
                  <a:lnTo>
                    <a:pt x="10" y="204"/>
                  </a:lnTo>
                  <a:lnTo>
                    <a:pt x="10" y="202"/>
                  </a:lnTo>
                  <a:lnTo>
                    <a:pt x="8" y="202"/>
                  </a:lnTo>
                  <a:lnTo>
                    <a:pt x="8" y="200"/>
                  </a:lnTo>
                  <a:lnTo>
                    <a:pt x="6" y="200"/>
                  </a:lnTo>
                  <a:lnTo>
                    <a:pt x="6" y="198"/>
                  </a:lnTo>
                  <a:lnTo>
                    <a:pt x="6" y="196"/>
                  </a:lnTo>
                  <a:lnTo>
                    <a:pt x="6" y="194"/>
                  </a:lnTo>
                  <a:lnTo>
                    <a:pt x="8" y="194"/>
                  </a:lnTo>
                  <a:lnTo>
                    <a:pt x="10" y="194"/>
                  </a:lnTo>
                  <a:lnTo>
                    <a:pt x="12" y="194"/>
                  </a:lnTo>
                  <a:lnTo>
                    <a:pt x="12" y="192"/>
                  </a:lnTo>
                  <a:lnTo>
                    <a:pt x="12" y="190"/>
                  </a:lnTo>
                  <a:lnTo>
                    <a:pt x="10" y="190"/>
                  </a:lnTo>
                  <a:lnTo>
                    <a:pt x="10" y="192"/>
                  </a:lnTo>
                  <a:lnTo>
                    <a:pt x="8" y="192"/>
                  </a:lnTo>
                  <a:lnTo>
                    <a:pt x="8" y="190"/>
                  </a:lnTo>
                  <a:lnTo>
                    <a:pt x="6" y="190"/>
                  </a:lnTo>
                  <a:lnTo>
                    <a:pt x="6" y="188"/>
                  </a:lnTo>
                  <a:lnTo>
                    <a:pt x="8" y="188"/>
                  </a:lnTo>
                  <a:lnTo>
                    <a:pt x="8" y="190"/>
                  </a:lnTo>
                  <a:lnTo>
                    <a:pt x="10" y="190"/>
                  </a:lnTo>
                  <a:lnTo>
                    <a:pt x="12" y="190"/>
                  </a:lnTo>
                  <a:lnTo>
                    <a:pt x="12" y="188"/>
                  </a:lnTo>
                  <a:lnTo>
                    <a:pt x="12" y="186"/>
                  </a:lnTo>
                  <a:lnTo>
                    <a:pt x="12" y="184"/>
                  </a:lnTo>
                  <a:lnTo>
                    <a:pt x="14" y="184"/>
                  </a:lnTo>
                  <a:lnTo>
                    <a:pt x="14" y="182"/>
                  </a:lnTo>
                  <a:lnTo>
                    <a:pt x="16" y="182"/>
                  </a:lnTo>
                  <a:lnTo>
                    <a:pt x="18" y="182"/>
                  </a:lnTo>
                  <a:lnTo>
                    <a:pt x="20" y="182"/>
                  </a:lnTo>
                  <a:lnTo>
                    <a:pt x="18" y="180"/>
                  </a:lnTo>
                  <a:lnTo>
                    <a:pt x="16" y="180"/>
                  </a:lnTo>
                  <a:lnTo>
                    <a:pt x="16" y="182"/>
                  </a:lnTo>
                  <a:lnTo>
                    <a:pt x="14" y="182"/>
                  </a:lnTo>
                  <a:lnTo>
                    <a:pt x="14" y="180"/>
                  </a:lnTo>
                  <a:lnTo>
                    <a:pt x="14" y="178"/>
                  </a:lnTo>
                  <a:lnTo>
                    <a:pt x="14" y="176"/>
                  </a:lnTo>
                  <a:lnTo>
                    <a:pt x="16" y="176"/>
                  </a:lnTo>
                  <a:lnTo>
                    <a:pt x="18" y="176"/>
                  </a:lnTo>
                  <a:lnTo>
                    <a:pt x="18" y="178"/>
                  </a:lnTo>
                  <a:lnTo>
                    <a:pt x="20" y="178"/>
                  </a:lnTo>
                  <a:lnTo>
                    <a:pt x="20" y="176"/>
                  </a:lnTo>
                  <a:lnTo>
                    <a:pt x="18" y="176"/>
                  </a:lnTo>
                  <a:lnTo>
                    <a:pt x="20" y="174"/>
                  </a:lnTo>
                  <a:lnTo>
                    <a:pt x="22" y="174"/>
                  </a:lnTo>
                  <a:lnTo>
                    <a:pt x="22" y="172"/>
                  </a:lnTo>
                  <a:lnTo>
                    <a:pt x="22" y="170"/>
                  </a:lnTo>
                  <a:lnTo>
                    <a:pt x="24" y="168"/>
                  </a:lnTo>
                  <a:lnTo>
                    <a:pt x="26" y="168"/>
                  </a:lnTo>
                  <a:lnTo>
                    <a:pt x="28" y="168"/>
                  </a:lnTo>
                  <a:lnTo>
                    <a:pt x="28" y="166"/>
                  </a:lnTo>
                  <a:lnTo>
                    <a:pt x="26" y="166"/>
                  </a:lnTo>
                  <a:lnTo>
                    <a:pt x="26" y="164"/>
                  </a:lnTo>
                  <a:lnTo>
                    <a:pt x="24" y="164"/>
                  </a:lnTo>
                  <a:lnTo>
                    <a:pt x="24" y="162"/>
                  </a:lnTo>
                  <a:lnTo>
                    <a:pt x="26" y="162"/>
                  </a:lnTo>
                  <a:lnTo>
                    <a:pt x="26" y="164"/>
                  </a:lnTo>
                  <a:lnTo>
                    <a:pt x="28" y="164"/>
                  </a:lnTo>
                  <a:lnTo>
                    <a:pt x="28" y="162"/>
                  </a:lnTo>
                  <a:lnTo>
                    <a:pt x="30" y="162"/>
                  </a:lnTo>
                  <a:lnTo>
                    <a:pt x="30" y="160"/>
                  </a:lnTo>
                  <a:lnTo>
                    <a:pt x="32" y="160"/>
                  </a:lnTo>
                  <a:lnTo>
                    <a:pt x="32" y="158"/>
                  </a:lnTo>
                  <a:lnTo>
                    <a:pt x="30" y="158"/>
                  </a:lnTo>
                  <a:lnTo>
                    <a:pt x="28" y="158"/>
                  </a:lnTo>
                  <a:lnTo>
                    <a:pt x="28" y="158"/>
                  </a:lnTo>
                  <a:lnTo>
                    <a:pt x="30" y="158"/>
                  </a:lnTo>
                  <a:lnTo>
                    <a:pt x="30" y="160"/>
                  </a:lnTo>
                  <a:lnTo>
                    <a:pt x="28" y="160"/>
                  </a:lnTo>
                  <a:lnTo>
                    <a:pt x="26" y="160"/>
                  </a:lnTo>
                  <a:lnTo>
                    <a:pt x="24" y="160"/>
                  </a:lnTo>
                  <a:lnTo>
                    <a:pt x="24" y="158"/>
                  </a:lnTo>
                  <a:lnTo>
                    <a:pt x="24" y="158"/>
                  </a:lnTo>
                  <a:lnTo>
                    <a:pt x="26" y="158"/>
                  </a:lnTo>
                  <a:lnTo>
                    <a:pt x="26" y="156"/>
                  </a:lnTo>
                  <a:lnTo>
                    <a:pt x="28" y="156"/>
                  </a:lnTo>
                  <a:lnTo>
                    <a:pt x="30" y="156"/>
                  </a:lnTo>
                  <a:lnTo>
                    <a:pt x="32" y="156"/>
                  </a:lnTo>
                  <a:lnTo>
                    <a:pt x="32" y="158"/>
                  </a:lnTo>
                  <a:lnTo>
                    <a:pt x="32" y="156"/>
                  </a:lnTo>
                  <a:lnTo>
                    <a:pt x="32" y="154"/>
                  </a:lnTo>
                  <a:lnTo>
                    <a:pt x="34" y="154"/>
                  </a:lnTo>
                  <a:lnTo>
                    <a:pt x="32" y="154"/>
                  </a:lnTo>
                  <a:lnTo>
                    <a:pt x="32" y="152"/>
                  </a:lnTo>
                  <a:lnTo>
                    <a:pt x="34" y="152"/>
                  </a:lnTo>
                  <a:lnTo>
                    <a:pt x="34" y="152"/>
                  </a:lnTo>
                  <a:lnTo>
                    <a:pt x="34" y="150"/>
                  </a:lnTo>
                  <a:lnTo>
                    <a:pt x="36" y="148"/>
                  </a:lnTo>
                  <a:lnTo>
                    <a:pt x="34" y="148"/>
                  </a:lnTo>
                  <a:lnTo>
                    <a:pt x="34" y="150"/>
                  </a:lnTo>
                  <a:lnTo>
                    <a:pt x="34" y="150"/>
                  </a:lnTo>
                  <a:lnTo>
                    <a:pt x="32" y="150"/>
                  </a:lnTo>
                  <a:lnTo>
                    <a:pt x="32" y="148"/>
                  </a:lnTo>
                  <a:lnTo>
                    <a:pt x="32" y="146"/>
                  </a:lnTo>
                  <a:lnTo>
                    <a:pt x="34" y="146"/>
                  </a:lnTo>
                  <a:lnTo>
                    <a:pt x="34" y="144"/>
                  </a:lnTo>
                  <a:lnTo>
                    <a:pt x="32" y="144"/>
                  </a:lnTo>
                  <a:lnTo>
                    <a:pt x="30" y="144"/>
                  </a:lnTo>
                  <a:lnTo>
                    <a:pt x="28" y="144"/>
                  </a:lnTo>
                  <a:lnTo>
                    <a:pt x="26" y="142"/>
                  </a:lnTo>
                  <a:lnTo>
                    <a:pt x="26" y="140"/>
                  </a:lnTo>
                  <a:lnTo>
                    <a:pt x="26" y="138"/>
                  </a:lnTo>
                  <a:lnTo>
                    <a:pt x="28" y="138"/>
                  </a:lnTo>
                  <a:lnTo>
                    <a:pt x="28" y="140"/>
                  </a:lnTo>
                  <a:lnTo>
                    <a:pt x="30" y="140"/>
                  </a:lnTo>
                  <a:lnTo>
                    <a:pt x="30" y="142"/>
                  </a:lnTo>
                  <a:lnTo>
                    <a:pt x="32" y="142"/>
                  </a:lnTo>
                  <a:lnTo>
                    <a:pt x="32" y="140"/>
                  </a:lnTo>
                  <a:lnTo>
                    <a:pt x="30" y="140"/>
                  </a:lnTo>
                  <a:lnTo>
                    <a:pt x="30" y="138"/>
                  </a:lnTo>
                  <a:lnTo>
                    <a:pt x="28" y="138"/>
                  </a:lnTo>
                  <a:lnTo>
                    <a:pt x="28" y="136"/>
                  </a:lnTo>
                  <a:lnTo>
                    <a:pt x="30" y="136"/>
                  </a:lnTo>
                  <a:lnTo>
                    <a:pt x="30" y="134"/>
                  </a:lnTo>
                  <a:lnTo>
                    <a:pt x="32" y="134"/>
                  </a:lnTo>
                  <a:lnTo>
                    <a:pt x="30" y="132"/>
                  </a:lnTo>
                  <a:lnTo>
                    <a:pt x="30" y="134"/>
                  </a:lnTo>
                  <a:lnTo>
                    <a:pt x="28" y="134"/>
                  </a:lnTo>
                  <a:lnTo>
                    <a:pt x="26" y="134"/>
                  </a:lnTo>
                  <a:lnTo>
                    <a:pt x="26" y="136"/>
                  </a:lnTo>
                  <a:lnTo>
                    <a:pt x="24" y="136"/>
                  </a:lnTo>
                  <a:lnTo>
                    <a:pt x="24" y="134"/>
                  </a:lnTo>
                  <a:lnTo>
                    <a:pt x="24" y="132"/>
                  </a:lnTo>
                  <a:lnTo>
                    <a:pt x="26" y="132"/>
                  </a:lnTo>
                  <a:lnTo>
                    <a:pt x="26" y="130"/>
                  </a:lnTo>
                  <a:lnTo>
                    <a:pt x="28" y="130"/>
                  </a:lnTo>
                  <a:lnTo>
                    <a:pt x="28" y="128"/>
                  </a:lnTo>
                  <a:lnTo>
                    <a:pt x="26" y="126"/>
                  </a:lnTo>
                  <a:lnTo>
                    <a:pt x="24" y="126"/>
                  </a:lnTo>
                  <a:lnTo>
                    <a:pt x="24" y="124"/>
                  </a:lnTo>
                  <a:lnTo>
                    <a:pt x="24" y="122"/>
                  </a:lnTo>
                  <a:lnTo>
                    <a:pt x="24" y="120"/>
                  </a:lnTo>
                  <a:lnTo>
                    <a:pt x="26" y="120"/>
                  </a:lnTo>
                  <a:lnTo>
                    <a:pt x="26" y="118"/>
                  </a:lnTo>
                  <a:lnTo>
                    <a:pt x="28" y="118"/>
                  </a:lnTo>
                  <a:lnTo>
                    <a:pt x="28" y="116"/>
                  </a:lnTo>
                  <a:lnTo>
                    <a:pt x="28" y="114"/>
                  </a:lnTo>
                  <a:lnTo>
                    <a:pt x="26" y="114"/>
                  </a:lnTo>
                  <a:lnTo>
                    <a:pt x="26" y="112"/>
                  </a:lnTo>
                  <a:lnTo>
                    <a:pt x="24" y="112"/>
                  </a:lnTo>
                  <a:lnTo>
                    <a:pt x="24" y="114"/>
                  </a:lnTo>
                  <a:lnTo>
                    <a:pt x="24" y="116"/>
                  </a:lnTo>
                  <a:lnTo>
                    <a:pt x="24" y="118"/>
                  </a:lnTo>
                  <a:lnTo>
                    <a:pt x="22" y="118"/>
                  </a:lnTo>
                  <a:lnTo>
                    <a:pt x="22" y="116"/>
                  </a:lnTo>
                  <a:lnTo>
                    <a:pt x="20" y="116"/>
                  </a:lnTo>
                  <a:lnTo>
                    <a:pt x="22" y="114"/>
                  </a:lnTo>
                  <a:lnTo>
                    <a:pt x="22" y="112"/>
                  </a:lnTo>
                  <a:lnTo>
                    <a:pt x="24" y="110"/>
                  </a:lnTo>
                  <a:lnTo>
                    <a:pt x="26" y="110"/>
                  </a:lnTo>
                  <a:lnTo>
                    <a:pt x="24" y="110"/>
                  </a:lnTo>
                  <a:lnTo>
                    <a:pt x="24" y="108"/>
                  </a:lnTo>
                  <a:lnTo>
                    <a:pt x="22" y="108"/>
                  </a:lnTo>
                  <a:lnTo>
                    <a:pt x="22" y="106"/>
                  </a:lnTo>
                  <a:lnTo>
                    <a:pt x="24" y="106"/>
                  </a:lnTo>
                  <a:lnTo>
                    <a:pt x="26" y="106"/>
                  </a:lnTo>
                  <a:lnTo>
                    <a:pt x="26" y="104"/>
                  </a:lnTo>
                  <a:lnTo>
                    <a:pt x="26" y="102"/>
                  </a:lnTo>
                  <a:lnTo>
                    <a:pt x="26" y="100"/>
                  </a:lnTo>
                  <a:lnTo>
                    <a:pt x="28" y="100"/>
                  </a:lnTo>
                  <a:lnTo>
                    <a:pt x="28" y="98"/>
                  </a:lnTo>
                  <a:lnTo>
                    <a:pt x="26" y="98"/>
                  </a:lnTo>
                  <a:lnTo>
                    <a:pt x="26" y="100"/>
                  </a:lnTo>
                  <a:lnTo>
                    <a:pt x="26" y="98"/>
                  </a:lnTo>
                  <a:lnTo>
                    <a:pt x="24" y="98"/>
                  </a:lnTo>
                  <a:lnTo>
                    <a:pt x="24" y="96"/>
                  </a:lnTo>
                  <a:lnTo>
                    <a:pt x="24" y="94"/>
                  </a:lnTo>
                  <a:lnTo>
                    <a:pt x="24" y="92"/>
                  </a:lnTo>
                  <a:lnTo>
                    <a:pt x="26" y="92"/>
                  </a:lnTo>
                  <a:lnTo>
                    <a:pt x="26" y="90"/>
                  </a:lnTo>
                  <a:lnTo>
                    <a:pt x="28" y="90"/>
                  </a:lnTo>
                  <a:lnTo>
                    <a:pt x="28" y="88"/>
                  </a:lnTo>
                  <a:lnTo>
                    <a:pt x="26" y="88"/>
                  </a:lnTo>
                  <a:lnTo>
                    <a:pt x="26" y="90"/>
                  </a:lnTo>
                  <a:lnTo>
                    <a:pt x="26" y="92"/>
                  </a:lnTo>
                  <a:lnTo>
                    <a:pt x="24" y="92"/>
                  </a:lnTo>
                  <a:lnTo>
                    <a:pt x="22" y="92"/>
                  </a:lnTo>
                  <a:lnTo>
                    <a:pt x="20" y="92"/>
                  </a:lnTo>
                  <a:lnTo>
                    <a:pt x="20" y="90"/>
                  </a:lnTo>
                  <a:lnTo>
                    <a:pt x="22" y="90"/>
                  </a:lnTo>
                  <a:lnTo>
                    <a:pt x="24" y="90"/>
                  </a:lnTo>
                  <a:lnTo>
                    <a:pt x="24" y="88"/>
                  </a:lnTo>
                  <a:lnTo>
                    <a:pt x="24" y="86"/>
                  </a:lnTo>
                  <a:lnTo>
                    <a:pt x="22" y="86"/>
                  </a:lnTo>
                  <a:lnTo>
                    <a:pt x="22" y="88"/>
                  </a:lnTo>
                  <a:lnTo>
                    <a:pt x="20" y="88"/>
                  </a:lnTo>
                  <a:lnTo>
                    <a:pt x="20" y="90"/>
                  </a:lnTo>
                  <a:lnTo>
                    <a:pt x="20" y="88"/>
                  </a:lnTo>
                  <a:lnTo>
                    <a:pt x="20" y="86"/>
                  </a:lnTo>
                  <a:lnTo>
                    <a:pt x="22" y="86"/>
                  </a:lnTo>
                  <a:lnTo>
                    <a:pt x="22" y="84"/>
                  </a:lnTo>
                  <a:lnTo>
                    <a:pt x="20" y="84"/>
                  </a:lnTo>
                  <a:lnTo>
                    <a:pt x="20" y="82"/>
                  </a:lnTo>
                  <a:lnTo>
                    <a:pt x="22" y="82"/>
                  </a:lnTo>
                  <a:lnTo>
                    <a:pt x="22" y="80"/>
                  </a:lnTo>
                  <a:lnTo>
                    <a:pt x="24" y="80"/>
                  </a:lnTo>
                  <a:lnTo>
                    <a:pt x="24" y="78"/>
                  </a:lnTo>
                  <a:lnTo>
                    <a:pt x="22" y="78"/>
                  </a:lnTo>
                  <a:lnTo>
                    <a:pt x="22" y="76"/>
                  </a:lnTo>
                  <a:lnTo>
                    <a:pt x="20" y="76"/>
                  </a:lnTo>
                  <a:lnTo>
                    <a:pt x="20" y="74"/>
                  </a:lnTo>
                  <a:lnTo>
                    <a:pt x="22" y="74"/>
                  </a:lnTo>
                  <a:lnTo>
                    <a:pt x="24" y="74"/>
                  </a:lnTo>
                  <a:lnTo>
                    <a:pt x="24" y="76"/>
                  </a:lnTo>
                  <a:lnTo>
                    <a:pt x="26" y="76"/>
                  </a:lnTo>
                  <a:lnTo>
                    <a:pt x="28" y="76"/>
                  </a:lnTo>
                  <a:lnTo>
                    <a:pt x="28" y="74"/>
                  </a:lnTo>
                  <a:lnTo>
                    <a:pt x="30" y="74"/>
                  </a:lnTo>
                  <a:lnTo>
                    <a:pt x="28" y="74"/>
                  </a:lnTo>
                  <a:lnTo>
                    <a:pt x="28" y="72"/>
                  </a:lnTo>
                  <a:lnTo>
                    <a:pt x="26" y="72"/>
                  </a:lnTo>
                  <a:lnTo>
                    <a:pt x="26" y="74"/>
                  </a:lnTo>
                  <a:lnTo>
                    <a:pt x="24" y="74"/>
                  </a:lnTo>
                  <a:lnTo>
                    <a:pt x="24" y="72"/>
                  </a:lnTo>
                  <a:lnTo>
                    <a:pt x="24" y="70"/>
                  </a:lnTo>
                  <a:lnTo>
                    <a:pt x="26" y="70"/>
                  </a:lnTo>
                  <a:lnTo>
                    <a:pt x="28" y="70"/>
                  </a:lnTo>
                  <a:lnTo>
                    <a:pt x="30" y="70"/>
                  </a:lnTo>
                  <a:lnTo>
                    <a:pt x="30" y="68"/>
                  </a:lnTo>
                  <a:lnTo>
                    <a:pt x="28" y="68"/>
                  </a:lnTo>
                  <a:lnTo>
                    <a:pt x="28" y="66"/>
                  </a:lnTo>
                  <a:lnTo>
                    <a:pt x="26" y="66"/>
                  </a:lnTo>
                  <a:lnTo>
                    <a:pt x="26" y="64"/>
                  </a:lnTo>
                  <a:lnTo>
                    <a:pt x="28" y="64"/>
                  </a:lnTo>
                  <a:lnTo>
                    <a:pt x="28" y="62"/>
                  </a:lnTo>
                  <a:lnTo>
                    <a:pt x="30" y="62"/>
                  </a:lnTo>
                  <a:lnTo>
                    <a:pt x="30" y="62"/>
                  </a:lnTo>
                  <a:lnTo>
                    <a:pt x="28" y="62"/>
                  </a:lnTo>
                  <a:lnTo>
                    <a:pt x="26" y="62"/>
                  </a:lnTo>
                  <a:lnTo>
                    <a:pt x="26" y="60"/>
                  </a:lnTo>
                  <a:lnTo>
                    <a:pt x="28" y="60"/>
                  </a:lnTo>
                  <a:lnTo>
                    <a:pt x="28" y="58"/>
                  </a:lnTo>
                  <a:lnTo>
                    <a:pt x="30" y="58"/>
                  </a:lnTo>
                  <a:lnTo>
                    <a:pt x="30" y="60"/>
                  </a:lnTo>
                  <a:lnTo>
                    <a:pt x="32" y="60"/>
                  </a:lnTo>
                  <a:lnTo>
                    <a:pt x="32" y="58"/>
                  </a:lnTo>
                  <a:lnTo>
                    <a:pt x="30" y="58"/>
                  </a:lnTo>
                  <a:lnTo>
                    <a:pt x="32" y="58"/>
                  </a:lnTo>
                  <a:lnTo>
                    <a:pt x="34" y="58"/>
                  </a:lnTo>
                  <a:lnTo>
                    <a:pt x="34" y="58"/>
                  </a:lnTo>
                  <a:lnTo>
                    <a:pt x="34" y="56"/>
                  </a:lnTo>
                  <a:lnTo>
                    <a:pt x="34" y="54"/>
                  </a:lnTo>
                  <a:lnTo>
                    <a:pt x="34" y="52"/>
                  </a:lnTo>
                  <a:lnTo>
                    <a:pt x="34" y="54"/>
                  </a:lnTo>
                  <a:lnTo>
                    <a:pt x="34" y="52"/>
                  </a:lnTo>
                  <a:lnTo>
                    <a:pt x="32" y="52"/>
                  </a:lnTo>
                  <a:lnTo>
                    <a:pt x="32" y="50"/>
                  </a:lnTo>
                  <a:lnTo>
                    <a:pt x="34" y="50"/>
                  </a:lnTo>
                  <a:lnTo>
                    <a:pt x="34" y="50"/>
                  </a:lnTo>
                  <a:lnTo>
                    <a:pt x="36" y="50"/>
                  </a:lnTo>
                  <a:lnTo>
                    <a:pt x="38" y="50"/>
                  </a:lnTo>
                  <a:lnTo>
                    <a:pt x="38" y="48"/>
                  </a:lnTo>
                  <a:lnTo>
                    <a:pt x="36" y="48"/>
                  </a:lnTo>
                  <a:lnTo>
                    <a:pt x="34" y="48"/>
                  </a:lnTo>
                  <a:lnTo>
                    <a:pt x="34" y="48"/>
                  </a:lnTo>
                  <a:lnTo>
                    <a:pt x="34" y="46"/>
                  </a:lnTo>
                  <a:lnTo>
                    <a:pt x="32" y="46"/>
                  </a:lnTo>
                  <a:lnTo>
                    <a:pt x="34" y="44"/>
                  </a:lnTo>
                  <a:lnTo>
                    <a:pt x="34" y="46"/>
                  </a:lnTo>
                  <a:lnTo>
                    <a:pt x="34" y="46"/>
                  </a:lnTo>
                  <a:lnTo>
                    <a:pt x="36" y="46"/>
                  </a:lnTo>
                  <a:lnTo>
                    <a:pt x="36" y="44"/>
                  </a:lnTo>
                  <a:lnTo>
                    <a:pt x="36" y="42"/>
                  </a:lnTo>
                  <a:lnTo>
                    <a:pt x="38" y="42"/>
                  </a:lnTo>
                  <a:lnTo>
                    <a:pt x="40" y="42"/>
                  </a:lnTo>
                  <a:lnTo>
                    <a:pt x="40" y="40"/>
                  </a:lnTo>
                  <a:lnTo>
                    <a:pt x="40" y="38"/>
                  </a:lnTo>
                  <a:lnTo>
                    <a:pt x="38" y="38"/>
                  </a:lnTo>
                  <a:lnTo>
                    <a:pt x="40" y="38"/>
                  </a:lnTo>
                  <a:lnTo>
                    <a:pt x="42" y="38"/>
                  </a:lnTo>
                  <a:lnTo>
                    <a:pt x="44" y="38"/>
                  </a:lnTo>
                  <a:lnTo>
                    <a:pt x="42" y="38"/>
                  </a:lnTo>
                  <a:lnTo>
                    <a:pt x="42" y="40"/>
                  </a:lnTo>
                  <a:lnTo>
                    <a:pt x="44" y="40"/>
                  </a:lnTo>
                  <a:lnTo>
                    <a:pt x="44" y="38"/>
                  </a:lnTo>
                  <a:lnTo>
                    <a:pt x="44" y="36"/>
                  </a:lnTo>
                  <a:lnTo>
                    <a:pt x="46" y="36"/>
                  </a:lnTo>
                  <a:lnTo>
                    <a:pt x="48" y="36"/>
                  </a:lnTo>
                  <a:lnTo>
                    <a:pt x="48" y="34"/>
                  </a:lnTo>
                  <a:lnTo>
                    <a:pt x="48" y="32"/>
                  </a:lnTo>
                  <a:lnTo>
                    <a:pt x="48" y="30"/>
                  </a:lnTo>
                  <a:lnTo>
                    <a:pt x="48" y="28"/>
                  </a:lnTo>
                  <a:lnTo>
                    <a:pt x="50" y="28"/>
                  </a:lnTo>
                  <a:lnTo>
                    <a:pt x="50" y="26"/>
                  </a:lnTo>
                  <a:lnTo>
                    <a:pt x="48" y="26"/>
                  </a:lnTo>
                  <a:lnTo>
                    <a:pt x="48" y="24"/>
                  </a:lnTo>
                  <a:lnTo>
                    <a:pt x="48" y="22"/>
                  </a:lnTo>
                  <a:lnTo>
                    <a:pt x="48" y="20"/>
                  </a:lnTo>
                  <a:lnTo>
                    <a:pt x="46" y="20"/>
                  </a:lnTo>
                  <a:lnTo>
                    <a:pt x="48" y="20"/>
                  </a:lnTo>
                  <a:lnTo>
                    <a:pt x="48" y="18"/>
                  </a:lnTo>
                  <a:lnTo>
                    <a:pt x="48" y="20"/>
                  </a:lnTo>
                  <a:lnTo>
                    <a:pt x="50" y="20"/>
                  </a:lnTo>
                  <a:lnTo>
                    <a:pt x="48" y="20"/>
                  </a:lnTo>
                  <a:lnTo>
                    <a:pt x="48" y="22"/>
                  </a:lnTo>
                  <a:lnTo>
                    <a:pt x="50" y="22"/>
                  </a:lnTo>
                  <a:lnTo>
                    <a:pt x="52" y="22"/>
                  </a:lnTo>
                  <a:lnTo>
                    <a:pt x="52" y="20"/>
                  </a:lnTo>
                  <a:lnTo>
                    <a:pt x="52" y="18"/>
                  </a:lnTo>
                  <a:lnTo>
                    <a:pt x="50" y="18"/>
                  </a:lnTo>
                  <a:lnTo>
                    <a:pt x="48" y="18"/>
                  </a:lnTo>
                  <a:lnTo>
                    <a:pt x="48" y="16"/>
                  </a:lnTo>
                  <a:lnTo>
                    <a:pt x="50" y="16"/>
                  </a:lnTo>
                  <a:lnTo>
                    <a:pt x="50" y="14"/>
                  </a:lnTo>
                  <a:lnTo>
                    <a:pt x="48" y="14"/>
                  </a:lnTo>
                  <a:lnTo>
                    <a:pt x="50" y="14"/>
                  </a:lnTo>
                  <a:lnTo>
                    <a:pt x="50" y="14"/>
                  </a:lnTo>
                  <a:lnTo>
                    <a:pt x="50" y="16"/>
                  </a:lnTo>
                  <a:lnTo>
                    <a:pt x="50" y="18"/>
                  </a:lnTo>
                  <a:lnTo>
                    <a:pt x="52" y="18"/>
                  </a:lnTo>
                  <a:lnTo>
                    <a:pt x="52" y="16"/>
                  </a:lnTo>
                  <a:lnTo>
                    <a:pt x="54" y="16"/>
                  </a:lnTo>
                  <a:lnTo>
                    <a:pt x="52" y="14"/>
                  </a:lnTo>
                  <a:lnTo>
                    <a:pt x="52" y="14"/>
                  </a:lnTo>
                  <a:lnTo>
                    <a:pt x="52" y="12"/>
                  </a:lnTo>
                  <a:lnTo>
                    <a:pt x="52" y="10"/>
                  </a:lnTo>
                  <a:lnTo>
                    <a:pt x="54" y="10"/>
                  </a:lnTo>
                  <a:lnTo>
                    <a:pt x="54" y="12"/>
                  </a:lnTo>
                  <a:lnTo>
                    <a:pt x="56" y="12"/>
                  </a:lnTo>
                  <a:lnTo>
                    <a:pt x="58" y="12"/>
                  </a:lnTo>
                  <a:lnTo>
                    <a:pt x="60" y="12"/>
                  </a:lnTo>
                  <a:lnTo>
                    <a:pt x="60" y="10"/>
                  </a:lnTo>
                  <a:lnTo>
                    <a:pt x="62" y="10"/>
                  </a:lnTo>
                  <a:lnTo>
                    <a:pt x="62" y="8"/>
                  </a:lnTo>
                  <a:lnTo>
                    <a:pt x="62" y="6"/>
                  </a:lnTo>
                  <a:lnTo>
                    <a:pt x="60" y="6"/>
                  </a:lnTo>
                  <a:lnTo>
                    <a:pt x="60" y="4"/>
                  </a:lnTo>
                  <a:lnTo>
                    <a:pt x="62" y="4"/>
                  </a:lnTo>
                  <a:lnTo>
                    <a:pt x="64" y="4"/>
                  </a:lnTo>
                  <a:lnTo>
                    <a:pt x="67" y="4"/>
                  </a:lnTo>
                  <a:lnTo>
                    <a:pt x="69" y="4"/>
                  </a:lnTo>
                  <a:lnTo>
                    <a:pt x="71" y="4"/>
                  </a:lnTo>
                  <a:lnTo>
                    <a:pt x="73" y="4"/>
                  </a:lnTo>
                  <a:lnTo>
                    <a:pt x="75" y="4"/>
                  </a:lnTo>
                  <a:lnTo>
                    <a:pt x="77" y="4"/>
                  </a:lnTo>
                  <a:lnTo>
                    <a:pt x="79" y="4"/>
                  </a:lnTo>
                  <a:lnTo>
                    <a:pt x="81" y="4"/>
                  </a:lnTo>
                  <a:lnTo>
                    <a:pt x="81" y="2"/>
                  </a:lnTo>
                  <a:lnTo>
                    <a:pt x="83" y="2"/>
                  </a:lnTo>
                  <a:lnTo>
                    <a:pt x="83" y="2"/>
                  </a:lnTo>
                  <a:lnTo>
                    <a:pt x="85" y="2"/>
                  </a:lnTo>
                  <a:lnTo>
                    <a:pt x="87" y="2"/>
                  </a:lnTo>
                  <a:lnTo>
                    <a:pt x="89" y="2"/>
                  </a:lnTo>
                  <a:lnTo>
                    <a:pt x="91" y="2"/>
                  </a:lnTo>
                  <a:lnTo>
                    <a:pt x="93" y="2"/>
                  </a:lnTo>
                  <a:lnTo>
                    <a:pt x="95" y="2"/>
                  </a:lnTo>
                  <a:lnTo>
                    <a:pt x="97" y="2"/>
                  </a:lnTo>
                  <a:lnTo>
                    <a:pt x="99" y="2"/>
                  </a:lnTo>
                  <a:lnTo>
                    <a:pt x="103" y="2"/>
                  </a:lnTo>
                  <a:lnTo>
                    <a:pt x="105" y="2"/>
                  </a:lnTo>
                  <a:lnTo>
                    <a:pt x="107" y="2"/>
                  </a:lnTo>
                  <a:lnTo>
                    <a:pt x="109" y="2"/>
                  </a:lnTo>
                  <a:lnTo>
                    <a:pt x="111" y="2"/>
                  </a:lnTo>
                  <a:lnTo>
                    <a:pt x="113" y="2"/>
                  </a:lnTo>
                  <a:lnTo>
                    <a:pt x="115" y="2"/>
                  </a:lnTo>
                  <a:lnTo>
                    <a:pt x="117" y="2"/>
                  </a:lnTo>
                  <a:lnTo>
                    <a:pt x="119" y="2"/>
                  </a:lnTo>
                  <a:lnTo>
                    <a:pt x="121" y="2"/>
                  </a:lnTo>
                  <a:lnTo>
                    <a:pt x="123" y="2"/>
                  </a:lnTo>
                  <a:lnTo>
                    <a:pt x="125" y="2"/>
                  </a:lnTo>
                  <a:lnTo>
                    <a:pt x="127" y="2"/>
                  </a:lnTo>
                  <a:lnTo>
                    <a:pt x="129" y="0"/>
                  </a:lnTo>
                  <a:lnTo>
                    <a:pt x="131" y="0"/>
                  </a:lnTo>
                  <a:lnTo>
                    <a:pt x="131" y="0"/>
                  </a:lnTo>
                  <a:lnTo>
                    <a:pt x="133" y="0"/>
                  </a:lnTo>
                  <a:lnTo>
                    <a:pt x="135" y="0"/>
                  </a:lnTo>
                  <a:lnTo>
                    <a:pt x="137" y="0"/>
                  </a:lnTo>
                  <a:lnTo>
                    <a:pt x="139" y="0"/>
                  </a:lnTo>
                  <a:lnTo>
                    <a:pt x="141" y="0"/>
                  </a:lnTo>
                  <a:lnTo>
                    <a:pt x="143" y="0"/>
                  </a:lnTo>
                  <a:close/>
                  <a:moveTo>
                    <a:pt x="89" y="238"/>
                  </a:moveTo>
                  <a:lnTo>
                    <a:pt x="89" y="236"/>
                  </a:lnTo>
                  <a:lnTo>
                    <a:pt x="89" y="238"/>
                  </a:lnTo>
                  <a:close/>
                </a:path>
              </a:pathLst>
            </a:custGeom>
            <a:solidFill>
              <a:srgbClr val="575F9F"/>
            </a:solidFill>
            <a:ln w="3175">
              <a:solidFill>
                <a:sysClr val="window" lastClr="FFFF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black"/>
                </a:solidFill>
                <a:effectLst/>
                <a:uLnTx/>
                <a:uFillTx/>
                <a:ea typeface="宋体" panose="02010600030101010101" pitchFamily="2" charset="-122"/>
              </a:endParaRPr>
            </a:p>
          </p:txBody>
        </p:sp>
        <p:sp>
          <p:nvSpPr>
            <p:cNvPr id="30" name="Freeform 3778">
              <a:extLst>
                <a:ext uri="{FF2B5EF4-FFF2-40B4-BE49-F238E27FC236}">
                  <a16:creationId xmlns:a16="http://schemas.microsoft.com/office/drawing/2014/main" id="{74944950-5621-7EC1-91A4-4089E9F57273}"/>
                </a:ext>
              </a:extLst>
            </p:cNvPr>
            <p:cNvSpPr>
              <a:spLocks noEditPoints="1"/>
            </p:cNvSpPr>
            <p:nvPr/>
          </p:nvSpPr>
          <p:spPr bwMode="auto">
            <a:xfrm>
              <a:off x="5446713" y="2692401"/>
              <a:ext cx="354013" cy="373063"/>
            </a:xfrm>
            <a:custGeom>
              <a:avLst/>
              <a:gdLst>
                <a:gd name="T0" fmla="*/ 215 w 223"/>
                <a:gd name="T1" fmla="*/ 84 h 235"/>
                <a:gd name="T2" fmla="*/ 215 w 223"/>
                <a:gd name="T3" fmla="*/ 90 h 235"/>
                <a:gd name="T4" fmla="*/ 213 w 223"/>
                <a:gd name="T5" fmla="*/ 96 h 235"/>
                <a:gd name="T6" fmla="*/ 205 w 223"/>
                <a:gd name="T7" fmla="*/ 112 h 235"/>
                <a:gd name="T8" fmla="*/ 207 w 223"/>
                <a:gd name="T9" fmla="*/ 92 h 235"/>
                <a:gd name="T10" fmla="*/ 217 w 223"/>
                <a:gd name="T11" fmla="*/ 82 h 235"/>
                <a:gd name="T12" fmla="*/ 221 w 223"/>
                <a:gd name="T13" fmla="*/ 82 h 235"/>
                <a:gd name="T14" fmla="*/ 26 w 223"/>
                <a:gd name="T15" fmla="*/ 22 h 235"/>
                <a:gd name="T16" fmla="*/ 76 w 223"/>
                <a:gd name="T17" fmla="*/ 20 h 235"/>
                <a:gd name="T18" fmla="*/ 78 w 223"/>
                <a:gd name="T19" fmla="*/ 16 h 235"/>
                <a:gd name="T20" fmla="*/ 84 w 223"/>
                <a:gd name="T21" fmla="*/ 10 h 235"/>
                <a:gd name="T22" fmla="*/ 74 w 223"/>
                <a:gd name="T23" fmla="*/ 18 h 235"/>
                <a:gd name="T24" fmla="*/ 78 w 223"/>
                <a:gd name="T25" fmla="*/ 20 h 235"/>
                <a:gd name="T26" fmla="*/ 92 w 223"/>
                <a:gd name="T27" fmla="*/ 26 h 235"/>
                <a:gd name="T28" fmla="*/ 110 w 223"/>
                <a:gd name="T29" fmla="*/ 40 h 235"/>
                <a:gd name="T30" fmla="*/ 135 w 223"/>
                <a:gd name="T31" fmla="*/ 46 h 235"/>
                <a:gd name="T32" fmla="*/ 155 w 223"/>
                <a:gd name="T33" fmla="*/ 52 h 235"/>
                <a:gd name="T34" fmla="*/ 169 w 223"/>
                <a:gd name="T35" fmla="*/ 56 h 235"/>
                <a:gd name="T36" fmla="*/ 179 w 223"/>
                <a:gd name="T37" fmla="*/ 62 h 235"/>
                <a:gd name="T38" fmla="*/ 183 w 223"/>
                <a:gd name="T39" fmla="*/ 72 h 235"/>
                <a:gd name="T40" fmla="*/ 187 w 223"/>
                <a:gd name="T41" fmla="*/ 84 h 235"/>
                <a:gd name="T42" fmla="*/ 193 w 223"/>
                <a:gd name="T43" fmla="*/ 96 h 235"/>
                <a:gd name="T44" fmla="*/ 187 w 223"/>
                <a:gd name="T45" fmla="*/ 104 h 235"/>
                <a:gd name="T46" fmla="*/ 179 w 223"/>
                <a:gd name="T47" fmla="*/ 119 h 235"/>
                <a:gd name="T48" fmla="*/ 189 w 223"/>
                <a:gd name="T49" fmla="*/ 121 h 235"/>
                <a:gd name="T50" fmla="*/ 197 w 223"/>
                <a:gd name="T51" fmla="*/ 112 h 235"/>
                <a:gd name="T52" fmla="*/ 205 w 223"/>
                <a:gd name="T53" fmla="*/ 119 h 235"/>
                <a:gd name="T54" fmla="*/ 199 w 223"/>
                <a:gd name="T55" fmla="*/ 141 h 235"/>
                <a:gd name="T56" fmla="*/ 197 w 223"/>
                <a:gd name="T57" fmla="*/ 147 h 235"/>
                <a:gd name="T58" fmla="*/ 193 w 223"/>
                <a:gd name="T59" fmla="*/ 163 h 235"/>
                <a:gd name="T60" fmla="*/ 193 w 223"/>
                <a:gd name="T61" fmla="*/ 167 h 235"/>
                <a:gd name="T62" fmla="*/ 189 w 223"/>
                <a:gd name="T63" fmla="*/ 185 h 235"/>
                <a:gd name="T64" fmla="*/ 189 w 223"/>
                <a:gd name="T65" fmla="*/ 203 h 235"/>
                <a:gd name="T66" fmla="*/ 193 w 223"/>
                <a:gd name="T67" fmla="*/ 223 h 235"/>
                <a:gd name="T68" fmla="*/ 185 w 223"/>
                <a:gd name="T69" fmla="*/ 233 h 235"/>
                <a:gd name="T70" fmla="*/ 157 w 223"/>
                <a:gd name="T71" fmla="*/ 235 h 235"/>
                <a:gd name="T72" fmla="*/ 129 w 223"/>
                <a:gd name="T73" fmla="*/ 235 h 235"/>
                <a:gd name="T74" fmla="*/ 98 w 223"/>
                <a:gd name="T75" fmla="*/ 235 h 235"/>
                <a:gd name="T76" fmla="*/ 78 w 223"/>
                <a:gd name="T77" fmla="*/ 227 h 235"/>
                <a:gd name="T78" fmla="*/ 66 w 223"/>
                <a:gd name="T79" fmla="*/ 213 h 235"/>
                <a:gd name="T80" fmla="*/ 64 w 223"/>
                <a:gd name="T81" fmla="*/ 193 h 235"/>
                <a:gd name="T82" fmla="*/ 60 w 223"/>
                <a:gd name="T83" fmla="*/ 171 h 235"/>
                <a:gd name="T84" fmla="*/ 48 w 223"/>
                <a:gd name="T85" fmla="*/ 159 h 235"/>
                <a:gd name="T86" fmla="*/ 36 w 223"/>
                <a:gd name="T87" fmla="*/ 143 h 235"/>
                <a:gd name="T88" fmla="*/ 20 w 223"/>
                <a:gd name="T89" fmla="*/ 129 h 235"/>
                <a:gd name="T90" fmla="*/ 4 w 223"/>
                <a:gd name="T91" fmla="*/ 117 h 235"/>
                <a:gd name="T92" fmla="*/ 6 w 223"/>
                <a:gd name="T93" fmla="*/ 100 h 235"/>
                <a:gd name="T94" fmla="*/ 6 w 223"/>
                <a:gd name="T95" fmla="*/ 78 h 235"/>
                <a:gd name="T96" fmla="*/ 4 w 223"/>
                <a:gd name="T97" fmla="*/ 70 h 235"/>
                <a:gd name="T98" fmla="*/ 18 w 223"/>
                <a:gd name="T99" fmla="*/ 58 h 235"/>
                <a:gd name="T100" fmla="*/ 24 w 223"/>
                <a:gd name="T101" fmla="*/ 40 h 235"/>
                <a:gd name="T102" fmla="*/ 26 w 223"/>
                <a:gd name="T103" fmla="*/ 22 h 235"/>
                <a:gd name="T104" fmla="*/ 30 w 223"/>
                <a:gd name="T105" fmla="*/ 20 h 235"/>
                <a:gd name="T106" fmla="*/ 30 w 223"/>
                <a:gd name="T107" fmla="*/ 18 h 235"/>
                <a:gd name="T108" fmla="*/ 34 w 223"/>
                <a:gd name="T109" fmla="*/ 22 h 235"/>
                <a:gd name="T110" fmla="*/ 40 w 223"/>
                <a:gd name="T111" fmla="*/ 20 h 235"/>
                <a:gd name="T112" fmla="*/ 62 w 223"/>
                <a:gd name="T113" fmla="*/ 12 h 235"/>
                <a:gd name="T114" fmla="*/ 78 w 223"/>
                <a:gd name="T115" fmla="*/ 8 h 235"/>
                <a:gd name="T116" fmla="*/ 82 w 223"/>
                <a:gd name="T117" fmla="*/ 8 h 235"/>
                <a:gd name="T118" fmla="*/ 72 w 223"/>
                <a:gd name="T119" fmla="*/ 6 h 235"/>
                <a:gd name="T120" fmla="*/ 80 w 223"/>
                <a:gd name="T121" fmla="*/ 4 h 235"/>
                <a:gd name="T122" fmla="*/ 80 w 223"/>
                <a:gd name="T123" fmla="*/ 4 h 235"/>
                <a:gd name="T124" fmla="*/ 88 w 223"/>
                <a:gd name="T125" fmla="*/ 0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3" h="235">
                  <a:moveTo>
                    <a:pt x="191" y="104"/>
                  </a:moveTo>
                  <a:lnTo>
                    <a:pt x="193" y="104"/>
                  </a:lnTo>
                  <a:lnTo>
                    <a:pt x="191" y="104"/>
                  </a:lnTo>
                  <a:close/>
                  <a:moveTo>
                    <a:pt x="205" y="96"/>
                  </a:moveTo>
                  <a:lnTo>
                    <a:pt x="203" y="96"/>
                  </a:lnTo>
                  <a:lnTo>
                    <a:pt x="205" y="96"/>
                  </a:lnTo>
                  <a:close/>
                  <a:moveTo>
                    <a:pt x="203" y="90"/>
                  </a:moveTo>
                  <a:lnTo>
                    <a:pt x="203" y="92"/>
                  </a:lnTo>
                  <a:lnTo>
                    <a:pt x="201" y="92"/>
                  </a:lnTo>
                  <a:lnTo>
                    <a:pt x="201" y="90"/>
                  </a:lnTo>
                  <a:lnTo>
                    <a:pt x="203" y="90"/>
                  </a:lnTo>
                  <a:close/>
                  <a:moveTo>
                    <a:pt x="219" y="86"/>
                  </a:moveTo>
                  <a:lnTo>
                    <a:pt x="219" y="84"/>
                  </a:lnTo>
                  <a:lnTo>
                    <a:pt x="219" y="86"/>
                  </a:lnTo>
                  <a:close/>
                  <a:moveTo>
                    <a:pt x="215" y="84"/>
                  </a:moveTo>
                  <a:lnTo>
                    <a:pt x="217" y="84"/>
                  </a:lnTo>
                  <a:lnTo>
                    <a:pt x="217" y="86"/>
                  </a:lnTo>
                  <a:lnTo>
                    <a:pt x="215" y="86"/>
                  </a:lnTo>
                  <a:lnTo>
                    <a:pt x="215" y="88"/>
                  </a:lnTo>
                  <a:lnTo>
                    <a:pt x="217" y="88"/>
                  </a:lnTo>
                  <a:lnTo>
                    <a:pt x="215" y="88"/>
                  </a:lnTo>
                  <a:lnTo>
                    <a:pt x="217" y="88"/>
                  </a:lnTo>
                  <a:lnTo>
                    <a:pt x="215" y="88"/>
                  </a:lnTo>
                  <a:lnTo>
                    <a:pt x="215" y="90"/>
                  </a:lnTo>
                  <a:lnTo>
                    <a:pt x="215" y="88"/>
                  </a:lnTo>
                  <a:lnTo>
                    <a:pt x="215" y="90"/>
                  </a:lnTo>
                  <a:lnTo>
                    <a:pt x="215" y="88"/>
                  </a:lnTo>
                  <a:lnTo>
                    <a:pt x="213" y="88"/>
                  </a:lnTo>
                  <a:lnTo>
                    <a:pt x="215" y="88"/>
                  </a:lnTo>
                  <a:lnTo>
                    <a:pt x="215" y="90"/>
                  </a:lnTo>
                  <a:lnTo>
                    <a:pt x="213" y="90"/>
                  </a:lnTo>
                  <a:lnTo>
                    <a:pt x="215" y="90"/>
                  </a:lnTo>
                  <a:lnTo>
                    <a:pt x="213" y="90"/>
                  </a:lnTo>
                  <a:lnTo>
                    <a:pt x="213" y="92"/>
                  </a:lnTo>
                  <a:lnTo>
                    <a:pt x="215" y="92"/>
                  </a:lnTo>
                  <a:lnTo>
                    <a:pt x="215" y="94"/>
                  </a:lnTo>
                  <a:lnTo>
                    <a:pt x="213" y="94"/>
                  </a:lnTo>
                  <a:lnTo>
                    <a:pt x="213" y="92"/>
                  </a:lnTo>
                  <a:lnTo>
                    <a:pt x="213" y="94"/>
                  </a:lnTo>
                  <a:lnTo>
                    <a:pt x="215" y="94"/>
                  </a:lnTo>
                  <a:lnTo>
                    <a:pt x="213" y="96"/>
                  </a:lnTo>
                  <a:lnTo>
                    <a:pt x="215" y="96"/>
                  </a:lnTo>
                  <a:lnTo>
                    <a:pt x="213" y="96"/>
                  </a:lnTo>
                  <a:lnTo>
                    <a:pt x="215" y="96"/>
                  </a:lnTo>
                  <a:lnTo>
                    <a:pt x="213" y="96"/>
                  </a:lnTo>
                  <a:lnTo>
                    <a:pt x="213" y="98"/>
                  </a:lnTo>
                  <a:lnTo>
                    <a:pt x="213" y="96"/>
                  </a:lnTo>
                  <a:lnTo>
                    <a:pt x="211" y="96"/>
                  </a:lnTo>
                  <a:lnTo>
                    <a:pt x="211" y="98"/>
                  </a:lnTo>
                  <a:lnTo>
                    <a:pt x="211" y="100"/>
                  </a:lnTo>
                  <a:lnTo>
                    <a:pt x="209" y="102"/>
                  </a:lnTo>
                  <a:lnTo>
                    <a:pt x="209" y="104"/>
                  </a:lnTo>
                  <a:lnTo>
                    <a:pt x="211" y="104"/>
                  </a:lnTo>
                  <a:lnTo>
                    <a:pt x="209" y="104"/>
                  </a:lnTo>
                  <a:lnTo>
                    <a:pt x="209" y="106"/>
                  </a:lnTo>
                  <a:lnTo>
                    <a:pt x="209" y="108"/>
                  </a:lnTo>
                  <a:lnTo>
                    <a:pt x="207" y="108"/>
                  </a:lnTo>
                  <a:lnTo>
                    <a:pt x="207" y="110"/>
                  </a:lnTo>
                  <a:lnTo>
                    <a:pt x="207" y="112"/>
                  </a:lnTo>
                  <a:lnTo>
                    <a:pt x="205" y="112"/>
                  </a:lnTo>
                  <a:lnTo>
                    <a:pt x="205" y="110"/>
                  </a:lnTo>
                  <a:lnTo>
                    <a:pt x="203" y="110"/>
                  </a:lnTo>
                  <a:lnTo>
                    <a:pt x="203" y="108"/>
                  </a:lnTo>
                  <a:lnTo>
                    <a:pt x="201" y="108"/>
                  </a:lnTo>
                  <a:lnTo>
                    <a:pt x="201" y="106"/>
                  </a:lnTo>
                  <a:lnTo>
                    <a:pt x="201" y="104"/>
                  </a:lnTo>
                  <a:lnTo>
                    <a:pt x="203" y="104"/>
                  </a:lnTo>
                  <a:lnTo>
                    <a:pt x="203" y="102"/>
                  </a:lnTo>
                  <a:lnTo>
                    <a:pt x="203" y="100"/>
                  </a:lnTo>
                  <a:lnTo>
                    <a:pt x="205" y="100"/>
                  </a:lnTo>
                  <a:lnTo>
                    <a:pt x="205" y="98"/>
                  </a:lnTo>
                  <a:lnTo>
                    <a:pt x="205" y="96"/>
                  </a:lnTo>
                  <a:lnTo>
                    <a:pt x="207" y="96"/>
                  </a:lnTo>
                  <a:lnTo>
                    <a:pt x="207" y="94"/>
                  </a:lnTo>
                  <a:lnTo>
                    <a:pt x="207" y="92"/>
                  </a:lnTo>
                  <a:lnTo>
                    <a:pt x="209" y="92"/>
                  </a:lnTo>
                  <a:lnTo>
                    <a:pt x="209" y="90"/>
                  </a:lnTo>
                  <a:lnTo>
                    <a:pt x="211" y="90"/>
                  </a:lnTo>
                  <a:lnTo>
                    <a:pt x="211" y="88"/>
                  </a:lnTo>
                  <a:lnTo>
                    <a:pt x="211" y="86"/>
                  </a:lnTo>
                  <a:lnTo>
                    <a:pt x="211" y="88"/>
                  </a:lnTo>
                  <a:lnTo>
                    <a:pt x="213" y="88"/>
                  </a:lnTo>
                  <a:lnTo>
                    <a:pt x="213" y="86"/>
                  </a:lnTo>
                  <a:lnTo>
                    <a:pt x="213" y="84"/>
                  </a:lnTo>
                  <a:lnTo>
                    <a:pt x="213" y="86"/>
                  </a:lnTo>
                  <a:lnTo>
                    <a:pt x="215" y="86"/>
                  </a:lnTo>
                  <a:lnTo>
                    <a:pt x="215" y="84"/>
                  </a:lnTo>
                  <a:close/>
                  <a:moveTo>
                    <a:pt x="217" y="82"/>
                  </a:moveTo>
                  <a:lnTo>
                    <a:pt x="219" y="82"/>
                  </a:lnTo>
                  <a:lnTo>
                    <a:pt x="217" y="82"/>
                  </a:lnTo>
                  <a:lnTo>
                    <a:pt x="219" y="82"/>
                  </a:lnTo>
                  <a:lnTo>
                    <a:pt x="219" y="84"/>
                  </a:lnTo>
                  <a:lnTo>
                    <a:pt x="217" y="84"/>
                  </a:lnTo>
                  <a:lnTo>
                    <a:pt x="217" y="82"/>
                  </a:lnTo>
                  <a:close/>
                  <a:moveTo>
                    <a:pt x="217" y="78"/>
                  </a:moveTo>
                  <a:lnTo>
                    <a:pt x="219" y="78"/>
                  </a:lnTo>
                  <a:lnTo>
                    <a:pt x="221" y="78"/>
                  </a:lnTo>
                  <a:lnTo>
                    <a:pt x="221" y="80"/>
                  </a:lnTo>
                  <a:lnTo>
                    <a:pt x="219" y="80"/>
                  </a:lnTo>
                  <a:lnTo>
                    <a:pt x="221" y="80"/>
                  </a:lnTo>
                  <a:lnTo>
                    <a:pt x="221" y="82"/>
                  </a:lnTo>
                  <a:lnTo>
                    <a:pt x="219" y="82"/>
                  </a:lnTo>
                  <a:lnTo>
                    <a:pt x="221" y="82"/>
                  </a:lnTo>
                  <a:lnTo>
                    <a:pt x="219" y="82"/>
                  </a:lnTo>
                  <a:lnTo>
                    <a:pt x="221" y="82"/>
                  </a:lnTo>
                  <a:lnTo>
                    <a:pt x="219" y="82"/>
                  </a:lnTo>
                  <a:lnTo>
                    <a:pt x="221" y="82"/>
                  </a:lnTo>
                  <a:lnTo>
                    <a:pt x="219" y="82"/>
                  </a:lnTo>
                  <a:lnTo>
                    <a:pt x="217" y="82"/>
                  </a:lnTo>
                  <a:lnTo>
                    <a:pt x="217" y="80"/>
                  </a:lnTo>
                  <a:lnTo>
                    <a:pt x="217" y="78"/>
                  </a:lnTo>
                  <a:close/>
                  <a:moveTo>
                    <a:pt x="221" y="78"/>
                  </a:moveTo>
                  <a:lnTo>
                    <a:pt x="223" y="78"/>
                  </a:lnTo>
                  <a:lnTo>
                    <a:pt x="221" y="78"/>
                  </a:lnTo>
                  <a:close/>
                  <a:moveTo>
                    <a:pt x="26" y="22"/>
                  </a:moveTo>
                  <a:lnTo>
                    <a:pt x="24" y="22"/>
                  </a:lnTo>
                  <a:lnTo>
                    <a:pt x="26" y="22"/>
                  </a:lnTo>
                  <a:close/>
                  <a:moveTo>
                    <a:pt x="26" y="22"/>
                  </a:moveTo>
                  <a:lnTo>
                    <a:pt x="24" y="22"/>
                  </a:lnTo>
                  <a:lnTo>
                    <a:pt x="26" y="22"/>
                  </a:lnTo>
                  <a:close/>
                  <a:moveTo>
                    <a:pt x="24" y="22"/>
                  </a:moveTo>
                  <a:lnTo>
                    <a:pt x="24" y="22"/>
                  </a:lnTo>
                  <a:lnTo>
                    <a:pt x="24" y="22"/>
                  </a:lnTo>
                  <a:close/>
                  <a:moveTo>
                    <a:pt x="34" y="20"/>
                  </a:moveTo>
                  <a:lnTo>
                    <a:pt x="32" y="20"/>
                  </a:lnTo>
                  <a:lnTo>
                    <a:pt x="34" y="20"/>
                  </a:lnTo>
                  <a:close/>
                  <a:moveTo>
                    <a:pt x="28" y="20"/>
                  </a:moveTo>
                  <a:lnTo>
                    <a:pt x="28" y="22"/>
                  </a:lnTo>
                  <a:lnTo>
                    <a:pt x="28" y="20"/>
                  </a:lnTo>
                  <a:lnTo>
                    <a:pt x="28" y="22"/>
                  </a:lnTo>
                  <a:lnTo>
                    <a:pt x="28" y="20"/>
                  </a:lnTo>
                  <a:close/>
                  <a:moveTo>
                    <a:pt x="76" y="18"/>
                  </a:moveTo>
                  <a:lnTo>
                    <a:pt x="76" y="20"/>
                  </a:lnTo>
                  <a:lnTo>
                    <a:pt x="78" y="20"/>
                  </a:lnTo>
                  <a:lnTo>
                    <a:pt x="76" y="20"/>
                  </a:lnTo>
                  <a:lnTo>
                    <a:pt x="76" y="18"/>
                  </a:lnTo>
                  <a:close/>
                  <a:moveTo>
                    <a:pt x="78" y="14"/>
                  </a:moveTo>
                  <a:lnTo>
                    <a:pt x="78" y="12"/>
                  </a:lnTo>
                  <a:lnTo>
                    <a:pt x="78" y="14"/>
                  </a:lnTo>
                  <a:close/>
                  <a:moveTo>
                    <a:pt x="82" y="12"/>
                  </a:moveTo>
                  <a:lnTo>
                    <a:pt x="82" y="12"/>
                  </a:lnTo>
                  <a:lnTo>
                    <a:pt x="82" y="14"/>
                  </a:lnTo>
                  <a:lnTo>
                    <a:pt x="82" y="14"/>
                  </a:lnTo>
                  <a:lnTo>
                    <a:pt x="80" y="14"/>
                  </a:lnTo>
                  <a:lnTo>
                    <a:pt x="80" y="16"/>
                  </a:lnTo>
                  <a:lnTo>
                    <a:pt x="80" y="14"/>
                  </a:lnTo>
                  <a:lnTo>
                    <a:pt x="80" y="16"/>
                  </a:lnTo>
                  <a:lnTo>
                    <a:pt x="82" y="16"/>
                  </a:lnTo>
                  <a:lnTo>
                    <a:pt x="80" y="16"/>
                  </a:lnTo>
                  <a:lnTo>
                    <a:pt x="78" y="16"/>
                  </a:lnTo>
                  <a:lnTo>
                    <a:pt x="78" y="18"/>
                  </a:lnTo>
                  <a:lnTo>
                    <a:pt x="76" y="18"/>
                  </a:lnTo>
                  <a:lnTo>
                    <a:pt x="76" y="16"/>
                  </a:lnTo>
                  <a:lnTo>
                    <a:pt x="78" y="16"/>
                  </a:lnTo>
                  <a:lnTo>
                    <a:pt x="78" y="14"/>
                  </a:lnTo>
                  <a:lnTo>
                    <a:pt x="80" y="14"/>
                  </a:lnTo>
                  <a:lnTo>
                    <a:pt x="80" y="12"/>
                  </a:lnTo>
                  <a:lnTo>
                    <a:pt x="82" y="12"/>
                  </a:lnTo>
                  <a:close/>
                  <a:moveTo>
                    <a:pt x="80" y="10"/>
                  </a:moveTo>
                  <a:lnTo>
                    <a:pt x="80" y="12"/>
                  </a:lnTo>
                  <a:lnTo>
                    <a:pt x="80" y="10"/>
                  </a:lnTo>
                  <a:close/>
                  <a:moveTo>
                    <a:pt x="86" y="10"/>
                  </a:moveTo>
                  <a:lnTo>
                    <a:pt x="86" y="12"/>
                  </a:lnTo>
                  <a:lnTo>
                    <a:pt x="84" y="12"/>
                  </a:lnTo>
                  <a:lnTo>
                    <a:pt x="84" y="10"/>
                  </a:lnTo>
                  <a:lnTo>
                    <a:pt x="86" y="10"/>
                  </a:lnTo>
                  <a:close/>
                  <a:moveTo>
                    <a:pt x="74" y="6"/>
                  </a:moveTo>
                  <a:lnTo>
                    <a:pt x="74" y="8"/>
                  </a:lnTo>
                  <a:lnTo>
                    <a:pt x="76" y="8"/>
                  </a:lnTo>
                  <a:lnTo>
                    <a:pt x="76" y="10"/>
                  </a:lnTo>
                  <a:lnTo>
                    <a:pt x="78" y="10"/>
                  </a:lnTo>
                  <a:lnTo>
                    <a:pt x="76" y="12"/>
                  </a:lnTo>
                  <a:lnTo>
                    <a:pt x="76" y="14"/>
                  </a:lnTo>
                  <a:lnTo>
                    <a:pt x="76" y="16"/>
                  </a:lnTo>
                  <a:lnTo>
                    <a:pt x="76" y="14"/>
                  </a:lnTo>
                  <a:lnTo>
                    <a:pt x="76" y="16"/>
                  </a:lnTo>
                  <a:lnTo>
                    <a:pt x="74" y="16"/>
                  </a:lnTo>
                  <a:lnTo>
                    <a:pt x="74" y="18"/>
                  </a:lnTo>
                  <a:lnTo>
                    <a:pt x="72" y="18"/>
                  </a:lnTo>
                  <a:lnTo>
                    <a:pt x="74" y="18"/>
                  </a:lnTo>
                  <a:lnTo>
                    <a:pt x="74" y="20"/>
                  </a:lnTo>
                  <a:lnTo>
                    <a:pt x="74" y="22"/>
                  </a:lnTo>
                  <a:lnTo>
                    <a:pt x="72" y="22"/>
                  </a:lnTo>
                  <a:lnTo>
                    <a:pt x="72" y="22"/>
                  </a:lnTo>
                  <a:lnTo>
                    <a:pt x="72" y="24"/>
                  </a:lnTo>
                  <a:lnTo>
                    <a:pt x="70" y="24"/>
                  </a:lnTo>
                  <a:lnTo>
                    <a:pt x="72" y="24"/>
                  </a:lnTo>
                  <a:lnTo>
                    <a:pt x="74" y="24"/>
                  </a:lnTo>
                  <a:lnTo>
                    <a:pt x="76" y="24"/>
                  </a:lnTo>
                  <a:lnTo>
                    <a:pt x="76" y="22"/>
                  </a:lnTo>
                  <a:lnTo>
                    <a:pt x="78" y="22"/>
                  </a:lnTo>
                  <a:lnTo>
                    <a:pt x="78" y="22"/>
                  </a:lnTo>
                  <a:lnTo>
                    <a:pt x="80" y="22"/>
                  </a:lnTo>
                  <a:lnTo>
                    <a:pt x="78" y="22"/>
                  </a:lnTo>
                  <a:lnTo>
                    <a:pt x="78" y="20"/>
                  </a:lnTo>
                  <a:lnTo>
                    <a:pt x="78" y="22"/>
                  </a:lnTo>
                  <a:lnTo>
                    <a:pt x="80" y="22"/>
                  </a:lnTo>
                  <a:lnTo>
                    <a:pt x="80" y="22"/>
                  </a:lnTo>
                  <a:lnTo>
                    <a:pt x="82" y="22"/>
                  </a:lnTo>
                  <a:lnTo>
                    <a:pt x="82" y="24"/>
                  </a:lnTo>
                  <a:lnTo>
                    <a:pt x="82" y="24"/>
                  </a:lnTo>
                  <a:lnTo>
                    <a:pt x="84" y="24"/>
                  </a:lnTo>
                  <a:lnTo>
                    <a:pt x="86" y="24"/>
                  </a:lnTo>
                  <a:lnTo>
                    <a:pt x="86" y="26"/>
                  </a:lnTo>
                  <a:lnTo>
                    <a:pt x="88" y="26"/>
                  </a:lnTo>
                  <a:lnTo>
                    <a:pt x="90" y="28"/>
                  </a:lnTo>
                  <a:lnTo>
                    <a:pt x="90" y="26"/>
                  </a:lnTo>
                  <a:lnTo>
                    <a:pt x="90" y="28"/>
                  </a:lnTo>
                  <a:lnTo>
                    <a:pt x="90" y="26"/>
                  </a:lnTo>
                  <a:lnTo>
                    <a:pt x="92" y="26"/>
                  </a:lnTo>
                  <a:lnTo>
                    <a:pt x="92" y="28"/>
                  </a:lnTo>
                  <a:lnTo>
                    <a:pt x="94" y="28"/>
                  </a:lnTo>
                  <a:lnTo>
                    <a:pt x="96" y="28"/>
                  </a:lnTo>
                  <a:lnTo>
                    <a:pt x="96" y="30"/>
                  </a:lnTo>
                  <a:lnTo>
                    <a:pt x="98" y="32"/>
                  </a:lnTo>
                  <a:lnTo>
                    <a:pt x="98" y="34"/>
                  </a:lnTo>
                  <a:lnTo>
                    <a:pt x="98" y="36"/>
                  </a:lnTo>
                  <a:lnTo>
                    <a:pt x="100" y="36"/>
                  </a:lnTo>
                  <a:lnTo>
                    <a:pt x="100" y="38"/>
                  </a:lnTo>
                  <a:lnTo>
                    <a:pt x="102" y="38"/>
                  </a:lnTo>
                  <a:lnTo>
                    <a:pt x="104" y="38"/>
                  </a:lnTo>
                  <a:lnTo>
                    <a:pt x="106" y="38"/>
                  </a:lnTo>
                  <a:lnTo>
                    <a:pt x="106" y="40"/>
                  </a:lnTo>
                  <a:lnTo>
                    <a:pt x="108" y="40"/>
                  </a:lnTo>
                  <a:lnTo>
                    <a:pt x="110" y="40"/>
                  </a:lnTo>
                  <a:lnTo>
                    <a:pt x="112" y="40"/>
                  </a:lnTo>
                  <a:lnTo>
                    <a:pt x="115" y="40"/>
                  </a:lnTo>
                  <a:lnTo>
                    <a:pt x="115" y="42"/>
                  </a:lnTo>
                  <a:lnTo>
                    <a:pt x="117" y="42"/>
                  </a:lnTo>
                  <a:lnTo>
                    <a:pt x="119" y="42"/>
                  </a:lnTo>
                  <a:lnTo>
                    <a:pt x="121" y="42"/>
                  </a:lnTo>
                  <a:lnTo>
                    <a:pt x="123" y="42"/>
                  </a:lnTo>
                  <a:lnTo>
                    <a:pt x="123" y="44"/>
                  </a:lnTo>
                  <a:lnTo>
                    <a:pt x="125" y="44"/>
                  </a:lnTo>
                  <a:lnTo>
                    <a:pt x="127" y="44"/>
                  </a:lnTo>
                  <a:lnTo>
                    <a:pt x="129" y="44"/>
                  </a:lnTo>
                  <a:lnTo>
                    <a:pt x="131" y="44"/>
                  </a:lnTo>
                  <a:lnTo>
                    <a:pt x="131" y="46"/>
                  </a:lnTo>
                  <a:lnTo>
                    <a:pt x="133" y="46"/>
                  </a:lnTo>
                  <a:lnTo>
                    <a:pt x="135" y="46"/>
                  </a:lnTo>
                  <a:lnTo>
                    <a:pt x="137" y="46"/>
                  </a:lnTo>
                  <a:lnTo>
                    <a:pt x="137" y="48"/>
                  </a:lnTo>
                  <a:lnTo>
                    <a:pt x="139" y="48"/>
                  </a:lnTo>
                  <a:lnTo>
                    <a:pt x="141" y="48"/>
                  </a:lnTo>
                  <a:lnTo>
                    <a:pt x="141" y="50"/>
                  </a:lnTo>
                  <a:lnTo>
                    <a:pt x="143" y="50"/>
                  </a:lnTo>
                  <a:lnTo>
                    <a:pt x="145" y="50"/>
                  </a:lnTo>
                  <a:lnTo>
                    <a:pt x="145" y="52"/>
                  </a:lnTo>
                  <a:lnTo>
                    <a:pt x="147" y="52"/>
                  </a:lnTo>
                  <a:lnTo>
                    <a:pt x="149" y="52"/>
                  </a:lnTo>
                  <a:lnTo>
                    <a:pt x="151" y="52"/>
                  </a:lnTo>
                  <a:lnTo>
                    <a:pt x="153" y="52"/>
                  </a:lnTo>
                  <a:lnTo>
                    <a:pt x="153" y="54"/>
                  </a:lnTo>
                  <a:lnTo>
                    <a:pt x="155" y="54"/>
                  </a:lnTo>
                  <a:lnTo>
                    <a:pt x="155" y="52"/>
                  </a:lnTo>
                  <a:lnTo>
                    <a:pt x="157" y="52"/>
                  </a:lnTo>
                  <a:lnTo>
                    <a:pt x="159" y="52"/>
                  </a:lnTo>
                  <a:lnTo>
                    <a:pt x="159" y="54"/>
                  </a:lnTo>
                  <a:lnTo>
                    <a:pt x="159" y="52"/>
                  </a:lnTo>
                  <a:lnTo>
                    <a:pt x="161" y="52"/>
                  </a:lnTo>
                  <a:lnTo>
                    <a:pt x="161" y="54"/>
                  </a:lnTo>
                  <a:lnTo>
                    <a:pt x="163" y="54"/>
                  </a:lnTo>
                  <a:lnTo>
                    <a:pt x="165" y="54"/>
                  </a:lnTo>
                  <a:lnTo>
                    <a:pt x="167" y="54"/>
                  </a:lnTo>
                  <a:lnTo>
                    <a:pt x="167" y="56"/>
                  </a:lnTo>
                  <a:lnTo>
                    <a:pt x="167" y="54"/>
                  </a:lnTo>
                  <a:lnTo>
                    <a:pt x="169" y="54"/>
                  </a:lnTo>
                  <a:lnTo>
                    <a:pt x="169" y="56"/>
                  </a:lnTo>
                  <a:lnTo>
                    <a:pt x="169" y="54"/>
                  </a:lnTo>
                  <a:lnTo>
                    <a:pt x="169" y="56"/>
                  </a:lnTo>
                  <a:lnTo>
                    <a:pt x="171" y="54"/>
                  </a:lnTo>
                  <a:lnTo>
                    <a:pt x="171" y="56"/>
                  </a:lnTo>
                  <a:lnTo>
                    <a:pt x="173" y="56"/>
                  </a:lnTo>
                  <a:lnTo>
                    <a:pt x="175" y="56"/>
                  </a:lnTo>
                  <a:lnTo>
                    <a:pt x="173" y="56"/>
                  </a:lnTo>
                  <a:lnTo>
                    <a:pt x="173" y="58"/>
                  </a:lnTo>
                  <a:lnTo>
                    <a:pt x="175" y="58"/>
                  </a:lnTo>
                  <a:lnTo>
                    <a:pt x="175" y="60"/>
                  </a:lnTo>
                  <a:lnTo>
                    <a:pt x="173" y="60"/>
                  </a:lnTo>
                  <a:lnTo>
                    <a:pt x="173" y="62"/>
                  </a:lnTo>
                  <a:lnTo>
                    <a:pt x="175" y="62"/>
                  </a:lnTo>
                  <a:lnTo>
                    <a:pt x="175" y="64"/>
                  </a:lnTo>
                  <a:lnTo>
                    <a:pt x="177" y="64"/>
                  </a:lnTo>
                  <a:lnTo>
                    <a:pt x="177" y="62"/>
                  </a:lnTo>
                  <a:lnTo>
                    <a:pt x="179" y="62"/>
                  </a:lnTo>
                  <a:lnTo>
                    <a:pt x="179" y="64"/>
                  </a:lnTo>
                  <a:lnTo>
                    <a:pt x="179" y="64"/>
                  </a:lnTo>
                  <a:lnTo>
                    <a:pt x="181" y="64"/>
                  </a:lnTo>
                  <a:lnTo>
                    <a:pt x="181" y="66"/>
                  </a:lnTo>
                  <a:lnTo>
                    <a:pt x="183" y="66"/>
                  </a:lnTo>
                  <a:lnTo>
                    <a:pt x="183" y="68"/>
                  </a:lnTo>
                  <a:lnTo>
                    <a:pt x="185" y="68"/>
                  </a:lnTo>
                  <a:lnTo>
                    <a:pt x="183" y="68"/>
                  </a:lnTo>
                  <a:lnTo>
                    <a:pt x="183" y="70"/>
                  </a:lnTo>
                  <a:lnTo>
                    <a:pt x="183" y="68"/>
                  </a:lnTo>
                  <a:lnTo>
                    <a:pt x="183" y="70"/>
                  </a:lnTo>
                  <a:lnTo>
                    <a:pt x="183" y="70"/>
                  </a:lnTo>
                  <a:lnTo>
                    <a:pt x="185" y="70"/>
                  </a:lnTo>
                  <a:lnTo>
                    <a:pt x="185" y="72"/>
                  </a:lnTo>
                  <a:lnTo>
                    <a:pt x="183" y="72"/>
                  </a:lnTo>
                  <a:lnTo>
                    <a:pt x="183" y="74"/>
                  </a:lnTo>
                  <a:lnTo>
                    <a:pt x="185" y="74"/>
                  </a:lnTo>
                  <a:lnTo>
                    <a:pt x="185" y="76"/>
                  </a:lnTo>
                  <a:lnTo>
                    <a:pt x="185" y="78"/>
                  </a:lnTo>
                  <a:lnTo>
                    <a:pt x="183" y="78"/>
                  </a:lnTo>
                  <a:lnTo>
                    <a:pt x="185" y="78"/>
                  </a:lnTo>
                  <a:lnTo>
                    <a:pt x="183" y="78"/>
                  </a:lnTo>
                  <a:lnTo>
                    <a:pt x="183" y="80"/>
                  </a:lnTo>
                  <a:lnTo>
                    <a:pt x="183" y="82"/>
                  </a:lnTo>
                  <a:lnTo>
                    <a:pt x="181" y="82"/>
                  </a:lnTo>
                  <a:lnTo>
                    <a:pt x="183" y="82"/>
                  </a:lnTo>
                  <a:lnTo>
                    <a:pt x="181" y="84"/>
                  </a:lnTo>
                  <a:lnTo>
                    <a:pt x="183" y="84"/>
                  </a:lnTo>
                  <a:lnTo>
                    <a:pt x="185" y="84"/>
                  </a:lnTo>
                  <a:lnTo>
                    <a:pt x="187" y="84"/>
                  </a:lnTo>
                  <a:lnTo>
                    <a:pt x="187" y="82"/>
                  </a:lnTo>
                  <a:lnTo>
                    <a:pt x="189" y="82"/>
                  </a:lnTo>
                  <a:lnTo>
                    <a:pt x="191" y="82"/>
                  </a:lnTo>
                  <a:lnTo>
                    <a:pt x="191" y="84"/>
                  </a:lnTo>
                  <a:lnTo>
                    <a:pt x="191" y="86"/>
                  </a:lnTo>
                  <a:lnTo>
                    <a:pt x="189" y="86"/>
                  </a:lnTo>
                  <a:lnTo>
                    <a:pt x="189" y="88"/>
                  </a:lnTo>
                  <a:lnTo>
                    <a:pt x="189" y="90"/>
                  </a:lnTo>
                  <a:lnTo>
                    <a:pt x="189" y="92"/>
                  </a:lnTo>
                  <a:lnTo>
                    <a:pt x="187" y="92"/>
                  </a:lnTo>
                  <a:lnTo>
                    <a:pt x="187" y="94"/>
                  </a:lnTo>
                  <a:lnTo>
                    <a:pt x="189" y="94"/>
                  </a:lnTo>
                  <a:lnTo>
                    <a:pt x="191" y="94"/>
                  </a:lnTo>
                  <a:lnTo>
                    <a:pt x="191" y="96"/>
                  </a:lnTo>
                  <a:lnTo>
                    <a:pt x="193" y="96"/>
                  </a:lnTo>
                  <a:lnTo>
                    <a:pt x="193" y="98"/>
                  </a:lnTo>
                  <a:lnTo>
                    <a:pt x="195" y="98"/>
                  </a:lnTo>
                  <a:lnTo>
                    <a:pt x="193" y="98"/>
                  </a:lnTo>
                  <a:lnTo>
                    <a:pt x="195" y="98"/>
                  </a:lnTo>
                  <a:lnTo>
                    <a:pt x="193" y="98"/>
                  </a:lnTo>
                  <a:lnTo>
                    <a:pt x="193" y="100"/>
                  </a:lnTo>
                  <a:lnTo>
                    <a:pt x="193" y="102"/>
                  </a:lnTo>
                  <a:lnTo>
                    <a:pt x="191" y="102"/>
                  </a:lnTo>
                  <a:lnTo>
                    <a:pt x="191" y="104"/>
                  </a:lnTo>
                  <a:lnTo>
                    <a:pt x="193" y="104"/>
                  </a:lnTo>
                  <a:lnTo>
                    <a:pt x="191" y="104"/>
                  </a:lnTo>
                  <a:lnTo>
                    <a:pt x="191" y="102"/>
                  </a:lnTo>
                  <a:lnTo>
                    <a:pt x="191" y="104"/>
                  </a:lnTo>
                  <a:lnTo>
                    <a:pt x="189" y="104"/>
                  </a:lnTo>
                  <a:lnTo>
                    <a:pt x="187" y="104"/>
                  </a:lnTo>
                  <a:lnTo>
                    <a:pt x="187" y="106"/>
                  </a:lnTo>
                  <a:lnTo>
                    <a:pt x="185" y="106"/>
                  </a:lnTo>
                  <a:lnTo>
                    <a:pt x="185" y="108"/>
                  </a:lnTo>
                  <a:lnTo>
                    <a:pt x="185" y="110"/>
                  </a:lnTo>
                  <a:lnTo>
                    <a:pt x="185" y="112"/>
                  </a:lnTo>
                  <a:lnTo>
                    <a:pt x="183" y="112"/>
                  </a:lnTo>
                  <a:lnTo>
                    <a:pt x="183" y="114"/>
                  </a:lnTo>
                  <a:lnTo>
                    <a:pt x="181" y="117"/>
                  </a:lnTo>
                  <a:lnTo>
                    <a:pt x="181" y="119"/>
                  </a:lnTo>
                  <a:lnTo>
                    <a:pt x="179" y="119"/>
                  </a:lnTo>
                  <a:lnTo>
                    <a:pt x="181" y="119"/>
                  </a:lnTo>
                  <a:lnTo>
                    <a:pt x="181" y="119"/>
                  </a:lnTo>
                  <a:lnTo>
                    <a:pt x="181" y="121"/>
                  </a:lnTo>
                  <a:lnTo>
                    <a:pt x="181" y="119"/>
                  </a:lnTo>
                  <a:lnTo>
                    <a:pt x="179" y="119"/>
                  </a:lnTo>
                  <a:lnTo>
                    <a:pt x="179" y="121"/>
                  </a:lnTo>
                  <a:lnTo>
                    <a:pt x="179" y="123"/>
                  </a:lnTo>
                  <a:lnTo>
                    <a:pt x="181" y="123"/>
                  </a:lnTo>
                  <a:lnTo>
                    <a:pt x="179" y="123"/>
                  </a:lnTo>
                  <a:lnTo>
                    <a:pt x="179" y="125"/>
                  </a:lnTo>
                  <a:lnTo>
                    <a:pt x="179" y="127"/>
                  </a:lnTo>
                  <a:lnTo>
                    <a:pt x="179" y="125"/>
                  </a:lnTo>
                  <a:lnTo>
                    <a:pt x="181" y="127"/>
                  </a:lnTo>
                  <a:lnTo>
                    <a:pt x="183" y="127"/>
                  </a:lnTo>
                  <a:lnTo>
                    <a:pt x="183" y="125"/>
                  </a:lnTo>
                  <a:lnTo>
                    <a:pt x="183" y="123"/>
                  </a:lnTo>
                  <a:lnTo>
                    <a:pt x="185" y="123"/>
                  </a:lnTo>
                  <a:lnTo>
                    <a:pt x="185" y="121"/>
                  </a:lnTo>
                  <a:lnTo>
                    <a:pt x="187" y="121"/>
                  </a:lnTo>
                  <a:lnTo>
                    <a:pt x="189" y="121"/>
                  </a:lnTo>
                  <a:lnTo>
                    <a:pt x="189" y="119"/>
                  </a:lnTo>
                  <a:lnTo>
                    <a:pt x="191" y="119"/>
                  </a:lnTo>
                  <a:lnTo>
                    <a:pt x="191" y="119"/>
                  </a:lnTo>
                  <a:lnTo>
                    <a:pt x="191" y="117"/>
                  </a:lnTo>
                  <a:lnTo>
                    <a:pt x="191" y="114"/>
                  </a:lnTo>
                  <a:lnTo>
                    <a:pt x="193" y="114"/>
                  </a:lnTo>
                  <a:lnTo>
                    <a:pt x="193" y="112"/>
                  </a:lnTo>
                  <a:lnTo>
                    <a:pt x="193" y="110"/>
                  </a:lnTo>
                  <a:lnTo>
                    <a:pt x="195" y="110"/>
                  </a:lnTo>
                  <a:lnTo>
                    <a:pt x="197" y="110"/>
                  </a:lnTo>
                  <a:lnTo>
                    <a:pt x="195" y="110"/>
                  </a:lnTo>
                  <a:lnTo>
                    <a:pt x="195" y="112"/>
                  </a:lnTo>
                  <a:lnTo>
                    <a:pt x="195" y="110"/>
                  </a:lnTo>
                  <a:lnTo>
                    <a:pt x="195" y="112"/>
                  </a:lnTo>
                  <a:lnTo>
                    <a:pt x="197" y="112"/>
                  </a:lnTo>
                  <a:lnTo>
                    <a:pt x="197" y="110"/>
                  </a:lnTo>
                  <a:lnTo>
                    <a:pt x="197" y="108"/>
                  </a:lnTo>
                  <a:lnTo>
                    <a:pt x="199" y="108"/>
                  </a:lnTo>
                  <a:lnTo>
                    <a:pt x="199" y="110"/>
                  </a:lnTo>
                  <a:lnTo>
                    <a:pt x="197" y="110"/>
                  </a:lnTo>
                  <a:lnTo>
                    <a:pt x="199" y="110"/>
                  </a:lnTo>
                  <a:lnTo>
                    <a:pt x="199" y="108"/>
                  </a:lnTo>
                  <a:lnTo>
                    <a:pt x="201" y="108"/>
                  </a:lnTo>
                  <a:lnTo>
                    <a:pt x="201" y="110"/>
                  </a:lnTo>
                  <a:lnTo>
                    <a:pt x="203" y="110"/>
                  </a:lnTo>
                  <a:lnTo>
                    <a:pt x="203" y="112"/>
                  </a:lnTo>
                  <a:lnTo>
                    <a:pt x="205" y="112"/>
                  </a:lnTo>
                  <a:lnTo>
                    <a:pt x="205" y="114"/>
                  </a:lnTo>
                  <a:lnTo>
                    <a:pt x="205" y="117"/>
                  </a:lnTo>
                  <a:lnTo>
                    <a:pt x="205" y="119"/>
                  </a:lnTo>
                  <a:lnTo>
                    <a:pt x="203" y="119"/>
                  </a:lnTo>
                  <a:lnTo>
                    <a:pt x="203" y="119"/>
                  </a:lnTo>
                  <a:lnTo>
                    <a:pt x="203" y="121"/>
                  </a:lnTo>
                  <a:lnTo>
                    <a:pt x="201" y="121"/>
                  </a:lnTo>
                  <a:lnTo>
                    <a:pt x="201" y="123"/>
                  </a:lnTo>
                  <a:lnTo>
                    <a:pt x="201" y="125"/>
                  </a:lnTo>
                  <a:lnTo>
                    <a:pt x="201" y="127"/>
                  </a:lnTo>
                  <a:lnTo>
                    <a:pt x="199" y="127"/>
                  </a:lnTo>
                  <a:lnTo>
                    <a:pt x="199" y="129"/>
                  </a:lnTo>
                  <a:lnTo>
                    <a:pt x="199" y="131"/>
                  </a:lnTo>
                  <a:lnTo>
                    <a:pt x="199" y="133"/>
                  </a:lnTo>
                  <a:lnTo>
                    <a:pt x="199" y="135"/>
                  </a:lnTo>
                  <a:lnTo>
                    <a:pt x="199" y="137"/>
                  </a:lnTo>
                  <a:lnTo>
                    <a:pt x="199" y="139"/>
                  </a:lnTo>
                  <a:lnTo>
                    <a:pt x="199" y="141"/>
                  </a:lnTo>
                  <a:lnTo>
                    <a:pt x="201" y="143"/>
                  </a:lnTo>
                  <a:lnTo>
                    <a:pt x="199" y="143"/>
                  </a:lnTo>
                  <a:lnTo>
                    <a:pt x="199" y="145"/>
                  </a:lnTo>
                  <a:lnTo>
                    <a:pt x="199" y="147"/>
                  </a:lnTo>
                  <a:lnTo>
                    <a:pt x="199" y="145"/>
                  </a:lnTo>
                  <a:lnTo>
                    <a:pt x="197" y="145"/>
                  </a:lnTo>
                  <a:lnTo>
                    <a:pt x="199" y="145"/>
                  </a:lnTo>
                  <a:lnTo>
                    <a:pt x="199" y="147"/>
                  </a:lnTo>
                  <a:lnTo>
                    <a:pt x="197" y="147"/>
                  </a:lnTo>
                  <a:lnTo>
                    <a:pt x="197" y="145"/>
                  </a:lnTo>
                  <a:lnTo>
                    <a:pt x="195" y="145"/>
                  </a:lnTo>
                  <a:lnTo>
                    <a:pt x="197" y="145"/>
                  </a:lnTo>
                  <a:lnTo>
                    <a:pt x="195" y="145"/>
                  </a:lnTo>
                  <a:lnTo>
                    <a:pt x="197" y="145"/>
                  </a:lnTo>
                  <a:lnTo>
                    <a:pt x="197" y="147"/>
                  </a:lnTo>
                  <a:lnTo>
                    <a:pt x="199" y="147"/>
                  </a:lnTo>
                  <a:lnTo>
                    <a:pt x="197" y="147"/>
                  </a:lnTo>
                  <a:lnTo>
                    <a:pt x="195" y="149"/>
                  </a:lnTo>
                  <a:lnTo>
                    <a:pt x="193" y="149"/>
                  </a:lnTo>
                  <a:lnTo>
                    <a:pt x="195" y="149"/>
                  </a:lnTo>
                  <a:lnTo>
                    <a:pt x="195" y="151"/>
                  </a:lnTo>
                  <a:lnTo>
                    <a:pt x="195" y="153"/>
                  </a:lnTo>
                  <a:lnTo>
                    <a:pt x="195" y="155"/>
                  </a:lnTo>
                  <a:lnTo>
                    <a:pt x="195" y="153"/>
                  </a:lnTo>
                  <a:lnTo>
                    <a:pt x="193" y="153"/>
                  </a:lnTo>
                  <a:lnTo>
                    <a:pt x="193" y="155"/>
                  </a:lnTo>
                  <a:lnTo>
                    <a:pt x="193" y="157"/>
                  </a:lnTo>
                  <a:lnTo>
                    <a:pt x="193" y="159"/>
                  </a:lnTo>
                  <a:lnTo>
                    <a:pt x="193" y="161"/>
                  </a:lnTo>
                  <a:lnTo>
                    <a:pt x="193" y="163"/>
                  </a:lnTo>
                  <a:lnTo>
                    <a:pt x="193" y="165"/>
                  </a:lnTo>
                  <a:lnTo>
                    <a:pt x="193" y="167"/>
                  </a:lnTo>
                  <a:lnTo>
                    <a:pt x="193" y="165"/>
                  </a:lnTo>
                  <a:lnTo>
                    <a:pt x="193" y="167"/>
                  </a:lnTo>
                  <a:lnTo>
                    <a:pt x="193" y="165"/>
                  </a:lnTo>
                  <a:lnTo>
                    <a:pt x="193" y="167"/>
                  </a:lnTo>
                  <a:lnTo>
                    <a:pt x="195" y="167"/>
                  </a:lnTo>
                  <a:lnTo>
                    <a:pt x="195" y="167"/>
                  </a:lnTo>
                  <a:lnTo>
                    <a:pt x="193" y="167"/>
                  </a:lnTo>
                  <a:lnTo>
                    <a:pt x="193" y="167"/>
                  </a:lnTo>
                  <a:lnTo>
                    <a:pt x="193" y="167"/>
                  </a:lnTo>
                  <a:lnTo>
                    <a:pt x="193" y="167"/>
                  </a:lnTo>
                  <a:lnTo>
                    <a:pt x="193" y="167"/>
                  </a:lnTo>
                  <a:lnTo>
                    <a:pt x="195" y="167"/>
                  </a:lnTo>
                  <a:lnTo>
                    <a:pt x="193" y="167"/>
                  </a:lnTo>
                  <a:lnTo>
                    <a:pt x="195" y="167"/>
                  </a:lnTo>
                  <a:lnTo>
                    <a:pt x="195" y="169"/>
                  </a:lnTo>
                  <a:lnTo>
                    <a:pt x="195" y="171"/>
                  </a:lnTo>
                  <a:lnTo>
                    <a:pt x="193" y="171"/>
                  </a:lnTo>
                  <a:lnTo>
                    <a:pt x="193" y="173"/>
                  </a:lnTo>
                  <a:lnTo>
                    <a:pt x="193" y="175"/>
                  </a:lnTo>
                  <a:lnTo>
                    <a:pt x="191" y="175"/>
                  </a:lnTo>
                  <a:lnTo>
                    <a:pt x="191" y="177"/>
                  </a:lnTo>
                  <a:lnTo>
                    <a:pt x="191" y="179"/>
                  </a:lnTo>
                  <a:lnTo>
                    <a:pt x="191" y="181"/>
                  </a:lnTo>
                  <a:lnTo>
                    <a:pt x="191" y="183"/>
                  </a:lnTo>
                  <a:lnTo>
                    <a:pt x="191" y="185"/>
                  </a:lnTo>
                  <a:lnTo>
                    <a:pt x="189" y="185"/>
                  </a:lnTo>
                  <a:lnTo>
                    <a:pt x="189" y="187"/>
                  </a:lnTo>
                  <a:lnTo>
                    <a:pt x="189" y="185"/>
                  </a:lnTo>
                  <a:lnTo>
                    <a:pt x="189" y="187"/>
                  </a:lnTo>
                  <a:lnTo>
                    <a:pt x="189" y="185"/>
                  </a:lnTo>
                  <a:lnTo>
                    <a:pt x="189" y="187"/>
                  </a:lnTo>
                  <a:lnTo>
                    <a:pt x="189" y="189"/>
                  </a:lnTo>
                  <a:lnTo>
                    <a:pt x="189" y="191"/>
                  </a:lnTo>
                  <a:lnTo>
                    <a:pt x="187" y="191"/>
                  </a:lnTo>
                  <a:lnTo>
                    <a:pt x="187" y="193"/>
                  </a:lnTo>
                  <a:lnTo>
                    <a:pt x="187" y="195"/>
                  </a:lnTo>
                  <a:lnTo>
                    <a:pt x="189" y="195"/>
                  </a:lnTo>
                  <a:lnTo>
                    <a:pt x="189" y="197"/>
                  </a:lnTo>
                  <a:lnTo>
                    <a:pt x="189" y="199"/>
                  </a:lnTo>
                  <a:lnTo>
                    <a:pt x="189" y="201"/>
                  </a:lnTo>
                  <a:lnTo>
                    <a:pt x="189" y="203"/>
                  </a:lnTo>
                  <a:lnTo>
                    <a:pt x="191" y="203"/>
                  </a:lnTo>
                  <a:lnTo>
                    <a:pt x="189" y="203"/>
                  </a:lnTo>
                  <a:lnTo>
                    <a:pt x="189" y="205"/>
                  </a:lnTo>
                  <a:lnTo>
                    <a:pt x="189" y="207"/>
                  </a:lnTo>
                  <a:lnTo>
                    <a:pt x="191" y="207"/>
                  </a:lnTo>
                  <a:lnTo>
                    <a:pt x="191" y="209"/>
                  </a:lnTo>
                  <a:lnTo>
                    <a:pt x="191" y="211"/>
                  </a:lnTo>
                  <a:lnTo>
                    <a:pt x="191" y="213"/>
                  </a:lnTo>
                  <a:lnTo>
                    <a:pt x="191" y="213"/>
                  </a:lnTo>
                  <a:lnTo>
                    <a:pt x="193" y="213"/>
                  </a:lnTo>
                  <a:lnTo>
                    <a:pt x="193" y="215"/>
                  </a:lnTo>
                  <a:lnTo>
                    <a:pt x="195" y="215"/>
                  </a:lnTo>
                  <a:lnTo>
                    <a:pt x="195" y="217"/>
                  </a:lnTo>
                  <a:lnTo>
                    <a:pt x="195" y="219"/>
                  </a:lnTo>
                  <a:lnTo>
                    <a:pt x="195" y="221"/>
                  </a:lnTo>
                  <a:lnTo>
                    <a:pt x="195" y="223"/>
                  </a:lnTo>
                  <a:lnTo>
                    <a:pt x="193" y="223"/>
                  </a:lnTo>
                  <a:lnTo>
                    <a:pt x="193" y="225"/>
                  </a:lnTo>
                  <a:lnTo>
                    <a:pt x="193" y="227"/>
                  </a:lnTo>
                  <a:lnTo>
                    <a:pt x="195" y="227"/>
                  </a:lnTo>
                  <a:lnTo>
                    <a:pt x="193" y="227"/>
                  </a:lnTo>
                  <a:lnTo>
                    <a:pt x="195" y="227"/>
                  </a:lnTo>
                  <a:lnTo>
                    <a:pt x="195" y="229"/>
                  </a:lnTo>
                  <a:lnTo>
                    <a:pt x="195" y="231"/>
                  </a:lnTo>
                  <a:lnTo>
                    <a:pt x="195" y="233"/>
                  </a:lnTo>
                  <a:lnTo>
                    <a:pt x="195" y="231"/>
                  </a:lnTo>
                  <a:lnTo>
                    <a:pt x="195" y="233"/>
                  </a:lnTo>
                  <a:lnTo>
                    <a:pt x="193" y="233"/>
                  </a:lnTo>
                  <a:lnTo>
                    <a:pt x="191" y="233"/>
                  </a:lnTo>
                  <a:lnTo>
                    <a:pt x="189" y="233"/>
                  </a:lnTo>
                  <a:lnTo>
                    <a:pt x="187" y="233"/>
                  </a:lnTo>
                  <a:lnTo>
                    <a:pt x="185" y="233"/>
                  </a:lnTo>
                  <a:lnTo>
                    <a:pt x="183" y="233"/>
                  </a:lnTo>
                  <a:lnTo>
                    <a:pt x="181" y="233"/>
                  </a:lnTo>
                  <a:lnTo>
                    <a:pt x="179" y="233"/>
                  </a:lnTo>
                  <a:lnTo>
                    <a:pt x="179" y="233"/>
                  </a:lnTo>
                  <a:lnTo>
                    <a:pt x="177" y="233"/>
                  </a:lnTo>
                  <a:lnTo>
                    <a:pt x="175" y="233"/>
                  </a:lnTo>
                  <a:lnTo>
                    <a:pt x="173" y="233"/>
                  </a:lnTo>
                  <a:lnTo>
                    <a:pt x="169" y="233"/>
                  </a:lnTo>
                  <a:lnTo>
                    <a:pt x="167" y="233"/>
                  </a:lnTo>
                  <a:lnTo>
                    <a:pt x="165" y="233"/>
                  </a:lnTo>
                  <a:lnTo>
                    <a:pt x="163" y="233"/>
                  </a:lnTo>
                  <a:lnTo>
                    <a:pt x="161" y="233"/>
                  </a:lnTo>
                  <a:lnTo>
                    <a:pt x="161" y="235"/>
                  </a:lnTo>
                  <a:lnTo>
                    <a:pt x="159" y="235"/>
                  </a:lnTo>
                  <a:lnTo>
                    <a:pt x="157" y="235"/>
                  </a:lnTo>
                  <a:lnTo>
                    <a:pt x="155" y="235"/>
                  </a:lnTo>
                  <a:lnTo>
                    <a:pt x="153" y="235"/>
                  </a:lnTo>
                  <a:lnTo>
                    <a:pt x="151" y="235"/>
                  </a:lnTo>
                  <a:lnTo>
                    <a:pt x="149" y="235"/>
                  </a:lnTo>
                  <a:lnTo>
                    <a:pt x="147" y="235"/>
                  </a:lnTo>
                  <a:lnTo>
                    <a:pt x="145" y="235"/>
                  </a:lnTo>
                  <a:lnTo>
                    <a:pt x="143" y="235"/>
                  </a:lnTo>
                  <a:lnTo>
                    <a:pt x="141" y="235"/>
                  </a:lnTo>
                  <a:lnTo>
                    <a:pt x="139" y="235"/>
                  </a:lnTo>
                  <a:lnTo>
                    <a:pt x="137" y="235"/>
                  </a:lnTo>
                  <a:lnTo>
                    <a:pt x="135" y="235"/>
                  </a:lnTo>
                  <a:lnTo>
                    <a:pt x="133" y="235"/>
                  </a:lnTo>
                  <a:lnTo>
                    <a:pt x="131" y="235"/>
                  </a:lnTo>
                  <a:lnTo>
                    <a:pt x="131" y="235"/>
                  </a:lnTo>
                  <a:lnTo>
                    <a:pt x="129" y="235"/>
                  </a:lnTo>
                  <a:lnTo>
                    <a:pt x="127" y="235"/>
                  </a:lnTo>
                  <a:lnTo>
                    <a:pt x="125" y="235"/>
                  </a:lnTo>
                  <a:lnTo>
                    <a:pt x="123" y="235"/>
                  </a:lnTo>
                  <a:lnTo>
                    <a:pt x="121" y="235"/>
                  </a:lnTo>
                  <a:lnTo>
                    <a:pt x="119" y="235"/>
                  </a:lnTo>
                  <a:lnTo>
                    <a:pt x="117" y="235"/>
                  </a:lnTo>
                  <a:lnTo>
                    <a:pt x="115" y="235"/>
                  </a:lnTo>
                  <a:lnTo>
                    <a:pt x="112" y="235"/>
                  </a:lnTo>
                  <a:lnTo>
                    <a:pt x="110" y="235"/>
                  </a:lnTo>
                  <a:lnTo>
                    <a:pt x="108" y="235"/>
                  </a:lnTo>
                  <a:lnTo>
                    <a:pt x="106" y="235"/>
                  </a:lnTo>
                  <a:lnTo>
                    <a:pt x="104" y="235"/>
                  </a:lnTo>
                  <a:lnTo>
                    <a:pt x="102" y="235"/>
                  </a:lnTo>
                  <a:lnTo>
                    <a:pt x="100" y="235"/>
                  </a:lnTo>
                  <a:lnTo>
                    <a:pt x="98" y="235"/>
                  </a:lnTo>
                  <a:lnTo>
                    <a:pt x="96" y="235"/>
                  </a:lnTo>
                  <a:lnTo>
                    <a:pt x="94" y="235"/>
                  </a:lnTo>
                  <a:lnTo>
                    <a:pt x="92" y="235"/>
                  </a:lnTo>
                  <a:lnTo>
                    <a:pt x="90" y="235"/>
                  </a:lnTo>
                  <a:lnTo>
                    <a:pt x="88" y="235"/>
                  </a:lnTo>
                  <a:lnTo>
                    <a:pt x="86" y="235"/>
                  </a:lnTo>
                  <a:lnTo>
                    <a:pt x="84" y="235"/>
                  </a:lnTo>
                  <a:lnTo>
                    <a:pt x="84" y="233"/>
                  </a:lnTo>
                  <a:lnTo>
                    <a:pt x="82" y="233"/>
                  </a:lnTo>
                  <a:lnTo>
                    <a:pt x="82" y="231"/>
                  </a:lnTo>
                  <a:lnTo>
                    <a:pt x="82" y="229"/>
                  </a:lnTo>
                  <a:lnTo>
                    <a:pt x="82" y="229"/>
                  </a:lnTo>
                  <a:lnTo>
                    <a:pt x="80" y="229"/>
                  </a:lnTo>
                  <a:lnTo>
                    <a:pt x="80" y="227"/>
                  </a:lnTo>
                  <a:lnTo>
                    <a:pt x="78" y="227"/>
                  </a:lnTo>
                  <a:lnTo>
                    <a:pt x="76" y="227"/>
                  </a:lnTo>
                  <a:lnTo>
                    <a:pt x="74" y="227"/>
                  </a:lnTo>
                  <a:lnTo>
                    <a:pt x="72" y="227"/>
                  </a:lnTo>
                  <a:lnTo>
                    <a:pt x="72" y="225"/>
                  </a:lnTo>
                  <a:lnTo>
                    <a:pt x="70" y="225"/>
                  </a:lnTo>
                  <a:lnTo>
                    <a:pt x="70" y="223"/>
                  </a:lnTo>
                  <a:lnTo>
                    <a:pt x="68" y="223"/>
                  </a:lnTo>
                  <a:lnTo>
                    <a:pt x="70" y="223"/>
                  </a:lnTo>
                  <a:lnTo>
                    <a:pt x="68" y="223"/>
                  </a:lnTo>
                  <a:lnTo>
                    <a:pt x="68" y="221"/>
                  </a:lnTo>
                  <a:lnTo>
                    <a:pt x="68" y="219"/>
                  </a:lnTo>
                  <a:lnTo>
                    <a:pt x="68" y="217"/>
                  </a:lnTo>
                  <a:lnTo>
                    <a:pt x="68" y="215"/>
                  </a:lnTo>
                  <a:lnTo>
                    <a:pt x="66" y="215"/>
                  </a:lnTo>
                  <a:lnTo>
                    <a:pt x="66" y="213"/>
                  </a:lnTo>
                  <a:lnTo>
                    <a:pt x="66" y="213"/>
                  </a:lnTo>
                  <a:lnTo>
                    <a:pt x="66" y="211"/>
                  </a:lnTo>
                  <a:lnTo>
                    <a:pt x="64" y="211"/>
                  </a:lnTo>
                  <a:lnTo>
                    <a:pt x="64" y="209"/>
                  </a:lnTo>
                  <a:lnTo>
                    <a:pt x="64" y="207"/>
                  </a:lnTo>
                  <a:lnTo>
                    <a:pt x="64" y="205"/>
                  </a:lnTo>
                  <a:lnTo>
                    <a:pt x="66" y="203"/>
                  </a:lnTo>
                  <a:lnTo>
                    <a:pt x="66" y="201"/>
                  </a:lnTo>
                  <a:lnTo>
                    <a:pt x="68" y="201"/>
                  </a:lnTo>
                  <a:lnTo>
                    <a:pt x="68" y="199"/>
                  </a:lnTo>
                  <a:lnTo>
                    <a:pt x="68" y="197"/>
                  </a:lnTo>
                  <a:lnTo>
                    <a:pt x="68" y="195"/>
                  </a:lnTo>
                  <a:lnTo>
                    <a:pt x="66" y="195"/>
                  </a:lnTo>
                  <a:lnTo>
                    <a:pt x="66" y="193"/>
                  </a:lnTo>
                  <a:lnTo>
                    <a:pt x="64" y="193"/>
                  </a:lnTo>
                  <a:lnTo>
                    <a:pt x="62" y="193"/>
                  </a:lnTo>
                  <a:lnTo>
                    <a:pt x="62" y="191"/>
                  </a:lnTo>
                  <a:lnTo>
                    <a:pt x="64" y="191"/>
                  </a:lnTo>
                  <a:lnTo>
                    <a:pt x="64" y="189"/>
                  </a:lnTo>
                  <a:lnTo>
                    <a:pt x="62" y="189"/>
                  </a:lnTo>
                  <a:lnTo>
                    <a:pt x="62" y="187"/>
                  </a:lnTo>
                  <a:lnTo>
                    <a:pt x="62" y="185"/>
                  </a:lnTo>
                  <a:lnTo>
                    <a:pt x="62" y="183"/>
                  </a:lnTo>
                  <a:lnTo>
                    <a:pt x="62" y="181"/>
                  </a:lnTo>
                  <a:lnTo>
                    <a:pt x="62" y="179"/>
                  </a:lnTo>
                  <a:lnTo>
                    <a:pt x="60" y="179"/>
                  </a:lnTo>
                  <a:lnTo>
                    <a:pt x="60" y="177"/>
                  </a:lnTo>
                  <a:lnTo>
                    <a:pt x="60" y="175"/>
                  </a:lnTo>
                  <a:lnTo>
                    <a:pt x="60" y="173"/>
                  </a:lnTo>
                  <a:lnTo>
                    <a:pt x="60" y="171"/>
                  </a:lnTo>
                  <a:lnTo>
                    <a:pt x="62" y="171"/>
                  </a:lnTo>
                  <a:lnTo>
                    <a:pt x="62" y="169"/>
                  </a:lnTo>
                  <a:lnTo>
                    <a:pt x="60" y="169"/>
                  </a:lnTo>
                  <a:lnTo>
                    <a:pt x="60" y="167"/>
                  </a:lnTo>
                  <a:lnTo>
                    <a:pt x="60" y="167"/>
                  </a:lnTo>
                  <a:lnTo>
                    <a:pt x="58" y="167"/>
                  </a:lnTo>
                  <a:lnTo>
                    <a:pt x="58" y="165"/>
                  </a:lnTo>
                  <a:lnTo>
                    <a:pt x="56" y="165"/>
                  </a:lnTo>
                  <a:lnTo>
                    <a:pt x="56" y="163"/>
                  </a:lnTo>
                  <a:lnTo>
                    <a:pt x="56" y="161"/>
                  </a:lnTo>
                  <a:lnTo>
                    <a:pt x="54" y="161"/>
                  </a:lnTo>
                  <a:lnTo>
                    <a:pt x="54" y="159"/>
                  </a:lnTo>
                  <a:lnTo>
                    <a:pt x="52" y="159"/>
                  </a:lnTo>
                  <a:lnTo>
                    <a:pt x="50" y="159"/>
                  </a:lnTo>
                  <a:lnTo>
                    <a:pt x="48" y="159"/>
                  </a:lnTo>
                  <a:lnTo>
                    <a:pt x="48" y="157"/>
                  </a:lnTo>
                  <a:lnTo>
                    <a:pt x="46" y="157"/>
                  </a:lnTo>
                  <a:lnTo>
                    <a:pt x="46" y="155"/>
                  </a:lnTo>
                  <a:lnTo>
                    <a:pt x="44" y="155"/>
                  </a:lnTo>
                  <a:lnTo>
                    <a:pt x="44" y="153"/>
                  </a:lnTo>
                  <a:lnTo>
                    <a:pt x="42" y="153"/>
                  </a:lnTo>
                  <a:lnTo>
                    <a:pt x="40" y="153"/>
                  </a:lnTo>
                  <a:lnTo>
                    <a:pt x="40" y="151"/>
                  </a:lnTo>
                  <a:lnTo>
                    <a:pt x="38" y="151"/>
                  </a:lnTo>
                  <a:lnTo>
                    <a:pt x="38" y="149"/>
                  </a:lnTo>
                  <a:lnTo>
                    <a:pt x="36" y="149"/>
                  </a:lnTo>
                  <a:lnTo>
                    <a:pt x="36" y="147"/>
                  </a:lnTo>
                  <a:lnTo>
                    <a:pt x="36" y="145"/>
                  </a:lnTo>
                  <a:lnTo>
                    <a:pt x="34" y="145"/>
                  </a:lnTo>
                  <a:lnTo>
                    <a:pt x="36" y="143"/>
                  </a:lnTo>
                  <a:lnTo>
                    <a:pt x="34" y="143"/>
                  </a:lnTo>
                  <a:lnTo>
                    <a:pt x="34" y="141"/>
                  </a:lnTo>
                  <a:lnTo>
                    <a:pt x="34" y="141"/>
                  </a:lnTo>
                  <a:lnTo>
                    <a:pt x="34" y="139"/>
                  </a:lnTo>
                  <a:lnTo>
                    <a:pt x="32" y="139"/>
                  </a:lnTo>
                  <a:lnTo>
                    <a:pt x="30" y="139"/>
                  </a:lnTo>
                  <a:lnTo>
                    <a:pt x="30" y="137"/>
                  </a:lnTo>
                  <a:lnTo>
                    <a:pt x="28" y="137"/>
                  </a:lnTo>
                  <a:lnTo>
                    <a:pt x="26" y="137"/>
                  </a:lnTo>
                  <a:lnTo>
                    <a:pt x="24" y="135"/>
                  </a:lnTo>
                  <a:lnTo>
                    <a:pt x="22" y="135"/>
                  </a:lnTo>
                  <a:lnTo>
                    <a:pt x="22" y="133"/>
                  </a:lnTo>
                  <a:lnTo>
                    <a:pt x="22" y="131"/>
                  </a:lnTo>
                  <a:lnTo>
                    <a:pt x="20" y="131"/>
                  </a:lnTo>
                  <a:lnTo>
                    <a:pt x="20" y="129"/>
                  </a:lnTo>
                  <a:lnTo>
                    <a:pt x="18" y="129"/>
                  </a:lnTo>
                  <a:lnTo>
                    <a:pt x="16" y="129"/>
                  </a:lnTo>
                  <a:lnTo>
                    <a:pt x="14" y="129"/>
                  </a:lnTo>
                  <a:lnTo>
                    <a:pt x="12" y="129"/>
                  </a:lnTo>
                  <a:lnTo>
                    <a:pt x="12" y="127"/>
                  </a:lnTo>
                  <a:lnTo>
                    <a:pt x="10" y="127"/>
                  </a:lnTo>
                  <a:lnTo>
                    <a:pt x="10" y="125"/>
                  </a:lnTo>
                  <a:lnTo>
                    <a:pt x="8" y="125"/>
                  </a:lnTo>
                  <a:lnTo>
                    <a:pt x="8" y="123"/>
                  </a:lnTo>
                  <a:lnTo>
                    <a:pt x="6" y="123"/>
                  </a:lnTo>
                  <a:lnTo>
                    <a:pt x="6" y="121"/>
                  </a:lnTo>
                  <a:lnTo>
                    <a:pt x="4" y="121"/>
                  </a:lnTo>
                  <a:lnTo>
                    <a:pt x="4" y="119"/>
                  </a:lnTo>
                  <a:lnTo>
                    <a:pt x="4" y="119"/>
                  </a:lnTo>
                  <a:lnTo>
                    <a:pt x="4" y="117"/>
                  </a:lnTo>
                  <a:lnTo>
                    <a:pt x="4" y="114"/>
                  </a:lnTo>
                  <a:lnTo>
                    <a:pt x="6" y="114"/>
                  </a:lnTo>
                  <a:lnTo>
                    <a:pt x="4" y="114"/>
                  </a:lnTo>
                  <a:lnTo>
                    <a:pt x="4" y="112"/>
                  </a:lnTo>
                  <a:lnTo>
                    <a:pt x="6" y="112"/>
                  </a:lnTo>
                  <a:lnTo>
                    <a:pt x="6" y="110"/>
                  </a:lnTo>
                  <a:lnTo>
                    <a:pt x="6" y="108"/>
                  </a:lnTo>
                  <a:lnTo>
                    <a:pt x="4" y="108"/>
                  </a:lnTo>
                  <a:lnTo>
                    <a:pt x="4" y="106"/>
                  </a:lnTo>
                  <a:lnTo>
                    <a:pt x="6" y="106"/>
                  </a:lnTo>
                  <a:lnTo>
                    <a:pt x="4" y="106"/>
                  </a:lnTo>
                  <a:lnTo>
                    <a:pt x="4" y="104"/>
                  </a:lnTo>
                  <a:lnTo>
                    <a:pt x="4" y="102"/>
                  </a:lnTo>
                  <a:lnTo>
                    <a:pt x="6" y="102"/>
                  </a:lnTo>
                  <a:lnTo>
                    <a:pt x="6" y="100"/>
                  </a:lnTo>
                  <a:lnTo>
                    <a:pt x="6" y="98"/>
                  </a:lnTo>
                  <a:lnTo>
                    <a:pt x="6" y="96"/>
                  </a:lnTo>
                  <a:lnTo>
                    <a:pt x="6" y="94"/>
                  </a:lnTo>
                  <a:lnTo>
                    <a:pt x="6" y="92"/>
                  </a:lnTo>
                  <a:lnTo>
                    <a:pt x="6" y="90"/>
                  </a:lnTo>
                  <a:lnTo>
                    <a:pt x="8" y="90"/>
                  </a:lnTo>
                  <a:lnTo>
                    <a:pt x="8" y="88"/>
                  </a:lnTo>
                  <a:lnTo>
                    <a:pt x="8" y="86"/>
                  </a:lnTo>
                  <a:lnTo>
                    <a:pt x="10" y="86"/>
                  </a:lnTo>
                  <a:lnTo>
                    <a:pt x="10" y="84"/>
                  </a:lnTo>
                  <a:lnTo>
                    <a:pt x="10" y="82"/>
                  </a:lnTo>
                  <a:lnTo>
                    <a:pt x="8" y="82"/>
                  </a:lnTo>
                  <a:lnTo>
                    <a:pt x="8" y="80"/>
                  </a:lnTo>
                  <a:lnTo>
                    <a:pt x="6" y="80"/>
                  </a:lnTo>
                  <a:lnTo>
                    <a:pt x="6" y="78"/>
                  </a:lnTo>
                  <a:lnTo>
                    <a:pt x="6" y="76"/>
                  </a:lnTo>
                  <a:lnTo>
                    <a:pt x="4" y="76"/>
                  </a:lnTo>
                  <a:lnTo>
                    <a:pt x="4" y="78"/>
                  </a:lnTo>
                  <a:lnTo>
                    <a:pt x="2" y="78"/>
                  </a:lnTo>
                  <a:lnTo>
                    <a:pt x="2" y="76"/>
                  </a:lnTo>
                  <a:lnTo>
                    <a:pt x="0" y="76"/>
                  </a:lnTo>
                  <a:lnTo>
                    <a:pt x="2" y="76"/>
                  </a:lnTo>
                  <a:lnTo>
                    <a:pt x="0" y="76"/>
                  </a:lnTo>
                  <a:lnTo>
                    <a:pt x="2" y="74"/>
                  </a:lnTo>
                  <a:lnTo>
                    <a:pt x="0" y="74"/>
                  </a:lnTo>
                  <a:lnTo>
                    <a:pt x="0" y="72"/>
                  </a:lnTo>
                  <a:lnTo>
                    <a:pt x="2" y="72"/>
                  </a:lnTo>
                  <a:lnTo>
                    <a:pt x="2" y="70"/>
                  </a:lnTo>
                  <a:lnTo>
                    <a:pt x="2" y="70"/>
                  </a:lnTo>
                  <a:lnTo>
                    <a:pt x="4" y="70"/>
                  </a:lnTo>
                  <a:lnTo>
                    <a:pt x="4" y="68"/>
                  </a:lnTo>
                  <a:lnTo>
                    <a:pt x="6" y="68"/>
                  </a:lnTo>
                  <a:lnTo>
                    <a:pt x="6" y="66"/>
                  </a:lnTo>
                  <a:lnTo>
                    <a:pt x="6" y="64"/>
                  </a:lnTo>
                  <a:lnTo>
                    <a:pt x="6" y="62"/>
                  </a:lnTo>
                  <a:lnTo>
                    <a:pt x="8" y="62"/>
                  </a:lnTo>
                  <a:lnTo>
                    <a:pt x="8" y="60"/>
                  </a:lnTo>
                  <a:lnTo>
                    <a:pt x="10" y="60"/>
                  </a:lnTo>
                  <a:lnTo>
                    <a:pt x="12" y="60"/>
                  </a:lnTo>
                  <a:lnTo>
                    <a:pt x="12" y="58"/>
                  </a:lnTo>
                  <a:lnTo>
                    <a:pt x="14" y="58"/>
                  </a:lnTo>
                  <a:lnTo>
                    <a:pt x="14" y="56"/>
                  </a:lnTo>
                  <a:lnTo>
                    <a:pt x="16" y="56"/>
                  </a:lnTo>
                  <a:lnTo>
                    <a:pt x="16" y="58"/>
                  </a:lnTo>
                  <a:lnTo>
                    <a:pt x="18" y="58"/>
                  </a:lnTo>
                  <a:lnTo>
                    <a:pt x="16" y="56"/>
                  </a:lnTo>
                  <a:lnTo>
                    <a:pt x="18" y="56"/>
                  </a:lnTo>
                  <a:lnTo>
                    <a:pt x="18" y="54"/>
                  </a:lnTo>
                  <a:lnTo>
                    <a:pt x="20" y="54"/>
                  </a:lnTo>
                  <a:lnTo>
                    <a:pt x="20" y="56"/>
                  </a:lnTo>
                  <a:lnTo>
                    <a:pt x="22" y="56"/>
                  </a:lnTo>
                  <a:lnTo>
                    <a:pt x="22" y="54"/>
                  </a:lnTo>
                  <a:lnTo>
                    <a:pt x="22" y="52"/>
                  </a:lnTo>
                  <a:lnTo>
                    <a:pt x="24" y="52"/>
                  </a:lnTo>
                  <a:lnTo>
                    <a:pt x="24" y="50"/>
                  </a:lnTo>
                  <a:lnTo>
                    <a:pt x="24" y="48"/>
                  </a:lnTo>
                  <a:lnTo>
                    <a:pt x="24" y="46"/>
                  </a:lnTo>
                  <a:lnTo>
                    <a:pt x="24" y="44"/>
                  </a:lnTo>
                  <a:lnTo>
                    <a:pt x="24" y="42"/>
                  </a:lnTo>
                  <a:lnTo>
                    <a:pt x="24" y="40"/>
                  </a:lnTo>
                  <a:lnTo>
                    <a:pt x="24" y="38"/>
                  </a:lnTo>
                  <a:lnTo>
                    <a:pt x="24" y="36"/>
                  </a:lnTo>
                  <a:lnTo>
                    <a:pt x="24" y="34"/>
                  </a:lnTo>
                  <a:lnTo>
                    <a:pt x="24" y="32"/>
                  </a:lnTo>
                  <a:lnTo>
                    <a:pt x="24" y="30"/>
                  </a:lnTo>
                  <a:lnTo>
                    <a:pt x="24" y="28"/>
                  </a:lnTo>
                  <a:lnTo>
                    <a:pt x="24" y="26"/>
                  </a:lnTo>
                  <a:lnTo>
                    <a:pt x="24" y="24"/>
                  </a:lnTo>
                  <a:lnTo>
                    <a:pt x="24" y="22"/>
                  </a:lnTo>
                  <a:lnTo>
                    <a:pt x="24" y="22"/>
                  </a:lnTo>
                  <a:lnTo>
                    <a:pt x="24" y="22"/>
                  </a:lnTo>
                  <a:lnTo>
                    <a:pt x="26" y="22"/>
                  </a:lnTo>
                  <a:lnTo>
                    <a:pt x="24" y="22"/>
                  </a:lnTo>
                  <a:lnTo>
                    <a:pt x="26" y="22"/>
                  </a:lnTo>
                  <a:lnTo>
                    <a:pt x="26" y="22"/>
                  </a:lnTo>
                  <a:lnTo>
                    <a:pt x="28" y="22"/>
                  </a:lnTo>
                  <a:lnTo>
                    <a:pt x="28" y="20"/>
                  </a:lnTo>
                  <a:lnTo>
                    <a:pt x="28" y="22"/>
                  </a:lnTo>
                  <a:lnTo>
                    <a:pt x="30" y="22"/>
                  </a:lnTo>
                  <a:lnTo>
                    <a:pt x="28" y="22"/>
                  </a:lnTo>
                  <a:lnTo>
                    <a:pt x="28" y="20"/>
                  </a:lnTo>
                  <a:lnTo>
                    <a:pt x="28" y="22"/>
                  </a:lnTo>
                  <a:lnTo>
                    <a:pt x="28" y="20"/>
                  </a:lnTo>
                  <a:lnTo>
                    <a:pt x="28" y="22"/>
                  </a:lnTo>
                  <a:lnTo>
                    <a:pt x="28" y="20"/>
                  </a:lnTo>
                  <a:lnTo>
                    <a:pt x="30" y="20"/>
                  </a:lnTo>
                  <a:lnTo>
                    <a:pt x="28" y="20"/>
                  </a:lnTo>
                  <a:lnTo>
                    <a:pt x="30" y="20"/>
                  </a:lnTo>
                  <a:lnTo>
                    <a:pt x="28" y="20"/>
                  </a:lnTo>
                  <a:lnTo>
                    <a:pt x="30" y="20"/>
                  </a:lnTo>
                  <a:lnTo>
                    <a:pt x="28" y="20"/>
                  </a:lnTo>
                  <a:lnTo>
                    <a:pt x="30" y="20"/>
                  </a:lnTo>
                  <a:lnTo>
                    <a:pt x="28" y="20"/>
                  </a:lnTo>
                  <a:lnTo>
                    <a:pt x="30" y="20"/>
                  </a:lnTo>
                  <a:lnTo>
                    <a:pt x="28" y="20"/>
                  </a:lnTo>
                  <a:lnTo>
                    <a:pt x="30" y="20"/>
                  </a:lnTo>
                  <a:lnTo>
                    <a:pt x="30" y="18"/>
                  </a:lnTo>
                  <a:lnTo>
                    <a:pt x="30" y="20"/>
                  </a:lnTo>
                  <a:lnTo>
                    <a:pt x="30" y="18"/>
                  </a:lnTo>
                  <a:lnTo>
                    <a:pt x="30" y="20"/>
                  </a:lnTo>
                  <a:lnTo>
                    <a:pt x="30" y="18"/>
                  </a:lnTo>
                  <a:lnTo>
                    <a:pt x="30" y="20"/>
                  </a:lnTo>
                  <a:lnTo>
                    <a:pt x="30" y="18"/>
                  </a:lnTo>
                  <a:lnTo>
                    <a:pt x="30" y="20"/>
                  </a:lnTo>
                  <a:lnTo>
                    <a:pt x="30" y="18"/>
                  </a:lnTo>
                  <a:lnTo>
                    <a:pt x="32" y="20"/>
                  </a:lnTo>
                  <a:lnTo>
                    <a:pt x="32" y="18"/>
                  </a:lnTo>
                  <a:lnTo>
                    <a:pt x="30" y="18"/>
                  </a:lnTo>
                  <a:lnTo>
                    <a:pt x="32" y="18"/>
                  </a:lnTo>
                  <a:lnTo>
                    <a:pt x="32" y="20"/>
                  </a:lnTo>
                  <a:lnTo>
                    <a:pt x="34" y="20"/>
                  </a:lnTo>
                  <a:lnTo>
                    <a:pt x="32" y="20"/>
                  </a:lnTo>
                  <a:lnTo>
                    <a:pt x="34" y="20"/>
                  </a:lnTo>
                  <a:lnTo>
                    <a:pt x="34" y="22"/>
                  </a:lnTo>
                  <a:lnTo>
                    <a:pt x="34" y="20"/>
                  </a:lnTo>
                  <a:lnTo>
                    <a:pt x="34" y="22"/>
                  </a:lnTo>
                  <a:lnTo>
                    <a:pt x="34" y="20"/>
                  </a:lnTo>
                  <a:lnTo>
                    <a:pt x="34" y="22"/>
                  </a:lnTo>
                  <a:lnTo>
                    <a:pt x="34" y="20"/>
                  </a:lnTo>
                  <a:lnTo>
                    <a:pt x="34" y="22"/>
                  </a:lnTo>
                  <a:lnTo>
                    <a:pt x="34" y="20"/>
                  </a:lnTo>
                  <a:lnTo>
                    <a:pt x="34" y="22"/>
                  </a:lnTo>
                  <a:lnTo>
                    <a:pt x="34" y="20"/>
                  </a:lnTo>
                  <a:lnTo>
                    <a:pt x="34" y="22"/>
                  </a:lnTo>
                  <a:lnTo>
                    <a:pt x="34" y="20"/>
                  </a:lnTo>
                  <a:lnTo>
                    <a:pt x="34" y="22"/>
                  </a:lnTo>
                  <a:lnTo>
                    <a:pt x="34" y="22"/>
                  </a:lnTo>
                  <a:lnTo>
                    <a:pt x="34" y="22"/>
                  </a:lnTo>
                  <a:lnTo>
                    <a:pt x="34" y="20"/>
                  </a:lnTo>
                  <a:lnTo>
                    <a:pt x="34" y="22"/>
                  </a:lnTo>
                  <a:lnTo>
                    <a:pt x="34" y="22"/>
                  </a:lnTo>
                  <a:lnTo>
                    <a:pt x="36" y="22"/>
                  </a:lnTo>
                  <a:lnTo>
                    <a:pt x="38" y="22"/>
                  </a:lnTo>
                  <a:lnTo>
                    <a:pt x="40" y="22"/>
                  </a:lnTo>
                  <a:lnTo>
                    <a:pt x="40" y="20"/>
                  </a:lnTo>
                  <a:lnTo>
                    <a:pt x="42" y="20"/>
                  </a:lnTo>
                  <a:lnTo>
                    <a:pt x="44" y="20"/>
                  </a:lnTo>
                  <a:lnTo>
                    <a:pt x="46" y="20"/>
                  </a:lnTo>
                  <a:lnTo>
                    <a:pt x="46" y="18"/>
                  </a:lnTo>
                  <a:lnTo>
                    <a:pt x="48" y="18"/>
                  </a:lnTo>
                  <a:lnTo>
                    <a:pt x="50" y="18"/>
                  </a:lnTo>
                  <a:lnTo>
                    <a:pt x="52" y="18"/>
                  </a:lnTo>
                  <a:lnTo>
                    <a:pt x="52" y="16"/>
                  </a:lnTo>
                  <a:lnTo>
                    <a:pt x="54" y="16"/>
                  </a:lnTo>
                  <a:lnTo>
                    <a:pt x="56" y="16"/>
                  </a:lnTo>
                  <a:lnTo>
                    <a:pt x="56" y="14"/>
                  </a:lnTo>
                  <a:lnTo>
                    <a:pt x="58" y="14"/>
                  </a:lnTo>
                  <a:lnTo>
                    <a:pt x="60" y="14"/>
                  </a:lnTo>
                  <a:lnTo>
                    <a:pt x="60" y="12"/>
                  </a:lnTo>
                  <a:lnTo>
                    <a:pt x="62" y="12"/>
                  </a:lnTo>
                  <a:lnTo>
                    <a:pt x="62" y="10"/>
                  </a:lnTo>
                  <a:lnTo>
                    <a:pt x="62" y="12"/>
                  </a:lnTo>
                  <a:lnTo>
                    <a:pt x="62" y="14"/>
                  </a:lnTo>
                  <a:lnTo>
                    <a:pt x="62" y="12"/>
                  </a:lnTo>
                  <a:lnTo>
                    <a:pt x="64" y="12"/>
                  </a:lnTo>
                  <a:lnTo>
                    <a:pt x="66" y="12"/>
                  </a:lnTo>
                  <a:lnTo>
                    <a:pt x="66" y="10"/>
                  </a:lnTo>
                  <a:lnTo>
                    <a:pt x="68" y="10"/>
                  </a:lnTo>
                  <a:lnTo>
                    <a:pt x="68" y="8"/>
                  </a:lnTo>
                  <a:lnTo>
                    <a:pt x="70" y="8"/>
                  </a:lnTo>
                  <a:lnTo>
                    <a:pt x="72" y="8"/>
                  </a:lnTo>
                  <a:lnTo>
                    <a:pt x="72" y="6"/>
                  </a:lnTo>
                  <a:lnTo>
                    <a:pt x="74" y="6"/>
                  </a:lnTo>
                  <a:close/>
                  <a:moveTo>
                    <a:pt x="78" y="6"/>
                  </a:moveTo>
                  <a:lnTo>
                    <a:pt x="78" y="8"/>
                  </a:lnTo>
                  <a:lnTo>
                    <a:pt x="80" y="8"/>
                  </a:lnTo>
                  <a:lnTo>
                    <a:pt x="80" y="10"/>
                  </a:lnTo>
                  <a:lnTo>
                    <a:pt x="78" y="10"/>
                  </a:lnTo>
                  <a:lnTo>
                    <a:pt x="78" y="8"/>
                  </a:lnTo>
                  <a:lnTo>
                    <a:pt x="78" y="6"/>
                  </a:lnTo>
                  <a:close/>
                  <a:moveTo>
                    <a:pt x="84" y="6"/>
                  </a:moveTo>
                  <a:lnTo>
                    <a:pt x="84" y="8"/>
                  </a:lnTo>
                  <a:lnTo>
                    <a:pt x="82" y="8"/>
                  </a:lnTo>
                  <a:lnTo>
                    <a:pt x="84" y="8"/>
                  </a:lnTo>
                  <a:lnTo>
                    <a:pt x="84" y="10"/>
                  </a:lnTo>
                  <a:lnTo>
                    <a:pt x="82" y="10"/>
                  </a:lnTo>
                  <a:lnTo>
                    <a:pt x="82" y="8"/>
                  </a:lnTo>
                  <a:lnTo>
                    <a:pt x="82" y="10"/>
                  </a:lnTo>
                  <a:lnTo>
                    <a:pt x="82" y="8"/>
                  </a:lnTo>
                  <a:lnTo>
                    <a:pt x="82" y="8"/>
                  </a:lnTo>
                  <a:lnTo>
                    <a:pt x="82" y="10"/>
                  </a:lnTo>
                  <a:lnTo>
                    <a:pt x="82" y="8"/>
                  </a:lnTo>
                  <a:lnTo>
                    <a:pt x="82" y="8"/>
                  </a:lnTo>
                  <a:lnTo>
                    <a:pt x="82" y="6"/>
                  </a:lnTo>
                  <a:lnTo>
                    <a:pt x="84" y="6"/>
                  </a:lnTo>
                  <a:close/>
                  <a:moveTo>
                    <a:pt x="82" y="8"/>
                  </a:moveTo>
                  <a:lnTo>
                    <a:pt x="84" y="8"/>
                  </a:lnTo>
                  <a:lnTo>
                    <a:pt x="82" y="8"/>
                  </a:lnTo>
                  <a:close/>
                  <a:moveTo>
                    <a:pt x="82" y="6"/>
                  </a:moveTo>
                  <a:lnTo>
                    <a:pt x="80" y="6"/>
                  </a:lnTo>
                  <a:lnTo>
                    <a:pt x="80" y="8"/>
                  </a:lnTo>
                  <a:lnTo>
                    <a:pt x="80" y="6"/>
                  </a:lnTo>
                  <a:lnTo>
                    <a:pt x="82" y="6"/>
                  </a:lnTo>
                  <a:close/>
                  <a:moveTo>
                    <a:pt x="74" y="6"/>
                  </a:moveTo>
                  <a:lnTo>
                    <a:pt x="72" y="6"/>
                  </a:lnTo>
                  <a:lnTo>
                    <a:pt x="74" y="6"/>
                  </a:lnTo>
                  <a:close/>
                  <a:moveTo>
                    <a:pt x="72" y="6"/>
                  </a:moveTo>
                  <a:lnTo>
                    <a:pt x="70" y="6"/>
                  </a:lnTo>
                  <a:lnTo>
                    <a:pt x="72" y="6"/>
                  </a:lnTo>
                  <a:lnTo>
                    <a:pt x="70" y="6"/>
                  </a:lnTo>
                  <a:lnTo>
                    <a:pt x="72" y="6"/>
                  </a:lnTo>
                  <a:lnTo>
                    <a:pt x="70" y="6"/>
                  </a:lnTo>
                  <a:lnTo>
                    <a:pt x="70" y="4"/>
                  </a:lnTo>
                  <a:lnTo>
                    <a:pt x="72" y="4"/>
                  </a:lnTo>
                  <a:lnTo>
                    <a:pt x="72" y="6"/>
                  </a:lnTo>
                  <a:close/>
                  <a:moveTo>
                    <a:pt x="80" y="4"/>
                  </a:moveTo>
                  <a:lnTo>
                    <a:pt x="80" y="6"/>
                  </a:lnTo>
                  <a:lnTo>
                    <a:pt x="78" y="6"/>
                  </a:lnTo>
                  <a:lnTo>
                    <a:pt x="80" y="6"/>
                  </a:lnTo>
                  <a:lnTo>
                    <a:pt x="80" y="4"/>
                  </a:lnTo>
                  <a:close/>
                  <a:moveTo>
                    <a:pt x="82" y="4"/>
                  </a:moveTo>
                  <a:lnTo>
                    <a:pt x="82" y="6"/>
                  </a:lnTo>
                  <a:lnTo>
                    <a:pt x="82" y="4"/>
                  </a:lnTo>
                  <a:close/>
                  <a:moveTo>
                    <a:pt x="78" y="2"/>
                  </a:moveTo>
                  <a:lnTo>
                    <a:pt x="78" y="4"/>
                  </a:lnTo>
                  <a:lnTo>
                    <a:pt x="76" y="4"/>
                  </a:lnTo>
                  <a:lnTo>
                    <a:pt x="78" y="2"/>
                  </a:lnTo>
                  <a:close/>
                  <a:moveTo>
                    <a:pt x="82" y="4"/>
                  </a:moveTo>
                  <a:lnTo>
                    <a:pt x="82" y="2"/>
                  </a:lnTo>
                  <a:lnTo>
                    <a:pt x="82" y="4"/>
                  </a:lnTo>
                  <a:close/>
                  <a:moveTo>
                    <a:pt x="82" y="4"/>
                  </a:moveTo>
                  <a:lnTo>
                    <a:pt x="82" y="2"/>
                  </a:lnTo>
                  <a:lnTo>
                    <a:pt x="82" y="4"/>
                  </a:lnTo>
                  <a:close/>
                  <a:moveTo>
                    <a:pt x="80" y="2"/>
                  </a:moveTo>
                  <a:lnTo>
                    <a:pt x="80" y="4"/>
                  </a:lnTo>
                  <a:lnTo>
                    <a:pt x="80" y="2"/>
                  </a:lnTo>
                  <a:lnTo>
                    <a:pt x="82" y="2"/>
                  </a:lnTo>
                  <a:lnTo>
                    <a:pt x="80" y="2"/>
                  </a:lnTo>
                  <a:close/>
                  <a:moveTo>
                    <a:pt x="82" y="2"/>
                  </a:moveTo>
                  <a:lnTo>
                    <a:pt x="82" y="0"/>
                  </a:lnTo>
                  <a:lnTo>
                    <a:pt x="82" y="2"/>
                  </a:lnTo>
                  <a:close/>
                  <a:moveTo>
                    <a:pt x="88" y="0"/>
                  </a:moveTo>
                  <a:lnTo>
                    <a:pt x="88" y="2"/>
                  </a:lnTo>
                  <a:lnTo>
                    <a:pt x="88" y="4"/>
                  </a:lnTo>
                  <a:lnTo>
                    <a:pt x="86" y="4"/>
                  </a:lnTo>
                  <a:lnTo>
                    <a:pt x="86" y="6"/>
                  </a:lnTo>
                  <a:lnTo>
                    <a:pt x="86" y="4"/>
                  </a:lnTo>
                  <a:lnTo>
                    <a:pt x="86" y="2"/>
                  </a:lnTo>
                  <a:lnTo>
                    <a:pt x="86" y="0"/>
                  </a:lnTo>
                  <a:lnTo>
                    <a:pt x="88" y="0"/>
                  </a:lnTo>
                  <a:close/>
                  <a:moveTo>
                    <a:pt x="78" y="2"/>
                  </a:moveTo>
                  <a:lnTo>
                    <a:pt x="78" y="0"/>
                  </a:lnTo>
                  <a:lnTo>
                    <a:pt x="78" y="2"/>
                  </a:lnTo>
                  <a:close/>
                </a:path>
              </a:pathLst>
            </a:custGeom>
            <a:gradFill>
              <a:gsLst>
                <a:gs pos="42000">
                  <a:srgbClr val="74F283"/>
                </a:gs>
                <a:gs pos="57000">
                  <a:schemeClr val="accent1">
                    <a:lumMod val="75000"/>
                  </a:schemeClr>
                </a:gs>
              </a:gsLst>
              <a:lin ang="12600000" scaled="0"/>
            </a:gradFill>
            <a:ln w="3175">
              <a:solidFill>
                <a:sysClr val="window" lastClr="FFFF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black"/>
                </a:solidFill>
                <a:effectLst/>
                <a:uLnTx/>
                <a:uFillTx/>
                <a:ea typeface="宋体" panose="02010600030101010101" pitchFamily="2" charset="-122"/>
              </a:endParaRPr>
            </a:p>
          </p:txBody>
        </p:sp>
        <p:sp>
          <p:nvSpPr>
            <p:cNvPr id="31" name="Freeform 3782">
              <a:extLst>
                <a:ext uri="{FF2B5EF4-FFF2-40B4-BE49-F238E27FC236}">
                  <a16:creationId xmlns:a16="http://schemas.microsoft.com/office/drawing/2014/main" id="{C495296A-5D70-607B-0230-2359DEF3A51D}"/>
                </a:ext>
              </a:extLst>
            </p:cNvPr>
            <p:cNvSpPr>
              <a:spLocks noEditPoints="1"/>
            </p:cNvSpPr>
            <p:nvPr/>
          </p:nvSpPr>
          <p:spPr bwMode="auto">
            <a:xfrm>
              <a:off x="6111876" y="3625851"/>
              <a:ext cx="355600" cy="263525"/>
            </a:xfrm>
            <a:custGeom>
              <a:avLst/>
              <a:gdLst>
                <a:gd name="T0" fmla="*/ 52 w 224"/>
                <a:gd name="T1" fmla="*/ 4 h 166"/>
                <a:gd name="T2" fmla="*/ 70 w 224"/>
                <a:gd name="T3" fmla="*/ 2 h 166"/>
                <a:gd name="T4" fmla="*/ 88 w 224"/>
                <a:gd name="T5" fmla="*/ 0 h 166"/>
                <a:gd name="T6" fmla="*/ 98 w 224"/>
                <a:gd name="T7" fmla="*/ 4 h 166"/>
                <a:gd name="T8" fmla="*/ 110 w 224"/>
                <a:gd name="T9" fmla="*/ 6 h 166"/>
                <a:gd name="T10" fmla="*/ 120 w 224"/>
                <a:gd name="T11" fmla="*/ 12 h 166"/>
                <a:gd name="T12" fmla="*/ 138 w 224"/>
                <a:gd name="T13" fmla="*/ 10 h 166"/>
                <a:gd name="T14" fmla="*/ 154 w 224"/>
                <a:gd name="T15" fmla="*/ 8 h 166"/>
                <a:gd name="T16" fmla="*/ 168 w 224"/>
                <a:gd name="T17" fmla="*/ 10 h 166"/>
                <a:gd name="T18" fmla="*/ 180 w 224"/>
                <a:gd name="T19" fmla="*/ 16 h 166"/>
                <a:gd name="T20" fmla="*/ 194 w 224"/>
                <a:gd name="T21" fmla="*/ 26 h 166"/>
                <a:gd name="T22" fmla="*/ 204 w 224"/>
                <a:gd name="T23" fmla="*/ 34 h 166"/>
                <a:gd name="T24" fmla="*/ 218 w 224"/>
                <a:gd name="T25" fmla="*/ 42 h 166"/>
                <a:gd name="T26" fmla="*/ 218 w 224"/>
                <a:gd name="T27" fmla="*/ 52 h 166"/>
                <a:gd name="T28" fmla="*/ 208 w 224"/>
                <a:gd name="T29" fmla="*/ 60 h 166"/>
                <a:gd name="T30" fmla="*/ 202 w 224"/>
                <a:gd name="T31" fmla="*/ 74 h 166"/>
                <a:gd name="T32" fmla="*/ 200 w 224"/>
                <a:gd name="T33" fmla="*/ 92 h 166"/>
                <a:gd name="T34" fmla="*/ 194 w 224"/>
                <a:gd name="T35" fmla="*/ 100 h 166"/>
                <a:gd name="T36" fmla="*/ 186 w 224"/>
                <a:gd name="T37" fmla="*/ 104 h 166"/>
                <a:gd name="T38" fmla="*/ 184 w 224"/>
                <a:gd name="T39" fmla="*/ 112 h 166"/>
                <a:gd name="T40" fmla="*/ 176 w 224"/>
                <a:gd name="T41" fmla="*/ 116 h 166"/>
                <a:gd name="T42" fmla="*/ 174 w 224"/>
                <a:gd name="T43" fmla="*/ 118 h 166"/>
                <a:gd name="T44" fmla="*/ 172 w 224"/>
                <a:gd name="T45" fmla="*/ 124 h 166"/>
                <a:gd name="T46" fmla="*/ 164 w 224"/>
                <a:gd name="T47" fmla="*/ 132 h 166"/>
                <a:gd name="T48" fmla="*/ 154 w 224"/>
                <a:gd name="T49" fmla="*/ 134 h 166"/>
                <a:gd name="T50" fmla="*/ 154 w 224"/>
                <a:gd name="T51" fmla="*/ 138 h 166"/>
                <a:gd name="T52" fmla="*/ 146 w 224"/>
                <a:gd name="T53" fmla="*/ 134 h 166"/>
                <a:gd name="T54" fmla="*/ 154 w 224"/>
                <a:gd name="T55" fmla="*/ 142 h 166"/>
                <a:gd name="T56" fmla="*/ 146 w 224"/>
                <a:gd name="T57" fmla="*/ 152 h 166"/>
                <a:gd name="T58" fmla="*/ 142 w 224"/>
                <a:gd name="T59" fmla="*/ 158 h 166"/>
                <a:gd name="T60" fmla="*/ 138 w 224"/>
                <a:gd name="T61" fmla="*/ 154 h 166"/>
                <a:gd name="T62" fmla="*/ 136 w 224"/>
                <a:gd name="T63" fmla="*/ 160 h 166"/>
                <a:gd name="T64" fmla="*/ 136 w 224"/>
                <a:gd name="T65" fmla="*/ 166 h 166"/>
                <a:gd name="T66" fmla="*/ 124 w 224"/>
                <a:gd name="T67" fmla="*/ 162 h 166"/>
                <a:gd name="T68" fmla="*/ 120 w 224"/>
                <a:gd name="T69" fmla="*/ 152 h 166"/>
                <a:gd name="T70" fmla="*/ 114 w 224"/>
                <a:gd name="T71" fmla="*/ 142 h 166"/>
                <a:gd name="T72" fmla="*/ 104 w 224"/>
                <a:gd name="T73" fmla="*/ 132 h 166"/>
                <a:gd name="T74" fmla="*/ 102 w 224"/>
                <a:gd name="T75" fmla="*/ 124 h 166"/>
                <a:gd name="T76" fmla="*/ 98 w 224"/>
                <a:gd name="T77" fmla="*/ 116 h 166"/>
                <a:gd name="T78" fmla="*/ 92 w 224"/>
                <a:gd name="T79" fmla="*/ 112 h 166"/>
                <a:gd name="T80" fmla="*/ 82 w 224"/>
                <a:gd name="T81" fmla="*/ 106 h 166"/>
                <a:gd name="T82" fmla="*/ 80 w 224"/>
                <a:gd name="T83" fmla="*/ 106 h 166"/>
                <a:gd name="T84" fmla="*/ 74 w 224"/>
                <a:gd name="T85" fmla="*/ 100 h 166"/>
                <a:gd name="T86" fmla="*/ 68 w 224"/>
                <a:gd name="T87" fmla="*/ 90 h 166"/>
                <a:gd name="T88" fmla="*/ 56 w 224"/>
                <a:gd name="T89" fmla="*/ 82 h 166"/>
                <a:gd name="T90" fmla="*/ 44 w 224"/>
                <a:gd name="T91" fmla="*/ 74 h 166"/>
                <a:gd name="T92" fmla="*/ 34 w 224"/>
                <a:gd name="T93" fmla="*/ 64 h 166"/>
                <a:gd name="T94" fmla="*/ 26 w 224"/>
                <a:gd name="T95" fmla="*/ 54 h 166"/>
                <a:gd name="T96" fmla="*/ 16 w 224"/>
                <a:gd name="T97" fmla="*/ 48 h 166"/>
                <a:gd name="T98" fmla="*/ 4 w 224"/>
                <a:gd name="T99" fmla="*/ 40 h 166"/>
                <a:gd name="T100" fmla="*/ 4 w 224"/>
                <a:gd name="T101" fmla="*/ 30 h 166"/>
                <a:gd name="T102" fmla="*/ 8 w 224"/>
                <a:gd name="T103" fmla="*/ 22 h 166"/>
                <a:gd name="T104" fmla="*/ 20 w 224"/>
                <a:gd name="T105" fmla="*/ 14 h 166"/>
                <a:gd name="T106" fmla="*/ 34 w 224"/>
                <a:gd name="T107" fmla="*/ 10 h 166"/>
                <a:gd name="T108" fmla="*/ 188 w 224"/>
                <a:gd name="T109" fmla="*/ 102 h 166"/>
                <a:gd name="T110" fmla="*/ 172 w 224"/>
                <a:gd name="T111" fmla="*/ 114 h 166"/>
                <a:gd name="T112" fmla="*/ 140 w 224"/>
                <a:gd name="T113" fmla="*/ 156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4" h="166">
                  <a:moveTo>
                    <a:pt x="42" y="6"/>
                  </a:moveTo>
                  <a:lnTo>
                    <a:pt x="42" y="8"/>
                  </a:lnTo>
                  <a:lnTo>
                    <a:pt x="42" y="6"/>
                  </a:lnTo>
                  <a:lnTo>
                    <a:pt x="44" y="6"/>
                  </a:lnTo>
                  <a:lnTo>
                    <a:pt x="46" y="6"/>
                  </a:lnTo>
                  <a:lnTo>
                    <a:pt x="48" y="6"/>
                  </a:lnTo>
                  <a:lnTo>
                    <a:pt x="50" y="6"/>
                  </a:lnTo>
                  <a:lnTo>
                    <a:pt x="50" y="4"/>
                  </a:lnTo>
                  <a:lnTo>
                    <a:pt x="50" y="4"/>
                  </a:lnTo>
                  <a:lnTo>
                    <a:pt x="52" y="4"/>
                  </a:lnTo>
                  <a:lnTo>
                    <a:pt x="54" y="4"/>
                  </a:lnTo>
                  <a:lnTo>
                    <a:pt x="56" y="4"/>
                  </a:lnTo>
                  <a:lnTo>
                    <a:pt x="58" y="4"/>
                  </a:lnTo>
                  <a:lnTo>
                    <a:pt x="60" y="4"/>
                  </a:lnTo>
                  <a:lnTo>
                    <a:pt x="62" y="4"/>
                  </a:lnTo>
                  <a:lnTo>
                    <a:pt x="64" y="4"/>
                  </a:lnTo>
                  <a:lnTo>
                    <a:pt x="66" y="4"/>
                  </a:lnTo>
                  <a:lnTo>
                    <a:pt x="66" y="2"/>
                  </a:lnTo>
                  <a:lnTo>
                    <a:pt x="68" y="2"/>
                  </a:lnTo>
                  <a:lnTo>
                    <a:pt x="70" y="2"/>
                  </a:lnTo>
                  <a:lnTo>
                    <a:pt x="72" y="2"/>
                  </a:lnTo>
                  <a:lnTo>
                    <a:pt x="74" y="2"/>
                  </a:lnTo>
                  <a:lnTo>
                    <a:pt x="76" y="2"/>
                  </a:lnTo>
                  <a:lnTo>
                    <a:pt x="78" y="2"/>
                  </a:lnTo>
                  <a:lnTo>
                    <a:pt x="80" y="2"/>
                  </a:lnTo>
                  <a:lnTo>
                    <a:pt x="82" y="2"/>
                  </a:lnTo>
                  <a:lnTo>
                    <a:pt x="84" y="2"/>
                  </a:lnTo>
                  <a:lnTo>
                    <a:pt x="84" y="0"/>
                  </a:lnTo>
                  <a:lnTo>
                    <a:pt x="86" y="0"/>
                  </a:lnTo>
                  <a:lnTo>
                    <a:pt x="88" y="0"/>
                  </a:lnTo>
                  <a:lnTo>
                    <a:pt x="90" y="0"/>
                  </a:lnTo>
                  <a:lnTo>
                    <a:pt x="92" y="0"/>
                  </a:lnTo>
                  <a:lnTo>
                    <a:pt x="94" y="0"/>
                  </a:lnTo>
                  <a:lnTo>
                    <a:pt x="96" y="0"/>
                  </a:lnTo>
                  <a:lnTo>
                    <a:pt x="98" y="0"/>
                  </a:lnTo>
                  <a:lnTo>
                    <a:pt x="98" y="0"/>
                  </a:lnTo>
                  <a:lnTo>
                    <a:pt x="100" y="0"/>
                  </a:lnTo>
                  <a:lnTo>
                    <a:pt x="100" y="2"/>
                  </a:lnTo>
                  <a:lnTo>
                    <a:pt x="98" y="2"/>
                  </a:lnTo>
                  <a:lnTo>
                    <a:pt x="98" y="4"/>
                  </a:lnTo>
                  <a:lnTo>
                    <a:pt x="100" y="4"/>
                  </a:lnTo>
                  <a:lnTo>
                    <a:pt x="102" y="4"/>
                  </a:lnTo>
                  <a:lnTo>
                    <a:pt x="102" y="2"/>
                  </a:lnTo>
                  <a:lnTo>
                    <a:pt x="104" y="2"/>
                  </a:lnTo>
                  <a:lnTo>
                    <a:pt x="104" y="0"/>
                  </a:lnTo>
                  <a:lnTo>
                    <a:pt x="106" y="2"/>
                  </a:lnTo>
                  <a:lnTo>
                    <a:pt x="106" y="4"/>
                  </a:lnTo>
                  <a:lnTo>
                    <a:pt x="108" y="4"/>
                  </a:lnTo>
                  <a:lnTo>
                    <a:pt x="108" y="6"/>
                  </a:lnTo>
                  <a:lnTo>
                    <a:pt x="110" y="6"/>
                  </a:lnTo>
                  <a:lnTo>
                    <a:pt x="112" y="8"/>
                  </a:lnTo>
                  <a:lnTo>
                    <a:pt x="112" y="10"/>
                  </a:lnTo>
                  <a:lnTo>
                    <a:pt x="114" y="10"/>
                  </a:lnTo>
                  <a:lnTo>
                    <a:pt x="114" y="10"/>
                  </a:lnTo>
                  <a:lnTo>
                    <a:pt x="114" y="12"/>
                  </a:lnTo>
                  <a:lnTo>
                    <a:pt x="114" y="14"/>
                  </a:lnTo>
                  <a:lnTo>
                    <a:pt x="116" y="14"/>
                  </a:lnTo>
                  <a:lnTo>
                    <a:pt x="116" y="12"/>
                  </a:lnTo>
                  <a:lnTo>
                    <a:pt x="118" y="12"/>
                  </a:lnTo>
                  <a:lnTo>
                    <a:pt x="120" y="12"/>
                  </a:lnTo>
                  <a:lnTo>
                    <a:pt x="122" y="12"/>
                  </a:lnTo>
                  <a:lnTo>
                    <a:pt x="124" y="12"/>
                  </a:lnTo>
                  <a:lnTo>
                    <a:pt x="126" y="12"/>
                  </a:lnTo>
                  <a:lnTo>
                    <a:pt x="128" y="12"/>
                  </a:lnTo>
                  <a:lnTo>
                    <a:pt x="128" y="10"/>
                  </a:lnTo>
                  <a:lnTo>
                    <a:pt x="130" y="10"/>
                  </a:lnTo>
                  <a:lnTo>
                    <a:pt x="132" y="10"/>
                  </a:lnTo>
                  <a:lnTo>
                    <a:pt x="134" y="10"/>
                  </a:lnTo>
                  <a:lnTo>
                    <a:pt x="136" y="10"/>
                  </a:lnTo>
                  <a:lnTo>
                    <a:pt x="138" y="10"/>
                  </a:lnTo>
                  <a:lnTo>
                    <a:pt x="140" y="10"/>
                  </a:lnTo>
                  <a:lnTo>
                    <a:pt x="140" y="10"/>
                  </a:lnTo>
                  <a:lnTo>
                    <a:pt x="142" y="10"/>
                  </a:lnTo>
                  <a:lnTo>
                    <a:pt x="144" y="10"/>
                  </a:lnTo>
                  <a:lnTo>
                    <a:pt x="146" y="10"/>
                  </a:lnTo>
                  <a:lnTo>
                    <a:pt x="146" y="10"/>
                  </a:lnTo>
                  <a:lnTo>
                    <a:pt x="148" y="10"/>
                  </a:lnTo>
                  <a:lnTo>
                    <a:pt x="150" y="10"/>
                  </a:lnTo>
                  <a:lnTo>
                    <a:pt x="152" y="8"/>
                  </a:lnTo>
                  <a:lnTo>
                    <a:pt x="154" y="8"/>
                  </a:lnTo>
                  <a:lnTo>
                    <a:pt x="156" y="8"/>
                  </a:lnTo>
                  <a:lnTo>
                    <a:pt x="158" y="8"/>
                  </a:lnTo>
                  <a:lnTo>
                    <a:pt x="160" y="8"/>
                  </a:lnTo>
                  <a:lnTo>
                    <a:pt x="162" y="8"/>
                  </a:lnTo>
                  <a:lnTo>
                    <a:pt x="162" y="6"/>
                  </a:lnTo>
                  <a:lnTo>
                    <a:pt x="164" y="6"/>
                  </a:lnTo>
                  <a:lnTo>
                    <a:pt x="164" y="8"/>
                  </a:lnTo>
                  <a:lnTo>
                    <a:pt x="166" y="8"/>
                  </a:lnTo>
                  <a:lnTo>
                    <a:pt x="166" y="10"/>
                  </a:lnTo>
                  <a:lnTo>
                    <a:pt x="168" y="10"/>
                  </a:lnTo>
                  <a:lnTo>
                    <a:pt x="170" y="10"/>
                  </a:lnTo>
                  <a:lnTo>
                    <a:pt x="170" y="10"/>
                  </a:lnTo>
                  <a:lnTo>
                    <a:pt x="172" y="10"/>
                  </a:lnTo>
                  <a:lnTo>
                    <a:pt x="172" y="12"/>
                  </a:lnTo>
                  <a:lnTo>
                    <a:pt x="174" y="12"/>
                  </a:lnTo>
                  <a:lnTo>
                    <a:pt x="176" y="12"/>
                  </a:lnTo>
                  <a:lnTo>
                    <a:pt x="176" y="14"/>
                  </a:lnTo>
                  <a:lnTo>
                    <a:pt x="178" y="14"/>
                  </a:lnTo>
                  <a:lnTo>
                    <a:pt x="178" y="16"/>
                  </a:lnTo>
                  <a:lnTo>
                    <a:pt x="180" y="16"/>
                  </a:lnTo>
                  <a:lnTo>
                    <a:pt x="182" y="16"/>
                  </a:lnTo>
                  <a:lnTo>
                    <a:pt x="182" y="18"/>
                  </a:lnTo>
                  <a:lnTo>
                    <a:pt x="184" y="18"/>
                  </a:lnTo>
                  <a:lnTo>
                    <a:pt x="184" y="20"/>
                  </a:lnTo>
                  <a:lnTo>
                    <a:pt x="186" y="20"/>
                  </a:lnTo>
                  <a:lnTo>
                    <a:pt x="188" y="22"/>
                  </a:lnTo>
                  <a:lnTo>
                    <a:pt x="190" y="22"/>
                  </a:lnTo>
                  <a:lnTo>
                    <a:pt x="190" y="24"/>
                  </a:lnTo>
                  <a:lnTo>
                    <a:pt x="192" y="24"/>
                  </a:lnTo>
                  <a:lnTo>
                    <a:pt x="194" y="26"/>
                  </a:lnTo>
                  <a:lnTo>
                    <a:pt x="194" y="26"/>
                  </a:lnTo>
                  <a:lnTo>
                    <a:pt x="194" y="28"/>
                  </a:lnTo>
                  <a:lnTo>
                    <a:pt x="196" y="28"/>
                  </a:lnTo>
                  <a:lnTo>
                    <a:pt x="196" y="30"/>
                  </a:lnTo>
                  <a:lnTo>
                    <a:pt x="198" y="30"/>
                  </a:lnTo>
                  <a:lnTo>
                    <a:pt x="200" y="30"/>
                  </a:lnTo>
                  <a:lnTo>
                    <a:pt x="200" y="32"/>
                  </a:lnTo>
                  <a:lnTo>
                    <a:pt x="202" y="32"/>
                  </a:lnTo>
                  <a:lnTo>
                    <a:pt x="202" y="34"/>
                  </a:lnTo>
                  <a:lnTo>
                    <a:pt x="204" y="34"/>
                  </a:lnTo>
                  <a:lnTo>
                    <a:pt x="206" y="34"/>
                  </a:lnTo>
                  <a:lnTo>
                    <a:pt x="206" y="36"/>
                  </a:lnTo>
                  <a:lnTo>
                    <a:pt x="208" y="36"/>
                  </a:lnTo>
                  <a:lnTo>
                    <a:pt x="208" y="38"/>
                  </a:lnTo>
                  <a:lnTo>
                    <a:pt x="210" y="38"/>
                  </a:lnTo>
                  <a:lnTo>
                    <a:pt x="212" y="38"/>
                  </a:lnTo>
                  <a:lnTo>
                    <a:pt x="212" y="40"/>
                  </a:lnTo>
                  <a:lnTo>
                    <a:pt x="214" y="40"/>
                  </a:lnTo>
                  <a:lnTo>
                    <a:pt x="216" y="42"/>
                  </a:lnTo>
                  <a:lnTo>
                    <a:pt x="218" y="42"/>
                  </a:lnTo>
                  <a:lnTo>
                    <a:pt x="218" y="44"/>
                  </a:lnTo>
                  <a:lnTo>
                    <a:pt x="220" y="44"/>
                  </a:lnTo>
                  <a:lnTo>
                    <a:pt x="222" y="46"/>
                  </a:lnTo>
                  <a:lnTo>
                    <a:pt x="224" y="46"/>
                  </a:lnTo>
                  <a:lnTo>
                    <a:pt x="224" y="48"/>
                  </a:lnTo>
                  <a:lnTo>
                    <a:pt x="222" y="48"/>
                  </a:lnTo>
                  <a:lnTo>
                    <a:pt x="220" y="48"/>
                  </a:lnTo>
                  <a:lnTo>
                    <a:pt x="220" y="50"/>
                  </a:lnTo>
                  <a:lnTo>
                    <a:pt x="218" y="50"/>
                  </a:lnTo>
                  <a:lnTo>
                    <a:pt x="218" y="52"/>
                  </a:lnTo>
                  <a:lnTo>
                    <a:pt x="216" y="52"/>
                  </a:lnTo>
                  <a:lnTo>
                    <a:pt x="216" y="54"/>
                  </a:lnTo>
                  <a:lnTo>
                    <a:pt x="214" y="54"/>
                  </a:lnTo>
                  <a:lnTo>
                    <a:pt x="214" y="56"/>
                  </a:lnTo>
                  <a:lnTo>
                    <a:pt x="212" y="56"/>
                  </a:lnTo>
                  <a:lnTo>
                    <a:pt x="212" y="58"/>
                  </a:lnTo>
                  <a:lnTo>
                    <a:pt x="210" y="58"/>
                  </a:lnTo>
                  <a:lnTo>
                    <a:pt x="210" y="58"/>
                  </a:lnTo>
                  <a:lnTo>
                    <a:pt x="210" y="60"/>
                  </a:lnTo>
                  <a:lnTo>
                    <a:pt x="208" y="60"/>
                  </a:lnTo>
                  <a:lnTo>
                    <a:pt x="208" y="62"/>
                  </a:lnTo>
                  <a:lnTo>
                    <a:pt x="208" y="64"/>
                  </a:lnTo>
                  <a:lnTo>
                    <a:pt x="206" y="64"/>
                  </a:lnTo>
                  <a:lnTo>
                    <a:pt x="206" y="66"/>
                  </a:lnTo>
                  <a:lnTo>
                    <a:pt x="206" y="68"/>
                  </a:lnTo>
                  <a:lnTo>
                    <a:pt x="204" y="68"/>
                  </a:lnTo>
                  <a:lnTo>
                    <a:pt x="204" y="70"/>
                  </a:lnTo>
                  <a:lnTo>
                    <a:pt x="204" y="72"/>
                  </a:lnTo>
                  <a:lnTo>
                    <a:pt x="202" y="72"/>
                  </a:lnTo>
                  <a:lnTo>
                    <a:pt x="202" y="74"/>
                  </a:lnTo>
                  <a:lnTo>
                    <a:pt x="202" y="76"/>
                  </a:lnTo>
                  <a:lnTo>
                    <a:pt x="202" y="78"/>
                  </a:lnTo>
                  <a:lnTo>
                    <a:pt x="202" y="80"/>
                  </a:lnTo>
                  <a:lnTo>
                    <a:pt x="202" y="82"/>
                  </a:lnTo>
                  <a:lnTo>
                    <a:pt x="202" y="84"/>
                  </a:lnTo>
                  <a:lnTo>
                    <a:pt x="202" y="86"/>
                  </a:lnTo>
                  <a:lnTo>
                    <a:pt x="202" y="88"/>
                  </a:lnTo>
                  <a:lnTo>
                    <a:pt x="202" y="90"/>
                  </a:lnTo>
                  <a:lnTo>
                    <a:pt x="200" y="90"/>
                  </a:lnTo>
                  <a:lnTo>
                    <a:pt x="200" y="92"/>
                  </a:lnTo>
                  <a:lnTo>
                    <a:pt x="198" y="92"/>
                  </a:lnTo>
                  <a:lnTo>
                    <a:pt x="198" y="94"/>
                  </a:lnTo>
                  <a:lnTo>
                    <a:pt x="196" y="94"/>
                  </a:lnTo>
                  <a:lnTo>
                    <a:pt x="196" y="96"/>
                  </a:lnTo>
                  <a:lnTo>
                    <a:pt x="196" y="94"/>
                  </a:lnTo>
                  <a:lnTo>
                    <a:pt x="196" y="96"/>
                  </a:lnTo>
                  <a:lnTo>
                    <a:pt x="196" y="98"/>
                  </a:lnTo>
                  <a:lnTo>
                    <a:pt x="196" y="100"/>
                  </a:lnTo>
                  <a:lnTo>
                    <a:pt x="194" y="100"/>
                  </a:lnTo>
                  <a:lnTo>
                    <a:pt x="194" y="100"/>
                  </a:lnTo>
                  <a:lnTo>
                    <a:pt x="194" y="102"/>
                  </a:lnTo>
                  <a:lnTo>
                    <a:pt x="192" y="102"/>
                  </a:lnTo>
                  <a:lnTo>
                    <a:pt x="190" y="102"/>
                  </a:lnTo>
                  <a:lnTo>
                    <a:pt x="190" y="100"/>
                  </a:lnTo>
                  <a:lnTo>
                    <a:pt x="188" y="100"/>
                  </a:lnTo>
                  <a:lnTo>
                    <a:pt x="190" y="100"/>
                  </a:lnTo>
                  <a:lnTo>
                    <a:pt x="188" y="100"/>
                  </a:lnTo>
                  <a:lnTo>
                    <a:pt x="188" y="102"/>
                  </a:lnTo>
                  <a:lnTo>
                    <a:pt x="186" y="102"/>
                  </a:lnTo>
                  <a:lnTo>
                    <a:pt x="186" y="104"/>
                  </a:lnTo>
                  <a:lnTo>
                    <a:pt x="186" y="106"/>
                  </a:lnTo>
                  <a:lnTo>
                    <a:pt x="186" y="106"/>
                  </a:lnTo>
                  <a:lnTo>
                    <a:pt x="188" y="106"/>
                  </a:lnTo>
                  <a:lnTo>
                    <a:pt x="188" y="106"/>
                  </a:lnTo>
                  <a:lnTo>
                    <a:pt x="188" y="106"/>
                  </a:lnTo>
                  <a:lnTo>
                    <a:pt x="186" y="106"/>
                  </a:lnTo>
                  <a:lnTo>
                    <a:pt x="186" y="108"/>
                  </a:lnTo>
                  <a:lnTo>
                    <a:pt x="184" y="108"/>
                  </a:lnTo>
                  <a:lnTo>
                    <a:pt x="184" y="110"/>
                  </a:lnTo>
                  <a:lnTo>
                    <a:pt x="184" y="112"/>
                  </a:lnTo>
                  <a:lnTo>
                    <a:pt x="182" y="112"/>
                  </a:lnTo>
                  <a:lnTo>
                    <a:pt x="182" y="114"/>
                  </a:lnTo>
                  <a:lnTo>
                    <a:pt x="180" y="114"/>
                  </a:lnTo>
                  <a:lnTo>
                    <a:pt x="180" y="116"/>
                  </a:lnTo>
                  <a:lnTo>
                    <a:pt x="178" y="116"/>
                  </a:lnTo>
                  <a:lnTo>
                    <a:pt x="178" y="118"/>
                  </a:lnTo>
                  <a:lnTo>
                    <a:pt x="176" y="118"/>
                  </a:lnTo>
                  <a:lnTo>
                    <a:pt x="176" y="116"/>
                  </a:lnTo>
                  <a:lnTo>
                    <a:pt x="178" y="116"/>
                  </a:lnTo>
                  <a:lnTo>
                    <a:pt x="176" y="116"/>
                  </a:lnTo>
                  <a:lnTo>
                    <a:pt x="174" y="116"/>
                  </a:lnTo>
                  <a:lnTo>
                    <a:pt x="174" y="114"/>
                  </a:lnTo>
                  <a:lnTo>
                    <a:pt x="172" y="114"/>
                  </a:lnTo>
                  <a:lnTo>
                    <a:pt x="172" y="116"/>
                  </a:lnTo>
                  <a:lnTo>
                    <a:pt x="174" y="116"/>
                  </a:lnTo>
                  <a:lnTo>
                    <a:pt x="172" y="116"/>
                  </a:lnTo>
                  <a:lnTo>
                    <a:pt x="174" y="116"/>
                  </a:lnTo>
                  <a:lnTo>
                    <a:pt x="172" y="116"/>
                  </a:lnTo>
                  <a:lnTo>
                    <a:pt x="174" y="116"/>
                  </a:lnTo>
                  <a:lnTo>
                    <a:pt x="174" y="118"/>
                  </a:lnTo>
                  <a:lnTo>
                    <a:pt x="172" y="118"/>
                  </a:lnTo>
                  <a:lnTo>
                    <a:pt x="172" y="116"/>
                  </a:lnTo>
                  <a:lnTo>
                    <a:pt x="172" y="118"/>
                  </a:lnTo>
                  <a:lnTo>
                    <a:pt x="174" y="118"/>
                  </a:lnTo>
                  <a:lnTo>
                    <a:pt x="176" y="118"/>
                  </a:lnTo>
                  <a:lnTo>
                    <a:pt x="176" y="120"/>
                  </a:lnTo>
                  <a:lnTo>
                    <a:pt x="176" y="122"/>
                  </a:lnTo>
                  <a:lnTo>
                    <a:pt x="174" y="122"/>
                  </a:lnTo>
                  <a:lnTo>
                    <a:pt x="174" y="124"/>
                  </a:lnTo>
                  <a:lnTo>
                    <a:pt x="172" y="124"/>
                  </a:lnTo>
                  <a:lnTo>
                    <a:pt x="172" y="126"/>
                  </a:lnTo>
                  <a:lnTo>
                    <a:pt x="170" y="126"/>
                  </a:lnTo>
                  <a:lnTo>
                    <a:pt x="170" y="128"/>
                  </a:lnTo>
                  <a:lnTo>
                    <a:pt x="168" y="128"/>
                  </a:lnTo>
                  <a:lnTo>
                    <a:pt x="166" y="128"/>
                  </a:lnTo>
                  <a:lnTo>
                    <a:pt x="166" y="130"/>
                  </a:lnTo>
                  <a:lnTo>
                    <a:pt x="164" y="130"/>
                  </a:lnTo>
                  <a:lnTo>
                    <a:pt x="164" y="132"/>
                  </a:lnTo>
                  <a:lnTo>
                    <a:pt x="162" y="130"/>
                  </a:lnTo>
                  <a:lnTo>
                    <a:pt x="164" y="132"/>
                  </a:lnTo>
                  <a:lnTo>
                    <a:pt x="162" y="132"/>
                  </a:lnTo>
                  <a:lnTo>
                    <a:pt x="160" y="132"/>
                  </a:lnTo>
                  <a:lnTo>
                    <a:pt x="160" y="134"/>
                  </a:lnTo>
                  <a:lnTo>
                    <a:pt x="158" y="134"/>
                  </a:lnTo>
                  <a:lnTo>
                    <a:pt x="158" y="136"/>
                  </a:lnTo>
                  <a:lnTo>
                    <a:pt x="156" y="136"/>
                  </a:lnTo>
                  <a:lnTo>
                    <a:pt x="156" y="138"/>
                  </a:lnTo>
                  <a:lnTo>
                    <a:pt x="156" y="136"/>
                  </a:lnTo>
                  <a:lnTo>
                    <a:pt x="154" y="136"/>
                  </a:lnTo>
                  <a:lnTo>
                    <a:pt x="154" y="134"/>
                  </a:lnTo>
                  <a:lnTo>
                    <a:pt x="152" y="134"/>
                  </a:lnTo>
                  <a:lnTo>
                    <a:pt x="152" y="132"/>
                  </a:lnTo>
                  <a:lnTo>
                    <a:pt x="154" y="132"/>
                  </a:lnTo>
                  <a:lnTo>
                    <a:pt x="152" y="132"/>
                  </a:lnTo>
                  <a:lnTo>
                    <a:pt x="152" y="134"/>
                  </a:lnTo>
                  <a:lnTo>
                    <a:pt x="154" y="134"/>
                  </a:lnTo>
                  <a:lnTo>
                    <a:pt x="154" y="136"/>
                  </a:lnTo>
                  <a:lnTo>
                    <a:pt x="156" y="136"/>
                  </a:lnTo>
                  <a:lnTo>
                    <a:pt x="154" y="136"/>
                  </a:lnTo>
                  <a:lnTo>
                    <a:pt x="154" y="138"/>
                  </a:lnTo>
                  <a:lnTo>
                    <a:pt x="152" y="138"/>
                  </a:lnTo>
                  <a:lnTo>
                    <a:pt x="152" y="136"/>
                  </a:lnTo>
                  <a:lnTo>
                    <a:pt x="152" y="134"/>
                  </a:lnTo>
                  <a:lnTo>
                    <a:pt x="152" y="136"/>
                  </a:lnTo>
                  <a:lnTo>
                    <a:pt x="152" y="138"/>
                  </a:lnTo>
                  <a:lnTo>
                    <a:pt x="150" y="138"/>
                  </a:lnTo>
                  <a:lnTo>
                    <a:pt x="148" y="138"/>
                  </a:lnTo>
                  <a:lnTo>
                    <a:pt x="148" y="136"/>
                  </a:lnTo>
                  <a:lnTo>
                    <a:pt x="146" y="136"/>
                  </a:lnTo>
                  <a:lnTo>
                    <a:pt x="146" y="134"/>
                  </a:lnTo>
                  <a:lnTo>
                    <a:pt x="146" y="136"/>
                  </a:lnTo>
                  <a:lnTo>
                    <a:pt x="148" y="136"/>
                  </a:lnTo>
                  <a:lnTo>
                    <a:pt x="148" y="138"/>
                  </a:lnTo>
                  <a:lnTo>
                    <a:pt x="150" y="138"/>
                  </a:lnTo>
                  <a:lnTo>
                    <a:pt x="150" y="140"/>
                  </a:lnTo>
                  <a:lnTo>
                    <a:pt x="150" y="142"/>
                  </a:lnTo>
                  <a:lnTo>
                    <a:pt x="152" y="142"/>
                  </a:lnTo>
                  <a:lnTo>
                    <a:pt x="152" y="144"/>
                  </a:lnTo>
                  <a:lnTo>
                    <a:pt x="152" y="142"/>
                  </a:lnTo>
                  <a:lnTo>
                    <a:pt x="154" y="142"/>
                  </a:lnTo>
                  <a:lnTo>
                    <a:pt x="154" y="144"/>
                  </a:lnTo>
                  <a:lnTo>
                    <a:pt x="152" y="144"/>
                  </a:lnTo>
                  <a:lnTo>
                    <a:pt x="152" y="146"/>
                  </a:lnTo>
                  <a:lnTo>
                    <a:pt x="152" y="148"/>
                  </a:lnTo>
                  <a:lnTo>
                    <a:pt x="150" y="148"/>
                  </a:lnTo>
                  <a:lnTo>
                    <a:pt x="150" y="150"/>
                  </a:lnTo>
                  <a:lnTo>
                    <a:pt x="148" y="150"/>
                  </a:lnTo>
                  <a:lnTo>
                    <a:pt x="146" y="150"/>
                  </a:lnTo>
                  <a:lnTo>
                    <a:pt x="146" y="152"/>
                  </a:lnTo>
                  <a:lnTo>
                    <a:pt x="146" y="152"/>
                  </a:lnTo>
                  <a:lnTo>
                    <a:pt x="146" y="150"/>
                  </a:lnTo>
                  <a:lnTo>
                    <a:pt x="146" y="152"/>
                  </a:lnTo>
                  <a:lnTo>
                    <a:pt x="146" y="154"/>
                  </a:lnTo>
                  <a:lnTo>
                    <a:pt x="146" y="154"/>
                  </a:lnTo>
                  <a:lnTo>
                    <a:pt x="146" y="154"/>
                  </a:lnTo>
                  <a:lnTo>
                    <a:pt x="146" y="154"/>
                  </a:lnTo>
                  <a:lnTo>
                    <a:pt x="146" y="154"/>
                  </a:lnTo>
                  <a:lnTo>
                    <a:pt x="144" y="154"/>
                  </a:lnTo>
                  <a:lnTo>
                    <a:pt x="144" y="156"/>
                  </a:lnTo>
                  <a:lnTo>
                    <a:pt x="142" y="158"/>
                  </a:lnTo>
                  <a:lnTo>
                    <a:pt x="140" y="158"/>
                  </a:lnTo>
                  <a:lnTo>
                    <a:pt x="140" y="160"/>
                  </a:lnTo>
                  <a:lnTo>
                    <a:pt x="138" y="160"/>
                  </a:lnTo>
                  <a:lnTo>
                    <a:pt x="138" y="158"/>
                  </a:lnTo>
                  <a:lnTo>
                    <a:pt x="140" y="158"/>
                  </a:lnTo>
                  <a:lnTo>
                    <a:pt x="140" y="156"/>
                  </a:lnTo>
                  <a:lnTo>
                    <a:pt x="140" y="154"/>
                  </a:lnTo>
                  <a:lnTo>
                    <a:pt x="138" y="154"/>
                  </a:lnTo>
                  <a:lnTo>
                    <a:pt x="136" y="154"/>
                  </a:lnTo>
                  <a:lnTo>
                    <a:pt x="138" y="154"/>
                  </a:lnTo>
                  <a:lnTo>
                    <a:pt x="138" y="156"/>
                  </a:lnTo>
                  <a:lnTo>
                    <a:pt x="140" y="156"/>
                  </a:lnTo>
                  <a:lnTo>
                    <a:pt x="138" y="156"/>
                  </a:lnTo>
                  <a:lnTo>
                    <a:pt x="138" y="158"/>
                  </a:lnTo>
                  <a:lnTo>
                    <a:pt x="136" y="158"/>
                  </a:lnTo>
                  <a:lnTo>
                    <a:pt x="136" y="160"/>
                  </a:lnTo>
                  <a:lnTo>
                    <a:pt x="136" y="158"/>
                  </a:lnTo>
                  <a:lnTo>
                    <a:pt x="134" y="158"/>
                  </a:lnTo>
                  <a:lnTo>
                    <a:pt x="136" y="158"/>
                  </a:lnTo>
                  <a:lnTo>
                    <a:pt x="136" y="160"/>
                  </a:lnTo>
                  <a:lnTo>
                    <a:pt x="134" y="158"/>
                  </a:lnTo>
                  <a:lnTo>
                    <a:pt x="134" y="160"/>
                  </a:lnTo>
                  <a:lnTo>
                    <a:pt x="136" y="160"/>
                  </a:lnTo>
                  <a:lnTo>
                    <a:pt x="136" y="162"/>
                  </a:lnTo>
                  <a:lnTo>
                    <a:pt x="138" y="162"/>
                  </a:lnTo>
                  <a:lnTo>
                    <a:pt x="136" y="162"/>
                  </a:lnTo>
                  <a:lnTo>
                    <a:pt x="136" y="164"/>
                  </a:lnTo>
                  <a:lnTo>
                    <a:pt x="134" y="164"/>
                  </a:lnTo>
                  <a:lnTo>
                    <a:pt x="136" y="164"/>
                  </a:lnTo>
                  <a:lnTo>
                    <a:pt x="136" y="166"/>
                  </a:lnTo>
                  <a:lnTo>
                    <a:pt x="134" y="166"/>
                  </a:lnTo>
                  <a:lnTo>
                    <a:pt x="134" y="164"/>
                  </a:lnTo>
                  <a:lnTo>
                    <a:pt x="132" y="164"/>
                  </a:lnTo>
                  <a:lnTo>
                    <a:pt x="132" y="162"/>
                  </a:lnTo>
                  <a:lnTo>
                    <a:pt x="130" y="162"/>
                  </a:lnTo>
                  <a:lnTo>
                    <a:pt x="130" y="164"/>
                  </a:lnTo>
                  <a:lnTo>
                    <a:pt x="128" y="164"/>
                  </a:lnTo>
                  <a:lnTo>
                    <a:pt x="126" y="164"/>
                  </a:lnTo>
                  <a:lnTo>
                    <a:pt x="126" y="162"/>
                  </a:lnTo>
                  <a:lnTo>
                    <a:pt x="124" y="162"/>
                  </a:lnTo>
                  <a:lnTo>
                    <a:pt x="124" y="160"/>
                  </a:lnTo>
                  <a:lnTo>
                    <a:pt x="124" y="158"/>
                  </a:lnTo>
                  <a:lnTo>
                    <a:pt x="124" y="160"/>
                  </a:lnTo>
                  <a:lnTo>
                    <a:pt x="124" y="158"/>
                  </a:lnTo>
                  <a:lnTo>
                    <a:pt x="122" y="158"/>
                  </a:lnTo>
                  <a:lnTo>
                    <a:pt x="122" y="156"/>
                  </a:lnTo>
                  <a:lnTo>
                    <a:pt x="122" y="154"/>
                  </a:lnTo>
                  <a:lnTo>
                    <a:pt x="122" y="154"/>
                  </a:lnTo>
                  <a:lnTo>
                    <a:pt x="122" y="152"/>
                  </a:lnTo>
                  <a:lnTo>
                    <a:pt x="120" y="152"/>
                  </a:lnTo>
                  <a:lnTo>
                    <a:pt x="120" y="150"/>
                  </a:lnTo>
                  <a:lnTo>
                    <a:pt x="118" y="150"/>
                  </a:lnTo>
                  <a:lnTo>
                    <a:pt x="120" y="150"/>
                  </a:lnTo>
                  <a:lnTo>
                    <a:pt x="118" y="150"/>
                  </a:lnTo>
                  <a:lnTo>
                    <a:pt x="118" y="148"/>
                  </a:lnTo>
                  <a:lnTo>
                    <a:pt x="118" y="146"/>
                  </a:lnTo>
                  <a:lnTo>
                    <a:pt x="118" y="144"/>
                  </a:lnTo>
                  <a:lnTo>
                    <a:pt x="116" y="144"/>
                  </a:lnTo>
                  <a:lnTo>
                    <a:pt x="116" y="142"/>
                  </a:lnTo>
                  <a:lnTo>
                    <a:pt x="114" y="142"/>
                  </a:lnTo>
                  <a:lnTo>
                    <a:pt x="112" y="142"/>
                  </a:lnTo>
                  <a:lnTo>
                    <a:pt x="112" y="140"/>
                  </a:lnTo>
                  <a:lnTo>
                    <a:pt x="110" y="140"/>
                  </a:lnTo>
                  <a:lnTo>
                    <a:pt x="108" y="140"/>
                  </a:lnTo>
                  <a:lnTo>
                    <a:pt x="106" y="140"/>
                  </a:lnTo>
                  <a:lnTo>
                    <a:pt x="106" y="138"/>
                  </a:lnTo>
                  <a:lnTo>
                    <a:pt x="106" y="136"/>
                  </a:lnTo>
                  <a:lnTo>
                    <a:pt x="106" y="134"/>
                  </a:lnTo>
                  <a:lnTo>
                    <a:pt x="104" y="134"/>
                  </a:lnTo>
                  <a:lnTo>
                    <a:pt x="104" y="132"/>
                  </a:lnTo>
                  <a:lnTo>
                    <a:pt x="104" y="130"/>
                  </a:lnTo>
                  <a:lnTo>
                    <a:pt x="104" y="128"/>
                  </a:lnTo>
                  <a:lnTo>
                    <a:pt x="104" y="126"/>
                  </a:lnTo>
                  <a:lnTo>
                    <a:pt x="104" y="128"/>
                  </a:lnTo>
                  <a:lnTo>
                    <a:pt x="102" y="126"/>
                  </a:lnTo>
                  <a:lnTo>
                    <a:pt x="104" y="126"/>
                  </a:lnTo>
                  <a:lnTo>
                    <a:pt x="102" y="126"/>
                  </a:lnTo>
                  <a:lnTo>
                    <a:pt x="104" y="126"/>
                  </a:lnTo>
                  <a:lnTo>
                    <a:pt x="102" y="126"/>
                  </a:lnTo>
                  <a:lnTo>
                    <a:pt x="102" y="124"/>
                  </a:lnTo>
                  <a:lnTo>
                    <a:pt x="100" y="124"/>
                  </a:lnTo>
                  <a:lnTo>
                    <a:pt x="100" y="122"/>
                  </a:lnTo>
                  <a:lnTo>
                    <a:pt x="100" y="124"/>
                  </a:lnTo>
                  <a:lnTo>
                    <a:pt x="100" y="122"/>
                  </a:lnTo>
                  <a:lnTo>
                    <a:pt x="98" y="122"/>
                  </a:lnTo>
                  <a:lnTo>
                    <a:pt x="98" y="120"/>
                  </a:lnTo>
                  <a:lnTo>
                    <a:pt x="98" y="118"/>
                  </a:lnTo>
                  <a:lnTo>
                    <a:pt x="98" y="116"/>
                  </a:lnTo>
                  <a:lnTo>
                    <a:pt x="98" y="116"/>
                  </a:lnTo>
                  <a:lnTo>
                    <a:pt x="98" y="116"/>
                  </a:lnTo>
                  <a:lnTo>
                    <a:pt x="98" y="116"/>
                  </a:lnTo>
                  <a:lnTo>
                    <a:pt x="98" y="114"/>
                  </a:lnTo>
                  <a:lnTo>
                    <a:pt x="98" y="116"/>
                  </a:lnTo>
                  <a:lnTo>
                    <a:pt x="96" y="116"/>
                  </a:lnTo>
                  <a:lnTo>
                    <a:pt x="96" y="114"/>
                  </a:lnTo>
                  <a:lnTo>
                    <a:pt x="94" y="114"/>
                  </a:lnTo>
                  <a:lnTo>
                    <a:pt x="94" y="112"/>
                  </a:lnTo>
                  <a:lnTo>
                    <a:pt x="92" y="112"/>
                  </a:lnTo>
                  <a:lnTo>
                    <a:pt x="92" y="114"/>
                  </a:lnTo>
                  <a:lnTo>
                    <a:pt x="92" y="112"/>
                  </a:lnTo>
                  <a:lnTo>
                    <a:pt x="90" y="112"/>
                  </a:lnTo>
                  <a:lnTo>
                    <a:pt x="88" y="112"/>
                  </a:lnTo>
                  <a:lnTo>
                    <a:pt x="86" y="112"/>
                  </a:lnTo>
                  <a:lnTo>
                    <a:pt x="86" y="110"/>
                  </a:lnTo>
                  <a:lnTo>
                    <a:pt x="86" y="108"/>
                  </a:lnTo>
                  <a:lnTo>
                    <a:pt x="84" y="108"/>
                  </a:lnTo>
                  <a:lnTo>
                    <a:pt x="84" y="106"/>
                  </a:lnTo>
                  <a:lnTo>
                    <a:pt x="84" y="108"/>
                  </a:lnTo>
                  <a:lnTo>
                    <a:pt x="82" y="108"/>
                  </a:lnTo>
                  <a:lnTo>
                    <a:pt x="82" y="106"/>
                  </a:lnTo>
                  <a:lnTo>
                    <a:pt x="80" y="106"/>
                  </a:lnTo>
                  <a:lnTo>
                    <a:pt x="82" y="106"/>
                  </a:lnTo>
                  <a:lnTo>
                    <a:pt x="80" y="106"/>
                  </a:lnTo>
                  <a:lnTo>
                    <a:pt x="80" y="106"/>
                  </a:lnTo>
                  <a:lnTo>
                    <a:pt x="82" y="106"/>
                  </a:lnTo>
                  <a:lnTo>
                    <a:pt x="82" y="106"/>
                  </a:lnTo>
                  <a:lnTo>
                    <a:pt x="82" y="106"/>
                  </a:lnTo>
                  <a:lnTo>
                    <a:pt x="80" y="106"/>
                  </a:lnTo>
                  <a:lnTo>
                    <a:pt x="80" y="104"/>
                  </a:lnTo>
                  <a:lnTo>
                    <a:pt x="80" y="106"/>
                  </a:lnTo>
                  <a:lnTo>
                    <a:pt x="78" y="106"/>
                  </a:lnTo>
                  <a:lnTo>
                    <a:pt x="78" y="104"/>
                  </a:lnTo>
                  <a:lnTo>
                    <a:pt x="76" y="104"/>
                  </a:lnTo>
                  <a:lnTo>
                    <a:pt x="78" y="104"/>
                  </a:lnTo>
                  <a:lnTo>
                    <a:pt x="78" y="102"/>
                  </a:lnTo>
                  <a:lnTo>
                    <a:pt x="76" y="102"/>
                  </a:lnTo>
                  <a:lnTo>
                    <a:pt x="76" y="104"/>
                  </a:lnTo>
                  <a:lnTo>
                    <a:pt x="76" y="102"/>
                  </a:lnTo>
                  <a:lnTo>
                    <a:pt x="76" y="100"/>
                  </a:lnTo>
                  <a:lnTo>
                    <a:pt x="74" y="100"/>
                  </a:lnTo>
                  <a:lnTo>
                    <a:pt x="76" y="100"/>
                  </a:lnTo>
                  <a:lnTo>
                    <a:pt x="76" y="98"/>
                  </a:lnTo>
                  <a:lnTo>
                    <a:pt x="76" y="96"/>
                  </a:lnTo>
                  <a:lnTo>
                    <a:pt x="74" y="96"/>
                  </a:lnTo>
                  <a:lnTo>
                    <a:pt x="72" y="96"/>
                  </a:lnTo>
                  <a:lnTo>
                    <a:pt x="72" y="94"/>
                  </a:lnTo>
                  <a:lnTo>
                    <a:pt x="70" y="94"/>
                  </a:lnTo>
                  <a:lnTo>
                    <a:pt x="70" y="92"/>
                  </a:lnTo>
                  <a:lnTo>
                    <a:pt x="68" y="92"/>
                  </a:lnTo>
                  <a:lnTo>
                    <a:pt x="68" y="90"/>
                  </a:lnTo>
                  <a:lnTo>
                    <a:pt x="66" y="90"/>
                  </a:lnTo>
                  <a:lnTo>
                    <a:pt x="64" y="90"/>
                  </a:lnTo>
                  <a:lnTo>
                    <a:pt x="62" y="90"/>
                  </a:lnTo>
                  <a:lnTo>
                    <a:pt x="62" y="88"/>
                  </a:lnTo>
                  <a:lnTo>
                    <a:pt x="60" y="88"/>
                  </a:lnTo>
                  <a:lnTo>
                    <a:pt x="60" y="86"/>
                  </a:lnTo>
                  <a:lnTo>
                    <a:pt x="58" y="86"/>
                  </a:lnTo>
                  <a:lnTo>
                    <a:pt x="58" y="84"/>
                  </a:lnTo>
                  <a:lnTo>
                    <a:pt x="58" y="82"/>
                  </a:lnTo>
                  <a:lnTo>
                    <a:pt x="56" y="82"/>
                  </a:lnTo>
                  <a:lnTo>
                    <a:pt x="54" y="80"/>
                  </a:lnTo>
                  <a:lnTo>
                    <a:pt x="54" y="78"/>
                  </a:lnTo>
                  <a:lnTo>
                    <a:pt x="52" y="78"/>
                  </a:lnTo>
                  <a:lnTo>
                    <a:pt x="50" y="78"/>
                  </a:lnTo>
                  <a:lnTo>
                    <a:pt x="50" y="78"/>
                  </a:lnTo>
                  <a:lnTo>
                    <a:pt x="50" y="76"/>
                  </a:lnTo>
                  <a:lnTo>
                    <a:pt x="48" y="76"/>
                  </a:lnTo>
                  <a:lnTo>
                    <a:pt x="46" y="76"/>
                  </a:lnTo>
                  <a:lnTo>
                    <a:pt x="46" y="74"/>
                  </a:lnTo>
                  <a:lnTo>
                    <a:pt x="44" y="74"/>
                  </a:lnTo>
                  <a:lnTo>
                    <a:pt x="42" y="74"/>
                  </a:lnTo>
                  <a:lnTo>
                    <a:pt x="42" y="72"/>
                  </a:lnTo>
                  <a:lnTo>
                    <a:pt x="42" y="70"/>
                  </a:lnTo>
                  <a:lnTo>
                    <a:pt x="40" y="70"/>
                  </a:lnTo>
                  <a:lnTo>
                    <a:pt x="40" y="68"/>
                  </a:lnTo>
                  <a:lnTo>
                    <a:pt x="38" y="68"/>
                  </a:lnTo>
                  <a:lnTo>
                    <a:pt x="38" y="66"/>
                  </a:lnTo>
                  <a:lnTo>
                    <a:pt x="36" y="66"/>
                  </a:lnTo>
                  <a:lnTo>
                    <a:pt x="36" y="64"/>
                  </a:lnTo>
                  <a:lnTo>
                    <a:pt x="34" y="64"/>
                  </a:lnTo>
                  <a:lnTo>
                    <a:pt x="34" y="62"/>
                  </a:lnTo>
                  <a:lnTo>
                    <a:pt x="34" y="60"/>
                  </a:lnTo>
                  <a:lnTo>
                    <a:pt x="32" y="60"/>
                  </a:lnTo>
                  <a:lnTo>
                    <a:pt x="32" y="58"/>
                  </a:lnTo>
                  <a:lnTo>
                    <a:pt x="32" y="58"/>
                  </a:lnTo>
                  <a:lnTo>
                    <a:pt x="30" y="58"/>
                  </a:lnTo>
                  <a:lnTo>
                    <a:pt x="30" y="56"/>
                  </a:lnTo>
                  <a:lnTo>
                    <a:pt x="28" y="56"/>
                  </a:lnTo>
                  <a:lnTo>
                    <a:pt x="28" y="54"/>
                  </a:lnTo>
                  <a:lnTo>
                    <a:pt x="26" y="54"/>
                  </a:lnTo>
                  <a:lnTo>
                    <a:pt x="26" y="52"/>
                  </a:lnTo>
                  <a:lnTo>
                    <a:pt x="26" y="50"/>
                  </a:lnTo>
                  <a:lnTo>
                    <a:pt x="26" y="48"/>
                  </a:lnTo>
                  <a:lnTo>
                    <a:pt x="24" y="48"/>
                  </a:lnTo>
                  <a:lnTo>
                    <a:pt x="22" y="48"/>
                  </a:lnTo>
                  <a:lnTo>
                    <a:pt x="20" y="48"/>
                  </a:lnTo>
                  <a:lnTo>
                    <a:pt x="18" y="48"/>
                  </a:lnTo>
                  <a:lnTo>
                    <a:pt x="18" y="50"/>
                  </a:lnTo>
                  <a:lnTo>
                    <a:pt x="18" y="48"/>
                  </a:lnTo>
                  <a:lnTo>
                    <a:pt x="16" y="48"/>
                  </a:lnTo>
                  <a:lnTo>
                    <a:pt x="14" y="48"/>
                  </a:lnTo>
                  <a:lnTo>
                    <a:pt x="14" y="46"/>
                  </a:lnTo>
                  <a:lnTo>
                    <a:pt x="12" y="46"/>
                  </a:lnTo>
                  <a:lnTo>
                    <a:pt x="12" y="44"/>
                  </a:lnTo>
                  <a:lnTo>
                    <a:pt x="10" y="44"/>
                  </a:lnTo>
                  <a:lnTo>
                    <a:pt x="10" y="42"/>
                  </a:lnTo>
                  <a:lnTo>
                    <a:pt x="8" y="42"/>
                  </a:lnTo>
                  <a:lnTo>
                    <a:pt x="6" y="42"/>
                  </a:lnTo>
                  <a:lnTo>
                    <a:pt x="4" y="42"/>
                  </a:lnTo>
                  <a:lnTo>
                    <a:pt x="4" y="40"/>
                  </a:lnTo>
                  <a:lnTo>
                    <a:pt x="2" y="40"/>
                  </a:lnTo>
                  <a:lnTo>
                    <a:pt x="0" y="40"/>
                  </a:lnTo>
                  <a:lnTo>
                    <a:pt x="2" y="40"/>
                  </a:lnTo>
                  <a:lnTo>
                    <a:pt x="0" y="38"/>
                  </a:lnTo>
                  <a:lnTo>
                    <a:pt x="0" y="36"/>
                  </a:lnTo>
                  <a:lnTo>
                    <a:pt x="2" y="36"/>
                  </a:lnTo>
                  <a:lnTo>
                    <a:pt x="2" y="34"/>
                  </a:lnTo>
                  <a:lnTo>
                    <a:pt x="2" y="32"/>
                  </a:lnTo>
                  <a:lnTo>
                    <a:pt x="4" y="32"/>
                  </a:lnTo>
                  <a:lnTo>
                    <a:pt x="4" y="30"/>
                  </a:lnTo>
                  <a:lnTo>
                    <a:pt x="4" y="28"/>
                  </a:lnTo>
                  <a:lnTo>
                    <a:pt x="6" y="28"/>
                  </a:lnTo>
                  <a:lnTo>
                    <a:pt x="6" y="26"/>
                  </a:lnTo>
                  <a:lnTo>
                    <a:pt x="8" y="26"/>
                  </a:lnTo>
                  <a:lnTo>
                    <a:pt x="8" y="24"/>
                  </a:lnTo>
                  <a:lnTo>
                    <a:pt x="8" y="26"/>
                  </a:lnTo>
                  <a:lnTo>
                    <a:pt x="8" y="24"/>
                  </a:lnTo>
                  <a:lnTo>
                    <a:pt x="10" y="24"/>
                  </a:lnTo>
                  <a:lnTo>
                    <a:pt x="8" y="24"/>
                  </a:lnTo>
                  <a:lnTo>
                    <a:pt x="8" y="22"/>
                  </a:lnTo>
                  <a:lnTo>
                    <a:pt x="10" y="22"/>
                  </a:lnTo>
                  <a:lnTo>
                    <a:pt x="10" y="20"/>
                  </a:lnTo>
                  <a:lnTo>
                    <a:pt x="12" y="20"/>
                  </a:lnTo>
                  <a:lnTo>
                    <a:pt x="12" y="18"/>
                  </a:lnTo>
                  <a:lnTo>
                    <a:pt x="14" y="18"/>
                  </a:lnTo>
                  <a:lnTo>
                    <a:pt x="16" y="18"/>
                  </a:lnTo>
                  <a:lnTo>
                    <a:pt x="16" y="16"/>
                  </a:lnTo>
                  <a:lnTo>
                    <a:pt x="18" y="16"/>
                  </a:lnTo>
                  <a:lnTo>
                    <a:pt x="20" y="16"/>
                  </a:lnTo>
                  <a:lnTo>
                    <a:pt x="20" y="14"/>
                  </a:lnTo>
                  <a:lnTo>
                    <a:pt x="22" y="14"/>
                  </a:lnTo>
                  <a:lnTo>
                    <a:pt x="24" y="14"/>
                  </a:lnTo>
                  <a:lnTo>
                    <a:pt x="26" y="14"/>
                  </a:lnTo>
                  <a:lnTo>
                    <a:pt x="26" y="12"/>
                  </a:lnTo>
                  <a:lnTo>
                    <a:pt x="28" y="12"/>
                  </a:lnTo>
                  <a:lnTo>
                    <a:pt x="28" y="10"/>
                  </a:lnTo>
                  <a:lnTo>
                    <a:pt x="30" y="10"/>
                  </a:lnTo>
                  <a:lnTo>
                    <a:pt x="32" y="10"/>
                  </a:lnTo>
                  <a:lnTo>
                    <a:pt x="32" y="10"/>
                  </a:lnTo>
                  <a:lnTo>
                    <a:pt x="34" y="10"/>
                  </a:lnTo>
                  <a:lnTo>
                    <a:pt x="36" y="10"/>
                  </a:lnTo>
                  <a:lnTo>
                    <a:pt x="36" y="8"/>
                  </a:lnTo>
                  <a:lnTo>
                    <a:pt x="36" y="10"/>
                  </a:lnTo>
                  <a:lnTo>
                    <a:pt x="36" y="8"/>
                  </a:lnTo>
                  <a:lnTo>
                    <a:pt x="38" y="8"/>
                  </a:lnTo>
                  <a:lnTo>
                    <a:pt x="40" y="8"/>
                  </a:lnTo>
                  <a:lnTo>
                    <a:pt x="40" y="6"/>
                  </a:lnTo>
                  <a:lnTo>
                    <a:pt x="42" y="6"/>
                  </a:lnTo>
                  <a:close/>
                  <a:moveTo>
                    <a:pt x="188" y="104"/>
                  </a:moveTo>
                  <a:lnTo>
                    <a:pt x="188" y="102"/>
                  </a:lnTo>
                  <a:lnTo>
                    <a:pt x="188" y="104"/>
                  </a:lnTo>
                  <a:close/>
                  <a:moveTo>
                    <a:pt x="188" y="104"/>
                  </a:moveTo>
                  <a:lnTo>
                    <a:pt x="188" y="106"/>
                  </a:lnTo>
                  <a:lnTo>
                    <a:pt x="188" y="104"/>
                  </a:lnTo>
                  <a:close/>
                  <a:moveTo>
                    <a:pt x="172" y="116"/>
                  </a:moveTo>
                  <a:lnTo>
                    <a:pt x="172" y="114"/>
                  </a:lnTo>
                  <a:lnTo>
                    <a:pt x="174" y="114"/>
                  </a:lnTo>
                  <a:lnTo>
                    <a:pt x="172" y="114"/>
                  </a:lnTo>
                  <a:lnTo>
                    <a:pt x="174" y="114"/>
                  </a:lnTo>
                  <a:lnTo>
                    <a:pt x="172" y="114"/>
                  </a:lnTo>
                  <a:lnTo>
                    <a:pt x="172" y="116"/>
                  </a:lnTo>
                  <a:close/>
                  <a:moveTo>
                    <a:pt x="174" y="116"/>
                  </a:moveTo>
                  <a:lnTo>
                    <a:pt x="176" y="116"/>
                  </a:lnTo>
                  <a:lnTo>
                    <a:pt x="174" y="116"/>
                  </a:lnTo>
                  <a:close/>
                  <a:moveTo>
                    <a:pt x="164" y="132"/>
                  </a:moveTo>
                  <a:lnTo>
                    <a:pt x="162" y="132"/>
                  </a:lnTo>
                  <a:lnTo>
                    <a:pt x="164" y="132"/>
                  </a:lnTo>
                  <a:close/>
                  <a:moveTo>
                    <a:pt x="140" y="156"/>
                  </a:moveTo>
                  <a:lnTo>
                    <a:pt x="138" y="156"/>
                  </a:lnTo>
                  <a:lnTo>
                    <a:pt x="140" y="156"/>
                  </a:lnTo>
                  <a:close/>
                  <a:moveTo>
                    <a:pt x="140" y="158"/>
                  </a:moveTo>
                  <a:lnTo>
                    <a:pt x="140" y="156"/>
                  </a:lnTo>
                  <a:lnTo>
                    <a:pt x="140" y="158"/>
                  </a:lnTo>
                  <a:close/>
                  <a:moveTo>
                    <a:pt x="124" y="162"/>
                  </a:moveTo>
                  <a:lnTo>
                    <a:pt x="124" y="160"/>
                  </a:lnTo>
                  <a:lnTo>
                    <a:pt x="124" y="162"/>
                  </a:lnTo>
                  <a:close/>
                  <a:moveTo>
                    <a:pt x="140" y="160"/>
                  </a:moveTo>
                  <a:lnTo>
                    <a:pt x="138" y="160"/>
                  </a:lnTo>
                  <a:lnTo>
                    <a:pt x="140" y="160"/>
                  </a:lnTo>
                  <a:close/>
                </a:path>
              </a:pathLst>
            </a:custGeom>
            <a:solidFill>
              <a:srgbClr val="575F9F"/>
            </a:solidFill>
            <a:ln w="3175">
              <a:solidFill>
                <a:sysClr val="window" lastClr="FFFF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black"/>
                </a:solidFill>
                <a:effectLst/>
                <a:uLnTx/>
                <a:uFillTx/>
                <a:ea typeface="宋体" panose="02010600030101010101" pitchFamily="2" charset="-122"/>
              </a:endParaRPr>
            </a:p>
          </p:txBody>
        </p:sp>
        <p:sp>
          <p:nvSpPr>
            <p:cNvPr id="32" name="Freeform 1810">
              <a:extLst>
                <a:ext uri="{FF2B5EF4-FFF2-40B4-BE49-F238E27FC236}">
                  <a16:creationId xmlns:a16="http://schemas.microsoft.com/office/drawing/2014/main" id="{36D87AEE-6673-98F2-F400-059935FDE303}"/>
                </a:ext>
              </a:extLst>
            </p:cNvPr>
            <p:cNvSpPr>
              <a:spLocks/>
            </p:cNvSpPr>
            <p:nvPr/>
          </p:nvSpPr>
          <p:spPr bwMode="auto">
            <a:xfrm>
              <a:off x="5759451" y="3106738"/>
              <a:ext cx="212725" cy="349250"/>
            </a:xfrm>
            <a:custGeom>
              <a:avLst/>
              <a:gdLst>
                <a:gd name="T0" fmla="*/ 78 w 134"/>
                <a:gd name="T1" fmla="*/ 2 h 220"/>
                <a:gd name="T2" fmla="*/ 96 w 134"/>
                <a:gd name="T3" fmla="*/ 0 h 220"/>
                <a:gd name="T4" fmla="*/ 110 w 134"/>
                <a:gd name="T5" fmla="*/ 0 h 220"/>
                <a:gd name="T6" fmla="*/ 118 w 134"/>
                <a:gd name="T7" fmla="*/ 6 h 220"/>
                <a:gd name="T8" fmla="*/ 120 w 134"/>
                <a:gd name="T9" fmla="*/ 22 h 220"/>
                <a:gd name="T10" fmla="*/ 122 w 134"/>
                <a:gd name="T11" fmla="*/ 38 h 220"/>
                <a:gd name="T12" fmla="*/ 124 w 134"/>
                <a:gd name="T13" fmla="*/ 50 h 220"/>
                <a:gd name="T14" fmla="*/ 126 w 134"/>
                <a:gd name="T15" fmla="*/ 64 h 220"/>
                <a:gd name="T16" fmla="*/ 126 w 134"/>
                <a:gd name="T17" fmla="*/ 80 h 220"/>
                <a:gd name="T18" fmla="*/ 126 w 134"/>
                <a:gd name="T19" fmla="*/ 94 h 220"/>
                <a:gd name="T20" fmla="*/ 128 w 134"/>
                <a:gd name="T21" fmla="*/ 108 h 220"/>
                <a:gd name="T22" fmla="*/ 130 w 134"/>
                <a:gd name="T23" fmla="*/ 122 h 220"/>
                <a:gd name="T24" fmla="*/ 130 w 134"/>
                <a:gd name="T25" fmla="*/ 138 h 220"/>
                <a:gd name="T26" fmla="*/ 130 w 134"/>
                <a:gd name="T27" fmla="*/ 146 h 220"/>
                <a:gd name="T28" fmla="*/ 134 w 134"/>
                <a:gd name="T29" fmla="*/ 154 h 220"/>
                <a:gd name="T30" fmla="*/ 124 w 134"/>
                <a:gd name="T31" fmla="*/ 158 h 220"/>
                <a:gd name="T32" fmla="*/ 110 w 134"/>
                <a:gd name="T33" fmla="*/ 160 h 220"/>
                <a:gd name="T34" fmla="*/ 110 w 134"/>
                <a:gd name="T35" fmla="*/ 172 h 220"/>
                <a:gd name="T36" fmla="*/ 102 w 134"/>
                <a:gd name="T37" fmla="*/ 180 h 220"/>
                <a:gd name="T38" fmla="*/ 94 w 134"/>
                <a:gd name="T39" fmla="*/ 188 h 220"/>
                <a:gd name="T40" fmla="*/ 92 w 134"/>
                <a:gd name="T41" fmla="*/ 200 h 220"/>
                <a:gd name="T42" fmla="*/ 78 w 134"/>
                <a:gd name="T43" fmla="*/ 200 h 220"/>
                <a:gd name="T44" fmla="*/ 74 w 134"/>
                <a:gd name="T45" fmla="*/ 192 h 220"/>
                <a:gd name="T46" fmla="*/ 70 w 134"/>
                <a:gd name="T47" fmla="*/ 196 h 220"/>
                <a:gd name="T48" fmla="*/ 68 w 134"/>
                <a:gd name="T49" fmla="*/ 202 h 220"/>
                <a:gd name="T50" fmla="*/ 62 w 134"/>
                <a:gd name="T51" fmla="*/ 212 h 220"/>
                <a:gd name="T52" fmla="*/ 54 w 134"/>
                <a:gd name="T53" fmla="*/ 204 h 220"/>
                <a:gd name="T54" fmla="*/ 44 w 134"/>
                <a:gd name="T55" fmla="*/ 210 h 220"/>
                <a:gd name="T56" fmla="*/ 40 w 134"/>
                <a:gd name="T57" fmla="*/ 214 h 220"/>
                <a:gd name="T58" fmla="*/ 30 w 134"/>
                <a:gd name="T59" fmla="*/ 208 h 220"/>
                <a:gd name="T60" fmla="*/ 22 w 134"/>
                <a:gd name="T61" fmla="*/ 210 h 220"/>
                <a:gd name="T62" fmla="*/ 20 w 134"/>
                <a:gd name="T63" fmla="*/ 212 h 220"/>
                <a:gd name="T64" fmla="*/ 10 w 134"/>
                <a:gd name="T65" fmla="*/ 210 h 220"/>
                <a:gd name="T66" fmla="*/ 8 w 134"/>
                <a:gd name="T67" fmla="*/ 220 h 220"/>
                <a:gd name="T68" fmla="*/ 2 w 134"/>
                <a:gd name="T69" fmla="*/ 214 h 220"/>
                <a:gd name="T70" fmla="*/ 2 w 134"/>
                <a:gd name="T71" fmla="*/ 210 h 220"/>
                <a:gd name="T72" fmla="*/ 4 w 134"/>
                <a:gd name="T73" fmla="*/ 204 h 220"/>
                <a:gd name="T74" fmla="*/ 8 w 134"/>
                <a:gd name="T75" fmla="*/ 200 h 220"/>
                <a:gd name="T76" fmla="*/ 4 w 134"/>
                <a:gd name="T77" fmla="*/ 192 h 220"/>
                <a:gd name="T78" fmla="*/ 10 w 134"/>
                <a:gd name="T79" fmla="*/ 192 h 220"/>
                <a:gd name="T80" fmla="*/ 14 w 134"/>
                <a:gd name="T81" fmla="*/ 188 h 220"/>
                <a:gd name="T82" fmla="*/ 18 w 134"/>
                <a:gd name="T83" fmla="*/ 176 h 220"/>
                <a:gd name="T84" fmla="*/ 20 w 134"/>
                <a:gd name="T85" fmla="*/ 172 h 220"/>
                <a:gd name="T86" fmla="*/ 22 w 134"/>
                <a:gd name="T87" fmla="*/ 162 h 220"/>
                <a:gd name="T88" fmla="*/ 18 w 134"/>
                <a:gd name="T89" fmla="*/ 148 h 220"/>
                <a:gd name="T90" fmla="*/ 16 w 134"/>
                <a:gd name="T91" fmla="*/ 144 h 220"/>
                <a:gd name="T92" fmla="*/ 18 w 134"/>
                <a:gd name="T93" fmla="*/ 138 h 220"/>
                <a:gd name="T94" fmla="*/ 20 w 134"/>
                <a:gd name="T95" fmla="*/ 122 h 220"/>
                <a:gd name="T96" fmla="*/ 18 w 134"/>
                <a:gd name="T97" fmla="*/ 106 h 220"/>
                <a:gd name="T98" fmla="*/ 18 w 134"/>
                <a:gd name="T99" fmla="*/ 92 h 220"/>
                <a:gd name="T100" fmla="*/ 16 w 134"/>
                <a:gd name="T101" fmla="*/ 78 h 220"/>
                <a:gd name="T102" fmla="*/ 16 w 134"/>
                <a:gd name="T103" fmla="*/ 62 h 220"/>
                <a:gd name="T104" fmla="*/ 14 w 134"/>
                <a:gd name="T105" fmla="*/ 48 h 220"/>
                <a:gd name="T106" fmla="*/ 14 w 134"/>
                <a:gd name="T107" fmla="*/ 34 h 220"/>
                <a:gd name="T108" fmla="*/ 12 w 134"/>
                <a:gd name="T109" fmla="*/ 20 h 220"/>
                <a:gd name="T110" fmla="*/ 16 w 134"/>
                <a:gd name="T111" fmla="*/ 12 h 220"/>
                <a:gd name="T112" fmla="*/ 26 w 134"/>
                <a:gd name="T113" fmla="*/ 14 h 220"/>
                <a:gd name="T114" fmla="*/ 34 w 134"/>
                <a:gd name="T115" fmla="*/ 8 h 220"/>
                <a:gd name="T116" fmla="*/ 50 w 134"/>
                <a:gd name="T117" fmla="*/ 4 h 220"/>
                <a:gd name="T118" fmla="*/ 66 w 134"/>
                <a:gd name="T119" fmla="*/ 4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34" h="220">
                  <a:moveTo>
                    <a:pt x="68" y="4"/>
                  </a:moveTo>
                  <a:lnTo>
                    <a:pt x="70" y="4"/>
                  </a:lnTo>
                  <a:lnTo>
                    <a:pt x="70" y="2"/>
                  </a:lnTo>
                  <a:lnTo>
                    <a:pt x="72" y="2"/>
                  </a:lnTo>
                  <a:lnTo>
                    <a:pt x="74" y="2"/>
                  </a:lnTo>
                  <a:lnTo>
                    <a:pt x="76" y="2"/>
                  </a:lnTo>
                  <a:lnTo>
                    <a:pt x="78" y="2"/>
                  </a:lnTo>
                  <a:lnTo>
                    <a:pt x="78" y="2"/>
                  </a:lnTo>
                  <a:lnTo>
                    <a:pt x="82" y="2"/>
                  </a:lnTo>
                  <a:lnTo>
                    <a:pt x="84" y="2"/>
                  </a:lnTo>
                  <a:lnTo>
                    <a:pt x="86" y="2"/>
                  </a:lnTo>
                  <a:lnTo>
                    <a:pt x="88" y="2"/>
                  </a:lnTo>
                  <a:lnTo>
                    <a:pt x="90" y="0"/>
                  </a:lnTo>
                  <a:lnTo>
                    <a:pt x="92" y="0"/>
                  </a:lnTo>
                  <a:lnTo>
                    <a:pt x="94" y="0"/>
                  </a:lnTo>
                  <a:lnTo>
                    <a:pt x="96" y="0"/>
                  </a:lnTo>
                  <a:lnTo>
                    <a:pt x="98" y="0"/>
                  </a:lnTo>
                  <a:lnTo>
                    <a:pt x="100" y="0"/>
                  </a:lnTo>
                  <a:lnTo>
                    <a:pt x="102" y="0"/>
                  </a:lnTo>
                  <a:lnTo>
                    <a:pt x="104" y="0"/>
                  </a:lnTo>
                  <a:lnTo>
                    <a:pt x="106" y="0"/>
                  </a:lnTo>
                  <a:lnTo>
                    <a:pt x="108" y="0"/>
                  </a:lnTo>
                  <a:lnTo>
                    <a:pt x="108" y="0"/>
                  </a:lnTo>
                  <a:lnTo>
                    <a:pt x="110" y="0"/>
                  </a:lnTo>
                  <a:lnTo>
                    <a:pt x="112" y="0"/>
                  </a:lnTo>
                  <a:lnTo>
                    <a:pt x="114" y="0"/>
                  </a:lnTo>
                  <a:lnTo>
                    <a:pt x="116" y="0"/>
                  </a:lnTo>
                  <a:lnTo>
                    <a:pt x="118" y="0"/>
                  </a:lnTo>
                  <a:lnTo>
                    <a:pt x="118" y="0"/>
                  </a:lnTo>
                  <a:lnTo>
                    <a:pt x="118" y="2"/>
                  </a:lnTo>
                  <a:lnTo>
                    <a:pt x="118" y="4"/>
                  </a:lnTo>
                  <a:lnTo>
                    <a:pt x="118" y="6"/>
                  </a:lnTo>
                  <a:lnTo>
                    <a:pt x="118" y="8"/>
                  </a:lnTo>
                  <a:lnTo>
                    <a:pt x="118" y="10"/>
                  </a:lnTo>
                  <a:lnTo>
                    <a:pt x="120" y="12"/>
                  </a:lnTo>
                  <a:lnTo>
                    <a:pt x="120" y="14"/>
                  </a:lnTo>
                  <a:lnTo>
                    <a:pt x="120" y="16"/>
                  </a:lnTo>
                  <a:lnTo>
                    <a:pt x="120" y="18"/>
                  </a:lnTo>
                  <a:lnTo>
                    <a:pt x="120" y="20"/>
                  </a:lnTo>
                  <a:lnTo>
                    <a:pt x="120" y="22"/>
                  </a:lnTo>
                  <a:lnTo>
                    <a:pt x="120" y="24"/>
                  </a:lnTo>
                  <a:lnTo>
                    <a:pt x="120" y="26"/>
                  </a:lnTo>
                  <a:lnTo>
                    <a:pt x="120" y="28"/>
                  </a:lnTo>
                  <a:lnTo>
                    <a:pt x="122" y="30"/>
                  </a:lnTo>
                  <a:lnTo>
                    <a:pt x="122" y="32"/>
                  </a:lnTo>
                  <a:lnTo>
                    <a:pt x="122" y="34"/>
                  </a:lnTo>
                  <a:lnTo>
                    <a:pt x="122" y="36"/>
                  </a:lnTo>
                  <a:lnTo>
                    <a:pt x="122" y="38"/>
                  </a:lnTo>
                  <a:lnTo>
                    <a:pt x="122" y="40"/>
                  </a:lnTo>
                  <a:lnTo>
                    <a:pt x="122" y="42"/>
                  </a:lnTo>
                  <a:lnTo>
                    <a:pt x="122" y="44"/>
                  </a:lnTo>
                  <a:lnTo>
                    <a:pt x="122" y="46"/>
                  </a:lnTo>
                  <a:lnTo>
                    <a:pt x="124" y="46"/>
                  </a:lnTo>
                  <a:lnTo>
                    <a:pt x="124" y="48"/>
                  </a:lnTo>
                  <a:lnTo>
                    <a:pt x="124" y="48"/>
                  </a:lnTo>
                  <a:lnTo>
                    <a:pt x="124" y="50"/>
                  </a:lnTo>
                  <a:lnTo>
                    <a:pt x="124" y="52"/>
                  </a:lnTo>
                  <a:lnTo>
                    <a:pt x="124" y="54"/>
                  </a:lnTo>
                  <a:lnTo>
                    <a:pt x="124" y="56"/>
                  </a:lnTo>
                  <a:lnTo>
                    <a:pt x="124" y="58"/>
                  </a:lnTo>
                  <a:lnTo>
                    <a:pt x="124" y="60"/>
                  </a:lnTo>
                  <a:lnTo>
                    <a:pt x="124" y="62"/>
                  </a:lnTo>
                  <a:lnTo>
                    <a:pt x="126" y="62"/>
                  </a:lnTo>
                  <a:lnTo>
                    <a:pt x="126" y="64"/>
                  </a:lnTo>
                  <a:lnTo>
                    <a:pt x="126" y="66"/>
                  </a:lnTo>
                  <a:lnTo>
                    <a:pt x="126" y="68"/>
                  </a:lnTo>
                  <a:lnTo>
                    <a:pt x="126" y="70"/>
                  </a:lnTo>
                  <a:lnTo>
                    <a:pt x="126" y="72"/>
                  </a:lnTo>
                  <a:lnTo>
                    <a:pt x="126" y="74"/>
                  </a:lnTo>
                  <a:lnTo>
                    <a:pt x="126" y="76"/>
                  </a:lnTo>
                  <a:lnTo>
                    <a:pt x="126" y="78"/>
                  </a:lnTo>
                  <a:lnTo>
                    <a:pt x="126" y="80"/>
                  </a:lnTo>
                  <a:lnTo>
                    <a:pt x="126" y="82"/>
                  </a:lnTo>
                  <a:lnTo>
                    <a:pt x="126" y="82"/>
                  </a:lnTo>
                  <a:lnTo>
                    <a:pt x="126" y="84"/>
                  </a:lnTo>
                  <a:lnTo>
                    <a:pt x="126" y="86"/>
                  </a:lnTo>
                  <a:lnTo>
                    <a:pt x="126" y="88"/>
                  </a:lnTo>
                  <a:lnTo>
                    <a:pt x="126" y="90"/>
                  </a:lnTo>
                  <a:lnTo>
                    <a:pt x="126" y="92"/>
                  </a:lnTo>
                  <a:lnTo>
                    <a:pt x="126" y="94"/>
                  </a:lnTo>
                  <a:lnTo>
                    <a:pt x="126" y="96"/>
                  </a:lnTo>
                  <a:lnTo>
                    <a:pt x="126" y="96"/>
                  </a:lnTo>
                  <a:lnTo>
                    <a:pt x="126" y="98"/>
                  </a:lnTo>
                  <a:lnTo>
                    <a:pt x="126" y="100"/>
                  </a:lnTo>
                  <a:lnTo>
                    <a:pt x="128" y="102"/>
                  </a:lnTo>
                  <a:lnTo>
                    <a:pt x="128" y="104"/>
                  </a:lnTo>
                  <a:lnTo>
                    <a:pt x="128" y="106"/>
                  </a:lnTo>
                  <a:lnTo>
                    <a:pt x="128" y="108"/>
                  </a:lnTo>
                  <a:lnTo>
                    <a:pt x="128" y="110"/>
                  </a:lnTo>
                  <a:lnTo>
                    <a:pt x="128" y="112"/>
                  </a:lnTo>
                  <a:lnTo>
                    <a:pt x="128" y="114"/>
                  </a:lnTo>
                  <a:lnTo>
                    <a:pt x="128" y="116"/>
                  </a:lnTo>
                  <a:lnTo>
                    <a:pt x="128" y="118"/>
                  </a:lnTo>
                  <a:lnTo>
                    <a:pt x="130" y="118"/>
                  </a:lnTo>
                  <a:lnTo>
                    <a:pt x="130" y="120"/>
                  </a:lnTo>
                  <a:lnTo>
                    <a:pt x="130" y="122"/>
                  </a:lnTo>
                  <a:lnTo>
                    <a:pt x="130" y="124"/>
                  </a:lnTo>
                  <a:lnTo>
                    <a:pt x="130" y="126"/>
                  </a:lnTo>
                  <a:lnTo>
                    <a:pt x="130" y="128"/>
                  </a:lnTo>
                  <a:lnTo>
                    <a:pt x="130" y="130"/>
                  </a:lnTo>
                  <a:lnTo>
                    <a:pt x="130" y="132"/>
                  </a:lnTo>
                  <a:lnTo>
                    <a:pt x="130" y="134"/>
                  </a:lnTo>
                  <a:lnTo>
                    <a:pt x="130" y="136"/>
                  </a:lnTo>
                  <a:lnTo>
                    <a:pt x="130" y="138"/>
                  </a:lnTo>
                  <a:lnTo>
                    <a:pt x="130" y="140"/>
                  </a:lnTo>
                  <a:lnTo>
                    <a:pt x="128" y="140"/>
                  </a:lnTo>
                  <a:lnTo>
                    <a:pt x="128" y="142"/>
                  </a:lnTo>
                  <a:lnTo>
                    <a:pt x="130" y="142"/>
                  </a:lnTo>
                  <a:lnTo>
                    <a:pt x="130" y="144"/>
                  </a:lnTo>
                  <a:lnTo>
                    <a:pt x="132" y="144"/>
                  </a:lnTo>
                  <a:lnTo>
                    <a:pt x="130" y="144"/>
                  </a:lnTo>
                  <a:lnTo>
                    <a:pt x="130" y="146"/>
                  </a:lnTo>
                  <a:lnTo>
                    <a:pt x="130" y="148"/>
                  </a:lnTo>
                  <a:lnTo>
                    <a:pt x="132" y="148"/>
                  </a:lnTo>
                  <a:lnTo>
                    <a:pt x="134" y="148"/>
                  </a:lnTo>
                  <a:lnTo>
                    <a:pt x="134" y="150"/>
                  </a:lnTo>
                  <a:lnTo>
                    <a:pt x="132" y="150"/>
                  </a:lnTo>
                  <a:lnTo>
                    <a:pt x="132" y="152"/>
                  </a:lnTo>
                  <a:lnTo>
                    <a:pt x="134" y="152"/>
                  </a:lnTo>
                  <a:lnTo>
                    <a:pt x="134" y="154"/>
                  </a:lnTo>
                  <a:lnTo>
                    <a:pt x="132" y="154"/>
                  </a:lnTo>
                  <a:lnTo>
                    <a:pt x="130" y="154"/>
                  </a:lnTo>
                  <a:lnTo>
                    <a:pt x="128" y="154"/>
                  </a:lnTo>
                  <a:lnTo>
                    <a:pt x="126" y="154"/>
                  </a:lnTo>
                  <a:lnTo>
                    <a:pt x="126" y="156"/>
                  </a:lnTo>
                  <a:lnTo>
                    <a:pt x="126" y="156"/>
                  </a:lnTo>
                  <a:lnTo>
                    <a:pt x="126" y="158"/>
                  </a:lnTo>
                  <a:lnTo>
                    <a:pt x="124" y="158"/>
                  </a:lnTo>
                  <a:lnTo>
                    <a:pt x="122" y="158"/>
                  </a:lnTo>
                  <a:lnTo>
                    <a:pt x="122" y="160"/>
                  </a:lnTo>
                  <a:lnTo>
                    <a:pt x="120" y="160"/>
                  </a:lnTo>
                  <a:lnTo>
                    <a:pt x="118" y="160"/>
                  </a:lnTo>
                  <a:lnTo>
                    <a:pt x="116" y="158"/>
                  </a:lnTo>
                  <a:lnTo>
                    <a:pt x="114" y="158"/>
                  </a:lnTo>
                  <a:lnTo>
                    <a:pt x="112" y="160"/>
                  </a:lnTo>
                  <a:lnTo>
                    <a:pt x="110" y="160"/>
                  </a:lnTo>
                  <a:lnTo>
                    <a:pt x="108" y="160"/>
                  </a:lnTo>
                  <a:lnTo>
                    <a:pt x="108" y="162"/>
                  </a:lnTo>
                  <a:lnTo>
                    <a:pt x="108" y="164"/>
                  </a:lnTo>
                  <a:lnTo>
                    <a:pt x="110" y="164"/>
                  </a:lnTo>
                  <a:lnTo>
                    <a:pt x="110" y="166"/>
                  </a:lnTo>
                  <a:lnTo>
                    <a:pt x="110" y="168"/>
                  </a:lnTo>
                  <a:lnTo>
                    <a:pt x="110" y="170"/>
                  </a:lnTo>
                  <a:lnTo>
                    <a:pt x="110" y="172"/>
                  </a:lnTo>
                  <a:lnTo>
                    <a:pt x="108" y="172"/>
                  </a:lnTo>
                  <a:lnTo>
                    <a:pt x="108" y="174"/>
                  </a:lnTo>
                  <a:lnTo>
                    <a:pt x="106" y="174"/>
                  </a:lnTo>
                  <a:lnTo>
                    <a:pt x="106" y="176"/>
                  </a:lnTo>
                  <a:lnTo>
                    <a:pt x="104" y="176"/>
                  </a:lnTo>
                  <a:lnTo>
                    <a:pt x="102" y="176"/>
                  </a:lnTo>
                  <a:lnTo>
                    <a:pt x="102" y="178"/>
                  </a:lnTo>
                  <a:lnTo>
                    <a:pt x="102" y="180"/>
                  </a:lnTo>
                  <a:lnTo>
                    <a:pt x="102" y="182"/>
                  </a:lnTo>
                  <a:lnTo>
                    <a:pt x="102" y="184"/>
                  </a:lnTo>
                  <a:lnTo>
                    <a:pt x="100" y="184"/>
                  </a:lnTo>
                  <a:lnTo>
                    <a:pt x="100" y="186"/>
                  </a:lnTo>
                  <a:lnTo>
                    <a:pt x="98" y="186"/>
                  </a:lnTo>
                  <a:lnTo>
                    <a:pt x="96" y="186"/>
                  </a:lnTo>
                  <a:lnTo>
                    <a:pt x="94" y="186"/>
                  </a:lnTo>
                  <a:lnTo>
                    <a:pt x="94" y="188"/>
                  </a:lnTo>
                  <a:lnTo>
                    <a:pt x="94" y="190"/>
                  </a:lnTo>
                  <a:lnTo>
                    <a:pt x="92" y="190"/>
                  </a:lnTo>
                  <a:lnTo>
                    <a:pt x="92" y="192"/>
                  </a:lnTo>
                  <a:lnTo>
                    <a:pt x="92" y="192"/>
                  </a:lnTo>
                  <a:lnTo>
                    <a:pt x="92" y="194"/>
                  </a:lnTo>
                  <a:lnTo>
                    <a:pt x="92" y="196"/>
                  </a:lnTo>
                  <a:lnTo>
                    <a:pt x="92" y="198"/>
                  </a:lnTo>
                  <a:lnTo>
                    <a:pt x="92" y="200"/>
                  </a:lnTo>
                  <a:lnTo>
                    <a:pt x="90" y="200"/>
                  </a:lnTo>
                  <a:lnTo>
                    <a:pt x="88" y="200"/>
                  </a:lnTo>
                  <a:lnTo>
                    <a:pt x="86" y="200"/>
                  </a:lnTo>
                  <a:lnTo>
                    <a:pt x="86" y="202"/>
                  </a:lnTo>
                  <a:lnTo>
                    <a:pt x="84" y="200"/>
                  </a:lnTo>
                  <a:lnTo>
                    <a:pt x="82" y="200"/>
                  </a:lnTo>
                  <a:lnTo>
                    <a:pt x="80" y="200"/>
                  </a:lnTo>
                  <a:lnTo>
                    <a:pt x="78" y="200"/>
                  </a:lnTo>
                  <a:lnTo>
                    <a:pt x="78" y="198"/>
                  </a:lnTo>
                  <a:lnTo>
                    <a:pt x="78" y="198"/>
                  </a:lnTo>
                  <a:lnTo>
                    <a:pt x="78" y="196"/>
                  </a:lnTo>
                  <a:lnTo>
                    <a:pt x="78" y="194"/>
                  </a:lnTo>
                  <a:lnTo>
                    <a:pt x="78" y="192"/>
                  </a:lnTo>
                  <a:lnTo>
                    <a:pt x="76" y="192"/>
                  </a:lnTo>
                  <a:lnTo>
                    <a:pt x="74" y="192"/>
                  </a:lnTo>
                  <a:lnTo>
                    <a:pt x="74" y="192"/>
                  </a:lnTo>
                  <a:lnTo>
                    <a:pt x="72" y="192"/>
                  </a:lnTo>
                  <a:lnTo>
                    <a:pt x="74" y="192"/>
                  </a:lnTo>
                  <a:lnTo>
                    <a:pt x="76" y="192"/>
                  </a:lnTo>
                  <a:lnTo>
                    <a:pt x="76" y="194"/>
                  </a:lnTo>
                  <a:lnTo>
                    <a:pt x="74" y="194"/>
                  </a:lnTo>
                  <a:lnTo>
                    <a:pt x="72" y="194"/>
                  </a:lnTo>
                  <a:lnTo>
                    <a:pt x="72" y="196"/>
                  </a:lnTo>
                  <a:lnTo>
                    <a:pt x="70" y="196"/>
                  </a:lnTo>
                  <a:lnTo>
                    <a:pt x="70" y="194"/>
                  </a:lnTo>
                  <a:lnTo>
                    <a:pt x="70" y="196"/>
                  </a:lnTo>
                  <a:lnTo>
                    <a:pt x="70" y="198"/>
                  </a:lnTo>
                  <a:lnTo>
                    <a:pt x="72" y="198"/>
                  </a:lnTo>
                  <a:lnTo>
                    <a:pt x="70" y="198"/>
                  </a:lnTo>
                  <a:lnTo>
                    <a:pt x="70" y="200"/>
                  </a:lnTo>
                  <a:lnTo>
                    <a:pt x="68" y="200"/>
                  </a:lnTo>
                  <a:lnTo>
                    <a:pt x="68" y="202"/>
                  </a:lnTo>
                  <a:lnTo>
                    <a:pt x="68" y="204"/>
                  </a:lnTo>
                  <a:lnTo>
                    <a:pt x="68" y="206"/>
                  </a:lnTo>
                  <a:lnTo>
                    <a:pt x="66" y="206"/>
                  </a:lnTo>
                  <a:lnTo>
                    <a:pt x="64" y="206"/>
                  </a:lnTo>
                  <a:lnTo>
                    <a:pt x="64" y="208"/>
                  </a:lnTo>
                  <a:lnTo>
                    <a:pt x="64" y="210"/>
                  </a:lnTo>
                  <a:lnTo>
                    <a:pt x="64" y="212"/>
                  </a:lnTo>
                  <a:lnTo>
                    <a:pt x="62" y="212"/>
                  </a:lnTo>
                  <a:lnTo>
                    <a:pt x="62" y="210"/>
                  </a:lnTo>
                  <a:lnTo>
                    <a:pt x="62" y="208"/>
                  </a:lnTo>
                  <a:lnTo>
                    <a:pt x="60" y="208"/>
                  </a:lnTo>
                  <a:lnTo>
                    <a:pt x="58" y="208"/>
                  </a:lnTo>
                  <a:lnTo>
                    <a:pt x="58" y="206"/>
                  </a:lnTo>
                  <a:lnTo>
                    <a:pt x="56" y="206"/>
                  </a:lnTo>
                  <a:lnTo>
                    <a:pt x="56" y="204"/>
                  </a:lnTo>
                  <a:lnTo>
                    <a:pt x="54" y="204"/>
                  </a:lnTo>
                  <a:lnTo>
                    <a:pt x="52" y="204"/>
                  </a:lnTo>
                  <a:lnTo>
                    <a:pt x="52" y="206"/>
                  </a:lnTo>
                  <a:lnTo>
                    <a:pt x="50" y="206"/>
                  </a:lnTo>
                  <a:lnTo>
                    <a:pt x="50" y="208"/>
                  </a:lnTo>
                  <a:lnTo>
                    <a:pt x="48" y="208"/>
                  </a:lnTo>
                  <a:lnTo>
                    <a:pt x="46" y="208"/>
                  </a:lnTo>
                  <a:lnTo>
                    <a:pt x="46" y="210"/>
                  </a:lnTo>
                  <a:lnTo>
                    <a:pt x="44" y="210"/>
                  </a:lnTo>
                  <a:lnTo>
                    <a:pt x="46" y="210"/>
                  </a:lnTo>
                  <a:lnTo>
                    <a:pt x="46" y="212"/>
                  </a:lnTo>
                  <a:lnTo>
                    <a:pt x="44" y="212"/>
                  </a:lnTo>
                  <a:lnTo>
                    <a:pt x="44" y="214"/>
                  </a:lnTo>
                  <a:lnTo>
                    <a:pt x="44" y="216"/>
                  </a:lnTo>
                  <a:lnTo>
                    <a:pt x="42" y="216"/>
                  </a:lnTo>
                  <a:lnTo>
                    <a:pt x="42" y="214"/>
                  </a:lnTo>
                  <a:lnTo>
                    <a:pt x="40" y="214"/>
                  </a:lnTo>
                  <a:lnTo>
                    <a:pt x="38" y="214"/>
                  </a:lnTo>
                  <a:lnTo>
                    <a:pt x="38" y="212"/>
                  </a:lnTo>
                  <a:lnTo>
                    <a:pt x="36" y="212"/>
                  </a:lnTo>
                  <a:lnTo>
                    <a:pt x="34" y="212"/>
                  </a:lnTo>
                  <a:lnTo>
                    <a:pt x="34" y="210"/>
                  </a:lnTo>
                  <a:lnTo>
                    <a:pt x="32" y="210"/>
                  </a:lnTo>
                  <a:lnTo>
                    <a:pt x="30" y="210"/>
                  </a:lnTo>
                  <a:lnTo>
                    <a:pt x="30" y="208"/>
                  </a:lnTo>
                  <a:lnTo>
                    <a:pt x="30" y="208"/>
                  </a:lnTo>
                  <a:lnTo>
                    <a:pt x="28" y="208"/>
                  </a:lnTo>
                  <a:lnTo>
                    <a:pt x="28" y="210"/>
                  </a:lnTo>
                  <a:lnTo>
                    <a:pt x="26" y="210"/>
                  </a:lnTo>
                  <a:lnTo>
                    <a:pt x="24" y="210"/>
                  </a:lnTo>
                  <a:lnTo>
                    <a:pt x="24" y="208"/>
                  </a:lnTo>
                  <a:lnTo>
                    <a:pt x="22" y="208"/>
                  </a:lnTo>
                  <a:lnTo>
                    <a:pt x="22" y="210"/>
                  </a:lnTo>
                  <a:lnTo>
                    <a:pt x="22" y="212"/>
                  </a:lnTo>
                  <a:lnTo>
                    <a:pt x="24" y="212"/>
                  </a:lnTo>
                  <a:lnTo>
                    <a:pt x="24" y="214"/>
                  </a:lnTo>
                  <a:lnTo>
                    <a:pt x="22" y="214"/>
                  </a:lnTo>
                  <a:lnTo>
                    <a:pt x="22" y="216"/>
                  </a:lnTo>
                  <a:lnTo>
                    <a:pt x="20" y="216"/>
                  </a:lnTo>
                  <a:lnTo>
                    <a:pt x="20" y="214"/>
                  </a:lnTo>
                  <a:lnTo>
                    <a:pt x="20" y="212"/>
                  </a:lnTo>
                  <a:lnTo>
                    <a:pt x="18" y="212"/>
                  </a:lnTo>
                  <a:lnTo>
                    <a:pt x="16" y="212"/>
                  </a:lnTo>
                  <a:lnTo>
                    <a:pt x="14" y="212"/>
                  </a:lnTo>
                  <a:lnTo>
                    <a:pt x="14" y="214"/>
                  </a:lnTo>
                  <a:lnTo>
                    <a:pt x="12" y="214"/>
                  </a:lnTo>
                  <a:lnTo>
                    <a:pt x="12" y="212"/>
                  </a:lnTo>
                  <a:lnTo>
                    <a:pt x="10" y="212"/>
                  </a:lnTo>
                  <a:lnTo>
                    <a:pt x="10" y="210"/>
                  </a:lnTo>
                  <a:lnTo>
                    <a:pt x="10" y="212"/>
                  </a:lnTo>
                  <a:lnTo>
                    <a:pt x="8" y="212"/>
                  </a:lnTo>
                  <a:lnTo>
                    <a:pt x="8" y="214"/>
                  </a:lnTo>
                  <a:lnTo>
                    <a:pt x="8" y="216"/>
                  </a:lnTo>
                  <a:lnTo>
                    <a:pt x="10" y="216"/>
                  </a:lnTo>
                  <a:lnTo>
                    <a:pt x="10" y="218"/>
                  </a:lnTo>
                  <a:lnTo>
                    <a:pt x="8" y="218"/>
                  </a:lnTo>
                  <a:lnTo>
                    <a:pt x="8" y="220"/>
                  </a:lnTo>
                  <a:lnTo>
                    <a:pt x="6" y="220"/>
                  </a:lnTo>
                  <a:lnTo>
                    <a:pt x="6" y="218"/>
                  </a:lnTo>
                  <a:lnTo>
                    <a:pt x="4" y="218"/>
                  </a:lnTo>
                  <a:lnTo>
                    <a:pt x="2" y="218"/>
                  </a:lnTo>
                  <a:lnTo>
                    <a:pt x="2" y="216"/>
                  </a:lnTo>
                  <a:lnTo>
                    <a:pt x="4" y="216"/>
                  </a:lnTo>
                  <a:lnTo>
                    <a:pt x="2" y="216"/>
                  </a:lnTo>
                  <a:lnTo>
                    <a:pt x="2" y="214"/>
                  </a:lnTo>
                  <a:lnTo>
                    <a:pt x="0" y="214"/>
                  </a:lnTo>
                  <a:lnTo>
                    <a:pt x="0" y="212"/>
                  </a:lnTo>
                  <a:lnTo>
                    <a:pt x="2" y="212"/>
                  </a:lnTo>
                  <a:lnTo>
                    <a:pt x="2" y="214"/>
                  </a:lnTo>
                  <a:lnTo>
                    <a:pt x="4" y="214"/>
                  </a:lnTo>
                  <a:lnTo>
                    <a:pt x="4" y="212"/>
                  </a:lnTo>
                  <a:lnTo>
                    <a:pt x="2" y="212"/>
                  </a:lnTo>
                  <a:lnTo>
                    <a:pt x="2" y="210"/>
                  </a:lnTo>
                  <a:lnTo>
                    <a:pt x="2" y="212"/>
                  </a:lnTo>
                  <a:lnTo>
                    <a:pt x="4" y="212"/>
                  </a:lnTo>
                  <a:lnTo>
                    <a:pt x="4" y="210"/>
                  </a:lnTo>
                  <a:lnTo>
                    <a:pt x="4" y="208"/>
                  </a:lnTo>
                  <a:lnTo>
                    <a:pt x="4" y="206"/>
                  </a:lnTo>
                  <a:lnTo>
                    <a:pt x="2" y="206"/>
                  </a:lnTo>
                  <a:lnTo>
                    <a:pt x="2" y="204"/>
                  </a:lnTo>
                  <a:lnTo>
                    <a:pt x="4" y="204"/>
                  </a:lnTo>
                  <a:lnTo>
                    <a:pt x="6" y="204"/>
                  </a:lnTo>
                  <a:lnTo>
                    <a:pt x="6" y="202"/>
                  </a:lnTo>
                  <a:lnTo>
                    <a:pt x="4" y="202"/>
                  </a:lnTo>
                  <a:lnTo>
                    <a:pt x="4" y="200"/>
                  </a:lnTo>
                  <a:lnTo>
                    <a:pt x="4" y="202"/>
                  </a:lnTo>
                  <a:lnTo>
                    <a:pt x="6" y="202"/>
                  </a:lnTo>
                  <a:lnTo>
                    <a:pt x="6" y="200"/>
                  </a:lnTo>
                  <a:lnTo>
                    <a:pt x="8" y="200"/>
                  </a:lnTo>
                  <a:lnTo>
                    <a:pt x="8" y="198"/>
                  </a:lnTo>
                  <a:lnTo>
                    <a:pt x="6" y="198"/>
                  </a:lnTo>
                  <a:lnTo>
                    <a:pt x="8" y="198"/>
                  </a:lnTo>
                  <a:lnTo>
                    <a:pt x="6" y="198"/>
                  </a:lnTo>
                  <a:lnTo>
                    <a:pt x="6" y="196"/>
                  </a:lnTo>
                  <a:lnTo>
                    <a:pt x="4" y="196"/>
                  </a:lnTo>
                  <a:lnTo>
                    <a:pt x="4" y="194"/>
                  </a:lnTo>
                  <a:lnTo>
                    <a:pt x="4" y="192"/>
                  </a:lnTo>
                  <a:lnTo>
                    <a:pt x="4" y="194"/>
                  </a:lnTo>
                  <a:lnTo>
                    <a:pt x="6" y="194"/>
                  </a:lnTo>
                  <a:lnTo>
                    <a:pt x="6" y="192"/>
                  </a:lnTo>
                  <a:lnTo>
                    <a:pt x="6" y="192"/>
                  </a:lnTo>
                  <a:lnTo>
                    <a:pt x="8" y="192"/>
                  </a:lnTo>
                  <a:lnTo>
                    <a:pt x="8" y="192"/>
                  </a:lnTo>
                  <a:lnTo>
                    <a:pt x="8" y="192"/>
                  </a:lnTo>
                  <a:lnTo>
                    <a:pt x="10" y="192"/>
                  </a:lnTo>
                  <a:lnTo>
                    <a:pt x="10" y="192"/>
                  </a:lnTo>
                  <a:lnTo>
                    <a:pt x="10" y="192"/>
                  </a:lnTo>
                  <a:lnTo>
                    <a:pt x="12" y="192"/>
                  </a:lnTo>
                  <a:lnTo>
                    <a:pt x="10" y="192"/>
                  </a:lnTo>
                  <a:lnTo>
                    <a:pt x="10" y="190"/>
                  </a:lnTo>
                  <a:lnTo>
                    <a:pt x="12" y="190"/>
                  </a:lnTo>
                  <a:lnTo>
                    <a:pt x="12" y="188"/>
                  </a:lnTo>
                  <a:lnTo>
                    <a:pt x="14" y="188"/>
                  </a:lnTo>
                  <a:lnTo>
                    <a:pt x="14" y="186"/>
                  </a:lnTo>
                  <a:lnTo>
                    <a:pt x="14" y="184"/>
                  </a:lnTo>
                  <a:lnTo>
                    <a:pt x="14" y="182"/>
                  </a:lnTo>
                  <a:lnTo>
                    <a:pt x="16" y="182"/>
                  </a:lnTo>
                  <a:lnTo>
                    <a:pt x="16" y="180"/>
                  </a:lnTo>
                  <a:lnTo>
                    <a:pt x="18" y="180"/>
                  </a:lnTo>
                  <a:lnTo>
                    <a:pt x="18" y="178"/>
                  </a:lnTo>
                  <a:lnTo>
                    <a:pt x="18" y="176"/>
                  </a:lnTo>
                  <a:lnTo>
                    <a:pt x="20" y="176"/>
                  </a:lnTo>
                  <a:lnTo>
                    <a:pt x="18" y="176"/>
                  </a:lnTo>
                  <a:lnTo>
                    <a:pt x="18" y="174"/>
                  </a:lnTo>
                  <a:lnTo>
                    <a:pt x="20" y="174"/>
                  </a:lnTo>
                  <a:lnTo>
                    <a:pt x="18" y="174"/>
                  </a:lnTo>
                  <a:lnTo>
                    <a:pt x="20" y="174"/>
                  </a:lnTo>
                  <a:lnTo>
                    <a:pt x="18" y="172"/>
                  </a:lnTo>
                  <a:lnTo>
                    <a:pt x="20" y="172"/>
                  </a:lnTo>
                  <a:lnTo>
                    <a:pt x="20" y="170"/>
                  </a:lnTo>
                  <a:lnTo>
                    <a:pt x="22" y="170"/>
                  </a:lnTo>
                  <a:lnTo>
                    <a:pt x="24" y="170"/>
                  </a:lnTo>
                  <a:lnTo>
                    <a:pt x="24" y="168"/>
                  </a:lnTo>
                  <a:lnTo>
                    <a:pt x="24" y="166"/>
                  </a:lnTo>
                  <a:lnTo>
                    <a:pt x="24" y="164"/>
                  </a:lnTo>
                  <a:lnTo>
                    <a:pt x="22" y="164"/>
                  </a:lnTo>
                  <a:lnTo>
                    <a:pt x="22" y="162"/>
                  </a:lnTo>
                  <a:lnTo>
                    <a:pt x="22" y="160"/>
                  </a:lnTo>
                  <a:lnTo>
                    <a:pt x="22" y="158"/>
                  </a:lnTo>
                  <a:lnTo>
                    <a:pt x="22" y="156"/>
                  </a:lnTo>
                  <a:lnTo>
                    <a:pt x="22" y="154"/>
                  </a:lnTo>
                  <a:lnTo>
                    <a:pt x="20" y="154"/>
                  </a:lnTo>
                  <a:lnTo>
                    <a:pt x="20" y="152"/>
                  </a:lnTo>
                  <a:lnTo>
                    <a:pt x="20" y="150"/>
                  </a:lnTo>
                  <a:lnTo>
                    <a:pt x="18" y="148"/>
                  </a:lnTo>
                  <a:lnTo>
                    <a:pt x="16" y="148"/>
                  </a:lnTo>
                  <a:lnTo>
                    <a:pt x="16" y="146"/>
                  </a:lnTo>
                  <a:lnTo>
                    <a:pt x="16" y="148"/>
                  </a:lnTo>
                  <a:lnTo>
                    <a:pt x="16" y="146"/>
                  </a:lnTo>
                  <a:lnTo>
                    <a:pt x="16" y="144"/>
                  </a:lnTo>
                  <a:lnTo>
                    <a:pt x="18" y="144"/>
                  </a:lnTo>
                  <a:lnTo>
                    <a:pt x="16" y="144"/>
                  </a:lnTo>
                  <a:lnTo>
                    <a:pt x="16" y="144"/>
                  </a:lnTo>
                  <a:lnTo>
                    <a:pt x="18" y="144"/>
                  </a:lnTo>
                  <a:lnTo>
                    <a:pt x="18" y="142"/>
                  </a:lnTo>
                  <a:lnTo>
                    <a:pt x="18" y="140"/>
                  </a:lnTo>
                  <a:lnTo>
                    <a:pt x="18" y="142"/>
                  </a:lnTo>
                  <a:lnTo>
                    <a:pt x="18" y="140"/>
                  </a:lnTo>
                  <a:lnTo>
                    <a:pt x="18" y="138"/>
                  </a:lnTo>
                  <a:lnTo>
                    <a:pt x="16" y="138"/>
                  </a:lnTo>
                  <a:lnTo>
                    <a:pt x="18" y="138"/>
                  </a:lnTo>
                  <a:lnTo>
                    <a:pt x="18" y="136"/>
                  </a:lnTo>
                  <a:lnTo>
                    <a:pt x="20" y="136"/>
                  </a:lnTo>
                  <a:lnTo>
                    <a:pt x="20" y="134"/>
                  </a:lnTo>
                  <a:lnTo>
                    <a:pt x="20" y="130"/>
                  </a:lnTo>
                  <a:lnTo>
                    <a:pt x="20" y="128"/>
                  </a:lnTo>
                  <a:lnTo>
                    <a:pt x="20" y="126"/>
                  </a:lnTo>
                  <a:lnTo>
                    <a:pt x="20" y="124"/>
                  </a:lnTo>
                  <a:lnTo>
                    <a:pt x="20" y="122"/>
                  </a:lnTo>
                  <a:lnTo>
                    <a:pt x="20" y="120"/>
                  </a:lnTo>
                  <a:lnTo>
                    <a:pt x="18" y="120"/>
                  </a:lnTo>
                  <a:lnTo>
                    <a:pt x="18" y="118"/>
                  </a:lnTo>
                  <a:lnTo>
                    <a:pt x="18" y="116"/>
                  </a:lnTo>
                  <a:lnTo>
                    <a:pt x="18" y="114"/>
                  </a:lnTo>
                  <a:lnTo>
                    <a:pt x="18" y="112"/>
                  </a:lnTo>
                  <a:lnTo>
                    <a:pt x="18" y="108"/>
                  </a:lnTo>
                  <a:lnTo>
                    <a:pt x="18" y="106"/>
                  </a:lnTo>
                  <a:lnTo>
                    <a:pt x="18" y="104"/>
                  </a:lnTo>
                  <a:lnTo>
                    <a:pt x="18" y="102"/>
                  </a:lnTo>
                  <a:lnTo>
                    <a:pt x="18" y="100"/>
                  </a:lnTo>
                  <a:lnTo>
                    <a:pt x="18" y="98"/>
                  </a:lnTo>
                  <a:lnTo>
                    <a:pt x="18" y="96"/>
                  </a:lnTo>
                  <a:lnTo>
                    <a:pt x="18" y="96"/>
                  </a:lnTo>
                  <a:lnTo>
                    <a:pt x="18" y="94"/>
                  </a:lnTo>
                  <a:lnTo>
                    <a:pt x="18" y="92"/>
                  </a:lnTo>
                  <a:lnTo>
                    <a:pt x="18" y="90"/>
                  </a:lnTo>
                  <a:lnTo>
                    <a:pt x="16" y="90"/>
                  </a:lnTo>
                  <a:lnTo>
                    <a:pt x="16" y="88"/>
                  </a:lnTo>
                  <a:lnTo>
                    <a:pt x="16" y="86"/>
                  </a:lnTo>
                  <a:lnTo>
                    <a:pt x="16" y="84"/>
                  </a:lnTo>
                  <a:lnTo>
                    <a:pt x="16" y="82"/>
                  </a:lnTo>
                  <a:lnTo>
                    <a:pt x="16" y="80"/>
                  </a:lnTo>
                  <a:lnTo>
                    <a:pt x="16" y="78"/>
                  </a:lnTo>
                  <a:lnTo>
                    <a:pt x="16" y="76"/>
                  </a:lnTo>
                  <a:lnTo>
                    <a:pt x="16" y="74"/>
                  </a:lnTo>
                  <a:lnTo>
                    <a:pt x="16" y="72"/>
                  </a:lnTo>
                  <a:lnTo>
                    <a:pt x="16" y="70"/>
                  </a:lnTo>
                  <a:lnTo>
                    <a:pt x="16" y="68"/>
                  </a:lnTo>
                  <a:lnTo>
                    <a:pt x="16" y="66"/>
                  </a:lnTo>
                  <a:lnTo>
                    <a:pt x="16" y="64"/>
                  </a:lnTo>
                  <a:lnTo>
                    <a:pt x="16" y="62"/>
                  </a:lnTo>
                  <a:lnTo>
                    <a:pt x="16" y="60"/>
                  </a:lnTo>
                  <a:lnTo>
                    <a:pt x="16" y="58"/>
                  </a:lnTo>
                  <a:lnTo>
                    <a:pt x="14" y="58"/>
                  </a:lnTo>
                  <a:lnTo>
                    <a:pt x="14" y="56"/>
                  </a:lnTo>
                  <a:lnTo>
                    <a:pt x="14" y="54"/>
                  </a:lnTo>
                  <a:lnTo>
                    <a:pt x="14" y="52"/>
                  </a:lnTo>
                  <a:lnTo>
                    <a:pt x="14" y="50"/>
                  </a:lnTo>
                  <a:lnTo>
                    <a:pt x="14" y="48"/>
                  </a:lnTo>
                  <a:lnTo>
                    <a:pt x="14" y="48"/>
                  </a:lnTo>
                  <a:lnTo>
                    <a:pt x="14" y="46"/>
                  </a:lnTo>
                  <a:lnTo>
                    <a:pt x="14" y="44"/>
                  </a:lnTo>
                  <a:lnTo>
                    <a:pt x="14" y="42"/>
                  </a:lnTo>
                  <a:lnTo>
                    <a:pt x="14" y="40"/>
                  </a:lnTo>
                  <a:lnTo>
                    <a:pt x="14" y="38"/>
                  </a:lnTo>
                  <a:lnTo>
                    <a:pt x="14" y="36"/>
                  </a:lnTo>
                  <a:lnTo>
                    <a:pt x="14" y="34"/>
                  </a:lnTo>
                  <a:lnTo>
                    <a:pt x="14" y="32"/>
                  </a:lnTo>
                  <a:lnTo>
                    <a:pt x="12" y="32"/>
                  </a:lnTo>
                  <a:lnTo>
                    <a:pt x="12" y="30"/>
                  </a:lnTo>
                  <a:lnTo>
                    <a:pt x="12" y="28"/>
                  </a:lnTo>
                  <a:lnTo>
                    <a:pt x="12" y="26"/>
                  </a:lnTo>
                  <a:lnTo>
                    <a:pt x="12" y="24"/>
                  </a:lnTo>
                  <a:lnTo>
                    <a:pt x="12" y="22"/>
                  </a:lnTo>
                  <a:lnTo>
                    <a:pt x="12" y="20"/>
                  </a:lnTo>
                  <a:lnTo>
                    <a:pt x="12" y="18"/>
                  </a:lnTo>
                  <a:lnTo>
                    <a:pt x="12" y="16"/>
                  </a:lnTo>
                  <a:lnTo>
                    <a:pt x="12" y="14"/>
                  </a:lnTo>
                  <a:lnTo>
                    <a:pt x="12" y="12"/>
                  </a:lnTo>
                  <a:lnTo>
                    <a:pt x="12" y="10"/>
                  </a:lnTo>
                  <a:lnTo>
                    <a:pt x="12" y="12"/>
                  </a:lnTo>
                  <a:lnTo>
                    <a:pt x="14" y="12"/>
                  </a:lnTo>
                  <a:lnTo>
                    <a:pt x="16" y="12"/>
                  </a:lnTo>
                  <a:lnTo>
                    <a:pt x="16" y="14"/>
                  </a:lnTo>
                  <a:lnTo>
                    <a:pt x="18" y="14"/>
                  </a:lnTo>
                  <a:lnTo>
                    <a:pt x="20" y="14"/>
                  </a:lnTo>
                  <a:lnTo>
                    <a:pt x="20" y="16"/>
                  </a:lnTo>
                  <a:lnTo>
                    <a:pt x="20" y="14"/>
                  </a:lnTo>
                  <a:lnTo>
                    <a:pt x="22" y="14"/>
                  </a:lnTo>
                  <a:lnTo>
                    <a:pt x="24" y="14"/>
                  </a:lnTo>
                  <a:lnTo>
                    <a:pt x="26" y="14"/>
                  </a:lnTo>
                  <a:lnTo>
                    <a:pt x="28" y="14"/>
                  </a:lnTo>
                  <a:lnTo>
                    <a:pt x="28" y="12"/>
                  </a:lnTo>
                  <a:lnTo>
                    <a:pt x="30" y="12"/>
                  </a:lnTo>
                  <a:lnTo>
                    <a:pt x="30" y="12"/>
                  </a:lnTo>
                  <a:lnTo>
                    <a:pt x="30" y="10"/>
                  </a:lnTo>
                  <a:lnTo>
                    <a:pt x="32" y="10"/>
                  </a:lnTo>
                  <a:lnTo>
                    <a:pt x="34" y="10"/>
                  </a:lnTo>
                  <a:lnTo>
                    <a:pt x="34" y="8"/>
                  </a:lnTo>
                  <a:lnTo>
                    <a:pt x="36" y="8"/>
                  </a:lnTo>
                  <a:lnTo>
                    <a:pt x="36" y="6"/>
                  </a:lnTo>
                  <a:lnTo>
                    <a:pt x="38" y="6"/>
                  </a:lnTo>
                  <a:lnTo>
                    <a:pt x="40" y="6"/>
                  </a:lnTo>
                  <a:lnTo>
                    <a:pt x="42" y="6"/>
                  </a:lnTo>
                  <a:lnTo>
                    <a:pt x="44" y="6"/>
                  </a:lnTo>
                  <a:lnTo>
                    <a:pt x="46" y="6"/>
                  </a:lnTo>
                  <a:lnTo>
                    <a:pt x="50" y="4"/>
                  </a:lnTo>
                  <a:lnTo>
                    <a:pt x="52" y="4"/>
                  </a:lnTo>
                  <a:lnTo>
                    <a:pt x="54" y="4"/>
                  </a:lnTo>
                  <a:lnTo>
                    <a:pt x="56" y="4"/>
                  </a:lnTo>
                  <a:lnTo>
                    <a:pt x="58" y="4"/>
                  </a:lnTo>
                  <a:lnTo>
                    <a:pt x="60" y="4"/>
                  </a:lnTo>
                  <a:lnTo>
                    <a:pt x="62" y="4"/>
                  </a:lnTo>
                  <a:lnTo>
                    <a:pt x="64" y="4"/>
                  </a:lnTo>
                  <a:lnTo>
                    <a:pt x="66" y="4"/>
                  </a:lnTo>
                  <a:lnTo>
                    <a:pt x="68" y="4"/>
                  </a:lnTo>
                  <a:close/>
                </a:path>
              </a:pathLst>
            </a:custGeom>
            <a:solidFill>
              <a:srgbClr val="EF9F4B"/>
            </a:solidFill>
            <a:ln w="3175">
              <a:solidFill>
                <a:sysClr val="window" lastClr="FFFF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black"/>
                </a:solidFill>
                <a:effectLst/>
                <a:uLnTx/>
                <a:uFillTx/>
                <a:ea typeface="宋体" panose="02010600030101010101" pitchFamily="2" charset="-122"/>
              </a:endParaRPr>
            </a:p>
          </p:txBody>
        </p:sp>
        <p:sp>
          <p:nvSpPr>
            <p:cNvPr id="33" name="Freeform 1812">
              <a:extLst>
                <a:ext uri="{FF2B5EF4-FFF2-40B4-BE49-F238E27FC236}">
                  <a16:creationId xmlns:a16="http://schemas.microsoft.com/office/drawing/2014/main" id="{9E40B88E-6E1E-9C45-328E-FA1C3484B9B5}"/>
                </a:ext>
              </a:extLst>
            </p:cNvPr>
            <p:cNvSpPr>
              <a:spLocks noEditPoints="1"/>
            </p:cNvSpPr>
            <p:nvPr/>
          </p:nvSpPr>
          <p:spPr bwMode="auto">
            <a:xfrm>
              <a:off x="5664201" y="3322638"/>
              <a:ext cx="511175" cy="246063"/>
            </a:xfrm>
            <a:custGeom>
              <a:avLst/>
              <a:gdLst>
                <a:gd name="T0" fmla="*/ 6 w 322"/>
                <a:gd name="T1" fmla="*/ 155 h 155"/>
                <a:gd name="T2" fmla="*/ 208 w 322"/>
                <a:gd name="T3" fmla="*/ 4 h 155"/>
                <a:gd name="T4" fmla="*/ 218 w 322"/>
                <a:gd name="T5" fmla="*/ 12 h 155"/>
                <a:gd name="T6" fmla="*/ 234 w 322"/>
                <a:gd name="T7" fmla="*/ 16 h 155"/>
                <a:gd name="T8" fmla="*/ 244 w 322"/>
                <a:gd name="T9" fmla="*/ 16 h 155"/>
                <a:gd name="T10" fmla="*/ 258 w 322"/>
                <a:gd name="T11" fmla="*/ 18 h 155"/>
                <a:gd name="T12" fmla="*/ 272 w 322"/>
                <a:gd name="T13" fmla="*/ 10 h 155"/>
                <a:gd name="T14" fmla="*/ 280 w 322"/>
                <a:gd name="T15" fmla="*/ 18 h 155"/>
                <a:gd name="T16" fmla="*/ 288 w 322"/>
                <a:gd name="T17" fmla="*/ 26 h 155"/>
                <a:gd name="T18" fmla="*/ 290 w 322"/>
                <a:gd name="T19" fmla="*/ 42 h 155"/>
                <a:gd name="T20" fmla="*/ 296 w 322"/>
                <a:gd name="T21" fmla="*/ 52 h 155"/>
                <a:gd name="T22" fmla="*/ 306 w 322"/>
                <a:gd name="T23" fmla="*/ 60 h 155"/>
                <a:gd name="T24" fmla="*/ 314 w 322"/>
                <a:gd name="T25" fmla="*/ 68 h 155"/>
                <a:gd name="T26" fmla="*/ 316 w 322"/>
                <a:gd name="T27" fmla="*/ 76 h 155"/>
                <a:gd name="T28" fmla="*/ 304 w 322"/>
                <a:gd name="T29" fmla="*/ 86 h 155"/>
                <a:gd name="T30" fmla="*/ 294 w 322"/>
                <a:gd name="T31" fmla="*/ 96 h 155"/>
                <a:gd name="T32" fmla="*/ 288 w 322"/>
                <a:gd name="T33" fmla="*/ 104 h 155"/>
                <a:gd name="T34" fmla="*/ 280 w 322"/>
                <a:gd name="T35" fmla="*/ 110 h 155"/>
                <a:gd name="T36" fmla="*/ 270 w 322"/>
                <a:gd name="T37" fmla="*/ 120 h 155"/>
                <a:gd name="T38" fmla="*/ 256 w 322"/>
                <a:gd name="T39" fmla="*/ 126 h 155"/>
                <a:gd name="T40" fmla="*/ 240 w 322"/>
                <a:gd name="T41" fmla="*/ 130 h 155"/>
                <a:gd name="T42" fmla="*/ 222 w 322"/>
                <a:gd name="T43" fmla="*/ 132 h 155"/>
                <a:gd name="T44" fmla="*/ 204 w 322"/>
                <a:gd name="T45" fmla="*/ 134 h 155"/>
                <a:gd name="T46" fmla="*/ 186 w 322"/>
                <a:gd name="T47" fmla="*/ 136 h 155"/>
                <a:gd name="T48" fmla="*/ 168 w 322"/>
                <a:gd name="T49" fmla="*/ 138 h 155"/>
                <a:gd name="T50" fmla="*/ 148 w 322"/>
                <a:gd name="T51" fmla="*/ 138 h 155"/>
                <a:gd name="T52" fmla="*/ 130 w 322"/>
                <a:gd name="T53" fmla="*/ 140 h 155"/>
                <a:gd name="T54" fmla="*/ 112 w 322"/>
                <a:gd name="T55" fmla="*/ 143 h 155"/>
                <a:gd name="T56" fmla="*/ 92 w 322"/>
                <a:gd name="T57" fmla="*/ 143 h 155"/>
                <a:gd name="T58" fmla="*/ 76 w 322"/>
                <a:gd name="T59" fmla="*/ 145 h 155"/>
                <a:gd name="T60" fmla="*/ 68 w 322"/>
                <a:gd name="T61" fmla="*/ 149 h 155"/>
                <a:gd name="T62" fmla="*/ 52 w 322"/>
                <a:gd name="T63" fmla="*/ 153 h 155"/>
                <a:gd name="T64" fmla="*/ 34 w 322"/>
                <a:gd name="T65" fmla="*/ 153 h 155"/>
                <a:gd name="T66" fmla="*/ 12 w 322"/>
                <a:gd name="T67" fmla="*/ 155 h 155"/>
                <a:gd name="T68" fmla="*/ 14 w 322"/>
                <a:gd name="T69" fmla="*/ 151 h 155"/>
                <a:gd name="T70" fmla="*/ 18 w 322"/>
                <a:gd name="T71" fmla="*/ 143 h 155"/>
                <a:gd name="T72" fmla="*/ 20 w 322"/>
                <a:gd name="T73" fmla="*/ 132 h 155"/>
                <a:gd name="T74" fmla="*/ 20 w 322"/>
                <a:gd name="T75" fmla="*/ 118 h 155"/>
                <a:gd name="T76" fmla="*/ 34 w 322"/>
                <a:gd name="T77" fmla="*/ 116 h 155"/>
                <a:gd name="T78" fmla="*/ 48 w 322"/>
                <a:gd name="T79" fmla="*/ 122 h 155"/>
                <a:gd name="T80" fmla="*/ 46 w 322"/>
                <a:gd name="T81" fmla="*/ 108 h 155"/>
                <a:gd name="T82" fmla="*/ 54 w 322"/>
                <a:gd name="T83" fmla="*/ 102 h 155"/>
                <a:gd name="T84" fmla="*/ 60 w 322"/>
                <a:gd name="T85" fmla="*/ 96 h 155"/>
                <a:gd name="T86" fmla="*/ 64 w 322"/>
                <a:gd name="T87" fmla="*/ 82 h 155"/>
                <a:gd name="T88" fmla="*/ 70 w 322"/>
                <a:gd name="T89" fmla="*/ 76 h 155"/>
                <a:gd name="T90" fmla="*/ 80 w 322"/>
                <a:gd name="T91" fmla="*/ 78 h 155"/>
                <a:gd name="T92" fmla="*/ 84 w 322"/>
                <a:gd name="T93" fmla="*/ 74 h 155"/>
                <a:gd name="T94" fmla="*/ 96 w 322"/>
                <a:gd name="T95" fmla="*/ 76 h 155"/>
                <a:gd name="T96" fmla="*/ 106 w 322"/>
                <a:gd name="T97" fmla="*/ 74 h 155"/>
                <a:gd name="T98" fmla="*/ 116 w 322"/>
                <a:gd name="T99" fmla="*/ 68 h 155"/>
                <a:gd name="T100" fmla="*/ 124 w 322"/>
                <a:gd name="T101" fmla="*/ 72 h 155"/>
                <a:gd name="T102" fmla="*/ 130 w 322"/>
                <a:gd name="T103" fmla="*/ 62 h 155"/>
                <a:gd name="T104" fmla="*/ 132 w 322"/>
                <a:gd name="T105" fmla="*/ 56 h 155"/>
                <a:gd name="T106" fmla="*/ 140 w 322"/>
                <a:gd name="T107" fmla="*/ 64 h 155"/>
                <a:gd name="T108" fmla="*/ 152 w 322"/>
                <a:gd name="T109" fmla="*/ 58 h 155"/>
                <a:gd name="T110" fmla="*/ 160 w 322"/>
                <a:gd name="T111" fmla="*/ 48 h 155"/>
                <a:gd name="T112" fmla="*/ 168 w 322"/>
                <a:gd name="T113" fmla="*/ 36 h 155"/>
                <a:gd name="T114" fmla="*/ 172 w 322"/>
                <a:gd name="T115" fmla="*/ 24 h 155"/>
                <a:gd name="T116" fmla="*/ 186 w 322"/>
                <a:gd name="T117" fmla="*/ 20 h 155"/>
                <a:gd name="T118" fmla="*/ 194 w 322"/>
                <a:gd name="T119" fmla="*/ 12 h 155"/>
                <a:gd name="T120" fmla="*/ 190 w 322"/>
                <a:gd name="T121" fmla="*/ 4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22" h="155">
                  <a:moveTo>
                    <a:pt x="4" y="155"/>
                  </a:moveTo>
                  <a:lnTo>
                    <a:pt x="2" y="155"/>
                  </a:lnTo>
                  <a:lnTo>
                    <a:pt x="2" y="153"/>
                  </a:lnTo>
                  <a:lnTo>
                    <a:pt x="0" y="153"/>
                  </a:lnTo>
                  <a:lnTo>
                    <a:pt x="0" y="153"/>
                  </a:lnTo>
                  <a:lnTo>
                    <a:pt x="2" y="153"/>
                  </a:lnTo>
                  <a:lnTo>
                    <a:pt x="4" y="153"/>
                  </a:lnTo>
                  <a:lnTo>
                    <a:pt x="6" y="153"/>
                  </a:lnTo>
                  <a:lnTo>
                    <a:pt x="6" y="153"/>
                  </a:lnTo>
                  <a:lnTo>
                    <a:pt x="6" y="155"/>
                  </a:lnTo>
                  <a:lnTo>
                    <a:pt x="4" y="155"/>
                  </a:lnTo>
                  <a:close/>
                  <a:moveTo>
                    <a:pt x="200" y="4"/>
                  </a:moveTo>
                  <a:lnTo>
                    <a:pt x="200" y="2"/>
                  </a:lnTo>
                  <a:lnTo>
                    <a:pt x="202" y="2"/>
                  </a:lnTo>
                  <a:lnTo>
                    <a:pt x="204" y="2"/>
                  </a:lnTo>
                  <a:lnTo>
                    <a:pt x="204" y="0"/>
                  </a:lnTo>
                  <a:lnTo>
                    <a:pt x="206" y="0"/>
                  </a:lnTo>
                  <a:lnTo>
                    <a:pt x="208" y="0"/>
                  </a:lnTo>
                  <a:lnTo>
                    <a:pt x="208" y="2"/>
                  </a:lnTo>
                  <a:lnTo>
                    <a:pt x="208" y="4"/>
                  </a:lnTo>
                  <a:lnTo>
                    <a:pt x="210" y="4"/>
                  </a:lnTo>
                  <a:lnTo>
                    <a:pt x="212" y="4"/>
                  </a:lnTo>
                  <a:lnTo>
                    <a:pt x="214" y="4"/>
                  </a:lnTo>
                  <a:lnTo>
                    <a:pt x="214" y="6"/>
                  </a:lnTo>
                  <a:lnTo>
                    <a:pt x="214" y="8"/>
                  </a:lnTo>
                  <a:lnTo>
                    <a:pt x="216" y="8"/>
                  </a:lnTo>
                  <a:lnTo>
                    <a:pt x="216" y="8"/>
                  </a:lnTo>
                  <a:lnTo>
                    <a:pt x="218" y="8"/>
                  </a:lnTo>
                  <a:lnTo>
                    <a:pt x="218" y="10"/>
                  </a:lnTo>
                  <a:lnTo>
                    <a:pt x="218" y="12"/>
                  </a:lnTo>
                  <a:lnTo>
                    <a:pt x="218" y="14"/>
                  </a:lnTo>
                  <a:lnTo>
                    <a:pt x="220" y="14"/>
                  </a:lnTo>
                  <a:lnTo>
                    <a:pt x="222" y="14"/>
                  </a:lnTo>
                  <a:lnTo>
                    <a:pt x="224" y="14"/>
                  </a:lnTo>
                  <a:lnTo>
                    <a:pt x="226" y="14"/>
                  </a:lnTo>
                  <a:lnTo>
                    <a:pt x="228" y="14"/>
                  </a:lnTo>
                  <a:lnTo>
                    <a:pt x="230" y="14"/>
                  </a:lnTo>
                  <a:lnTo>
                    <a:pt x="232" y="14"/>
                  </a:lnTo>
                  <a:lnTo>
                    <a:pt x="234" y="14"/>
                  </a:lnTo>
                  <a:lnTo>
                    <a:pt x="234" y="16"/>
                  </a:lnTo>
                  <a:lnTo>
                    <a:pt x="234" y="16"/>
                  </a:lnTo>
                  <a:lnTo>
                    <a:pt x="236" y="16"/>
                  </a:lnTo>
                  <a:lnTo>
                    <a:pt x="236" y="18"/>
                  </a:lnTo>
                  <a:lnTo>
                    <a:pt x="236" y="20"/>
                  </a:lnTo>
                  <a:lnTo>
                    <a:pt x="238" y="20"/>
                  </a:lnTo>
                  <a:lnTo>
                    <a:pt x="240" y="20"/>
                  </a:lnTo>
                  <a:lnTo>
                    <a:pt x="242" y="20"/>
                  </a:lnTo>
                  <a:lnTo>
                    <a:pt x="242" y="18"/>
                  </a:lnTo>
                  <a:lnTo>
                    <a:pt x="244" y="18"/>
                  </a:lnTo>
                  <a:lnTo>
                    <a:pt x="244" y="16"/>
                  </a:lnTo>
                  <a:lnTo>
                    <a:pt x="246" y="16"/>
                  </a:lnTo>
                  <a:lnTo>
                    <a:pt x="248" y="16"/>
                  </a:lnTo>
                  <a:lnTo>
                    <a:pt x="250" y="16"/>
                  </a:lnTo>
                  <a:lnTo>
                    <a:pt x="252" y="16"/>
                  </a:lnTo>
                  <a:lnTo>
                    <a:pt x="254" y="16"/>
                  </a:lnTo>
                  <a:lnTo>
                    <a:pt x="254" y="18"/>
                  </a:lnTo>
                  <a:lnTo>
                    <a:pt x="256" y="18"/>
                  </a:lnTo>
                  <a:lnTo>
                    <a:pt x="256" y="20"/>
                  </a:lnTo>
                  <a:lnTo>
                    <a:pt x="258" y="20"/>
                  </a:lnTo>
                  <a:lnTo>
                    <a:pt x="258" y="18"/>
                  </a:lnTo>
                  <a:lnTo>
                    <a:pt x="260" y="18"/>
                  </a:lnTo>
                  <a:lnTo>
                    <a:pt x="262" y="18"/>
                  </a:lnTo>
                  <a:lnTo>
                    <a:pt x="264" y="18"/>
                  </a:lnTo>
                  <a:lnTo>
                    <a:pt x="264" y="16"/>
                  </a:lnTo>
                  <a:lnTo>
                    <a:pt x="266" y="14"/>
                  </a:lnTo>
                  <a:lnTo>
                    <a:pt x="268" y="14"/>
                  </a:lnTo>
                  <a:lnTo>
                    <a:pt x="268" y="12"/>
                  </a:lnTo>
                  <a:lnTo>
                    <a:pt x="270" y="12"/>
                  </a:lnTo>
                  <a:lnTo>
                    <a:pt x="270" y="10"/>
                  </a:lnTo>
                  <a:lnTo>
                    <a:pt x="272" y="10"/>
                  </a:lnTo>
                  <a:lnTo>
                    <a:pt x="274" y="10"/>
                  </a:lnTo>
                  <a:lnTo>
                    <a:pt x="274" y="8"/>
                  </a:lnTo>
                  <a:lnTo>
                    <a:pt x="274" y="10"/>
                  </a:lnTo>
                  <a:lnTo>
                    <a:pt x="274" y="12"/>
                  </a:lnTo>
                  <a:lnTo>
                    <a:pt x="276" y="12"/>
                  </a:lnTo>
                  <a:lnTo>
                    <a:pt x="276" y="14"/>
                  </a:lnTo>
                  <a:lnTo>
                    <a:pt x="276" y="16"/>
                  </a:lnTo>
                  <a:lnTo>
                    <a:pt x="276" y="18"/>
                  </a:lnTo>
                  <a:lnTo>
                    <a:pt x="278" y="18"/>
                  </a:lnTo>
                  <a:lnTo>
                    <a:pt x="280" y="18"/>
                  </a:lnTo>
                  <a:lnTo>
                    <a:pt x="280" y="20"/>
                  </a:lnTo>
                  <a:lnTo>
                    <a:pt x="280" y="18"/>
                  </a:lnTo>
                  <a:lnTo>
                    <a:pt x="282" y="18"/>
                  </a:lnTo>
                  <a:lnTo>
                    <a:pt x="282" y="20"/>
                  </a:lnTo>
                  <a:lnTo>
                    <a:pt x="282" y="20"/>
                  </a:lnTo>
                  <a:lnTo>
                    <a:pt x="284" y="20"/>
                  </a:lnTo>
                  <a:lnTo>
                    <a:pt x="284" y="22"/>
                  </a:lnTo>
                  <a:lnTo>
                    <a:pt x="286" y="22"/>
                  </a:lnTo>
                  <a:lnTo>
                    <a:pt x="286" y="24"/>
                  </a:lnTo>
                  <a:lnTo>
                    <a:pt x="288" y="26"/>
                  </a:lnTo>
                  <a:lnTo>
                    <a:pt x="288" y="28"/>
                  </a:lnTo>
                  <a:lnTo>
                    <a:pt x="288" y="30"/>
                  </a:lnTo>
                  <a:lnTo>
                    <a:pt x="290" y="32"/>
                  </a:lnTo>
                  <a:lnTo>
                    <a:pt x="288" y="32"/>
                  </a:lnTo>
                  <a:lnTo>
                    <a:pt x="290" y="34"/>
                  </a:lnTo>
                  <a:lnTo>
                    <a:pt x="288" y="36"/>
                  </a:lnTo>
                  <a:lnTo>
                    <a:pt x="288" y="38"/>
                  </a:lnTo>
                  <a:lnTo>
                    <a:pt x="288" y="40"/>
                  </a:lnTo>
                  <a:lnTo>
                    <a:pt x="288" y="42"/>
                  </a:lnTo>
                  <a:lnTo>
                    <a:pt x="290" y="42"/>
                  </a:lnTo>
                  <a:lnTo>
                    <a:pt x="290" y="44"/>
                  </a:lnTo>
                  <a:lnTo>
                    <a:pt x="292" y="44"/>
                  </a:lnTo>
                  <a:lnTo>
                    <a:pt x="292" y="46"/>
                  </a:lnTo>
                  <a:lnTo>
                    <a:pt x="294" y="46"/>
                  </a:lnTo>
                  <a:lnTo>
                    <a:pt x="294" y="48"/>
                  </a:lnTo>
                  <a:lnTo>
                    <a:pt x="296" y="48"/>
                  </a:lnTo>
                  <a:lnTo>
                    <a:pt x="296" y="50"/>
                  </a:lnTo>
                  <a:lnTo>
                    <a:pt x="296" y="52"/>
                  </a:lnTo>
                  <a:lnTo>
                    <a:pt x="296" y="54"/>
                  </a:lnTo>
                  <a:lnTo>
                    <a:pt x="296" y="52"/>
                  </a:lnTo>
                  <a:lnTo>
                    <a:pt x="298" y="52"/>
                  </a:lnTo>
                  <a:lnTo>
                    <a:pt x="298" y="54"/>
                  </a:lnTo>
                  <a:lnTo>
                    <a:pt x="300" y="54"/>
                  </a:lnTo>
                  <a:lnTo>
                    <a:pt x="300" y="56"/>
                  </a:lnTo>
                  <a:lnTo>
                    <a:pt x="300" y="56"/>
                  </a:lnTo>
                  <a:lnTo>
                    <a:pt x="302" y="56"/>
                  </a:lnTo>
                  <a:lnTo>
                    <a:pt x="304" y="56"/>
                  </a:lnTo>
                  <a:lnTo>
                    <a:pt x="304" y="58"/>
                  </a:lnTo>
                  <a:lnTo>
                    <a:pt x="304" y="60"/>
                  </a:lnTo>
                  <a:lnTo>
                    <a:pt x="306" y="60"/>
                  </a:lnTo>
                  <a:lnTo>
                    <a:pt x="306" y="62"/>
                  </a:lnTo>
                  <a:lnTo>
                    <a:pt x="308" y="62"/>
                  </a:lnTo>
                  <a:lnTo>
                    <a:pt x="308" y="64"/>
                  </a:lnTo>
                  <a:lnTo>
                    <a:pt x="308" y="62"/>
                  </a:lnTo>
                  <a:lnTo>
                    <a:pt x="310" y="62"/>
                  </a:lnTo>
                  <a:lnTo>
                    <a:pt x="310" y="64"/>
                  </a:lnTo>
                  <a:lnTo>
                    <a:pt x="312" y="64"/>
                  </a:lnTo>
                  <a:lnTo>
                    <a:pt x="312" y="66"/>
                  </a:lnTo>
                  <a:lnTo>
                    <a:pt x="314" y="66"/>
                  </a:lnTo>
                  <a:lnTo>
                    <a:pt x="314" y="68"/>
                  </a:lnTo>
                  <a:lnTo>
                    <a:pt x="316" y="68"/>
                  </a:lnTo>
                  <a:lnTo>
                    <a:pt x="318" y="68"/>
                  </a:lnTo>
                  <a:lnTo>
                    <a:pt x="320" y="68"/>
                  </a:lnTo>
                  <a:lnTo>
                    <a:pt x="322" y="68"/>
                  </a:lnTo>
                  <a:lnTo>
                    <a:pt x="320" y="68"/>
                  </a:lnTo>
                  <a:lnTo>
                    <a:pt x="320" y="70"/>
                  </a:lnTo>
                  <a:lnTo>
                    <a:pt x="318" y="72"/>
                  </a:lnTo>
                  <a:lnTo>
                    <a:pt x="318" y="74"/>
                  </a:lnTo>
                  <a:lnTo>
                    <a:pt x="316" y="74"/>
                  </a:lnTo>
                  <a:lnTo>
                    <a:pt x="316" y="76"/>
                  </a:lnTo>
                  <a:lnTo>
                    <a:pt x="314" y="76"/>
                  </a:lnTo>
                  <a:lnTo>
                    <a:pt x="314" y="78"/>
                  </a:lnTo>
                  <a:lnTo>
                    <a:pt x="312" y="78"/>
                  </a:lnTo>
                  <a:lnTo>
                    <a:pt x="312" y="80"/>
                  </a:lnTo>
                  <a:lnTo>
                    <a:pt x="310" y="80"/>
                  </a:lnTo>
                  <a:lnTo>
                    <a:pt x="310" y="82"/>
                  </a:lnTo>
                  <a:lnTo>
                    <a:pt x="308" y="84"/>
                  </a:lnTo>
                  <a:lnTo>
                    <a:pt x="308" y="86"/>
                  </a:lnTo>
                  <a:lnTo>
                    <a:pt x="306" y="86"/>
                  </a:lnTo>
                  <a:lnTo>
                    <a:pt x="304" y="86"/>
                  </a:lnTo>
                  <a:lnTo>
                    <a:pt x="304" y="88"/>
                  </a:lnTo>
                  <a:lnTo>
                    <a:pt x="302" y="88"/>
                  </a:lnTo>
                  <a:lnTo>
                    <a:pt x="300" y="88"/>
                  </a:lnTo>
                  <a:lnTo>
                    <a:pt x="300" y="90"/>
                  </a:lnTo>
                  <a:lnTo>
                    <a:pt x="298" y="90"/>
                  </a:lnTo>
                  <a:lnTo>
                    <a:pt x="298" y="92"/>
                  </a:lnTo>
                  <a:lnTo>
                    <a:pt x="296" y="92"/>
                  </a:lnTo>
                  <a:lnTo>
                    <a:pt x="296" y="94"/>
                  </a:lnTo>
                  <a:lnTo>
                    <a:pt x="294" y="94"/>
                  </a:lnTo>
                  <a:lnTo>
                    <a:pt x="294" y="96"/>
                  </a:lnTo>
                  <a:lnTo>
                    <a:pt x="292" y="96"/>
                  </a:lnTo>
                  <a:lnTo>
                    <a:pt x="292" y="98"/>
                  </a:lnTo>
                  <a:lnTo>
                    <a:pt x="292" y="100"/>
                  </a:lnTo>
                  <a:lnTo>
                    <a:pt x="292" y="102"/>
                  </a:lnTo>
                  <a:lnTo>
                    <a:pt x="290" y="102"/>
                  </a:lnTo>
                  <a:lnTo>
                    <a:pt x="288" y="102"/>
                  </a:lnTo>
                  <a:lnTo>
                    <a:pt x="288" y="104"/>
                  </a:lnTo>
                  <a:lnTo>
                    <a:pt x="286" y="104"/>
                  </a:lnTo>
                  <a:lnTo>
                    <a:pt x="286" y="104"/>
                  </a:lnTo>
                  <a:lnTo>
                    <a:pt x="288" y="104"/>
                  </a:lnTo>
                  <a:lnTo>
                    <a:pt x="288" y="106"/>
                  </a:lnTo>
                  <a:lnTo>
                    <a:pt x="286" y="106"/>
                  </a:lnTo>
                  <a:lnTo>
                    <a:pt x="288" y="106"/>
                  </a:lnTo>
                  <a:lnTo>
                    <a:pt x="288" y="108"/>
                  </a:lnTo>
                  <a:lnTo>
                    <a:pt x="286" y="108"/>
                  </a:lnTo>
                  <a:lnTo>
                    <a:pt x="284" y="108"/>
                  </a:lnTo>
                  <a:lnTo>
                    <a:pt x="284" y="110"/>
                  </a:lnTo>
                  <a:lnTo>
                    <a:pt x="282" y="110"/>
                  </a:lnTo>
                  <a:lnTo>
                    <a:pt x="282" y="110"/>
                  </a:lnTo>
                  <a:lnTo>
                    <a:pt x="280" y="110"/>
                  </a:lnTo>
                  <a:lnTo>
                    <a:pt x="280" y="112"/>
                  </a:lnTo>
                  <a:lnTo>
                    <a:pt x="280" y="114"/>
                  </a:lnTo>
                  <a:lnTo>
                    <a:pt x="278" y="114"/>
                  </a:lnTo>
                  <a:lnTo>
                    <a:pt x="278" y="116"/>
                  </a:lnTo>
                  <a:lnTo>
                    <a:pt x="278" y="118"/>
                  </a:lnTo>
                  <a:lnTo>
                    <a:pt x="276" y="118"/>
                  </a:lnTo>
                  <a:lnTo>
                    <a:pt x="274" y="118"/>
                  </a:lnTo>
                  <a:lnTo>
                    <a:pt x="274" y="120"/>
                  </a:lnTo>
                  <a:lnTo>
                    <a:pt x="272" y="120"/>
                  </a:lnTo>
                  <a:lnTo>
                    <a:pt x="270" y="120"/>
                  </a:lnTo>
                  <a:lnTo>
                    <a:pt x="270" y="122"/>
                  </a:lnTo>
                  <a:lnTo>
                    <a:pt x="268" y="122"/>
                  </a:lnTo>
                  <a:lnTo>
                    <a:pt x="266" y="122"/>
                  </a:lnTo>
                  <a:lnTo>
                    <a:pt x="266" y="124"/>
                  </a:lnTo>
                  <a:lnTo>
                    <a:pt x="264" y="124"/>
                  </a:lnTo>
                  <a:lnTo>
                    <a:pt x="262" y="124"/>
                  </a:lnTo>
                  <a:lnTo>
                    <a:pt x="260" y="124"/>
                  </a:lnTo>
                  <a:lnTo>
                    <a:pt x="260" y="126"/>
                  </a:lnTo>
                  <a:lnTo>
                    <a:pt x="258" y="126"/>
                  </a:lnTo>
                  <a:lnTo>
                    <a:pt x="256" y="126"/>
                  </a:lnTo>
                  <a:lnTo>
                    <a:pt x="256" y="128"/>
                  </a:lnTo>
                  <a:lnTo>
                    <a:pt x="256" y="130"/>
                  </a:lnTo>
                  <a:lnTo>
                    <a:pt x="254" y="130"/>
                  </a:lnTo>
                  <a:lnTo>
                    <a:pt x="252" y="130"/>
                  </a:lnTo>
                  <a:lnTo>
                    <a:pt x="250" y="130"/>
                  </a:lnTo>
                  <a:lnTo>
                    <a:pt x="248" y="130"/>
                  </a:lnTo>
                  <a:lnTo>
                    <a:pt x="246" y="130"/>
                  </a:lnTo>
                  <a:lnTo>
                    <a:pt x="244" y="130"/>
                  </a:lnTo>
                  <a:lnTo>
                    <a:pt x="242" y="130"/>
                  </a:lnTo>
                  <a:lnTo>
                    <a:pt x="240" y="130"/>
                  </a:lnTo>
                  <a:lnTo>
                    <a:pt x="238" y="132"/>
                  </a:lnTo>
                  <a:lnTo>
                    <a:pt x="236" y="132"/>
                  </a:lnTo>
                  <a:lnTo>
                    <a:pt x="234" y="132"/>
                  </a:lnTo>
                  <a:lnTo>
                    <a:pt x="234" y="132"/>
                  </a:lnTo>
                  <a:lnTo>
                    <a:pt x="232" y="132"/>
                  </a:lnTo>
                  <a:lnTo>
                    <a:pt x="230" y="132"/>
                  </a:lnTo>
                  <a:lnTo>
                    <a:pt x="228" y="132"/>
                  </a:lnTo>
                  <a:lnTo>
                    <a:pt x="226" y="132"/>
                  </a:lnTo>
                  <a:lnTo>
                    <a:pt x="224" y="132"/>
                  </a:lnTo>
                  <a:lnTo>
                    <a:pt x="222" y="132"/>
                  </a:lnTo>
                  <a:lnTo>
                    <a:pt x="222" y="134"/>
                  </a:lnTo>
                  <a:lnTo>
                    <a:pt x="220" y="134"/>
                  </a:lnTo>
                  <a:lnTo>
                    <a:pt x="218" y="134"/>
                  </a:lnTo>
                  <a:lnTo>
                    <a:pt x="216" y="134"/>
                  </a:lnTo>
                  <a:lnTo>
                    <a:pt x="214" y="134"/>
                  </a:lnTo>
                  <a:lnTo>
                    <a:pt x="212" y="134"/>
                  </a:lnTo>
                  <a:lnTo>
                    <a:pt x="210" y="134"/>
                  </a:lnTo>
                  <a:lnTo>
                    <a:pt x="208" y="134"/>
                  </a:lnTo>
                  <a:lnTo>
                    <a:pt x="206" y="134"/>
                  </a:lnTo>
                  <a:lnTo>
                    <a:pt x="204" y="134"/>
                  </a:lnTo>
                  <a:lnTo>
                    <a:pt x="202" y="134"/>
                  </a:lnTo>
                  <a:lnTo>
                    <a:pt x="200" y="134"/>
                  </a:lnTo>
                  <a:lnTo>
                    <a:pt x="198" y="134"/>
                  </a:lnTo>
                  <a:lnTo>
                    <a:pt x="196" y="134"/>
                  </a:lnTo>
                  <a:lnTo>
                    <a:pt x="194" y="134"/>
                  </a:lnTo>
                  <a:lnTo>
                    <a:pt x="192" y="134"/>
                  </a:lnTo>
                  <a:lnTo>
                    <a:pt x="190" y="134"/>
                  </a:lnTo>
                  <a:lnTo>
                    <a:pt x="188" y="134"/>
                  </a:lnTo>
                  <a:lnTo>
                    <a:pt x="188" y="136"/>
                  </a:lnTo>
                  <a:lnTo>
                    <a:pt x="186" y="136"/>
                  </a:lnTo>
                  <a:lnTo>
                    <a:pt x="186" y="136"/>
                  </a:lnTo>
                  <a:lnTo>
                    <a:pt x="184" y="136"/>
                  </a:lnTo>
                  <a:lnTo>
                    <a:pt x="182" y="136"/>
                  </a:lnTo>
                  <a:lnTo>
                    <a:pt x="180" y="136"/>
                  </a:lnTo>
                  <a:lnTo>
                    <a:pt x="178" y="136"/>
                  </a:lnTo>
                  <a:lnTo>
                    <a:pt x="176" y="138"/>
                  </a:lnTo>
                  <a:lnTo>
                    <a:pt x="174" y="138"/>
                  </a:lnTo>
                  <a:lnTo>
                    <a:pt x="172" y="138"/>
                  </a:lnTo>
                  <a:lnTo>
                    <a:pt x="170" y="138"/>
                  </a:lnTo>
                  <a:lnTo>
                    <a:pt x="168" y="138"/>
                  </a:lnTo>
                  <a:lnTo>
                    <a:pt x="166" y="138"/>
                  </a:lnTo>
                  <a:lnTo>
                    <a:pt x="164" y="138"/>
                  </a:lnTo>
                  <a:lnTo>
                    <a:pt x="162" y="138"/>
                  </a:lnTo>
                  <a:lnTo>
                    <a:pt x="160" y="138"/>
                  </a:lnTo>
                  <a:lnTo>
                    <a:pt x="158" y="138"/>
                  </a:lnTo>
                  <a:lnTo>
                    <a:pt x="156" y="138"/>
                  </a:lnTo>
                  <a:lnTo>
                    <a:pt x="154" y="138"/>
                  </a:lnTo>
                  <a:lnTo>
                    <a:pt x="152" y="138"/>
                  </a:lnTo>
                  <a:lnTo>
                    <a:pt x="150" y="138"/>
                  </a:lnTo>
                  <a:lnTo>
                    <a:pt x="148" y="138"/>
                  </a:lnTo>
                  <a:lnTo>
                    <a:pt x="146" y="138"/>
                  </a:lnTo>
                  <a:lnTo>
                    <a:pt x="144" y="138"/>
                  </a:lnTo>
                  <a:lnTo>
                    <a:pt x="142" y="138"/>
                  </a:lnTo>
                  <a:lnTo>
                    <a:pt x="140" y="138"/>
                  </a:lnTo>
                  <a:lnTo>
                    <a:pt x="138" y="138"/>
                  </a:lnTo>
                  <a:lnTo>
                    <a:pt x="138" y="138"/>
                  </a:lnTo>
                  <a:lnTo>
                    <a:pt x="136" y="138"/>
                  </a:lnTo>
                  <a:lnTo>
                    <a:pt x="134" y="140"/>
                  </a:lnTo>
                  <a:lnTo>
                    <a:pt x="132" y="140"/>
                  </a:lnTo>
                  <a:lnTo>
                    <a:pt x="130" y="140"/>
                  </a:lnTo>
                  <a:lnTo>
                    <a:pt x="128" y="140"/>
                  </a:lnTo>
                  <a:lnTo>
                    <a:pt x="126" y="140"/>
                  </a:lnTo>
                  <a:lnTo>
                    <a:pt x="124" y="140"/>
                  </a:lnTo>
                  <a:lnTo>
                    <a:pt x="122" y="140"/>
                  </a:lnTo>
                  <a:lnTo>
                    <a:pt x="120" y="140"/>
                  </a:lnTo>
                  <a:lnTo>
                    <a:pt x="118" y="140"/>
                  </a:lnTo>
                  <a:lnTo>
                    <a:pt x="116" y="140"/>
                  </a:lnTo>
                  <a:lnTo>
                    <a:pt x="114" y="140"/>
                  </a:lnTo>
                  <a:lnTo>
                    <a:pt x="114" y="143"/>
                  </a:lnTo>
                  <a:lnTo>
                    <a:pt x="112" y="143"/>
                  </a:lnTo>
                  <a:lnTo>
                    <a:pt x="110" y="143"/>
                  </a:lnTo>
                  <a:lnTo>
                    <a:pt x="108" y="143"/>
                  </a:lnTo>
                  <a:lnTo>
                    <a:pt x="106" y="143"/>
                  </a:lnTo>
                  <a:lnTo>
                    <a:pt x="104" y="143"/>
                  </a:lnTo>
                  <a:lnTo>
                    <a:pt x="102" y="143"/>
                  </a:lnTo>
                  <a:lnTo>
                    <a:pt x="100" y="143"/>
                  </a:lnTo>
                  <a:lnTo>
                    <a:pt x="98" y="143"/>
                  </a:lnTo>
                  <a:lnTo>
                    <a:pt x="96" y="143"/>
                  </a:lnTo>
                  <a:lnTo>
                    <a:pt x="94" y="143"/>
                  </a:lnTo>
                  <a:lnTo>
                    <a:pt x="92" y="143"/>
                  </a:lnTo>
                  <a:lnTo>
                    <a:pt x="92" y="145"/>
                  </a:lnTo>
                  <a:lnTo>
                    <a:pt x="90" y="145"/>
                  </a:lnTo>
                  <a:lnTo>
                    <a:pt x="90" y="145"/>
                  </a:lnTo>
                  <a:lnTo>
                    <a:pt x="88" y="145"/>
                  </a:lnTo>
                  <a:lnTo>
                    <a:pt x="86" y="145"/>
                  </a:lnTo>
                  <a:lnTo>
                    <a:pt x="84" y="145"/>
                  </a:lnTo>
                  <a:lnTo>
                    <a:pt x="82" y="145"/>
                  </a:lnTo>
                  <a:lnTo>
                    <a:pt x="80" y="145"/>
                  </a:lnTo>
                  <a:lnTo>
                    <a:pt x="78" y="145"/>
                  </a:lnTo>
                  <a:lnTo>
                    <a:pt x="76" y="145"/>
                  </a:lnTo>
                  <a:lnTo>
                    <a:pt x="76" y="143"/>
                  </a:lnTo>
                  <a:lnTo>
                    <a:pt x="74" y="143"/>
                  </a:lnTo>
                  <a:lnTo>
                    <a:pt x="72" y="143"/>
                  </a:lnTo>
                  <a:lnTo>
                    <a:pt x="70" y="143"/>
                  </a:lnTo>
                  <a:lnTo>
                    <a:pt x="68" y="143"/>
                  </a:lnTo>
                  <a:lnTo>
                    <a:pt x="66" y="143"/>
                  </a:lnTo>
                  <a:lnTo>
                    <a:pt x="66" y="145"/>
                  </a:lnTo>
                  <a:lnTo>
                    <a:pt x="66" y="147"/>
                  </a:lnTo>
                  <a:lnTo>
                    <a:pt x="68" y="147"/>
                  </a:lnTo>
                  <a:lnTo>
                    <a:pt x="68" y="149"/>
                  </a:lnTo>
                  <a:lnTo>
                    <a:pt x="68" y="151"/>
                  </a:lnTo>
                  <a:lnTo>
                    <a:pt x="68" y="153"/>
                  </a:lnTo>
                  <a:lnTo>
                    <a:pt x="66" y="153"/>
                  </a:lnTo>
                  <a:lnTo>
                    <a:pt x="64" y="153"/>
                  </a:lnTo>
                  <a:lnTo>
                    <a:pt x="62" y="153"/>
                  </a:lnTo>
                  <a:lnTo>
                    <a:pt x="60" y="153"/>
                  </a:lnTo>
                  <a:lnTo>
                    <a:pt x="58" y="153"/>
                  </a:lnTo>
                  <a:lnTo>
                    <a:pt x="56" y="153"/>
                  </a:lnTo>
                  <a:lnTo>
                    <a:pt x="54" y="153"/>
                  </a:lnTo>
                  <a:lnTo>
                    <a:pt x="52" y="153"/>
                  </a:lnTo>
                  <a:lnTo>
                    <a:pt x="50" y="153"/>
                  </a:lnTo>
                  <a:lnTo>
                    <a:pt x="48" y="153"/>
                  </a:lnTo>
                  <a:lnTo>
                    <a:pt x="46" y="153"/>
                  </a:lnTo>
                  <a:lnTo>
                    <a:pt x="44" y="153"/>
                  </a:lnTo>
                  <a:lnTo>
                    <a:pt x="42" y="153"/>
                  </a:lnTo>
                  <a:lnTo>
                    <a:pt x="42" y="153"/>
                  </a:lnTo>
                  <a:lnTo>
                    <a:pt x="40" y="153"/>
                  </a:lnTo>
                  <a:lnTo>
                    <a:pt x="38" y="153"/>
                  </a:lnTo>
                  <a:lnTo>
                    <a:pt x="36" y="153"/>
                  </a:lnTo>
                  <a:lnTo>
                    <a:pt x="34" y="153"/>
                  </a:lnTo>
                  <a:lnTo>
                    <a:pt x="32" y="153"/>
                  </a:lnTo>
                  <a:lnTo>
                    <a:pt x="28" y="153"/>
                  </a:lnTo>
                  <a:lnTo>
                    <a:pt x="26" y="153"/>
                  </a:lnTo>
                  <a:lnTo>
                    <a:pt x="24" y="153"/>
                  </a:lnTo>
                  <a:lnTo>
                    <a:pt x="22" y="153"/>
                  </a:lnTo>
                  <a:lnTo>
                    <a:pt x="20" y="153"/>
                  </a:lnTo>
                  <a:lnTo>
                    <a:pt x="18" y="153"/>
                  </a:lnTo>
                  <a:lnTo>
                    <a:pt x="16" y="153"/>
                  </a:lnTo>
                  <a:lnTo>
                    <a:pt x="14" y="153"/>
                  </a:lnTo>
                  <a:lnTo>
                    <a:pt x="12" y="155"/>
                  </a:lnTo>
                  <a:lnTo>
                    <a:pt x="10" y="155"/>
                  </a:lnTo>
                  <a:lnTo>
                    <a:pt x="8" y="155"/>
                  </a:lnTo>
                  <a:lnTo>
                    <a:pt x="8" y="153"/>
                  </a:lnTo>
                  <a:lnTo>
                    <a:pt x="8" y="153"/>
                  </a:lnTo>
                  <a:lnTo>
                    <a:pt x="10" y="153"/>
                  </a:lnTo>
                  <a:lnTo>
                    <a:pt x="10" y="151"/>
                  </a:lnTo>
                  <a:lnTo>
                    <a:pt x="10" y="149"/>
                  </a:lnTo>
                  <a:lnTo>
                    <a:pt x="12" y="149"/>
                  </a:lnTo>
                  <a:lnTo>
                    <a:pt x="12" y="151"/>
                  </a:lnTo>
                  <a:lnTo>
                    <a:pt x="14" y="151"/>
                  </a:lnTo>
                  <a:lnTo>
                    <a:pt x="14" y="153"/>
                  </a:lnTo>
                  <a:lnTo>
                    <a:pt x="16" y="153"/>
                  </a:lnTo>
                  <a:lnTo>
                    <a:pt x="16" y="151"/>
                  </a:lnTo>
                  <a:lnTo>
                    <a:pt x="18" y="151"/>
                  </a:lnTo>
                  <a:lnTo>
                    <a:pt x="18" y="149"/>
                  </a:lnTo>
                  <a:lnTo>
                    <a:pt x="18" y="147"/>
                  </a:lnTo>
                  <a:lnTo>
                    <a:pt x="20" y="147"/>
                  </a:lnTo>
                  <a:lnTo>
                    <a:pt x="18" y="147"/>
                  </a:lnTo>
                  <a:lnTo>
                    <a:pt x="18" y="145"/>
                  </a:lnTo>
                  <a:lnTo>
                    <a:pt x="18" y="143"/>
                  </a:lnTo>
                  <a:lnTo>
                    <a:pt x="18" y="140"/>
                  </a:lnTo>
                  <a:lnTo>
                    <a:pt x="20" y="140"/>
                  </a:lnTo>
                  <a:lnTo>
                    <a:pt x="20" y="143"/>
                  </a:lnTo>
                  <a:lnTo>
                    <a:pt x="20" y="140"/>
                  </a:lnTo>
                  <a:lnTo>
                    <a:pt x="20" y="138"/>
                  </a:lnTo>
                  <a:lnTo>
                    <a:pt x="18" y="138"/>
                  </a:lnTo>
                  <a:lnTo>
                    <a:pt x="18" y="136"/>
                  </a:lnTo>
                  <a:lnTo>
                    <a:pt x="20" y="136"/>
                  </a:lnTo>
                  <a:lnTo>
                    <a:pt x="20" y="134"/>
                  </a:lnTo>
                  <a:lnTo>
                    <a:pt x="20" y="132"/>
                  </a:lnTo>
                  <a:lnTo>
                    <a:pt x="20" y="130"/>
                  </a:lnTo>
                  <a:lnTo>
                    <a:pt x="22" y="130"/>
                  </a:lnTo>
                  <a:lnTo>
                    <a:pt x="20" y="128"/>
                  </a:lnTo>
                  <a:lnTo>
                    <a:pt x="18" y="128"/>
                  </a:lnTo>
                  <a:lnTo>
                    <a:pt x="18" y="126"/>
                  </a:lnTo>
                  <a:lnTo>
                    <a:pt x="18" y="124"/>
                  </a:lnTo>
                  <a:lnTo>
                    <a:pt x="18" y="122"/>
                  </a:lnTo>
                  <a:lnTo>
                    <a:pt x="20" y="122"/>
                  </a:lnTo>
                  <a:lnTo>
                    <a:pt x="20" y="120"/>
                  </a:lnTo>
                  <a:lnTo>
                    <a:pt x="20" y="118"/>
                  </a:lnTo>
                  <a:lnTo>
                    <a:pt x="22" y="118"/>
                  </a:lnTo>
                  <a:lnTo>
                    <a:pt x="22" y="116"/>
                  </a:lnTo>
                  <a:lnTo>
                    <a:pt x="24" y="116"/>
                  </a:lnTo>
                  <a:lnTo>
                    <a:pt x="24" y="114"/>
                  </a:lnTo>
                  <a:lnTo>
                    <a:pt x="26" y="114"/>
                  </a:lnTo>
                  <a:lnTo>
                    <a:pt x="28" y="114"/>
                  </a:lnTo>
                  <a:lnTo>
                    <a:pt x="30" y="114"/>
                  </a:lnTo>
                  <a:lnTo>
                    <a:pt x="30" y="116"/>
                  </a:lnTo>
                  <a:lnTo>
                    <a:pt x="32" y="116"/>
                  </a:lnTo>
                  <a:lnTo>
                    <a:pt x="34" y="116"/>
                  </a:lnTo>
                  <a:lnTo>
                    <a:pt x="36" y="118"/>
                  </a:lnTo>
                  <a:lnTo>
                    <a:pt x="38" y="118"/>
                  </a:lnTo>
                  <a:lnTo>
                    <a:pt x="40" y="118"/>
                  </a:lnTo>
                  <a:lnTo>
                    <a:pt x="40" y="120"/>
                  </a:lnTo>
                  <a:lnTo>
                    <a:pt x="42" y="120"/>
                  </a:lnTo>
                  <a:lnTo>
                    <a:pt x="42" y="120"/>
                  </a:lnTo>
                  <a:lnTo>
                    <a:pt x="42" y="122"/>
                  </a:lnTo>
                  <a:lnTo>
                    <a:pt x="44" y="122"/>
                  </a:lnTo>
                  <a:lnTo>
                    <a:pt x="46" y="122"/>
                  </a:lnTo>
                  <a:lnTo>
                    <a:pt x="48" y="122"/>
                  </a:lnTo>
                  <a:lnTo>
                    <a:pt x="48" y="120"/>
                  </a:lnTo>
                  <a:lnTo>
                    <a:pt x="48" y="118"/>
                  </a:lnTo>
                  <a:lnTo>
                    <a:pt x="48" y="116"/>
                  </a:lnTo>
                  <a:lnTo>
                    <a:pt x="48" y="114"/>
                  </a:lnTo>
                  <a:lnTo>
                    <a:pt x="46" y="114"/>
                  </a:lnTo>
                  <a:lnTo>
                    <a:pt x="46" y="112"/>
                  </a:lnTo>
                  <a:lnTo>
                    <a:pt x="44" y="112"/>
                  </a:lnTo>
                  <a:lnTo>
                    <a:pt x="44" y="110"/>
                  </a:lnTo>
                  <a:lnTo>
                    <a:pt x="44" y="108"/>
                  </a:lnTo>
                  <a:lnTo>
                    <a:pt x="46" y="108"/>
                  </a:lnTo>
                  <a:lnTo>
                    <a:pt x="46" y="106"/>
                  </a:lnTo>
                  <a:lnTo>
                    <a:pt x="46" y="104"/>
                  </a:lnTo>
                  <a:lnTo>
                    <a:pt x="46" y="104"/>
                  </a:lnTo>
                  <a:lnTo>
                    <a:pt x="48" y="104"/>
                  </a:lnTo>
                  <a:lnTo>
                    <a:pt x="50" y="104"/>
                  </a:lnTo>
                  <a:lnTo>
                    <a:pt x="50" y="104"/>
                  </a:lnTo>
                  <a:lnTo>
                    <a:pt x="50" y="104"/>
                  </a:lnTo>
                  <a:lnTo>
                    <a:pt x="52" y="104"/>
                  </a:lnTo>
                  <a:lnTo>
                    <a:pt x="52" y="102"/>
                  </a:lnTo>
                  <a:lnTo>
                    <a:pt x="54" y="102"/>
                  </a:lnTo>
                  <a:lnTo>
                    <a:pt x="56" y="102"/>
                  </a:lnTo>
                  <a:lnTo>
                    <a:pt x="58" y="102"/>
                  </a:lnTo>
                  <a:lnTo>
                    <a:pt x="60" y="102"/>
                  </a:lnTo>
                  <a:lnTo>
                    <a:pt x="60" y="100"/>
                  </a:lnTo>
                  <a:lnTo>
                    <a:pt x="62" y="100"/>
                  </a:lnTo>
                  <a:lnTo>
                    <a:pt x="64" y="100"/>
                  </a:lnTo>
                  <a:lnTo>
                    <a:pt x="64" y="98"/>
                  </a:lnTo>
                  <a:lnTo>
                    <a:pt x="62" y="98"/>
                  </a:lnTo>
                  <a:lnTo>
                    <a:pt x="62" y="96"/>
                  </a:lnTo>
                  <a:lnTo>
                    <a:pt x="60" y="96"/>
                  </a:lnTo>
                  <a:lnTo>
                    <a:pt x="60" y="94"/>
                  </a:lnTo>
                  <a:lnTo>
                    <a:pt x="60" y="92"/>
                  </a:lnTo>
                  <a:lnTo>
                    <a:pt x="58" y="92"/>
                  </a:lnTo>
                  <a:lnTo>
                    <a:pt x="58" y="90"/>
                  </a:lnTo>
                  <a:lnTo>
                    <a:pt x="60" y="90"/>
                  </a:lnTo>
                  <a:lnTo>
                    <a:pt x="60" y="88"/>
                  </a:lnTo>
                  <a:lnTo>
                    <a:pt x="62" y="86"/>
                  </a:lnTo>
                  <a:lnTo>
                    <a:pt x="64" y="86"/>
                  </a:lnTo>
                  <a:lnTo>
                    <a:pt x="64" y="84"/>
                  </a:lnTo>
                  <a:lnTo>
                    <a:pt x="64" y="82"/>
                  </a:lnTo>
                  <a:lnTo>
                    <a:pt x="66" y="82"/>
                  </a:lnTo>
                  <a:lnTo>
                    <a:pt x="66" y="84"/>
                  </a:lnTo>
                  <a:lnTo>
                    <a:pt x="68" y="84"/>
                  </a:lnTo>
                  <a:lnTo>
                    <a:pt x="68" y="82"/>
                  </a:lnTo>
                  <a:lnTo>
                    <a:pt x="70" y="82"/>
                  </a:lnTo>
                  <a:lnTo>
                    <a:pt x="70" y="80"/>
                  </a:lnTo>
                  <a:lnTo>
                    <a:pt x="68" y="80"/>
                  </a:lnTo>
                  <a:lnTo>
                    <a:pt x="68" y="78"/>
                  </a:lnTo>
                  <a:lnTo>
                    <a:pt x="68" y="76"/>
                  </a:lnTo>
                  <a:lnTo>
                    <a:pt x="70" y="76"/>
                  </a:lnTo>
                  <a:lnTo>
                    <a:pt x="70" y="74"/>
                  </a:lnTo>
                  <a:lnTo>
                    <a:pt x="70" y="76"/>
                  </a:lnTo>
                  <a:lnTo>
                    <a:pt x="72" y="76"/>
                  </a:lnTo>
                  <a:lnTo>
                    <a:pt x="72" y="78"/>
                  </a:lnTo>
                  <a:lnTo>
                    <a:pt x="74" y="78"/>
                  </a:lnTo>
                  <a:lnTo>
                    <a:pt x="74" y="76"/>
                  </a:lnTo>
                  <a:lnTo>
                    <a:pt x="76" y="76"/>
                  </a:lnTo>
                  <a:lnTo>
                    <a:pt x="78" y="76"/>
                  </a:lnTo>
                  <a:lnTo>
                    <a:pt x="80" y="76"/>
                  </a:lnTo>
                  <a:lnTo>
                    <a:pt x="80" y="78"/>
                  </a:lnTo>
                  <a:lnTo>
                    <a:pt x="80" y="80"/>
                  </a:lnTo>
                  <a:lnTo>
                    <a:pt x="82" y="80"/>
                  </a:lnTo>
                  <a:lnTo>
                    <a:pt x="82" y="78"/>
                  </a:lnTo>
                  <a:lnTo>
                    <a:pt x="84" y="78"/>
                  </a:lnTo>
                  <a:lnTo>
                    <a:pt x="84" y="76"/>
                  </a:lnTo>
                  <a:lnTo>
                    <a:pt x="82" y="76"/>
                  </a:lnTo>
                  <a:lnTo>
                    <a:pt x="82" y="74"/>
                  </a:lnTo>
                  <a:lnTo>
                    <a:pt x="82" y="72"/>
                  </a:lnTo>
                  <a:lnTo>
                    <a:pt x="84" y="72"/>
                  </a:lnTo>
                  <a:lnTo>
                    <a:pt x="84" y="74"/>
                  </a:lnTo>
                  <a:lnTo>
                    <a:pt x="86" y="74"/>
                  </a:lnTo>
                  <a:lnTo>
                    <a:pt x="88" y="74"/>
                  </a:lnTo>
                  <a:lnTo>
                    <a:pt x="88" y="72"/>
                  </a:lnTo>
                  <a:lnTo>
                    <a:pt x="90" y="72"/>
                  </a:lnTo>
                  <a:lnTo>
                    <a:pt x="90" y="72"/>
                  </a:lnTo>
                  <a:lnTo>
                    <a:pt x="90" y="74"/>
                  </a:lnTo>
                  <a:lnTo>
                    <a:pt x="92" y="74"/>
                  </a:lnTo>
                  <a:lnTo>
                    <a:pt x="94" y="74"/>
                  </a:lnTo>
                  <a:lnTo>
                    <a:pt x="94" y="76"/>
                  </a:lnTo>
                  <a:lnTo>
                    <a:pt x="96" y="76"/>
                  </a:lnTo>
                  <a:lnTo>
                    <a:pt x="98" y="76"/>
                  </a:lnTo>
                  <a:lnTo>
                    <a:pt x="98" y="78"/>
                  </a:lnTo>
                  <a:lnTo>
                    <a:pt x="100" y="78"/>
                  </a:lnTo>
                  <a:lnTo>
                    <a:pt x="102" y="78"/>
                  </a:lnTo>
                  <a:lnTo>
                    <a:pt x="102" y="80"/>
                  </a:lnTo>
                  <a:lnTo>
                    <a:pt x="104" y="80"/>
                  </a:lnTo>
                  <a:lnTo>
                    <a:pt x="104" y="78"/>
                  </a:lnTo>
                  <a:lnTo>
                    <a:pt x="104" y="76"/>
                  </a:lnTo>
                  <a:lnTo>
                    <a:pt x="106" y="76"/>
                  </a:lnTo>
                  <a:lnTo>
                    <a:pt x="106" y="74"/>
                  </a:lnTo>
                  <a:lnTo>
                    <a:pt x="104" y="74"/>
                  </a:lnTo>
                  <a:lnTo>
                    <a:pt x="106" y="74"/>
                  </a:lnTo>
                  <a:lnTo>
                    <a:pt x="106" y="72"/>
                  </a:lnTo>
                  <a:lnTo>
                    <a:pt x="108" y="72"/>
                  </a:lnTo>
                  <a:lnTo>
                    <a:pt x="110" y="72"/>
                  </a:lnTo>
                  <a:lnTo>
                    <a:pt x="110" y="70"/>
                  </a:lnTo>
                  <a:lnTo>
                    <a:pt x="112" y="70"/>
                  </a:lnTo>
                  <a:lnTo>
                    <a:pt x="112" y="68"/>
                  </a:lnTo>
                  <a:lnTo>
                    <a:pt x="114" y="68"/>
                  </a:lnTo>
                  <a:lnTo>
                    <a:pt x="116" y="68"/>
                  </a:lnTo>
                  <a:lnTo>
                    <a:pt x="116" y="70"/>
                  </a:lnTo>
                  <a:lnTo>
                    <a:pt x="118" y="70"/>
                  </a:lnTo>
                  <a:lnTo>
                    <a:pt x="118" y="72"/>
                  </a:lnTo>
                  <a:lnTo>
                    <a:pt x="120" y="72"/>
                  </a:lnTo>
                  <a:lnTo>
                    <a:pt x="122" y="72"/>
                  </a:lnTo>
                  <a:lnTo>
                    <a:pt x="122" y="74"/>
                  </a:lnTo>
                  <a:lnTo>
                    <a:pt x="122" y="76"/>
                  </a:lnTo>
                  <a:lnTo>
                    <a:pt x="124" y="76"/>
                  </a:lnTo>
                  <a:lnTo>
                    <a:pt x="124" y="74"/>
                  </a:lnTo>
                  <a:lnTo>
                    <a:pt x="124" y="72"/>
                  </a:lnTo>
                  <a:lnTo>
                    <a:pt x="124" y="70"/>
                  </a:lnTo>
                  <a:lnTo>
                    <a:pt x="126" y="70"/>
                  </a:lnTo>
                  <a:lnTo>
                    <a:pt x="128" y="70"/>
                  </a:lnTo>
                  <a:lnTo>
                    <a:pt x="128" y="68"/>
                  </a:lnTo>
                  <a:lnTo>
                    <a:pt x="128" y="66"/>
                  </a:lnTo>
                  <a:lnTo>
                    <a:pt x="128" y="64"/>
                  </a:lnTo>
                  <a:lnTo>
                    <a:pt x="130" y="64"/>
                  </a:lnTo>
                  <a:lnTo>
                    <a:pt x="130" y="62"/>
                  </a:lnTo>
                  <a:lnTo>
                    <a:pt x="132" y="62"/>
                  </a:lnTo>
                  <a:lnTo>
                    <a:pt x="130" y="62"/>
                  </a:lnTo>
                  <a:lnTo>
                    <a:pt x="130" y="60"/>
                  </a:lnTo>
                  <a:lnTo>
                    <a:pt x="130" y="58"/>
                  </a:lnTo>
                  <a:lnTo>
                    <a:pt x="130" y="60"/>
                  </a:lnTo>
                  <a:lnTo>
                    <a:pt x="132" y="60"/>
                  </a:lnTo>
                  <a:lnTo>
                    <a:pt x="132" y="58"/>
                  </a:lnTo>
                  <a:lnTo>
                    <a:pt x="134" y="58"/>
                  </a:lnTo>
                  <a:lnTo>
                    <a:pt x="136" y="58"/>
                  </a:lnTo>
                  <a:lnTo>
                    <a:pt x="136" y="56"/>
                  </a:lnTo>
                  <a:lnTo>
                    <a:pt x="134" y="56"/>
                  </a:lnTo>
                  <a:lnTo>
                    <a:pt x="132" y="56"/>
                  </a:lnTo>
                  <a:lnTo>
                    <a:pt x="134" y="56"/>
                  </a:lnTo>
                  <a:lnTo>
                    <a:pt x="134" y="56"/>
                  </a:lnTo>
                  <a:lnTo>
                    <a:pt x="136" y="56"/>
                  </a:lnTo>
                  <a:lnTo>
                    <a:pt x="138" y="56"/>
                  </a:lnTo>
                  <a:lnTo>
                    <a:pt x="138" y="58"/>
                  </a:lnTo>
                  <a:lnTo>
                    <a:pt x="138" y="60"/>
                  </a:lnTo>
                  <a:lnTo>
                    <a:pt x="138" y="62"/>
                  </a:lnTo>
                  <a:lnTo>
                    <a:pt x="138" y="62"/>
                  </a:lnTo>
                  <a:lnTo>
                    <a:pt x="138" y="64"/>
                  </a:lnTo>
                  <a:lnTo>
                    <a:pt x="140" y="64"/>
                  </a:lnTo>
                  <a:lnTo>
                    <a:pt x="142" y="64"/>
                  </a:lnTo>
                  <a:lnTo>
                    <a:pt x="144" y="64"/>
                  </a:lnTo>
                  <a:lnTo>
                    <a:pt x="146" y="66"/>
                  </a:lnTo>
                  <a:lnTo>
                    <a:pt x="146" y="64"/>
                  </a:lnTo>
                  <a:lnTo>
                    <a:pt x="148" y="64"/>
                  </a:lnTo>
                  <a:lnTo>
                    <a:pt x="150" y="64"/>
                  </a:lnTo>
                  <a:lnTo>
                    <a:pt x="152" y="64"/>
                  </a:lnTo>
                  <a:lnTo>
                    <a:pt x="152" y="62"/>
                  </a:lnTo>
                  <a:lnTo>
                    <a:pt x="152" y="60"/>
                  </a:lnTo>
                  <a:lnTo>
                    <a:pt x="152" y="58"/>
                  </a:lnTo>
                  <a:lnTo>
                    <a:pt x="152" y="56"/>
                  </a:lnTo>
                  <a:lnTo>
                    <a:pt x="152" y="56"/>
                  </a:lnTo>
                  <a:lnTo>
                    <a:pt x="152" y="54"/>
                  </a:lnTo>
                  <a:lnTo>
                    <a:pt x="154" y="54"/>
                  </a:lnTo>
                  <a:lnTo>
                    <a:pt x="154" y="52"/>
                  </a:lnTo>
                  <a:lnTo>
                    <a:pt x="154" y="50"/>
                  </a:lnTo>
                  <a:lnTo>
                    <a:pt x="156" y="50"/>
                  </a:lnTo>
                  <a:lnTo>
                    <a:pt x="158" y="50"/>
                  </a:lnTo>
                  <a:lnTo>
                    <a:pt x="160" y="50"/>
                  </a:lnTo>
                  <a:lnTo>
                    <a:pt x="160" y="48"/>
                  </a:lnTo>
                  <a:lnTo>
                    <a:pt x="162" y="48"/>
                  </a:lnTo>
                  <a:lnTo>
                    <a:pt x="162" y="46"/>
                  </a:lnTo>
                  <a:lnTo>
                    <a:pt x="162" y="44"/>
                  </a:lnTo>
                  <a:lnTo>
                    <a:pt x="162" y="42"/>
                  </a:lnTo>
                  <a:lnTo>
                    <a:pt x="162" y="40"/>
                  </a:lnTo>
                  <a:lnTo>
                    <a:pt x="164" y="40"/>
                  </a:lnTo>
                  <a:lnTo>
                    <a:pt x="166" y="40"/>
                  </a:lnTo>
                  <a:lnTo>
                    <a:pt x="166" y="38"/>
                  </a:lnTo>
                  <a:lnTo>
                    <a:pt x="168" y="38"/>
                  </a:lnTo>
                  <a:lnTo>
                    <a:pt x="168" y="36"/>
                  </a:lnTo>
                  <a:lnTo>
                    <a:pt x="170" y="36"/>
                  </a:lnTo>
                  <a:lnTo>
                    <a:pt x="170" y="34"/>
                  </a:lnTo>
                  <a:lnTo>
                    <a:pt x="170" y="32"/>
                  </a:lnTo>
                  <a:lnTo>
                    <a:pt x="170" y="30"/>
                  </a:lnTo>
                  <a:lnTo>
                    <a:pt x="170" y="28"/>
                  </a:lnTo>
                  <a:lnTo>
                    <a:pt x="168" y="28"/>
                  </a:lnTo>
                  <a:lnTo>
                    <a:pt x="168" y="26"/>
                  </a:lnTo>
                  <a:lnTo>
                    <a:pt x="168" y="24"/>
                  </a:lnTo>
                  <a:lnTo>
                    <a:pt x="170" y="24"/>
                  </a:lnTo>
                  <a:lnTo>
                    <a:pt x="172" y="24"/>
                  </a:lnTo>
                  <a:lnTo>
                    <a:pt x="174" y="22"/>
                  </a:lnTo>
                  <a:lnTo>
                    <a:pt x="176" y="22"/>
                  </a:lnTo>
                  <a:lnTo>
                    <a:pt x="178" y="24"/>
                  </a:lnTo>
                  <a:lnTo>
                    <a:pt x="180" y="24"/>
                  </a:lnTo>
                  <a:lnTo>
                    <a:pt x="182" y="24"/>
                  </a:lnTo>
                  <a:lnTo>
                    <a:pt x="182" y="22"/>
                  </a:lnTo>
                  <a:lnTo>
                    <a:pt x="184" y="22"/>
                  </a:lnTo>
                  <a:lnTo>
                    <a:pt x="186" y="22"/>
                  </a:lnTo>
                  <a:lnTo>
                    <a:pt x="186" y="20"/>
                  </a:lnTo>
                  <a:lnTo>
                    <a:pt x="186" y="20"/>
                  </a:lnTo>
                  <a:lnTo>
                    <a:pt x="186" y="18"/>
                  </a:lnTo>
                  <a:lnTo>
                    <a:pt x="188" y="18"/>
                  </a:lnTo>
                  <a:lnTo>
                    <a:pt x="190" y="18"/>
                  </a:lnTo>
                  <a:lnTo>
                    <a:pt x="192" y="18"/>
                  </a:lnTo>
                  <a:lnTo>
                    <a:pt x="194" y="18"/>
                  </a:lnTo>
                  <a:lnTo>
                    <a:pt x="194" y="16"/>
                  </a:lnTo>
                  <a:lnTo>
                    <a:pt x="192" y="16"/>
                  </a:lnTo>
                  <a:lnTo>
                    <a:pt x="192" y="14"/>
                  </a:lnTo>
                  <a:lnTo>
                    <a:pt x="194" y="14"/>
                  </a:lnTo>
                  <a:lnTo>
                    <a:pt x="194" y="12"/>
                  </a:lnTo>
                  <a:lnTo>
                    <a:pt x="192" y="12"/>
                  </a:lnTo>
                  <a:lnTo>
                    <a:pt x="190" y="12"/>
                  </a:lnTo>
                  <a:lnTo>
                    <a:pt x="190" y="10"/>
                  </a:lnTo>
                  <a:lnTo>
                    <a:pt x="190" y="8"/>
                  </a:lnTo>
                  <a:lnTo>
                    <a:pt x="192" y="8"/>
                  </a:lnTo>
                  <a:lnTo>
                    <a:pt x="190" y="8"/>
                  </a:lnTo>
                  <a:lnTo>
                    <a:pt x="190" y="6"/>
                  </a:lnTo>
                  <a:lnTo>
                    <a:pt x="188" y="6"/>
                  </a:lnTo>
                  <a:lnTo>
                    <a:pt x="188" y="4"/>
                  </a:lnTo>
                  <a:lnTo>
                    <a:pt x="190" y="4"/>
                  </a:lnTo>
                  <a:lnTo>
                    <a:pt x="190" y="2"/>
                  </a:lnTo>
                  <a:lnTo>
                    <a:pt x="192" y="2"/>
                  </a:lnTo>
                  <a:lnTo>
                    <a:pt x="192" y="0"/>
                  </a:lnTo>
                  <a:lnTo>
                    <a:pt x="194" y="0"/>
                  </a:lnTo>
                  <a:lnTo>
                    <a:pt x="196" y="0"/>
                  </a:lnTo>
                  <a:lnTo>
                    <a:pt x="196" y="2"/>
                  </a:lnTo>
                  <a:lnTo>
                    <a:pt x="198" y="2"/>
                  </a:lnTo>
                  <a:lnTo>
                    <a:pt x="200" y="2"/>
                  </a:lnTo>
                  <a:lnTo>
                    <a:pt x="200" y="4"/>
                  </a:lnTo>
                  <a:close/>
                </a:path>
              </a:pathLst>
            </a:custGeom>
            <a:solidFill>
              <a:srgbClr val="EF9F4B"/>
            </a:solidFill>
            <a:ln w="3175">
              <a:solidFill>
                <a:sysClr val="window" lastClr="FFFF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black"/>
                </a:solidFill>
                <a:effectLst/>
                <a:uLnTx/>
                <a:uFillTx/>
                <a:ea typeface="宋体" panose="02010600030101010101" pitchFamily="2" charset="-122"/>
              </a:endParaRPr>
            </a:p>
          </p:txBody>
        </p:sp>
        <p:sp>
          <p:nvSpPr>
            <p:cNvPr id="34" name="Freeform 2655">
              <a:extLst>
                <a:ext uri="{FF2B5EF4-FFF2-40B4-BE49-F238E27FC236}">
                  <a16:creationId xmlns:a16="http://schemas.microsoft.com/office/drawing/2014/main" id="{383F71CA-6182-20B6-0BAD-949705D4AADB}"/>
                </a:ext>
              </a:extLst>
            </p:cNvPr>
            <p:cNvSpPr>
              <a:spLocks noEditPoints="1"/>
            </p:cNvSpPr>
            <p:nvPr/>
          </p:nvSpPr>
          <p:spPr bwMode="auto">
            <a:xfrm>
              <a:off x="5586413" y="2597150"/>
              <a:ext cx="490538" cy="519113"/>
            </a:xfrm>
            <a:custGeom>
              <a:avLst/>
              <a:gdLst>
                <a:gd name="T0" fmla="*/ 287 w 309"/>
                <a:gd name="T1" fmla="*/ 289 h 327"/>
                <a:gd name="T2" fmla="*/ 307 w 309"/>
                <a:gd name="T3" fmla="*/ 265 h 327"/>
                <a:gd name="T4" fmla="*/ 301 w 309"/>
                <a:gd name="T5" fmla="*/ 267 h 327"/>
                <a:gd name="T6" fmla="*/ 265 w 309"/>
                <a:gd name="T7" fmla="*/ 209 h 327"/>
                <a:gd name="T8" fmla="*/ 163 w 309"/>
                <a:gd name="T9" fmla="*/ 150 h 327"/>
                <a:gd name="T10" fmla="*/ 167 w 309"/>
                <a:gd name="T11" fmla="*/ 120 h 327"/>
                <a:gd name="T12" fmla="*/ 193 w 309"/>
                <a:gd name="T13" fmla="*/ 114 h 327"/>
                <a:gd name="T14" fmla="*/ 295 w 309"/>
                <a:gd name="T15" fmla="*/ 269 h 327"/>
                <a:gd name="T16" fmla="*/ 283 w 309"/>
                <a:gd name="T17" fmla="*/ 305 h 327"/>
                <a:gd name="T18" fmla="*/ 279 w 309"/>
                <a:gd name="T19" fmla="*/ 315 h 327"/>
                <a:gd name="T20" fmla="*/ 221 w 309"/>
                <a:gd name="T21" fmla="*/ 321 h 327"/>
                <a:gd name="T22" fmla="*/ 153 w 309"/>
                <a:gd name="T23" fmla="*/ 327 h 327"/>
                <a:gd name="T24" fmla="*/ 167 w 309"/>
                <a:gd name="T25" fmla="*/ 289 h 327"/>
                <a:gd name="T26" fmla="*/ 153 w 309"/>
                <a:gd name="T27" fmla="*/ 233 h 327"/>
                <a:gd name="T28" fmla="*/ 157 w 309"/>
                <a:gd name="T29" fmla="*/ 185 h 327"/>
                <a:gd name="T30" fmla="*/ 177 w 309"/>
                <a:gd name="T31" fmla="*/ 148 h 327"/>
                <a:gd name="T32" fmla="*/ 181 w 309"/>
                <a:gd name="T33" fmla="*/ 160 h 327"/>
                <a:gd name="T34" fmla="*/ 187 w 309"/>
                <a:gd name="T35" fmla="*/ 144 h 327"/>
                <a:gd name="T36" fmla="*/ 195 w 309"/>
                <a:gd name="T37" fmla="*/ 122 h 327"/>
                <a:gd name="T38" fmla="*/ 225 w 309"/>
                <a:gd name="T39" fmla="*/ 118 h 327"/>
                <a:gd name="T40" fmla="*/ 257 w 309"/>
                <a:gd name="T41" fmla="*/ 136 h 327"/>
                <a:gd name="T42" fmla="*/ 263 w 309"/>
                <a:gd name="T43" fmla="*/ 156 h 327"/>
                <a:gd name="T44" fmla="*/ 255 w 309"/>
                <a:gd name="T45" fmla="*/ 201 h 327"/>
                <a:gd name="T46" fmla="*/ 247 w 309"/>
                <a:gd name="T47" fmla="*/ 215 h 327"/>
                <a:gd name="T48" fmla="*/ 265 w 309"/>
                <a:gd name="T49" fmla="*/ 211 h 327"/>
                <a:gd name="T50" fmla="*/ 283 w 309"/>
                <a:gd name="T51" fmla="*/ 191 h 327"/>
                <a:gd name="T52" fmla="*/ 301 w 309"/>
                <a:gd name="T53" fmla="*/ 227 h 327"/>
                <a:gd name="T54" fmla="*/ 185 w 309"/>
                <a:gd name="T55" fmla="*/ 114 h 327"/>
                <a:gd name="T56" fmla="*/ 211 w 309"/>
                <a:gd name="T57" fmla="*/ 110 h 327"/>
                <a:gd name="T58" fmla="*/ 219 w 309"/>
                <a:gd name="T59" fmla="*/ 100 h 327"/>
                <a:gd name="T60" fmla="*/ 217 w 309"/>
                <a:gd name="T61" fmla="*/ 100 h 327"/>
                <a:gd name="T62" fmla="*/ 235 w 309"/>
                <a:gd name="T63" fmla="*/ 94 h 327"/>
                <a:gd name="T64" fmla="*/ 237 w 309"/>
                <a:gd name="T65" fmla="*/ 98 h 327"/>
                <a:gd name="T66" fmla="*/ 221 w 309"/>
                <a:gd name="T67" fmla="*/ 82 h 327"/>
                <a:gd name="T68" fmla="*/ 219 w 309"/>
                <a:gd name="T69" fmla="*/ 78 h 327"/>
                <a:gd name="T70" fmla="*/ 87 w 309"/>
                <a:gd name="T71" fmla="*/ 64 h 327"/>
                <a:gd name="T72" fmla="*/ 83 w 309"/>
                <a:gd name="T73" fmla="*/ 42 h 327"/>
                <a:gd name="T74" fmla="*/ 71 w 309"/>
                <a:gd name="T75" fmla="*/ 54 h 327"/>
                <a:gd name="T76" fmla="*/ 69 w 309"/>
                <a:gd name="T77" fmla="*/ 70 h 327"/>
                <a:gd name="T78" fmla="*/ 89 w 309"/>
                <a:gd name="T79" fmla="*/ 66 h 327"/>
                <a:gd name="T80" fmla="*/ 113 w 309"/>
                <a:gd name="T81" fmla="*/ 84 h 327"/>
                <a:gd name="T82" fmla="*/ 143 w 309"/>
                <a:gd name="T83" fmla="*/ 78 h 327"/>
                <a:gd name="T84" fmla="*/ 189 w 309"/>
                <a:gd name="T85" fmla="*/ 66 h 327"/>
                <a:gd name="T86" fmla="*/ 213 w 309"/>
                <a:gd name="T87" fmla="*/ 76 h 327"/>
                <a:gd name="T88" fmla="*/ 233 w 309"/>
                <a:gd name="T89" fmla="*/ 100 h 327"/>
                <a:gd name="T90" fmla="*/ 209 w 309"/>
                <a:gd name="T91" fmla="*/ 100 h 327"/>
                <a:gd name="T92" fmla="*/ 183 w 309"/>
                <a:gd name="T93" fmla="*/ 98 h 327"/>
                <a:gd name="T94" fmla="*/ 153 w 309"/>
                <a:gd name="T95" fmla="*/ 110 h 327"/>
                <a:gd name="T96" fmla="*/ 139 w 309"/>
                <a:gd name="T97" fmla="*/ 120 h 327"/>
                <a:gd name="T98" fmla="*/ 127 w 309"/>
                <a:gd name="T99" fmla="*/ 116 h 327"/>
                <a:gd name="T100" fmla="*/ 109 w 309"/>
                <a:gd name="T101" fmla="*/ 146 h 327"/>
                <a:gd name="T102" fmla="*/ 97 w 309"/>
                <a:gd name="T103" fmla="*/ 134 h 327"/>
                <a:gd name="T104" fmla="*/ 81 w 309"/>
                <a:gd name="T105" fmla="*/ 114 h 327"/>
                <a:gd name="T106" fmla="*/ 35 w 309"/>
                <a:gd name="T107" fmla="*/ 102 h 327"/>
                <a:gd name="T108" fmla="*/ 10 w 309"/>
                <a:gd name="T109" fmla="*/ 82 h 327"/>
                <a:gd name="T110" fmla="*/ 51 w 309"/>
                <a:gd name="T111" fmla="*/ 62 h 327"/>
                <a:gd name="T112" fmla="*/ 79 w 309"/>
                <a:gd name="T113" fmla="*/ 36 h 327"/>
                <a:gd name="T114" fmla="*/ 55 w 309"/>
                <a:gd name="T115" fmla="*/ 14 h 327"/>
                <a:gd name="T116" fmla="*/ 61 w 309"/>
                <a:gd name="T117" fmla="*/ 6 h 327"/>
                <a:gd name="T118" fmla="*/ 43 w 309"/>
                <a:gd name="T119" fmla="*/ 22 h 327"/>
                <a:gd name="T120" fmla="*/ 57 w 309"/>
                <a:gd name="T121" fmla="*/ 6 h 327"/>
                <a:gd name="T122" fmla="*/ 59 w 309"/>
                <a:gd name="T123" fmla="*/ 6 h 327"/>
                <a:gd name="T124" fmla="*/ 53 w 309"/>
                <a:gd name="T125" fmla="*/ 12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09" h="327">
                  <a:moveTo>
                    <a:pt x="279" y="315"/>
                  </a:moveTo>
                  <a:lnTo>
                    <a:pt x="281" y="315"/>
                  </a:lnTo>
                  <a:lnTo>
                    <a:pt x="279" y="315"/>
                  </a:lnTo>
                  <a:close/>
                  <a:moveTo>
                    <a:pt x="279" y="315"/>
                  </a:moveTo>
                  <a:lnTo>
                    <a:pt x="279" y="313"/>
                  </a:lnTo>
                  <a:lnTo>
                    <a:pt x="279" y="315"/>
                  </a:lnTo>
                  <a:close/>
                  <a:moveTo>
                    <a:pt x="285" y="299"/>
                  </a:moveTo>
                  <a:lnTo>
                    <a:pt x="287" y="299"/>
                  </a:lnTo>
                  <a:lnTo>
                    <a:pt x="285" y="299"/>
                  </a:lnTo>
                  <a:close/>
                  <a:moveTo>
                    <a:pt x="287" y="299"/>
                  </a:moveTo>
                  <a:lnTo>
                    <a:pt x="285" y="299"/>
                  </a:lnTo>
                  <a:lnTo>
                    <a:pt x="287" y="299"/>
                  </a:lnTo>
                  <a:lnTo>
                    <a:pt x="285" y="299"/>
                  </a:lnTo>
                  <a:lnTo>
                    <a:pt x="287" y="299"/>
                  </a:lnTo>
                  <a:close/>
                  <a:moveTo>
                    <a:pt x="285" y="299"/>
                  </a:moveTo>
                  <a:lnTo>
                    <a:pt x="287" y="299"/>
                  </a:lnTo>
                  <a:lnTo>
                    <a:pt x="285" y="299"/>
                  </a:lnTo>
                  <a:close/>
                  <a:moveTo>
                    <a:pt x="287" y="299"/>
                  </a:moveTo>
                  <a:lnTo>
                    <a:pt x="285" y="299"/>
                  </a:lnTo>
                  <a:lnTo>
                    <a:pt x="287" y="299"/>
                  </a:lnTo>
                  <a:close/>
                  <a:moveTo>
                    <a:pt x="287" y="295"/>
                  </a:moveTo>
                  <a:lnTo>
                    <a:pt x="285" y="295"/>
                  </a:lnTo>
                  <a:lnTo>
                    <a:pt x="287" y="295"/>
                  </a:lnTo>
                  <a:close/>
                  <a:moveTo>
                    <a:pt x="287" y="293"/>
                  </a:moveTo>
                  <a:lnTo>
                    <a:pt x="287" y="295"/>
                  </a:lnTo>
                  <a:lnTo>
                    <a:pt x="287" y="293"/>
                  </a:lnTo>
                  <a:close/>
                  <a:moveTo>
                    <a:pt x="287" y="289"/>
                  </a:moveTo>
                  <a:lnTo>
                    <a:pt x="287" y="291"/>
                  </a:lnTo>
                  <a:lnTo>
                    <a:pt x="287" y="293"/>
                  </a:lnTo>
                  <a:lnTo>
                    <a:pt x="287" y="295"/>
                  </a:lnTo>
                  <a:lnTo>
                    <a:pt x="285" y="295"/>
                  </a:lnTo>
                  <a:lnTo>
                    <a:pt x="285" y="293"/>
                  </a:lnTo>
                  <a:lnTo>
                    <a:pt x="285" y="291"/>
                  </a:lnTo>
                  <a:lnTo>
                    <a:pt x="287" y="291"/>
                  </a:lnTo>
                  <a:lnTo>
                    <a:pt x="287" y="289"/>
                  </a:lnTo>
                  <a:close/>
                  <a:moveTo>
                    <a:pt x="293" y="279"/>
                  </a:moveTo>
                  <a:lnTo>
                    <a:pt x="293" y="281"/>
                  </a:lnTo>
                  <a:lnTo>
                    <a:pt x="291" y="281"/>
                  </a:lnTo>
                  <a:lnTo>
                    <a:pt x="291" y="279"/>
                  </a:lnTo>
                  <a:lnTo>
                    <a:pt x="293" y="279"/>
                  </a:lnTo>
                  <a:lnTo>
                    <a:pt x="293" y="281"/>
                  </a:lnTo>
                  <a:lnTo>
                    <a:pt x="293" y="279"/>
                  </a:lnTo>
                  <a:close/>
                  <a:moveTo>
                    <a:pt x="303" y="271"/>
                  </a:moveTo>
                  <a:lnTo>
                    <a:pt x="301" y="271"/>
                  </a:lnTo>
                  <a:lnTo>
                    <a:pt x="303" y="271"/>
                  </a:lnTo>
                  <a:close/>
                  <a:moveTo>
                    <a:pt x="303" y="269"/>
                  </a:moveTo>
                  <a:lnTo>
                    <a:pt x="303" y="271"/>
                  </a:lnTo>
                  <a:lnTo>
                    <a:pt x="303" y="269"/>
                  </a:lnTo>
                  <a:close/>
                  <a:moveTo>
                    <a:pt x="301" y="269"/>
                  </a:moveTo>
                  <a:lnTo>
                    <a:pt x="303" y="269"/>
                  </a:lnTo>
                  <a:lnTo>
                    <a:pt x="301" y="269"/>
                  </a:lnTo>
                  <a:close/>
                  <a:moveTo>
                    <a:pt x="303" y="269"/>
                  </a:moveTo>
                  <a:lnTo>
                    <a:pt x="301" y="269"/>
                  </a:lnTo>
                  <a:lnTo>
                    <a:pt x="303" y="269"/>
                  </a:lnTo>
                  <a:lnTo>
                    <a:pt x="301" y="269"/>
                  </a:lnTo>
                  <a:lnTo>
                    <a:pt x="303" y="269"/>
                  </a:lnTo>
                  <a:close/>
                  <a:moveTo>
                    <a:pt x="303" y="269"/>
                  </a:moveTo>
                  <a:lnTo>
                    <a:pt x="301" y="269"/>
                  </a:lnTo>
                  <a:lnTo>
                    <a:pt x="303" y="269"/>
                  </a:lnTo>
                  <a:lnTo>
                    <a:pt x="301" y="269"/>
                  </a:lnTo>
                  <a:lnTo>
                    <a:pt x="303" y="269"/>
                  </a:lnTo>
                  <a:close/>
                  <a:moveTo>
                    <a:pt x="303" y="267"/>
                  </a:moveTo>
                  <a:lnTo>
                    <a:pt x="303" y="269"/>
                  </a:lnTo>
                  <a:lnTo>
                    <a:pt x="303" y="267"/>
                  </a:lnTo>
                  <a:close/>
                  <a:moveTo>
                    <a:pt x="301" y="267"/>
                  </a:moveTo>
                  <a:lnTo>
                    <a:pt x="303" y="267"/>
                  </a:lnTo>
                  <a:lnTo>
                    <a:pt x="301" y="267"/>
                  </a:lnTo>
                  <a:lnTo>
                    <a:pt x="303" y="267"/>
                  </a:lnTo>
                  <a:lnTo>
                    <a:pt x="301" y="267"/>
                  </a:lnTo>
                  <a:close/>
                  <a:moveTo>
                    <a:pt x="307" y="265"/>
                  </a:moveTo>
                  <a:lnTo>
                    <a:pt x="307" y="267"/>
                  </a:lnTo>
                  <a:lnTo>
                    <a:pt x="305" y="267"/>
                  </a:lnTo>
                  <a:lnTo>
                    <a:pt x="305" y="269"/>
                  </a:lnTo>
                  <a:lnTo>
                    <a:pt x="303" y="269"/>
                  </a:lnTo>
                  <a:lnTo>
                    <a:pt x="305" y="269"/>
                  </a:lnTo>
                  <a:lnTo>
                    <a:pt x="305" y="267"/>
                  </a:lnTo>
                  <a:lnTo>
                    <a:pt x="303" y="267"/>
                  </a:lnTo>
                  <a:lnTo>
                    <a:pt x="303" y="269"/>
                  </a:lnTo>
                  <a:lnTo>
                    <a:pt x="303" y="267"/>
                  </a:lnTo>
                  <a:lnTo>
                    <a:pt x="303" y="269"/>
                  </a:lnTo>
                  <a:lnTo>
                    <a:pt x="303" y="267"/>
                  </a:lnTo>
                  <a:lnTo>
                    <a:pt x="305" y="267"/>
                  </a:lnTo>
                  <a:lnTo>
                    <a:pt x="305" y="265"/>
                  </a:lnTo>
                  <a:lnTo>
                    <a:pt x="305" y="267"/>
                  </a:lnTo>
                  <a:lnTo>
                    <a:pt x="305" y="265"/>
                  </a:lnTo>
                  <a:lnTo>
                    <a:pt x="307" y="265"/>
                  </a:lnTo>
                  <a:close/>
                  <a:moveTo>
                    <a:pt x="305" y="267"/>
                  </a:moveTo>
                  <a:lnTo>
                    <a:pt x="307" y="267"/>
                  </a:lnTo>
                  <a:lnTo>
                    <a:pt x="305" y="267"/>
                  </a:lnTo>
                  <a:close/>
                  <a:moveTo>
                    <a:pt x="307" y="267"/>
                  </a:moveTo>
                  <a:lnTo>
                    <a:pt x="305" y="267"/>
                  </a:lnTo>
                  <a:lnTo>
                    <a:pt x="307" y="267"/>
                  </a:lnTo>
                  <a:close/>
                  <a:moveTo>
                    <a:pt x="305" y="269"/>
                  </a:moveTo>
                  <a:lnTo>
                    <a:pt x="305" y="267"/>
                  </a:lnTo>
                  <a:lnTo>
                    <a:pt x="305" y="269"/>
                  </a:lnTo>
                  <a:close/>
                  <a:moveTo>
                    <a:pt x="303" y="265"/>
                  </a:moveTo>
                  <a:lnTo>
                    <a:pt x="301" y="265"/>
                  </a:lnTo>
                  <a:lnTo>
                    <a:pt x="303" y="265"/>
                  </a:lnTo>
                  <a:close/>
                  <a:moveTo>
                    <a:pt x="301" y="265"/>
                  </a:moveTo>
                  <a:lnTo>
                    <a:pt x="301" y="267"/>
                  </a:lnTo>
                  <a:lnTo>
                    <a:pt x="303" y="267"/>
                  </a:lnTo>
                  <a:lnTo>
                    <a:pt x="301" y="267"/>
                  </a:lnTo>
                  <a:lnTo>
                    <a:pt x="301" y="265"/>
                  </a:lnTo>
                  <a:close/>
                  <a:moveTo>
                    <a:pt x="301" y="265"/>
                  </a:moveTo>
                  <a:lnTo>
                    <a:pt x="301" y="267"/>
                  </a:lnTo>
                  <a:lnTo>
                    <a:pt x="301" y="265"/>
                  </a:lnTo>
                  <a:close/>
                  <a:moveTo>
                    <a:pt x="303" y="265"/>
                  </a:moveTo>
                  <a:lnTo>
                    <a:pt x="305" y="265"/>
                  </a:lnTo>
                  <a:lnTo>
                    <a:pt x="305" y="267"/>
                  </a:lnTo>
                  <a:lnTo>
                    <a:pt x="303" y="267"/>
                  </a:lnTo>
                  <a:lnTo>
                    <a:pt x="303" y="265"/>
                  </a:lnTo>
                  <a:lnTo>
                    <a:pt x="303" y="267"/>
                  </a:lnTo>
                  <a:lnTo>
                    <a:pt x="303" y="265"/>
                  </a:lnTo>
                  <a:lnTo>
                    <a:pt x="303" y="267"/>
                  </a:lnTo>
                  <a:lnTo>
                    <a:pt x="301" y="267"/>
                  </a:lnTo>
                  <a:lnTo>
                    <a:pt x="303" y="267"/>
                  </a:lnTo>
                  <a:lnTo>
                    <a:pt x="301" y="267"/>
                  </a:lnTo>
                  <a:lnTo>
                    <a:pt x="303" y="267"/>
                  </a:lnTo>
                  <a:lnTo>
                    <a:pt x="303" y="265"/>
                  </a:lnTo>
                  <a:close/>
                  <a:moveTo>
                    <a:pt x="303" y="265"/>
                  </a:moveTo>
                  <a:lnTo>
                    <a:pt x="303" y="267"/>
                  </a:lnTo>
                  <a:lnTo>
                    <a:pt x="303" y="265"/>
                  </a:lnTo>
                  <a:close/>
                  <a:moveTo>
                    <a:pt x="303" y="265"/>
                  </a:moveTo>
                  <a:lnTo>
                    <a:pt x="301" y="265"/>
                  </a:lnTo>
                  <a:lnTo>
                    <a:pt x="303" y="265"/>
                  </a:lnTo>
                  <a:lnTo>
                    <a:pt x="301" y="265"/>
                  </a:lnTo>
                  <a:lnTo>
                    <a:pt x="303" y="265"/>
                  </a:lnTo>
                  <a:lnTo>
                    <a:pt x="301" y="265"/>
                  </a:lnTo>
                  <a:lnTo>
                    <a:pt x="303" y="265"/>
                  </a:lnTo>
                  <a:close/>
                  <a:moveTo>
                    <a:pt x="247" y="213"/>
                  </a:moveTo>
                  <a:lnTo>
                    <a:pt x="245" y="213"/>
                  </a:lnTo>
                  <a:lnTo>
                    <a:pt x="247" y="213"/>
                  </a:lnTo>
                  <a:close/>
                  <a:moveTo>
                    <a:pt x="267" y="207"/>
                  </a:moveTo>
                  <a:lnTo>
                    <a:pt x="265" y="207"/>
                  </a:lnTo>
                  <a:lnTo>
                    <a:pt x="267" y="207"/>
                  </a:lnTo>
                  <a:close/>
                  <a:moveTo>
                    <a:pt x="265" y="207"/>
                  </a:moveTo>
                  <a:lnTo>
                    <a:pt x="265" y="209"/>
                  </a:lnTo>
                  <a:lnTo>
                    <a:pt x="265" y="207"/>
                  </a:lnTo>
                  <a:close/>
                  <a:moveTo>
                    <a:pt x="265" y="207"/>
                  </a:moveTo>
                  <a:lnTo>
                    <a:pt x="265" y="209"/>
                  </a:lnTo>
                  <a:lnTo>
                    <a:pt x="265" y="207"/>
                  </a:lnTo>
                  <a:lnTo>
                    <a:pt x="265" y="209"/>
                  </a:lnTo>
                  <a:lnTo>
                    <a:pt x="265" y="207"/>
                  </a:lnTo>
                  <a:close/>
                  <a:moveTo>
                    <a:pt x="265" y="205"/>
                  </a:moveTo>
                  <a:lnTo>
                    <a:pt x="265" y="207"/>
                  </a:lnTo>
                  <a:lnTo>
                    <a:pt x="265" y="205"/>
                  </a:lnTo>
                  <a:close/>
                  <a:moveTo>
                    <a:pt x="253" y="199"/>
                  </a:moveTo>
                  <a:lnTo>
                    <a:pt x="255" y="199"/>
                  </a:lnTo>
                  <a:lnTo>
                    <a:pt x="253" y="199"/>
                  </a:lnTo>
                  <a:close/>
                  <a:moveTo>
                    <a:pt x="279" y="195"/>
                  </a:moveTo>
                  <a:lnTo>
                    <a:pt x="279" y="193"/>
                  </a:lnTo>
                  <a:lnTo>
                    <a:pt x="279" y="195"/>
                  </a:lnTo>
                  <a:close/>
                  <a:moveTo>
                    <a:pt x="181" y="162"/>
                  </a:moveTo>
                  <a:lnTo>
                    <a:pt x="181" y="164"/>
                  </a:lnTo>
                  <a:lnTo>
                    <a:pt x="181" y="162"/>
                  </a:lnTo>
                  <a:close/>
                  <a:moveTo>
                    <a:pt x="159" y="156"/>
                  </a:moveTo>
                  <a:lnTo>
                    <a:pt x="161" y="156"/>
                  </a:lnTo>
                  <a:lnTo>
                    <a:pt x="161" y="158"/>
                  </a:lnTo>
                  <a:lnTo>
                    <a:pt x="159" y="158"/>
                  </a:lnTo>
                  <a:lnTo>
                    <a:pt x="159" y="156"/>
                  </a:lnTo>
                  <a:close/>
                  <a:moveTo>
                    <a:pt x="265" y="142"/>
                  </a:moveTo>
                  <a:lnTo>
                    <a:pt x="265" y="144"/>
                  </a:lnTo>
                  <a:lnTo>
                    <a:pt x="265" y="142"/>
                  </a:lnTo>
                  <a:close/>
                  <a:moveTo>
                    <a:pt x="265" y="144"/>
                  </a:moveTo>
                  <a:lnTo>
                    <a:pt x="265" y="142"/>
                  </a:lnTo>
                  <a:lnTo>
                    <a:pt x="265" y="144"/>
                  </a:lnTo>
                  <a:close/>
                  <a:moveTo>
                    <a:pt x="263" y="142"/>
                  </a:moveTo>
                  <a:lnTo>
                    <a:pt x="265" y="142"/>
                  </a:lnTo>
                  <a:lnTo>
                    <a:pt x="263" y="142"/>
                  </a:lnTo>
                  <a:close/>
                  <a:moveTo>
                    <a:pt x="179" y="150"/>
                  </a:moveTo>
                  <a:lnTo>
                    <a:pt x="181" y="150"/>
                  </a:lnTo>
                  <a:lnTo>
                    <a:pt x="179" y="150"/>
                  </a:lnTo>
                  <a:close/>
                  <a:moveTo>
                    <a:pt x="161" y="148"/>
                  </a:moveTo>
                  <a:lnTo>
                    <a:pt x="163" y="148"/>
                  </a:lnTo>
                  <a:lnTo>
                    <a:pt x="163" y="150"/>
                  </a:lnTo>
                  <a:lnTo>
                    <a:pt x="165" y="150"/>
                  </a:lnTo>
                  <a:lnTo>
                    <a:pt x="165" y="152"/>
                  </a:lnTo>
                  <a:lnTo>
                    <a:pt x="165" y="154"/>
                  </a:lnTo>
                  <a:lnTo>
                    <a:pt x="163" y="154"/>
                  </a:lnTo>
                  <a:lnTo>
                    <a:pt x="163" y="152"/>
                  </a:lnTo>
                  <a:lnTo>
                    <a:pt x="161" y="152"/>
                  </a:lnTo>
                  <a:lnTo>
                    <a:pt x="161" y="150"/>
                  </a:lnTo>
                  <a:lnTo>
                    <a:pt x="161" y="148"/>
                  </a:lnTo>
                  <a:close/>
                  <a:moveTo>
                    <a:pt x="169" y="136"/>
                  </a:moveTo>
                  <a:lnTo>
                    <a:pt x="167" y="136"/>
                  </a:lnTo>
                  <a:lnTo>
                    <a:pt x="167" y="134"/>
                  </a:lnTo>
                  <a:lnTo>
                    <a:pt x="169" y="134"/>
                  </a:lnTo>
                  <a:lnTo>
                    <a:pt x="169" y="136"/>
                  </a:lnTo>
                  <a:close/>
                  <a:moveTo>
                    <a:pt x="169" y="130"/>
                  </a:moveTo>
                  <a:lnTo>
                    <a:pt x="171" y="130"/>
                  </a:lnTo>
                  <a:lnTo>
                    <a:pt x="171" y="132"/>
                  </a:lnTo>
                  <a:lnTo>
                    <a:pt x="169" y="132"/>
                  </a:lnTo>
                  <a:lnTo>
                    <a:pt x="169" y="130"/>
                  </a:lnTo>
                  <a:close/>
                  <a:moveTo>
                    <a:pt x="137" y="134"/>
                  </a:moveTo>
                  <a:lnTo>
                    <a:pt x="137" y="132"/>
                  </a:lnTo>
                  <a:lnTo>
                    <a:pt x="137" y="134"/>
                  </a:lnTo>
                  <a:close/>
                  <a:moveTo>
                    <a:pt x="135" y="134"/>
                  </a:moveTo>
                  <a:lnTo>
                    <a:pt x="135" y="132"/>
                  </a:lnTo>
                  <a:lnTo>
                    <a:pt x="135" y="134"/>
                  </a:lnTo>
                  <a:close/>
                  <a:moveTo>
                    <a:pt x="139" y="130"/>
                  </a:moveTo>
                  <a:lnTo>
                    <a:pt x="139" y="130"/>
                  </a:lnTo>
                  <a:lnTo>
                    <a:pt x="139" y="130"/>
                  </a:lnTo>
                  <a:lnTo>
                    <a:pt x="139" y="130"/>
                  </a:lnTo>
                  <a:lnTo>
                    <a:pt x="139" y="130"/>
                  </a:lnTo>
                  <a:close/>
                  <a:moveTo>
                    <a:pt x="137" y="128"/>
                  </a:moveTo>
                  <a:lnTo>
                    <a:pt x="137" y="130"/>
                  </a:lnTo>
                  <a:lnTo>
                    <a:pt x="137" y="128"/>
                  </a:lnTo>
                  <a:close/>
                  <a:moveTo>
                    <a:pt x="167" y="120"/>
                  </a:moveTo>
                  <a:lnTo>
                    <a:pt x="167" y="122"/>
                  </a:lnTo>
                  <a:lnTo>
                    <a:pt x="167" y="120"/>
                  </a:lnTo>
                  <a:close/>
                  <a:moveTo>
                    <a:pt x="173" y="118"/>
                  </a:moveTo>
                  <a:lnTo>
                    <a:pt x="173" y="120"/>
                  </a:lnTo>
                  <a:lnTo>
                    <a:pt x="173" y="122"/>
                  </a:lnTo>
                  <a:lnTo>
                    <a:pt x="171" y="122"/>
                  </a:lnTo>
                  <a:lnTo>
                    <a:pt x="171" y="120"/>
                  </a:lnTo>
                  <a:lnTo>
                    <a:pt x="173" y="120"/>
                  </a:lnTo>
                  <a:lnTo>
                    <a:pt x="171" y="120"/>
                  </a:lnTo>
                  <a:lnTo>
                    <a:pt x="173" y="120"/>
                  </a:lnTo>
                  <a:lnTo>
                    <a:pt x="171" y="120"/>
                  </a:lnTo>
                  <a:lnTo>
                    <a:pt x="171" y="118"/>
                  </a:lnTo>
                  <a:lnTo>
                    <a:pt x="173" y="118"/>
                  </a:lnTo>
                  <a:close/>
                  <a:moveTo>
                    <a:pt x="177" y="118"/>
                  </a:moveTo>
                  <a:lnTo>
                    <a:pt x="179" y="118"/>
                  </a:lnTo>
                  <a:lnTo>
                    <a:pt x="179" y="120"/>
                  </a:lnTo>
                  <a:lnTo>
                    <a:pt x="179" y="122"/>
                  </a:lnTo>
                  <a:lnTo>
                    <a:pt x="179" y="124"/>
                  </a:lnTo>
                  <a:lnTo>
                    <a:pt x="181" y="124"/>
                  </a:lnTo>
                  <a:lnTo>
                    <a:pt x="181" y="126"/>
                  </a:lnTo>
                  <a:lnTo>
                    <a:pt x="179" y="126"/>
                  </a:lnTo>
                  <a:lnTo>
                    <a:pt x="179" y="128"/>
                  </a:lnTo>
                  <a:lnTo>
                    <a:pt x="177" y="128"/>
                  </a:lnTo>
                  <a:lnTo>
                    <a:pt x="177" y="126"/>
                  </a:lnTo>
                  <a:lnTo>
                    <a:pt x="175" y="126"/>
                  </a:lnTo>
                  <a:lnTo>
                    <a:pt x="175" y="128"/>
                  </a:lnTo>
                  <a:lnTo>
                    <a:pt x="175" y="126"/>
                  </a:lnTo>
                  <a:lnTo>
                    <a:pt x="175" y="128"/>
                  </a:lnTo>
                  <a:lnTo>
                    <a:pt x="175" y="126"/>
                  </a:lnTo>
                  <a:lnTo>
                    <a:pt x="175" y="124"/>
                  </a:lnTo>
                  <a:lnTo>
                    <a:pt x="175" y="126"/>
                  </a:lnTo>
                  <a:lnTo>
                    <a:pt x="175" y="124"/>
                  </a:lnTo>
                  <a:lnTo>
                    <a:pt x="175" y="122"/>
                  </a:lnTo>
                  <a:lnTo>
                    <a:pt x="175" y="120"/>
                  </a:lnTo>
                  <a:lnTo>
                    <a:pt x="177" y="120"/>
                  </a:lnTo>
                  <a:lnTo>
                    <a:pt x="177" y="118"/>
                  </a:lnTo>
                  <a:close/>
                  <a:moveTo>
                    <a:pt x="193" y="114"/>
                  </a:moveTo>
                  <a:lnTo>
                    <a:pt x="193" y="116"/>
                  </a:lnTo>
                  <a:lnTo>
                    <a:pt x="193" y="114"/>
                  </a:lnTo>
                  <a:lnTo>
                    <a:pt x="193" y="116"/>
                  </a:lnTo>
                  <a:lnTo>
                    <a:pt x="193" y="114"/>
                  </a:lnTo>
                  <a:lnTo>
                    <a:pt x="193" y="116"/>
                  </a:lnTo>
                  <a:lnTo>
                    <a:pt x="193" y="114"/>
                  </a:lnTo>
                  <a:close/>
                  <a:moveTo>
                    <a:pt x="195" y="114"/>
                  </a:moveTo>
                  <a:lnTo>
                    <a:pt x="195" y="116"/>
                  </a:lnTo>
                  <a:lnTo>
                    <a:pt x="193" y="116"/>
                  </a:lnTo>
                  <a:lnTo>
                    <a:pt x="193" y="114"/>
                  </a:lnTo>
                  <a:lnTo>
                    <a:pt x="193" y="116"/>
                  </a:lnTo>
                  <a:lnTo>
                    <a:pt x="195" y="116"/>
                  </a:lnTo>
                  <a:lnTo>
                    <a:pt x="195" y="114"/>
                  </a:lnTo>
                  <a:close/>
                  <a:moveTo>
                    <a:pt x="173" y="118"/>
                  </a:moveTo>
                  <a:lnTo>
                    <a:pt x="171" y="118"/>
                  </a:lnTo>
                  <a:lnTo>
                    <a:pt x="171" y="116"/>
                  </a:lnTo>
                  <a:lnTo>
                    <a:pt x="171" y="118"/>
                  </a:lnTo>
                  <a:lnTo>
                    <a:pt x="173" y="118"/>
                  </a:lnTo>
                  <a:close/>
                  <a:moveTo>
                    <a:pt x="303" y="263"/>
                  </a:moveTo>
                  <a:lnTo>
                    <a:pt x="301" y="263"/>
                  </a:lnTo>
                  <a:lnTo>
                    <a:pt x="303" y="263"/>
                  </a:lnTo>
                  <a:lnTo>
                    <a:pt x="301" y="263"/>
                  </a:lnTo>
                  <a:lnTo>
                    <a:pt x="299" y="263"/>
                  </a:lnTo>
                  <a:lnTo>
                    <a:pt x="299" y="265"/>
                  </a:lnTo>
                  <a:lnTo>
                    <a:pt x="297" y="265"/>
                  </a:lnTo>
                  <a:lnTo>
                    <a:pt x="295" y="265"/>
                  </a:lnTo>
                  <a:lnTo>
                    <a:pt x="297" y="267"/>
                  </a:lnTo>
                  <a:lnTo>
                    <a:pt x="295" y="267"/>
                  </a:lnTo>
                  <a:lnTo>
                    <a:pt x="297" y="267"/>
                  </a:lnTo>
                  <a:lnTo>
                    <a:pt x="295" y="267"/>
                  </a:lnTo>
                  <a:lnTo>
                    <a:pt x="297" y="267"/>
                  </a:lnTo>
                  <a:lnTo>
                    <a:pt x="299" y="267"/>
                  </a:lnTo>
                  <a:lnTo>
                    <a:pt x="297" y="267"/>
                  </a:lnTo>
                  <a:lnTo>
                    <a:pt x="297" y="269"/>
                  </a:lnTo>
                  <a:lnTo>
                    <a:pt x="295" y="269"/>
                  </a:lnTo>
                  <a:lnTo>
                    <a:pt x="295" y="271"/>
                  </a:lnTo>
                  <a:lnTo>
                    <a:pt x="295" y="273"/>
                  </a:lnTo>
                  <a:lnTo>
                    <a:pt x="295" y="273"/>
                  </a:lnTo>
                  <a:lnTo>
                    <a:pt x="295" y="275"/>
                  </a:lnTo>
                  <a:lnTo>
                    <a:pt x="295" y="277"/>
                  </a:lnTo>
                  <a:lnTo>
                    <a:pt x="295" y="279"/>
                  </a:lnTo>
                  <a:lnTo>
                    <a:pt x="293" y="279"/>
                  </a:lnTo>
                  <a:lnTo>
                    <a:pt x="291" y="279"/>
                  </a:lnTo>
                  <a:lnTo>
                    <a:pt x="291" y="281"/>
                  </a:lnTo>
                  <a:lnTo>
                    <a:pt x="289" y="281"/>
                  </a:lnTo>
                  <a:lnTo>
                    <a:pt x="289" y="283"/>
                  </a:lnTo>
                  <a:lnTo>
                    <a:pt x="287" y="283"/>
                  </a:lnTo>
                  <a:lnTo>
                    <a:pt x="287" y="285"/>
                  </a:lnTo>
                  <a:lnTo>
                    <a:pt x="287" y="287"/>
                  </a:lnTo>
                  <a:lnTo>
                    <a:pt x="285" y="287"/>
                  </a:lnTo>
                  <a:lnTo>
                    <a:pt x="287" y="287"/>
                  </a:lnTo>
                  <a:lnTo>
                    <a:pt x="287" y="289"/>
                  </a:lnTo>
                  <a:lnTo>
                    <a:pt x="285" y="289"/>
                  </a:lnTo>
                  <a:lnTo>
                    <a:pt x="285" y="291"/>
                  </a:lnTo>
                  <a:lnTo>
                    <a:pt x="285" y="293"/>
                  </a:lnTo>
                  <a:lnTo>
                    <a:pt x="285" y="295"/>
                  </a:lnTo>
                  <a:lnTo>
                    <a:pt x="285" y="297"/>
                  </a:lnTo>
                  <a:lnTo>
                    <a:pt x="285" y="299"/>
                  </a:lnTo>
                  <a:lnTo>
                    <a:pt x="285" y="297"/>
                  </a:lnTo>
                  <a:lnTo>
                    <a:pt x="285" y="299"/>
                  </a:lnTo>
                  <a:lnTo>
                    <a:pt x="285" y="297"/>
                  </a:lnTo>
                  <a:lnTo>
                    <a:pt x="285" y="299"/>
                  </a:lnTo>
                  <a:lnTo>
                    <a:pt x="285" y="297"/>
                  </a:lnTo>
                  <a:lnTo>
                    <a:pt x="285" y="299"/>
                  </a:lnTo>
                  <a:lnTo>
                    <a:pt x="285" y="297"/>
                  </a:lnTo>
                  <a:lnTo>
                    <a:pt x="285" y="299"/>
                  </a:lnTo>
                  <a:lnTo>
                    <a:pt x="285" y="301"/>
                  </a:lnTo>
                  <a:lnTo>
                    <a:pt x="283" y="301"/>
                  </a:lnTo>
                  <a:lnTo>
                    <a:pt x="283" y="303"/>
                  </a:lnTo>
                  <a:lnTo>
                    <a:pt x="283" y="305"/>
                  </a:lnTo>
                  <a:lnTo>
                    <a:pt x="283" y="303"/>
                  </a:lnTo>
                  <a:lnTo>
                    <a:pt x="283" y="305"/>
                  </a:lnTo>
                  <a:lnTo>
                    <a:pt x="283" y="305"/>
                  </a:lnTo>
                  <a:lnTo>
                    <a:pt x="283" y="303"/>
                  </a:lnTo>
                  <a:lnTo>
                    <a:pt x="283" y="305"/>
                  </a:lnTo>
                  <a:lnTo>
                    <a:pt x="283" y="307"/>
                  </a:lnTo>
                  <a:lnTo>
                    <a:pt x="283" y="305"/>
                  </a:lnTo>
                  <a:lnTo>
                    <a:pt x="283" y="307"/>
                  </a:lnTo>
                  <a:lnTo>
                    <a:pt x="281" y="307"/>
                  </a:lnTo>
                  <a:lnTo>
                    <a:pt x="283" y="307"/>
                  </a:lnTo>
                  <a:lnTo>
                    <a:pt x="281" y="307"/>
                  </a:lnTo>
                  <a:lnTo>
                    <a:pt x="283" y="307"/>
                  </a:lnTo>
                  <a:lnTo>
                    <a:pt x="281" y="309"/>
                  </a:lnTo>
                  <a:lnTo>
                    <a:pt x="281" y="307"/>
                  </a:lnTo>
                  <a:lnTo>
                    <a:pt x="281" y="309"/>
                  </a:lnTo>
                  <a:lnTo>
                    <a:pt x="281" y="311"/>
                  </a:lnTo>
                  <a:lnTo>
                    <a:pt x="279" y="311"/>
                  </a:lnTo>
                  <a:lnTo>
                    <a:pt x="281" y="311"/>
                  </a:lnTo>
                  <a:lnTo>
                    <a:pt x="281" y="313"/>
                  </a:lnTo>
                  <a:lnTo>
                    <a:pt x="279" y="313"/>
                  </a:lnTo>
                  <a:lnTo>
                    <a:pt x="279" y="315"/>
                  </a:lnTo>
                  <a:lnTo>
                    <a:pt x="281" y="315"/>
                  </a:lnTo>
                  <a:lnTo>
                    <a:pt x="279" y="315"/>
                  </a:lnTo>
                  <a:lnTo>
                    <a:pt x="279" y="313"/>
                  </a:lnTo>
                  <a:lnTo>
                    <a:pt x="279" y="315"/>
                  </a:lnTo>
                  <a:lnTo>
                    <a:pt x="279" y="313"/>
                  </a:lnTo>
                  <a:lnTo>
                    <a:pt x="279" y="315"/>
                  </a:lnTo>
                  <a:lnTo>
                    <a:pt x="279" y="313"/>
                  </a:lnTo>
                  <a:lnTo>
                    <a:pt x="279" y="315"/>
                  </a:lnTo>
                  <a:lnTo>
                    <a:pt x="279" y="313"/>
                  </a:lnTo>
                  <a:lnTo>
                    <a:pt x="279" y="315"/>
                  </a:lnTo>
                  <a:lnTo>
                    <a:pt x="279" y="313"/>
                  </a:lnTo>
                  <a:lnTo>
                    <a:pt x="279" y="315"/>
                  </a:lnTo>
                  <a:lnTo>
                    <a:pt x="279" y="313"/>
                  </a:lnTo>
                  <a:lnTo>
                    <a:pt x="279" y="315"/>
                  </a:lnTo>
                  <a:lnTo>
                    <a:pt x="277" y="315"/>
                  </a:lnTo>
                  <a:lnTo>
                    <a:pt x="277" y="317"/>
                  </a:lnTo>
                  <a:lnTo>
                    <a:pt x="275" y="317"/>
                  </a:lnTo>
                  <a:lnTo>
                    <a:pt x="273" y="317"/>
                  </a:lnTo>
                  <a:lnTo>
                    <a:pt x="271" y="317"/>
                  </a:lnTo>
                  <a:lnTo>
                    <a:pt x="269" y="317"/>
                  </a:lnTo>
                  <a:lnTo>
                    <a:pt x="267" y="317"/>
                  </a:lnTo>
                  <a:lnTo>
                    <a:pt x="267" y="319"/>
                  </a:lnTo>
                  <a:lnTo>
                    <a:pt x="265" y="319"/>
                  </a:lnTo>
                  <a:lnTo>
                    <a:pt x="263" y="319"/>
                  </a:lnTo>
                  <a:lnTo>
                    <a:pt x="261" y="319"/>
                  </a:lnTo>
                  <a:lnTo>
                    <a:pt x="259" y="319"/>
                  </a:lnTo>
                  <a:lnTo>
                    <a:pt x="257" y="319"/>
                  </a:lnTo>
                  <a:lnTo>
                    <a:pt x="255" y="319"/>
                  </a:lnTo>
                  <a:lnTo>
                    <a:pt x="253" y="321"/>
                  </a:lnTo>
                  <a:lnTo>
                    <a:pt x="251" y="321"/>
                  </a:lnTo>
                  <a:lnTo>
                    <a:pt x="249" y="321"/>
                  </a:lnTo>
                  <a:lnTo>
                    <a:pt x="247" y="321"/>
                  </a:lnTo>
                  <a:lnTo>
                    <a:pt x="245" y="321"/>
                  </a:lnTo>
                  <a:lnTo>
                    <a:pt x="243" y="321"/>
                  </a:lnTo>
                  <a:lnTo>
                    <a:pt x="241" y="321"/>
                  </a:lnTo>
                  <a:lnTo>
                    <a:pt x="241" y="321"/>
                  </a:lnTo>
                  <a:lnTo>
                    <a:pt x="239" y="321"/>
                  </a:lnTo>
                  <a:lnTo>
                    <a:pt x="237" y="321"/>
                  </a:lnTo>
                  <a:lnTo>
                    <a:pt x="235" y="321"/>
                  </a:lnTo>
                  <a:lnTo>
                    <a:pt x="235" y="321"/>
                  </a:lnTo>
                  <a:lnTo>
                    <a:pt x="233" y="321"/>
                  </a:lnTo>
                  <a:lnTo>
                    <a:pt x="231" y="321"/>
                  </a:lnTo>
                  <a:lnTo>
                    <a:pt x="229" y="323"/>
                  </a:lnTo>
                  <a:lnTo>
                    <a:pt x="227" y="323"/>
                  </a:lnTo>
                  <a:lnTo>
                    <a:pt x="227" y="321"/>
                  </a:lnTo>
                  <a:lnTo>
                    <a:pt x="227" y="321"/>
                  </a:lnTo>
                  <a:lnTo>
                    <a:pt x="225" y="321"/>
                  </a:lnTo>
                  <a:lnTo>
                    <a:pt x="223" y="321"/>
                  </a:lnTo>
                  <a:lnTo>
                    <a:pt x="221" y="321"/>
                  </a:lnTo>
                  <a:lnTo>
                    <a:pt x="219" y="321"/>
                  </a:lnTo>
                  <a:lnTo>
                    <a:pt x="217" y="321"/>
                  </a:lnTo>
                  <a:lnTo>
                    <a:pt x="217" y="321"/>
                  </a:lnTo>
                  <a:lnTo>
                    <a:pt x="215" y="321"/>
                  </a:lnTo>
                  <a:lnTo>
                    <a:pt x="213" y="321"/>
                  </a:lnTo>
                  <a:lnTo>
                    <a:pt x="211" y="321"/>
                  </a:lnTo>
                  <a:lnTo>
                    <a:pt x="209" y="321"/>
                  </a:lnTo>
                  <a:lnTo>
                    <a:pt x="207" y="321"/>
                  </a:lnTo>
                  <a:lnTo>
                    <a:pt x="205" y="321"/>
                  </a:lnTo>
                  <a:lnTo>
                    <a:pt x="203" y="321"/>
                  </a:lnTo>
                  <a:lnTo>
                    <a:pt x="201" y="321"/>
                  </a:lnTo>
                  <a:lnTo>
                    <a:pt x="199" y="321"/>
                  </a:lnTo>
                  <a:lnTo>
                    <a:pt x="197" y="323"/>
                  </a:lnTo>
                  <a:lnTo>
                    <a:pt x="195" y="323"/>
                  </a:lnTo>
                  <a:lnTo>
                    <a:pt x="193" y="323"/>
                  </a:lnTo>
                  <a:lnTo>
                    <a:pt x="191" y="323"/>
                  </a:lnTo>
                  <a:lnTo>
                    <a:pt x="187" y="323"/>
                  </a:lnTo>
                  <a:lnTo>
                    <a:pt x="187" y="323"/>
                  </a:lnTo>
                  <a:lnTo>
                    <a:pt x="185" y="323"/>
                  </a:lnTo>
                  <a:lnTo>
                    <a:pt x="183" y="323"/>
                  </a:lnTo>
                  <a:lnTo>
                    <a:pt x="181" y="323"/>
                  </a:lnTo>
                  <a:lnTo>
                    <a:pt x="179" y="323"/>
                  </a:lnTo>
                  <a:lnTo>
                    <a:pt x="179" y="325"/>
                  </a:lnTo>
                  <a:lnTo>
                    <a:pt x="177" y="325"/>
                  </a:lnTo>
                  <a:lnTo>
                    <a:pt x="175" y="325"/>
                  </a:lnTo>
                  <a:lnTo>
                    <a:pt x="173" y="325"/>
                  </a:lnTo>
                  <a:lnTo>
                    <a:pt x="171" y="325"/>
                  </a:lnTo>
                  <a:lnTo>
                    <a:pt x="169" y="325"/>
                  </a:lnTo>
                  <a:lnTo>
                    <a:pt x="167" y="325"/>
                  </a:lnTo>
                  <a:lnTo>
                    <a:pt x="165" y="325"/>
                  </a:lnTo>
                  <a:lnTo>
                    <a:pt x="163" y="325"/>
                  </a:lnTo>
                  <a:lnTo>
                    <a:pt x="161" y="325"/>
                  </a:lnTo>
                  <a:lnTo>
                    <a:pt x="159" y="325"/>
                  </a:lnTo>
                  <a:lnTo>
                    <a:pt x="155" y="327"/>
                  </a:lnTo>
                  <a:lnTo>
                    <a:pt x="153" y="327"/>
                  </a:lnTo>
                  <a:lnTo>
                    <a:pt x="151" y="327"/>
                  </a:lnTo>
                  <a:lnTo>
                    <a:pt x="149" y="327"/>
                  </a:lnTo>
                  <a:lnTo>
                    <a:pt x="147" y="327"/>
                  </a:lnTo>
                  <a:lnTo>
                    <a:pt x="149" y="325"/>
                  </a:lnTo>
                  <a:lnTo>
                    <a:pt x="151" y="323"/>
                  </a:lnTo>
                  <a:lnTo>
                    <a:pt x="153" y="323"/>
                  </a:lnTo>
                  <a:lnTo>
                    <a:pt x="153" y="321"/>
                  </a:lnTo>
                  <a:lnTo>
                    <a:pt x="153" y="321"/>
                  </a:lnTo>
                  <a:lnTo>
                    <a:pt x="155" y="321"/>
                  </a:lnTo>
                  <a:lnTo>
                    <a:pt x="155" y="319"/>
                  </a:lnTo>
                  <a:lnTo>
                    <a:pt x="155" y="317"/>
                  </a:lnTo>
                  <a:lnTo>
                    <a:pt x="157" y="317"/>
                  </a:lnTo>
                  <a:lnTo>
                    <a:pt x="157" y="315"/>
                  </a:lnTo>
                  <a:lnTo>
                    <a:pt x="157" y="313"/>
                  </a:lnTo>
                  <a:lnTo>
                    <a:pt x="157" y="311"/>
                  </a:lnTo>
                  <a:lnTo>
                    <a:pt x="159" y="311"/>
                  </a:lnTo>
                  <a:lnTo>
                    <a:pt x="159" y="309"/>
                  </a:lnTo>
                  <a:lnTo>
                    <a:pt x="159" y="307"/>
                  </a:lnTo>
                  <a:lnTo>
                    <a:pt x="161" y="307"/>
                  </a:lnTo>
                  <a:lnTo>
                    <a:pt x="161" y="305"/>
                  </a:lnTo>
                  <a:lnTo>
                    <a:pt x="161" y="303"/>
                  </a:lnTo>
                  <a:lnTo>
                    <a:pt x="163" y="303"/>
                  </a:lnTo>
                  <a:lnTo>
                    <a:pt x="163" y="301"/>
                  </a:lnTo>
                  <a:lnTo>
                    <a:pt x="163" y="299"/>
                  </a:lnTo>
                  <a:lnTo>
                    <a:pt x="165" y="299"/>
                  </a:lnTo>
                  <a:lnTo>
                    <a:pt x="165" y="297"/>
                  </a:lnTo>
                  <a:lnTo>
                    <a:pt x="165" y="295"/>
                  </a:lnTo>
                  <a:lnTo>
                    <a:pt x="165" y="293"/>
                  </a:lnTo>
                  <a:lnTo>
                    <a:pt x="167" y="293"/>
                  </a:lnTo>
                  <a:lnTo>
                    <a:pt x="167" y="291"/>
                  </a:lnTo>
                  <a:lnTo>
                    <a:pt x="167" y="293"/>
                  </a:lnTo>
                  <a:lnTo>
                    <a:pt x="165" y="293"/>
                  </a:lnTo>
                  <a:lnTo>
                    <a:pt x="165" y="291"/>
                  </a:lnTo>
                  <a:lnTo>
                    <a:pt x="167" y="291"/>
                  </a:lnTo>
                  <a:lnTo>
                    <a:pt x="167" y="289"/>
                  </a:lnTo>
                  <a:lnTo>
                    <a:pt x="167" y="287"/>
                  </a:lnTo>
                  <a:lnTo>
                    <a:pt x="167" y="285"/>
                  </a:lnTo>
                  <a:lnTo>
                    <a:pt x="167" y="283"/>
                  </a:lnTo>
                  <a:lnTo>
                    <a:pt x="167" y="281"/>
                  </a:lnTo>
                  <a:lnTo>
                    <a:pt x="167" y="279"/>
                  </a:lnTo>
                  <a:lnTo>
                    <a:pt x="167" y="277"/>
                  </a:lnTo>
                  <a:lnTo>
                    <a:pt x="167" y="275"/>
                  </a:lnTo>
                  <a:lnTo>
                    <a:pt x="167" y="273"/>
                  </a:lnTo>
                  <a:lnTo>
                    <a:pt x="167" y="273"/>
                  </a:lnTo>
                  <a:lnTo>
                    <a:pt x="167" y="271"/>
                  </a:lnTo>
                  <a:lnTo>
                    <a:pt x="167" y="269"/>
                  </a:lnTo>
                  <a:lnTo>
                    <a:pt x="167" y="267"/>
                  </a:lnTo>
                  <a:lnTo>
                    <a:pt x="165" y="267"/>
                  </a:lnTo>
                  <a:lnTo>
                    <a:pt x="165" y="265"/>
                  </a:lnTo>
                  <a:lnTo>
                    <a:pt x="165" y="263"/>
                  </a:lnTo>
                  <a:lnTo>
                    <a:pt x="165" y="261"/>
                  </a:lnTo>
                  <a:lnTo>
                    <a:pt x="165" y="259"/>
                  </a:lnTo>
                  <a:lnTo>
                    <a:pt x="163" y="259"/>
                  </a:lnTo>
                  <a:lnTo>
                    <a:pt x="163" y="257"/>
                  </a:lnTo>
                  <a:lnTo>
                    <a:pt x="163" y="255"/>
                  </a:lnTo>
                  <a:lnTo>
                    <a:pt x="161" y="253"/>
                  </a:lnTo>
                  <a:lnTo>
                    <a:pt x="161" y="251"/>
                  </a:lnTo>
                  <a:lnTo>
                    <a:pt x="159" y="251"/>
                  </a:lnTo>
                  <a:lnTo>
                    <a:pt x="159" y="249"/>
                  </a:lnTo>
                  <a:lnTo>
                    <a:pt x="159" y="247"/>
                  </a:lnTo>
                  <a:lnTo>
                    <a:pt x="157" y="247"/>
                  </a:lnTo>
                  <a:lnTo>
                    <a:pt x="157" y="245"/>
                  </a:lnTo>
                  <a:lnTo>
                    <a:pt x="157" y="243"/>
                  </a:lnTo>
                  <a:lnTo>
                    <a:pt x="155" y="243"/>
                  </a:lnTo>
                  <a:lnTo>
                    <a:pt x="155" y="241"/>
                  </a:lnTo>
                  <a:lnTo>
                    <a:pt x="155" y="239"/>
                  </a:lnTo>
                  <a:lnTo>
                    <a:pt x="153" y="239"/>
                  </a:lnTo>
                  <a:lnTo>
                    <a:pt x="153" y="237"/>
                  </a:lnTo>
                  <a:lnTo>
                    <a:pt x="153" y="235"/>
                  </a:lnTo>
                  <a:lnTo>
                    <a:pt x="153" y="233"/>
                  </a:lnTo>
                  <a:lnTo>
                    <a:pt x="151" y="233"/>
                  </a:lnTo>
                  <a:lnTo>
                    <a:pt x="151" y="231"/>
                  </a:lnTo>
                  <a:lnTo>
                    <a:pt x="151" y="229"/>
                  </a:lnTo>
                  <a:lnTo>
                    <a:pt x="149" y="229"/>
                  </a:lnTo>
                  <a:lnTo>
                    <a:pt x="149" y="227"/>
                  </a:lnTo>
                  <a:lnTo>
                    <a:pt x="151" y="227"/>
                  </a:lnTo>
                  <a:lnTo>
                    <a:pt x="151" y="227"/>
                  </a:lnTo>
                  <a:lnTo>
                    <a:pt x="151" y="225"/>
                  </a:lnTo>
                  <a:lnTo>
                    <a:pt x="153" y="225"/>
                  </a:lnTo>
                  <a:lnTo>
                    <a:pt x="153" y="223"/>
                  </a:lnTo>
                  <a:lnTo>
                    <a:pt x="153" y="221"/>
                  </a:lnTo>
                  <a:lnTo>
                    <a:pt x="153" y="219"/>
                  </a:lnTo>
                  <a:lnTo>
                    <a:pt x="153" y="217"/>
                  </a:lnTo>
                  <a:lnTo>
                    <a:pt x="153" y="215"/>
                  </a:lnTo>
                  <a:lnTo>
                    <a:pt x="151" y="215"/>
                  </a:lnTo>
                  <a:lnTo>
                    <a:pt x="151" y="213"/>
                  </a:lnTo>
                  <a:lnTo>
                    <a:pt x="151" y="211"/>
                  </a:lnTo>
                  <a:lnTo>
                    <a:pt x="149" y="211"/>
                  </a:lnTo>
                  <a:lnTo>
                    <a:pt x="149" y="209"/>
                  </a:lnTo>
                  <a:lnTo>
                    <a:pt x="149" y="207"/>
                  </a:lnTo>
                  <a:lnTo>
                    <a:pt x="151" y="207"/>
                  </a:lnTo>
                  <a:lnTo>
                    <a:pt x="151" y="205"/>
                  </a:lnTo>
                  <a:lnTo>
                    <a:pt x="153" y="205"/>
                  </a:lnTo>
                  <a:lnTo>
                    <a:pt x="153" y="203"/>
                  </a:lnTo>
                  <a:lnTo>
                    <a:pt x="153" y="201"/>
                  </a:lnTo>
                  <a:lnTo>
                    <a:pt x="153" y="199"/>
                  </a:lnTo>
                  <a:lnTo>
                    <a:pt x="155" y="199"/>
                  </a:lnTo>
                  <a:lnTo>
                    <a:pt x="155" y="197"/>
                  </a:lnTo>
                  <a:lnTo>
                    <a:pt x="155" y="195"/>
                  </a:lnTo>
                  <a:lnTo>
                    <a:pt x="157" y="195"/>
                  </a:lnTo>
                  <a:lnTo>
                    <a:pt x="157" y="193"/>
                  </a:lnTo>
                  <a:lnTo>
                    <a:pt x="157" y="191"/>
                  </a:lnTo>
                  <a:lnTo>
                    <a:pt x="157" y="189"/>
                  </a:lnTo>
                  <a:lnTo>
                    <a:pt x="157" y="187"/>
                  </a:lnTo>
                  <a:lnTo>
                    <a:pt x="157" y="185"/>
                  </a:lnTo>
                  <a:lnTo>
                    <a:pt x="157" y="183"/>
                  </a:lnTo>
                  <a:lnTo>
                    <a:pt x="157" y="181"/>
                  </a:lnTo>
                  <a:lnTo>
                    <a:pt x="157" y="179"/>
                  </a:lnTo>
                  <a:lnTo>
                    <a:pt x="157" y="179"/>
                  </a:lnTo>
                  <a:lnTo>
                    <a:pt x="157" y="177"/>
                  </a:lnTo>
                  <a:lnTo>
                    <a:pt x="155" y="177"/>
                  </a:lnTo>
                  <a:lnTo>
                    <a:pt x="155" y="174"/>
                  </a:lnTo>
                  <a:lnTo>
                    <a:pt x="157" y="174"/>
                  </a:lnTo>
                  <a:lnTo>
                    <a:pt x="159" y="174"/>
                  </a:lnTo>
                  <a:lnTo>
                    <a:pt x="159" y="172"/>
                  </a:lnTo>
                  <a:lnTo>
                    <a:pt x="161" y="172"/>
                  </a:lnTo>
                  <a:lnTo>
                    <a:pt x="161" y="170"/>
                  </a:lnTo>
                  <a:lnTo>
                    <a:pt x="163" y="170"/>
                  </a:lnTo>
                  <a:lnTo>
                    <a:pt x="163" y="168"/>
                  </a:lnTo>
                  <a:lnTo>
                    <a:pt x="163" y="166"/>
                  </a:lnTo>
                  <a:lnTo>
                    <a:pt x="163" y="164"/>
                  </a:lnTo>
                  <a:lnTo>
                    <a:pt x="161" y="164"/>
                  </a:lnTo>
                  <a:lnTo>
                    <a:pt x="161" y="162"/>
                  </a:lnTo>
                  <a:lnTo>
                    <a:pt x="163" y="162"/>
                  </a:lnTo>
                  <a:lnTo>
                    <a:pt x="165" y="162"/>
                  </a:lnTo>
                  <a:lnTo>
                    <a:pt x="165" y="160"/>
                  </a:lnTo>
                  <a:lnTo>
                    <a:pt x="167" y="160"/>
                  </a:lnTo>
                  <a:lnTo>
                    <a:pt x="167" y="158"/>
                  </a:lnTo>
                  <a:lnTo>
                    <a:pt x="169" y="158"/>
                  </a:lnTo>
                  <a:lnTo>
                    <a:pt x="169" y="160"/>
                  </a:lnTo>
                  <a:lnTo>
                    <a:pt x="171" y="160"/>
                  </a:lnTo>
                  <a:lnTo>
                    <a:pt x="171" y="158"/>
                  </a:lnTo>
                  <a:lnTo>
                    <a:pt x="173" y="158"/>
                  </a:lnTo>
                  <a:lnTo>
                    <a:pt x="173" y="156"/>
                  </a:lnTo>
                  <a:lnTo>
                    <a:pt x="173" y="154"/>
                  </a:lnTo>
                  <a:lnTo>
                    <a:pt x="175" y="154"/>
                  </a:lnTo>
                  <a:lnTo>
                    <a:pt x="175" y="152"/>
                  </a:lnTo>
                  <a:lnTo>
                    <a:pt x="175" y="150"/>
                  </a:lnTo>
                  <a:lnTo>
                    <a:pt x="177" y="150"/>
                  </a:lnTo>
                  <a:lnTo>
                    <a:pt x="177" y="148"/>
                  </a:lnTo>
                  <a:lnTo>
                    <a:pt x="177" y="146"/>
                  </a:lnTo>
                  <a:lnTo>
                    <a:pt x="179" y="146"/>
                  </a:lnTo>
                  <a:lnTo>
                    <a:pt x="179" y="144"/>
                  </a:lnTo>
                  <a:lnTo>
                    <a:pt x="181" y="144"/>
                  </a:lnTo>
                  <a:lnTo>
                    <a:pt x="181" y="146"/>
                  </a:lnTo>
                  <a:lnTo>
                    <a:pt x="179" y="148"/>
                  </a:lnTo>
                  <a:lnTo>
                    <a:pt x="181" y="148"/>
                  </a:lnTo>
                  <a:lnTo>
                    <a:pt x="179" y="148"/>
                  </a:lnTo>
                  <a:lnTo>
                    <a:pt x="181" y="148"/>
                  </a:lnTo>
                  <a:lnTo>
                    <a:pt x="179" y="148"/>
                  </a:lnTo>
                  <a:lnTo>
                    <a:pt x="179" y="150"/>
                  </a:lnTo>
                  <a:lnTo>
                    <a:pt x="179" y="152"/>
                  </a:lnTo>
                  <a:lnTo>
                    <a:pt x="181" y="152"/>
                  </a:lnTo>
                  <a:lnTo>
                    <a:pt x="181" y="154"/>
                  </a:lnTo>
                  <a:lnTo>
                    <a:pt x="179" y="154"/>
                  </a:lnTo>
                  <a:lnTo>
                    <a:pt x="179" y="152"/>
                  </a:lnTo>
                  <a:lnTo>
                    <a:pt x="179" y="154"/>
                  </a:lnTo>
                  <a:lnTo>
                    <a:pt x="179" y="156"/>
                  </a:lnTo>
                  <a:lnTo>
                    <a:pt x="177" y="156"/>
                  </a:lnTo>
                  <a:lnTo>
                    <a:pt x="177" y="158"/>
                  </a:lnTo>
                  <a:lnTo>
                    <a:pt x="179" y="158"/>
                  </a:lnTo>
                  <a:lnTo>
                    <a:pt x="179" y="156"/>
                  </a:lnTo>
                  <a:lnTo>
                    <a:pt x="179" y="158"/>
                  </a:lnTo>
                  <a:lnTo>
                    <a:pt x="179" y="160"/>
                  </a:lnTo>
                  <a:lnTo>
                    <a:pt x="179" y="162"/>
                  </a:lnTo>
                  <a:lnTo>
                    <a:pt x="179" y="164"/>
                  </a:lnTo>
                  <a:lnTo>
                    <a:pt x="179" y="166"/>
                  </a:lnTo>
                  <a:lnTo>
                    <a:pt x="179" y="168"/>
                  </a:lnTo>
                  <a:lnTo>
                    <a:pt x="181" y="168"/>
                  </a:lnTo>
                  <a:lnTo>
                    <a:pt x="181" y="166"/>
                  </a:lnTo>
                  <a:lnTo>
                    <a:pt x="181" y="164"/>
                  </a:lnTo>
                  <a:lnTo>
                    <a:pt x="181" y="162"/>
                  </a:lnTo>
                  <a:lnTo>
                    <a:pt x="183" y="162"/>
                  </a:lnTo>
                  <a:lnTo>
                    <a:pt x="183" y="160"/>
                  </a:lnTo>
                  <a:lnTo>
                    <a:pt x="181" y="160"/>
                  </a:lnTo>
                  <a:lnTo>
                    <a:pt x="181" y="162"/>
                  </a:lnTo>
                  <a:lnTo>
                    <a:pt x="181" y="160"/>
                  </a:lnTo>
                  <a:lnTo>
                    <a:pt x="183" y="160"/>
                  </a:lnTo>
                  <a:lnTo>
                    <a:pt x="181" y="160"/>
                  </a:lnTo>
                  <a:lnTo>
                    <a:pt x="183" y="160"/>
                  </a:lnTo>
                  <a:lnTo>
                    <a:pt x="183" y="158"/>
                  </a:lnTo>
                  <a:lnTo>
                    <a:pt x="183" y="156"/>
                  </a:lnTo>
                  <a:lnTo>
                    <a:pt x="185" y="156"/>
                  </a:lnTo>
                  <a:lnTo>
                    <a:pt x="185" y="158"/>
                  </a:lnTo>
                  <a:lnTo>
                    <a:pt x="183" y="158"/>
                  </a:lnTo>
                  <a:lnTo>
                    <a:pt x="183" y="160"/>
                  </a:lnTo>
                  <a:lnTo>
                    <a:pt x="183" y="162"/>
                  </a:lnTo>
                  <a:lnTo>
                    <a:pt x="183" y="164"/>
                  </a:lnTo>
                  <a:lnTo>
                    <a:pt x="183" y="166"/>
                  </a:lnTo>
                  <a:lnTo>
                    <a:pt x="181" y="166"/>
                  </a:lnTo>
                  <a:lnTo>
                    <a:pt x="181" y="168"/>
                  </a:lnTo>
                  <a:lnTo>
                    <a:pt x="183" y="168"/>
                  </a:lnTo>
                  <a:lnTo>
                    <a:pt x="185" y="168"/>
                  </a:lnTo>
                  <a:lnTo>
                    <a:pt x="183" y="168"/>
                  </a:lnTo>
                  <a:lnTo>
                    <a:pt x="185" y="168"/>
                  </a:lnTo>
                  <a:lnTo>
                    <a:pt x="183" y="168"/>
                  </a:lnTo>
                  <a:lnTo>
                    <a:pt x="183" y="166"/>
                  </a:lnTo>
                  <a:lnTo>
                    <a:pt x="185" y="166"/>
                  </a:lnTo>
                  <a:lnTo>
                    <a:pt x="185" y="164"/>
                  </a:lnTo>
                  <a:lnTo>
                    <a:pt x="185" y="162"/>
                  </a:lnTo>
                  <a:lnTo>
                    <a:pt x="187" y="162"/>
                  </a:lnTo>
                  <a:lnTo>
                    <a:pt x="187" y="160"/>
                  </a:lnTo>
                  <a:lnTo>
                    <a:pt x="187" y="158"/>
                  </a:lnTo>
                  <a:lnTo>
                    <a:pt x="187" y="156"/>
                  </a:lnTo>
                  <a:lnTo>
                    <a:pt x="187" y="154"/>
                  </a:lnTo>
                  <a:lnTo>
                    <a:pt x="187" y="152"/>
                  </a:lnTo>
                  <a:lnTo>
                    <a:pt x="187" y="150"/>
                  </a:lnTo>
                  <a:lnTo>
                    <a:pt x="187" y="148"/>
                  </a:lnTo>
                  <a:lnTo>
                    <a:pt x="187" y="146"/>
                  </a:lnTo>
                  <a:lnTo>
                    <a:pt x="187" y="144"/>
                  </a:lnTo>
                  <a:lnTo>
                    <a:pt x="185" y="144"/>
                  </a:lnTo>
                  <a:lnTo>
                    <a:pt x="187" y="144"/>
                  </a:lnTo>
                  <a:lnTo>
                    <a:pt x="187" y="142"/>
                  </a:lnTo>
                  <a:lnTo>
                    <a:pt x="185" y="142"/>
                  </a:lnTo>
                  <a:lnTo>
                    <a:pt x="187" y="142"/>
                  </a:lnTo>
                  <a:lnTo>
                    <a:pt x="187" y="140"/>
                  </a:lnTo>
                  <a:lnTo>
                    <a:pt x="187" y="138"/>
                  </a:lnTo>
                  <a:lnTo>
                    <a:pt x="187" y="138"/>
                  </a:lnTo>
                  <a:lnTo>
                    <a:pt x="189" y="138"/>
                  </a:lnTo>
                  <a:lnTo>
                    <a:pt x="189" y="136"/>
                  </a:lnTo>
                  <a:lnTo>
                    <a:pt x="191" y="136"/>
                  </a:lnTo>
                  <a:lnTo>
                    <a:pt x="191" y="134"/>
                  </a:lnTo>
                  <a:lnTo>
                    <a:pt x="191" y="136"/>
                  </a:lnTo>
                  <a:lnTo>
                    <a:pt x="191" y="134"/>
                  </a:lnTo>
                  <a:lnTo>
                    <a:pt x="193" y="134"/>
                  </a:lnTo>
                  <a:lnTo>
                    <a:pt x="195" y="134"/>
                  </a:lnTo>
                  <a:lnTo>
                    <a:pt x="197" y="134"/>
                  </a:lnTo>
                  <a:lnTo>
                    <a:pt x="199" y="134"/>
                  </a:lnTo>
                  <a:lnTo>
                    <a:pt x="199" y="132"/>
                  </a:lnTo>
                  <a:lnTo>
                    <a:pt x="201" y="132"/>
                  </a:lnTo>
                  <a:lnTo>
                    <a:pt x="201" y="130"/>
                  </a:lnTo>
                  <a:lnTo>
                    <a:pt x="199" y="130"/>
                  </a:lnTo>
                  <a:lnTo>
                    <a:pt x="197" y="130"/>
                  </a:lnTo>
                  <a:lnTo>
                    <a:pt x="199" y="130"/>
                  </a:lnTo>
                  <a:lnTo>
                    <a:pt x="199" y="132"/>
                  </a:lnTo>
                  <a:lnTo>
                    <a:pt x="197" y="132"/>
                  </a:lnTo>
                  <a:lnTo>
                    <a:pt x="197" y="130"/>
                  </a:lnTo>
                  <a:lnTo>
                    <a:pt x="195" y="130"/>
                  </a:lnTo>
                  <a:lnTo>
                    <a:pt x="195" y="130"/>
                  </a:lnTo>
                  <a:lnTo>
                    <a:pt x="193" y="130"/>
                  </a:lnTo>
                  <a:lnTo>
                    <a:pt x="193" y="128"/>
                  </a:lnTo>
                  <a:lnTo>
                    <a:pt x="193" y="126"/>
                  </a:lnTo>
                  <a:lnTo>
                    <a:pt x="193" y="124"/>
                  </a:lnTo>
                  <a:lnTo>
                    <a:pt x="193" y="122"/>
                  </a:lnTo>
                  <a:lnTo>
                    <a:pt x="195" y="122"/>
                  </a:lnTo>
                  <a:lnTo>
                    <a:pt x="195" y="120"/>
                  </a:lnTo>
                  <a:lnTo>
                    <a:pt x="197" y="120"/>
                  </a:lnTo>
                  <a:lnTo>
                    <a:pt x="197" y="118"/>
                  </a:lnTo>
                  <a:lnTo>
                    <a:pt x="197" y="116"/>
                  </a:lnTo>
                  <a:lnTo>
                    <a:pt x="195" y="116"/>
                  </a:lnTo>
                  <a:lnTo>
                    <a:pt x="195" y="114"/>
                  </a:lnTo>
                  <a:lnTo>
                    <a:pt x="195" y="116"/>
                  </a:lnTo>
                  <a:lnTo>
                    <a:pt x="195" y="114"/>
                  </a:lnTo>
                  <a:lnTo>
                    <a:pt x="195" y="116"/>
                  </a:lnTo>
                  <a:lnTo>
                    <a:pt x="197" y="116"/>
                  </a:lnTo>
                  <a:lnTo>
                    <a:pt x="197" y="114"/>
                  </a:lnTo>
                  <a:lnTo>
                    <a:pt x="199" y="114"/>
                  </a:lnTo>
                  <a:lnTo>
                    <a:pt x="199" y="116"/>
                  </a:lnTo>
                  <a:lnTo>
                    <a:pt x="199" y="114"/>
                  </a:lnTo>
                  <a:lnTo>
                    <a:pt x="201" y="114"/>
                  </a:lnTo>
                  <a:lnTo>
                    <a:pt x="201" y="116"/>
                  </a:lnTo>
                  <a:lnTo>
                    <a:pt x="201" y="114"/>
                  </a:lnTo>
                  <a:lnTo>
                    <a:pt x="203" y="114"/>
                  </a:lnTo>
                  <a:lnTo>
                    <a:pt x="203" y="116"/>
                  </a:lnTo>
                  <a:lnTo>
                    <a:pt x="203" y="114"/>
                  </a:lnTo>
                  <a:lnTo>
                    <a:pt x="203" y="112"/>
                  </a:lnTo>
                  <a:lnTo>
                    <a:pt x="205" y="112"/>
                  </a:lnTo>
                  <a:lnTo>
                    <a:pt x="205" y="114"/>
                  </a:lnTo>
                  <a:lnTo>
                    <a:pt x="207" y="114"/>
                  </a:lnTo>
                  <a:lnTo>
                    <a:pt x="209" y="114"/>
                  </a:lnTo>
                  <a:lnTo>
                    <a:pt x="209" y="116"/>
                  </a:lnTo>
                  <a:lnTo>
                    <a:pt x="211" y="116"/>
                  </a:lnTo>
                  <a:lnTo>
                    <a:pt x="213" y="116"/>
                  </a:lnTo>
                  <a:lnTo>
                    <a:pt x="213" y="118"/>
                  </a:lnTo>
                  <a:lnTo>
                    <a:pt x="215" y="118"/>
                  </a:lnTo>
                  <a:lnTo>
                    <a:pt x="217" y="118"/>
                  </a:lnTo>
                  <a:lnTo>
                    <a:pt x="219" y="118"/>
                  </a:lnTo>
                  <a:lnTo>
                    <a:pt x="221" y="118"/>
                  </a:lnTo>
                  <a:lnTo>
                    <a:pt x="223" y="118"/>
                  </a:lnTo>
                  <a:lnTo>
                    <a:pt x="225" y="118"/>
                  </a:lnTo>
                  <a:lnTo>
                    <a:pt x="227" y="118"/>
                  </a:lnTo>
                  <a:lnTo>
                    <a:pt x="227" y="120"/>
                  </a:lnTo>
                  <a:lnTo>
                    <a:pt x="229" y="120"/>
                  </a:lnTo>
                  <a:lnTo>
                    <a:pt x="229" y="122"/>
                  </a:lnTo>
                  <a:lnTo>
                    <a:pt x="229" y="124"/>
                  </a:lnTo>
                  <a:lnTo>
                    <a:pt x="231" y="124"/>
                  </a:lnTo>
                  <a:lnTo>
                    <a:pt x="231" y="126"/>
                  </a:lnTo>
                  <a:lnTo>
                    <a:pt x="233" y="126"/>
                  </a:lnTo>
                  <a:lnTo>
                    <a:pt x="233" y="124"/>
                  </a:lnTo>
                  <a:lnTo>
                    <a:pt x="235" y="124"/>
                  </a:lnTo>
                  <a:lnTo>
                    <a:pt x="235" y="124"/>
                  </a:lnTo>
                  <a:lnTo>
                    <a:pt x="235" y="126"/>
                  </a:lnTo>
                  <a:lnTo>
                    <a:pt x="237" y="126"/>
                  </a:lnTo>
                  <a:lnTo>
                    <a:pt x="239" y="126"/>
                  </a:lnTo>
                  <a:lnTo>
                    <a:pt x="239" y="128"/>
                  </a:lnTo>
                  <a:lnTo>
                    <a:pt x="241" y="128"/>
                  </a:lnTo>
                  <a:lnTo>
                    <a:pt x="243" y="128"/>
                  </a:lnTo>
                  <a:lnTo>
                    <a:pt x="245" y="128"/>
                  </a:lnTo>
                  <a:lnTo>
                    <a:pt x="245" y="130"/>
                  </a:lnTo>
                  <a:lnTo>
                    <a:pt x="247" y="130"/>
                  </a:lnTo>
                  <a:lnTo>
                    <a:pt x="249" y="130"/>
                  </a:lnTo>
                  <a:lnTo>
                    <a:pt x="251" y="130"/>
                  </a:lnTo>
                  <a:lnTo>
                    <a:pt x="253" y="130"/>
                  </a:lnTo>
                  <a:lnTo>
                    <a:pt x="251" y="130"/>
                  </a:lnTo>
                  <a:lnTo>
                    <a:pt x="253" y="130"/>
                  </a:lnTo>
                  <a:lnTo>
                    <a:pt x="253" y="130"/>
                  </a:lnTo>
                  <a:lnTo>
                    <a:pt x="255" y="130"/>
                  </a:lnTo>
                  <a:lnTo>
                    <a:pt x="255" y="132"/>
                  </a:lnTo>
                  <a:lnTo>
                    <a:pt x="257" y="132"/>
                  </a:lnTo>
                  <a:lnTo>
                    <a:pt x="255" y="132"/>
                  </a:lnTo>
                  <a:lnTo>
                    <a:pt x="257" y="132"/>
                  </a:lnTo>
                  <a:lnTo>
                    <a:pt x="255" y="132"/>
                  </a:lnTo>
                  <a:lnTo>
                    <a:pt x="255" y="134"/>
                  </a:lnTo>
                  <a:lnTo>
                    <a:pt x="257" y="134"/>
                  </a:lnTo>
                  <a:lnTo>
                    <a:pt x="257" y="136"/>
                  </a:lnTo>
                  <a:lnTo>
                    <a:pt x="259" y="136"/>
                  </a:lnTo>
                  <a:lnTo>
                    <a:pt x="257" y="136"/>
                  </a:lnTo>
                  <a:lnTo>
                    <a:pt x="259" y="136"/>
                  </a:lnTo>
                  <a:lnTo>
                    <a:pt x="259" y="138"/>
                  </a:lnTo>
                  <a:lnTo>
                    <a:pt x="261" y="138"/>
                  </a:lnTo>
                  <a:lnTo>
                    <a:pt x="259" y="138"/>
                  </a:lnTo>
                  <a:lnTo>
                    <a:pt x="261" y="138"/>
                  </a:lnTo>
                  <a:lnTo>
                    <a:pt x="261" y="140"/>
                  </a:lnTo>
                  <a:lnTo>
                    <a:pt x="261" y="142"/>
                  </a:lnTo>
                  <a:lnTo>
                    <a:pt x="261" y="140"/>
                  </a:lnTo>
                  <a:lnTo>
                    <a:pt x="261" y="142"/>
                  </a:lnTo>
                  <a:lnTo>
                    <a:pt x="261" y="140"/>
                  </a:lnTo>
                  <a:lnTo>
                    <a:pt x="261" y="142"/>
                  </a:lnTo>
                  <a:lnTo>
                    <a:pt x="261" y="144"/>
                  </a:lnTo>
                  <a:lnTo>
                    <a:pt x="263" y="144"/>
                  </a:lnTo>
                  <a:lnTo>
                    <a:pt x="261" y="144"/>
                  </a:lnTo>
                  <a:lnTo>
                    <a:pt x="259" y="144"/>
                  </a:lnTo>
                  <a:lnTo>
                    <a:pt x="259" y="142"/>
                  </a:lnTo>
                  <a:lnTo>
                    <a:pt x="257" y="142"/>
                  </a:lnTo>
                  <a:lnTo>
                    <a:pt x="257" y="144"/>
                  </a:lnTo>
                  <a:lnTo>
                    <a:pt x="257" y="142"/>
                  </a:lnTo>
                  <a:lnTo>
                    <a:pt x="257" y="144"/>
                  </a:lnTo>
                  <a:lnTo>
                    <a:pt x="255" y="144"/>
                  </a:lnTo>
                  <a:lnTo>
                    <a:pt x="257" y="144"/>
                  </a:lnTo>
                  <a:lnTo>
                    <a:pt x="257" y="146"/>
                  </a:lnTo>
                  <a:lnTo>
                    <a:pt x="255" y="146"/>
                  </a:lnTo>
                  <a:lnTo>
                    <a:pt x="257" y="146"/>
                  </a:lnTo>
                  <a:lnTo>
                    <a:pt x="257" y="148"/>
                  </a:lnTo>
                  <a:lnTo>
                    <a:pt x="257" y="150"/>
                  </a:lnTo>
                  <a:lnTo>
                    <a:pt x="259" y="150"/>
                  </a:lnTo>
                  <a:lnTo>
                    <a:pt x="259" y="152"/>
                  </a:lnTo>
                  <a:lnTo>
                    <a:pt x="261" y="152"/>
                  </a:lnTo>
                  <a:lnTo>
                    <a:pt x="263" y="152"/>
                  </a:lnTo>
                  <a:lnTo>
                    <a:pt x="263" y="154"/>
                  </a:lnTo>
                  <a:lnTo>
                    <a:pt x="263" y="156"/>
                  </a:lnTo>
                  <a:lnTo>
                    <a:pt x="263" y="158"/>
                  </a:lnTo>
                  <a:lnTo>
                    <a:pt x="263" y="160"/>
                  </a:lnTo>
                  <a:lnTo>
                    <a:pt x="265" y="160"/>
                  </a:lnTo>
                  <a:lnTo>
                    <a:pt x="265" y="162"/>
                  </a:lnTo>
                  <a:lnTo>
                    <a:pt x="265" y="164"/>
                  </a:lnTo>
                  <a:lnTo>
                    <a:pt x="265" y="166"/>
                  </a:lnTo>
                  <a:lnTo>
                    <a:pt x="265" y="168"/>
                  </a:lnTo>
                  <a:lnTo>
                    <a:pt x="265" y="170"/>
                  </a:lnTo>
                  <a:lnTo>
                    <a:pt x="265" y="172"/>
                  </a:lnTo>
                  <a:lnTo>
                    <a:pt x="265" y="174"/>
                  </a:lnTo>
                  <a:lnTo>
                    <a:pt x="265" y="177"/>
                  </a:lnTo>
                  <a:lnTo>
                    <a:pt x="265" y="179"/>
                  </a:lnTo>
                  <a:lnTo>
                    <a:pt x="265" y="179"/>
                  </a:lnTo>
                  <a:lnTo>
                    <a:pt x="265" y="181"/>
                  </a:lnTo>
                  <a:lnTo>
                    <a:pt x="263" y="181"/>
                  </a:lnTo>
                  <a:lnTo>
                    <a:pt x="263" y="183"/>
                  </a:lnTo>
                  <a:lnTo>
                    <a:pt x="263" y="185"/>
                  </a:lnTo>
                  <a:lnTo>
                    <a:pt x="261" y="185"/>
                  </a:lnTo>
                  <a:lnTo>
                    <a:pt x="261" y="183"/>
                  </a:lnTo>
                  <a:lnTo>
                    <a:pt x="259" y="183"/>
                  </a:lnTo>
                  <a:lnTo>
                    <a:pt x="259" y="185"/>
                  </a:lnTo>
                  <a:lnTo>
                    <a:pt x="259" y="187"/>
                  </a:lnTo>
                  <a:lnTo>
                    <a:pt x="257" y="187"/>
                  </a:lnTo>
                  <a:lnTo>
                    <a:pt x="257" y="189"/>
                  </a:lnTo>
                  <a:lnTo>
                    <a:pt x="257" y="191"/>
                  </a:lnTo>
                  <a:lnTo>
                    <a:pt x="257" y="193"/>
                  </a:lnTo>
                  <a:lnTo>
                    <a:pt x="259" y="193"/>
                  </a:lnTo>
                  <a:lnTo>
                    <a:pt x="257" y="193"/>
                  </a:lnTo>
                  <a:lnTo>
                    <a:pt x="257" y="195"/>
                  </a:lnTo>
                  <a:lnTo>
                    <a:pt x="257" y="197"/>
                  </a:lnTo>
                  <a:lnTo>
                    <a:pt x="255" y="197"/>
                  </a:lnTo>
                  <a:lnTo>
                    <a:pt x="255" y="199"/>
                  </a:lnTo>
                  <a:lnTo>
                    <a:pt x="253" y="199"/>
                  </a:lnTo>
                  <a:lnTo>
                    <a:pt x="255" y="199"/>
                  </a:lnTo>
                  <a:lnTo>
                    <a:pt x="255" y="201"/>
                  </a:lnTo>
                  <a:lnTo>
                    <a:pt x="253" y="201"/>
                  </a:lnTo>
                  <a:lnTo>
                    <a:pt x="253" y="199"/>
                  </a:lnTo>
                  <a:lnTo>
                    <a:pt x="253" y="201"/>
                  </a:lnTo>
                  <a:lnTo>
                    <a:pt x="253" y="199"/>
                  </a:lnTo>
                  <a:lnTo>
                    <a:pt x="251" y="199"/>
                  </a:lnTo>
                  <a:lnTo>
                    <a:pt x="251" y="201"/>
                  </a:lnTo>
                  <a:lnTo>
                    <a:pt x="253" y="201"/>
                  </a:lnTo>
                  <a:lnTo>
                    <a:pt x="251" y="201"/>
                  </a:lnTo>
                  <a:lnTo>
                    <a:pt x="253" y="201"/>
                  </a:lnTo>
                  <a:lnTo>
                    <a:pt x="251" y="201"/>
                  </a:lnTo>
                  <a:lnTo>
                    <a:pt x="249" y="201"/>
                  </a:lnTo>
                  <a:lnTo>
                    <a:pt x="247" y="201"/>
                  </a:lnTo>
                  <a:lnTo>
                    <a:pt x="249" y="201"/>
                  </a:lnTo>
                  <a:lnTo>
                    <a:pt x="247" y="201"/>
                  </a:lnTo>
                  <a:lnTo>
                    <a:pt x="249" y="201"/>
                  </a:lnTo>
                  <a:lnTo>
                    <a:pt x="247" y="201"/>
                  </a:lnTo>
                  <a:lnTo>
                    <a:pt x="247" y="203"/>
                  </a:lnTo>
                  <a:lnTo>
                    <a:pt x="247" y="205"/>
                  </a:lnTo>
                  <a:lnTo>
                    <a:pt x="247" y="207"/>
                  </a:lnTo>
                  <a:lnTo>
                    <a:pt x="245" y="207"/>
                  </a:lnTo>
                  <a:lnTo>
                    <a:pt x="247" y="207"/>
                  </a:lnTo>
                  <a:lnTo>
                    <a:pt x="245" y="207"/>
                  </a:lnTo>
                  <a:lnTo>
                    <a:pt x="247" y="207"/>
                  </a:lnTo>
                  <a:lnTo>
                    <a:pt x="247" y="209"/>
                  </a:lnTo>
                  <a:lnTo>
                    <a:pt x="245" y="209"/>
                  </a:lnTo>
                  <a:lnTo>
                    <a:pt x="247" y="209"/>
                  </a:lnTo>
                  <a:lnTo>
                    <a:pt x="247" y="211"/>
                  </a:lnTo>
                  <a:lnTo>
                    <a:pt x="247" y="213"/>
                  </a:lnTo>
                  <a:lnTo>
                    <a:pt x="245" y="213"/>
                  </a:lnTo>
                  <a:lnTo>
                    <a:pt x="247" y="213"/>
                  </a:lnTo>
                  <a:lnTo>
                    <a:pt x="245" y="213"/>
                  </a:lnTo>
                  <a:lnTo>
                    <a:pt x="245" y="215"/>
                  </a:lnTo>
                  <a:lnTo>
                    <a:pt x="247" y="215"/>
                  </a:lnTo>
                  <a:lnTo>
                    <a:pt x="245" y="215"/>
                  </a:lnTo>
                  <a:lnTo>
                    <a:pt x="247" y="215"/>
                  </a:lnTo>
                  <a:lnTo>
                    <a:pt x="245" y="215"/>
                  </a:lnTo>
                  <a:lnTo>
                    <a:pt x="247" y="215"/>
                  </a:lnTo>
                  <a:lnTo>
                    <a:pt x="245" y="215"/>
                  </a:lnTo>
                  <a:lnTo>
                    <a:pt x="247" y="215"/>
                  </a:lnTo>
                  <a:lnTo>
                    <a:pt x="245" y="215"/>
                  </a:lnTo>
                  <a:lnTo>
                    <a:pt x="247" y="215"/>
                  </a:lnTo>
                  <a:lnTo>
                    <a:pt x="247" y="217"/>
                  </a:lnTo>
                  <a:lnTo>
                    <a:pt x="247" y="219"/>
                  </a:lnTo>
                  <a:lnTo>
                    <a:pt x="249" y="219"/>
                  </a:lnTo>
                  <a:lnTo>
                    <a:pt x="247" y="219"/>
                  </a:lnTo>
                  <a:lnTo>
                    <a:pt x="249" y="219"/>
                  </a:lnTo>
                  <a:lnTo>
                    <a:pt x="251" y="219"/>
                  </a:lnTo>
                  <a:lnTo>
                    <a:pt x="253" y="219"/>
                  </a:lnTo>
                  <a:lnTo>
                    <a:pt x="253" y="221"/>
                  </a:lnTo>
                  <a:lnTo>
                    <a:pt x="253" y="219"/>
                  </a:lnTo>
                  <a:lnTo>
                    <a:pt x="253" y="221"/>
                  </a:lnTo>
                  <a:lnTo>
                    <a:pt x="253" y="219"/>
                  </a:lnTo>
                  <a:lnTo>
                    <a:pt x="255" y="219"/>
                  </a:lnTo>
                  <a:lnTo>
                    <a:pt x="255" y="221"/>
                  </a:lnTo>
                  <a:lnTo>
                    <a:pt x="255" y="219"/>
                  </a:lnTo>
                  <a:lnTo>
                    <a:pt x="255" y="221"/>
                  </a:lnTo>
                  <a:lnTo>
                    <a:pt x="257" y="221"/>
                  </a:lnTo>
                  <a:lnTo>
                    <a:pt x="259" y="221"/>
                  </a:lnTo>
                  <a:lnTo>
                    <a:pt x="259" y="219"/>
                  </a:lnTo>
                  <a:lnTo>
                    <a:pt x="259" y="217"/>
                  </a:lnTo>
                  <a:lnTo>
                    <a:pt x="261" y="217"/>
                  </a:lnTo>
                  <a:lnTo>
                    <a:pt x="261" y="215"/>
                  </a:lnTo>
                  <a:lnTo>
                    <a:pt x="263" y="215"/>
                  </a:lnTo>
                  <a:lnTo>
                    <a:pt x="263" y="213"/>
                  </a:lnTo>
                  <a:lnTo>
                    <a:pt x="263" y="215"/>
                  </a:lnTo>
                  <a:lnTo>
                    <a:pt x="265" y="215"/>
                  </a:lnTo>
                  <a:lnTo>
                    <a:pt x="265" y="213"/>
                  </a:lnTo>
                  <a:lnTo>
                    <a:pt x="263" y="213"/>
                  </a:lnTo>
                  <a:lnTo>
                    <a:pt x="265" y="213"/>
                  </a:lnTo>
                  <a:lnTo>
                    <a:pt x="265" y="211"/>
                  </a:lnTo>
                  <a:lnTo>
                    <a:pt x="265" y="209"/>
                  </a:lnTo>
                  <a:lnTo>
                    <a:pt x="265" y="211"/>
                  </a:lnTo>
                  <a:lnTo>
                    <a:pt x="265" y="209"/>
                  </a:lnTo>
                  <a:lnTo>
                    <a:pt x="267" y="209"/>
                  </a:lnTo>
                  <a:lnTo>
                    <a:pt x="265" y="209"/>
                  </a:lnTo>
                  <a:lnTo>
                    <a:pt x="267" y="209"/>
                  </a:lnTo>
                  <a:lnTo>
                    <a:pt x="267" y="207"/>
                  </a:lnTo>
                  <a:lnTo>
                    <a:pt x="267" y="205"/>
                  </a:lnTo>
                  <a:lnTo>
                    <a:pt x="269" y="205"/>
                  </a:lnTo>
                  <a:lnTo>
                    <a:pt x="269" y="203"/>
                  </a:lnTo>
                  <a:lnTo>
                    <a:pt x="267" y="203"/>
                  </a:lnTo>
                  <a:lnTo>
                    <a:pt x="265" y="203"/>
                  </a:lnTo>
                  <a:lnTo>
                    <a:pt x="267" y="203"/>
                  </a:lnTo>
                  <a:lnTo>
                    <a:pt x="265" y="203"/>
                  </a:lnTo>
                  <a:lnTo>
                    <a:pt x="267" y="203"/>
                  </a:lnTo>
                  <a:lnTo>
                    <a:pt x="265" y="203"/>
                  </a:lnTo>
                  <a:lnTo>
                    <a:pt x="267" y="203"/>
                  </a:lnTo>
                  <a:lnTo>
                    <a:pt x="265" y="203"/>
                  </a:lnTo>
                  <a:lnTo>
                    <a:pt x="267" y="203"/>
                  </a:lnTo>
                  <a:lnTo>
                    <a:pt x="269" y="203"/>
                  </a:lnTo>
                  <a:lnTo>
                    <a:pt x="269" y="201"/>
                  </a:lnTo>
                  <a:lnTo>
                    <a:pt x="271" y="201"/>
                  </a:lnTo>
                  <a:lnTo>
                    <a:pt x="271" y="199"/>
                  </a:lnTo>
                  <a:lnTo>
                    <a:pt x="273" y="199"/>
                  </a:lnTo>
                  <a:lnTo>
                    <a:pt x="273" y="197"/>
                  </a:lnTo>
                  <a:lnTo>
                    <a:pt x="273" y="199"/>
                  </a:lnTo>
                  <a:lnTo>
                    <a:pt x="273" y="197"/>
                  </a:lnTo>
                  <a:lnTo>
                    <a:pt x="275" y="197"/>
                  </a:lnTo>
                  <a:lnTo>
                    <a:pt x="277" y="197"/>
                  </a:lnTo>
                  <a:lnTo>
                    <a:pt x="279" y="197"/>
                  </a:lnTo>
                  <a:lnTo>
                    <a:pt x="279" y="195"/>
                  </a:lnTo>
                  <a:lnTo>
                    <a:pt x="279" y="193"/>
                  </a:lnTo>
                  <a:lnTo>
                    <a:pt x="281" y="193"/>
                  </a:lnTo>
                  <a:lnTo>
                    <a:pt x="283" y="193"/>
                  </a:lnTo>
                  <a:lnTo>
                    <a:pt x="283" y="191"/>
                  </a:lnTo>
                  <a:lnTo>
                    <a:pt x="283" y="193"/>
                  </a:lnTo>
                  <a:lnTo>
                    <a:pt x="283" y="191"/>
                  </a:lnTo>
                  <a:lnTo>
                    <a:pt x="283" y="193"/>
                  </a:lnTo>
                  <a:lnTo>
                    <a:pt x="283" y="191"/>
                  </a:lnTo>
                  <a:lnTo>
                    <a:pt x="283" y="193"/>
                  </a:lnTo>
                  <a:lnTo>
                    <a:pt x="283" y="191"/>
                  </a:lnTo>
                  <a:lnTo>
                    <a:pt x="283" y="193"/>
                  </a:lnTo>
                  <a:lnTo>
                    <a:pt x="283" y="193"/>
                  </a:lnTo>
                  <a:lnTo>
                    <a:pt x="285" y="193"/>
                  </a:lnTo>
                  <a:lnTo>
                    <a:pt x="287" y="193"/>
                  </a:lnTo>
                  <a:lnTo>
                    <a:pt x="287" y="195"/>
                  </a:lnTo>
                  <a:lnTo>
                    <a:pt x="289" y="195"/>
                  </a:lnTo>
                  <a:lnTo>
                    <a:pt x="289" y="197"/>
                  </a:lnTo>
                  <a:lnTo>
                    <a:pt x="291" y="197"/>
                  </a:lnTo>
                  <a:lnTo>
                    <a:pt x="291" y="199"/>
                  </a:lnTo>
                  <a:lnTo>
                    <a:pt x="291" y="201"/>
                  </a:lnTo>
                  <a:lnTo>
                    <a:pt x="293" y="201"/>
                  </a:lnTo>
                  <a:lnTo>
                    <a:pt x="293" y="203"/>
                  </a:lnTo>
                  <a:lnTo>
                    <a:pt x="295" y="203"/>
                  </a:lnTo>
                  <a:lnTo>
                    <a:pt x="295" y="205"/>
                  </a:lnTo>
                  <a:lnTo>
                    <a:pt x="295" y="207"/>
                  </a:lnTo>
                  <a:lnTo>
                    <a:pt x="295" y="209"/>
                  </a:lnTo>
                  <a:lnTo>
                    <a:pt x="295" y="211"/>
                  </a:lnTo>
                  <a:lnTo>
                    <a:pt x="297" y="211"/>
                  </a:lnTo>
                  <a:lnTo>
                    <a:pt x="297" y="213"/>
                  </a:lnTo>
                  <a:lnTo>
                    <a:pt x="297" y="215"/>
                  </a:lnTo>
                  <a:lnTo>
                    <a:pt x="297" y="217"/>
                  </a:lnTo>
                  <a:lnTo>
                    <a:pt x="297" y="219"/>
                  </a:lnTo>
                  <a:lnTo>
                    <a:pt x="299" y="219"/>
                  </a:lnTo>
                  <a:lnTo>
                    <a:pt x="299" y="221"/>
                  </a:lnTo>
                  <a:lnTo>
                    <a:pt x="299" y="223"/>
                  </a:lnTo>
                  <a:lnTo>
                    <a:pt x="301" y="223"/>
                  </a:lnTo>
                  <a:lnTo>
                    <a:pt x="301" y="225"/>
                  </a:lnTo>
                  <a:lnTo>
                    <a:pt x="301" y="227"/>
                  </a:lnTo>
                  <a:lnTo>
                    <a:pt x="301" y="227"/>
                  </a:lnTo>
                  <a:lnTo>
                    <a:pt x="301" y="229"/>
                  </a:lnTo>
                  <a:lnTo>
                    <a:pt x="303" y="229"/>
                  </a:lnTo>
                  <a:lnTo>
                    <a:pt x="303" y="231"/>
                  </a:lnTo>
                  <a:lnTo>
                    <a:pt x="303" y="233"/>
                  </a:lnTo>
                  <a:lnTo>
                    <a:pt x="303" y="235"/>
                  </a:lnTo>
                  <a:lnTo>
                    <a:pt x="305" y="235"/>
                  </a:lnTo>
                  <a:lnTo>
                    <a:pt x="305" y="237"/>
                  </a:lnTo>
                  <a:lnTo>
                    <a:pt x="305" y="239"/>
                  </a:lnTo>
                  <a:lnTo>
                    <a:pt x="307" y="239"/>
                  </a:lnTo>
                  <a:lnTo>
                    <a:pt x="307" y="241"/>
                  </a:lnTo>
                  <a:lnTo>
                    <a:pt x="307" y="243"/>
                  </a:lnTo>
                  <a:lnTo>
                    <a:pt x="309" y="243"/>
                  </a:lnTo>
                  <a:lnTo>
                    <a:pt x="309" y="245"/>
                  </a:lnTo>
                  <a:lnTo>
                    <a:pt x="309" y="247"/>
                  </a:lnTo>
                  <a:lnTo>
                    <a:pt x="307" y="247"/>
                  </a:lnTo>
                  <a:lnTo>
                    <a:pt x="307" y="249"/>
                  </a:lnTo>
                  <a:lnTo>
                    <a:pt x="307" y="251"/>
                  </a:lnTo>
                  <a:lnTo>
                    <a:pt x="307" y="253"/>
                  </a:lnTo>
                  <a:lnTo>
                    <a:pt x="307" y="255"/>
                  </a:lnTo>
                  <a:lnTo>
                    <a:pt x="309" y="255"/>
                  </a:lnTo>
                  <a:lnTo>
                    <a:pt x="309" y="257"/>
                  </a:lnTo>
                  <a:lnTo>
                    <a:pt x="309" y="259"/>
                  </a:lnTo>
                  <a:lnTo>
                    <a:pt x="309" y="261"/>
                  </a:lnTo>
                  <a:lnTo>
                    <a:pt x="307" y="261"/>
                  </a:lnTo>
                  <a:lnTo>
                    <a:pt x="307" y="263"/>
                  </a:lnTo>
                  <a:lnTo>
                    <a:pt x="307" y="265"/>
                  </a:lnTo>
                  <a:lnTo>
                    <a:pt x="305" y="265"/>
                  </a:lnTo>
                  <a:lnTo>
                    <a:pt x="303" y="265"/>
                  </a:lnTo>
                  <a:lnTo>
                    <a:pt x="303" y="263"/>
                  </a:lnTo>
                  <a:close/>
                  <a:moveTo>
                    <a:pt x="135" y="120"/>
                  </a:moveTo>
                  <a:lnTo>
                    <a:pt x="133" y="120"/>
                  </a:lnTo>
                  <a:lnTo>
                    <a:pt x="135" y="120"/>
                  </a:lnTo>
                  <a:close/>
                  <a:moveTo>
                    <a:pt x="185" y="114"/>
                  </a:moveTo>
                  <a:lnTo>
                    <a:pt x="183" y="114"/>
                  </a:lnTo>
                  <a:lnTo>
                    <a:pt x="185" y="114"/>
                  </a:lnTo>
                  <a:lnTo>
                    <a:pt x="185" y="116"/>
                  </a:lnTo>
                  <a:lnTo>
                    <a:pt x="183" y="116"/>
                  </a:lnTo>
                  <a:lnTo>
                    <a:pt x="183" y="114"/>
                  </a:lnTo>
                  <a:lnTo>
                    <a:pt x="185" y="114"/>
                  </a:lnTo>
                  <a:close/>
                  <a:moveTo>
                    <a:pt x="211" y="110"/>
                  </a:moveTo>
                  <a:lnTo>
                    <a:pt x="213" y="110"/>
                  </a:lnTo>
                  <a:lnTo>
                    <a:pt x="215" y="110"/>
                  </a:lnTo>
                  <a:lnTo>
                    <a:pt x="215" y="112"/>
                  </a:lnTo>
                  <a:lnTo>
                    <a:pt x="217" y="112"/>
                  </a:lnTo>
                  <a:lnTo>
                    <a:pt x="217" y="110"/>
                  </a:lnTo>
                  <a:lnTo>
                    <a:pt x="217" y="112"/>
                  </a:lnTo>
                  <a:lnTo>
                    <a:pt x="219" y="112"/>
                  </a:lnTo>
                  <a:lnTo>
                    <a:pt x="219" y="114"/>
                  </a:lnTo>
                  <a:lnTo>
                    <a:pt x="217" y="114"/>
                  </a:lnTo>
                  <a:lnTo>
                    <a:pt x="215" y="114"/>
                  </a:lnTo>
                  <a:lnTo>
                    <a:pt x="213" y="114"/>
                  </a:lnTo>
                  <a:lnTo>
                    <a:pt x="213" y="112"/>
                  </a:lnTo>
                  <a:lnTo>
                    <a:pt x="211" y="112"/>
                  </a:lnTo>
                  <a:lnTo>
                    <a:pt x="211" y="110"/>
                  </a:lnTo>
                  <a:close/>
                  <a:moveTo>
                    <a:pt x="177" y="114"/>
                  </a:moveTo>
                  <a:lnTo>
                    <a:pt x="179" y="114"/>
                  </a:lnTo>
                  <a:lnTo>
                    <a:pt x="179" y="116"/>
                  </a:lnTo>
                  <a:lnTo>
                    <a:pt x="181" y="114"/>
                  </a:lnTo>
                  <a:lnTo>
                    <a:pt x="181" y="116"/>
                  </a:lnTo>
                  <a:lnTo>
                    <a:pt x="179" y="116"/>
                  </a:lnTo>
                  <a:lnTo>
                    <a:pt x="179" y="114"/>
                  </a:lnTo>
                  <a:lnTo>
                    <a:pt x="179" y="116"/>
                  </a:lnTo>
                  <a:lnTo>
                    <a:pt x="179" y="114"/>
                  </a:lnTo>
                  <a:lnTo>
                    <a:pt x="179" y="116"/>
                  </a:lnTo>
                  <a:lnTo>
                    <a:pt x="177" y="116"/>
                  </a:lnTo>
                  <a:lnTo>
                    <a:pt x="177" y="114"/>
                  </a:lnTo>
                  <a:lnTo>
                    <a:pt x="179" y="114"/>
                  </a:lnTo>
                  <a:lnTo>
                    <a:pt x="177" y="114"/>
                  </a:lnTo>
                  <a:close/>
                  <a:moveTo>
                    <a:pt x="209" y="110"/>
                  </a:moveTo>
                  <a:lnTo>
                    <a:pt x="211" y="110"/>
                  </a:lnTo>
                  <a:lnTo>
                    <a:pt x="209" y="110"/>
                  </a:lnTo>
                  <a:close/>
                  <a:moveTo>
                    <a:pt x="199" y="110"/>
                  </a:moveTo>
                  <a:lnTo>
                    <a:pt x="201" y="110"/>
                  </a:lnTo>
                  <a:lnTo>
                    <a:pt x="199" y="110"/>
                  </a:lnTo>
                  <a:lnTo>
                    <a:pt x="201" y="110"/>
                  </a:lnTo>
                  <a:lnTo>
                    <a:pt x="199" y="110"/>
                  </a:lnTo>
                  <a:lnTo>
                    <a:pt x="199" y="108"/>
                  </a:lnTo>
                  <a:lnTo>
                    <a:pt x="199" y="110"/>
                  </a:lnTo>
                  <a:close/>
                  <a:moveTo>
                    <a:pt x="209" y="108"/>
                  </a:moveTo>
                  <a:lnTo>
                    <a:pt x="207" y="108"/>
                  </a:lnTo>
                  <a:lnTo>
                    <a:pt x="207" y="106"/>
                  </a:lnTo>
                  <a:lnTo>
                    <a:pt x="209" y="106"/>
                  </a:lnTo>
                  <a:lnTo>
                    <a:pt x="209" y="108"/>
                  </a:lnTo>
                  <a:close/>
                  <a:moveTo>
                    <a:pt x="243" y="100"/>
                  </a:moveTo>
                  <a:lnTo>
                    <a:pt x="243" y="98"/>
                  </a:lnTo>
                  <a:lnTo>
                    <a:pt x="243" y="100"/>
                  </a:lnTo>
                  <a:close/>
                  <a:moveTo>
                    <a:pt x="231" y="100"/>
                  </a:moveTo>
                  <a:lnTo>
                    <a:pt x="229" y="100"/>
                  </a:lnTo>
                  <a:lnTo>
                    <a:pt x="231" y="100"/>
                  </a:lnTo>
                  <a:close/>
                  <a:moveTo>
                    <a:pt x="219" y="102"/>
                  </a:moveTo>
                  <a:lnTo>
                    <a:pt x="217" y="102"/>
                  </a:lnTo>
                  <a:lnTo>
                    <a:pt x="219" y="102"/>
                  </a:lnTo>
                  <a:close/>
                  <a:moveTo>
                    <a:pt x="235" y="100"/>
                  </a:moveTo>
                  <a:lnTo>
                    <a:pt x="235" y="100"/>
                  </a:lnTo>
                  <a:lnTo>
                    <a:pt x="235" y="100"/>
                  </a:lnTo>
                  <a:close/>
                  <a:moveTo>
                    <a:pt x="209" y="102"/>
                  </a:moveTo>
                  <a:lnTo>
                    <a:pt x="211" y="102"/>
                  </a:lnTo>
                  <a:lnTo>
                    <a:pt x="211" y="104"/>
                  </a:lnTo>
                  <a:lnTo>
                    <a:pt x="209" y="102"/>
                  </a:lnTo>
                  <a:close/>
                  <a:moveTo>
                    <a:pt x="221" y="102"/>
                  </a:moveTo>
                  <a:lnTo>
                    <a:pt x="219" y="102"/>
                  </a:lnTo>
                  <a:lnTo>
                    <a:pt x="221" y="102"/>
                  </a:lnTo>
                  <a:close/>
                  <a:moveTo>
                    <a:pt x="221" y="102"/>
                  </a:moveTo>
                  <a:lnTo>
                    <a:pt x="221" y="100"/>
                  </a:lnTo>
                  <a:lnTo>
                    <a:pt x="219" y="100"/>
                  </a:lnTo>
                  <a:lnTo>
                    <a:pt x="221" y="100"/>
                  </a:lnTo>
                  <a:lnTo>
                    <a:pt x="221" y="102"/>
                  </a:lnTo>
                  <a:close/>
                  <a:moveTo>
                    <a:pt x="221" y="102"/>
                  </a:moveTo>
                  <a:lnTo>
                    <a:pt x="221" y="100"/>
                  </a:lnTo>
                  <a:lnTo>
                    <a:pt x="221" y="102"/>
                  </a:lnTo>
                  <a:close/>
                  <a:moveTo>
                    <a:pt x="207" y="102"/>
                  </a:moveTo>
                  <a:lnTo>
                    <a:pt x="209" y="102"/>
                  </a:lnTo>
                  <a:lnTo>
                    <a:pt x="209" y="104"/>
                  </a:lnTo>
                  <a:lnTo>
                    <a:pt x="207" y="104"/>
                  </a:lnTo>
                  <a:lnTo>
                    <a:pt x="207" y="102"/>
                  </a:lnTo>
                  <a:close/>
                  <a:moveTo>
                    <a:pt x="215" y="102"/>
                  </a:moveTo>
                  <a:lnTo>
                    <a:pt x="215" y="100"/>
                  </a:lnTo>
                  <a:lnTo>
                    <a:pt x="215" y="102"/>
                  </a:lnTo>
                  <a:close/>
                  <a:moveTo>
                    <a:pt x="219" y="100"/>
                  </a:moveTo>
                  <a:lnTo>
                    <a:pt x="219" y="102"/>
                  </a:lnTo>
                  <a:lnTo>
                    <a:pt x="219" y="100"/>
                  </a:lnTo>
                  <a:lnTo>
                    <a:pt x="217" y="100"/>
                  </a:lnTo>
                  <a:lnTo>
                    <a:pt x="219" y="100"/>
                  </a:lnTo>
                  <a:close/>
                  <a:moveTo>
                    <a:pt x="217" y="100"/>
                  </a:moveTo>
                  <a:lnTo>
                    <a:pt x="215" y="100"/>
                  </a:lnTo>
                  <a:lnTo>
                    <a:pt x="217" y="100"/>
                  </a:lnTo>
                  <a:close/>
                  <a:moveTo>
                    <a:pt x="215" y="100"/>
                  </a:moveTo>
                  <a:lnTo>
                    <a:pt x="217" y="100"/>
                  </a:lnTo>
                  <a:lnTo>
                    <a:pt x="217" y="102"/>
                  </a:lnTo>
                  <a:lnTo>
                    <a:pt x="219" y="102"/>
                  </a:lnTo>
                  <a:lnTo>
                    <a:pt x="217" y="102"/>
                  </a:lnTo>
                  <a:lnTo>
                    <a:pt x="219" y="102"/>
                  </a:lnTo>
                  <a:lnTo>
                    <a:pt x="217" y="102"/>
                  </a:lnTo>
                  <a:lnTo>
                    <a:pt x="217" y="104"/>
                  </a:lnTo>
                  <a:lnTo>
                    <a:pt x="217" y="102"/>
                  </a:lnTo>
                  <a:lnTo>
                    <a:pt x="215" y="102"/>
                  </a:lnTo>
                  <a:lnTo>
                    <a:pt x="215" y="100"/>
                  </a:lnTo>
                  <a:close/>
                  <a:moveTo>
                    <a:pt x="217" y="100"/>
                  </a:moveTo>
                  <a:lnTo>
                    <a:pt x="215" y="100"/>
                  </a:lnTo>
                  <a:lnTo>
                    <a:pt x="217" y="100"/>
                  </a:lnTo>
                  <a:close/>
                  <a:moveTo>
                    <a:pt x="215" y="100"/>
                  </a:moveTo>
                  <a:lnTo>
                    <a:pt x="213" y="100"/>
                  </a:lnTo>
                  <a:lnTo>
                    <a:pt x="215" y="100"/>
                  </a:lnTo>
                  <a:close/>
                  <a:moveTo>
                    <a:pt x="235" y="96"/>
                  </a:moveTo>
                  <a:lnTo>
                    <a:pt x="235" y="98"/>
                  </a:lnTo>
                  <a:lnTo>
                    <a:pt x="235" y="96"/>
                  </a:lnTo>
                  <a:close/>
                  <a:moveTo>
                    <a:pt x="239" y="96"/>
                  </a:moveTo>
                  <a:lnTo>
                    <a:pt x="237" y="96"/>
                  </a:lnTo>
                  <a:lnTo>
                    <a:pt x="237" y="94"/>
                  </a:lnTo>
                  <a:lnTo>
                    <a:pt x="239" y="94"/>
                  </a:lnTo>
                  <a:lnTo>
                    <a:pt x="239" y="96"/>
                  </a:lnTo>
                  <a:close/>
                  <a:moveTo>
                    <a:pt x="237" y="96"/>
                  </a:moveTo>
                  <a:lnTo>
                    <a:pt x="237" y="94"/>
                  </a:lnTo>
                  <a:lnTo>
                    <a:pt x="237" y="96"/>
                  </a:lnTo>
                  <a:close/>
                  <a:moveTo>
                    <a:pt x="235" y="96"/>
                  </a:moveTo>
                  <a:lnTo>
                    <a:pt x="235" y="94"/>
                  </a:lnTo>
                  <a:lnTo>
                    <a:pt x="235" y="96"/>
                  </a:lnTo>
                  <a:close/>
                  <a:moveTo>
                    <a:pt x="239" y="94"/>
                  </a:moveTo>
                  <a:lnTo>
                    <a:pt x="241" y="94"/>
                  </a:lnTo>
                  <a:lnTo>
                    <a:pt x="239" y="94"/>
                  </a:lnTo>
                  <a:close/>
                  <a:moveTo>
                    <a:pt x="235" y="94"/>
                  </a:moveTo>
                  <a:lnTo>
                    <a:pt x="235" y="94"/>
                  </a:lnTo>
                  <a:lnTo>
                    <a:pt x="235" y="94"/>
                  </a:lnTo>
                  <a:close/>
                  <a:moveTo>
                    <a:pt x="237" y="94"/>
                  </a:moveTo>
                  <a:lnTo>
                    <a:pt x="235" y="94"/>
                  </a:lnTo>
                  <a:lnTo>
                    <a:pt x="237" y="94"/>
                  </a:lnTo>
                  <a:close/>
                  <a:moveTo>
                    <a:pt x="237" y="94"/>
                  </a:moveTo>
                  <a:lnTo>
                    <a:pt x="239" y="94"/>
                  </a:lnTo>
                  <a:lnTo>
                    <a:pt x="237" y="94"/>
                  </a:lnTo>
                  <a:close/>
                  <a:moveTo>
                    <a:pt x="235" y="94"/>
                  </a:moveTo>
                  <a:lnTo>
                    <a:pt x="235" y="94"/>
                  </a:lnTo>
                  <a:lnTo>
                    <a:pt x="235" y="94"/>
                  </a:lnTo>
                  <a:lnTo>
                    <a:pt x="235" y="94"/>
                  </a:lnTo>
                  <a:lnTo>
                    <a:pt x="235" y="94"/>
                  </a:lnTo>
                  <a:close/>
                  <a:moveTo>
                    <a:pt x="235" y="94"/>
                  </a:moveTo>
                  <a:lnTo>
                    <a:pt x="235" y="92"/>
                  </a:lnTo>
                  <a:lnTo>
                    <a:pt x="235" y="94"/>
                  </a:lnTo>
                  <a:close/>
                  <a:moveTo>
                    <a:pt x="231" y="94"/>
                  </a:moveTo>
                  <a:lnTo>
                    <a:pt x="229" y="94"/>
                  </a:lnTo>
                  <a:lnTo>
                    <a:pt x="231" y="94"/>
                  </a:lnTo>
                  <a:lnTo>
                    <a:pt x="231" y="92"/>
                  </a:lnTo>
                  <a:lnTo>
                    <a:pt x="231" y="94"/>
                  </a:lnTo>
                  <a:close/>
                  <a:moveTo>
                    <a:pt x="237" y="92"/>
                  </a:moveTo>
                  <a:lnTo>
                    <a:pt x="235" y="92"/>
                  </a:lnTo>
                  <a:lnTo>
                    <a:pt x="237" y="92"/>
                  </a:lnTo>
                  <a:close/>
                  <a:moveTo>
                    <a:pt x="243" y="90"/>
                  </a:moveTo>
                  <a:lnTo>
                    <a:pt x="249" y="96"/>
                  </a:lnTo>
                  <a:lnTo>
                    <a:pt x="249" y="98"/>
                  </a:lnTo>
                  <a:lnTo>
                    <a:pt x="247" y="98"/>
                  </a:lnTo>
                  <a:lnTo>
                    <a:pt x="247" y="100"/>
                  </a:lnTo>
                  <a:lnTo>
                    <a:pt x="245" y="100"/>
                  </a:lnTo>
                  <a:lnTo>
                    <a:pt x="243" y="100"/>
                  </a:lnTo>
                  <a:lnTo>
                    <a:pt x="245" y="100"/>
                  </a:lnTo>
                  <a:lnTo>
                    <a:pt x="243" y="100"/>
                  </a:lnTo>
                  <a:lnTo>
                    <a:pt x="243" y="98"/>
                  </a:lnTo>
                  <a:lnTo>
                    <a:pt x="243" y="100"/>
                  </a:lnTo>
                  <a:lnTo>
                    <a:pt x="241" y="100"/>
                  </a:lnTo>
                  <a:lnTo>
                    <a:pt x="239" y="100"/>
                  </a:lnTo>
                  <a:lnTo>
                    <a:pt x="237" y="100"/>
                  </a:lnTo>
                  <a:lnTo>
                    <a:pt x="235" y="100"/>
                  </a:lnTo>
                  <a:lnTo>
                    <a:pt x="235" y="98"/>
                  </a:lnTo>
                  <a:lnTo>
                    <a:pt x="235" y="98"/>
                  </a:lnTo>
                  <a:lnTo>
                    <a:pt x="235" y="100"/>
                  </a:lnTo>
                  <a:lnTo>
                    <a:pt x="235" y="98"/>
                  </a:lnTo>
                  <a:lnTo>
                    <a:pt x="235" y="96"/>
                  </a:lnTo>
                  <a:lnTo>
                    <a:pt x="235" y="98"/>
                  </a:lnTo>
                  <a:lnTo>
                    <a:pt x="235" y="98"/>
                  </a:lnTo>
                  <a:lnTo>
                    <a:pt x="235" y="96"/>
                  </a:lnTo>
                  <a:lnTo>
                    <a:pt x="235" y="98"/>
                  </a:lnTo>
                  <a:lnTo>
                    <a:pt x="237" y="98"/>
                  </a:lnTo>
                  <a:lnTo>
                    <a:pt x="237" y="96"/>
                  </a:lnTo>
                  <a:lnTo>
                    <a:pt x="239" y="96"/>
                  </a:lnTo>
                  <a:lnTo>
                    <a:pt x="239" y="94"/>
                  </a:lnTo>
                  <a:lnTo>
                    <a:pt x="241" y="94"/>
                  </a:lnTo>
                  <a:lnTo>
                    <a:pt x="241" y="92"/>
                  </a:lnTo>
                  <a:lnTo>
                    <a:pt x="239" y="92"/>
                  </a:lnTo>
                  <a:lnTo>
                    <a:pt x="241" y="92"/>
                  </a:lnTo>
                  <a:lnTo>
                    <a:pt x="241" y="90"/>
                  </a:lnTo>
                  <a:lnTo>
                    <a:pt x="243" y="90"/>
                  </a:lnTo>
                  <a:close/>
                  <a:moveTo>
                    <a:pt x="221" y="88"/>
                  </a:moveTo>
                  <a:lnTo>
                    <a:pt x="223" y="88"/>
                  </a:lnTo>
                  <a:lnTo>
                    <a:pt x="221" y="88"/>
                  </a:lnTo>
                  <a:lnTo>
                    <a:pt x="223" y="88"/>
                  </a:lnTo>
                  <a:lnTo>
                    <a:pt x="221" y="88"/>
                  </a:lnTo>
                  <a:close/>
                  <a:moveTo>
                    <a:pt x="225" y="82"/>
                  </a:moveTo>
                  <a:lnTo>
                    <a:pt x="223" y="82"/>
                  </a:lnTo>
                  <a:lnTo>
                    <a:pt x="225" y="82"/>
                  </a:lnTo>
                  <a:close/>
                  <a:moveTo>
                    <a:pt x="223" y="82"/>
                  </a:moveTo>
                  <a:lnTo>
                    <a:pt x="225" y="82"/>
                  </a:lnTo>
                  <a:lnTo>
                    <a:pt x="225" y="84"/>
                  </a:lnTo>
                  <a:lnTo>
                    <a:pt x="225" y="86"/>
                  </a:lnTo>
                  <a:lnTo>
                    <a:pt x="225" y="84"/>
                  </a:lnTo>
                  <a:lnTo>
                    <a:pt x="225" y="86"/>
                  </a:lnTo>
                  <a:lnTo>
                    <a:pt x="225" y="88"/>
                  </a:lnTo>
                  <a:lnTo>
                    <a:pt x="223" y="88"/>
                  </a:lnTo>
                  <a:lnTo>
                    <a:pt x="223" y="86"/>
                  </a:lnTo>
                  <a:lnTo>
                    <a:pt x="223" y="84"/>
                  </a:lnTo>
                  <a:lnTo>
                    <a:pt x="221" y="84"/>
                  </a:lnTo>
                  <a:lnTo>
                    <a:pt x="223" y="84"/>
                  </a:lnTo>
                  <a:lnTo>
                    <a:pt x="221" y="84"/>
                  </a:lnTo>
                  <a:lnTo>
                    <a:pt x="221" y="82"/>
                  </a:lnTo>
                  <a:lnTo>
                    <a:pt x="221" y="84"/>
                  </a:lnTo>
                  <a:lnTo>
                    <a:pt x="221" y="82"/>
                  </a:lnTo>
                  <a:lnTo>
                    <a:pt x="221" y="84"/>
                  </a:lnTo>
                  <a:lnTo>
                    <a:pt x="221" y="82"/>
                  </a:lnTo>
                  <a:lnTo>
                    <a:pt x="223" y="82"/>
                  </a:lnTo>
                  <a:close/>
                  <a:moveTo>
                    <a:pt x="209" y="80"/>
                  </a:moveTo>
                  <a:lnTo>
                    <a:pt x="209" y="78"/>
                  </a:lnTo>
                  <a:lnTo>
                    <a:pt x="209" y="80"/>
                  </a:lnTo>
                  <a:close/>
                  <a:moveTo>
                    <a:pt x="133" y="84"/>
                  </a:moveTo>
                  <a:lnTo>
                    <a:pt x="133" y="82"/>
                  </a:lnTo>
                  <a:lnTo>
                    <a:pt x="133" y="84"/>
                  </a:lnTo>
                  <a:close/>
                  <a:moveTo>
                    <a:pt x="127" y="84"/>
                  </a:moveTo>
                  <a:lnTo>
                    <a:pt x="125" y="84"/>
                  </a:lnTo>
                  <a:lnTo>
                    <a:pt x="127" y="84"/>
                  </a:lnTo>
                  <a:close/>
                  <a:moveTo>
                    <a:pt x="215" y="76"/>
                  </a:moveTo>
                  <a:lnTo>
                    <a:pt x="213" y="76"/>
                  </a:lnTo>
                  <a:lnTo>
                    <a:pt x="215" y="76"/>
                  </a:lnTo>
                  <a:close/>
                  <a:moveTo>
                    <a:pt x="215" y="76"/>
                  </a:moveTo>
                  <a:lnTo>
                    <a:pt x="213" y="76"/>
                  </a:lnTo>
                  <a:lnTo>
                    <a:pt x="215" y="76"/>
                  </a:lnTo>
                  <a:close/>
                  <a:moveTo>
                    <a:pt x="221" y="72"/>
                  </a:moveTo>
                  <a:lnTo>
                    <a:pt x="221" y="74"/>
                  </a:lnTo>
                  <a:lnTo>
                    <a:pt x="223" y="74"/>
                  </a:lnTo>
                  <a:lnTo>
                    <a:pt x="223" y="72"/>
                  </a:lnTo>
                  <a:lnTo>
                    <a:pt x="223" y="74"/>
                  </a:lnTo>
                  <a:lnTo>
                    <a:pt x="223" y="76"/>
                  </a:lnTo>
                  <a:lnTo>
                    <a:pt x="221" y="76"/>
                  </a:lnTo>
                  <a:lnTo>
                    <a:pt x="221" y="78"/>
                  </a:lnTo>
                  <a:lnTo>
                    <a:pt x="221" y="80"/>
                  </a:lnTo>
                  <a:lnTo>
                    <a:pt x="223" y="80"/>
                  </a:lnTo>
                  <a:lnTo>
                    <a:pt x="223" y="82"/>
                  </a:lnTo>
                  <a:lnTo>
                    <a:pt x="225" y="82"/>
                  </a:lnTo>
                  <a:lnTo>
                    <a:pt x="225" y="82"/>
                  </a:lnTo>
                  <a:lnTo>
                    <a:pt x="223" y="82"/>
                  </a:lnTo>
                  <a:lnTo>
                    <a:pt x="223" y="82"/>
                  </a:lnTo>
                  <a:lnTo>
                    <a:pt x="221" y="82"/>
                  </a:lnTo>
                  <a:lnTo>
                    <a:pt x="221" y="80"/>
                  </a:lnTo>
                  <a:lnTo>
                    <a:pt x="219" y="80"/>
                  </a:lnTo>
                  <a:lnTo>
                    <a:pt x="219" y="78"/>
                  </a:lnTo>
                  <a:lnTo>
                    <a:pt x="219" y="76"/>
                  </a:lnTo>
                  <a:lnTo>
                    <a:pt x="219" y="78"/>
                  </a:lnTo>
                  <a:lnTo>
                    <a:pt x="217" y="78"/>
                  </a:lnTo>
                  <a:lnTo>
                    <a:pt x="217" y="76"/>
                  </a:lnTo>
                  <a:lnTo>
                    <a:pt x="217" y="78"/>
                  </a:lnTo>
                  <a:lnTo>
                    <a:pt x="217" y="76"/>
                  </a:lnTo>
                  <a:lnTo>
                    <a:pt x="219" y="76"/>
                  </a:lnTo>
                  <a:lnTo>
                    <a:pt x="217" y="76"/>
                  </a:lnTo>
                  <a:lnTo>
                    <a:pt x="219" y="76"/>
                  </a:lnTo>
                  <a:lnTo>
                    <a:pt x="219" y="74"/>
                  </a:lnTo>
                  <a:lnTo>
                    <a:pt x="221" y="72"/>
                  </a:lnTo>
                  <a:close/>
                  <a:moveTo>
                    <a:pt x="133" y="80"/>
                  </a:moveTo>
                  <a:lnTo>
                    <a:pt x="135" y="80"/>
                  </a:lnTo>
                  <a:lnTo>
                    <a:pt x="135" y="82"/>
                  </a:lnTo>
                  <a:lnTo>
                    <a:pt x="135" y="82"/>
                  </a:lnTo>
                  <a:lnTo>
                    <a:pt x="137" y="82"/>
                  </a:lnTo>
                  <a:lnTo>
                    <a:pt x="137" y="84"/>
                  </a:lnTo>
                  <a:lnTo>
                    <a:pt x="135" y="84"/>
                  </a:lnTo>
                  <a:lnTo>
                    <a:pt x="133" y="84"/>
                  </a:lnTo>
                  <a:lnTo>
                    <a:pt x="133" y="82"/>
                  </a:lnTo>
                  <a:lnTo>
                    <a:pt x="133" y="82"/>
                  </a:lnTo>
                  <a:lnTo>
                    <a:pt x="133" y="80"/>
                  </a:lnTo>
                  <a:close/>
                  <a:moveTo>
                    <a:pt x="135" y="84"/>
                  </a:moveTo>
                  <a:lnTo>
                    <a:pt x="135" y="82"/>
                  </a:lnTo>
                  <a:lnTo>
                    <a:pt x="135" y="84"/>
                  </a:lnTo>
                  <a:close/>
                  <a:moveTo>
                    <a:pt x="107" y="82"/>
                  </a:moveTo>
                  <a:lnTo>
                    <a:pt x="107" y="80"/>
                  </a:lnTo>
                  <a:lnTo>
                    <a:pt x="107" y="82"/>
                  </a:lnTo>
                  <a:close/>
                  <a:moveTo>
                    <a:pt x="107" y="80"/>
                  </a:moveTo>
                  <a:lnTo>
                    <a:pt x="109" y="80"/>
                  </a:lnTo>
                  <a:lnTo>
                    <a:pt x="107" y="80"/>
                  </a:lnTo>
                  <a:close/>
                  <a:moveTo>
                    <a:pt x="89" y="64"/>
                  </a:moveTo>
                  <a:lnTo>
                    <a:pt x="87" y="64"/>
                  </a:lnTo>
                  <a:lnTo>
                    <a:pt x="89" y="64"/>
                  </a:lnTo>
                  <a:close/>
                  <a:moveTo>
                    <a:pt x="87" y="64"/>
                  </a:moveTo>
                  <a:lnTo>
                    <a:pt x="87" y="62"/>
                  </a:lnTo>
                  <a:lnTo>
                    <a:pt x="87" y="64"/>
                  </a:lnTo>
                  <a:close/>
                  <a:moveTo>
                    <a:pt x="69" y="62"/>
                  </a:moveTo>
                  <a:lnTo>
                    <a:pt x="69" y="60"/>
                  </a:lnTo>
                  <a:lnTo>
                    <a:pt x="69" y="62"/>
                  </a:lnTo>
                  <a:close/>
                  <a:moveTo>
                    <a:pt x="77" y="58"/>
                  </a:moveTo>
                  <a:lnTo>
                    <a:pt x="75" y="58"/>
                  </a:lnTo>
                  <a:lnTo>
                    <a:pt x="77" y="58"/>
                  </a:lnTo>
                  <a:close/>
                  <a:moveTo>
                    <a:pt x="71" y="52"/>
                  </a:moveTo>
                  <a:lnTo>
                    <a:pt x="71" y="54"/>
                  </a:lnTo>
                  <a:lnTo>
                    <a:pt x="71" y="52"/>
                  </a:lnTo>
                  <a:close/>
                  <a:moveTo>
                    <a:pt x="85" y="42"/>
                  </a:moveTo>
                  <a:lnTo>
                    <a:pt x="85" y="40"/>
                  </a:lnTo>
                  <a:lnTo>
                    <a:pt x="85" y="42"/>
                  </a:lnTo>
                  <a:close/>
                  <a:moveTo>
                    <a:pt x="83" y="42"/>
                  </a:moveTo>
                  <a:lnTo>
                    <a:pt x="83" y="40"/>
                  </a:lnTo>
                  <a:lnTo>
                    <a:pt x="83" y="42"/>
                  </a:lnTo>
                  <a:close/>
                  <a:moveTo>
                    <a:pt x="95" y="38"/>
                  </a:moveTo>
                  <a:lnTo>
                    <a:pt x="97" y="38"/>
                  </a:lnTo>
                  <a:lnTo>
                    <a:pt x="95" y="38"/>
                  </a:lnTo>
                  <a:close/>
                  <a:moveTo>
                    <a:pt x="89" y="36"/>
                  </a:moveTo>
                  <a:lnTo>
                    <a:pt x="91" y="36"/>
                  </a:lnTo>
                  <a:lnTo>
                    <a:pt x="89" y="36"/>
                  </a:lnTo>
                  <a:lnTo>
                    <a:pt x="91" y="36"/>
                  </a:lnTo>
                  <a:lnTo>
                    <a:pt x="91" y="36"/>
                  </a:lnTo>
                  <a:lnTo>
                    <a:pt x="93" y="36"/>
                  </a:lnTo>
                  <a:lnTo>
                    <a:pt x="93" y="38"/>
                  </a:lnTo>
                  <a:lnTo>
                    <a:pt x="91" y="38"/>
                  </a:lnTo>
                  <a:lnTo>
                    <a:pt x="91" y="40"/>
                  </a:lnTo>
                  <a:lnTo>
                    <a:pt x="91" y="40"/>
                  </a:lnTo>
                  <a:lnTo>
                    <a:pt x="89" y="40"/>
                  </a:lnTo>
                  <a:lnTo>
                    <a:pt x="87" y="40"/>
                  </a:lnTo>
                  <a:lnTo>
                    <a:pt x="85" y="40"/>
                  </a:lnTo>
                  <a:lnTo>
                    <a:pt x="83" y="40"/>
                  </a:lnTo>
                  <a:lnTo>
                    <a:pt x="83" y="42"/>
                  </a:lnTo>
                  <a:lnTo>
                    <a:pt x="85" y="42"/>
                  </a:lnTo>
                  <a:lnTo>
                    <a:pt x="85" y="40"/>
                  </a:lnTo>
                  <a:lnTo>
                    <a:pt x="87" y="40"/>
                  </a:lnTo>
                  <a:lnTo>
                    <a:pt x="87" y="42"/>
                  </a:lnTo>
                  <a:lnTo>
                    <a:pt x="87" y="44"/>
                  </a:lnTo>
                  <a:lnTo>
                    <a:pt x="85" y="44"/>
                  </a:lnTo>
                  <a:lnTo>
                    <a:pt x="83" y="44"/>
                  </a:lnTo>
                  <a:lnTo>
                    <a:pt x="83" y="46"/>
                  </a:lnTo>
                  <a:lnTo>
                    <a:pt x="81" y="46"/>
                  </a:lnTo>
                  <a:lnTo>
                    <a:pt x="81" y="48"/>
                  </a:lnTo>
                  <a:lnTo>
                    <a:pt x="79" y="48"/>
                  </a:lnTo>
                  <a:lnTo>
                    <a:pt x="79" y="50"/>
                  </a:lnTo>
                  <a:lnTo>
                    <a:pt x="77" y="50"/>
                  </a:lnTo>
                  <a:lnTo>
                    <a:pt x="77" y="52"/>
                  </a:lnTo>
                  <a:lnTo>
                    <a:pt x="77" y="54"/>
                  </a:lnTo>
                  <a:lnTo>
                    <a:pt x="75" y="54"/>
                  </a:lnTo>
                  <a:lnTo>
                    <a:pt x="75" y="56"/>
                  </a:lnTo>
                  <a:lnTo>
                    <a:pt x="73" y="58"/>
                  </a:lnTo>
                  <a:lnTo>
                    <a:pt x="73" y="60"/>
                  </a:lnTo>
                  <a:lnTo>
                    <a:pt x="73" y="62"/>
                  </a:lnTo>
                  <a:lnTo>
                    <a:pt x="71" y="62"/>
                  </a:lnTo>
                  <a:lnTo>
                    <a:pt x="73" y="62"/>
                  </a:lnTo>
                  <a:lnTo>
                    <a:pt x="71" y="62"/>
                  </a:lnTo>
                  <a:lnTo>
                    <a:pt x="71" y="64"/>
                  </a:lnTo>
                  <a:lnTo>
                    <a:pt x="71" y="62"/>
                  </a:lnTo>
                  <a:lnTo>
                    <a:pt x="69" y="62"/>
                  </a:lnTo>
                  <a:lnTo>
                    <a:pt x="69" y="60"/>
                  </a:lnTo>
                  <a:lnTo>
                    <a:pt x="69" y="58"/>
                  </a:lnTo>
                  <a:lnTo>
                    <a:pt x="71" y="58"/>
                  </a:lnTo>
                  <a:lnTo>
                    <a:pt x="71" y="56"/>
                  </a:lnTo>
                  <a:lnTo>
                    <a:pt x="71" y="54"/>
                  </a:lnTo>
                  <a:lnTo>
                    <a:pt x="71" y="52"/>
                  </a:lnTo>
                  <a:lnTo>
                    <a:pt x="69" y="52"/>
                  </a:lnTo>
                  <a:lnTo>
                    <a:pt x="71" y="52"/>
                  </a:lnTo>
                  <a:lnTo>
                    <a:pt x="71" y="54"/>
                  </a:lnTo>
                  <a:lnTo>
                    <a:pt x="69" y="54"/>
                  </a:lnTo>
                  <a:lnTo>
                    <a:pt x="69" y="52"/>
                  </a:lnTo>
                  <a:lnTo>
                    <a:pt x="69" y="54"/>
                  </a:lnTo>
                  <a:lnTo>
                    <a:pt x="71" y="54"/>
                  </a:lnTo>
                  <a:lnTo>
                    <a:pt x="69" y="54"/>
                  </a:lnTo>
                  <a:lnTo>
                    <a:pt x="69" y="56"/>
                  </a:lnTo>
                  <a:lnTo>
                    <a:pt x="69" y="54"/>
                  </a:lnTo>
                  <a:lnTo>
                    <a:pt x="71" y="54"/>
                  </a:lnTo>
                  <a:lnTo>
                    <a:pt x="71" y="56"/>
                  </a:lnTo>
                  <a:lnTo>
                    <a:pt x="69" y="56"/>
                  </a:lnTo>
                  <a:lnTo>
                    <a:pt x="69" y="58"/>
                  </a:lnTo>
                  <a:lnTo>
                    <a:pt x="69" y="56"/>
                  </a:lnTo>
                  <a:lnTo>
                    <a:pt x="69" y="58"/>
                  </a:lnTo>
                  <a:lnTo>
                    <a:pt x="67" y="58"/>
                  </a:lnTo>
                  <a:lnTo>
                    <a:pt x="67" y="56"/>
                  </a:lnTo>
                  <a:lnTo>
                    <a:pt x="65" y="56"/>
                  </a:lnTo>
                  <a:lnTo>
                    <a:pt x="67" y="56"/>
                  </a:lnTo>
                  <a:lnTo>
                    <a:pt x="67" y="58"/>
                  </a:lnTo>
                  <a:lnTo>
                    <a:pt x="67" y="60"/>
                  </a:lnTo>
                  <a:lnTo>
                    <a:pt x="69" y="60"/>
                  </a:lnTo>
                  <a:lnTo>
                    <a:pt x="69" y="62"/>
                  </a:lnTo>
                  <a:lnTo>
                    <a:pt x="69" y="60"/>
                  </a:lnTo>
                  <a:lnTo>
                    <a:pt x="69" y="62"/>
                  </a:lnTo>
                  <a:lnTo>
                    <a:pt x="69" y="60"/>
                  </a:lnTo>
                  <a:lnTo>
                    <a:pt x="69" y="62"/>
                  </a:lnTo>
                  <a:lnTo>
                    <a:pt x="69" y="60"/>
                  </a:lnTo>
                  <a:lnTo>
                    <a:pt x="69" y="62"/>
                  </a:lnTo>
                  <a:lnTo>
                    <a:pt x="69" y="60"/>
                  </a:lnTo>
                  <a:lnTo>
                    <a:pt x="69" y="62"/>
                  </a:lnTo>
                  <a:lnTo>
                    <a:pt x="71" y="62"/>
                  </a:lnTo>
                  <a:lnTo>
                    <a:pt x="71" y="64"/>
                  </a:lnTo>
                  <a:lnTo>
                    <a:pt x="69" y="64"/>
                  </a:lnTo>
                  <a:lnTo>
                    <a:pt x="69" y="66"/>
                  </a:lnTo>
                  <a:lnTo>
                    <a:pt x="69" y="68"/>
                  </a:lnTo>
                  <a:lnTo>
                    <a:pt x="69" y="70"/>
                  </a:lnTo>
                  <a:lnTo>
                    <a:pt x="69" y="72"/>
                  </a:lnTo>
                  <a:lnTo>
                    <a:pt x="69" y="74"/>
                  </a:lnTo>
                  <a:lnTo>
                    <a:pt x="69" y="72"/>
                  </a:lnTo>
                  <a:lnTo>
                    <a:pt x="69" y="74"/>
                  </a:lnTo>
                  <a:lnTo>
                    <a:pt x="71" y="74"/>
                  </a:lnTo>
                  <a:lnTo>
                    <a:pt x="71" y="72"/>
                  </a:lnTo>
                  <a:lnTo>
                    <a:pt x="73" y="72"/>
                  </a:lnTo>
                  <a:lnTo>
                    <a:pt x="73" y="70"/>
                  </a:lnTo>
                  <a:lnTo>
                    <a:pt x="71" y="70"/>
                  </a:lnTo>
                  <a:lnTo>
                    <a:pt x="73" y="70"/>
                  </a:lnTo>
                  <a:lnTo>
                    <a:pt x="73" y="68"/>
                  </a:lnTo>
                  <a:lnTo>
                    <a:pt x="73" y="70"/>
                  </a:lnTo>
                  <a:lnTo>
                    <a:pt x="73" y="68"/>
                  </a:lnTo>
                  <a:lnTo>
                    <a:pt x="75" y="68"/>
                  </a:lnTo>
                  <a:lnTo>
                    <a:pt x="75" y="66"/>
                  </a:lnTo>
                  <a:lnTo>
                    <a:pt x="77" y="66"/>
                  </a:lnTo>
                  <a:lnTo>
                    <a:pt x="77" y="64"/>
                  </a:lnTo>
                  <a:lnTo>
                    <a:pt x="79" y="64"/>
                  </a:lnTo>
                  <a:lnTo>
                    <a:pt x="81" y="64"/>
                  </a:lnTo>
                  <a:lnTo>
                    <a:pt x="81" y="62"/>
                  </a:lnTo>
                  <a:lnTo>
                    <a:pt x="81" y="64"/>
                  </a:lnTo>
                  <a:lnTo>
                    <a:pt x="81" y="62"/>
                  </a:lnTo>
                  <a:lnTo>
                    <a:pt x="81" y="64"/>
                  </a:lnTo>
                  <a:lnTo>
                    <a:pt x="79" y="66"/>
                  </a:lnTo>
                  <a:lnTo>
                    <a:pt x="77" y="66"/>
                  </a:lnTo>
                  <a:lnTo>
                    <a:pt x="77" y="68"/>
                  </a:lnTo>
                  <a:lnTo>
                    <a:pt x="77" y="70"/>
                  </a:lnTo>
                  <a:lnTo>
                    <a:pt x="77" y="68"/>
                  </a:lnTo>
                  <a:lnTo>
                    <a:pt x="79" y="68"/>
                  </a:lnTo>
                  <a:lnTo>
                    <a:pt x="79" y="66"/>
                  </a:lnTo>
                  <a:lnTo>
                    <a:pt x="81" y="66"/>
                  </a:lnTo>
                  <a:lnTo>
                    <a:pt x="83" y="66"/>
                  </a:lnTo>
                  <a:lnTo>
                    <a:pt x="85" y="66"/>
                  </a:lnTo>
                  <a:lnTo>
                    <a:pt x="87" y="66"/>
                  </a:lnTo>
                  <a:lnTo>
                    <a:pt x="89" y="66"/>
                  </a:lnTo>
                  <a:lnTo>
                    <a:pt x="91" y="66"/>
                  </a:lnTo>
                  <a:lnTo>
                    <a:pt x="91" y="66"/>
                  </a:lnTo>
                  <a:lnTo>
                    <a:pt x="93" y="66"/>
                  </a:lnTo>
                  <a:lnTo>
                    <a:pt x="93" y="68"/>
                  </a:lnTo>
                  <a:lnTo>
                    <a:pt x="95" y="68"/>
                  </a:lnTo>
                  <a:lnTo>
                    <a:pt x="95" y="70"/>
                  </a:lnTo>
                  <a:lnTo>
                    <a:pt x="97" y="70"/>
                  </a:lnTo>
                  <a:lnTo>
                    <a:pt x="97" y="68"/>
                  </a:lnTo>
                  <a:lnTo>
                    <a:pt x="95" y="68"/>
                  </a:lnTo>
                  <a:lnTo>
                    <a:pt x="97" y="68"/>
                  </a:lnTo>
                  <a:lnTo>
                    <a:pt x="97" y="70"/>
                  </a:lnTo>
                  <a:lnTo>
                    <a:pt x="99" y="70"/>
                  </a:lnTo>
                  <a:lnTo>
                    <a:pt x="99" y="72"/>
                  </a:lnTo>
                  <a:lnTo>
                    <a:pt x="99" y="74"/>
                  </a:lnTo>
                  <a:lnTo>
                    <a:pt x="101" y="74"/>
                  </a:lnTo>
                  <a:lnTo>
                    <a:pt x="101" y="76"/>
                  </a:lnTo>
                  <a:lnTo>
                    <a:pt x="103" y="76"/>
                  </a:lnTo>
                  <a:lnTo>
                    <a:pt x="103" y="78"/>
                  </a:lnTo>
                  <a:lnTo>
                    <a:pt x="105" y="78"/>
                  </a:lnTo>
                  <a:lnTo>
                    <a:pt x="105" y="80"/>
                  </a:lnTo>
                  <a:lnTo>
                    <a:pt x="107" y="80"/>
                  </a:lnTo>
                  <a:lnTo>
                    <a:pt x="107" y="82"/>
                  </a:lnTo>
                  <a:lnTo>
                    <a:pt x="107" y="80"/>
                  </a:lnTo>
                  <a:lnTo>
                    <a:pt x="107" y="82"/>
                  </a:lnTo>
                  <a:lnTo>
                    <a:pt x="107" y="80"/>
                  </a:lnTo>
                  <a:lnTo>
                    <a:pt x="109" y="80"/>
                  </a:lnTo>
                  <a:lnTo>
                    <a:pt x="109" y="82"/>
                  </a:lnTo>
                  <a:lnTo>
                    <a:pt x="107" y="82"/>
                  </a:lnTo>
                  <a:lnTo>
                    <a:pt x="109" y="82"/>
                  </a:lnTo>
                  <a:lnTo>
                    <a:pt x="109" y="82"/>
                  </a:lnTo>
                  <a:lnTo>
                    <a:pt x="107" y="82"/>
                  </a:lnTo>
                  <a:lnTo>
                    <a:pt x="109" y="82"/>
                  </a:lnTo>
                  <a:lnTo>
                    <a:pt x="109" y="84"/>
                  </a:lnTo>
                  <a:lnTo>
                    <a:pt x="111" y="84"/>
                  </a:lnTo>
                  <a:lnTo>
                    <a:pt x="113" y="84"/>
                  </a:lnTo>
                  <a:lnTo>
                    <a:pt x="115" y="84"/>
                  </a:lnTo>
                  <a:lnTo>
                    <a:pt x="117" y="82"/>
                  </a:lnTo>
                  <a:lnTo>
                    <a:pt x="117" y="84"/>
                  </a:lnTo>
                  <a:lnTo>
                    <a:pt x="119" y="84"/>
                  </a:lnTo>
                  <a:lnTo>
                    <a:pt x="119" y="82"/>
                  </a:lnTo>
                  <a:lnTo>
                    <a:pt x="121" y="82"/>
                  </a:lnTo>
                  <a:lnTo>
                    <a:pt x="121" y="82"/>
                  </a:lnTo>
                  <a:lnTo>
                    <a:pt x="121" y="82"/>
                  </a:lnTo>
                  <a:lnTo>
                    <a:pt x="121" y="82"/>
                  </a:lnTo>
                  <a:lnTo>
                    <a:pt x="121" y="82"/>
                  </a:lnTo>
                  <a:lnTo>
                    <a:pt x="121" y="82"/>
                  </a:lnTo>
                  <a:lnTo>
                    <a:pt x="123" y="82"/>
                  </a:lnTo>
                  <a:lnTo>
                    <a:pt x="123" y="82"/>
                  </a:lnTo>
                  <a:lnTo>
                    <a:pt x="125" y="82"/>
                  </a:lnTo>
                  <a:lnTo>
                    <a:pt x="125" y="84"/>
                  </a:lnTo>
                  <a:lnTo>
                    <a:pt x="127" y="84"/>
                  </a:lnTo>
                  <a:lnTo>
                    <a:pt x="127" y="86"/>
                  </a:lnTo>
                  <a:lnTo>
                    <a:pt x="129" y="86"/>
                  </a:lnTo>
                  <a:lnTo>
                    <a:pt x="129" y="84"/>
                  </a:lnTo>
                  <a:lnTo>
                    <a:pt x="131" y="84"/>
                  </a:lnTo>
                  <a:lnTo>
                    <a:pt x="133" y="84"/>
                  </a:lnTo>
                  <a:lnTo>
                    <a:pt x="133" y="86"/>
                  </a:lnTo>
                  <a:lnTo>
                    <a:pt x="135" y="86"/>
                  </a:lnTo>
                  <a:lnTo>
                    <a:pt x="135" y="84"/>
                  </a:lnTo>
                  <a:lnTo>
                    <a:pt x="135" y="86"/>
                  </a:lnTo>
                  <a:lnTo>
                    <a:pt x="137" y="86"/>
                  </a:lnTo>
                  <a:lnTo>
                    <a:pt x="137" y="84"/>
                  </a:lnTo>
                  <a:lnTo>
                    <a:pt x="137" y="82"/>
                  </a:lnTo>
                  <a:lnTo>
                    <a:pt x="139" y="82"/>
                  </a:lnTo>
                  <a:lnTo>
                    <a:pt x="139" y="82"/>
                  </a:lnTo>
                  <a:lnTo>
                    <a:pt x="139" y="82"/>
                  </a:lnTo>
                  <a:lnTo>
                    <a:pt x="139" y="80"/>
                  </a:lnTo>
                  <a:lnTo>
                    <a:pt x="141" y="80"/>
                  </a:lnTo>
                  <a:lnTo>
                    <a:pt x="143" y="80"/>
                  </a:lnTo>
                  <a:lnTo>
                    <a:pt x="143" y="78"/>
                  </a:lnTo>
                  <a:lnTo>
                    <a:pt x="145" y="78"/>
                  </a:lnTo>
                  <a:lnTo>
                    <a:pt x="145" y="76"/>
                  </a:lnTo>
                  <a:lnTo>
                    <a:pt x="147" y="76"/>
                  </a:lnTo>
                  <a:lnTo>
                    <a:pt x="149" y="74"/>
                  </a:lnTo>
                  <a:lnTo>
                    <a:pt x="151" y="74"/>
                  </a:lnTo>
                  <a:lnTo>
                    <a:pt x="151" y="72"/>
                  </a:lnTo>
                  <a:lnTo>
                    <a:pt x="151" y="74"/>
                  </a:lnTo>
                  <a:lnTo>
                    <a:pt x="153" y="74"/>
                  </a:lnTo>
                  <a:lnTo>
                    <a:pt x="155" y="74"/>
                  </a:lnTo>
                  <a:lnTo>
                    <a:pt x="155" y="72"/>
                  </a:lnTo>
                  <a:lnTo>
                    <a:pt x="157" y="72"/>
                  </a:lnTo>
                  <a:lnTo>
                    <a:pt x="159" y="72"/>
                  </a:lnTo>
                  <a:lnTo>
                    <a:pt x="161" y="72"/>
                  </a:lnTo>
                  <a:lnTo>
                    <a:pt x="163" y="72"/>
                  </a:lnTo>
                  <a:lnTo>
                    <a:pt x="165" y="72"/>
                  </a:lnTo>
                  <a:lnTo>
                    <a:pt x="167" y="72"/>
                  </a:lnTo>
                  <a:lnTo>
                    <a:pt x="167" y="70"/>
                  </a:lnTo>
                  <a:lnTo>
                    <a:pt x="169" y="70"/>
                  </a:lnTo>
                  <a:lnTo>
                    <a:pt x="171" y="70"/>
                  </a:lnTo>
                  <a:lnTo>
                    <a:pt x="173" y="70"/>
                  </a:lnTo>
                  <a:lnTo>
                    <a:pt x="175" y="70"/>
                  </a:lnTo>
                  <a:lnTo>
                    <a:pt x="177" y="70"/>
                  </a:lnTo>
                  <a:lnTo>
                    <a:pt x="177" y="68"/>
                  </a:lnTo>
                  <a:lnTo>
                    <a:pt x="179" y="68"/>
                  </a:lnTo>
                  <a:lnTo>
                    <a:pt x="181" y="68"/>
                  </a:lnTo>
                  <a:lnTo>
                    <a:pt x="181" y="66"/>
                  </a:lnTo>
                  <a:lnTo>
                    <a:pt x="183" y="66"/>
                  </a:lnTo>
                  <a:lnTo>
                    <a:pt x="185" y="66"/>
                  </a:lnTo>
                  <a:lnTo>
                    <a:pt x="185" y="64"/>
                  </a:lnTo>
                  <a:lnTo>
                    <a:pt x="187" y="64"/>
                  </a:lnTo>
                  <a:lnTo>
                    <a:pt x="187" y="64"/>
                  </a:lnTo>
                  <a:lnTo>
                    <a:pt x="189" y="64"/>
                  </a:lnTo>
                  <a:lnTo>
                    <a:pt x="191" y="64"/>
                  </a:lnTo>
                  <a:lnTo>
                    <a:pt x="191" y="66"/>
                  </a:lnTo>
                  <a:lnTo>
                    <a:pt x="189" y="66"/>
                  </a:lnTo>
                  <a:lnTo>
                    <a:pt x="189" y="68"/>
                  </a:lnTo>
                  <a:lnTo>
                    <a:pt x="189" y="70"/>
                  </a:lnTo>
                  <a:lnTo>
                    <a:pt x="189" y="72"/>
                  </a:lnTo>
                  <a:lnTo>
                    <a:pt x="189" y="74"/>
                  </a:lnTo>
                  <a:lnTo>
                    <a:pt x="189" y="76"/>
                  </a:lnTo>
                  <a:lnTo>
                    <a:pt x="191" y="76"/>
                  </a:lnTo>
                  <a:lnTo>
                    <a:pt x="189" y="76"/>
                  </a:lnTo>
                  <a:lnTo>
                    <a:pt x="189" y="78"/>
                  </a:lnTo>
                  <a:lnTo>
                    <a:pt x="191" y="78"/>
                  </a:lnTo>
                  <a:lnTo>
                    <a:pt x="191" y="80"/>
                  </a:lnTo>
                  <a:lnTo>
                    <a:pt x="193" y="80"/>
                  </a:lnTo>
                  <a:lnTo>
                    <a:pt x="193" y="78"/>
                  </a:lnTo>
                  <a:lnTo>
                    <a:pt x="195" y="78"/>
                  </a:lnTo>
                  <a:lnTo>
                    <a:pt x="195" y="80"/>
                  </a:lnTo>
                  <a:lnTo>
                    <a:pt x="197" y="80"/>
                  </a:lnTo>
                  <a:lnTo>
                    <a:pt x="199" y="80"/>
                  </a:lnTo>
                  <a:lnTo>
                    <a:pt x="201" y="80"/>
                  </a:lnTo>
                  <a:lnTo>
                    <a:pt x="201" y="78"/>
                  </a:lnTo>
                  <a:lnTo>
                    <a:pt x="203" y="78"/>
                  </a:lnTo>
                  <a:lnTo>
                    <a:pt x="205" y="78"/>
                  </a:lnTo>
                  <a:lnTo>
                    <a:pt x="207" y="78"/>
                  </a:lnTo>
                  <a:lnTo>
                    <a:pt x="207" y="80"/>
                  </a:lnTo>
                  <a:lnTo>
                    <a:pt x="207" y="82"/>
                  </a:lnTo>
                  <a:lnTo>
                    <a:pt x="209" y="82"/>
                  </a:lnTo>
                  <a:lnTo>
                    <a:pt x="207" y="82"/>
                  </a:lnTo>
                  <a:lnTo>
                    <a:pt x="207" y="80"/>
                  </a:lnTo>
                  <a:lnTo>
                    <a:pt x="209" y="80"/>
                  </a:lnTo>
                  <a:lnTo>
                    <a:pt x="209" y="78"/>
                  </a:lnTo>
                  <a:lnTo>
                    <a:pt x="211" y="78"/>
                  </a:lnTo>
                  <a:lnTo>
                    <a:pt x="211" y="80"/>
                  </a:lnTo>
                  <a:lnTo>
                    <a:pt x="211" y="78"/>
                  </a:lnTo>
                  <a:lnTo>
                    <a:pt x="211" y="76"/>
                  </a:lnTo>
                  <a:lnTo>
                    <a:pt x="213" y="76"/>
                  </a:lnTo>
                  <a:lnTo>
                    <a:pt x="215" y="76"/>
                  </a:lnTo>
                  <a:lnTo>
                    <a:pt x="213" y="76"/>
                  </a:lnTo>
                  <a:lnTo>
                    <a:pt x="215" y="76"/>
                  </a:lnTo>
                  <a:lnTo>
                    <a:pt x="217" y="76"/>
                  </a:lnTo>
                  <a:lnTo>
                    <a:pt x="217" y="78"/>
                  </a:lnTo>
                  <a:lnTo>
                    <a:pt x="219" y="78"/>
                  </a:lnTo>
                  <a:lnTo>
                    <a:pt x="219" y="80"/>
                  </a:lnTo>
                  <a:lnTo>
                    <a:pt x="219" y="82"/>
                  </a:lnTo>
                  <a:lnTo>
                    <a:pt x="221" y="82"/>
                  </a:lnTo>
                  <a:lnTo>
                    <a:pt x="221" y="82"/>
                  </a:lnTo>
                  <a:lnTo>
                    <a:pt x="221" y="84"/>
                  </a:lnTo>
                  <a:lnTo>
                    <a:pt x="223" y="84"/>
                  </a:lnTo>
                  <a:lnTo>
                    <a:pt x="221" y="84"/>
                  </a:lnTo>
                  <a:lnTo>
                    <a:pt x="223" y="84"/>
                  </a:lnTo>
                  <a:lnTo>
                    <a:pt x="223" y="86"/>
                  </a:lnTo>
                  <a:lnTo>
                    <a:pt x="221" y="86"/>
                  </a:lnTo>
                  <a:lnTo>
                    <a:pt x="221" y="88"/>
                  </a:lnTo>
                  <a:lnTo>
                    <a:pt x="219" y="88"/>
                  </a:lnTo>
                  <a:lnTo>
                    <a:pt x="221" y="88"/>
                  </a:lnTo>
                  <a:lnTo>
                    <a:pt x="221" y="90"/>
                  </a:lnTo>
                  <a:lnTo>
                    <a:pt x="223" y="90"/>
                  </a:lnTo>
                  <a:lnTo>
                    <a:pt x="225" y="90"/>
                  </a:lnTo>
                  <a:lnTo>
                    <a:pt x="227" y="90"/>
                  </a:lnTo>
                  <a:lnTo>
                    <a:pt x="229" y="90"/>
                  </a:lnTo>
                  <a:lnTo>
                    <a:pt x="229" y="92"/>
                  </a:lnTo>
                  <a:lnTo>
                    <a:pt x="227" y="92"/>
                  </a:lnTo>
                  <a:lnTo>
                    <a:pt x="227" y="94"/>
                  </a:lnTo>
                  <a:lnTo>
                    <a:pt x="229" y="94"/>
                  </a:lnTo>
                  <a:lnTo>
                    <a:pt x="229" y="96"/>
                  </a:lnTo>
                  <a:lnTo>
                    <a:pt x="231" y="96"/>
                  </a:lnTo>
                  <a:lnTo>
                    <a:pt x="231" y="98"/>
                  </a:lnTo>
                  <a:lnTo>
                    <a:pt x="233" y="98"/>
                  </a:lnTo>
                  <a:lnTo>
                    <a:pt x="233" y="96"/>
                  </a:lnTo>
                  <a:lnTo>
                    <a:pt x="233" y="98"/>
                  </a:lnTo>
                  <a:lnTo>
                    <a:pt x="235" y="98"/>
                  </a:lnTo>
                  <a:lnTo>
                    <a:pt x="235" y="100"/>
                  </a:lnTo>
                  <a:lnTo>
                    <a:pt x="233" y="100"/>
                  </a:lnTo>
                  <a:lnTo>
                    <a:pt x="231" y="100"/>
                  </a:lnTo>
                  <a:lnTo>
                    <a:pt x="229" y="100"/>
                  </a:lnTo>
                  <a:lnTo>
                    <a:pt x="227" y="100"/>
                  </a:lnTo>
                  <a:lnTo>
                    <a:pt x="225" y="100"/>
                  </a:lnTo>
                  <a:lnTo>
                    <a:pt x="223" y="100"/>
                  </a:lnTo>
                  <a:lnTo>
                    <a:pt x="221" y="100"/>
                  </a:lnTo>
                  <a:lnTo>
                    <a:pt x="219" y="100"/>
                  </a:lnTo>
                  <a:lnTo>
                    <a:pt x="219" y="102"/>
                  </a:lnTo>
                  <a:lnTo>
                    <a:pt x="219" y="100"/>
                  </a:lnTo>
                  <a:lnTo>
                    <a:pt x="217" y="100"/>
                  </a:lnTo>
                  <a:lnTo>
                    <a:pt x="219" y="100"/>
                  </a:lnTo>
                  <a:lnTo>
                    <a:pt x="217" y="100"/>
                  </a:lnTo>
                  <a:lnTo>
                    <a:pt x="217" y="102"/>
                  </a:lnTo>
                  <a:lnTo>
                    <a:pt x="219" y="102"/>
                  </a:lnTo>
                  <a:lnTo>
                    <a:pt x="217" y="102"/>
                  </a:lnTo>
                  <a:lnTo>
                    <a:pt x="217" y="100"/>
                  </a:lnTo>
                  <a:lnTo>
                    <a:pt x="215" y="100"/>
                  </a:lnTo>
                  <a:lnTo>
                    <a:pt x="213" y="100"/>
                  </a:lnTo>
                  <a:lnTo>
                    <a:pt x="215" y="100"/>
                  </a:lnTo>
                  <a:lnTo>
                    <a:pt x="213" y="100"/>
                  </a:lnTo>
                  <a:lnTo>
                    <a:pt x="215" y="102"/>
                  </a:lnTo>
                  <a:lnTo>
                    <a:pt x="213" y="102"/>
                  </a:lnTo>
                  <a:lnTo>
                    <a:pt x="215" y="102"/>
                  </a:lnTo>
                  <a:lnTo>
                    <a:pt x="213" y="102"/>
                  </a:lnTo>
                  <a:lnTo>
                    <a:pt x="215" y="102"/>
                  </a:lnTo>
                  <a:lnTo>
                    <a:pt x="213" y="102"/>
                  </a:lnTo>
                  <a:lnTo>
                    <a:pt x="213" y="100"/>
                  </a:lnTo>
                  <a:lnTo>
                    <a:pt x="211" y="100"/>
                  </a:lnTo>
                  <a:lnTo>
                    <a:pt x="213" y="100"/>
                  </a:lnTo>
                  <a:lnTo>
                    <a:pt x="213" y="102"/>
                  </a:lnTo>
                  <a:lnTo>
                    <a:pt x="211" y="102"/>
                  </a:lnTo>
                  <a:lnTo>
                    <a:pt x="211" y="100"/>
                  </a:lnTo>
                  <a:lnTo>
                    <a:pt x="211" y="98"/>
                  </a:lnTo>
                  <a:lnTo>
                    <a:pt x="209" y="98"/>
                  </a:lnTo>
                  <a:lnTo>
                    <a:pt x="209" y="100"/>
                  </a:lnTo>
                  <a:lnTo>
                    <a:pt x="209" y="98"/>
                  </a:lnTo>
                  <a:lnTo>
                    <a:pt x="207" y="98"/>
                  </a:lnTo>
                  <a:lnTo>
                    <a:pt x="205" y="98"/>
                  </a:lnTo>
                  <a:lnTo>
                    <a:pt x="205" y="100"/>
                  </a:lnTo>
                  <a:lnTo>
                    <a:pt x="205" y="102"/>
                  </a:lnTo>
                  <a:lnTo>
                    <a:pt x="205" y="104"/>
                  </a:lnTo>
                  <a:lnTo>
                    <a:pt x="205" y="102"/>
                  </a:lnTo>
                  <a:lnTo>
                    <a:pt x="205" y="104"/>
                  </a:lnTo>
                  <a:lnTo>
                    <a:pt x="205" y="106"/>
                  </a:lnTo>
                  <a:lnTo>
                    <a:pt x="205" y="104"/>
                  </a:lnTo>
                  <a:lnTo>
                    <a:pt x="205" y="106"/>
                  </a:lnTo>
                  <a:lnTo>
                    <a:pt x="205" y="108"/>
                  </a:lnTo>
                  <a:lnTo>
                    <a:pt x="207" y="108"/>
                  </a:lnTo>
                  <a:lnTo>
                    <a:pt x="205" y="108"/>
                  </a:lnTo>
                  <a:lnTo>
                    <a:pt x="207" y="108"/>
                  </a:lnTo>
                  <a:lnTo>
                    <a:pt x="205" y="110"/>
                  </a:lnTo>
                  <a:lnTo>
                    <a:pt x="203" y="110"/>
                  </a:lnTo>
                  <a:lnTo>
                    <a:pt x="203" y="108"/>
                  </a:lnTo>
                  <a:lnTo>
                    <a:pt x="201" y="108"/>
                  </a:lnTo>
                  <a:lnTo>
                    <a:pt x="199" y="106"/>
                  </a:lnTo>
                  <a:lnTo>
                    <a:pt x="199" y="108"/>
                  </a:lnTo>
                  <a:lnTo>
                    <a:pt x="199" y="106"/>
                  </a:lnTo>
                  <a:lnTo>
                    <a:pt x="197" y="106"/>
                  </a:lnTo>
                  <a:lnTo>
                    <a:pt x="197" y="104"/>
                  </a:lnTo>
                  <a:lnTo>
                    <a:pt x="195" y="104"/>
                  </a:lnTo>
                  <a:lnTo>
                    <a:pt x="195" y="102"/>
                  </a:lnTo>
                  <a:lnTo>
                    <a:pt x="193" y="102"/>
                  </a:lnTo>
                  <a:lnTo>
                    <a:pt x="191" y="102"/>
                  </a:lnTo>
                  <a:lnTo>
                    <a:pt x="191" y="100"/>
                  </a:lnTo>
                  <a:lnTo>
                    <a:pt x="189" y="100"/>
                  </a:lnTo>
                  <a:lnTo>
                    <a:pt x="187" y="100"/>
                  </a:lnTo>
                  <a:lnTo>
                    <a:pt x="187" y="100"/>
                  </a:lnTo>
                  <a:lnTo>
                    <a:pt x="185" y="100"/>
                  </a:lnTo>
                  <a:lnTo>
                    <a:pt x="183" y="100"/>
                  </a:lnTo>
                  <a:lnTo>
                    <a:pt x="183" y="98"/>
                  </a:lnTo>
                  <a:lnTo>
                    <a:pt x="183" y="100"/>
                  </a:lnTo>
                  <a:lnTo>
                    <a:pt x="181" y="100"/>
                  </a:lnTo>
                  <a:lnTo>
                    <a:pt x="183" y="100"/>
                  </a:lnTo>
                  <a:lnTo>
                    <a:pt x="181" y="100"/>
                  </a:lnTo>
                  <a:lnTo>
                    <a:pt x="181" y="98"/>
                  </a:lnTo>
                  <a:lnTo>
                    <a:pt x="179" y="98"/>
                  </a:lnTo>
                  <a:lnTo>
                    <a:pt x="179" y="100"/>
                  </a:lnTo>
                  <a:lnTo>
                    <a:pt x="177" y="100"/>
                  </a:lnTo>
                  <a:lnTo>
                    <a:pt x="175" y="100"/>
                  </a:lnTo>
                  <a:lnTo>
                    <a:pt x="175" y="102"/>
                  </a:lnTo>
                  <a:lnTo>
                    <a:pt x="173" y="102"/>
                  </a:lnTo>
                  <a:lnTo>
                    <a:pt x="173" y="104"/>
                  </a:lnTo>
                  <a:lnTo>
                    <a:pt x="173" y="106"/>
                  </a:lnTo>
                  <a:lnTo>
                    <a:pt x="171" y="106"/>
                  </a:lnTo>
                  <a:lnTo>
                    <a:pt x="171" y="108"/>
                  </a:lnTo>
                  <a:lnTo>
                    <a:pt x="169" y="108"/>
                  </a:lnTo>
                  <a:lnTo>
                    <a:pt x="169" y="106"/>
                  </a:lnTo>
                  <a:lnTo>
                    <a:pt x="169" y="108"/>
                  </a:lnTo>
                  <a:lnTo>
                    <a:pt x="169" y="106"/>
                  </a:lnTo>
                  <a:lnTo>
                    <a:pt x="167" y="106"/>
                  </a:lnTo>
                  <a:lnTo>
                    <a:pt x="165" y="106"/>
                  </a:lnTo>
                  <a:lnTo>
                    <a:pt x="165" y="108"/>
                  </a:lnTo>
                  <a:lnTo>
                    <a:pt x="165" y="106"/>
                  </a:lnTo>
                  <a:lnTo>
                    <a:pt x="165" y="108"/>
                  </a:lnTo>
                  <a:lnTo>
                    <a:pt x="165" y="106"/>
                  </a:lnTo>
                  <a:lnTo>
                    <a:pt x="165" y="108"/>
                  </a:lnTo>
                  <a:lnTo>
                    <a:pt x="163" y="108"/>
                  </a:lnTo>
                  <a:lnTo>
                    <a:pt x="163" y="110"/>
                  </a:lnTo>
                  <a:lnTo>
                    <a:pt x="161" y="110"/>
                  </a:lnTo>
                  <a:lnTo>
                    <a:pt x="161" y="108"/>
                  </a:lnTo>
                  <a:lnTo>
                    <a:pt x="159" y="108"/>
                  </a:lnTo>
                  <a:lnTo>
                    <a:pt x="157" y="108"/>
                  </a:lnTo>
                  <a:lnTo>
                    <a:pt x="155" y="108"/>
                  </a:lnTo>
                  <a:lnTo>
                    <a:pt x="153" y="108"/>
                  </a:lnTo>
                  <a:lnTo>
                    <a:pt x="153" y="110"/>
                  </a:lnTo>
                  <a:lnTo>
                    <a:pt x="153" y="108"/>
                  </a:lnTo>
                  <a:lnTo>
                    <a:pt x="151" y="108"/>
                  </a:lnTo>
                  <a:lnTo>
                    <a:pt x="151" y="110"/>
                  </a:lnTo>
                  <a:lnTo>
                    <a:pt x="149" y="110"/>
                  </a:lnTo>
                  <a:lnTo>
                    <a:pt x="149" y="112"/>
                  </a:lnTo>
                  <a:lnTo>
                    <a:pt x="149" y="110"/>
                  </a:lnTo>
                  <a:lnTo>
                    <a:pt x="149" y="112"/>
                  </a:lnTo>
                  <a:lnTo>
                    <a:pt x="147" y="112"/>
                  </a:lnTo>
                  <a:lnTo>
                    <a:pt x="147" y="114"/>
                  </a:lnTo>
                  <a:lnTo>
                    <a:pt x="147" y="116"/>
                  </a:lnTo>
                  <a:lnTo>
                    <a:pt x="147" y="118"/>
                  </a:lnTo>
                  <a:lnTo>
                    <a:pt x="145" y="118"/>
                  </a:lnTo>
                  <a:lnTo>
                    <a:pt x="145" y="120"/>
                  </a:lnTo>
                  <a:lnTo>
                    <a:pt x="143" y="120"/>
                  </a:lnTo>
                  <a:lnTo>
                    <a:pt x="143" y="122"/>
                  </a:lnTo>
                  <a:lnTo>
                    <a:pt x="143" y="120"/>
                  </a:lnTo>
                  <a:lnTo>
                    <a:pt x="141" y="120"/>
                  </a:lnTo>
                  <a:lnTo>
                    <a:pt x="141" y="122"/>
                  </a:lnTo>
                  <a:lnTo>
                    <a:pt x="141" y="124"/>
                  </a:lnTo>
                  <a:lnTo>
                    <a:pt x="139" y="124"/>
                  </a:lnTo>
                  <a:lnTo>
                    <a:pt x="139" y="122"/>
                  </a:lnTo>
                  <a:lnTo>
                    <a:pt x="139" y="124"/>
                  </a:lnTo>
                  <a:lnTo>
                    <a:pt x="139" y="126"/>
                  </a:lnTo>
                  <a:lnTo>
                    <a:pt x="139" y="126"/>
                  </a:lnTo>
                  <a:lnTo>
                    <a:pt x="139" y="128"/>
                  </a:lnTo>
                  <a:lnTo>
                    <a:pt x="139" y="128"/>
                  </a:lnTo>
                  <a:lnTo>
                    <a:pt x="139" y="130"/>
                  </a:lnTo>
                  <a:lnTo>
                    <a:pt x="139" y="128"/>
                  </a:lnTo>
                  <a:lnTo>
                    <a:pt x="139" y="128"/>
                  </a:lnTo>
                  <a:lnTo>
                    <a:pt x="137" y="128"/>
                  </a:lnTo>
                  <a:lnTo>
                    <a:pt x="137" y="126"/>
                  </a:lnTo>
                  <a:lnTo>
                    <a:pt x="137" y="124"/>
                  </a:lnTo>
                  <a:lnTo>
                    <a:pt x="137" y="122"/>
                  </a:lnTo>
                  <a:lnTo>
                    <a:pt x="139" y="122"/>
                  </a:lnTo>
                  <a:lnTo>
                    <a:pt x="139" y="120"/>
                  </a:lnTo>
                  <a:lnTo>
                    <a:pt x="139" y="120"/>
                  </a:lnTo>
                  <a:lnTo>
                    <a:pt x="139" y="118"/>
                  </a:lnTo>
                  <a:lnTo>
                    <a:pt x="139" y="116"/>
                  </a:lnTo>
                  <a:lnTo>
                    <a:pt x="141" y="116"/>
                  </a:lnTo>
                  <a:lnTo>
                    <a:pt x="139" y="116"/>
                  </a:lnTo>
                  <a:lnTo>
                    <a:pt x="141" y="116"/>
                  </a:lnTo>
                  <a:lnTo>
                    <a:pt x="141" y="114"/>
                  </a:lnTo>
                  <a:lnTo>
                    <a:pt x="139" y="114"/>
                  </a:lnTo>
                  <a:lnTo>
                    <a:pt x="139" y="114"/>
                  </a:lnTo>
                  <a:lnTo>
                    <a:pt x="139" y="116"/>
                  </a:lnTo>
                  <a:lnTo>
                    <a:pt x="139" y="118"/>
                  </a:lnTo>
                  <a:lnTo>
                    <a:pt x="137" y="116"/>
                  </a:lnTo>
                  <a:lnTo>
                    <a:pt x="137" y="118"/>
                  </a:lnTo>
                  <a:lnTo>
                    <a:pt x="137" y="116"/>
                  </a:lnTo>
                  <a:lnTo>
                    <a:pt x="137" y="118"/>
                  </a:lnTo>
                  <a:lnTo>
                    <a:pt x="137" y="116"/>
                  </a:lnTo>
                  <a:lnTo>
                    <a:pt x="135" y="116"/>
                  </a:lnTo>
                  <a:lnTo>
                    <a:pt x="133" y="116"/>
                  </a:lnTo>
                  <a:lnTo>
                    <a:pt x="133" y="118"/>
                  </a:lnTo>
                  <a:lnTo>
                    <a:pt x="133" y="120"/>
                  </a:lnTo>
                  <a:lnTo>
                    <a:pt x="131" y="120"/>
                  </a:lnTo>
                  <a:lnTo>
                    <a:pt x="131" y="122"/>
                  </a:lnTo>
                  <a:lnTo>
                    <a:pt x="131" y="124"/>
                  </a:lnTo>
                  <a:lnTo>
                    <a:pt x="129" y="124"/>
                  </a:lnTo>
                  <a:lnTo>
                    <a:pt x="129" y="126"/>
                  </a:lnTo>
                  <a:lnTo>
                    <a:pt x="129" y="124"/>
                  </a:lnTo>
                  <a:lnTo>
                    <a:pt x="127" y="124"/>
                  </a:lnTo>
                  <a:lnTo>
                    <a:pt x="127" y="126"/>
                  </a:lnTo>
                  <a:lnTo>
                    <a:pt x="127" y="124"/>
                  </a:lnTo>
                  <a:lnTo>
                    <a:pt x="127" y="122"/>
                  </a:lnTo>
                  <a:lnTo>
                    <a:pt x="125" y="122"/>
                  </a:lnTo>
                  <a:lnTo>
                    <a:pt x="125" y="120"/>
                  </a:lnTo>
                  <a:lnTo>
                    <a:pt x="125" y="118"/>
                  </a:lnTo>
                  <a:lnTo>
                    <a:pt x="125" y="116"/>
                  </a:lnTo>
                  <a:lnTo>
                    <a:pt x="127" y="116"/>
                  </a:lnTo>
                  <a:lnTo>
                    <a:pt x="127" y="114"/>
                  </a:lnTo>
                  <a:lnTo>
                    <a:pt x="125" y="114"/>
                  </a:lnTo>
                  <a:lnTo>
                    <a:pt x="127" y="114"/>
                  </a:lnTo>
                  <a:lnTo>
                    <a:pt x="125" y="114"/>
                  </a:lnTo>
                  <a:lnTo>
                    <a:pt x="125" y="116"/>
                  </a:lnTo>
                  <a:lnTo>
                    <a:pt x="125" y="118"/>
                  </a:lnTo>
                  <a:lnTo>
                    <a:pt x="123" y="118"/>
                  </a:lnTo>
                  <a:lnTo>
                    <a:pt x="123" y="120"/>
                  </a:lnTo>
                  <a:lnTo>
                    <a:pt x="123" y="122"/>
                  </a:lnTo>
                  <a:lnTo>
                    <a:pt x="123" y="124"/>
                  </a:lnTo>
                  <a:lnTo>
                    <a:pt x="123" y="122"/>
                  </a:lnTo>
                  <a:lnTo>
                    <a:pt x="123" y="124"/>
                  </a:lnTo>
                  <a:lnTo>
                    <a:pt x="123" y="126"/>
                  </a:lnTo>
                  <a:lnTo>
                    <a:pt x="121" y="126"/>
                  </a:lnTo>
                  <a:lnTo>
                    <a:pt x="123" y="126"/>
                  </a:lnTo>
                  <a:lnTo>
                    <a:pt x="123" y="124"/>
                  </a:lnTo>
                  <a:lnTo>
                    <a:pt x="123" y="126"/>
                  </a:lnTo>
                  <a:lnTo>
                    <a:pt x="121" y="126"/>
                  </a:lnTo>
                  <a:lnTo>
                    <a:pt x="121" y="128"/>
                  </a:lnTo>
                  <a:lnTo>
                    <a:pt x="119" y="128"/>
                  </a:lnTo>
                  <a:lnTo>
                    <a:pt x="119" y="130"/>
                  </a:lnTo>
                  <a:lnTo>
                    <a:pt x="117" y="130"/>
                  </a:lnTo>
                  <a:lnTo>
                    <a:pt x="117" y="130"/>
                  </a:lnTo>
                  <a:lnTo>
                    <a:pt x="117" y="132"/>
                  </a:lnTo>
                  <a:lnTo>
                    <a:pt x="115" y="132"/>
                  </a:lnTo>
                  <a:lnTo>
                    <a:pt x="115" y="134"/>
                  </a:lnTo>
                  <a:lnTo>
                    <a:pt x="115" y="136"/>
                  </a:lnTo>
                  <a:lnTo>
                    <a:pt x="115" y="138"/>
                  </a:lnTo>
                  <a:lnTo>
                    <a:pt x="115" y="140"/>
                  </a:lnTo>
                  <a:lnTo>
                    <a:pt x="113" y="140"/>
                  </a:lnTo>
                  <a:lnTo>
                    <a:pt x="113" y="142"/>
                  </a:lnTo>
                  <a:lnTo>
                    <a:pt x="111" y="142"/>
                  </a:lnTo>
                  <a:lnTo>
                    <a:pt x="111" y="144"/>
                  </a:lnTo>
                  <a:lnTo>
                    <a:pt x="111" y="146"/>
                  </a:lnTo>
                  <a:lnTo>
                    <a:pt x="109" y="146"/>
                  </a:lnTo>
                  <a:lnTo>
                    <a:pt x="109" y="148"/>
                  </a:lnTo>
                  <a:lnTo>
                    <a:pt x="109" y="150"/>
                  </a:lnTo>
                  <a:lnTo>
                    <a:pt x="107" y="150"/>
                  </a:lnTo>
                  <a:lnTo>
                    <a:pt x="107" y="152"/>
                  </a:lnTo>
                  <a:lnTo>
                    <a:pt x="105" y="152"/>
                  </a:lnTo>
                  <a:lnTo>
                    <a:pt x="105" y="154"/>
                  </a:lnTo>
                  <a:lnTo>
                    <a:pt x="105" y="156"/>
                  </a:lnTo>
                  <a:lnTo>
                    <a:pt x="103" y="156"/>
                  </a:lnTo>
                  <a:lnTo>
                    <a:pt x="103" y="154"/>
                  </a:lnTo>
                  <a:lnTo>
                    <a:pt x="101" y="154"/>
                  </a:lnTo>
                  <a:lnTo>
                    <a:pt x="99" y="154"/>
                  </a:lnTo>
                  <a:lnTo>
                    <a:pt x="99" y="152"/>
                  </a:lnTo>
                  <a:lnTo>
                    <a:pt x="101" y="152"/>
                  </a:lnTo>
                  <a:lnTo>
                    <a:pt x="101" y="150"/>
                  </a:lnTo>
                  <a:lnTo>
                    <a:pt x="101" y="148"/>
                  </a:lnTo>
                  <a:lnTo>
                    <a:pt x="101" y="146"/>
                  </a:lnTo>
                  <a:lnTo>
                    <a:pt x="103" y="146"/>
                  </a:lnTo>
                  <a:lnTo>
                    <a:pt x="103" y="144"/>
                  </a:lnTo>
                  <a:lnTo>
                    <a:pt x="103" y="142"/>
                  </a:lnTo>
                  <a:lnTo>
                    <a:pt x="101" y="142"/>
                  </a:lnTo>
                  <a:lnTo>
                    <a:pt x="99" y="142"/>
                  </a:lnTo>
                  <a:lnTo>
                    <a:pt x="99" y="144"/>
                  </a:lnTo>
                  <a:lnTo>
                    <a:pt x="97" y="144"/>
                  </a:lnTo>
                  <a:lnTo>
                    <a:pt x="95" y="144"/>
                  </a:lnTo>
                  <a:lnTo>
                    <a:pt x="93" y="144"/>
                  </a:lnTo>
                  <a:lnTo>
                    <a:pt x="95" y="142"/>
                  </a:lnTo>
                  <a:lnTo>
                    <a:pt x="93" y="142"/>
                  </a:lnTo>
                  <a:lnTo>
                    <a:pt x="95" y="142"/>
                  </a:lnTo>
                  <a:lnTo>
                    <a:pt x="95" y="140"/>
                  </a:lnTo>
                  <a:lnTo>
                    <a:pt x="95" y="138"/>
                  </a:lnTo>
                  <a:lnTo>
                    <a:pt x="97" y="138"/>
                  </a:lnTo>
                  <a:lnTo>
                    <a:pt x="95" y="138"/>
                  </a:lnTo>
                  <a:lnTo>
                    <a:pt x="97" y="138"/>
                  </a:lnTo>
                  <a:lnTo>
                    <a:pt x="97" y="136"/>
                  </a:lnTo>
                  <a:lnTo>
                    <a:pt x="97" y="134"/>
                  </a:lnTo>
                  <a:lnTo>
                    <a:pt x="95" y="134"/>
                  </a:lnTo>
                  <a:lnTo>
                    <a:pt x="95" y="132"/>
                  </a:lnTo>
                  <a:lnTo>
                    <a:pt x="97" y="132"/>
                  </a:lnTo>
                  <a:lnTo>
                    <a:pt x="97" y="130"/>
                  </a:lnTo>
                  <a:lnTo>
                    <a:pt x="95" y="130"/>
                  </a:lnTo>
                  <a:lnTo>
                    <a:pt x="95" y="130"/>
                  </a:lnTo>
                  <a:lnTo>
                    <a:pt x="95" y="128"/>
                  </a:lnTo>
                  <a:lnTo>
                    <a:pt x="95" y="130"/>
                  </a:lnTo>
                  <a:lnTo>
                    <a:pt x="95" y="128"/>
                  </a:lnTo>
                  <a:lnTo>
                    <a:pt x="97" y="128"/>
                  </a:lnTo>
                  <a:lnTo>
                    <a:pt x="95" y="128"/>
                  </a:lnTo>
                  <a:lnTo>
                    <a:pt x="95" y="126"/>
                  </a:lnTo>
                  <a:lnTo>
                    <a:pt x="93" y="126"/>
                  </a:lnTo>
                  <a:lnTo>
                    <a:pt x="93" y="124"/>
                  </a:lnTo>
                  <a:lnTo>
                    <a:pt x="91" y="124"/>
                  </a:lnTo>
                  <a:lnTo>
                    <a:pt x="91" y="124"/>
                  </a:lnTo>
                  <a:lnTo>
                    <a:pt x="91" y="122"/>
                  </a:lnTo>
                  <a:lnTo>
                    <a:pt x="89" y="122"/>
                  </a:lnTo>
                  <a:lnTo>
                    <a:pt x="89" y="124"/>
                  </a:lnTo>
                  <a:lnTo>
                    <a:pt x="87" y="124"/>
                  </a:lnTo>
                  <a:lnTo>
                    <a:pt x="87" y="122"/>
                  </a:lnTo>
                  <a:lnTo>
                    <a:pt x="85" y="122"/>
                  </a:lnTo>
                  <a:lnTo>
                    <a:pt x="85" y="120"/>
                  </a:lnTo>
                  <a:lnTo>
                    <a:pt x="87" y="120"/>
                  </a:lnTo>
                  <a:lnTo>
                    <a:pt x="87" y="118"/>
                  </a:lnTo>
                  <a:lnTo>
                    <a:pt x="85" y="118"/>
                  </a:lnTo>
                  <a:lnTo>
                    <a:pt x="85" y="116"/>
                  </a:lnTo>
                  <a:lnTo>
                    <a:pt x="87" y="116"/>
                  </a:lnTo>
                  <a:lnTo>
                    <a:pt x="85" y="116"/>
                  </a:lnTo>
                  <a:lnTo>
                    <a:pt x="83" y="116"/>
                  </a:lnTo>
                  <a:lnTo>
                    <a:pt x="83" y="114"/>
                  </a:lnTo>
                  <a:lnTo>
                    <a:pt x="81" y="116"/>
                  </a:lnTo>
                  <a:lnTo>
                    <a:pt x="81" y="114"/>
                  </a:lnTo>
                  <a:lnTo>
                    <a:pt x="81" y="116"/>
                  </a:lnTo>
                  <a:lnTo>
                    <a:pt x="81" y="114"/>
                  </a:lnTo>
                  <a:lnTo>
                    <a:pt x="79" y="114"/>
                  </a:lnTo>
                  <a:lnTo>
                    <a:pt x="79" y="116"/>
                  </a:lnTo>
                  <a:lnTo>
                    <a:pt x="79" y="114"/>
                  </a:lnTo>
                  <a:lnTo>
                    <a:pt x="77" y="114"/>
                  </a:lnTo>
                  <a:lnTo>
                    <a:pt x="75" y="114"/>
                  </a:lnTo>
                  <a:lnTo>
                    <a:pt x="73" y="114"/>
                  </a:lnTo>
                  <a:lnTo>
                    <a:pt x="73" y="112"/>
                  </a:lnTo>
                  <a:lnTo>
                    <a:pt x="71" y="112"/>
                  </a:lnTo>
                  <a:lnTo>
                    <a:pt x="71" y="114"/>
                  </a:lnTo>
                  <a:lnTo>
                    <a:pt x="71" y="112"/>
                  </a:lnTo>
                  <a:lnTo>
                    <a:pt x="69" y="112"/>
                  </a:lnTo>
                  <a:lnTo>
                    <a:pt x="67" y="112"/>
                  </a:lnTo>
                  <a:lnTo>
                    <a:pt x="67" y="114"/>
                  </a:lnTo>
                  <a:lnTo>
                    <a:pt x="65" y="114"/>
                  </a:lnTo>
                  <a:lnTo>
                    <a:pt x="65" y="112"/>
                  </a:lnTo>
                  <a:lnTo>
                    <a:pt x="63" y="112"/>
                  </a:lnTo>
                  <a:lnTo>
                    <a:pt x="61" y="112"/>
                  </a:lnTo>
                  <a:lnTo>
                    <a:pt x="59" y="112"/>
                  </a:lnTo>
                  <a:lnTo>
                    <a:pt x="57" y="112"/>
                  </a:lnTo>
                  <a:lnTo>
                    <a:pt x="57" y="110"/>
                  </a:lnTo>
                  <a:lnTo>
                    <a:pt x="55" y="110"/>
                  </a:lnTo>
                  <a:lnTo>
                    <a:pt x="53" y="110"/>
                  </a:lnTo>
                  <a:lnTo>
                    <a:pt x="53" y="108"/>
                  </a:lnTo>
                  <a:lnTo>
                    <a:pt x="51" y="108"/>
                  </a:lnTo>
                  <a:lnTo>
                    <a:pt x="49" y="108"/>
                  </a:lnTo>
                  <a:lnTo>
                    <a:pt x="49" y="106"/>
                  </a:lnTo>
                  <a:lnTo>
                    <a:pt x="47" y="106"/>
                  </a:lnTo>
                  <a:lnTo>
                    <a:pt x="45" y="106"/>
                  </a:lnTo>
                  <a:lnTo>
                    <a:pt x="43" y="106"/>
                  </a:lnTo>
                  <a:lnTo>
                    <a:pt x="43" y="104"/>
                  </a:lnTo>
                  <a:lnTo>
                    <a:pt x="41" y="104"/>
                  </a:lnTo>
                  <a:lnTo>
                    <a:pt x="39" y="104"/>
                  </a:lnTo>
                  <a:lnTo>
                    <a:pt x="37" y="104"/>
                  </a:lnTo>
                  <a:lnTo>
                    <a:pt x="35" y="104"/>
                  </a:lnTo>
                  <a:lnTo>
                    <a:pt x="35" y="102"/>
                  </a:lnTo>
                  <a:lnTo>
                    <a:pt x="33" y="102"/>
                  </a:lnTo>
                  <a:lnTo>
                    <a:pt x="31" y="102"/>
                  </a:lnTo>
                  <a:lnTo>
                    <a:pt x="29" y="102"/>
                  </a:lnTo>
                  <a:lnTo>
                    <a:pt x="27" y="102"/>
                  </a:lnTo>
                  <a:lnTo>
                    <a:pt x="27" y="100"/>
                  </a:lnTo>
                  <a:lnTo>
                    <a:pt x="24" y="100"/>
                  </a:lnTo>
                  <a:lnTo>
                    <a:pt x="22" y="100"/>
                  </a:lnTo>
                  <a:lnTo>
                    <a:pt x="20" y="100"/>
                  </a:lnTo>
                  <a:lnTo>
                    <a:pt x="18" y="100"/>
                  </a:lnTo>
                  <a:lnTo>
                    <a:pt x="18" y="98"/>
                  </a:lnTo>
                  <a:lnTo>
                    <a:pt x="16" y="98"/>
                  </a:lnTo>
                  <a:lnTo>
                    <a:pt x="14" y="98"/>
                  </a:lnTo>
                  <a:lnTo>
                    <a:pt x="12" y="98"/>
                  </a:lnTo>
                  <a:lnTo>
                    <a:pt x="12" y="96"/>
                  </a:lnTo>
                  <a:lnTo>
                    <a:pt x="10" y="96"/>
                  </a:lnTo>
                  <a:lnTo>
                    <a:pt x="10" y="94"/>
                  </a:lnTo>
                  <a:lnTo>
                    <a:pt x="10" y="92"/>
                  </a:lnTo>
                  <a:lnTo>
                    <a:pt x="8" y="90"/>
                  </a:lnTo>
                  <a:lnTo>
                    <a:pt x="8" y="88"/>
                  </a:lnTo>
                  <a:lnTo>
                    <a:pt x="6" y="88"/>
                  </a:lnTo>
                  <a:lnTo>
                    <a:pt x="4" y="88"/>
                  </a:lnTo>
                  <a:lnTo>
                    <a:pt x="4" y="86"/>
                  </a:lnTo>
                  <a:lnTo>
                    <a:pt x="2" y="86"/>
                  </a:lnTo>
                  <a:lnTo>
                    <a:pt x="2" y="88"/>
                  </a:lnTo>
                  <a:lnTo>
                    <a:pt x="2" y="86"/>
                  </a:lnTo>
                  <a:lnTo>
                    <a:pt x="2" y="88"/>
                  </a:lnTo>
                  <a:lnTo>
                    <a:pt x="0" y="86"/>
                  </a:lnTo>
                  <a:lnTo>
                    <a:pt x="0" y="84"/>
                  </a:lnTo>
                  <a:lnTo>
                    <a:pt x="2" y="84"/>
                  </a:lnTo>
                  <a:lnTo>
                    <a:pt x="4" y="84"/>
                  </a:lnTo>
                  <a:lnTo>
                    <a:pt x="4" y="82"/>
                  </a:lnTo>
                  <a:lnTo>
                    <a:pt x="6" y="82"/>
                  </a:lnTo>
                  <a:lnTo>
                    <a:pt x="8" y="82"/>
                  </a:lnTo>
                  <a:lnTo>
                    <a:pt x="10" y="82"/>
                  </a:lnTo>
                  <a:lnTo>
                    <a:pt x="10" y="82"/>
                  </a:lnTo>
                  <a:lnTo>
                    <a:pt x="12" y="82"/>
                  </a:lnTo>
                  <a:lnTo>
                    <a:pt x="14" y="82"/>
                  </a:lnTo>
                  <a:lnTo>
                    <a:pt x="14" y="80"/>
                  </a:lnTo>
                  <a:lnTo>
                    <a:pt x="16" y="80"/>
                  </a:lnTo>
                  <a:lnTo>
                    <a:pt x="16" y="78"/>
                  </a:lnTo>
                  <a:lnTo>
                    <a:pt x="18" y="78"/>
                  </a:lnTo>
                  <a:lnTo>
                    <a:pt x="18" y="76"/>
                  </a:lnTo>
                  <a:lnTo>
                    <a:pt x="20" y="76"/>
                  </a:lnTo>
                  <a:lnTo>
                    <a:pt x="20" y="74"/>
                  </a:lnTo>
                  <a:lnTo>
                    <a:pt x="22" y="74"/>
                  </a:lnTo>
                  <a:lnTo>
                    <a:pt x="24" y="74"/>
                  </a:lnTo>
                  <a:lnTo>
                    <a:pt x="24" y="72"/>
                  </a:lnTo>
                  <a:lnTo>
                    <a:pt x="27" y="72"/>
                  </a:lnTo>
                  <a:lnTo>
                    <a:pt x="29" y="72"/>
                  </a:lnTo>
                  <a:lnTo>
                    <a:pt x="29" y="74"/>
                  </a:lnTo>
                  <a:lnTo>
                    <a:pt x="31" y="74"/>
                  </a:lnTo>
                  <a:lnTo>
                    <a:pt x="31" y="72"/>
                  </a:lnTo>
                  <a:lnTo>
                    <a:pt x="33" y="72"/>
                  </a:lnTo>
                  <a:lnTo>
                    <a:pt x="35" y="72"/>
                  </a:lnTo>
                  <a:lnTo>
                    <a:pt x="37" y="72"/>
                  </a:lnTo>
                  <a:lnTo>
                    <a:pt x="39" y="72"/>
                  </a:lnTo>
                  <a:lnTo>
                    <a:pt x="39" y="70"/>
                  </a:lnTo>
                  <a:lnTo>
                    <a:pt x="41" y="70"/>
                  </a:lnTo>
                  <a:lnTo>
                    <a:pt x="41" y="68"/>
                  </a:lnTo>
                  <a:lnTo>
                    <a:pt x="43" y="68"/>
                  </a:lnTo>
                  <a:lnTo>
                    <a:pt x="43" y="68"/>
                  </a:lnTo>
                  <a:lnTo>
                    <a:pt x="43" y="66"/>
                  </a:lnTo>
                  <a:lnTo>
                    <a:pt x="43" y="64"/>
                  </a:lnTo>
                  <a:lnTo>
                    <a:pt x="45" y="64"/>
                  </a:lnTo>
                  <a:lnTo>
                    <a:pt x="47" y="64"/>
                  </a:lnTo>
                  <a:lnTo>
                    <a:pt x="49" y="64"/>
                  </a:lnTo>
                  <a:lnTo>
                    <a:pt x="49" y="62"/>
                  </a:lnTo>
                  <a:lnTo>
                    <a:pt x="49" y="64"/>
                  </a:lnTo>
                  <a:lnTo>
                    <a:pt x="49" y="62"/>
                  </a:lnTo>
                  <a:lnTo>
                    <a:pt x="51" y="62"/>
                  </a:lnTo>
                  <a:lnTo>
                    <a:pt x="53" y="62"/>
                  </a:lnTo>
                  <a:lnTo>
                    <a:pt x="53" y="60"/>
                  </a:lnTo>
                  <a:lnTo>
                    <a:pt x="53" y="58"/>
                  </a:lnTo>
                  <a:lnTo>
                    <a:pt x="53" y="56"/>
                  </a:lnTo>
                  <a:lnTo>
                    <a:pt x="55" y="56"/>
                  </a:lnTo>
                  <a:lnTo>
                    <a:pt x="57" y="56"/>
                  </a:lnTo>
                  <a:lnTo>
                    <a:pt x="57" y="54"/>
                  </a:lnTo>
                  <a:lnTo>
                    <a:pt x="59" y="54"/>
                  </a:lnTo>
                  <a:lnTo>
                    <a:pt x="59" y="52"/>
                  </a:lnTo>
                  <a:lnTo>
                    <a:pt x="61" y="52"/>
                  </a:lnTo>
                  <a:lnTo>
                    <a:pt x="61" y="50"/>
                  </a:lnTo>
                  <a:lnTo>
                    <a:pt x="63" y="50"/>
                  </a:lnTo>
                  <a:lnTo>
                    <a:pt x="63" y="52"/>
                  </a:lnTo>
                  <a:lnTo>
                    <a:pt x="63" y="54"/>
                  </a:lnTo>
                  <a:lnTo>
                    <a:pt x="63" y="56"/>
                  </a:lnTo>
                  <a:lnTo>
                    <a:pt x="65" y="56"/>
                  </a:lnTo>
                  <a:lnTo>
                    <a:pt x="63" y="56"/>
                  </a:lnTo>
                  <a:lnTo>
                    <a:pt x="63" y="54"/>
                  </a:lnTo>
                  <a:lnTo>
                    <a:pt x="63" y="52"/>
                  </a:lnTo>
                  <a:lnTo>
                    <a:pt x="63" y="50"/>
                  </a:lnTo>
                  <a:lnTo>
                    <a:pt x="65" y="50"/>
                  </a:lnTo>
                  <a:lnTo>
                    <a:pt x="65" y="48"/>
                  </a:lnTo>
                  <a:lnTo>
                    <a:pt x="67" y="48"/>
                  </a:lnTo>
                  <a:lnTo>
                    <a:pt x="67" y="46"/>
                  </a:lnTo>
                  <a:lnTo>
                    <a:pt x="69" y="46"/>
                  </a:lnTo>
                  <a:lnTo>
                    <a:pt x="69" y="44"/>
                  </a:lnTo>
                  <a:lnTo>
                    <a:pt x="69" y="42"/>
                  </a:lnTo>
                  <a:lnTo>
                    <a:pt x="71" y="42"/>
                  </a:lnTo>
                  <a:lnTo>
                    <a:pt x="71" y="40"/>
                  </a:lnTo>
                  <a:lnTo>
                    <a:pt x="73" y="40"/>
                  </a:lnTo>
                  <a:lnTo>
                    <a:pt x="75" y="40"/>
                  </a:lnTo>
                  <a:lnTo>
                    <a:pt x="75" y="38"/>
                  </a:lnTo>
                  <a:lnTo>
                    <a:pt x="77" y="38"/>
                  </a:lnTo>
                  <a:lnTo>
                    <a:pt x="79" y="38"/>
                  </a:lnTo>
                  <a:lnTo>
                    <a:pt x="79" y="36"/>
                  </a:lnTo>
                  <a:lnTo>
                    <a:pt x="79" y="38"/>
                  </a:lnTo>
                  <a:lnTo>
                    <a:pt x="79" y="36"/>
                  </a:lnTo>
                  <a:lnTo>
                    <a:pt x="79" y="38"/>
                  </a:lnTo>
                  <a:lnTo>
                    <a:pt x="79" y="36"/>
                  </a:lnTo>
                  <a:lnTo>
                    <a:pt x="81" y="36"/>
                  </a:lnTo>
                  <a:lnTo>
                    <a:pt x="79" y="36"/>
                  </a:lnTo>
                  <a:lnTo>
                    <a:pt x="81" y="36"/>
                  </a:lnTo>
                  <a:lnTo>
                    <a:pt x="83" y="36"/>
                  </a:lnTo>
                  <a:lnTo>
                    <a:pt x="85" y="36"/>
                  </a:lnTo>
                  <a:lnTo>
                    <a:pt x="87" y="36"/>
                  </a:lnTo>
                  <a:lnTo>
                    <a:pt x="89" y="36"/>
                  </a:lnTo>
                  <a:close/>
                  <a:moveTo>
                    <a:pt x="89" y="36"/>
                  </a:moveTo>
                  <a:lnTo>
                    <a:pt x="91" y="36"/>
                  </a:lnTo>
                  <a:lnTo>
                    <a:pt x="89" y="36"/>
                  </a:lnTo>
                  <a:close/>
                  <a:moveTo>
                    <a:pt x="79" y="38"/>
                  </a:moveTo>
                  <a:lnTo>
                    <a:pt x="77" y="38"/>
                  </a:lnTo>
                  <a:lnTo>
                    <a:pt x="79" y="38"/>
                  </a:lnTo>
                  <a:close/>
                  <a:moveTo>
                    <a:pt x="219" y="88"/>
                  </a:moveTo>
                  <a:lnTo>
                    <a:pt x="221" y="88"/>
                  </a:lnTo>
                  <a:lnTo>
                    <a:pt x="219" y="88"/>
                  </a:lnTo>
                  <a:close/>
                  <a:moveTo>
                    <a:pt x="221" y="88"/>
                  </a:moveTo>
                  <a:lnTo>
                    <a:pt x="219" y="88"/>
                  </a:lnTo>
                  <a:lnTo>
                    <a:pt x="219" y="90"/>
                  </a:lnTo>
                  <a:lnTo>
                    <a:pt x="221" y="90"/>
                  </a:lnTo>
                  <a:lnTo>
                    <a:pt x="221" y="88"/>
                  </a:lnTo>
                  <a:close/>
                  <a:moveTo>
                    <a:pt x="41" y="18"/>
                  </a:moveTo>
                  <a:lnTo>
                    <a:pt x="41" y="20"/>
                  </a:lnTo>
                  <a:lnTo>
                    <a:pt x="41" y="18"/>
                  </a:lnTo>
                  <a:close/>
                  <a:moveTo>
                    <a:pt x="43" y="18"/>
                  </a:moveTo>
                  <a:lnTo>
                    <a:pt x="41" y="18"/>
                  </a:lnTo>
                  <a:lnTo>
                    <a:pt x="43" y="18"/>
                  </a:lnTo>
                  <a:close/>
                  <a:moveTo>
                    <a:pt x="43" y="18"/>
                  </a:moveTo>
                  <a:lnTo>
                    <a:pt x="43" y="16"/>
                  </a:lnTo>
                  <a:lnTo>
                    <a:pt x="43" y="18"/>
                  </a:lnTo>
                  <a:close/>
                  <a:moveTo>
                    <a:pt x="55" y="14"/>
                  </a:moveTo>
                  <a:lnTo>
                    <a:pt x="55" y="16"/>
                  </a:lnTo>
                  <a:lnTo>
                    <a:pt x="55" y="14"/>
                  </a:lnTo>
                  <a:close/>
                  <a:moveTo>
                    <a:pt x="63" y="4"/>
                  </a:moveTo>
                  <a:lnTo>
                    <a:pt x="65" y="4"/>
                  </a:lnTo>
                  <a:lnTo>
                    <a:pt x="65" y="6"/>
                  </a:lnTo>
                  <a:lnTo>
                    <a:pt x="63" y="6"/>
                  </a:lnTo>
                  <a:lnTo>
                    <a:pt x="63" y="4"/>
                  </a:lnTo>
                  <a:close/>
                  <a:moveTo>
                    <a:pt x="65" y="4"/>
                  </a:moveTo>
                  <a:lnTo>
                    <a:pt x="67" y="4"/>
                  </a:lnTo>
                  <a:lnTo>
                    <a:pt x="65" y="4"/>
                  </a:lnTo>
                  <a:close/>
                  <a:moveTo>
                    <a:pt x="61" y="2"/>
                  </a:moveTo>
                  <a:lnTo>
                    <a:pt x="61" y="4"/>
                  </a:lnTo>
                  <a:lnTo>
                    <a:pt x="59" y="4"/>
                  </a:lnTo>
                  <a:lnTo>
                    <a:pt x="61" y="4"/>
                  </a:lnTo>
                  <a:lnTo>
                    <a:pt x="61" y="2"/>
                  </a:lnTo>
                  <a:close/>
                  <a:moveTo>
                    <a:pt x="59" y="4"/>
                  </a:moveTo>
                  <a:lnTo>
                    <a:pt x="61" y="4"/>
                  </a:lnTo>
                  <a:lnTo>
                    <a:pt x="59" y="4"/>
                  </a:lnTo>
                  <a:close/>
                  <a:moveTo>
                    <a:pt x="65" y="2"/>
                  </a:moveTo>
                  <a:lnTo>
                    <a:pt x="65" y="4"/>
                  </a:lnTo>
                  <a:lnTo>
                    <a:pt x="63" y="4"/>
                  </a:lnTo>
                  <a:lnTo>
                    <a:pt x="65" y="4"/>
                  </a:lnTo>
                  <a:lnTo>
                    <a:pt x="65" y="2"/>
                  </a:lnTo>
                  <a:lnTo>
                    <a:pt x="67" y="2"/>
                  </a:lnTo>
                  <a:lnTo>
                    <a:pt x="65" y="2"/>
                  </a:lnTo>
                  <a:lnTo>
                    <a:pt x="65" y="4"/>
                  </a:lnTo>
                  <a:lnTo>
                    <a:pt x="63" y="4"/>
                  </a:lnTo>
                  <a:lnTo>
                    <a:pt x="63" y="6"/>
                  </a:lnTo>
                  <a:lnTo>
                    <a:pt x="61" y="6"/>
                  </a:lnTo>
                  <a:lnTo>
                    <a:pt x="61" y="8"/>
                  </a:lnTo>
                  <a:lnTo>
                    <a:pt x="59" y="8"/>
                  </a:lnTo>
                  <a:lnTo>
                    <a:pt x="61" y="8"/>
                  </a:lnTo>
                  <a:lnTo>
                    <a:pt x="59" y="8"/>
                  </a:lnTo>
                  <a:lnTo>
                    <a:pt x="61" y="8"/>
                  </a:lnTo>
                  <a:lnTo>
                    <a:pt x="61" y="6"/>
                  </a:lnTo>
                  <a:lnTo>
                    <a:pt x="63" y="6"/>
                  </a:lnTo>
                  <a:lnTo>
                    <a:pt x="63" y="8"/>
                  </a:lnTo>
                  <a:lnTo>
                    <a:pt x="61" y="8"/>
                  </a:lnTo>
                  <a:lnTo>
                    <a:pt x="63" y="8"/>
                  </a:lnTo>
                  <a:lnTo>
                    <a:pt x="61" y="8"/>
                  </a:lnTo>
                  <a:lnTo>
                    <a:pt x="61" y="10"/>
                  </a:lnTo>
                  <a:lnTo>
                    <a:pt x="59" y="10"/>
                  </a:lnTo>
                  <a:lnTo>
                    <a:pt x="61" y="10"/>
                  </a:lnTo>
                  <a:lnTo>
                    <a:pt x="59" y="10"/>
                  </a:lnTo>
                  <a:lnTo>
                    <a:pt x="59" y="12"/>
                  </a:lnTo>
                  <a:lnTo>
                    <a:pt x="57" y="12"/>
                  </a:lnTo>
                  <a:lnTo>
                    <a:pt x="55" y="12"/>
                  </a:lnTo>
                  <a:lnTo>
                    <a:pt x="55" y="14"/>
                  </a:lnTo>
                  <a:lnTo>
                    <a:pt x="53" y="14"/>
                  </a:lnTo>
                  <a:lnTo>
                    <a:pt x="55" y="14"/>
                  </a:lnTo>
                  <a:lnTo>
                    <a:pt x="55" y="12"/>
                  </a:lnTo>
                  <a:lnTo>
                    <a:pt x="53" y="12"/>
                  </a:lnTo>
                  <a:lnTo>
                    <a:pt x="53" y="14"/>
                  </a:lnTo>
                  <a:lnTo>
                    <a:pt x="51" y="14"/>
                  </a:lnTo>
                  <a:lnTo>
                    <a:pt x="51" y="16"/>
                  </a:lnTo>
                  <a:lnTo>
                    <a:pt x="49" y="16"/>
                  </a:lnTo>
                  <a:lnTo>
                    <a:pt x="51" y="16"/>
                  </a:lnTo>
                  <a:lnTo>
                    <a:pt x="49" y="16"/>
                  </a:lnTo>
                  <a:lnTo>
                    <a:pt x="47" y="16"/>
                  </a:lnTo>
                  <a:lnTo>
                    <a:pt x="47" y="18"/>
                  </a:lnTo>
                  <a:lnTo>
                    <a:pt x="49" y="18"/>
                  </a:lnTo>
                  <a:lnTo>
                    <a:pt x="51" y="18"/>
                  </a:lnTo>
                  <a:lnTo>
                    <a:pt x="51" y="16"/>
                  </a:lnTo>
                  <a:lnTo>
                    <a:pt x="51" y="18"/>
                  </a:lnTo>
                  <a:lnTo>
                    <a:pt x="49" y="18"/>
                  </a:lnTo>
                  <a:lnTo>
                    <a:pt x="47" y="18"/>
                  </a:lnTo>
                  <a:lnTo>
                    <a:pt x="47" y="20"/>
                  </a:lnTo>
                  <a:lnTo>
                    <a:pt x="45" y="20"/>
                  </a:lnTo>
                  <a:lnTo>
                    <a:pt x="43" y="20"/>
                  </a:lnTo>
                  <a:lnTo>
                    <a:pt x="43" y="22"/>
                  </a:lnTo>
                  <a:lnTo>
                    <a:pt x="43" y="22"/>
                  </a:lnTo>
                  <a:lnTo>
                    <a:pt x="43" y="20"/>
                  </a:lnTo>
                  <a:lnTo>
                    <a:pt x="41" y="20"/>
                  </a:lnTo>
                  <a:lnTo>
                    <a:pt x="43" y="20"/>
                  </a:lnTo>
                  <a:lnTo>
                    <a:pt x="43" y="18"/>
                  </a:lnTo>
                  <a:lnTo>
                    <a:pt x="43" y="18"/>
                  </a:lnTo>
                  <a:lnTo>
                    <a:pt x="43" y="16"/>
                  </a:lnTo>
                  <a:lnTo>
                    <a:pt x="43" y="16"/>
                  </a:lnTo>
                  <a:lnTo>
                    <a:pt x="43" y="18"/>
                  </a:lnTo>
                  <a:lnTo>
                    <a:pt x="41" y="18"/>
                  </a:lnTo>
                  <a:lnTo>
                    <a:pt x="43" y="18"/>
                  </a:lnTo>
                  <a:lnTo>
                    <a:pt x="41" y="18"/>
                  </a:lnTo>
                  <a:lnTo>
                    <a:pt x="43" y="18"/>
                  </a:lnTo>
                  <a:lnTo>
                    <a:pt x="41" y="18"/>
                  </a:lnTo>
                  <a:lnTo>
                    <a:pt x="43" y="18"/>
                  </a:lnTo>
                  <a:lnTo>
                    <a:pt x="43" y="16"/>
                  </a:lnTo>
                  <a:lnTo>
                    <a:pt x="43" y="16"/>
                  </a:lnTo>
                  <a:lnTo>
                    <a:pt x="43" y="14"/>
                  </a:lnTo>
                  <a:lnTo>
                    <a:pt x="45" y="14"/>
                  </a:lnTo>
                  <a:lnTo>
                    <a:pt x="45" y="12"/>
                  </a:lnTo>
                  <a:lnTo>
                    <a:pt x="47" y="12"/>
                  </a:lnTo>
                  <a:lnTo>
                    <a:pt x="49" y="12"/>
                  </a:lnTo>
                  <a:lnTo>
                    <a:pt x="49" y="10"/>
                  </a:lnTo>
                  <a:lnTo>
                    <a:pt x="51" y="10"/>
                  </a:lnTo>
                  <a:lnTo>
                    <a:pt x="53" y="10"/>
                  </a:lnTo>
                  <a:lnTo>
                    <a:pt x="53" y="8"/>
                  </a:lnTo>
                  <a:lnTo>
                    <a:pt x="53" y="10"/>
                  </a:lnTo>
                  <a:lnTo>
                    <a:pt x="53" y="8"/>
                  </a:lnTo>
                  <a:lnTo>
                    <a:pt x="55" y="8"/>
                  </a:lnTo>
                  <a:lnTo>
                    <a:pt x="55" y="6"/>
                  </a:lnTo>
                  <a:lnTo>
                    <a:pt x="57" y="6"/>
                  </a:lnTo>
                  <a:lnTo>
                    <a:pt x="59" y="6"/>
                  </a:lnTo>
                  <a:lnTo>
                    <a:pt x="57" y="6"/>
                  </a:lnTo>
                  <a:lnTo>
                    <a:pt x="57" y="8"/>
                  </a:lnTo>
                  <a:lnTo>
                    <a:pt x="57" y="6"/>
                  </a:lnTo>
                  <a:lnTo>
                    <a:pt x="59" y="6"/>
                  </a:lnTo>
                  <a:lnTo>
                    <a:pt x="59" y="4"/>
                  </a:lnTo>
                  <a:lnTo>
                    <a:pt x="61" y="4"/>
                  </a:lnTo>
                  <a:lnTo>
                    <a:pt x="59" y="4"/>
                  </a:lnTo>
                  <a:lnTo>
                    <a:pt x="61" y="4"/>
                  </a:lnTo>
                  <a:lnTo>
                    <a:pt x="59" y="4"/>
                  </a:lnTo>
                  <a:lnTo>
                    <a:pt x="61" y="4"/>
                  </a:lnTo>
                  <a:lnTo>
                    <a:pt x="63" y="4"/>
                  </a:lnTo>
                  <a:lnTo>
                    <a:pt x="63" y="2"/>
                  </a:lnTo>
                  <a:lnTo>
                    <a:pt x="63" y="4"/>
                  </a:lnTo>
                  <a:lnTo>
                    <a:pt x="63" y="2"/>
                  </a:lnTo>
                  <a:lnTo>
                    <a:pt x="65" y="2"/>
                  </a:lnTo>
                  <a:lnTo>
                    <a:pt x="63" y="2"/>
                  </a:lnTo>
                  <a:lnTo>
                    <a:pt x="65" y="2"/>
                  </a:lnTo>
                  <a:lnTo>
                    <a:pt x="63" y="2"/>
                  </a:lnTo>
                  <a:lnTo>
                    <a:pt x="63" y="4"/>
                  </a:lnTo>
                  <a:lnTo>
                    <a:pt x="65" y="4"/>
                  </a:lnTo>
                  <a:lnTo>
                    <a:pt x="65" y="2"/>
                  </a:lnTo>
                  <a:lnTo>
                    <a:pt x="67" y="2"/>
                  </a:lnTo>
                  <a:lnTo>
                    <a:pt x="65" y="2"/>
                  </a:lnTo>
                  <a:lnTo>
                    <a:pt x="63" y="4"/>
                  </a:lnTo>
                  <a:lnTo>
                    <a:pt x="65" y="4"/>
                  </a:lnTo>
                  <a:lnTo>
                    <a:pt x="63" y="4"/>
                  </a:lnTo>
                  <a:lnTo>
                    <a:pt x="65" y="4"/>
                  </a:lnTo>
                  <a:lnTo>
                    <a:pt x="65" y="2"/>
                  </a:lnTo>
                  <a:lnTo>
                    <a:pt x="67" y="2"/>
                  </a:lnTo>
                  <a:lnTo>
                    <a:pt x="67" y="0"/>
                  </a:lnTo>
                  <a:lnTo>
                    <a:pt x="67" y="2"/>
                  </a:lnTo>
                  <a:lnTo>
                    <a:pt x="65" y="2"/>
                  </a:lnTo>
                  <a:close/>
                  <a:moveTo>
                    <a:pt x="59" y="4"/>
                  </a:moveTo>
                  <a:lnTo>
                    <a:pt x="61" y="4"/>
                  </a:lnTo>
                  <a:lnTo>
                    <a:pt x="59" y="4"/>
                  </a:lnTo>
                  <a:close/>
                  <a:moveTo>
                    <a:pt x="59" y="6"/>
                  </a:moveTo>
                  <a:lnTo>
                    <a:pt x="61" y="6"/>
                  </a:lnTo>
                  <a:lnTo>
                    <a:pt x="59" y="6"/>
                  </a:lnTo>
                  <a:close/>
                  <a:moveTo>
                    <a:pt x="59" y="6"/>
                  </a:moveTo>
                  <a:lnTo>
                    <a:pt x="61" y="6"/>
                  </a:lnTo>
                  <a:lnTo>
                    <a:pt x="59" y="6"/>
                  </a:lnTo>
                  <a:close/>
                  <a:moveTo>
                    <a:pt x="61" y="6"/>
                  </a:moveTo>
                  <a:lnTo>
                    <a:pt x="59" y="6"/>
                  </a:lnTo>
                  <a:lnTo>
                    <a:pt x="59" y="8"/>
                  </a:lnTo>
                  <a:lnTo>
                    <a:pt x="59" y="6"/>
                  </a:lnTo>
                  <a:lnTo>
                    <a:pt x="61" y="6"/>
                  </a:lnTo>
                  <a:close/>
                  <a:moveTo>
                    <a:pt x="59" y="8"/>
                  </a:moveTo>
                  <a:lnTo>
                    <a:pt x="57" y="8"/>
                  </a:lnTo>
                  <a:lnTo>
                    <a:pt x="59" y="8"/>
                  </a:lnTo>
                  <a:close/>
                  <a:moveTo>
                    <a:pt x="55" y="8"/>
                  </a:moveTo>
                  <a:lnTo>
                    <a:pt x="57" y="8"/>
                  </a:lnTo>
                  <a:lnTo>
                    <a:pt x="55" y="8"/>
                  </a:lnTo>
                  <a:close/>
                  <a:moveTo>
                    <a:pt x="55" y="8"/>
                  </a:moveTo>
                  <a:lnTo>
                    <a:pt x="57" y="8"/>
                  </a:lnTo>
                  <a:lnTo>
                    <a:pt x="55" y="8"/>
                  </a:lnTo>
                  <a:lnTo>
                    <a:pt x="57" y="8"/>
                  </a:lnTo>
                  <a:lnTo>
                    <a:pt x="55" y="8"/>
                  </a:lnTo>
                  <a:close/>
                  <a:moveTo>
                    <a:pt x="57" y="8"/>
                  </a:moveTo>
                  <a:lnTo>
                    <a:pt x="59" y="8"/>
                  </a:lnTo>
                  <a:lnTo>
                    <a:pt x="57" y="8"/>
                  </a:lnTo>
                  <a:close/>
                  <a:moveTo>
                    <a:pt x="59" y="8"/>
                  </a:moveTo>
                  <a:lnTo>
                    <a:pt x="57" y="8"/>
                  </a:lnTo>
                  <a:lnTo>
                    <a:pt x="59" y="8"/>
                  </a:lnTo>
                  <a:lnTo>
                    <a:pt x="59" y="10"/>
                  </a:lnTo>
                  <a:lnTo>
                    <a:pt x="57" y="10"/>
                  </a:lnTo>
                  <a:lnTo>
                    <a:pt x="59" y="10"/>
                  </a:lnTo>
                  <a:lnTo>
                    <a:pt x="57" y="10"/>
                  </a:lnTo>
                  <a:lnTo>
                    <a:pt x="59" y="10"/>
                  </a:lnTo>
                  <a:lnTo>
                    <a:pt x="59" y="8"/>
                  </a:lnTo>
                  <a:close/>
                  <a:moveTo>
                    <a:pt x="57" y="10"/>
                  </a:moveTo>
                  <a:lnTo>
                    <a:pt x="55" y="10"/>
                  </a:lnTo>
                  <a:lnTo>
                    <a:pt x="55" y="12"/>
                  </a:lnTo>
                  <a:lnTo>
                    <a:pt x="53" y="12"/>
                  </a:lnTo>
                  <a:lnTo>
                    <a:pt x="53" y="14"/>
                  </a:lnTo>
                  <a:lnTo>
                    <a:pt x="53" y="12"/>
                  </a:lnTo>
                  <a:lnTo>
                    <a:pt x="55" y="12"/>
                  </a:lnTo>
                  <a:lnTo>
                    <a:pt x="57" y="12"/>
                  </a:lnTo>
                  <a:lnTo>
                    <a:pt x="57" y="10"/>
                  </a:lnTo>
                  <a:lnTo>
                    <a:pt x="57" y="12"/>
                  </a:lnTo>
                  <a:lnTo>
                    <a:pt x="57" y="10"/>
                  </a:lnTo>
                  <a:close/>
                  <a:moveTo>
                    <a:pt x="59" y="10"/>
                  </a:moveTo>
                  <a:lnTo>
                    <a:pt x="57" y="12"/>
                  </a:lnTo>
                  <a:lnTo>
                    <a:pt x="59" y="12"/>
                  </a:lnTo>
                  <a:lnTo>
                    <a:pt x="59" y="10"/>
                  </a:lnTo>
                  <a:close/>
                  <a:moveTo>
                    <a:pt x="49" y="12"/>
                  </a:moveTo>
                  <a:lnTo>
                    <a:pt x="49" y="14"/>
                  </a:lnTo>
                  <a:lnTo>
                    <a:pt x="49" y="12"/>
                  </a:lnTo>
                  <a:lnTo>
                    <a:pt x="47" y="12"/>
                  </a:lnTo>
                  <a:lnTo>
                    <a:pt x="47" y="14"/>
                  </a:lnTo>
                  <a:lnTo>
                    <a:pt x="49" y="14"/>
                  </a:lnTo>
                  <a:lnTo>
                    <a:pt x="49" y="12"/>
                  </a:lnTo>
                  <a:close/>
                  <a:moveTo>
                    <a:pt x="47" y="18"/>
                  </a:moveTo>
                  <a:lnTo>
                    <a:pt x="49" y="18"/>
                  </a:lnTo>
                  <a:lnTo>
                    <a:pt x="47" y="18"/>
                  </a:lnTo>
                  <a:close/>
                  <a:moveTo>
                    <a:pt x="55" y="12"/>
                  </a:moveTo>
                  <a:lnTo>
                    <a:pt x="57" y="12"/>
                  </a:lnTo>
                  <a:lnTo>
                    <a:pt x="55" y="12"/>
                  </a:lnTo>
                  <a:close/>
                  <a:moveTo>
                    <a:pt x="55" y="12"/>
                  </a:moveTo>
                  <a:lnTo>
                    <a:pt x="55" y="10"/>
                  </a:lnTo>
                  <a:lnTo>
                    <a:pt x="55" y="12"/>
                  </a:lnTo>
                  <a:close/>
                  <a:moveTo>
                    <a:pt x="59" y="8"/>
                  </a:moveTo>
                  <a:lnTo>
                    <a:pt x="59" y="10"/>
                  </a:lnTo>
                  <a:lnTo>
                    <a:pt x="59" y="8"/>
                  </a:lnTo>
                  <a:lnTo>
                    <a:pt x="59" y="10"/>
                  </a:lnTo>
                  <a:lnTo>
                    <a:pt x="59" y="8"/>
                  </a:lnTo>
                  <a:close/>
                </a:path>
              </a:pathLst>
            </a:custGeom>
            <a:solidFill>
              <a:srgbClr val="EF9F4B"/>
            </a:solidFill>
            <a:ln w="3175">
              <a:solidFill>
                <a:sysClr val="window" lastClr="FFFF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black"/>
                </a:solidFill>
                <a:effectLst/>
                <a:uLnTx/>
                <a:uFillTx/>
                <a:ea typeface="宋体" panose="02010600030101010101" pitchFamily="2" charset="-122"/>
              </a:endParaRPr>
            </a:p>
          </p:txBody>
        </p:sp>
        <p:sp>
          <p:nvSpPr>
            <p:cNvPr id="35" name="Freeform 2799">
              <a:extLst>
                <a:ext uri="{FF2B5EF4-FFF2-40B4-BE49-F238E27FC236}">
                  <a16:creationId xmlns:a16="http://schemas.microsoft.com/office/drawing/2014/main" id="{292DB67D-782E-15DE-18CF-5EA65DACDF7B}"/>
                </a:ext>
              </a:extLst>
            </p:cNvPr>
            <p:cNvSpPr>
              <a:spLocks noEditPoints="1"/>
            </p:cNvSpPr>
            <p:nvPr/>
          </p:nvSpPr>
          <p:spPr bwMode="auto">
            <a:xfrm>
              <a:off x="6042026" y="3427413"/>
              <a:ext cx="606425" cy="274638"/>
            </a:xfrm>
            <a:custGeom>
              <a:avLst/>
              <a:gdLst>
                <a:gd name="T0" fmla="*/ 318 w 382"/>
                <a:gd name="T1" fmla="*/ 117 h 173"/>
                <a:gd name="T2" fmla="*/ 320 w 382"/>
                <a:gd name="T3" fmla="*/ 115 h 173"/>
                <a:gd name="T4" fmla="*/ 320 w 382"/>
                <a:gd name="T5" fmla="*/ 115 h 173"/>
                <a:gd name="T6" fmla="*/ 328 w 382"/>
                <a:gd name="T7" fmla="*/ 111 h 173"/>
                <a:gd name="T8" fmla="*/ 322 w 382"/>
                <a:gd name="T9" fmla="*/ 115 h 173"/>
                <a:gd name="T10" fmla="*/ 342 w 382"/>
                <a:gd name="T11" fmla="*/ 105 h 173"/>
                <a:gd name="T12" fmla="*/ 338 w 382"/>
                <a:gd name="T13" fmla="*/ 107 h 173"/>
                <a:gd name="T14" fmla="*/ 348 w 382"/>
                <a:gd name="T15" fmla="*/ 105 h 173"/>
                <a:gd name="T16" fmla="*/ 358 w 382"/>
                <a:gd name="T17" fmla="*/ 87 h 173"/>
                <a:gd name="T18" fmla="*/ 350 w 382"/>
                <a:gd name="T19" fmla="*/ 97 h 173"/>
                <a:gd name="T20" fmla="*/ 340 w 382"/>
                <a:gd name="T21" fmla="*/ 101 h 173"/>
                <a:gd name="T22" fmla="*/ 338 w 382"/>
                <a:gd name="T23" fmla="*/ 91 h 173"/>
                <a:gd name="T24" fmla="*/ 352 w 382"/>
                <a:gd name="T25" fmla="*/ 89 h 173"/>
                <a:gd name="T26" fmla="*/ 344 w 382"/>
                <a:gd name="T27" fmla="*/ 87 h 173"/>
                <a:gd name="T28" fmla="*/ 338 w 382"/>
                <a:gd name="T29" fmla="*/ 81 h 173"/>
                <a:gd name="T30" fmla="*/ 340 w 382"/>
                <a:gd name="T31" fmla="*/ 74 h 173"/>
                <a:gd name="T32" fmla="*/ 380 w 382"/>
                <a:gd name="T33" fmla="*/ 54 h 173"/>
                <a:gd name="T34" fmla="*/ 374 w 382"/>
                <a:gd name="T35" fmla="*/ 70 h 173"/>
                <a:gd name="T36" fmla="*/ 378 w 382"/>
                <a:gd name="T37" fmla="*/ 40 h 173"/>
                <a:gd name="T38" fmla="*/ 372 w 382"/>
                <a:gd name="T39" fmla="*/ 34 h 173"/>
                <a:gd name="T40" fmla="*/ 366 w 382"/>
                <a:gd name="T41" fmla="*/ 32 h 173"/>
                <a:gd name="T42" fmla="*/ 356 w 382"/>
                <a:gd name="T43" fmla="*/ 14 h 173"/>
                <a:gd name="T44" fmla="*/ 350 w 382"/>
                <a:gd name="T45" fmla="*/ 6 h 173"/>
                <a:gd name="T46" fmla="*/ 364 w 382"/>
                <a:gd name="T47" fmla="*/ 26 h 173"/>
                <a:gd name="T48" fmla="*/ 362 w 382"/>
                <a:gd name="T49" fmla="*/ 22 h 173"/>
                <a:gd name="T50" fmla="*/ 352 w 382"/>
                <a:gd name="T51" fmla="*/ 4 h 173"/>
                <a:gd name="T52" fmla="*/ 120 w 382"/>
                <a:gd name="T53" fmla="*/ 48 h 173"/>
                <a:gd name="T54" fmla="*/ 194 w 382"/>
                <a:gd name="T55" fmla="*/ 38 h 173"/>
                <a:gd name="T56" fmla="*/ 270 w 382"/>
                <a:gd name="T57" fmla="*/ 22 h 173"/>
                <a:gd name="T58" fmla="*/ 342 w 382"/>
                <a:gd name="T59" fmla="*/ 4 h 173"/>
                <a:gd name="T60" fmla="*/ 356 w 382"/>
                <a:gd name="T61" fmla="*/ 20 h 173"/>
                <a:gd name="T62" fmla="*/ 332 w 382"/>
                <a:gd name="T63" fmla="*/ 36 h 173"/>
                <a:gd name="T64" fmla="*/ 342 w 382"/>
                <a:gd name="T65" fmla="*/ 38 h 173"/>
                <a:gd name="T66" fmla="*/ 352 w 382"/>
                <a:gd name="T67" fmla="*/ 42 h 173"/>
                <a:gd name="T68" fmla="*/ 358 w 382"/>
                <a:gd name="T69" fmla="*/ 36 h 173"/>
                <a:gd name="T70" fmla="*/ 366 w 382"/>
                <a:gd name="T71" fmla="*/ 44 h 173"/>
                <a:gd name="T72" fmla="*/ 358 w 382"/>
                <a:gd name="T73" fmla="*/ 62 h 173"/>
                <a:gd name="T74" fmla="*/ 346 w 382"/>
                <a:gd name="T75" fmla="*/ 68 h 173"/>
                <a:gd name="T76" fmla="*/ 340 w 382"/>
                <a:gd name="T77" fmla="*/ 68 h 173"/>
                <a:gd name="T78" fmla="*/ 334 w 382"/>
                <a:gd name="T79" fmla="*/ 64 h 173"/>
                <a:gd name="T80" fmla="*/ 334 w 382"/>
                <a:gd name="T81" fmla="*/ 62 h 173"/>
                <a:gd name="T82" fmla="*/ 332 w 382"/>
                <a:gd name="T83" fmla="*/ 70 h 173"/>
                <a:gd name="T84" fmla="*/ 316 w 382"/>
                <a:gd name="T85" fmla="*/ 70 h 173"/>
                <a:gd name="T86" fmla="*/ 328 w 382"/>
                <a:gd name="T87" fmla="*/ 79 h 173"/>
                <a:gd name="T88" fmla="*/ 334 w 382"/>
                <a:gd name="T89" fmla="*/ 83 h 173"/>
                <a:gd name="T90" fmla="*/ 338 w 382"/>
                <a:gd name="T91" fmla="*/ 85 h 173"/>
                <a:gd name="T92" fmla="*/ 334 w 382"/>
                <a:gd name="T93" fmla="*/ 89 h 173"/>
                <a:gd name="T94" fmla="*/ 324 w 382"/>
                <a:gd name="T95" fmla="*/ 91 h 173"/>
                <a:gd name="T96" fmla="*/ 318 w 382"/>
                <a:gd name="T97" fmla="*/ 91 h 173"/>
                <a:gd name="T98" fmla="*/ 334 w 382"/>
                <a:gd name="T99" fmla="*/ 97 h 173"/>
                <a:gd name="T100" fmla="*/ 334 w 382"/>
                <a:gd name="T101" fmla="*/ 107 h 173"/>
                <a:gd name="T102" fmla="*/ 312 w 382"/>
                <a:gd name="T103" fmla="*/ 121 h 173"/>
                <a:gd name="T104" fmla="*/ 308 w 382"/>
                <a:gd name="T105" fmla="*/ 119 h 173"/>
                <a:gd name="T106" fmla="*/ 310 w 382"/>
                <a:gd name="T107" fmla="*/ 125 h 173"/>
                <a:gd name="T108" fmla="*/ 290 w 382"/>
                <a:gd name="T109" fmla="*/ 165 h 173"/>
                <a:gd name="T110" fmla="*/ 234 w 382"/>
                <a:gd name="T111" fmla="*/ 149 h 173"/>
                <a:gd name="T112" fmla="*/ 172 w 382"/>
                <a:gd name="T113" fmla="*/ 135 h 173"/>
                <a:gd name="T114" fmla="*/ 118 w 382"/>
                <a:gd name="T115" fmla="*/ 127 h 173"/>
                <a:gd name="T116" fmla="*/ 60 w 382"/>
                <a:gd name="T117" fmla="*/ 143 h 173"/>
                <a:gd name="T118" fmla="*/ 2 w 382"/>
                <a:gd name="T119" fmla="*/ 137 h 173"/>
                <a:gd name="T120" fmla="*/ 44 w 382"/>
                <a:gd name="T121" fmla="*/ 109 h 173"/>
                <a:gd name="T122" fmla="*/ 80 w 382"/>
                <a:gd name="T123" fmla="*/ 81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82" h="173">
                  <a:moveTo>
                    <a:pt x="308" y="129"/>
                  </a:moveTo>
                  <a:lnTo>
                    <a:pt x="306" y="129"/>
                  </a:lnTo>
                  <a:lnTo>
                    <a:pt x="308" y="129"/>
                  </a:lnTo>
                  <a:close/>
                  <a:moveTo>
                    <a:pt x="308" y="129"/>
                  </a:moveTo>
                  <a:lnTo>
                    <a:pt x="306" y="129"/>
                  </a:lnTo>
                  <a:lnTo>
                    <a:pt x="308" y="129"/>
                  </a:lnTo>
                  <a:close/>
                  <a:moveTo>
                    <a:pt x="308" y="129"/>
                  </a:moveTo>
                  <a:lnTo>
                    <a:pt x="308" y="127"/>
                  </a:lnTo>
                  <a:lnTo>
                    <a:pt x="308" y="129"/>
                  </a:lnTo>
                  <a:lnTo>
                    <a:pt x="308" y="127"/>
                  </a:lnTo>
                  <a:lnTo>
                    <a:pt x="308" y="129"/>
                  </a:lnTo>
                  <a:close/>
                  <a:moveTo>
                    <a:pt x="312" y="125"/>
                  </a:moveTo>
                  <a:lnTo>
                    <a:pt x="312" y="123"/>
                  </a:lnTo>
                  <a:lnTo>
                    <a:pt x="312" y="125"/>
                  </a:lnTo>
                  <a:close/>
                  <a:moveTo>
                    <a:pt x="316" y="119"/>
                  </a:moveTo>
                  <a:lnTo>
                    <a:pt x="318" y="119"/>
                  </a:lnTo>
                  <a:lnTo>
                    <a:pt x="316" y="119"/>
                  </a:lnTo>
                  <a:lnTo>
                    <a:pt x="316" y="121"/>
                  </a:lnTo>
                  <a:lnTo>
                    <a:pt x="316" y="123"/>
                  </a:lnTo>
                  <a:lnTo>
                    <a:pt x="314" y="123"/>
                  </a:lnTo>
                  <a:lnTo>
                    <a:pt x="314" y="125"/>
                  </a:lnTo>
                  <a:lnTo>
                    <a:pt x="314" y="123"/>
                  </a:lnTo>
                  <a:lnTo>
                    <a:pt x="312" y="123"/>
                  </a:lnTo>
                  <a:lnTo>
                    <a:pt x="314" y="123"/>
                  </a:lnTo>
                  <a:lnTo>
                    <a:pt x="312" y="123"/>
                  </a:lnTo>
                  <a:lnTo>
                    <a:pt x="314" y="123"/>
                  </a:lnTo>
                  <a:lnTo>
                    <a:pt x="316" y="123"/>
                  </a:lnTo>
                  <a:lnTo>
                    <a:pt x="316" y="121"/>
                  </a:lnTo>
                  <a:lnTo>
                    <a:pt x="316" y="119"/>
                  </a:lnTo>
                  <a:lnTo>
                    <a:pt x="318" y="119"/>
                  </a:lnTo>
                  <a:lnTo>
                    <a:pt x="316" y="119"/>
                  </a:lnTo>
                  <a:close/>
                  <a:moveTo>
                    <a:pt x="318" y="119"/>
                  </a:moveTo>
                  <a:lnTo>
                    <a:pt x="316" y="119"/>
                  </a:lnTo>
                  <a:lnTo>
                    <a:pt x="318" y="119"/>
                  </a:lnTo>
                  <a:close/>
                  <a:moveTo>
                    <a:pt x="318" y="117"/>
                  </a:moveTo>
                  <a:lnTo>
                    <a:pt x="320" y="117"/>
                  </a:lnTo>
                  <a:lnTo>
                    <a:pt x="318" y="117"/>
                  </a:lnTo>
                  <a:close/>
                  <a:moveTo>
                    <a:pt x="318" y="119"/>
                  </a:moveTo>
                  <a:lnTo>
                    <a:pt x="318" y="117"/>
                  </a:lnTo>
                  <a:lnTo>
                    <a:pt x="318" y="119"/>
                  </a:lnTo>
                  <a:close/>
                  <a:moveTo>
                    <a:pt x="318" y="117"/>
                  </a:moveTo>
                  <a:lnTo>
                    <a:pt x="318" y="119"/>
                  </a:lnTo>
                  <a:lnTo>
                    <a:pt x="318" y="117"/>
                  </a:lnTo>
                  <a:lnTo>
                    <a:pt x="320" y="117"/>
                  </a:lnTo>
                  <a:lnTo>
                    <a:pt x="318" y="119"/>
                  </a:lnTo>
                  <a:lnTo>
                    <a:pt x="318" y="117"/>
                  </a:lnTo>
                  <a:close/>
                  <a:moveTo>
                    <a:pt x="320" y="117"/>
                  </a:moveTo>
                  <a:lnTo>
                    <a:pt x="318" y="117"/>
                  </a:lnTo>
                  <a:lnTo>
                    <a:pt x="320" y="117"/>
                  </a:lnTo>
                  <a:close/>
                  <a:moveTo>
                    <a:pt x="318" y="117"/>
                  </a:moveTo>
                  <a:lnTo>
                    <a:pt x="318" y="119"/>
                  </a:lnTo>
                  <a:lnTo>
                    <a:pt x="318" y="117"/>
                  </a:lnTo>
                  <a:close/>
                  <a:moveTo>
                    <a:pt x="348" y="109"/>
                  </a:moveTo>
                  <a:lnTo>
                    <a:pt x="346" y="109"/>
                  </a:lnTo>
                  <a:lnTo>
                    <a:pt x="348" y="109"/>
                  </a:lnTo>
                  <a:close/>
                  <a:moveTo>
                    <a:pt x="318" y="117"/>
                  </a:moveTo>
                  <a:lnTo>
                    <a:pt x="320" y="117"/>
                  </a:lnTo>
                  <a:lnTo>
                    <a:pt x="318" y="117"/>
                  </a:lnTo>
                  <a:lnTo>
                    <a:pt x="320" y="117"/>
                  </a:lnTo>
                  <a:lnTo>
                    <a:pt x="318" y="117"/>
                  </a:lnTo>
                  <a:lnTo>
                    <a:pt x="320" y="117"/>
                  </a:lnTo>
                  <a:lnTo>
                    <a:pt x="318" y="117"/>
                  </a:lnTo>
                  <a:close/>
                  <a:moveTo>
                    <a:pt x="320" y="115"/>
                  </a:moveTo>
                  <a:lnTo>
                    <a:pt x="320" y="117"/>
                  </a:lnTo>
                  <a:lnTo>
                    <a:pt x="320" y="115"/>
                  </a:lnTo>
                  <a:close/>
                  <a:moveTo>
                    <a:pt x="322" y="115"/>
                  </a:moveTo>
                  <a:lnTo>
                    <a:pt x="322" y="117"/>
                  </a:lnTo>
                  <a:lnTo>
                    <a:pt x="322" y="115"/>
                  </a:lnTo>
                  <a:lnTo>
                    <a:pt x="322" y="117"/>
                  </a:lnTo>
                  <a:lnTo>
                    <a:pt x="320" y="117"/>
                  </a:lnTo>
                  <a:lnTo>
                    <a:pt x="320" y="115"/>
                  </a:lnTo>
                  <a:lnTo>
                    <a:pt x="320" y="117"/>
                  </a:lnTo>
                  <a:lnTo>
                    <a:pt x="320" y="115"/>
                  </a:lnTo>
                  <a:lnTo>
                    <a:pt x="322" y="115"/>
                  </a:lnTo>
                  <a:close/>
                  <a:moveTo>
                    <a:pt x="320" y="115"/>
                  </a:moveTo>
                  <a:lnTo>
                    <a:pt x="320" y="117"/>
                  </a:lnTo>
                  <a:lnTo>
                    <a:pt x="320" y="115"/>
                  </a:lnTo>
                  <a:close/>
                  <a:moveTo>
                    <a:pt x="320" y="115"/>
                  </a:moveTo>
                  <a:lnTo>
                    <a:pt x="322" y="115"/>
                  </a:lnTo>
                  <a:lnTo>
                    <a:pt x="320" y="115"/>
                  </a:lnTo>
                  <a:lnTo>
                    <a:pt x="322" y="115"/>
                  </a:lnTo>
                  <a:lnTo>
                    <a:pt x="320" y="115"/>
                  </a:lnTo>
                  <a:lnTo>
                    <a:pt x="322" y="115"/>
                  </a:lnTo>
                  <a:lnTo>
                    <a:pt x="320" y="115"/>
                  </a:lnTo>
                  <a:lnTo>
                    <a:pt x="322" y="115"/>
                  </a:lnTo>
                  <a:lnTo>
                    <a:pt x="320" y="115"/>
                  </a:lnTo>
                  <a:close/>
                  <a:moveTo>
                    <a:pt x="348" y="109"/>
                  </a:moveTo>
                  <a:lnTo>
                    <a:pt x="346" y="109"/>
                  </a:lnTo>
                  <a:lnTo>
                    <a:pt x="348" y="109"/>
                  </a:lnTo>
                  <a:close/>
                  <a:moveTo>
                    <a:pt x="320" y="115"/>
                  </a:moveTo>
                  <a:lnTo>
                    <a:pt x="320" y="117"/>
                  </a:lnTo>
                  <a:lnTo>
                    <a:pt x="320" y="115"/>
                  </a:lnTo>
                  <a:close/>
                  <a:moveTo>
                    <a:pt x="324" y="113"/>
                  </a:moveTo>
                  <a:lnTo>
                    <a:pt x="324" y="115"/>
                  </a:lnTo>
                  <a:lnTo>
                    <a:pt x="324" y="113"/>
                  </a:lnTo>
                  <a:close/>
                  <a:moveTo>
                    <a:pt x="322" y="113"/>
                  </a:moveTo>
                  <a:lnTo>
                    <a:pt x="322" y="115"/>
                  </a:lnTo>
                  <a:lnTo>
                    <a:pt x="322" y="113"/>
                  </a:lnTo>
                  <a:close/>
                  <a:moveTo>
                    <a:pt x="322" y="115"/>
                  </a:moveTo>
                  <a:lnTo>
                    <a:pt x="320" y="115"/>
                  </a:lnTo>
                  <a:lnTo>
                    <a:pt x="322" y="115"/>
                  </a:lnTo>
                  <a:lnTo>
                    <a:pt x="320" y="115"/>
                  </a:lnTo>
                  <a:lnTo>
                    <a:pt x="322" y="115"/>
                  </a:lnTo>
                  <a:lnTo>
                    <a:pt x="320" y="115"/>
                  </a:lnTo>
                  <a:lnTo>
                    <a:pt x="322" y="115"/>
                  </a:lnTo>
                  <a:close/>
                  <a:moveTo>
                    <a:pt x="324" y="113"/>
                  </a:moveTo>
                  <a:lnTo>
                    <a:pt x="324" y="115"/>
                  </a:lnTo>
                  <a:lnTo>
                    <a:pt x="324" y="113"/>
                  </a:lnTo>
                  <a:lnTo>
                    <a:pt x="324" y="115"/>
                  </a:lnTo>
                  <a:lnTo>
                    <a:pt x="324" y="113"/>
                  </a:lnTo>
                  <a:lnTo>
                    <a:pt x="324" y="115"/>
                  </a:lnTo>
                  <a:lnTo>
                    <a:pt x="324" y="113"/>
                  </a:lnTo>
                  <a:close/>
                  <a:moveTo>
                    <a:pt x="324" y="113"/>
                  </a:moveTo>
                  <a:lnTo>
                    <a:pt x="322" y="113"/>
                  </a:lnTo>
                  <a:lnTo>
                    <a:pt x="324" y="113"/>
                  </a:lnTo>
                  <a:close/>
                  <a:moveTo>
                    <a:pt x="322" y="113"/>
                  </a:moveTo>
                  <a:lnTo>
                    <a:pt x="322" y="115"/>
                  </a:lnTo>
                  <a:lnTo>
                    <a:pt x="322" y="113"/>
                  </a:lnTo>
                  <a:close/>
                  <a:moveTo>
                    <a:pt x="344" y="107"/>
                  </a:moveTo>
                  <a:lnTo>
                    <a:pt x="344" y="109"/>
                  </a:lnTo>
                  <a:lnTo>
                    <a:pt x="344" y="107"/>
                  </a:lnTo>
                  <a:lnTo>
                    <a:pt x="344" y="109"/>
                  </a:lnTo>
                  <a:lnTo>
                    <a:pt x="344" y="107"/>
                  </a:lnTo>
                  <a:close/>
                  <a:moveTo>
                    <a:pt x="326" y="113"/>
                  </a:moveTo>
                  <a:lnTo>
                    <a:pt x="324" y="113"/>
                  </a:lnTo>
                  <a:lnTo>
                    <a:pt x="326" y="113"/>
                  </a:lnTo>
                  <a:close/>
                  <a:moveTo>
                    <a:pt x="320" y="115"/>
                  </a:moveTo>
                  <a:lnTo>
                    <a:pt x="320" y="113"/>
                  </a:lnTo>
                  <a:lnTo>
                    <a:pt x="320" y="115"/>
                  </a:lnTo>
                  <a:close/>
                  <a:moveTo>
                    <a:pt x="344" y="109"/>
                  </a:moveTo>
                  <a:lnTo>
                    <a:pt x="344" y="107"/>
                  </a:lnTo>
                  <a:lnTo>
                    <a:pt x="344" y="109"/>
                  </a:lnTo>
                  <a:close/>
                  <a:moveTo>
                    <a:pt x="322" y="113"/>
                  </a:moveTo>
                  <a:lnTo>
                    <a:pt x="322" y="115"/>
                  </a:lnTo>
                  <a:lnTo>
                    <a:pt x="322" y="113"/>
                  </a:lnTo>
                  <a:lnTo>
                    <a:pt x="322" y="115"/>
                  </a:lnTo>
                  <a:lnTo>
                    <a:pt x="322" y="113"/>
                  </a:lnTo>
                  <a:close/>
                  <a:moveTo>
                    <a:pt x="328" y="113"/>
                  </a:moveTo>
                  <a:lnTo>
                    <a:pt x="326" y="113"/>
                  </a:lnTo>
                  <a:lnTo>
                    <a:pt x="328" y="113"/>
                  </a:lnTo>
                  <a:close/>
                  <a:moveTo>
                    <a:pt x="322" y="113"/>
                  </a:moveTo>
                  <a:lnTo>
                    <a:pt x="320" y="113"/>
                  </a:lnTo>
                  <a:lnTo>
                    <a:pt x="322" y="113"/>
                  </a:lnTo>
                  <a:lnTo>
                    <a:pt x="320" y="113"/>
                  </a:lnTo>
                  <a:lnTo>
                    <a:pt x="322" y="113"/>
                  </a:lnTo>
                  <a:close/>
                  <a:moveTo>
                    <a:pt x="328" y="111"/>
                  </a:moveTo>
                  <a:lnTo>
                    <a:pt x="328" y="113"/>
                  </a:lnTo>
                  <a:lnTo>
                    <a:pt x="328" y="111"/>
                  </a:lnTo>
                  <a:close/>
                  <a:moveTo>
                    <a:pt x="348" y="107"/>
                  </a:moveTo>
                  <a:lnTo>
                    <a:pt x="348" y="105"/>
                  </a:lnTo>
                  <a:lnTo>
                    <a:pt x="348" y="107"/>
                  </a:lnTo>
                  <a:close/>
                  <a:moveTo>
                    <a:pt x="340" y="107"/>
                  </a:moveTo>
                  <a:lnTo>
                    <a:pt x="340" y="109"/>
                  </a:lnTo>
                  <a:lnTo>
                    <a:pt x="340" y="107"/>
                  </a:lnTo>
                  <a:lnTo>
                    <a:pt x="340" y="109"/>
                  </a:lnTo>
                  <a:lnTo>
                    <a:pt x="340" y="107"/>
                  </a:lnTo>
                  <a:lnTo>
                    <a:pt x="340" y="109"/>
                  </a:lnTo>
                  <a:lnTo>
                    <a:pt x="342" y="109"/>
                  </a:lnTo>
                  <a:lnTo>
                    <a:pt x="342" y="107"/>
                  </a:lnTo>
                  <a:lnTo>
                    <a:pt x="342" y="109"/>
                  </a:lnTo>
                  <a:lnTo>
                    <a:pt x="344" y="109"/>
                  </a:lnTo>
                  <a:lnTo>
                    <a:pt x="346" y="109"/>
                  </a:lnTo>
                  <a:lnTo>
                    <a:pt x="344" y="109"/>
                  </a:lnTo>
                  <a:lnTo>
                    <a:pt x="342" y="109"/>
                  </a:lnTo>
                  <a:lnTo>
                    <a:pt x="340" y="109"/>
                  </a:lnTo>
                  <a:lnTo>
                    <a:pt x="340" y="107"/>
                  </a:lnTo>
                  <a:close/>
                  <a:moveTo>
                    <a:pt x="326" y="111"/>
                  </a:moveTo>
                  <a:lnTo>
                    <a:pt x="326" y="113"/>
                  </a:lnTo>
                  <a:lnTo>
                    <a:pt x="326" y="111"/>
                  </a:lnTo>
                  <a:close/>
                  <a:moveTo>
                    <a:pt x="328" y="111"/>
                  </a:moveTo>
                  <a:lnTo>
                    <a:pt x="326" y="111"/>
                  </a:lnTo>
                  <a:lnTo>
                    <a:pt x="328" y="111"/>
                  </a:lnTo>
                  <a:close/>
                  <a:moveTo>
                    <a:pt x="346" y="107"/>
                  </a:moveTo>
                  <a:lnTo>
                    <a:pt x="346" y="105"/>
                  </a:lnTo>
                  <a:lnTo>
                    <a:pt x="346" y="107"/>
                  </a:lnTo>
                  <a:close/>
                  <a:moveTo>
                    <a:pt x="342" y="107"/>
                  </a:moveTo>
                  <a:lnTo>
                    <a:pt x="340" y="107"/>
                  </a:lnTo>
                  <a:lnTo>
                    <a:pt x="342" y="107"/>
                  </a:lnTo>
                  <a:close/>
                  <a:moveTo>
                    <a:pt x="336" y="109"/>
                  </a:moveTo>
                  <a:lnTo>
                    <a:pt x="334" y="109"/>
                  </a:lnTo>
                  <a:lnTo>
                    <a:pt x="336" y="109"/>
                  </a:lnTo>
                  <a:close/>
                  <a:moveTo>
                    <a:pt x="334" y="109"/>
                  </a:moveTo>
                  <a:lnTo>
                    <a:pt x="334" y="109"/>
                  </a:lnTo>
                  <a:lnTo>
                    <a:pt x="334" y="109"/>
                  </a:lnTo>
                  <a:close/>
                  <a:moveTo>
                    <a:pt x="344" y="107"/>
                  </a:moveTo>
                  <a:lnTo>
                    <a:pt x="344" y="105"/>
                  </a:lnTo>
                  <a:lnTo>
                    <a:pt x="344" y="107"/>
                  </a:lnTo>
                  <a:close/>
                  <a:moveTo>
                    <a:pt x="340" y="107"/>
                  </a:moveTo>
                  <a:lnTo>
                    <a:pt x="342" y="107"/>
                  </a:lnTo>
                  <a:lnTo>
                    <a:pt x="340" y="107"/>
                  </a:lnTo>
                  <a:close/>
                  <a:moveTo>
                    <a:pt x="336" y="107"/>
                  </a:moveTo>
                  <a:lnTo>
                    <a:pt x="336" y="109"/>
                  </a:lnTo>
                  <a:lnTo>
                    <a:pt x="336" y="107"/>
                  </a:lnTo>
                  <a:lnTo>
                    <a:pt x="336" y="109"/>
                  </a:lnTo>
                  <a:lnTo>
                    <a:pt x="338" y="109"/>
                  </a:lnTo>
                  <a:lnTo>
                    <a:pt x="336" y="109"/>
                  </a:lnTo>
                  <a:lnTo>
                    <a:pt x="338" y="109"/>
                  </a:lnTo>
                  <a:lnTo>
                    <a:pt x="338" y="107"/>
                  </a:lnTo>
                  <a:lnTo>
                    <a:pt x="338" y="109"/>
                  </a:lnTo>
                  <a:lnTo>
                    <a:pt x="338" y="107"/>
                  </a:lnTo>
                  <a:lnTo>
                    <a:pt x="338" y="109"/>
                  </a:lnTo>
                  <a:lnTo>
                    <a:pt x="338" y="107"/>
                  </a:lnTo>
                  <a:lnTo>
                    <a:pt x="340" y="107"/>
                  </a:lnTo>
                  <a:lnTo>
                    <a:pt x="340" y="109"/>
                  </a:lnTo>
                  <a:lnTo>
                    <a:pt x="338" y="109"/>
                  </a:lnTo>
                  <a:lnTo>
                    <a:pt x="336" y="109"/>
                  </a:lnTo>
                  <a:lnTo>
                    <a:pt x="334" y="109"/>
                  </a:lnTo>
                  <a:lnTo>
                    <a:pt x="334" y="109"/>
                  </a:lnTo>
                  <a:lnTo>
                    <a:pt x="334" y="111"/>
                  </a:lnTo>
                  <a:lnTo>
                    <a:pt x="332" y="111"/>
                  </a:lnTo>
                  <a:lnTo>
                    <a:pt x="330" y="111"/>
                  </a:lnTo>
                  <a:lnTo>
                    <a:pt x="328" y="113"/>
                  </a:lnTo>
                  <a:lnTo>
                    <a:pt x="326" y="113"/>
                  </a:lnTo>
                  <a:lnTo>
                    <a:pt x="324" y="115"/>
                  </a:lnTo>
                  <a:lnTo>
                    <a:pt x="322" y="115"/>
                  </a:lnTo>
                  <a:lnTo>
                    <a:pt x="324" y="115"/>
                  </a:lnTo>
                  <a:lnTo>
                    <a:pt x="324" y="113"/>
                  </a:lnTo>
                  <a:lnTo>
                    <a:pt x="326" y="113"/>
                  </a:lnTo>
                  <a:lnTo>
                    <a:pt x="328" y="113"/>
                  </a:lnTo>
                  <a:lnTo>
                    <a:pt x="328" y="111"/>
                  </a:lnTo>
                  <a:lnTo>
                    <a:pt x="330" y="111"/>
                  </a:lnTo>
                  <a:lnTo>
                    <a:pt x="332" y="111"/>
                  </a:lnTo>
                  <a:lnTo>
                    <a:pt x="334" y="111"/>
                  </a:lnTo>
                  <a:lnTo>
                    <a:pt x="334" y="109"/>
                  </a:lnTo>
                  <a:lnTo>
                    <a:pt x="334" y="109"/>
                  </a:lnTo>
                  <a:lnTo>
                    <a:pt x="336" y="109"/>
                  </a:lnTo>
                  <a:lnTo>
                    <a:pt x="336" y="107"/>
                  </a:lnTo>
                  <a:lnTo>
                    <a:pt x="336" y="109"/>
                  </a:lnTo>
                  <a:lnTo>
                    <a:pt x="336" y="107"/>
                  </a:lnTo>
                  <a:lnTo>
                    <a:pt x="336" y="109"/>
                  </a:lnTo>
                  <a:lnTo>
                    <a:pt x="336" y="107"/>
                  </a:lnTo>
                  <a:close/>
                  <a:moveTo>
                    <a:pt x="346" y="105"/>
                  </a:moveTo>
                  <a:lnTo>
                    <a:pt x="346" y="107"/>
                  </a:lnTo>
                  <a:lnTo>
                    <a:pt x="346" y="105"/>
                  </a:lnTo>
                  <a:lnTo>
                    <a:pt x="344" y="105"/>
                  </a:lnTo>
                  <a:lnTo>
                    <a:pt x="346" y="105"/>
                  </a:lnTo>
                  <a:close/>
                  <a:moveTo>
                    <a:pt x="340" y="107"/>
                  </a:moveTo>
                  <a:lnTo>
                    <a:pt x="338" y="107"/>
                  </a:lnTo>
                  <a:lnTo>
                    <a:pt x="340" y="107"/>
                  </a:lnTo>
                  <a:close/>
                  <a:moveTo>
                    <a:pt x="342" y="107"/>
                  </a:moveTo>
                  <a:lnTo>
                    <a:pt x="342" y="105"/>
                  </a:lnTo>
                  <a:lnTo>
                    <a:pt x="342" y="107"/>
                  </a:lnTo>
                  <a:close/>
                  <a:moveTo>
                    <a:pt x="336" y="109"/>
                  </a:moveTo>
                  <a:lnTo>
                    <a:pt x="334" y="109"/>
                  </a:lnTo>
                  <a:lnTo>
                    <a:pt x="336" y="109"/>
                  </a:lnTo>
                  <a:lnTo>
                    <a:pt x="336" y="107"/>
                  </a:lnTo>
                  <a:lnTo>
                    <a:pt x="336" y="109"/>
                  </a:lnTo>
                  <a:lnTo>
                    <a:pt x="336" y="107"/>
                  </a:lnTo>
                  <a:lnTo>
                    <a:pt x="336" y="109"/>
                  </a:lnTo>
                  <a:close/>
                  <a:moveTo>
                    <a:pt x="344" y="105"/>
                  </a:moveTo>
                  <a:lnTo>
                    <a:pt x="344" y="107"/>
                  </a:lnTo>
                  <a:lnTo>
                    <a:pt x="346" y="107"/>
                  </a:lnTo>
                  <a:lnTo>
                    <a:pt x="344" y="107"/>
                  </a:lnTo>
                  <a:lnTo>
                    <a:pt x="344" y="105"/>
                  </a:lnTo>
                  <a:lnTo>
                    <a:pt x="344" y="107"/>
                  </a:lnTo>
                  <a:lnTo>
                    <a:pt x="344" y="105"/>
                  </a:lnTo>
                  <a:close/>
                  <a:moveTo>
                    <a:pt x="342" y="107"/>
                  </a:moveTo>
                  <a:lnTo>
                    <a:pt x="342" y="105"/>
                  </a:lnTo>
                  <a:lnTo>
                    <a:pt x="342" y="107"/>
                  </a:lnTo>
                  <a:close/>
                  <a:moveTo>
                    <a:pt x="342" y="105"/>
                  </a:moveTo>
                  <a:lnTo>
                    <a:pt x="342" y="107"/>
                  </a:lnTo>
                  <a:lnTo>
                    <a:pt x="342" y="105"/>
                  </a:lnTo>
                  <a:close/>
                  <a:moveTo>
                    <a:pt x="342" y="107"/>
                  </a:moveTo>
                  <a:lnTo>
                    <a:pt x="342" y="105"/>
                  </a:lnTo>
                  <a:lnTo>
                    <a:pt x="342" y="107"/>
                  </a:lnTo>
                  <a:close/>
                  <a:moveTo>
                    <a:pt x="342" y="105"/>
                  </a:moveTo>
                  <a:lnTo>
                    <a:pt x="344" y="105"/>
                  </a:lnTo>
                  <a:lnTo>
                    <a:pt x="342" y="105"/>
                  </a:lnTo>
                  <a:close/>
                  <a:moveTo>
                    <a:pt x="348" y="105"/>
                  </a:moveTo>
                  <a:lnTo>
                    <a:pt x="348" y="103"/>
                  </a:lnTo>
                  <a:lnTo>
                    <a:pt x="348" y="105"/>
                  </a:lnTo>
                  <a:close/>
                  <a:moveTo>
                    <a:pt x="342" y="105"/>
                  </a:moveTo>
                  <a:lnTo>
                    <a:pt x="342" y="107"/>
                  </a:lnTo>
                  <a:lnTo>
                    <a:pt x="342" y="105"/>
                  </a:lnTo>
                  <a:lnTo>
                    <a:pt x="342" y="107"/>
                  </a:lnTo>
                  <a:lnTo>
                    <a:pt x="342" y="105"/>
                  </a:lnTo>
                  <a:close/>
                  <a:moveTo>
                    <a:pt x="342" y="107"/>
                  </a:moveTo>
                  <a:lnTo>
                    <a:pt x="342" y="105"/>
                  </a:lnTo>
                  <a:lnTo>
                    <a:pt x="342" y="107"/>
                  </a:lnTo>
                  <a:close/>
                  <a:moveTo>
                    <a:pt x="340" y="107"/>
                  </a:moveTo>
                  <a:lnTo>
                    <a:pt x="338" y="107"/>
                  </a:lnTo>
                  <a:lnTo>
                    <a:pt x="340" y="107"/>
                  </a:lnTo>
                  <a:lnTo>
                    <a:pt x="338" y="107"/>
                  </a:lnTo>
                  <a:lnTo>
                    <a:pt x="340" y="107"/>
                  </a:lnTo>
                  <a:close/>
                  <a:moveTo>
                    <a:pt x="338" y="107"/>
                  </a:moveTo>
                  <a:lnTo>
                    <a:pt x="338" y="105"/>
                  </a:lnTo>
                  <a:lnTo>
                    <a:pt x="338" y="107"/>
                  </a:lnTo>
                  <a:close/>
                  <a:moveTo>
                    <a:pt x="338" y="105"/>
                  </a:moveTo>
                  <a:lnTo>
                    <a:pt x="338" y="107"/>
                  </a:lnTo>
                  <a:lnTo>
                    <a:pt x="338" y="105"/>
                  </a:lnTo>
                  <a:close/>
                  <a:moveTo>
                    <a:pt x="338" y="107"/>
                  </a:moveTo>
                  <a:lnTo>
                    <a:pt x="338" y="105"/>
                  </a:lnTo>
                  <a:lnTo>
                    <a:pt x="338" y="107"/>
                  </a:lnTo>
                  <a:close/>
                  <a:moveTo>
                    <a:pt x="338" y="107"/>
                  </a:moveTo>
                  <a:lnTo>
                    <a:pt x="338" y="105"/>
                  </a:lnTo>
                  <a:lnTo>
                    <a:pt x="338" y="107"/>
                  </a:lnTo>
                  <a:close/>
                  <a:moveTo>
                    <a:pt x="346" y="103"/>
                  </a:moveTo>
                  <a:lnTo>
                    <a:pt x="346" y="105"/>
                  </a:lnTo>
                  <a:lnTo>
                    <a:pt x="346" y="103"/>
                  </a:lnTo>
                  <a:close/>
                  <a:moveTo>
                    <a:pt x="338" y="105"/>
                  </a:moveTo>
                  <a:lnTo>
                    <a:pt x="338" y="107"/>
                  </a:lnTo>
                  <a:lnTo>
                    <a:pt x="338" y="105"/>
                  </a:lnTo>
                  <a:close/>
                  <a:moveTo>
                    <a:pt x="350" y="101"/>
                  </a:moveTo>
                  <a:lnTo>
                    <a:pt x="350" y="103"/>
                  </a:lnTo>
                  <a:lnTo>
                    <a:pt x="350" y="101"/>
                  </a:lnTo>
                  <a:close/>
                  <a:moveTo>
                    <a:pt x="346" y="103"/>
                  </a:moveTo>
                  <a:lnTo>
                    <a:pt x="348" y="103"/>
                  </a:lnTo>
                  <a:lnTo>
                    <a:pt x="346" y="103"/>
                  </a:lnTo>
                  <a:close/>
                  <a:moveTo>
                    <a:pt x="338" y="105"/>
                  </a:moveTo>
                  <a:lnTo>
                    <a:pt x="338" y="103"/>
                  </a:lnTo>
                  <a:lnTo>
                    <a:pt x="338" y="105"/>
                  </a:lnTo>
                  <a:close/>
                  <a:moveTo>
                    <a:pt x="350" y="101"/>
                  </a:moveTo>
                  <a:lnTo>
                    <a:pt x="350" y="99"/>
                  </a:lnTo>
                  <a:lnTo>
                    <a:pt x="350" y="101"/>
                  </a:lnTo>
                  <a:close/>
                  <a:moveTo>
                    <a:pt x="350" y="99"/>
                  </a:moveTo>
                  <a:lnTo>
                    <a:pt x="350" y="101"/>
                  </a:lnTo>
                  <a:lnTo>
                    <a:pt x="350" y="99"/>
                  </a:lnTo>
                  <a:close/>
                  <a:moveTo>
                    <a:pt x="352" y="99"/>
                  </a:moveTo>
                  <a:lnTo>
                    <a:pt x="352" y="97"/>
                  </a:lnTo>
                  <a:lnTo>
                    <a:pt x="352" y="99"/>
                  </a:lnTo>
                  <a:close/>
                  <a:moveTo>
                    <a:pt x="348" y="99"/>
                  </a:moveTo>
                  <a:lnTo>
                    <a:pt x="348" y="97"/>
                  </a:lnTo>
                  <a:lnTo>
                    <a:pt x="348" y="99"/>
                  </a:lnTo>
                  <a:lnTo>
                    <a:pt x="350" y="99"/>
                  </a:lnTo>
                  <a:lnTo>
                    <a:pt x="348" y="99"/>
                  </a:lnTo>
                  <a:close/>
                  <a:moveTo>
                    <a:pt x="352" y="97"/>
                  </a:moveTo>
                  <a:lnTo>
                    <a:pt x="352" y="99"/>
                  </a:lnTo>
                  <a:lnTo>
                    <a:pt x="352" y="101"/>
                  </a:lnTo>
                  <a:lnTo>
                    <a:pt x="350" y="101"/>
                  </a:lnTo>
                  <a:lnTo>
                    <a:pt x="350" y="103"/>
                  </a:lnTo>
                  <a:lnTo>
                    <a:pt x="350" y="105"/>
                  </a:lnTo>
                  <a:lnTo>
                    <a:pt x="348" y="105"/>
                  </a:lnTo>
                  <a:lnTo>
                    <a:pt x="348" y="107"/>
                  </a:lnTo>
                  <a:lnTo>
                    <a:pt x="348" y="109"/>
                  </a:lnTo>
                  <a:lnTo>
                    <a:pt x="348" y="111"/>
                  </a:lnTo>
                  <a:lnTo>
                    <a:pt x="348" y="113"/>
                  </a:lnTo>
                  <a:lnTo>
                    <a:pt x="348" y="111"/>
                  </a:lnTo>
                  <a:lnTo>
                    <a:pt x="346" y="111"/>
                  </a:lnTo>
                  <a:lnTo>
                    <a:pt x="348" y="111"/>
                  </a:lnTo>
                  <a:lnTo>
                    <a:pt x="348" y="109"/>
                  </a:lnTo>
                  <a:lnTo>
                    <a:pt x="348" y="107"/>
                  </a:lnTo>
                  <a:lnTo>
                    <a:pt x="348" y="105"/>
                  </a:lnTo>
                  <a:lnTo>
                    <a:pt x="348" y="107"/>
                  </a:lnTo>
                  <a:lnTo>
                    <a:pt x="348" y="105"/>
                  </a:lnTo>
                  <a:lnTo>
                    <a:pt x="350" y="105"/>
                  </a:lnTo>
                  <a:lnTo>
                    <a:pt x="348" y="105"/>
                  </a:lnTo>
                  <a:lnTo>
                    <a:pt x="348" y="103"/>
                  </a:lnTo>
                  <a:lnTo>
                    <a:pt x="350" y="103"/>
                  </a:lnTo>
                  <a:lnTo>
                    <a:pt x="350" y="105"/>
                  </a:lnTo>
                  <a:lnTo>
                    <a:pt x="350" y="103"/>
                  </a:lnTo>
                  <a:lnTo>
                    <a:pt x="350" y="101"/>
                  </a:lnTo>
                  <a:lnTo>
                    <a:pt x="350" y="99"/>
                  </a:lnTo>
                  <a:lnTo>
                    <a:pt x="350" y="101"/>
                  </a:lnTo>
                  <a:lnTo>
                    <a:pt x="350" y="99"/>
                  </a:lnTo>
                  <a:lnTo>
                    <a:pt x="352" y="99"/>
                  </a:lnTo>
                  <a:lnTo>
                    <a:pt x="352" y="97"/>
                  </a:lnTo>
                  <a:lnTo>
                    <a:pt x="352" y="95"/>
                  </a:lnTo>
                  <a:lnTo>
                    <a:pt x="354" y="95"/>
                  </a:lnTo>
                  <a:lnTo>
                    <a:pt x="354" y="97"/>
                  </a:lnTo>
                  <a:lnTo>
                    <a:pt x="352" y="97"/>
                  </a:lnTo>
                  <a:close/>
                  <a:moveTo>
                    <a:pt x="334" y="95"/>
                  </a:moveTo>
                  <a:lnTo>
                    <a:pt x="334" y="95"/>
                  </a:lnTo>
                  <a:lnTo>
                    <a:pt x="334" y="95"/>
                  </a:lnTo>
                  <a:close/>
                  <a:moveTo>
                    <a:pt x="358" y="89"/>
                  </a:moveTo>
                  <a:lnTo>
                    <a:pt x="356" y="89"/>
                  </a:lnTo>
                  <a:lnTo>
                    <a:pt x="356" y="91"/>
                  </a:lnTo>
                  <a:lnTo>
                    <a:pt x="356" y="93"/>
                  </a:lnTo>
                  <a:lnTo>
                    <a:pt x="354" y="93"/>
                  </a:lnTo>
                  <a:lnTo>
                    <a:pt x="354" y="95"/>
                  </a:lnTo>
                  <a:lnTo>
                    <a:pt x="354" y="93"/>
                  </a:lnTo>
                  <a:lnTo>
                    <a:pt x="356" y="93"/>
                  </a:lnTo>
                  <a:lnTo>
                    <a:pt x="356" y="91"/>
                  </a:lnTo>
                  <a:lnTo>
                    <a:pt x="356" y="89"/>
                  </a:lnTo>
                  <a:lnTo>
                    <a:pt x="358" y="89"/>
                  </a:lnTo>
                  <a:close/>
                  <a:moveTo>
                    <a:pt x="358" y="87"/>
                  </a:moveTo>
                  <a:lnTo>
                    <a:pt x="358" y="89"/>
                  </a:lnTo>
                  <a:lnTo>
                    <a:pt x="358" y="87"/>
                  </a:lnTo>
                  <a:close/>
                  <a:moveTo>
                    <a:pt x="358" y="87"/>
                  </a:moveTo>
                  <a:lnTo>
                    <a:pt x="356" y="87"/>
                  </a:lnTo>
                  <a:lnTo>
                    <a:pt x="358" y="87"/>
                  </a:lnTo>
                  <a:close/>
                  <a:moveTo>
                    <a:pt x="360" y="87"/>
                  </a:moveTo>
                  <a:lnTo>
                    <a:pt x="358" y="87"/>
                  </a:lnTo>
                  <a:lnTo>
                    <a:pt x="360" y="87"/>
                  </a:lnTo>
                  <a:close/>
                  <a:moveTo>
                    <a:pt x="360" y="87"/>
                  </a:moveTo>
                  <a:lnTo>
                    <a:pt x="358" y="87"/>
                  </a:lnTo>
                  <a:lnTo>
                    <a:pt x="360" y="87"/>
                  </a:lnTo>
                  <a:lnTo>
                    <a:pt x="358" y="87"/>
                  </a:lnTo>
                  <a:lnTo>
                    <a:pt x="360" y="87"/>
                  </a:lnTo>
                  <a:close/>
                  <a:moveTo>
                    <a:pt x="358" y="87"/>
                  </a:moveTo>
                  <a:lnTo>
                    <a:pt x="358" y="89"/>
                  </a:lnTo>
                  <a:lnTo>
                    <a:pt x="358" y="87"/>
                  </a:lnTo>
                  <a:lnTo>
                    <a:pt x="360" y="87"/>
                  </a:lnTo>
                  <a:lnTo>
                    <a:pt x="360" y="87"/>
                  </a:lnTo>
                  <a:lnTo>
                    <a:pt x="360" y="87"/>
                  </a:lnTo>
                  <a:lnTo>
                    <a:pt x="358" y="87"/>
                  </a:lnTo>
                  <a:close/>
                  <a:moveTo>
                    <a:pt x="342" y="89"/>
                  </a:moveTo>
                  <a:lnTo>
                    <a:pt x="344" y="89"/>
                  </a:lnTo>
                  <a:lnTo>
                    <a:pt x="342" y="89"/>
                  </a:lnTo>
                  <a:lnTo>
                    <a:pt x="344" y="89"/>
                  </a:lnTo>
                  <a:lnTo>
                    <a:pt x="342" y="89"/>
                  </a:lnTo>
                  <a:lnTo>
                    <a:pt x="342" y="91"/>
                  </a:lnTo>
                  <a:lnTo>
                    <a:pt x="344" y="91"/>
                  </a:lnTo>
                  <a:lnTo>
                    <a:pt x="344" y="89"/>
                  </a:lnTo>
                  <a:lnTo>
                    <a:pt x="344" y="91"/>
                  </a:lnTo>
                  <a:lnTo>
                    <a:pt x="346" y="91"/>
                  </a:lnTo>
                  <a:lnTo>
                    <a:pt x="346" y="93"/>
                  </a:lnTo>
                  <a:lnTo>
                    <a:pt x="346" y="91"/>
                  </a:lnTo>
                  <a:lnTo>
                    <a:pt x="346" y="93"/>
                  </a:lnTo>
                  <a:lnTo>
                    <a:pt x="348" y="93"/>
                  </a:lnTo>
                  <a:lnTo>
                    <a:pt x="346" y="93"/>
                  </a:lnTo>
                  <a:lnTo>
                    <a:pt x="348" y="93"/>
                  </a:lnTo>
                  <a:lnTo>
                    <a:pt x="346" y="93"/>
                  </a:lnTo>
                  <a:lnTo>
                    <a:pt x="348" y="93"/>
                  </a:lnTo>
                  <a:lnTo>
                    <a:pt x="346" y="93"/>
                  </a:lnTo>
                  <a:lnTo>
                    <a:pt x="346" y="91"/>
                  </a:lnTo>
                  <a:lnTo>
                    <a:pt x="348" y="91"/>
                  </a:lnTo>
                  <a:lnTo>
                    <a:pt x="350" y="91"/>
                  </a:lnTo>
                  <a:lnTo>
                    <a:pt x="350" y="93"/>
                  </a:lnTo>
                  <a:lnTo>
                    <a:pt x="350" y="91"/>
                  </a:lnTo>
                  <a:lnTo>
                    <a:pt x="352" y="91"/>
                  </a:lnTo>
                  <a:lnTo>
                    <a:pt x="352" y="93"/>
                  </a:lnTo>
                  <a:lnTo>
                    <a:pt x="352" y="95"/>
                  </a:lnTo>
                  <a:lnTo>
                    <a:pt x="350" y="95"/>
                  </a:lnTo>
                  <a:lnTo>
                    <a:pt x="350" y="93"/>
                  </a:lnTo>
                  <a:lnTo>
                    <a:pt x="350" y="95"/>
                  </a:lnTo>
                  <a:lnTo>
                    <a:pt x="348" y="95"/>
                  </a:lnTo>
                  <a:lnTo>
                    <a:pt x="350" y="95"/>
                  </a:lnTo>
                  <a:lnTo>
                    <a:pt x="348" y="95"/>
                  </a:lnTo>
                  <a:lnTo>
                    <a:pt x="350" y="95"/>
                  </a:lnTo>
                  <a:lnTo>
                    <a:pt x="350" y="97"/>
                  </a:lnTo>
                  <a:lnTo>
                    <a:pt x="348" y="97"/>
                  </a:lnTo>
                  <a:lnTo>
                    <a:pt x="348" y="99"/>
                  </a:lnTo>
                  <a:lnTo>
                    <a:pt x="348" y="101"/>
                  </a:lnTo>
                  <a:lnTo>
                    <a:pt x="346" y="101"/>
                  </a:lnTo>
                  <a:lnTo>
                    <a:pt x="348" y="101"/>
                  </a:lnTo>
                  <a:lnTo>
                    <a:pt x="346" y="101"/>
                  </a:lnTo>
                  <a:lnTo>
                    <a:pt x="348" y="101"/>
                  </a:lnTo>
                  <a:lnTo>
                    <a:pt x="346" y="101"/>
                  </a:lnTo>
                  <a:lnTo>
                    <a:pt x="348" y="101"/>
                  </a:lnTo>
                  <a:lnTo>
                    <a:pt x="348" y="99"/>
                  </a:lnTo>
                  <a:lnTo>
                    <a:pt x="348" y="101"/>
                  </a:lnTo>
                  <a:lnTo>
                    <a:pt x="348" y="99"/>
                  </a:lnTo>
                  <a:lnTo>
                    <a:pt x="346" y="99"/>
                  </a:lnTo>
                  <a:lnTo>
                    <a:pt x="346" y="101"/>
                  </a:lnTo>
                  <a:lnTo>
                    <a:pt x="346" y="99"/>
                  </a:lnTo>
                  <a:lnTo>
                    <a:pt x="346" y="101"/>
                  </a:lnTo>
                  <a:lnTo>
                    <a:pt x="346" y="103"/>
                  </a:lnTo>
                  <a:lnTo>
                    <a:pt x="346" y="105"/>
                  </a:lnTo>
                  <a:lnTo>
                    <a:pt x="346" y="103"/>
                  </a:lnTo>
                  <a:lnTo>
                    <a:pt x="346" y="105"/>
                  </a:lnTo>
                  <a:lnTo>
                    <a:pt x="344" y="105"/>
                  </a:lnTo>
                  <a:lnTo>
                    <a:pt x="342" y="105"/>
                  </a:lnTo>
                  <a:lnTo>
                    <a:pt x="344" y="105"/>
                  </a:lnTo>
                  <a:lnTo>
                    <a:pt x="342" y="105"/>
                  </a:lnTo>
                  <a:lnTo>
                    <a:pt x="342" y="103"/>
                  </a:lnTo>
                  <a:lnTo>
                    <a:pt x="344" y="103"/>
                  </a:lnTo>
                  <a:lnTo>
                    <a:pt x="342" y="103"/>
                  </a:lnTo>
                  <a:lnTo>
                    <a:pt x="344" y="103"/>
                  </a:lnTo>
                  <a:lnTo>
                    <a:pt x="342" y="103"/>
                  </a:lnTo>
                  <a:lnTo>
                    <a:pt x="342" y="101"/>
                  </a:lnTo>
                  <a:lnTo>
                    <a:pt x="344" y="101"/>
                  </a:lnTo>
                  <a:lnTo>
                    <a:pt x="342" y="101"/>
                  </a:lnTo>
                  <a:lnTo>
                    <a:pt x="344" y="101"/>
                  </a:lnTo>
                  <a:lnTo>
                    <a:pt x="342" y="101"/>
                  </a:lnTo>
                  <a:lnTo>
                    <a:pt x="344" y="101"/>
                  </a:lnTo>
                  <a:lnTo>
                    <a:pt x="342" y="101"/>
                  </a:lnTo>
                  <a:lnTo>
                    <a:pt x="344" y="101"/>
                  </a:lnTo>
                  <a:lnTo>
                    <a:pt x="342" y="101"/>
                  </a:lnTo>
                  <a:lnTo>
                    <a:pt x="342" y="103"/>
                  </a:lnTo>
                  <a:lnTo>
                    <a:pt x="342" y="101"/>
                  </a:lnTo>
                  <a:lnTo>
                    <a:pt x="340" y="101"/>
                  </a:lnTo>
                  <a:lnTo>
                    <a:pt x="340" y="103"/>
                  </a:lnTo>
                  <a:lnTo>
                    <a:pt x="340" y="101"/>
                  </a:lnTo>
                  <a:lnTo>
                    <a:pt x="340" y="103"/>
                  </a:lnTo>
                  <a:lnTo>
                    <a:pt x="342" y="103"/>
                  </a:lnTo>
                  <a:lnTo>
                    <a:pt x="340" y="103"/>
                  </a:lnTo>
                  <a:lnTo>
                    <a:pt x="342" y="103"/>
                  </a:lnTo>
                  <a:lnTo>
                    <a:pt x="340" y="103"/>
                  </a:lnTo>
                  <a:lnTo>
                    <a:pt x="342" y="103"/>
                  </a:lnTo>
                  <a:lnTo>
                    <a:pt x="342" y="105"/>
                  </a:lnTo>
                  <a:lnTo>
                    <a:pt x="340" y="105"/>
                  </a:lnTo>
                  <a:lnTo>
                    <a:pt x="342" y="105"/>
                  </a:lnTo>
                  <a:lnTo>
                    <a:pt x="340" y="105"/>
                  </a:lnTo>
                  <a:lnTo>
                    <a:pt x="342" y="105"/>
                  </a:lnTo>
                  <a:lnTo>
                    <a:pt x="340" y="105"/>
                  </a:lnTo>
                  <a:lnTo>
                    <a:pt x="342" y="105"/>
                  </a:lnTo>
                  <a:lnTo>
                    <a:pt x="340" y="105"/>
                  </a:lnTo>
                  <a:lnTo>
                    <a:pt x="342" y="105"/>
                  </a:lnTo>
                  <a:lnTo>
                    <a:pt x="342" y="107"/>
                  </a:lnTo>
                  <a:lnTo>
                    <a:pt x="340" y="107"/>
                  </a:lnTo>
                  <a:lnTo>
                    <a:pt x="340" y="105"/>
                  </a:lnTo>
                  <a:lnTo>
                    <a:pt x="338" y="105"/>
                  </a:lnTo>
                  <a:lnTo>
                    <a:pt x="340" y="105"/>
                  </a:lnTo>
                  <a:lnTo>
                    <a:pt x="340" y="103"/>
                  </a:lnTo>
                  <a:lnTo>
                    <a:pt x="340" y="105"/>
                  </a:lnTo>
                  <a:lnTo>
                    <a:pt x="338" y="105"/>
                  </a:lnTo>
                  <a:lnTo>
                    <a:pt x="338" y="103"/>
                  </a:lnTo>
                  <a:lnTo>
                    <a:pt x="338" y="101"/>
                  </a:lnTo>
                  <a:lnTo>
                    <a:pt x="336" y="101"/>
                  </a:lnTo>
                  <a:lnTo>
                    <a:pt x="336" y="99"/>
                  </a:lnTo>
                  <a:lnTo>
                    <a:pt x="336" y="97"/>
                  </a:lnTo>
                  <a:lnTo>
                    <a:pt x="338" y="97"/>
                  </a:lnTo>
                  <a:lnTo>
                    <a:pt x="336" y="97"/>
                  </a:lnTo>
                  <a:lnTo>
                    <a:pt x="338" y="95"/>
                  </a:lnTo>
                  <a:lnTo>
                    <a:pt x="338" y="97"/>
                  </a:lnTo>
                  <a:lnTo>
                    <a:pt x="338" y="95"/>
                  </a:lnTo>
                  <a:lnTo>
                    <a:pt x="338" y="93"/>
                  </a:lnTo>
                  <a:lnTo>
                    <a:pt x="338" y="95"/>
                  </a:lnTo>
                  <a:lnTo>
                    <a:pt x="336" y="95"/>
                  </a:lnTo>
                  <a:lnTo>
                    <a:pt x="336" y="93"/>
                  </a:lnTo>
                  <a:lnTo>
                    <a:pt x="338" y="93"/>
                  </a:lnTo>
                  <a:lnTo>
                    <a:pt x="336" y="93"/>
                  </a:lnTo>
                  <a:lnTo>
                    <a:pt x="334" y="93"/>
                  </a:lnTo>
                  <a:lnTo>
                    <a:pt x="334" y="91"/>
                  </a:lnTo>
                  <a:lnTo>
                    <a:pt x="336" y="91"/>
                  </a:lnTo>
                  <a:lnTo>
                    <a:pt x="338" y="91"/>
                  </a:lnTo>
                  <a:lnTo>
                    <a:pt x="340" y="91"/>
                  </a:lnTo>
                  <a:lnTo>
                    <a:pt x="340" y="93"/>
                  </a:lnTo>
                  <a:lnTo>
                    <a:pt x="342" y="93"/>
                  </a:lnTo>
                  <a:lnTo>
                    <a:pt x="342" y="95"/>
                  </a:lnTo>
                  <a:lnTo>
                    <a:pt x="344" y="95"/>
                  </a:lnTo>
                  <a:lnTo>
                    <a:pt x="342" y="95"/>
                  </a:lnTo>
                  <a:lnTo>
                    <a:pt x="342" y="93"/>
                  </a:lnTo>
                  <a:lnTo>
                    <a:pt x="344" y="93"/>
                  </a:lnTo>
                  <a:lnTo>
                    <a:pt x="342" y="93"/>
                  </a:lnTo>
                  <a:lnTo>
                    <a:pt x="340" y="93"/>
                  </a:lnTo>
                  <a:lnTo>
                    <a:pt x="340" y="91"/>
                  </a:lnTo>
                  <a:lnTo>
                    <a:pt x="340" y="89"/>
                  </a:lnTo>
                  <a:lnTo>
                    <a:pt x="340" y="91"/>
                  </a:lnTo>
                  <a:lnTo>
                    <a:pt x="342" y="91"/>
                  </a:lnTo>
                  <a:lnTo>
                    <a:pt x="340" y="91"/>
                  </a:lnTo>
                  <a:lnTo>
                    <a:pt x="340" y="89"/>
                  </a:lnTo>
                  <a:lnTo>
                    <a:pt x="342" y="89"/>
                  </a:lnTo>
                  <a:close/>
                  <a:moveTo>
                    <a:pt x="352" y="87"/>
                  </a:moveTo>
                  <a:lnTo>
                    <a:pt x="354" y="87"/>
                  </a:lnTo>
                  <a:lnTo>
                    <a:pt x="352" y="87"/>
                  </a:lnTo>
                  <a:close/>
                  <a:moveTo>
                    <a:pt x="360" y="87"/>
                  </a:moveTo>
                  <a:lnTo>
                    <a:pt x="360" y="85"/>
                  </a:lnTo>
                  <a:lnTo>
                    <a:pt x="360" y="87"/>
                  </a:lnTo>
                  <a:close/>
                  <a:moveTo>
                    <a:pt x="350" y="87"/>
                  </a:moveTo>
                  <a:lnTo>
                    <a:pt x="350" y="87"/>
                  </a:lnTo>
                  <a:lnTo>
                    <a:pt x="352" y="87"/>
                  </a:lnTo>
                  <a:lnTo>
                    <a:pt x="352" y="89"/>
                  </a:lnTo>
                  <a:lnTo>
                    <a:pt x="354" y="89"/>
                  </a:lnTo>
                  <a:lnTo>
                    <a:pt x="354" y="91"/>
                  </a:lnTo>
                  <a:lnTo>
                    <a:pt x="352" y="91"/>
                  </a:lnTo>
                  <a:lnTo>
                    <a:pt x="350" y="91"/>
                  </a:lnTo>
                  <a:lnTo>
                    <a:pt x="348" y="91"/>
                  </a:lnTo>
                  <a:lnTo>
                    <a:pt x="350" y="91"/>
                  </a:lnTo>
                  <a:lnTo>
                    <a:pt x="348" y="91"/>
                  </a:lnTo>
                  <a:lnTo>
                    <a:pt x="350" y="91"/>
                  </a:lnTo>
                  <a:lnTo>
                    <a:pt x="348" y="91"/>
                  </a:lnTo>
                  <a:lnTo>
                    <a:pt x="350" y="91"/>
                  </a:lnTo>
                  <a:lnTo>
                    <a:pt x="350" y="89"/>
                  </a:lnTo>
                  <a:lnTo>
                    <a:pt x="348" y="89"/>
                  </a:lnTo>
                  <a:lnTo>
                    <a:pt x="350" y="89"/>
                  </a:lnTo>
                  <a:lnTo>
                    <a:pt x="348" y="89"/>
                  </a:lnTo>
                  <a:lnTo>
                    <a:pt x="350" y="89"/>
                  </a:lnTo>
                  <a:lnTo>
                    <a:pt x="352" y="89"/>
                  </a:lnTo>
                  <a:lnTo>
                    <a:pt x="352" y="87"/>
                  </a:lnTo>
                  <a:lnTo>
                    <a:pt x="350" y="87"/>
                  </a:lnTo>
                  <a:lnTo>
                    <a:pt x="352" y="87"/>
                  </a:lnTo>
                  <a:lnTo>
                    <a:pt x="350" y="87"/>
                  </a:lnTo>
                  <a:lnTo>
                    <a:pt x="350" y="87"/>
                  </a:lnTo>
                  <a:close/>
                  <a:moveTo>
                    <a:pt x="348" y="87"/>
                  </a:moveTo>
                  <a:lnTo>
                    <a:pt x="350" y="87"/>
                  </a:lnTo>
                  <a:lnTo>
                    <a:pt x="348" y="87"/>
                  </a:lnTo>
                  <a:close/>
                  <a:moveTo>
                    <a:pt x="360" y="85"/>
                  </a:moveTo>
                  <a:lnTo>
                    <a:pt x="362" y="85"/>
                  </a:lnTo>
                  <a:lnTo>
                    <a:pt x="360" y="85"/>
                  </a:lnTo>
                  <a:close/>
                  <a:moveTo>
                    <a:pt x="362" y="85"/>
                  </a:moveTo>
                  <a:lnTo>
                    <a:pt x="360" y="85"/>
                  </a:lnTo>
                  <a:lnTo>
                    <a:pt x="362" y="85"/>
                  </a:lnTo>
                  <a:close/>
                  <a:moveTo>
                    <a:pt x="362" y="85"/>
                  </a:moveTo>
                  <a:lnTo>
                    <a:pt x="362" y="83"/>
                  </a:lnTo>
                  <a:lnTo>
                    <a:pt x="362" y="85"/>
                  </a:lnTo>
                  <a:close/>
                  <a:moveTo>
                    <a:pt x="364" y="83"/>
                  </a:moveTo>
                  <a:lnTo>
                    <a:pt x="362" y="83"/>
                  </a:lnTo>
                  <a:lnTo>
                    <a:pt x="364" y="83"/>
                  </a:lnTo>
                  <a:close/>
                  <a:moveTo>
                    <a:pt x="362" y="83"/>
                  </a:moveTo>
                  <a:lnTo>
                    <a:pt x="364" y="83"/>
                  </a:lnTo>
                  <a:lnTo>
                    <a:pt x="362" y="83"/>
                  </a:lnTo>
                  <a:lnTo>
                    <a:pt x="362" y="85"/>
                  </a:lnTo>
                  <a:lnTo>
                    <a:pt x="360" y="85"/>
                  </a:lnTo>
                  <a:lnTo>
                    <a:pt x="360" y="87"/>
                  </a:lnTo>
                  <a:lnTo>
                    <a:pt x="360" y="85"/>
                  </a:lnTo>
                  <a:lnTo>
                    <a:pt x="362" y="85"/>
                  </a:lnTo>
                  <a:lnTo>
                    <a:pt x="362" y="83"/>
                  </a:lnTo>
                  <a:lnTo>
                    <a:pt x="362" y="85"/>
                  </a:lnTo>
                  <a:lnTo>
                    <a:pt x="362" y="83"/>
                  </a:lnTo>
                  <a:lnTo>
                    <a:pt x="364" y="83"/>
                  </a:lnTo>
                  <a:lnTo>
                    <a:pt x="362" y="83"/>
                  </a:lnTo>
                  <a:close/>
                  <a:moveTo>
                    <a:pt x="344" y="87"/>
                  </a:moveTo>
                  <a:lnTo>
                    <a:pt x="346" y="87"/>
                  </a:lnTo>
                  <a:lnTo>
                    <a:pt x="346" y="87"/>
                  </a:lnTo>
                  <a:lnTo>
                    <a:pt x="346" y="89"/>
                  </a:lnTo>
                  <a:lnTo>
                    <a:pt x="346" y="91"/>
                  </a:lnTo>
                  <a:lnTo>
                    <a:pt x="344" y="91"/>
                  </a:lnTo>
                  <a:lnTo>
                    <a:pt x="344" y="89"/>
                  </a:lnTo>
                  <a:lnTo>
                    <a:pt x="344" y="87"/>
                  </a:lnTo>
                  <a:lnTo>
                    <a:pt x="344" y="89"/>
                  </a:lnTo>
                  <a:lnTo>
                    <a:pt x="344" y="87"/>
                  </a:lnTo>
                  <a:lnTo>
                    <a:pt x="344" y="87"/>
                  </a:lnTo>
                  <a:close/>
                  <a:moveTo>
                    <a:pt x="346" y="87"/>
                  </a:moveTo>
                  <a:lnTo>
                    <a:pt x="346" y="85"/>
                  </a:lnTo>
                  <a:lnTo>
                    <a:pt x="346" y="87"/>
                  </a:lnTo>
                  <a:close/>
                  <a:moveTo>
                    <a:pt x="362" y="81"/>
                  </a:moveTo>
                  <a:lnTo>
                    <a:pt x="360" y="81"/>
                  </a:lnTo>
                  <a:lnTo>
                    <a:pt x="362" y="81"/>
                  </a:lnTo>
                  <a:close/>
                  <a:moveTo>
                    <a:pt x="374" y="72"/>
                  </a:moveTo>
                  <a:lnTo>
                    <a:pt x="372" y="72"/>
                  </a:lnTo>
                  <a:lnTo>
                    <a:pt x="372" y="74"/>
                  </a:lnTo>
                  <a:lnTo>
                    <a:pt x="370" y="74"/>
                  </a:lnTo>
                  <a:lnTo>
                    <a:pt x="370" y="77"/>
                  </a:lnTo>
                  <a:lnTo>
                    <a:pt x="368" y="77"/>
                  </a:lnTo>
                  <a:lnTo>
                    <a:pt x="368" y="79"/>
                  </a:lnTo>
                  <a:lnTo>
                    <a:pt x="366" y="79"/>
                  </a:lnTo>
                  <a:lnTo>
                    <a:pt x="366" y="81"/>
                  </a:lnTo>
                  <a:lnTo>
                    <a:pt x="364" y="81"/>
                  </a:lnTo>
                  <a:lnTo>
                    <a:pt x="364" y="83"/>
                  </a:lnTo>
                  <a:lnTo>
                    <a:pt x="364" y="81"/>
                  </a:lnTo>
                  <a:lnTo>
                    <a:pt x="366" y="81"/>
                  </a:lnTo>
                  <a:lnTo>
                    <a:pt x="366" y="79"/>
                  </a:lnTo>
                  <a:lnTo>
                    <a:pt x="364" y="79"/>
                  </a:lnTo>
                  <a:lnTo>
                    <a:pt x="366" y="79"/>
                  </a:lnTo>
                  <a:lnTo>
                    <a:pt x="364" y="79"/>
                  </a:lnTo>
                  <a:lnTo>
                    <a:pt x="366" y="79"/>
                  </a:lnTo>
                  <a:lnTo>
                    <a:pt x="366" y="77"/>
                  </a:lnTo>
                  <a:lnTo>
                    <a:pt x="368" y="77"/>
                  </a:lnTo>
                  <a:lnTo>
                    <a:pt x="366" y="77"/>
                  </a:lnTo>
                  <a:lnTo>
                    <a:pt x="368" y="77"/>
                  </a:lnTo>
                  <a:lnTo>
                    <a:pt x="370" y="77"/>
                  </a:lnTo>
                  <a:lnTo>
                    <a:pt x="370" y="74"/>
                  </a:lnTo>
                  <a:lnTo>
                    <a:pt x="372" y="74"/>
                  </a:lnTo>
                  <a:lnTo>
                    <a:pt x="372" y="72"/>
                  </a:lnTo>
                  <a:lnTo>
                    <a:pt x="374" y="72"/>
                  </a:lnTo>
                  <a:close/>
                  <a:moveTo>
                    <a:pt x="336" y="79"/>
                  </a:moveTo>
                  <a:lnTo>
                    <a:pt x="338" y="79"/>
                  </a:lnTo>
                  <a:lnTo>
                    <a:pt x="338" y="81"/>
                  </a:lnTo>
                  <a:lnTo>
                    <a:pt x="336" y="81"/>
                  </a:lnTo>
                  <a:lnTo>
                    <a:pt x="338" y="81"/>
                  </a:lnTo>
                  <a:lnTo>
                    <a:pt x="338" y="79"/>
                  </a:lnTo>
                  <a:lnTo>
                    <a:pt x="338" y="81"/>
                  </a:lnTo>
                  <a:lnTo>
                    <a:pt x="340" y="81"/>
                  </a:lnTo>
                  <a:lnTo>
                    <a:pt x="338" y="81"/>
                  </a:lnTo>
                  <a:lnTo>
                    <a:pt x="340" y="81"/>
                  </a:lnTo>
                  <a:lnTo>
                    <a:pt x="338" y="81"/>
                  </a:lnTo>
                  <a:lnTo>
                    <a:pt x="340" y="81"/>
                  </a:lnTo>
                  <a:lnTo>
                    <a:pt x="338" y="81"/>
                  </a:lnTo>
                  <a:lnTo>
                    <a:pt x="340" y="81"/>
                  </a:lnTo>
                  <a:lnTo>
                    <a:pt x="338" y="81"/>
                  </a:lnTo>
                  <a:lnTo>
                    <a:pt x="336" y="81"/>
                  </a:lnTo>
                  <a:lnTo>
                    <a:pt x="336" y="79"/>
                  </a:lnTo>
                  <a:close/>
                  <a:moveTo>
                    <a:pt x="348" y="70"/>
                  </a:moveTo>
                  <a:lnTo>
                    <a:pt x="350" y="70"/>
                  </a:lnTo>
                  <a:lnTo>
                    <a:pt x="348" y="70"/>
                  </a:lnTo>
                  <a:close/>
                  <a:moveTo>
                    <a:pt x="334" y="74"/>
                  </a:moveTo>
                  <a:lnTo>
                    <a:pt x="334" y="72"/>
                  </a:lnTo>
                  <a:lnTo>
                    <a:pt x="336" y="72"/>
                  </a:lnTo>
                  <a:lnTo>
                    <a:pt x="336" y="74"/>
                  </a:lnTo>
                  <a:lnTo>
                    <a:pt x="336" y="72"/>
                  </a:lnTo>
                  <a:lnTo>
                    <a:pt x="336" y="74"/>
                  </a:lnTo>
                  <a:lnTo>
                    <a:pt x="338" y="74"/>
                  </a:lnTo>
                  <a:lnTo>
                    <a:pt x="336" y="74"/>
                  </a:lnTo>
                  <a:lnTo>
                    <a:pt x="338" y="74"/>
                  </a:lnTo>
                  <a:lnTo>
                    <a:pt x="336" y="74"/>
                  </a:lnTo>
                  <a:lnTo>
                    <a:pt x="338" y="74"/>
                  </a:lnTo>
                  <a:lnTo>
                    <a:pt x="338" y="72"/>
                  </a:lnTo>
                  <a:lnTo>
                    <a:pt x="338" y="74"/>
                  </a:lnTo>
                  <a:lnTo>
                    <a:pt x="338" y="72"/>
                  </a:lnTo>
                  <a:lnTo>
                    <a:pt x="338" y="74"/>
                  </a:lnTo>
                  <a:lnTo>
                    <a:pt x="338" y="72"/>
                  </a:lnTo>
                  <a:lnTo>
                    <a:pt x="340" y="72"/>
                  </a:lnTo>
                  <a:lnTo>
                    <a:pt x="340" y="74"/>
                  </a:lnTo>
                  <a:lnTo>
                    <a:pt x="340" y="72"/>
                  </a:lnTo>
                  <a:lnTo>
                    <a:pt x="338" y="72"/>
                  </a:lnTo>
                  <a:lnTo>
                    <a:pt x="338" y="74"/>
                  </a:lnTo>
                  <a:lnTo>
                    <a:pt x="340" y="74"/>
                  </a:lnTo>
                  <a:lnTo>
                    <a:pt x="338" y="74"/>
                  </a:lnTo>
                  <a:lnTo>
                    <a:pt x="340" y="74"/>
                  </a:lnTo>
                  <a:lnTo>
                    <a:pt x="340" y="77"/>
                  </a:lnTo>
                  <a:lnTo>
                    <a:pt x="340" y="74"/>
                  </a:lnTo>
                  <a:lnTo>
                    <a:pt x="340" y="77"/>
                  </a:lnTo>
                  <a:lnTo>
                    <a:pt x="340" y="74"/>
                  </a:lnTo>
                  <a:lnTo>
                    <a:pt x="340" y="77"/>
                  </a:lnTo>
                  <a:lnTo>
                    <a:pt x="340" y="74"/>
                  </a:lnTo>
                  <a:lnTo>
                    <a:pt x="340" y="77"/>
                  </a:lnTo>
                  <a:lnTo>
                    <a:pt x="340" y="74"/>
                  </a:lnTo>
                  <a:lnTo>
                    <a:pt x="340" y="77"/>
                  </a:lnTo>
                  <a:lnTo>
                    <a:pt x="342" y="77"/>
                  </a:lnTo>
                  <a:lnTo>
                    <a:pt x="340" y="77"/>
                  </a:lnTo>
                  <a:lnTo>
                    <a:pt x="340" y="79"/>
                  </a:lnTo>
                  <a:lnTo>
                    <a:pt x="340" y="77"/>
                  </a:lnTo>
                  <a:lnTo>
                    <a:pt x="338" y="77"/>
                  </a:lnTo>
                  <a:lnTo>
                    <a:pt x="340" y="77"/>
                  </a:lnTo>
                  <a:lnTo>
                    <a:pt x="338" y="77"/>
                  </a:lnTo>
                  <a:lnTo>
                    <a:pt x="338" y="79"/>
                  </a:lnTo>
                  <a:lnTo>
                    <a:pt x="340" y="79"/>
                  </a:lnTo>
                  <a:lnTo>
                    <a:pt x="338" y="79"/>
                  </a:lnTo>
                  <a:lnTo>
                    <a:pt x="340" y="79"/>
                  </a:lnTo>
                  <a:lnTo>
                    <a:pt x="338" y="79"/>
                  </a:lnTo>
                  <a:lnTo>
                    <a:pt x="340" y="79"/>
                  </a:lnTo>
                  <a:lnTo>
                    <a:pt x="338" y="79"/>
                  </a:lnTo>
                  <a:lnTo>
                    <a:pt x="336" y="79"/>
                  </a:lnTo>
                  <a:lnTo>
                    <a:pt x="336" y="77"/>
                  </a:lnTo>
                  <a:lnTo>
                    <a:pt x="334" y="77"/>
                  </a:lnTo>
                  <a:lnTo>
                    <a:pt x="336" y="77"/>
                  </a:lnTo>
                  <a:lnTo>
                    <a:pt x="336" y="74"/>
                  </a:lnTo>
                  <a:lnTo>
                    <a:pt x="336" y="77"/>
                  </a:lnTo>
                  <a:lnTo>
                    <a:pt x="336" y="74"/>
                  </a:lnTo>
                  <a:lnTo>
                    <a:pt x="336" y="77"/>
                  </a:lnTo>
                  <a:lnTo>
                    <a:pt x="334" y="77"/>
                  </a:lnTo>
                  <a:lnTo>
                    <a:pt x="334" y="74"/>
                  </a:lnTo>
                  <a:lnTo>
                    <a:pt x="334" y="77"/>
                  </a:lnTo>
                  <a:lnTo>
                    <a:pt x="334" y="74"/>
                  </a:lnTo>
                  <a:lnTo>
                    <a:pt x="334" y="77"/>
                  </a:lnTo>
                  <a:lnTo>
                    <a:pt x="334" y="74"/>
                  </a:lnTo>
                  <a:lnTo>
                    <a:pt x="334" y="77"/>
                  </a:lnTo>
                  <a:lnTo>
                    <a:pt x="334" y="74"/>
                  </a:lnTo>
                  <a:close/>
                  <a:moveTo>
                    <a:pt x="346" y="70"/>
                  </a:moveTo>
                  <a:lnTo>
                    <a:pt x="344" y="70"/>
                  </a:lnTo>
                  <a:lnTo>
                    <a:pt x="346" y="70"/>
                  </a:lnTo>
                  <a:close/>
                  <a:moveTo>
                    <a:pt x="358" y="66"/>
                  </a:moveTo>
                  <a:lnTo>
                    <a:pt x="358" y="64"/>
                  </a:lnTo>
                  <a:lnTo>
                    <a:pt x="358" y="66"/>
                  </a:lnTo>
                  <a:close/>
                  <a:moveTo>
                    <a:pt x="358" y="64"/>
                  </a:moveTo>
                  <a:lnTo>
                    <a:pt x="356" y="64"/>
                  </a:lnTo>
                  <a:lnTo>
                    <a:pt x="358" y="64"/>
                  </a:lnTo>
                  <a:close/>
                  <a:moveTo>
                    <a:pt x="380" y="54"/>
                  </a:moveTo>
                  <a:lnTo>
                    <a:pt x="380" y="52"/>
                  </a:lnTo>
                  <a:lnTo>
                    <a:pt x="380" y="54"/>
                  </a:lnTo>
                  <a:close/>
                  <a:moveTo>
                    <a:pt x="380" y="42"/>
                  </a:moveTo>
                  <a:lnTo>
                    <a:pt x="380" y="44"/>
                  </a:lnTo>
                  <a:lnTo>
                    <a:pt x="380" y="42"/>
                  </a:lnTo>
                  <a:close/>
                  <a:moveTo>
                    <a:pt x="380" y="42"/>
                  </a:moveTo>
                  <a:lnTo>
                    <a:pt x="378" y="42"/>
                  </a:lnTo>
                  <a:lnTo>
                    <a:pt x="380" y="42"/>
                  </a:lnTo>
                  <a:close/>
                  <a:moveTo>
                    <a:pt x="354" y="44"/>
                  </a:moveTo>
                  <a:lnTo>
                    <a:pt x="354" y="46"/>
                  </a:lnTo>
                  <a:lnTo>
                    <a:pt x="354" y="44"/>
                  </a:lnTo>
                  <a:lnTo>
                    <a:pt x="354" y="46"/>
                  </a:lnTo>
                  <a:lnTo>
                    <a:pt x="354" y="44"/>
                  </a:lnTo>
                  <a:close/>
                  <a:moveTo>
                    <a:pt x="376" y="38"/>
                  </a:moveTo>
                  <a:lnTo>
                    <a:pt x="378" y="38"/>
                  </a:lnTo>
                  <a:lnTo>
                    <a:pt x="378" y="40"/>
                  </a:lnTo>
                  <a:lnTo>
                    <a:pt x="380" y="40"/>
                  </a:lnTo>
                  <a:lnTo>
                    <a:pt x="380" y="42"/>
                  </a:lnTo>
                  <a:lnTo>
                    <a:pt x="380" y="44"/>
                  </a:lnTo>
                  <a:lnTo>
                    <a:pt x="382" y="44"/>
                  </a:lnTo>
                  <a:lnTo>
                    <a:pt x="382" y="46"/>
                  </a:lnTo>
                  <a:lnTo>
                    <a:pt x="382" y="48"/>
                  </a:lnTo>
                  <a:lnTo>
                    <a:pt x="382" y="50"/>
                  </a:lnTo>
                  <a:lnTo>
                    <a:pt x="382" y="52"/>
                  </a:lnTo>
                  <a:lnTo>
                    <a:pt x="382" y="54"/>
                  </a:lnTo>
                  <a:lnTo>
                    <a:pt x="382" y="56"/>
                  </a:lnTo>
                  <a:lnTo>
                    <a:pt x="382" y="56"/>
                  </a:lnTo>
                  <a:lnTo>
                    <a:pt x="382" y="58"/>
                  </a:lnTo>
                  <a:lnTo>
                    <a:pt x="382" y="60"/>
                  </a:lnTo>
                  <a:lnTo>
                    <a:pt x="382" y="62"/>
                  </a:lnTo>
                  <a:lnTo>
                    <a:pt x="382" y="64"/>
                  </a:lnTo>
                  <a:lnTo>
                    <a:pt x="382" y="66"/>
                  </a:lnTo>
                  <a:lnTo>
                    <a:pt x="382" y="68"/>
                  </a:lnTo>
                  <a:lnTo>
                    <a:pt x="382" y="66"/>
                  </a:lnTo>
                  <a:lnTo>
                    <a:pt x="382" y="66"/>
                  </a:lnTo>
                  <a:lnTo>
                    <a:pt x="380" y="66"/>
                  </a:lnTo>
                  <a:lnTo>
                    <a:pt x="380" y="68"/>
                  </a:lnTo>
                  <a:lnTo>
                    <a:pt x="378" y="68"/>
                  </a:lnTo>
                  <a:lnTo>
                    <a:pt x="378" y="70"/>
                  </a:lnTo>
                  <a:lnTo>
                    <a:pt x="376" y="70"/>
                  </a:lnTo>
                  <a:lnTo>
                    <a:pt x="374" y="70"/>
                  </a:lnTo>
                  <a:lnTo>
                    <a:pt x="374" y="72"/>
                  </a:lnTo>
                  <a:lnTo>
                    <a:pt x="374" y="70"/>
                  </a:lnTo>
                  <a:lnTo>
                    <a:pt x="376" y="70"/>
                  </a:lnTo>
                  <a:lnTo>
                    <a:pt x="374" y="70"/>
                  </a:lnTo>
                  <a:lnTo>
                    <a:pt x="376" y="70"/>
                  </a:lnTo>
                  <a:lnTo>
                    <a:pt x="376" y="68"/>
                  </a:lnTo>
                  <a:lnTo>
                    <a:pt x="376" y="70"/>
                  </a:lnTo>
                  <a:lnTo>
                    <a:pt x="376" y="68"/>
                  </a:lnTo>
                  <a:lnTo>
                    <a:pt x="378" y="68"/>
                  </a:lnTo>
                  <a:lnTo>
                    <a:pt x="376" y="68"/>
                  </a:lnTo>
                  <a:lnTo>
                    <a:pt x="376" y="70"/>
                  </a:lnTo>
                  <a:lnTo>
                    <a:pt x="378" y="70"/>
                  </a:lnTo>
                  <a:lnTo>
                    <a:pt x="378" y="68"/>
                  </a:lnTo>
                  <a:lnTo>
                    <a:pt x="378" y="70"/>
                  </a:lnTo>
                  <a:lnTo>
                    <a:pt x="378" y="68"/>
                  </a:lnTo>
                  <a:lnTo>
                    <a:pt x="380" y="68"/>
                  </a:lnTo>
                  <a:lnTo>
                    <a:pt x="380" y="66"/>
                  </a:lnTo>
                  <a:lnTo>
                    <a:pt x="382" y="66"/>
                  </a:lnTo>
                  <a:lnTo>
                    <a:pt x="382" y="64"/>
                  </a:lnTo>
                  <a:lnTo>
                    <a:pt x="382" y="64"/>
                  </a:lnTo>
                  <a:lnTo>
                    <a:pt x="382" y="62"/>
                  </a:lnTo>
                  <a:lnTo>
                    <a:pt x="382" y="62"/>
                  </a:lnTo>
                  <a:lnTo>
                    <a:pt x="382" y="60"/>
                  </a:lnTo>
                  <a:lnTo>
                    <a:pt x="382" y="58"/>
                  </a:lnTo>
                  <a:lnTo>
                    <a:pt x="382" y="60"/>
                  </a:lnTo>
                  <a:lnTo>
                    <a:pt x="382" y="58"/>
                  </a:lnTo>
                  <a:lnTo>
                    <a:pt x="382" y="56"/>
                  </a:lnTo>
                  <a:lnTo>
                    <a:pt x="382" y="54"/>
                  </a:lnTo>
                  <a:lnTo>
                    <a:pt x="382" y="52"/>
                  </a:lnTo>
                  <a:lnTo>
                    <a:pt x="382" y="50"/>
                  </a:lnTo>
                  <a:lnTo>
                    <a:pt x="382" y="48"/>
                  </a:lnTo>
                  <a:lnTo>
                    <a:pt x="382" y="50"/>
                  </a:lnTo>
                  <a:lnTo>
                    <a:pt x="382" y="48"/>
                  </a:lnTo>
                  <a:lnTo>
                    <a:pt x="382" y="46"/>
                  </a:lnTo>
                  <a:lnTo>
                    <a:pt x="380" y="46"/>
                  </a:lnTo>
                  <a:lnTo>
                    <a:pt x="382" y="46"/>
                  </a:lnTo>
                  <a:lnTo>
                    <a:pt x="380" y="46"/>
                  </a:lnTo>
                  <a:lnTo>
                    <a:pt x="380" y="44"/>
                  </a:lnTo>
                  <a:lnTo>
                    <a:pt x="380" y="42"/>
                  </a:lnTo>
                  <a:lnTo>
                    <a:pt x="378" y="42"/>
                  </a:lnTo>
                  <a:lnTo>
                    <a:pt x="380" y="42"/>
                  </a:lnTo>
                  <a:lnTo>
                    <a:pt x="378" y="42"/>
                  </a:lnTo>
                  <a:lnTo>
                    <a:pt x="380" y="42"/>
                  </a:lnTo>
                  <a:lnTo>
                    <a:pt x="378" y="42"/>
                  </a:lnTo>
                  <a:lnTo>
                    <a:pt x="378" y="40"/>
                  </a:lnTo>
                  <a:lnTo>
                    <a:pt x="378" y="38"/>
                  </a:lnTo>
                  <a:lnTo>
                    <a:pt x="378" y="40"/>
                  </a:lnTo>
                  <a:lnTo>
                    <a:pt x="378" y="38"/>
                  </a:lnTo>
                  <a:lnTo>
                    <a:pt x="376" y="38"/>
                  </a:lnTo>
                  <a:lnTo>
                    <a:pt x="378" y="38"/>
                  </a:lnTo>
                  <a:lnTo>
                    <a:pt x="376" y="38"/>
                  </a:lnTo>
                  <a:lnTo>
                    <a:pt x="378" y="38"/>
                  </a:lnTo>
                  <a:lnTo>
                    <a:pt x="376" y="38"/>
                  </a:lnTo>
                  <a:lnTo>
                    <a:pt x="376" y="38"/>
                  </a:lnTo>
                  <a:lnTo>
                    <a:pt x="376" y="38"/>
                  </a:lnTo>
                  <a:close/>
                  <a:moveTo>
                    <a:pt x="378" y="38"/>
                  </a:moveTo>
                  <a:lnTo>
                    <a:pt x="378" y="40"/>
                  </a:lnTo>
                  <a:lnTo>
                    <a:pt x="378" y="38"/>
                  </a:lnTo>
                  <a:close/>
                  <a:moveTo>
                    <a:pt x="378" y="40"/>
                  </a:moveTo>
                  <a:lnTo>
                    <a:pt x="378" y="42"/>
                  </a:lnTo>
                  <a:lnTo>
                    <a:pt x="378" y="40"/>
                  </a:lnTo>
                  <a:close/>
                  <a:moveTo>
                    <a:pt x="378" y="40"/>
                  </a:moveTo>
                  <a:lnTo>
                    <a:pt x="378" y="42"/>
                  </a:lnTo>
                  <a:lnTo>
                    <a:pt x="378" y="40"/>
                  </a:lnTo>
                  <a:close/>
                  <a:moveTo>
                    <a:pt x="374" y="38"/>
                  </a:moveTo>
                  <a:lnTo>
                    <a:pt x="372" y="38"/>
                  </a:lnTo>
                  <a:lnTo>
                    <a:pt x="374" y="38"/>
                  </a:lnTo>
                  <a:close/>
                  <a:moveTo>
                    <a:pt x="374" y="38"/>
                  </a:moveTo>
                  <a:lnTo>
                    <a:pt x="374" y="36"/>
                  </a:lnTo>
                  <a:lnTo>
                    <a:pt x="374" y="38"/>
                  </a:lnTo>
                  <a:close/>
                  <a:moveTo>
                    <a:pt x="372" y="38"/>
                  </a:moveTo>
                  <a:lnTo>
                    <a:pt x="370" y="38"/>
                  </a:lnTo>
                  <a:lnTo>
                    <a:pt x="372" y="38"/>
                  </a:lnTo>
                  <a:close/>
                  <a:moveTo>
                    <a:pt x="374" y="36"/>
                  </a:moveTo>
                  <a:lnTo>
                    <a:pt x="374" y="38"/>
                  </a:lnTo>
                  <a:lnTo>
                    <a:pt x="374" y="36"/>
                  </a:lnTo>
                  <a:close/>
                  <a:moveTo>
                    <a:pt x="370" y="38"/>
                  </a:moveTo>
                  <a:lnTo>
                    <a:pt x="372" y="38"/>
                  </a:lnTo>
                  <a:lnTo>
                    <a:pt x="370" y="38"/>
                  </a:lnTo>
                  <a:close/>
                  <a:moveTo>
                    <a:pt x="372" y="38"/>
                  </a:moveTo>
                  <a:lnTo>
                    <a:pt x="372" y="36"/>
                  </a:lnTo>
                  <a:lnTo>
                    <a:pt x="372" y="38"/>
                  </a:lnTo>
                  <a:close/>
                  <a:moveTo>
                    <a:pt x="368" y="38"/>
                  </a:moveTo>
                  <a:lnTo>
                    <a:pt x="370" y="38"/>
                  </a:lnTo>
                  <a:lnTo>
                    <a:pt x="368" y="38"/>
                  </a:lnTo>
                  <a:close/>
                  <a:moveTo>
                    <a:pt x="370" y="36"/>
                  </a:moveTo>
                  <a:lnTo>
                    <a:pt x="370" y="38"/>
                  </a:lnTo>
                  <a:lnTo>
                    <a:pt x="370" y="36"/>
                  </a:lnTo>
                  <a:close/>
                  <a:moveTo>
                    <a:pt x="370" y="34"/>
                  </a:moveTo>
                  <a:lnTo>
                    <a:pt x="372" y="34"/>
                  </a:lnTo>
                  <a:lnTo>
                    <a:pt x="370" y="34"/>
                  </a:lnTo>
                  <a:close/>
                  <a:moveTo>
                    <a:pt x="372" y="34"/>
                  </a:moveTo>
                  <a:lnTo>
                    <a:pt x="370" y="34"/>
                  </a:lnTo>
                  <a:lnTo>
                    <a:pt x="372" y="34"/>
                  </a:lnTo>
                  <a:close/>
                  <a:moveTo>
                    <a:pt x="370" y="34"/>
                  </a:moveTo>
                  <a:lnTo>
                    <a:pt x="372" y="34"/>
                  </a:lnTo>
                  <a:lnTo>
                    <a:pt x="370" y="34"/>
                  </a:lnTo>
                  <a:close/>
                  <a:moveTo>
                    <a:pt x="370" y="34"/>
                  </a:moveTo>
                  <a:lnTo>
                    <a:pt x="372" y="34"/>
                  </a:lnTo>
                  <a:lnTo>
                    <a:pt x="370" y="34"/>
                  </a:lnTo>
                  <a:close/>
                  <a:moveTo>
                    <a:pt x="370" y="34"/>
                  </a:moveTo>
                  <a:lnTo>
                    <a:pt x="370" y="32"/>
                  </a:lnTo>
                  <a:lnTo>
                    <a:pt x="370" y="34"/>
                  </a:lnTo>
                  <a:close/>
                  <a:moveTo>
                    <a:pt x="370" y="34"/>
                  </a:moveTo>
                  <a:lnTo>
                    <a:pt x="370" y="32"/>
                  </a:lnTo>
                  <a:lnTo>
                    <a:pt x="370" y="34"/>
                  </a:lnTo>
                  <a:close/>
                  <a:moveTo>
                    <a:pt x="366" y="32"/>
                  </a:moveTo>
                  <a:lnTo>
                    <a:pt x="368" y="32"/>
                  </a:lnTo>
                  <a:lnTo>
                    <a:pt x="368" y="34"/>
                  </a:lnTo>
                  <a:lnTo>
                    <a:pt x="368" y="32"/>
                  </a:lnTo>
                  <a:lnTo>
                    <a:pt x="368" y="34"/>
                  </a:lnTo>
                  <a:lnTo>
                    <a:pt x="368" y="32"/>
                  </a:lnTo>
                  <a:lnTo>
                    <a:pt x="368" y="34"/>
                  </a:lnTo>
                  <a:lnTo>
                    <a:pt x="370" y="34"/>
                  </a:lnTo>
                  <a:lnTo>
                    <a:pt x="370" y="36"/>
                  </a:lnTo>
                  <a:lnTo>
                    <a:pt x="372" y="36"/>
                  </a:lnTo>
                  <a:lnTo>
                    <a:pt x="370" y="36"/>
                  </a:lnTo>
                  <a:lnTo>
                    <a:pt x="370" y="34"/>
                  </a:lnTo>
                  <a:lnTo>
                    <a:pt x="370" y="36"/>
                  </a:lnTo>
                  <a:lnTo>
                    <a:pt x="370" y="34"/>
                  </a:lnTo>
                  <a:lnTo>
                    <a:pt x="370" y="36"/>
                  </a:lnTo>
                  <a:lnTo>
                    <a:pt x="372" y="36"/>
                  </a:lnTo>
                  <a:lnTo>
                    <a:pt x="372" y="38"/>
                  </a:lnTo>
                  <a:lnTo>
                    <a:pt x="370" y="38"/>
                  </a:lnTo>
                  <a:lnTo>
                    <a:pt x="372" y="38"/>
                  </a:lnTo>
                  <a:lnTo>
                    <a:pt x="370" y="38"/>
                  </a:lnTo>
                  <a:lnTo>
                    <a:pt x="370" y="36"/>
                  </a:lnTo>
                  <a:lnTo>
                    <a:pt x="368" y="36"/>
                  </a:lnTo>
                  <a:lnTo>
                    <a:pt x="370" y="36"/>
                  </a:lnTo>
                  <a:lnTo>
                    <a:pt x="368" y="36"/>
                  </a:lnTo>
                  <a:lnTo>
                    <a:pt x="368" y="34"/>
                  </a:lnTo>
                  <a:lnTo>
                    <a:pt x="366" y="34"/>
                  </a:lnTo>
                  <a:lnTo>
                    <a:pt x="366" y="32"/>
                  </a:lnTo>
                  <a:lnTo>
                    <a:pt x="364" y="32"/>
                  </a:lnTo>
                  <a:lnTo>
                    <a:pt x="366" y="32"/>
                  </a:lnTo>
                  <a:close/>
                  <a:moveTo>
                    <a:pt x="358" y="32"/>
                  </a:moveTo>
                  <a:lnTo>
                    <a:pt x="358" y="34"/>
                  </a:lnTo>
                  <a:lnTo>
                    <a:pt x="356" y="34"/>
                  </a:lnTo>
                  <a:lnTo>
                    <a:pt x="354" y="34"/>
                  </a:lnTo>
                  <a:lnTo>
                    <a:pt x="356" y="34"/>
                  </a:lnTo>
                  <a:lnTo>
                    <a:pt x="356" y="32"/>
                  </a:lnTo>
                  <a:lnTo>
                    <a:pt x="358" y="32"/>
                  </a:lnTo>
                  <a:close/>
                  <a:moveTo>
                    <a:pt x="366" y="26"/>
                  </a:moveTo>
                  <a:lnTo>
                    <a:pt x="366" y="28"/>
                  </a:lnTo>
                  <a:lnTo>
                    <a:pt x="364" y="28"/>
                  </a:lnTo>
                  <a:lnTo>
                    <a:pt x="364" y="26"/>
                  </a:lnTo>
                  <a:lnTo>
                    <a:pt x="366" y="26"/>
                  </a:lnTo>
                  <a:close/>
                  <a:moveTo>
                    <a:pt x="364" y="26"/>
                  </a:moveTo>
                  <a:lnTo>
                    <a:pt x="364" y="28"/>
                  </a:lnTo>
                  <a:lnTo>
                    <a:pt x="364" y="26"/>
                  </a:lnTo>
                  <a:close/>
                  <a:moveTo>
                    <a:pt x="366" y="26"/>
                  </a:moveTo>
                  <a:lnTo>
                    <a:pt x="364" y="26"/>
                  </a:lnTo>
                  <a:lnTo>
                    <a:pt x="366" y="26"/>
                  </a:lnTo>
                  <a:close/>
                  <a:moveTo>
                    <a:pt x="364" y="26"/>
                  </a:moveTo>
                  <a:lnTo>
                    <a:pt x="364" y="28"/>
                  </a:lnTo>
                  <a:lnTo>
                    <a:pt x="364" y="26"/>
                  </a:lnTo>
                  <a:lnTo>
                    <a:pt x="364" y="28"/>
                  </a:lnTo>
                  <a:lnTo>
                    <a:pt x="364" y="26"/>
                  </a:lnTo>
                  <a:close/>
                  <a:moveTo>
                    <a:pt x="358" y="18"/>
                  </a:moveTo>
                  <a:lnTo>
                    <a:pt x="358" y="16"/>
                  </a:lnTo>
                  <a:lnTo>
                    <a:pt x="358" y="18"/>
                  </a:lnTo>
                  <a:close/>
                  <a:moveTo>
                    <a:pt x="358" y="16"/>
                  </a:moveTo>
                  <a:lnTo>
                    <a:pt x="356" y="16"/>
                  </a:lnTo>
                  <a:lnTo>
                    <a:pt x="358" y="16"/>
                  </a:lnTo>
                  <a:close/>
                  <a:moveTo>
                    <a:pt x="356" y="16"/>
                  </a:moveTo>
                  <a:lnTo>
                    <a:pt x="358" y="16"/>
                  </a:lnTo>
                  <a:lnTo>
                    <a:pt x="356" y="16"/>
                  </a:lnTo>
                  <a:lnTo>
                    <a:pt x="358" y="16"/>
                  </a:lnTo>
                  <a:lnTo>
                    <a:pt x="356" y="16"/>
                  </a:lnTo>
                  <a:close/>
                  <a:moveTo>
                    <a:pt x="358" y="16"/>
                  </a:moveTo>
                  <a:lnTo>
                    <a:pt x="358" y="18"/>
                  </a:lnTo>
                  <a:lnTo>
                    <a:pt x="358" y="16"/>
                  </a:lnTo>
                  <a:close/>
                  <a:moveTo>
                    <a:pt x="356" y="16"/>
                  </a:moveTo>
                  <a:lnTo>
                    <a:pt x="358" y="16"/>
                  </a:lnTo>
                  <a:lnTo>
                    <a:pt x="356" y="16"/>
                  </a:lnTo>
                  <a:close/>
                  <a:moveTo>
                    <a:pt x="356" y="14"/>
                  </a:moveTo>
                  <a:lnTo>
                    <a:pt x="356" y="16"/>
                  </a:lnTo>
                  <a:lnTo>
                    <a:pt x="354" y="16"/>
                  </a:lnTo>
                  <a:lnTo>
                    <a:pt x="356" y="16"/>
                  </a:lnTo>
                  <a:lnTo>
                    <a:pt x="354" y="16"/>
                  </a:lnTo>
                  <a:lnTo>
                    <a:pt x="354" y="14"/>
                  </a:lnTo>
                  <a:lnTo>
                    <a:pt x="356" y="14"/>
                  </a:lnTo>
                  <a:close/>
                  <a:moveTo>
                    <a:pt x="356" y="14"/>
                  </a:moveTo>
                  <a:lnTo>
                    <a:pt x="354" y="14"/>
                  </a:lnTo>
                  <a:lnTo>
                    <a:pt x="356" y="14"/>
                  </a:lnTo>
                  <a:close/>
                  <a:moveTo>
                    <a:pt x="354" y="14"/>
                  </a:moveTo>
                  <a:lnTo>
                    <a:pt x="354" y="16"/>
                  </a:lnTo>
                  <a:lnTo>
                    <a:pt x="354" y="14"/>
                  </a:lnTo>
                  <a:lnTo>
                    <a:pt x="354" y="16"/>
                  </a:lnTo>
                  <a:lnTo>
                    <a:pt x="354" y="14"/>
                  </a:lnTo>
                  <a:close/>
                  <a:moveTo>
                    <a:pt x="354" y="14"/>
                  </a:moveTo>
                  <a:lnTo>
                    <a:pt x="356" y="14"/>
                  </a:lnTo>
                  <a:lnTo>
                    <a:pt x="354" y="14"/>
                  </a:lnTo>
                  <a:close/>
                  <a:moveTo>
                    <a:pt x="354" y="12"/>
                  </a:moveTo>
                  <a:lnTo>
                    <a:pt x="356" y="12"/>
                  </a:lnTo>
                  <a:lnTo>
                    <a:pt x="356" y="14"/>
                  </a:lnTo>
                  <a:lnTo>
                    <a:pt x="354" y="14"/>
                  </a:lnTo>
                  <a:lnTo>
                    <a:pt x="356" y="14"/>
                  </a:lnTo>
                  <a:lnTo>
                    <a:pt x="354" y="14"/>
                  </a:lnTo>
                  <a:lnTo>
                    <a:pt x="356" y="14"/>
                  </a:lnTo>
                  <a:lnTo>
                    <a:pt x="354" y="14"/>
                  </a:lnTo>
                  <a:lnTo>
                    <a:pt x="354" y="12"/>
                  </a:lnTo>
                  <a:close/>
                  <a:moveTo>
                    <a:pt x="354" y="8"/>
                  </a:moveTo>
                  <a:lnTo>
                    <a:pt x="352" y="8"/>
                  </a:lnTo>
                  <a:lnTo>
                    <a:pt x="354" y="8"/>
                  </a:lnTo>
                  <a:close/>
                  <a:moveTo>
                    <a:pt x="352" y="6"/>
                  </a:moveTo>
                  <a:lnTo>
                    <a:pt x="350" y="6"/>
                  </a:lnTo>
                  <a:lnTo>
                    <a:pt x="352" y="6"/>
                  </a:lnTo>
                  <a:close/>
                  <a:moveTo>
                    <a:pt x="350" y="6"/>
                  </a:moveTo>
                  <a:lnTo>
                    <a:pt x="352" y="6"/>
                  </a:lnTo>
                  <a:lnTo>
                    <a:pt x="350" y="6"/>
                  </a:lnTo>
                  <a:close/>
                  <a:moveTo>
                    <a:pt x="350" y="6"/>
                  </a:moveTo>
                  <a:lnTo>
                    <a:pt x="352" y="6"/>
                  </a:lnTo>
                  <a:lnTo>
                    <a:pt x="350" y="6"/>
                  </a:lnTo>
                  <a:close/>
                  <a:moveTo>
                    <a:pt x="350" y="6"/>
                  </a:moveTo>
                  <a:lnTo>
                    <a:pt x="350" y="4"/>
                  </a:lnTo>
                  <a:lnTo>
                    <a:pt x="350" y="6"/>
                  </a:lnTo>
                  <a:close/>
                  <a:moveTo>
                    <a:pt x="350" y="4"/>
                  </a:moveTo>
                  <a:lnTo>
                    <a:pt x="350" y="6"/>
                  </a:lnTo>
                  <a:lnTo>
                    <a:pt x="350" y="4"/>
                  </a:lnTo>
                  <a:close/>
                  <a:moveTo>
                    <a:pt x="350" y="2"/>
                  </a:moveTo>
                  <a:lnTo>
                    <a:pt x="348" y="2"/>
                  </a:lnTo>
                  <a:lnTo>
                    <a:pt x="350" y="2"/>
                  </a:lnTo>
                  <a:close/>
                  <a:moveTo>
                    <a:pt x="342" y="4"/>
                  </a:moveTo>
                  <a:lnTo>
                    <a:pt x="344" y="4"/>
                  </a:lnTo>
                  <a:lnTo>
                    <a:pt x="342" y="4"/>
                  </a:lnTo>
                  <a:lnTo>
                    <a:pt x="342" y="6"/>
                  </a:lnTo>
                  <a:lnTo>
                    <a:pt x="342" y="4"/>
                  </a:lnTo>
                  <a:close/>
                  <a:moveTo>
                    <a:pt x="348" y="2"/>
                  </a:moveTo>
                  <a:lnTo>
                    <a:pt x="350" y="2"/>
                  </a:lnTo>
                  <a:lnTo>
                    <a:pt x="348" y="2"/>
                  </a:lnTo>
                  <a:lnTo>
                    <a:pt x="350" y="2"/>
                  </a:lnTo>
                  <a:lnTo>
                    <a:pt x="348" y="2"/>
                  </a:lnTo>
                  <a:lnTo>
                    <a:pt x="350" y="2"/>
                  </a:lnTo>
                  <a:lnTo>
                    <a:pt x="348" y="2"/>
                  </a:lnTo>
                  <a:lnTo>
                    <a:pt x="350" y="2"/>
                  </a:lnTo>
                  <a:lnTo>
                    <a:pt x="348" y="2"/>
                  </a:lnTo>
                  <a:lnTo>
                    <a:pt x="350" y="2"/>
                  </a:lnTo>
                  <a:lnTo>
                    <a:pt x="348" y="2"/>
                  </a:lnTo>
                  <a:lnTo>
                    <a:pt x="350" y="2"/>
                  </a:lnTo>
                  <a:lnTo>
                    <a:pt x="348" y="2"/>
                  </a:lnTo>
                  <a:close/>
                  <a:moveTo>
                    <a:pt x="350" y="0"/>
                  </a:moveTo>
                  <a:lnTo>
                    <a:pt x="350" y="2"/>
                  </a:lnTo>
                  <a:lnTo>
                    <a:pt x="352" y="2"/>
                  </a:lnTo>
                  <a:lnTo>
                    <a:pt x="352" y="4"/>
                  </a:lnTo>
                  <a:lnTo>
                    <a:pt x="352" y="6"/>
                  </a:lnTo>
                  <a:lnTo>
                    <a:pt x="354" y="6"/>
                  </a:lnTo>
                  <a:lnTo>
                    <a:pt x="354" y="8"/>
                  </a:lnTo>
                  <a:lnTo>
                    <a:pt x="354" y="10"/>
                  </a:lnTo>
                  <a:lnTo>
                    <a:pt x="356" y="10"/>
                  </a:lnTo>
                  <a:lnTo>
                    <a:pt x="356" y="12"/>
                  </a:lnTo>
                  <a:lnTo>
                    <a:pt x="356" y="14"/>
                  </a:lnTo>
                  <a:lnTo>
                    <a:pt x="358" y="14"/>
                  </a:lnTo>
                  <a:lnTo>
                    <a:pt x="358" y="16"/>
                  </a:lnTo>
                  <a:lnTo>
                    <a:pt x="358" y="18"/>
                  </a:lnTo>
                  <a:lnTo>
                    <a:pt x="360" y="18"/>
                  </a:lnTo>
                  <a:lnTo>
                    <a:pt x="360" y="20"/>
                  </a:lnTo>
                  <a:lnTo>
                    <a:pt x="362" y="20"/>
                  </a:lnTo>
                  <a:lnTo>
                    <a:pt x="362" y="22"/>
                  </a:lnTo>
                  <a:lnTo>
                    <a:pt x="364" y="22"/>
                  </a:lnTo>
                  <a:lnTo>
                    <a:pt x="364" y="24"/>
                  </a:lnTo>
                  <a:lnTo>
                    <a:pt x="364" y="26"/>
                  </a:lnTo>
                  <a:lnTo>
                    <a:pt x="366" y="26"/>
                  </a:lnTo>
                  <a:lnTo>
                    <a:pt x="366" y="28"/>
                  </a:lnTo>
                  <a:lnTo>
                    <a:pt x="368" y="28"/>
                  </a:lnTo>
                  <a:lnTo>
                    <a:pt x="368" y="30"/>
                  </a:lnTo>
                  <a:lnTo>
                    <a:pt x="370" y="30"/>
                  </a:lnTo>
                  <a:lnTo>
                    <a:pt x="370" y="32"/>
                  </a:lnTo>
                  <a:lnTo>
                    <a:pt x="372" y="32"/>
                  </a:lnTo>
                  <a:lnTo>
                    <a:pt x="372" y="34"/>
                  </a:lnTo>
                  <a:lnTo>
                    <a:pt x="374" y="34"/>
                  </a:lnTo>
                  <a:lnTo>
                    <a:pt x="374" y="36"/>
                  </a:lnTo>
                  <a:lnTo>
                    <a:pt x="374" y="38"/>
                  </a:lnTo>
                  <a:lnTo>
                    <a:pt x="376" y="38"/>
                  </a:lnTo>
                  <a:lnTo>
                    <a:pt x="374" y="38"/>
                  </a:lnTo>
                  <a:lnTo>
                    <a:pt x="374" y="36"/>
                  </a:lnTo>
                  <a:lnTo>
                    <a:pt x="372" y="36"/>
                  </a:lnTo>
                  <a:lnTo>
                    <a:pt x="372" y="34"/>
                  </a:lnTo>
                  <a:lnTo>
                    <a:pt x="370" y="34"/>
                  </a:lnTo>
                  <a:lnTo>
                    <a:pt x="372" y="34"/>
                  </a:lnTo>
                  <a:lnTo>
                    <a:pt x="370" y="34"/>
                  </a:lnTo>
                  <a:lnTo>
                    <a:pt x="372" y="34"/>
                  </a:lnTo>
                  <a:lnTo>
                    <a:pt x="372" y="32"/>
                  </a:lnTo>
                  <a:lnTo>
                    <a:pt x="372" y="34"/>
                  </a:lnTo>
                  <a:lnTo>
                    <a:pt x="370" y="34"/>
                  </a:lnTo>
                  <a:lnTo>
                    <a:pt x="370" y="32"/>
                  </a:lnTo>
                  <a:lnTo>
                    <a:pt x="370" y="34"/>
                  </a:lnTo>
                  <a:lnTo>
                    <a:pt x="370" y="32"/>
                  </a:lnTo>
                  <a:lnTo>
                    <a:pt x="370" y="30"/>
                  </a:lnTo>
                  <a:lnTo>
                    <a:pt x="368" y="30"/>
                  </a:lnTo>
                  <a:lnTo>
                    <a:pt x="366" y="30"/>
                  </a:lnTo>
                  <a:lnTo>
                    <a:pt x="368" y="30"/>
                  </a:lnTo>
                  <a:lnTo>
                    <a:pt x="366" y="30"/>
                  </a:lnTo>
                  <a:lnTo>
                    <a:pt x="366" y="28"/>
                  </a:lnTo>
                  <a:lnTo>
                    <a:pt x="364" y="28"/>
                  </a:lnTo>
                  <a:lnTo>
                    <a:pt x="366" y="28"/>
                  </a:lnTo>
                  <a:lnTo>
                    <a:pt x="364" y="28"/>
                  </a:lnTo>
                  <a:lnTo>
                    <a:pt x="366" y="28"/>
                  </a:lnTo>
                  <a:lnTo>
                    <a:pt x="366" y="26"/>
                  </a:lnTo>
                  <a:lnTo>
                    <a:pt x="364" y="26"/>
                  </a:lnTo>
                  <a:lnTo>
                    <a:pt x="362" y="26"/>
                  </a:lnTo>
                  <a:lnTo>
                    <a:pt x="364" y="26"/>
                  </a:lnTo>
                  <a:lnTo>
                    <a:pt x="362" y="26"/>
                  </a:lnTo>
                  <a:lnTo>
                    <a:pt x="362" y="24"/>
                  </a:lnTo>
                  <a:lnTo>
                    <a:pt x="362" y="22"/>
                  </a:lnTo>
                  <a:lnTo>
                    <a:pt x="362" y="24"/>
                  </a:lnTo>
                  <a:lnTo>
                    <a:pt x="362" y="22"/>
                  </a:lnTo>
                  <a:lnTo>
                    <a:pt x="362" y="24"/>
                  </a:lnTo>
                  <a:lnTo>
                    <a:pt x="362" y="22"/>
                  </a:lnTo>
                  <a:lnTo>
                    <a:pt x="360" y="22"/>
                  </a:lnTo>
                  <a:lnTo>
                    <a:pt x="360" y="20"/>
                  </a:lnTo>
                  <a:lnTo>
                    <a:pt x="360" y="18"/>
                  </a:lnTo>
                  <a:lnTo>
                    <a:pt x="358" y="18"/>
                  </a:lnTo>
                  <a:lnTo>
                    <a:pt x="358" y="16"/>
                  </a:lnTo>
                  <a:lnTo>
                    <a:pt x="358" y="18"/>
                  </a:lnTo>
                  <a:lnTo>
                    <a:pt x="358" y="16"/>
                  </a:lnTo>
                  <a:lnTo>
                    <a:pt x="358" y="18"/>
                  </a:lnTo>
                  <a:lnTo>
                    <a:pt x="358" y="16"/>
                  </a:lnTo>
                  <a:lnTo>
                    <a:pt x="358" y="18"/>
                  </a:lnTo>
                  <a:lnTo>
                    <a:pt x="358" y="16"/>
                  </a:lnTo>
                  <a:lnTo>
                    <a:pt x="356" y="16"/>
                  </a:lnTo>
                  <a:lnTo>
                    <a:pt x="358" y="16"/>
                  </a:lnTo>
                  <a:lnTo>
                    <a:pt x="356" y="16"/>
                  </a:lnTo>
                  <a:lnTo>
                    <a:pt x="356" y="14"/>
                  </a:lnTo>
                  <a:lnTo>
                    <a:pt x="356" y="12"/>
                  </a:lnTo>
                  <a:lnTo>
                    <a:pt x="354" y="12"/>
                  </a:lnTo>
                  <a:lnTo>
                    <a:pt x="356" y="12"/>
                  </a:lnTo>
                  <a:lnTo>
                    <a:pt x="354" y="12"/>
                  </a:lnTo>
                  <a:lnTo>
                    <a:pt x="354" y="10"/>
                  </a:lnTo>
                  <a:lnTo>
                    <a:pt x="354" y="8"/>
                  </a:lnTo>
                  <a:lnTo>
                    <a:pt x="352" y="8"/>
                  </a:lnTo>
                  <a:lnTo>
                    <a:pt x="354" y="8"/>
                  </a:lnTo>
                  <a:lnTo>
                    <a:pt x="352" y="8"/>
                  </a:lnTo>
                  <a:lnTo>
                    <a:pt x="354" y="8"/>
                  </a:lnTo>
                  <a:lnTo>
                    <a:pt x="352" y="8"/>
                  </a:lnTo>
                  <a:lnTo>
                    <a:pt x="354" y="8"/>
                  </a:lnTo>
                  <a:lnTo>
                    <a:pt x="352" y="8"/>
                  </a:lnTo>
                  <a:lnTo>
                    <a:pt x="352" y="6"/>
                  </a:lnTo>
                  <a:lnTo>
                    <a:pt x="352" y="8"/>
                  </a:lnTo>
                  <a:lnTo>
                    <a:pt x="352" y="6"/>
                  </a:lnTo>
                  <a:lnTo>
                    <a:pt x="352" y="8"/>
                  </a:lnTo>
                  <a:lnTo>
                    <a:pt x="352" y="6"/>
                  </a:lnTo>
                  <a:lnTo>
                    <a:pt x="352" y="8"/>
                  </a:lnTo>
                  <a:lnTo>
                    <a:pt x="352" y="6"/>
                  </a:lnTo>
                  <a:lnTo>
                    <a:pt x="350" y="6"/>
                  </a:lnTo>
                  <a:lnTo>
                    <a:pt x="352" y="6"/>
                  </a:lnTo>
                  <a:lnTo>
                    <a:pt x="350" y="6"/>
                  </a:lnTo>
                  <a:lnTo>
                    <a:pt x="352" y="4"/>
                  </a:lnTo>
                  <a:lnTo>
                    <a:pt x="352" y="6"/>
                  </a:lnTo>
                  <a:lnTo>
                    <a:pt x="352" y="4"/>
                  </a:lnTo>
                  <a:lnTo>
                    <a:pt x="350" y="4"/>
                  </a:lnTo>
                  <a:lnTo>
                    <a:pt x="350" y="6"/>
                  </a:lnTo>
                  <a:lnTo>
                    <a:pt x="350" y="4"/>
                  </a:lnTo>
                  <a:lnTo>
                    <a:pt x="350" y="6"/>
                  </a:lnTo>
                  <a:lnTo>
                    <a:pt x="350" y="4"/>
                  </a:lnTo>
                  <a:lnTo>
                    <a:pt x="352" y="4"/>
                  </a:lnTo>
                  <a:lnTo>
                    <a:pt x="350" y="4"/>
                  </a:lnTo>
                  <a:lnTo>
                    <a:pt x="350" y="2"/>
                  </a:lnTo>
                  <a:lnTo>
                    <a:pt x="350" y="0"/>
                  </a:lnTo>
                  <a:lnTo>
                    <a:pt x="350" y="2"/>
                  </a:lnTo>
                  <a:lnTo>
                    <a:pt x="350" y="0"/>
                  </a:lnTo>
                  <a:lnTo>
                    <a:pt x="350" y="2"/>
                  </a:lnTo>
                  <a:lnTo>
                    <a:pt x="348" y="2"/>
                  </a:lnTo>
                  <a:lnTo>
                    <a:pt x="350" y="2"/>
                  </a:lnTo>
                  <a:lnTo>
                    <a:pt x="348" y="2"/>
                  </a:lnTo>
                  <a:lnTo>
                    <a:pt x="350" y="2"/>
                  </a:lnTo>
                  <a:lnTo>
                    <a:pt x="348" y="2"/>
                  </a:lnTo>
                  <a:lnTo>
                    <a:pt x="348" y="0"/>
                  </a:lnTo>
                  <a:lnTo>
                    <a:pt x="350" y="0"/>
                  </a:lnTo>
                  <a:close/>
                  <a:moveTo>
                    <a:pt x="348" y="2"/>
                  </a:moveTo>
                  <a:lnTo>
                    <a:pt x="348" y="0"/>
                  </a:lnTo>
                  <a:lnTo>
                    <a:pt x="348" y="2"/>
                  </a:lnTo>
                  <a:close/>
                  <a:moveTo>
                    <a:pt x="348" y="2"/>
                  </a:moveTo>
                  <a:lnTo>
                    <a:pt x="348" y="4"/>
                  </a:lnTo>
                  <a:lnTo>
                    <a:pt x="350" y="4"/>
                  </a:lnTo>
                  <a:lnTo>
                    <a:pt x="348" y="4"/>
                  </a:lnTo>
                  <a:lnTo>
                    <a:pt x="346" y="4"/>
                  </a:lnTo>
                  <a:lnTo>
                    <a:pt x="346" y="6"/>
                  </a:lnTo>
                  <a:lnTo>
                    <a:pt x="346" y="4"/>
                  </a:lnTo>
                  <a:lnTo>
                    <a:pt x="344" y="4"/>
                  </a:lnTo>
                  <a:lnTo>
                    <a:pt x="344" y="2"/>
                  </a:lnTo>
                  <a:lnTo>
                    <a:pt x="346" y="2"/>
                  </a:lnTo>
                  <a:lnTo>
                    <a:pt x="348" y="2"/>
                  </a:lnTo>
                  <a:lnTo>
                    <a:pt x="348" y="0"/>
                  </a:lnTo>
                  <a:lnTo>
                    <a:pt x="348" y="2"/>
                  </a:lnTo>
                  <a:close/>
                  <a:moveTo>
                    <a:pt x="112" y="50"/>
                  </a:moveTo>
                  <a:lnTo>
                    <a:pt x="112" y="48"/>
                  </a:lnTo>
                  <a:lnTo>
                    <a:pt x="114" y="48"/>
                  </a:lnTo>
                  <a:lnTo>
                    <a:pt x="116" y="48"/>
                  </a:lnTo>
                  <a:lnTo>
                    <a:pt x="118" y="48"/>
                  </a:lnTo>
                  <a:lnTo>
                    <a:pt x="120" y="48"/>
                  </a:lnTo>
                  <a:lnTo>
                    <a:pt x="122" y="48"/>
                  </a:lnTo>
                  <a:lnTo>
                    <a:pt x="124" y="48"/>
                  </a:lnTo>
                  <a:lnTo>
                    <a:pt x="126" y="48"/>
                  </a:lnTo>
                  <a:lnTo>
                    <a:pt x="128" y="48"/>
                  </a:lnTo>
                  <a:lnTo>
                    <a:pt x="128" y="46"/>
                  </a:lnTo>
                  <a:lnTo>
                    <a:pt x="130" y="46"/>
                  </a:lnTo>
                  <a:lnTo>
                    <a:pt x="132" y="46"/>
                  </a:lnTo>
                  <a:lnTo>
                    <a:pt x="134" y="46"/>
                  </a:lnTo>
                  <a:lnTo>
                    <a:pt x="136" y="46"/>
                  </a:lnTo>
                  <a:lnTo>
                    <a:pt x="138" y="46"/>
                  </a:lnTo>
                  <a:lnTo>
                    <a:pt x="140" y="46"/>
                  </a:lnTo>
                  <a:lnTo>
                    <a:pt x="142" y="46"/>
                  </a:lnTo>
                  <a:lnTo>
                    <a:pt x="142" y="44"/>
                  </a:lnTo>
                  <a:lnTo>
                    <a:pt x="142" y="44"/>
                  </a:lnTo>
                  <a:lnTo>
                    <a:pt x="144" y="44"/>
                  </a:lnTo>
                  <a:lnTo>
                    <a:pt x="146" y="44"/>
                  </a:lnTo>
                  <a:lnTo>
                    <a:pt x="148" y="44"/>
                  </a:lnTo>
                  <a:lnTo>
                    <a:pt x="150" y="44"/>
                  </a:lnTo>
                  <a:lnTo>
                    <a:pt x="152" y="44"/>
                  </a:lnTo>
                  <a:lnTo>
                    <a:pt x="154" y="44"/>
                  </a:lnTo>
                  <a:lnTo>
                    <a:pt x="154" y="42"/>
                  </a:lnTo>
                  <a:lnTo>
                    <a:pt x="156" y="42"/>
                  </a:lnTo>
                  <a:lnTo>
                    <a:pt x="158" y="42"/>
                  </a:lnTo>
                  <a:lnTo>
                    <a:pt x="160" y="42"/>
                  </a:lnTo>
                  <a:lnTo>
                    <a:pt x="162" y="42"/>
                  </a:lnTo>
                  <a:lnTo>
                    <a:pt x="164" y="42"/>
                  </a:lnTo>
                  <a:lnTo>
                    <a:pt x="166" y="42"/>
                  </a:lnTo>
                  <a:lnTo>
                    <a:pt x="168" y="42"/>
                  </a:lnTo>
                  <a:lnTo>
                    <a:pt x="168" y="40"/>
                  </a:lnTo>
                  <a:lnTo>
                    <a:pt x="170" y="40"/>
                  </a:lnTo>
                  <a:lnTo>
                    <a:pt x="172" y="40"/>
                  </a:lnTo>
                  <a:lnTo>
                    <a:pt x="174" y="40"/>
                  </a:lnTo>
                  <a:lnTo>
                    <a:pt x="176" y="40"/>
                  </a:lnTo>
                  <a:lnTo>
                    <a:pt x="178" y="40"/>
                  </a:lnTo>
                  <a:lnTo>
                    <a:pt x="180" y="38"/>
                  </a:lnTo>
                  <a:lnTo>
                    <a:pt x="182" y="38"/>
                  </a:lnTo>
                  <a:lnTo>
                    <a:pt x="184" y="38"/>
                  </a:lnTo>
                  <a:lnTo>
                    <a:pt x="186" y="38"/>
                  </a:lnTo>
                  <a:lnTo>
                    <a:pt x="188" y="38"/>
                  </a:lnTo>
                  <a:lnTo>
                    <a:pt x="190" y="38"/>
                  </a:lnTo>
                  <a:lnTo>
                    <a:pt x="190" y="38"/>
                  </a:lnTo>
                  <a:lnTo>
                    <a:pt x="192" y="38"/>
                  </a:lnTo>
                  <a:lnTo>
                    <a:pt x="194" y="38"/>
                  </a:lnTo>
                  <a:lnTo>
                    <a:pt x="196" y="38"/>
                  </a:lnTo>
                  <a:lnTo>
                    <a:pt x="198" y="38"/>
                  </a:lnTo>
                  <a:lnTo>
                    <a:pt x="198" y="36"/>
                  </a:lnTo>
                  <a:lnTo>
                    <a:pt x="200" y="36"/>
                  </a:lnTo>
                  <a:lnTo>
                    <a:pt x="202" y="36"/>
                  </a:lnTo>
                  <a:lnTo>
                    <a:pt x="204" y="36"/>
                  </a:lnTo>
                  <a:lnTo>
                    <a:pt x="206" y="36"/>
                  </a:lnTo>
                  <a:lnTo>
                    <a:pt x="208" y="36"/>
                  </a:lnTo>
                  <a:lnTo>
                    <a:pt x="208" y="34"/>
                  </a:lnTo>
                  <a:lnTo>
                    <a:pt x="210" y="34"/>
                  </a:lnTo>
                  <a:lnTo>
                    <a:pt x="212" y="34"/>
                  </a:lnTo>
                  <a:lnTo>
                    <a:pt x="214" y="34"/>
                  </a:lnTo>
                  <a:lnTo>
                    <a:pt x="216" y="34"/>
                  </a:lnTo>
                  <a:lnTo>
                    <a:pt x="218" y="32"/>
                  </a:lnTo>
                  <a:lnTo>
                    <a:pt x="222" y="32"/>
                  </a:lnTo>
                  <a:lnTo>
                    <a:pt x="224" y="32"/>
                  </a:lnTo>
                  <a:lnTo>
                    <a:pt x="226" y="32"/>
                  </a:lnTo>
                  <a:lnTo>
                    <a:pt x="228" y="30"/>
                  </a:lnTo>
                  <a:lnTo>
                    <a:pt x="230" y="30"/>
                  </a:lnTo>
                  <a:lnTo>
                    <a:pt x="232" y="30"/>
                  </a:lnTo>
                  <a:lnTo>
                    <a:pt x="234" y="30"/>
                  </a:lnTo>
                  <a:lnTo>
                    <a:pt x="236" y="30"/>
                  </a:lnTo>
                  <a:lnTo>
                    <a:pt x="236" y="28"/>
                  </a:lnTo>
                  <a:lnTo>
                    <a:pt x="238" y="28"/>
                  </a:lnTo>
                  <a:lnTo>
                    <a:pt x="238" y="28"/>
                  </a:lnTo>
                  <a:lnTo>
                    <a:pt x="240" y="28"/>
                  </a:lnTo>
                  <a:lnTo>
                    <a:pt x="242" y="28"/>
                  </a:lnTo>
                  <a:lnTo>
                    <a:pt x="244" y="28"/>
                  </a:lnTo>
                  <a:lnTo>
                    <a:pt x="244" y="26"/>
                  </a:lnTo>
                  <a:lnTo>
                    <a:pt x="246" y="26"/>
                  </a:lnTo>
                  <a:lnTo>
                    <a:pt x="248" y="26"/>
                  </a:lnTo>
                  <a:lnTo>
                    <a:pt x="250" y="26"/>
                  </a:lnTo>
                  <a:lnTo>
                    <a:pt x="252" y="26"/>
                  </a:lnTo>
                  <a:lnTo>
                    <a:pt x="254" y="24"/>
                  </a:lnTo>
                  <a:lnTo>
                    <a:pt x="256" y="24"/>
                  </a:lnTo>
                  <a:lnTo>
                    <a:pt x="258" y="24"/>
                  </a:lnTo>
                  <a:lnTo>
                    <a:pt x="260" y="24"/>
                  </a:lnTo>
                  <a:lnTo>
                    <a:pt x="262" y="24"/>
                  </a:lnTo>
                  <a:lnTo>
                    <a:pt x="262" y="22"/>
                  </a:lnTo>
                  <a:lnTo>
                    <a:pt x="264" y="22"/>
                  </a:lnTo>
                  <a:lnTo>
                    <a:pt x="266" y="22"/>
                  </a:lnTo>
                  <a:lnTo>
                    <a:pt x="268" y="22"/>
                  </a:lnTo>
                  <a:lnTo>
                    <a:pt x="270" y="22"/>
                  </a:lnTo>
                  <a:lnTo>
                    <a:pt x="270" y="20"/>
                  </a:lnTo>
                  <a:lnTo>
                    <a:pt x="272" y="20"/>
                  </a:lnTo>
                  <a:lnTo>
                    <a:pt x="274" y="20"/>
                  </a:lnTo>
                  <a:lnTo>
                    <a:pt x="276" y="20"/>
                  </a:lnTo>
                  <a:lnTo>
                    <a:pt x="278" y="20"/>
                  </a:lnTo>
                  <a:lnTo>
                    <a:pt x="280" y="18"/>
                  </a:lnTo>
                  <a:lnTo>
                    <a:pt x="282" y="18"/>
                  </a:lnTo>
                  <a:lnTo>
                    <a:pt x="284" y="18"/>
                  </a:lnTo>
                  <a:lnTo>
                    <a:pt x="286" y="18"/>
                  </a:lnTo>
                  <a:lnTo>
                    <a:pt x="286" y="16"/>
                  </a:lnTo>
                  <a:lnTo>
                    <a:pt x="288" y="16"/>
                  </a:lnTo>
                  <a:lnTo>
                    <a:pt x="290" y="16"/>
                  </a:lnTo>
                  <a:lnTo>
                    <a:pt x="292" y="16"/>
                  </a:lnTo>
                  <a:lnTo>
                    <a:pt x="294" y="16"/>
                  </a:lnTo>
                  <a:lnTo>
                    <a:pt x="294" y="14"/>
                  </a:lnTo>
                  <a:lnTo>
                    <a:pt x="296" y="14"/>
                  </a:lnTo>
                  <a:lnTo>
                    <a:pt x="298" y="14"/>
                  </a:lnTo>
                  <a:lnTo>
                    <a:pt x="300" y="14"/>
                  </a:lnTo>
                  <a:lnTo>
                    <a:pt x="302" y="14"/>
                  </a:lnTo>
                  <a:lnTo>
                    <a:pt x="304" y="12"/>
                  </a:lnTo>
                  <a:lnTo>
                    <a:pt x="306" y="12"/>
                  </a:lnTo>
                  <a:lnTo>
                    <a:pt x="308" y="12"/>
                  </a:lnTo>
                  <a:lnTo>
                    <a:pt x="310" y="12"/>
                  </a:lnTo>
                  <a:lnTo>
                    <a:pt x="310" y="10"/>
                  </a:lnTo>
                  <a:lnTo>
                    <a:pt x="312" y="10"/>
                  </a:lnTo>
                  <a:lnTo>
                    <a:pt x="314" y="10"/>
                  </a:lnTo>
                  <a:lnTo>
                    <a:pt x="316" y="10"/>
                  </a:lnTo>
                  <a:lnTo>
                    <a:pt x="318" y="10"/>
                  </a:lnTo>
                  <a:lnTo>
                    <a:pt x="318" y="8"/>
                  </a:lnTo>
                  <a:lnTo>
                    <a:pt x="320" y="8"/>
                  </a:lnTo>
                  <a:lnTo>
                    <a:pt x="322" y="8"/>
                  </a:lnTo>
                  <a:lnTo>
                    <a:pt x="324" y="8"/>
                  </a:lnTo>
                  <a:lnTo>
                    <a:pt x="326" y="8"/>
                  </a:lnTo>
                  <a:lnTo>
                    <a:pt x="326" y="6"/>
                  </a:lnTo>
                  <a:lnTo>
                    <a:pt x="328" y="6"/>
                  </a:lnTo>
                  <a:lnTo>
                    <a:pt x="330" y="6"/>
                  </a:lnTo>
                  <a:lnTo>
                    <a:pt x="332" y="6"/>
                  </a:lnTo>
                  <a:lnTo>
                    <a:pt x="338" y="4"/>
                  </a:lnTo>
                  <a:lnTo>
                    <a:pt x="340" y="4"/>
                  </a:lnTo>
                  <a:lnTo>
                    <a:pt x="342" y="2"/>
                  </a:lnTo>
                  <a:lnTo>
                    <a:pt x="344" y="2"/>
                  </a:lnTo>
                  <a:lnTo>
                    <a:pt x="344" y="4"/>
                  </a:lnTo>
                  <a:lnTo>
                    <a:pt x="342" y="4"/>
                  </a:lnTo>
                  <a:lnTo>
                    <a:pt x="344" y="4"/>
                  </a:lnTo>
                  <a:lnTo>
                    <a:pt x="342" y="4"/>
                  </a:lnTo>
                  <a:lnTo>
                    <a:pt x="342" y="6"/>
                  </a:lnTo>
                  <a:lnTo>
                    <a:pt x="340" y="6"/>
                  </a:lnTo>
                  <a:lnTo>
                    <a:pt x="342" y="6"/>
                  </a:lnTo>
                  <a:lnTo>
                    <a:pt x="344" y="6"/>
                  </a:lnTo>
                  <a:lnTo>
                    <a:pt x="344" y="8"/>
                  </a:lnTo>
                  <a:lnTo>
                    <a:pt x="346" y="8"/>
                  </a:lnTo>
                  <a:lnTo>
                    <a:pt x="348" y="8"/>
                  </a:lnTo>
                  <a:lnTo>
                    <a:pt x="346" y="8"/>
                  </a:lnTo>
                  <a:lnTo>
                    <a:pt x="346" y="10"/>
                  </a:lnTo>
                  <a:lnTo>
                    <a:pt x="348" y="10"/>
                  </a:lnTo>
                  <a:lnTo>
                    <a:pt x="348" y="12"/>
                  </a:lnTo>
                  <a:lnTo>
                    <a:pt x="350" y="12"/>
                  </a:lnTo>
                  <a:lnTo>
                    <a:pt x="350" y="10"/>
                  </a:lnTo>
                  <a:lnTo>
                    <a:pt x="348" y="10"/>
                  </a:lnTo>
                  <a:lnTo>
                    <a:pt x="350" y="10"/>
                  </a:lnTo>
                  <a:lnTo>
                    <a:pt x="350" y="12"/>
                  </a:lnTo>
                  <a:lnTo>
                    <a:pt x="348" y="12"/>
                  </a:lnTo>
                  <a:lnTo>
                    <a:pt x="350" y="12"/>
                  </a:lnTo>
                  <a:lnTo>
                    <a:pt x="348" y="12"/>
                  </a:lnTo>
                  <a:lnTo>
                    <a:pt x="350" y="12"/>
                  </a:lnTo>
                  <a:lnTo>
                    <a:pt x="348" y="12"/>
                  </a:lnTo>
                  <a:lnTo>
                    <a:pt x="348" y="10"/>
                  </a:lnTo>
                  <a:lnTo>
                    <a:pt x="350" y="10"/>
                  </a:lnTo>
                  <a:lnTo>
                    <a:pt x="348" y="10"/>
                  </a:lnTo>
                  <a:lnTo>
                    <a:pt x="350" y="10"/>
                  </a:lnTo>
                  <a:lnTo>
                    <a:pt x="350" y="8"/>
                  </a:lnTo>
                  <a:lnTo>
                    <a:pt x="348" y="8"/>
                  </a:lnTo>
                  <a:lnTo>
                    <a:pt x="350" y="8"/>
                  </a:lnTo>
                  <a:lnTo>
                    <a:pt x="350" y="10"/>
                  </a:lnTo>
                  <a:lnTo>
                    <a:pt x="350" y="12"/>
                  </a:lnTo>
                  <a:lnTo>
                    <a:pt x="352" y="12"/>
                  </a:lnTo>
                  <a:lnTo>
                    <a:pt x="352" y="14"/>
                  </a:lnTo>
                  <a:lnTo>
                    <a:pt x="352" y="16"/>
                  </a:lnTo>
                  <a:lnTo>
                    <a:pt x="354" y="16"/>
                  </a:lnTo>
                  <a:lnTo>
                    <a:pt x="354" y="18"/>
                  </a:lnTo>
                  <a:lnTo>
                    <a:pt x="356" y="18"/>
                  </a:lnTo>
                  <a:lnTo>
                    <a:pt x="356" y="20"/>
                  </a:lnTo>
                  <a:lnTo>
                    <a:pt x="356" y="18"/>
                  </a:lnTo>
                  <a:lnTo>
                    <a:pt x="356" y="20"/>
                  </a:lnTo>
                  <a:lnTo>
                    <a:pt x="356" y="22"/>
                  </a:lnTo>
                  <a:lnTo>
                    <a:pt x="356" y="20"/>
                  </a:lnTo>
                  <a:lnTo>
                    <a:pt x="358" y="20"/>
                  </a:lnTo>
                  <a:lnTo>
                    <a:pt x="358" y="22"/>
                  </a:lnTo>
                  <a:lnTo>
                    <a:pt x="358" y="20"/>
                  </a:lnTo>
                  <a:lnTo>
                    <a:pt x="358" y="22"/>
                  </a:lnTo>
                  <a:lnTo>
                    <a:pt x="358" y="20"/>
                  </a:lnTo>
                  <a:lnTo>
                    <a:pt x="358" y="22"/>
                  </a:lnTo>
                  <a:lnTo>
                    <a:pt x="358" y="24"/>
                  </a:lnTo>
                  <a:lnTo>
                    <a:pt x="358" y="22"/>
                  </a:lnTo>
                  <a:lnTo>
                    <a:pt x="358" y="24"/>
                  </a:lnTo>
                  <a:lnTo>
                    <a:pt x="360" y="24"/>
                  </a:lnTo>
                  <a:lnTo>
                    <a:pt x="358" y="24"/>
                  </a:lnTo>
                  <a:lnTo>
                    <a:pt x="360" y="24"/>
                  </a:lnTo>
                  <a:lnTo>
                    <a:pt x="360" y="26"/>
                  </a:lnTo>
                  <a:lnTo>
                    <a:pt x="358" y="26"/>
                  </a:lnTo>
                  <a:lnTo>
                    <a:pt x="358" y="24"/>
                  </a:lnTo>
                  <a:lnTo>
                    <a:pt x="356" y="24"/>
                  </a:lnTo>
                  <a:lnTo>
                    <a:pt x="356" y="22"/>
                  </a:lnTo>
                  <a:lnTo>
                    <a:pt x="354" y="22"/>
                  </a:lnTo>
                  <a:lnTo>
                    <a:pt x="352" y="22"/>
                  </a:lnTo>
                  <a:lnTo>
                    <a:pt x="350" y="22"/>
                  </a:lnTo>
                  <a:lnTo>
                    <a:pt x="350" y="24"/>
                  </a:lnTo>
                  <a:lnTo>
                    <a:pt x="348" y="24"/>
                  </a:lnTo>
                  <a:lnTo>
                    <a:pt x="346" y="24"/>
                  </a:lnTo>
                  <a:lnTo>
                    <a:pt x="346" y="26"/>
                  </a:lnTo>
                  <a:lnTo>
                    <a:pt x="344" y="26"/>
                  </a:lnTo>
                  <a:lnTo>
                    <a:pt x="342" y="26"/>
                  </a:lnTo>
                  <a:lnTo>
                    <a:pt x="342" y="28"/>
                  </a:lnTo>
                  <a:lnTo>
                    <a:pt x="342" y="30"/>
                  </a:lnTo>
                  <a:lnTo>
                    <a:pt x="340" y="30"/>
                  </a:lnTo>
                  <a:lnTo>
                    <a:pt x="340" y="28"/>
                  </a:lnTo>
                  <a:lnTo>
                    <a:pt x="340" y="30"/>
                  </a:lnTo>
                  <a:lnTo>
                    <a:pt x="340" y="28"/>
                  </a:lnTo>
                  <a:lnTo>
                    <a:pt x="340" y="30"/>
                  </a:lnTo>
                  <a:lnTo>
                    <a:pt x="338" y="30"/>
                  </a:lnTo>
                  <a:lnTo>
                    <a:pt x="336" y="30"/>
                  </a:lnTo>
                  <a:lnTo>
                    <a:pt x="336" y="32"/>
                  </a:lnTo>
                  <a:lnTo>
                    <a:pt x="336" y="30"/>
                  </a:lnTo>
                  <a:lnTo>
                    <a:pt x="336" y="32"/>
                  </a:lnTo>
                  <a:lnTo>
                    <a:pt x="334" y="32"/>
                  </a:lnTo>
                  <a:lnTo>
                    <a:pt x="334" y="32"/>
                  </a:lnTo>
                  <a:lnTo>
                    <a:pt x="334" y="34"/>
                  </a:lnTo>
                  <a:lnTo>
                    <a:pt x="334" y="36"/>
                  </a:lnTo>
                  <a:lnTo>
                    <a:pt x="332" y="36"/>
                  </a:lnTo>
                  <a:lnTo>
                    <a:pt x="332" y="38"/>
                  </a:lnTo>
                  <a:lnTo>
                    <a:pt x="330" y="38"/>
                  </a:lnTo>
                  <a:lnTo>
                    <a:pt x="328" y="38"/>
                  </a:lnTo>
                  <a:lnTo>
                    <a:pt x="328" y="36"/>
                  </a:lnTo>
                  <a:lnTo>
                    <a:pt x="326" y="36"/>
                  </a:lnTo>
                  <a:lnTo>
                    <a:pt x="324" y="36"/>
                  </a:lnTo>
                  <a:lnTo>
                    <a:pt x="326" y="36"/>
                  </a:lnTo>
                  <a:lnTo>
                    <a:pt x="324" y="36"/>
                  </a:lnTo>
                  <a:lnTo>
                    <a:pt x="326" y="36"/>
                  </a:lnTo>
                  <a:lnTo>
                    <a:pt x="326" y="38"/>
                  </a:lnTo>
                  <a:lnTo>
                    <a:pt x="324" y="38"/>
                  </a:lnTo>
                  <a:lnTo>
                    <a:pt x="322" y="38"/>
                  </a:lnTo>
                  <a:lnTo>
                    <a:pt x="324" y="38"/>
                  </a:lnTo>
                  <a:lnTo>
                    <a:pt x="324" y="40"/>
                  </a:lnTo>
                  <a:lnTo>
                    <a:pt x="322" y="40"/>
                  </a:lnTo>
                  <a:lnTo>
                    <a:pt x="322" y="42"/>
                  </a:lnTo>
                  <a:lnTo>
                    <a:pt x="324" y="42"/>
                  </a:lnTo>
                  <a:lnTo>
                    <a:pt x="324" y="40"/>
                  </a:lnTo>
                  <a:lnTo>
                    <a:pt x="324" y="42"/>
                  </a:lnTo>
                  <a:lnTo>
                    <a:pt x="324" y="40"/>
                  </a:lnTo>
                  <a:lnTo>
                    <a:pt x="326" y="40"/>
                  </a:lnTo>
                  <a:lnTo>
                    <a:pt x="328" y="40"/>
                  </a:lnTo>
                  <a:lnTo>
                    <a:pt x="330" y="40"/>
                  </a:lnTo>
                  <a:lnTo>
                    <a:pt x="330" y="38"/>
                  </a:lnTo>
                  <a:lnTo>
                    <a:pt x="332" y="38"/>
                  </a:lnTo>
                  <a:lnTo>
                    <a:pt x="334" y="38"/>
                  </a:lnTo>
                  <a:lnTo>
                    <a:pt x="334" y="38"/>
                  </a:lnTo>
                  <a:lnTo>
                    <a:pt x="334" y="38"/>
                  </a:lnTo>
                  <a:lnTo>
                    <a:pt x="336" y="38"/>
                  </a:lnTo>
                  <a:lnTo>
                    <a:pt x="336" y="38"/>
                  </a:lnTo>
                  <a:lnTo>
                    <a:pt x="338" y="38"/>
                  </a:lnTo>
                  <a:lnTo>
                    <a:pt x="336" y="38"/>
                  </a:lnTo>
                  <a:lnTo>
                    <a:pt x="338" y="38"/>
                  </a:lnTo>
                  <a:lnTo>
                    <a:pt x="338" y="38"/>
                  </a:lnTo>
                  <a:lnTo>
                    <a:pt x="338" y="38"/>
                  </a:lnTo>
                  <a:lnTo>
                    <a:pt x="340" y="38"/>
                  </a:lnTo>
                  <a:lnTo>
                    <a:pt x="342" y="38"/>
                  </a:lnTo>
                  <a:lnTo>
                    <a:pt x="342" y="40"/>
                  </a:lnTo>
                  <a:lnTo>
                    <a:pt x="340" y="40"/>
                  </a:lnTo>
                  <a:lnTo>
                    <a:pt x="342" y="40"/>
                  </a:lnTo>
                  <a:lnTo>
                    <a:pt x="340" y="40"/>
                  </a:lnTo>
                  <a:lnTo>
                    <a:pt x="342" y="40"/>
                  </a:lnTo>
                  <a:lnTo>
                    <a:pt x="342" y="38"/>
                  </a:lnTo>
                  <a:lnTo>
                    <a:pt x="342" y="38"/>
                  </a:lnTo>
                  <a:lnTo>
                    <a:pt x="340" y="38"/>
                  </a:lnTo>
                  <a:lnTo>
                    <a:pt x="340" y="38"/>
                  </a:lnTo>
                  <a:lnTo>
                    <a:pt x="340" y="38"/>
                  </a:lnTo>
                  <a:lnTo>
                    <a:pt x="338" y="38"/>
                  </a:lnTo>
                  <a:lnTo>
                    <a:pt x="340" y="38"/>
                  </a:lnTo>
                  <a:lnTo>
                    <a:pt x="340" y="36"/>
                  </a:lnTo>
                  <a:lnTo>
                    <a:pt x="342" y="36"/>
                  </a:lnTo>
                  <a:lnTo>
                    <a:pt x="342" y="34"/>
                  </a:lnTo>
                  <a:lnTo>
                    <a:pt x="344" y="34"/>
                  </a:lnTo>
                  <a:lnTo>
                    <a:pt x="346" y="34"/>
                  </a:lnTo>
                  <a:lnTo>
                    <a:pt x="348" y="34"/>
                  </a:lnTo>
                  <a:lnTo>
                    <a:pt x="350" y="34"/>
                  </a:lnTo>
                  <a:lnTo>
                    <a:pt x="352" y="34"/>
                  </a:lnTo>
                  <a:lnTo>
                    <a:pt x="352" y="36"/>
                  </a:lnTo>
                  <a:lnTo>
                    <a:pt x="352" y="34"/>
                  </a:lnTo>
                  <a:lnTo>
                    <a:pt x="352" y="36"/>
                  </a:lnTo>
                  <a:lnTo>
                    <a:pt x="352" y="34"/>
                  </a:lnTo>
                  <a:lnTo>
                    <a:pt x="352" y="36"/>
                  </a:lnTo>
                  <a:lnTo>
                    <a:pt x="350" y="36"/>
                  </a:lnTo>
                  <a:lnTo>
                    <a:pt x="350" y="34"/>
                  </a:lnTo>
                  <a:lnTo>
                    <a:pt x="350" y="36"/>
                  </a:lnTo>
                  <a:lnTo>
                    <a:pt x="348" y="36"/>
                  </a:lnTo>
                  <a:lnTo>
                    <a:pt x="346" y="36"/>
                  </a:lnTo>
                  <a:lnTo>
                    <a:pt x="348" y="36"/>
                  </a:lnTo>
                  <a:lnTo>
                    <a:pt x="346" y="36"/>
                  </a:lnTo>
                  <a:lnTo>
                    <a:pt x="348" y="36"/>
                  </a:lnTo>
                  <a:lnTo>
                    <a:pt x="348" y="38"/>
                  </a:lnTo>
                  <a:lnTo>
                    <a:pt x="350" y="38"/>
                  </a:lnTo>
                  <a:lnTo>
                    <a:pt x="350" y="36"/>
                  </a:lnTo>
                  <a:lnTo>
                    <a:pt x="352" y="36"/>
                  </a:lnTo>
                  <a:lnTo>
                    <a:pt x="352" y="38"/>
                  </a:lnTo>
                  <a:lnTo>
                    <a:pt x="352" y="38"/>
                  </a:lnTo>
                  <a:lnTo>
                    <a:pt x="350" y="38"/>
                  </a:lnTo>
                  <a:lnTo>
                    <a:pt x="348" y="38"/>
                  </a:lnTo>
                  <a:lnTo>
                    <a:pt x="350" y="38"/>
                  </a:lnTo>
                  <a:lnTo>
                    <a:pt x="352" y="38"/>
                  </a:lnTo>
                  <a:lnTo>
                    <a:pt x="352" y="40"/>
                  </a:lnTo>
                  <a:lnTo>
                    <a:pt x="352" y="42"/>
                  </a:lnTo>
                  <a:lnTo>
                    <a:pt x="352" y="44"/>
                  </a:lnTo>
                  <a:lnTo>
                    <a:pt x="352" y="42"/>
                  </a:lnTo>
                  <a:lnTo>
                    <a:pt x="352" y="44"/>
                  </a:lnTo>
                  <a:lnTo>
                    <a:pt x="352" y="42"/>
                  </a:lnTo>
                  <a:lnTo>
                    <a:pt x="350" y="42"/>
                  </a:lnTo>
                  <a:lnTo>
                    <a:pt x="350" y="44"/>
                  </a:lnTo>
                  <a:lnTo>
                    <a:pt x="352" y="44"/>
                  </a:lnTo>
                  <a:lnTo>
                    <a:pt x="354" y="44"/>
                  </a:lnTo>
                  <a:lnTo>
                    <a:pt x="354" y="46"/>
                  </a:lnTo>
                  <a:lnTo>
                    <a:pt x="354" y="48"/>
                  </a:lnTo>
                  <a:lnTo>
                    <a:pt x="352" y="48"/>
                  </a:lnTo>
                  <a:lnTo>
                    <a:pt x="350" y="48"/>
                  </a:lnTo>
                  <a:lnTo>
                    <a:pt x="348" y="48"/>
                  </a:lnTo>
                  <a:lnTo>
                    <a:pt x="348" y="50"/>
                  </a:lnTo>
                  <a:lnTo>
                    <a:pt x="348" y="52"/>
                  </a:lnTo>
                  <a:lnTo>
                    <a:pt x="348" y="50"/>
                  </a:lnTo>
                  <a:lnTo>
                    <a:pt x="348" y="48"/>
                  </a:lnTo>
                  <a:lnTo>
                    <a:pt x="350" y="48"/>
                  </a:lnTo>
                  <a:lnTo>
                    <a:pt x="352" y="48"/>
                  </a:lnTo>
                  <a:lnTo>
                    <a:pt x="352" y="50"/>
                  </a:lnTo>
                  <a:lnTo>
                    <a:pt x="352" y="48"/>
                  </a:lnTo>
                  <a:lnTo>
                    <a:pt x="352" y="50"/>
                  </a:lnTo>
                  <a:lnTo>
                    <a:pt x="352" y="48"/>
                  </a:lnTo>
                  <a:lnTo>
                    <a:pt x="352" y="50"/>
                  </a:lnTo>
                  <a:lnTo>
                    <a:pt x="354" y="50"/>
                  </a:lnTo>
                  <a:lnTo>
                    <a:pt x="354" y="48"/>
                  </a:lnTo>
                  <a:lnTo>
                    <a:pt x="354" y="50"/>
                  </a:lnTo>
                  <a:lnTo>
                    <a:pt x="354" y="48"/>
                  </a:lnTo>
                  <a:lnTo>
                    <a:pt x="354" y="50"/>
                  </a:lnTo>
                  <a:lnTo>
                    <a:pt x="354" y="48"/>
                  </a:lnTo>
                  <a:lnTo>
                    <a:pt x="354" y="50"/>
                  </a:lnTo>
                  <a:lnTo>
                    <a:pt x="356" y="50"/>
                  </a:lnTo>
                  <a:lnTo>
                    <a:pt x="356" y="48"/>
                  </a:lnTo>
                  <a:lnTo>
                    <a:pt x="356" y="46"/>
                  </a:lnTo>
                  <a:lnTo>
                    <a:pt x="356" y="44"/>
                  </a:lnTo>
                  <a:lnTo>
                    <a:pt x="356" y="42"/>
                  </a:lnTo>
                  <a:lnTo>
                    <a:pt x="356" y="40"/>
                  </a:lnTo>
                  <a:lnTo>
                    <a:pt x="354" y="40"/>
                  </a:lnTo>
                  <a:lnTo>
                    <a:pt x="354" y="38"/>
                  </a:lnTo>
                  <a:lnTo>
                    <a:pt x="356" y="38"/>
                  </a:lnTo>
                  <a:lnTo>
                    <a:pt x="354" y="38"/>
                  </a:lnTo>
                  <a:lnTo>
                    <a:pt x="354" y="38"/>
                  </a:lnTo>
                  <a:lnTo>
                    <a:pt x="354" y="36"/>
                  </a:lnTo>
                  <a:lnTo>
                    <a:pt x="356" y="36"/>
                  </a:lnTo>
                  <a:lnTo>
                    <a:pt x="358" y="36"/>
                  </a:lnTo>
                  <a:lnTo>
                    <a:pt x="358" y="38"/>
                  </a:lnTo>
                  <a:lnTo>
                    <a:pt x="358" y="36"/>
                  </a:lnTo>
                  <a:lnTo>
                    <a:pt x="358" y="38"/>
                  </a:lnTo>
                  <a:lnTo>
                    <a:pt x="358" y="36"/>
                  </a:lnTo>
                  <a:lnTo>
                    <a:pt x="358" y="38"/>
                  </a:lnTo>
                  <a:lnTo>
                    <a:pt x="358" y="36"/>
                  </a:lnTo>
                  <a:lnTo>
                    <a:pt x="360" y="36"/>
                  </a:lnTo>
                  <a:lnTo>
                    <a:pt x="360" y="38"/>
                  </a:lnTo>
                  <a:lnTo>
                    <a:pt x="360" y="36"/>
                  </a:lnTo>
                  <a:lnTo>
                    <a:pt x="358" y="36"/>
                  </a:lnTo>
                  <a:lnTo>
                    <a:pt x="356" y="36"/>
                  </a:lnTo>
                  <a:lnTo>
                    <a:pt x="356" y="34"/>
                  </a:lnTo>
                  <a:lnTo>
                    <a:pt x="358" y="34"/>
                  </a:lnTo>
                  <a:lnTo>
                    <a:pt x="360" y="34"/>
                  </a:lnTo>
                  <a:lnTo>
                    <a:pt x="362" y="34"/>
                  </a:lnTo>
                  <a:lnTo>
                    <a:pt x="360" y="34"/>
                  </a:lnTo>
                  <a:lnTo>
                    <a:pt x="358" y="34"/>
                  </a:lnTo>
                  <a:lnTo>
                    <a:pt x="358" y="32"/>
                  </a:lnTo>
                  <a:lnTo>
                    <a:pt x="360" y="32"/>
                  </a:lnTo>
                  <a:lnTo>
                    <a:pt x="358" y="32"/>
                  </a:lnTo>
                  <a:lnTo>
                    <a:pt x="360" y="32"/>
                  </a:lnTo>
                  <a:lnTo>
                    <a:pt x="362" y="32"/>
                  </a:lnTo>
                  <a:lnTo>
                    <a:pt x="360" y="32"/>
                  </a:lnTo>
                  <a:lnTo>
                    <a:pt x="362" y="32"/>
                  </a:lnTo>
                  <a:lnTo>
                    <a:pt x="360" y="32"/>
                  </a:lnTo>
                  <a:lnTo>
                    <a:pt x="360" y="34"/>
                  </a:lnTo>
                  <a:lnTo>
                    <a:pt x="362" y="34"/>
                  </a:lnTo>
                  <a:lnTo>
                    <a:pt x="362" y="32"/>
                  </a:lnTo>
                  <a:lnTo>
                    <a:pt x="362" y="34"/>
                  </a:lnTo>
                  <a:lnTo>
                    <a:pt x="362" y="32"/>
                  </a:lnTo>
                  <a:lnTo>
                    <a:pt x="362" y="34"/>
                  </a:lnTo>
                  <a:lnTo>
                    <a:pt x="362" y="32"/>
                  </a:lnTo>
                  <a:lnTo>
                    <a:pt x="360" y="32"/>
                  </a:lnTo>
                  <a:lnTo>
                    <a:pt x="362" y="32"/>
                  </a:lnTo>
                  <a:lnTo>
                    <a:pt x="362" y="34"/>
                  </a:lnTo>
                  <a:lnTo>
                    <a:pt x="364" y="34"/>
                  </a:lnTo>
                  <a:lnTo>
                    <a:pt x="364" y="36"/>
                  </a:lnTo>
                  <a:lnTo>
                    <a:pt x="364" y="38"/>
                  </a:lnTo>
                  <a:lnTo>
                    <a:pt x="366" y="38"/>
                  </a:lnTo>
                  <a:lnTo>
                    <a:pt x="366" y="38"/>
                  </a:lnTo>
                  <a:lnTo>
                    <a:pt x="366" y="40"/>
                  </a:lnTo>
                  <a:lnTo>
                    <a:pt x="368" y="40"/>
                  </a:lnTo>
                  <a:lnTo>
                    <a:pt x="368" y="42"/>
                  </a:lnTo>
                  <a:lnTo>
                    <a:pt x="368" y="44"/>
                  </a:lnTo>
                  <a:lnTo>
                    <a:pt x="366" y="44"/>
                  </a:lnTo>
                  <a:lnTo>
                    <a:pt x="366" y="46"/>
                  </a:lnTo>
                  <a:lnTo>
                    <a:pt x="368" y="46"/>
                  </a:lnTo>
                  <a:lnTo>
                    <a:pt x="368" y="48"/>
                  </a:lnTo>
                  <a:lnTo>
                    <a:pt x="370" y="48"/>
                  </a:lnTo>
                  <a:lnTo>
                    <a:pt x="368" y="48"/>
                  </a:lnTo>
                  <a:lnTo>
                    <a:pt x="368" y="50"/>
                  </a:lnTo>
                  <a:lnTo>
                    <a:pt x="366" y="50"/>
                  </a:lnTo>
                  <a:lnTo>
                    <a:pt x="366" y="52"/>
                  </a:lnTo>
                  <a:lnTo>
                    <a:pt x="366" y="50"/>
                  </a:lnTo>
                  <a:lnTo>
                    <a:pt x="364" y="50"/>
                  </a:lnTo>
                  <a:lnTo>
                    <a:pt x="362" y="50"/>
                  </a:lnTo>
                  <a:lnTo>
                    <a:pt x="362" y="48"/>
                  </a:lnTo>
                  <a:lnTo>
                    <a:pt x="364" y="48"/>
                  </a:lnTo>
                  <a:lnTo>
                    <a:pt x="362" y="48"/>
                  </a:lnTo>
                  <a:lnTo>
                    <a:pt x="364" y="48"/>
                  </a:lnTo>
                  <a:lnTo>
                    <a:pt x="362" y="48"/>
                  </a:lnTo>
                  <a:lnTo>
                    <a:pt x="362" y="50"/>
                  </a:lnTo>
                  <a:lnTo>
                    <a:pt x="362" y="52"/>
                  </a:lnTo>
                  <a:lnTo>
                    <a:pt x="364" y="52"/>
                  </a:lnTo>
                  <a:lnTo>
                    <a:pt x="362" y="52"/>
                  </a:lnTo>
                  <a:lnTo>
                    <a:pt x="362" y="54"/>
                  </a:lnTo>
                  <a:lnTo>
                    <a:pt x="360" y="54"/>
                  </a:lnTo>
                  <a:lnTo>
                    <a:pt x="360" y="56"/>
                  </a:lnTo>
                  <a:lnTo>
                    <a:pt x="358" y="56"/>
                  </a:lnTo>
                  <a:lnTo>
                    <a:pt x="360" y="56"/>
                  </a:lnTo>
                  <a:lnTo>
                    <a:pt x="358" y="56"/>
                  </a:lnTo>
                  <a:lnTo>
                    <a:pt x="360" y="56"/>
                  </a:lnTo>
                  <a:lnTo>
                    <a:pt x="360" y="58"/>
                  </a:lnTo>
                  <a:lnTo>
                    <a:pt x="358" y="58"/>
                  </a:lnTo>
                  <a:lnTo>
                    <a:pt x="360" y="58"/>
                  </a:lnTo>
                  <a:lnTo>
                    <a:pt x="360" y="60"/>
                  </a:lnTo>
                  <a:lnTo>
                    <a:pt x="358" y="60"/>
                  </a:lnTo>
                  <a:lnTo>
                    <a:pt x="360" y="60"/>
                  </a:lnTo>
                  <a:lnTo>
                    <a:pt x="358" y="60"/>
                  </a:lnTo>
                  <a:lnTo>
                    <a:pt x="360" y="60"/>
                  </a:lnTo>
                  <a:lnTo>
                    <a:pt x="360" y="62"/>
                  </a:lnTo>
                  <a:lnTo>
                    <a:pt x="358" y="62"/>
                  </a:lnTo>
                  <a:lnTo>
                    <a:pt x="360" y="62"/>
                  </a:lnTo>
                  <a:lnTo>
                    <a:pt x="358" y="62"/>
                  </a:lnTo>
                  <a:lnTo>
                    <a:pt x="356" y="62"/>
                  </a:lnTo>
                  <a:lnTo>
                    <a:pt x="358" y="62"/>
                  </a:lnTo>
                  <a:lnTo>
                    <a:pt x="356" y="62"/>
                  </a:lnTo>
                  <a:lnTo>
                    <a:pt x="358" y="62"/>
                  </a:lnTo>
                  <a:lnTo>
                    <a:pt x="356" y="62"/>
                  </a:lnTo>
                  <a:lnTo>
                    <a:pt x="358" y="62"/>
                  </a:lnTo>
                  <a:lnTo>
                    <a:pt x="356" y="62"/>
                  </a:lnTo>
                  <a:lnTo>
                    <a:pt x="358" y="62"/>
                  </a:lnTo>
                  <a:lnTo>
                    <a:pt x="356" y="62"/>
                  </a:lnTo>
                  <a:lnTo>
                    <a:pt x="356" y="64"/>
                  </a:lnTo>
                  <a:lnTo>
                    <a:pt x="358" y="64"/>
                  </a:lnTo>
                  <a:lnTo>
                    <a:pt x="358" y="66"/>
                  </a:lnTo>
                  <a:lnTo>
                    <a:pt x="358" y="64"/>
                  </a:lnTo>
                  <a:lnTo>
                    <a:pt x="356" y="64"/>
                  </a:lnTo>
                  <a:lnTo>
                    <a:pt x="356" y="66"/>
                  </a:lnTo>
                  <a:lnTo>
                    <a:pt x="354" y="66"/>
                  </a:lnTo>
                  <a:lnTo>
                    <a:pt x="356" y="66"/>
                  </a:lnTo>
                  <a:lnTo>
                    <a:pt x="354" y="66"/>
                  </a:lnTo>
                  <a:lnTo>
                    <a:pt x="354" y="68"/>
                  </a:lnTo>
                  <a:lnTo>
                    <a:pt x="352" y="68"/>
                  </a:lnTo>
                  <a:lnTo>
                    <a:pt x="350" y="68"/>
                  </a:lnTo>
                  <a:lnTo>
                    <a:pt x="352" y="68"/>
                  </a:lnTo>
                  <a:lnTo>
                    <a:pt x="350" y="68"/>
                  </a:lnTo>
                  <a:lnTo>
                    <a:pt x="350" y="66"/>
                  </a:lnTo>
                  <a:lnTo>
                    <a:pt x="348" y="66"/>
                  </a:lnTo>
                  <a:lnTo>
                    <a:pt x="350" y="66"/>
                  </a:lnTo>
                  <a:lnTo>
                    <a:pt x="348" y="66"/>
                  </a:lnTo>
                  <a:lnTo>
                    <a:pt x="350" y="66"/>
                  </a:lnTo>
                  <a:lnTo>
                    <a:pt x="348" y="66"/>
                  </a:lnTo>
                  <a:lnTo>
                    <a:pt x="348" y="68"/>
                  </a:lnTo>
                  <a:lnTo>
                    <a:pt x="350" y="68"/>
                  </a:lnTo>
                  <a:lnTo>
                    <a:pt x="348" y="68"/>
                  </a:lnTo>
                  <a:lnTo>
                    <a:pt x="350" y="68"/>
                  </a:lnTo>
                  <a:lnTo>
                    <a:pt x="348" y="68"/>
                  </a:lnTo>
                  <a:lnTo>
                    <a:pt x="346" y="68"/>
                  </a:lnTo>
                  <a:lnTo>
                    <a:pt x="346" y="66"/>
                  </a:lnTo>
                  <a:lnTo>
                    <a:pt x="346" y="68"/>
                  </a:lnTo>
                  <a:lnTo>
                    <a:pt x="346" y="66"/>
                  </a:lnTo>
                  <a:lnTo>
                    <a:pt x="346" y="68"/>
                  </a:lnTo>
                  <a:lnTo>
                    <a:pt x="346" y="66"/>
                  </a:lnTo>
                  <a:lnTo>
                    <a:pt x="344" y="66"/>
                  </a:lnTo>
                  <a:lnTo>
                    <a:pt x="344" y="68"/>
                  </a:lnTo>
                  <a:lnTo>
                    <a:pt x="344" y="66"/>
                  </a:lnTo>
                  <a:lnTo>
                    <a:pt x="344" y="68"/>
                  </a:lnTo>
                  <a:lnTo>
                    <a:pt x="344" y="66"/>
                  </a:lnTo>
                  <a:lnTo>
                    <a:pt x="344" y="68"/>
                  </a:lnTo>
                  <a:lnTo>
                    <a:pt x="346" y="68"/>
                  </a:lnTo>
                  <a:lnTo>
                    <a:pt x="346" y="70"/>
                  </a:lnTo>
                  <a:lnTo>
                    <a:pt x="344" y="70"/>
                  </a:lnTo>
                  <a:lnTo>
                    <a:pt x="346" y="70"/>
                  </a:lnTo>
                  <a:lnTo>
                    <a:pt x="344" y="70"/>
                  </a:lnTo>
                  <a:lnTo>
                    <a:pt x="344" y="68"/>
                  </a:lnTo>
                  <a:lnTo>
                    <a:pt x="344" y="70"/>
                  </a:lnTo>
                  <a:lnTo>
                    <a:pt x="342" y="70"/>
                  </a:lnTo>
                  <a:lnTo>
                    <a:pt x="344" y="70"/>
                  </a:lnTo>
                  <a:lnTo>
                    <a:pt x="342" y="70"/>
                  </a:lnTo>
                  <a:lnTo>
                    <a:pt x="342" y="68"/>
                  </a:lnTo>
                  <a:lnTo>
                    <a:pt x="344" y="68"/>
                  </a:lnTo>
                  <a:lnTo>
                    <a:pt x="342" y="68"/>
                  </a:lnTo>
                  <a:lnTo>
                    <a:pt x="344" y="68"/>
                  </a:lnTo>
                  <a:lnTo>
                    <a:pt x="342" y="68"/>
                  </a:lnTo>
                  <a:lnTo>
                    <a:pt x="342" y="66"/>
                  </a:lnTo>
                  <a:lnTo>
                    <a:pt x="344" y="66"/>
                  </a:lnTo>
                  <a:lnTo>
                    <a:pt x="342" y="66"/>
                  </a:lnTo>
                  <a:lnTo>
                    <a:pt x="344" y="66"/>
                  </a:lnTo>
                  <a:lnTo>
                    <a:pt x="342" y="66"/>
                  </a:lnTo>
                  <a:lnTo>
                    <a:pt x="342" y="64"/>
                  </a:lnTo>
                  <a:lnTo>
                    <a:pt x="340" y="64"/>
                  </a:lnTo>
                  <a:lnTo>
                    <a:pt x="342" y="64"/>
                  </a:lnTo>
                  <a:lnTo>
                    <a:pt x="340" y="64"/>
                  </a:lnTo>
                  <a:lnTo>
                    <a:pt x="340" y="66"/>
                  </a:lnTo>
                  <a:lnTo>
                    <a:pt x="340" y="64"/>
                  </a:lnTo>
                  <a:lnTo>
                    <a:pt x="340" y="66"/>
                  </a:lnTo>
                  <a:lnTo>
                    <a:pt x="342" y="66"/>
                  </a:lnTo>
                  <a:lnTo>
                    <a:pt x="340" y="66"/>
                  </a:lnTo>
                  <a:lnTo>
                    <a:pt x="342" y="66"/>
                  </a:lnTo>
                  <a:lnTo>
                    <a:pt x="340" y="66"/>
                  </a:lnTo>
                  <a:lnTo>
                    <a:pt x="342" y="66"/>
                  </a:lnTo>
                  <a:lnTo>
                    <a:pt x="340" y="66"/>
                  </a:lnTo>
                  <a:lnTo>
                    <a:pt x="340" y="68"/>
                  </a:lnTo>
                  <a:lnTo>
                    <a:pt x="340" y="66"/>
                  </a:lnTo>
                  <a:lnTo>
                    <a:pt x="338" y="66"/>
                  </a:lnTo>
                  <a:lnTo>
                    <a:pt x="340" y="66"/>
                  </a:lnTo>
                  <a:lnTo>
                    <a:pt x="340" y="68"/>
                  </a:lnTo>
                  <a:lnTo>
                    <a:pt x="340" y="66"/>
                  </a:lnTo>
                  <a:lnTo>
                    <a:pt x="340" y="68"/>
                  </a:lnTo>
                  <a:lnTo>
                    <a:pt x="338" y="68"/>
                  </a:lnTo>
                  <a:lnTo>
                    <a:pt x="340" y="68"/>
                  </a:lnTo>
                  <a:lnTo>
                    <a:pt x="338" y="68"/>
                  </a:lnTo>
                  <a:lnTo>
                    <a:pt x="340" y="68"/>
                  </a:lnTo>
                  <a:lnTo>
                    <a:pt x="338" y="68"/>
                  </a:lnTo>
                  <a:lnTo>
                    <a:pt x="340" y="68"/>
                  </a:lnTo>
                  <a:lnTo>
                    <a:pt x="340" y="70"/>
                  </a:lnTo>
                  <a:lnTo>
                    <a:pt x="338" y="70"/>
                  </a:lnTo>
                  <a:lnTo>
                    <a:pt x="338" y="68"/>
                  </a:lnTo>
                  <a:lnTo>
                    <a:pt x="338" y="70"/>
                  </a:lnTo>
                  <a:lnTo>
                    <a:pt x="338" y="68"/>
                  </a:lnTo>
                  <a:lnTo>
                    <a:pt x="336" y="68"/>
                  </a:lnTo>
                  <a:lnTo>
                    <a:pt x="338" y="68"/>
                  </a:lnTo>
                  <a:lnTo>
                    <a:pt x="336" y="68"/>
                  </a:lnTo>
                  <a:lnTo>
                    <a:pt x="336" y="66"/>
                  </a:lnTo>
                  <a:lnTo>
                    <a:pt x="336" y="68"/>
                  </a:lnTo>
                  <a:lnTo>
                    <a:pt x="336" y="66"/>
                  </a:lnTo>
                  <a:lnTo>
                    <a:pt x="336" y="68"/>
                  </a:lnTo>
                  <a:lnTo>
                    <a:pt x="338" y="68"/>
                  </a:lnTo>
                  <a:lnTo>
                    <a:pt x="336" y="68"/>
                  </a:lnTo>
                  <a:lnTo>
                    <a:pt x="338" y="68"/>
                  </a:lnTo>
                  <a:lnTo>
                    <a:pt x="338" y="66"/>
                  </a:lnTo>
                  <a:lnTo>
                    <a:pt x="338" y="68"/>
                  </a:lnTo>
                  <a:lnTo>
                    <a:pt x="338" y="66"/>
                  </a:lnTo>
                  <a:lnTo>
                    <a:pt x="336" y="66"/>
                  </a:lnTo>
                  <a:lnTo>
                    <a:pt x="338" y="66"/>
                  </a:lnTo>
                  <a:lnTo>
                    <a:pt x="336" y="66"/>
                  </a:lnTo>
                  <a:lnTo>
                    <a:pt x="334" y="66"/>
                  </a:lnTo>
                  <a:lnTo>
                    <a:pt x="336" y="66"/>
                  </a:lnTo>
                  <a:lnTo>
                    <a:pt x="334" y="66"/>
                  </a:lnTo>
                  <a:lnTo>
                    <a:pt x="336" y="66"/>
                  </a:lnTo>
                  <a:lnTo>
                    <a:pt x="334" y="66"/>
                  </a:lnTo>
                  <a:lnTo>
                    <a:pt x="336" y="66"/>
                  </a:lnTo>
                  <a:lnTo>
                    <a:pt x="336" y="64"/>
                  </a:lnTo>
                  <a:lnTo>
                    <a:pt x="336" y="66"/>
                  </a:lnTo>
                  <a:lnTo>
                    <a:pt x="336" y="64"/>
                  </a:lnTo>
                  <a:lnTo>
                    <a:pt x="336" y="66"/>
                  </a:lnTo>
                  <a:lnTo>
                    <a:pt x="336" y="64"/>
                  </a:lnTo>
                  <a:lnTo>
                    <a:pt x="338" y="64"/>
                  </a:lnTo>
                  <a:lnTo>
                    <a:pt x="338" y="66"/>
                  </a:lnTo>
                  <a:lnTo>
                    <a:pt x="338" y="64"/>
                  </a:lnTo>
                  <a:lnTo>
                    <a:pt x="336" y="64"/>
                  </a:lnTo>
                  <a:lnTo>
                    <a:pt x="334" y="64"/>
                  </a:lnTo>
                  <a:lnTo>
                    <a:pt x="336" y="64"/>
                  </a:lnTo>
                  <a:lnTo>
                    <a:pt x="334" y="64"/>
                  </a:lnTo>
                  <a:lnTo>
                    <a:pt x="334" y="66"/>
                  </a:lnTo>
                  <a:lnTo>
                    <a:pt x="334" y="64"/>
                  </a:lnTo>
                  <a:lnTo>
                    <a:pt x="334" y="64"/>
                  </a:lnTo>
                  <a:lnTo>
                    <a:pt x="334" y="64"/>
                  </a:lnTo>
                  <a:lnTo>
                    <a:pt x="334" y="64"/>
                  </a:lnTo>
                  <a:lnTo>
                    <a:pt x="334" y="64"/>
                  </a:lnTo>
                  <a:lnTo>
                    <a:pt x="334" y="62"/>
                  </a:lnTo>
                  <a:lnTo>
                    <a:pt x="336" y="62"/>
                  </a:lnTo>
                  <a:lnTo>
                    <a:pt x="336" y="64"/>
                  </a:lnTo>
                  <a:lnTo>
                    <a:pt x="338" y="64"/>
                  </a:lnTo>
                  <a:lnTo>
                    <a:pt x="336" y="64"/>
                  </a:lnTo>
                  <a:lnTo>
                    <a:pt x="338" y="64"/>
                  </a:lnTo>
                  <a:lnTo>
                    <a:pt x="336" y="64"/>
                  </a:lnTo>
                  <a:lnTo>
                    <a:pt x="336" y="62"/>
                  </a:lnTo>
                  <a:lnTo>
                    <a:pt x="338" y="62"/>
                  </a:lnTo>
                  <a:lnTo>
                    <a:pt x="336" y="62"/>
                  </a:lnTo>
                  <a:lnTo>
                    <a:pt x="338" y="62"/>
                  </a:lnTo>
                  <a:lnTo>
                    <a:pt x="340" y="62"/>
                  </a:lnTo>
                  <a:lnTo>
                    <a:pt x="338" y="62"/>
                  </a:lnTo>
                  <a:lnTo>
                    <a:pt x="338" y="60"/>
                  </a:lnTo>
                  <a:lnTo>
                    <a:pt x="338" y="62"/>
                  </a:lnTo>
                  <a:lnTo>
                    <a:pt x="338" y="60"/>
                  </a:lnTo>
                  <a:lnTo>
                    <a:pt x="338" y="58"/>
                  </a:lnTo>
                  <a:lnTo>
                    <a:pt x="340" y="58"/>
                  </a:lnTo>
                  <a:lnTo>
                    <a:pt x="342" y="58"/>
                  </a:lnTo>
                  <a:lnTo>
                    <a:pt x="340" y="58"/>
                  </a:lnTo>
                  <a:lnTo>
                    <a:pt x="338" y="60"/>
                  </a:lnTo>
                  <a:lnTo>
                    <a:pt x="338" y="58"/>
                  </a:lnTo>
                  <a:lnTo>
                    <a:pt x="338" y="60"/>
                  </a:lnTo>
                  <a:lnTo>
                    <a:pt x="336" y="60"/>
                  </a:lnTo>
                  <a:lnTo>
                    <a:pt x="336" y="58"/>
                  </a:lnTo>
                  <a:lnTo>
                    <a:pt x="338" y="58"/>
                  </a:lnTo>
                  <a:lnTo>
                    <a:pt x="336" y="58"/>
                  </a:lnTo>
                  <a:lnTo>
                    <a:pt x="336" y="60"/>
                  </a:lnTo>
                  <a:lnTo>
                    <a:pt x="336" y="58"/>
                  </a:lnTo>
                  <a:lnTo>
                    <a:pt x="336" y="60"/>
                  </a:lnTo>
                  <a:lnTo>
                    <a:pt x="336" y="58"/>
                  </a:lnTo>
                  <a:lnTo>
                    <a:pt x="334" y="58"/>
                  </a:lnTo>
                  <a:lnTo>
                    <a:pt x="336" y="58"/>
                  </a:lnTo>
                  <a:lnTo>
                    <a:pt x="336" y="60"/>
                  </a:lnTo>
                  <a:lnTo>
                    <a:pt x="336" y="62"/>
                  </a:lnTo>
                  <a:lnTo>
                    <a:pt x="334" y="62"/>
                  </a:lnTo>
                  <a:lnTo>
                    <a:pt x="334" y="60"/>
                  </a:lnTo>
                  <a:lnTo>
                    <a:pt x="334" y="62"/>
                  </a:lnTo>
                  <a:lnTo>
                    <a:pt x="334" y="62"/>
                  </a:lnTo>
                  <a:lnTo>
                    <a:pt x="334" y="60"/>
                  </a:lnTo>
                  <a:lnTo>
                    <a:pt x="334" y="62"/>
                  </a:lnTo>
                  <a:lnTo>
                    <a:pt x="332" y="62"/>
                  </a:lnTo>
                  <a:lnTo>
                    <a:pt x="334" y="62"/>
                  </a:lnTo>
                  <a:lnTo>
                    <a:pt x="332" y="62"/>
                  </a:lnTo>
                  <a:lnTo>
                    <a:pt x="330" y="62"/>
                  </a:lnTo>
                  <a:lnTo>
                    <a:pt x="330" y="60"/>
                  </a:lnTo>
                  <a:lnTo>
                    <a:pt x="330" y="62"/>
                  </a:lnTo>
                  <a:lnTo>
                    <a:pt x="328" y="62"/>
                  </a:lnTo>
                  <a:lnTo>
                    <a:pt x="330" y="62"/>
                  </a:lnTo>
                  <a:lnTo>
                    <a:pt x="332" y="62"/>
                  </a:lnTo>
                  <a:lnTo>
                    <a:pt x="332" y="64"/>
                  </a:lnTo>
                  <a:lnTo>
                    <a:pt x="330" y="64"/>
                  </a:lnTo>
                  <a:lnTo>
                    <a:pt x="330" y="66"/>
                  </a:lnTo>
                  <a:lnTo>
                    <a:pt x="330" y="64"/>
                  </a:lnTo>
                  <a:lnTo>
                    <a:pt x="328" y="64"/>
                  </a:lnTo>
                  <a:lnTo>
                    <a:pt x="328" y="66"/>
                  </a:lnTo>
                  <a:lnTo>
                    <a:pt x="330" y="66"/>
                  </a:lnTo>
                  <a:lnTo>
                    <a:pt x="330" y="64"/>
                  </a:lnTo>
                  <a:lnTo>
                    <a:pt x="330" y="66"/>
                  </a:lnTo>
                  <a:lnTo>
                    <a:pt x="330" y="64"/>
                  </a:lnTo>
                  <a:lnTo>
                    <a:pt x="332" y="64"/>
                  </a:lnTo>
                  <a:lnTo>
                    <a:pt x="334" y="64"/>
                  </a:lnTo>
                  <a:lnTo>
                    <a:pt x="334" y="66"/>
                  </a:lnTo>
                  <a:lnTo>
                    <a:pt x="334" y="68"/>
                  </a:lnTo>
                  <a:lnTo>
                    <a:pt x="334" y="68"/>
                  </a:lnTo>
                  <a:lnTo>
                    <a:pt x="334" y="68"/>
                  </a:lnTo>
                  <a:lnTo>
                    <a:pt x="334" y="68"/>
                  </a:lnTo>
                  <a:lnTo>
                    <a:pt x="334" y="68"/>
                  </a:lnTo>
                  <a:lnTo>
                    <a:pt x="334" y="68"/>
                  </a:lnTo>
                  <a:lnTo>
                    <a:pt x="334" y="68"/>
                  </a:lnTo>
                  <a:lnTo>
                    <a:pt x="334" y="68"/>
                  </a:lnTo>
                  <a:lnTo>
                    <a:pt x="334" y="70"/>
                  </a:lnTo>
                  <a:lnTo>
                    <a:pt x="334" y="68"/>
                  </a:lnTo>
                  <a:lnTo>
                    <a:pt x="334" y="70"/>
                  </a:lnTo>
                  <a:lnTo>
                    <a:pt x="334" y="70"/>
                  </a:lnTo>
                  <a:lnTo>
                    <a:pt x="332" y="70"/>
                  </a:lnTo>
                  <a:lnTo>
                    <a:pt x="332" y="68"/>
                  </a:lnTo>
                  <a:lnTo>
                    <a:pt x="334" y="68"/>
                  </a:lnTo>
                  <a:lnTo>
                    <a:pt x="332" y="68"/>
                  </a:lnTo>
                  <a:lnTo>
                    <a:pt x="332" y="70"/>
                  </a:lnTo>
                  <a:lnTo>
                    <a:pt x="332" y="68"/>
                  </a:lnTo>
                  <a:lnTo>
                    <a:pt x="332" y="70"/>
                  </a:lnTo>
                  <a:lnTo>
                    <a:pt x="330" y="70"/>
                  </a:lnTo>
                  <a:lnTo>
                    <a:pt x="330" y="68"/>
                  </a:lnTo>
                  <a:lnTo>
                    <a:pt x="330" y="70"/>
                  </a:lnTo>
                  <a:lnTo>
                    <a:pt x="328" y="70"/>
                  </a:lnTo>
                  <a:lnTo>
                    <a:pt x="326" y="70"/>
                  </a:lnTo>
                  <a:lnTo>
                    <a:pt x="324" y="70"/>
                  </a:lnTo>
                  <a:lnTo>
                    <a:pt x="324" y="68"/>
                  </a:lnTo>
                  <a:lnTo>
                    <a:pt x="326" y="68"/>
                  </a:lnTo>
                  <a:lnTo>
                    <a:pt x="324" y="68"/>
                  </a:lnTo>
                  <a:lnTo>
                    <a:pt x="324" y="66"/>
                  </a:lnTo>
                  <a:lnTo>
                    <a:pt x="324" y="68"/>
                  </a:lnTo>
                  <a:lnTo>
                    <a:pt x="324" y="70"/>
                  </a:lnTo>
                  <a:lnTo>
                    <a:pt x="322" y="70"/>
                  </a:lnTo>
                  <a:lnTo>
                    <a:pt x="322" y="68"/>
                  </a:lnTo>
                  <a:lnTo>
                    <a:pt x="324" y="68"/>
                  </a:lnTo>
                  <a:lnTo>
                    <a:pt x="322" y="68"/>
                  </a:lnTo>
                  <a:lnTo>
                    <a:pt x="322" y="70"/>
                  </a:lnTo>
                  <a:lnTo>
                    <a:pt x="322" y="68"/>
                  </a:lnTo>
                  <a:lnTo>
                    <a:pt x="322" y="70"/>
                  </a:lnTo>
                  <a:lnTo>
                    <a:pt x="320" y="70"/>
                  </a:lnTo>
                  <a:lnTo>
                    <a:pt x="320" y="68"/>
                  </a:lnTo>
                  <a:lnTo>
                    <a:pt x="320" y="70"/>
                  </a:lnTo>
                  <a:lnTo>
                    <a:pt x="320" y="68"/>
                  </a:lnTo>
                  <a:lnTo>
                    <a:pt x="320" y="70"/>
                  </a:lnTo>
                  <a:lnTo>
                    <a:pt x="318" y="70"/>
                  </a:lnTo>
                  <a:lnTo>
                    <a:pt x="318" y="68"/>
                  </a:lnTo>
                  <a:lnTo>
                    <a:pt x="316" y="68"/>
                  </a:lnTo>
                  <a:lnTo>
                    <a:pt x="314" y="68"/>
                  </a:lnTo>
                  <a:lnTo>
                    <a:pt x="314" y="66"/>
                  </a:lnTo>
                  <a:lnTo>
                    <a:pt x="312" y="66"/>
                  </a:lnTo>
                  <a:lnTo>
                    <a:pt x="310" y="66"/>
                  </a:lnTo>
                  <a:lnTo>
                    <a:pt x="312" y="66"/>
                  </a:lnTo>
                  <a:lnTo>
                    <a:pt x="310" y="66"/>
                  </a:lnTo>
                  <a:lnTo>
                    <a:pt x="312" y="66"/>
                  </a:lnTo>
                  <a:lnTo>
                    <a:pt x="314" y="68"/>
                  </a:lnTo>
                  <a:lnTo>
                    <a:pt x="316" y="68"/>
                  </a:lnTo>
                  <a:lnTo>
                    <a:pt x="314" y="68"/>
                  </a:lnTo>
                  <a:lnTo>
                    <a:pt x="312" y="68"/>
                  </a:lnTo>
                  <a:lnTo>
                    <a:pt x="314" y="68"/>
                  </a:lnTo>
                  <a:lnTo>
                    <a:pt x="312" y="68"/>
                  </a:lnTo>
                  <a:lnTo>
                    <a:pt x="314" y="68"/>
                  </a:lnTo>
                  <a:lnTo>
                    <a:pt x="314" y="70"/>
                  </a:lnTo>
                  <a:lnTo>
                    <a:pt x="316" y="70"/>
                  </a:lnTo>
                  <a:lnTo>
                    <a:pt x="318" y="70"/>
                  </a:lnTo>
                  <a:lnTo>
                    <a:pt x="318" y="72"/>
                  </a:lnTo>
                  <a:lnTo>
                    <a:pt x="318" y="74"/>
                  </a:lnTo>
                  <a:lnTo>
                    <a:pt x="320" y="74"/>
                  </a:lnTo>
                  <a:lnTo>
                    <a:pt x="320" y="72"/>
                  </a:lnTo>
                  <a:lnTo>
                    <a:pt x="318" y="72"/>
                  </a:lnTo>
                  <a:lnTo>
                    <a:pt x="320" y="72"/>
                  </a:lnTo>
                  <a:lnTo>
                    <a:pt x="318" y="72"/>
                  </a:lnTo>
                  <a:lnTo>
                    <a:pt x="320" y="72"/>
                  </a:lnTo>
                  <a:lnTo>
                    <a:pt x="318" y="72"/>
                  </a:lnTo>
                  <a:lnTo>
                    <a:pt x="320" y="72"/>
                  </a:lnTo>
                  <a:lnTo>
                    <a:pt x="318" y="72"/>
                  </a:lnTo>
                  <a:lnTo>
                    <a:pt x="320" y="72"/>
                  </a:lnTo>
                  <a:lnTo>
                    <a:pt x="318" y="72"/>
                  </a:lnTo>
                  <a:lnTo>
                    <a:pt x="320" y="70"/>
                  </a:lnTo>
                  <a:lnTo>
                    <a:pt x="322" y="70"/>
                  </a:lnTo>
                  <a:lnTo>
                    <a:pt x="322" y="72"/>
                  </a:lnTo>
                  <a:lnTo>
                    <a:pt x="322" y="70"/>
                  </a:lnTo>
                  <a:lnTo>
                    <a:pt x="324" y="70"/>
                  </a:lnTo>
                  <a:lnTo>
                    <a:pt x="324" y="72"/>
                  </a:lnTo>
                  <a:lnTo>
                    <a:pt x="326" y="72"/>
                  </a:lnTo>
                  <a:lnTo>
                    <a:pt x="326" y="74"/>
                  </a:lnTo>
                  <a:lnTo>
                    <a:pt x="324" y="74"/>
                  </a:lnTo>
                  <a:lnTo>
                    <a:pt x="324" y="72"/>
                  </a:lnTo>
                  <a:lnTo>
                    <a:pt x="324" y="74"/>
                  </a:lnTo>
                  <a:lnTo>
                    <a:pt x="326" y="74"/>
                  </a:lnTo>
                  <a:lnTo>
                    <a:pt x="326" y="72"/>
                  </a:lnTo>
                  <a:lnTo>
                    <a:pt x="326" y="74"/>
                  </a:lnTo>
                  <a:lnTo>
                    <a:pt x="326" y="72"/>
                  </a:lnTo>
                  <a:lnTo>
                    <a:pt x="328" y="72"/>
                  </a:lnTo>
                  <a:lnTo>
                    <a:pt x="330" y="72"/>
                  </a:lnTo>
                  <a:lnTo>
                    <a:pt x="332" y="72"/>
                  </a:lnTo>
                  <a:lnTo>
                    <a:pt x="330" y="72"/>
                  </a:lnTo>
                  <a:lnTo>
                    <a:pt x="330" y="74"/>
                  </a:lnTo>
                  <a:lnTo>
                    <a:pt x="328" y="74"/>
                  </a:lnTo>
                  <a:lnTo>
                    <a:pt x="328" y="77"/>
                  </a:lnTo>
                  <a:lnTo>
                    <a:pt x="328" y="74"/>
                  </a:lnTo>
                  <a:lnTo>
                    <a:pt x="328" y="77"/>
                  </a:lnTo>
                  <a:lnTo>
                    <a:pt x="328" y="79"/>
                  </a:lnTo>
                  <a:lnTo>
                    <a:pt x="330" y="79"/>
                  </a:lnTo>
                  <a:lnTo>
                    <a:pt x="328" y="79"/>
                  </a:lnTo>
                  <a:lnTo>
                    <a:pt x="330" y="79"/>
                  </a:lnTo>
                  <a:lnTo>
                    <a:pt x="328" y="79"/>
                  </a:lnTo>
                  <a:lnTo>
                    <a:pt x="328" y="77"/>
                  </a:lnTo>
                  <a:lnTo>
                    <a:pt x="330" y="77"/>
                  </a:lnTo>
                  <a:lnTo>
                    <a:pt x="330" y="74"/>
                  </a:lnTo>
                  <a:lnTo>
                    <a:pt x="332" y="74"/>
                  </a:lnTo>
                  <a:lnTo>
                    <a:pt x="332" y="77"/>
                  </a:lnTo>
                  <a:lnTo>
                    <a:pt x="332" y="74"/>
                  </a:lnTo>
                  <a:lnTo>
                    <a:pt x="332" y="72"/>
                  </a:lnTo>
                  <a:lnTo>
                    <a:pt x="332" y="74"/>
                  </a:lnTo>
                  <a:lnTo>
                    <a:pt x="334" y="74"/>
                  </a:lnTo>
                  <a:lnTo>
                    <a:pt x="332" y="74"/>
                  </a:lnTo>
                  <a:lnTo>
                    <a:pt x="334" y="74"/>
                  </a:lnTo>
                  <a:lnTo>
                    <a:pt x="334" y="72"/>
                  </a:lnTo>
                  <a:lnTo>
                    <a:pt x="334" y="72"/>
                  </a:lnTo>
                  <a:lnTo>
                    <a:pt x="334" y="74"/>
                  </a:lnTo>
                  <a:lnTo>
                    <a:pt x="334" y="74"/>
                  </a:lnTo>
                  <a:lnTo>
                    <a:pt x="334" y="74"/>
                  </a:lnTo>
                  <a:lnTo>
                    <a:pt x="334" y="74"/>
                  </a:lnTo>
                  <a:lnTo>
                    <a:pt x="334" y="74"/>
                  </a:lnTo>
                  <a:lnTo>
                    <a:pt x="334" y="77"/>
                  </a:lnTo>
                  <a:lnTo>
                    <a:pt x="334" y="77"/>
                  </a:lnTo>
                  <a:lnTo>
                    <a:pt x="334" y="77"/>
                  </a:lnTo>
                  <a:lnTo>
                    <a:pt x="334" y="77"/>
                  </a:lnTo>
                  <a:lnTo>
                    <a:pt x="334" y="77"/>
                  </a:lnTo>
                  <a:lnTo>
                    <a:pt x="336" y="77"/>
                  </a:lnTo>
                  <a:lnTo>
                    <a:pt x="336" y="79"/>
                  </a:lnTo>
                  <a:lnTo>
                    <a:pt x="336" y="81"/>
                  </a:lnTo>
                  <a:lnTo>
                    <a:pt x="334" y="81"/>
                  </a:lnTo>
                  <a:lnTo>
                    <a:pt x="336" y="81"/>
                  </a:lnTo>
                  <a:lnTo>
                    <a:pt x="334" y="81"/>
                  </a:lnTo>
                  <a:lnTo>
                    <a:pt x="336" y="81"/>
                  </a:lnTo>
                  <a:lnTo>
                    <a:pt x="336" y="83"/>
                  </a:lnTo>
                  <a:lnTo>
                    <a:pt x="336" y="81"/>
                  </a:lnTo>
                  <a:lnTo>
                    <a:pt x="336" y="83"/>
                  </a:lnTo>
                  <a:lnTo>
                    <a:pt x="334" y="83"/>
                  </a:lnTo>
                  <a:lnTo>
                    <a:pt x="334" y="81"/>
                  </a:lnTo>
                  <a:lnTo>
                    <a:pt x="334" y="81"/>
                  </a:lnTo>
                  <a:lnTo>
                    <a:pt x="334" y="83"/>
                  </a:lnTo>
                  <a:lnTo>
                    <a:pt x="334" y="81"/>
                  </a:lnTo>
                  <a:lnTo>
                    <a:pt x="334" y="81"/>
                  </a:lnTo>
                  <a:lnTo>
                    <a:pt x="334" y="83"/>
                  </a:lnTo>
                  <a:lnTo>
                    <a:pt x="334" y="81"/>
                  </a:lnTo>
                  <a:lnTo>
                    <a:pt x="334" y="83"/>
                  </a:lnTo>
                  <a:lnTo>
                    <a:pt x="334" y="83"/>
                  </a:lnTo>
                  <a:lnTo>
                    <a:pt x="334" y="83"/>
                  </a:lnTo>
                  <a:lnTo>
                    <a:pt x="334" y="85"/>
                  </a:lnTo>
                  <a:lnTo>
                    <a:pt x="332" y="85"/>
                  </a:lnTo>
                  <a:lnTo>
                    <a:pt x="332" y="87"/>
                  </a:lnTo>
                  <a:lnTo>
                    <a:pt x="330" y="87"/>
                  </a:lnTo>
                  <a:lnTo>
                    <a:pt x="332" y="87"/>
                  </a:lnTo>
                  <a:lnTo>
                    <a:pt x="332" y="85"/>
                  </a:lnTo>
                  <a:lnTo>
                    <a:pt x="334" y="85"/>
                  </a:lnTo>
                  <a:lnTo>
                    <a:pt x="334" y="87"/>
                  </a:lnTo>
                  <a:lnTo>
                    <a:pt x="332" y="87"/>
                  </a:lnTo>
                  <a:lnTo>
                    <a:pt x="334" y="87"/>
                  </a:lnTo>
                  <a:lnTo>
                    <a:pt x="332" y="87"/>
                  </a:lnTo>
                  <a:lnTo>
                    <a:pt x="334" y="87"/>
                  </a:lnTo>
                  <a:lnTo>
                    <a:pt x="334" y="85"/>
                  </a:lnTo>
                  <a:lnTo>
                    <a:pt x="334" y="87"/>
                  </a:lnTo>
                  <a:lnTo>
                    <a:pt x="334" y="85"/>
                  </a:lnTo>
                  <a:lnTo>
                    <a:pt x="334" y="85"/>
                  </a:lnTo>
                  <a:lnTo>
                    <a:pt x="334" y="85"/>
                  </a:lnTo>
                  <a:lnTo>
                    <a:pt x="334" y="85"/>
                  </a:lnTo>
                  <a:lnTo>
                    <a:pt x="334" y="83"/>
                  </a:lnTo>
                  <a:lnTo>
                    <a:pt x="334" y="85"/>
                  </a:lnTo>
                  <a:lnTo>
                    <a:pt x="334" y="83"/>
                  </a:lnTo>
                  <a:lnTo>
                    <a:pt x="334" y="85"/>
                  </a:lnTo>
                  <a:lnTo>
                    <a:pt x="334" y="83"/>
                  </a:lnTo>
                  <a:lnTo>
                    <a:pt x="334" y="85"/>
                  </a:lnTo>
                  <a:lnTo>
                    <a:pt x="336" y="85"/>
                  </a:lnTo>
                  <a:lnTo>
                    <a:pt x="334" y="85"/>
                  </a:lnTo>
                  <a:lnTo>
                    <a:pt x="336" y="85"/>
                  </a:lnTo>
                  <a:lnTo>
                    <a:pt x="336" y="83"/>
                  </a:lnTo>
                  <a:lnTo>
                    <a:pt x="336" y="85"/>
                  </a:lnTo>
                  <a:lnTo>
                    <a:pt x="336" y="83"/>
                  </a:lnTo>
                  <a:lnTo>
                    <a:pt x="336" y="85"/>
                  </a:lnTo>
                  <a:lnTo>
                    <a:pt x="336" y="83"/>
                  </a:lnTo>
                  <a:lnTo>
                    <a:pt x="336" y="85"/>
                  </a:lnTo>
                  <a:lnTo>
                    <a:pt x="336" y="83"/>
                  </a:lnTo>
                  <a:lnTo>
                    <a:pt x="336" y="85"/>
                  </a:lnTo>
                  <a:lnTo>
                    <a:pt x="336" y="83"/>
                  </a:lnTo>
                  <a:lnTo>
                    <a:pt x="336" y="85"/>
                  </a:lnTo>
                  <a:lnTo>
                    <a:pt x="338" y="85"/>
                  </a:lnTo>
                  <a:lnTo>
                    <a:pt x="336" y="85"/>
                  </a:lnTo>
                  <a:lnTo>
                    <a:pt x="338" y="85"/>
                  </a:lnTo>
                  <a:lnTo>
                    <a:pt x="336" y="85"/>
                  </a:lnTo>
                  <a:lnTo>
                    <a:pt x="338" y="85"/>
                  </a:lnTo>
                  <a:lnTo>
                    <a:pt x="338" y="83"/>
                  </a:lnTo>
                  <a:lnTo>
                    <a:pt x="338" y="85"/>
                  </a:lnTo>
                  <a:lnTo>
                    <a:pt x="338" y="83"/>
                  </a:lnTo>
                  <a:lnTo>
                    <a:pt x="336" y="83"/>
                  </a:lnTo>
                  <a:lnTo>
                    <a:pt x="338" y="83"/>
                  </a:lnTo>
                  <a:lnTo>
                    <a:pt x="340" y="83"/>
                  </a:lnTo>
                  <a:lnTo>
                    <a:pt x="340" y="85"/>
                  </a:lnTo>
                  <a:lnTo>
                    <a:pt x="338" y="85"/>
                  </a:lnTo>
                  <a:lnTo>
                    <a:pt x="338" y="87"/>
                  </a:lnTo>
                  <a:lnTo>
                    <a:pt x="338" y="85"/>
                  </a:lnTo>
                  <a:lnTo>
                    <a:pt x="338" y="87"/>
                  </a:lnTo>
                  <a:lnTo>
                    <a:pt x="336" y="87"/>
                  </a:lnTo>
                  <a:lnTo>
                    <a:pt x="338" y="87"/>
                  </a:lnTo>
                  <a:lnTo>
                    <a:pt x="336" y="87"/>
                  </a:lnTo>
                  <a:lnTo>
                    <a:pt x="338" y="87"/>
                  </a:lnTo>
                  <a:lnTo>
                    <a:pt x="336" y="87"/>
                  </a:lnTo>
                  <a:lnTo>
                    <a:pt x="338" y="87"/>
                  </a:lnTo>
                  <a:lnTo>
                    <a:pt x="336" y="87"/>
                  </a:lnTo>
                  <a:lnTo>
                    <a:pt x="336" y="87"/>
                  </a:lnTo>
                  <a:lnTo>
                    <a:pt x="334" y="87"/>
                  </a:lnTo>
                  <a:lnTo>
                    <a:pt x="336" y="87"/>
                  </a:lnTo>
                  <a:lnTo>
                    <a:pt x="336" y="87"/>
                  </a:lnTo>
                  <a:lnTo>
                    <a:pt x="336" y="87"/>
                  </a:lnTo>
                  <a:lnTo>
                    <a:pt x="336" y="87"/>
                  </a:lnTo>
                  <a:lnTo>
                    <a:pt x="336" y="87"/>
                  </a:lnTo>
                  <a:lnTo>
                    <a:pt x="336" y="87"/>
                  </a:lnTo>
                  <a:lnTo>
                    <a:pt x="336" y="87"/>
                  </a:lnTo>
                  <a:lnTo>
                    <a:pt x="336" y="87"/>
                  </a:lnTo>
                  <a:lnTo>
                    <a:pt x="338" y="87"/>
                  </a:lnTo>
                  <a:lnTo>
                    <a:pt x="338" y="87"/>
                  </a:lnTo>
                  <a:lnTo>
                    <a:pt x="336" y="87"/>
                  </a:lnTo>
                  <a:lnTo>
                    <a:pt x="336" y="89"/>
                  </a:lnTo>
                  <a:lnTo>
                    <a:pt x="334" y="89"/>
                  </a:lnTo>
                  <a:lnTo>
                    <a:pt x="336" y="89"/>
                  </a:lnTo>
                  <a:lnTo>
                    <a:pt x="334" y="89"/>
                  </a:lnTo>
                  <a:lnTo>
                    <a:pt x="336" y="89"/>
                  </a:lnTo>
                  <a:lnTo>
                    <a:pt x="334" y="89"/>
                  </a:lnTo>
                  <a:lnTo>
                    <a:pt x="334" y="91"/>
                  </a:lnTo>
                  <a:lnTo>
                    <a:pt x="334" y="89"/>
                  </a:lnTo>
                  <a:lnTo>
                    <a:pt x="334" y="91"/>
                  </a:lnTo>
                  <a:lnTo>
                    <a:pt x="334" y="89"/>
                  </a:lnTo>
                  <a:lnTo>
                    <a:pt x="334" y="89"/>
                  </a:lnTo>
                  <a:lnTo>
                    <a:pt x="334" y="89"/>
                  </a:lnTo>
                  <a:lnTo>
                    <a:pt x="334" y="89"/>
                  </a:lnTo>
                  <a:lnTo>
                    <a:pt x="334" y="89"/>
                  </a:lnTo>
                  <a:lnTo>
                    <a:pt x="334" y="91"/>
                  </a:lnTo>
                  <a:lnTo>
                    <a:pt x="334" y="89"/>
                  </a:lnTo>
                  <a:lnTo>
                    <a:pt x="334" y="91"/>
                  </a:lnTo>
                  <a:lnTo>
                    <a:pt x="334" y="89"/>
                  </a:lnTo>
                  <a:lnTo>
                    <a:pt x="334" y="91"/>
                  </a:lnTo>
                  <a:lnTo>
                    <a:pt x="334" y="89"/>
                  </a:lnTo>
                  <a:lnTo>
                    <a:pt x="334" y="91"/>
                  </a:lnTo>
                  <a:lnTo>
                    <a:pt x="334" y="89"/>
                  </a:lnTo>
                  <a:lnTo>
                    <a:pt x="334" y="89"/>
                  </a:lnTo>
                  <a:lnTo>
                    <a:pt x="334" y="91"/>
                  </a:lnTo>
                  <a:lnTo>
                    <a:pt x="334" y="91"/>
                  </a:lnTo>
                  <a:lnTo>
                    <a:pt x="334" y="91"/>
                  </a:lnTo>
                  <a:lnTo>
                    <a:pt x="334" y="91"/>
                  </a:lnTo>
                  <a:lnTo>
                    <a:pt x="334" y="91"/>
                  </a:lnTo>
                  <a:lnTo>
                    <a:pt x="334" y="91"/>
                  </a:lnTo>
                  <a:lnTo>
                    <a:pt x="334" y="91"/>
                  </a:lnTo>
                  <a:lnTo>
                    <a:pt x="334" y="93"/>
                  </a:lnTo>
                  <a:lnTo>
                    <a:pt x="332" y="93"/>
                  </a:lnTo>
                  <a:lnTo>
                    <a:pt x="332" y="95"/>
                  </a:lnTo>
                  <a:lnTo>
                    <a:pt x="330" y="95"/>
                  </a:lnTo>
                  <a:lnTo>
                    <a:pt x="330" y="93"/>
                  </a:lnTo>
                  <a:lnTo>
                    <a:pt x="328" y="93"/>
                  </a:lnTo>
                  <a:lnTo>
                    <a:pt x="328" y="91"/>
                  </a:lnTo>
                  <a:lnTo>
                    <a:pt x="328" y="93"/>
                  </a:lnTo>
                  <a:lnTo>
                    <a:pt x="326" y="93"/>
                  </a:lnTo>
                  <a:lnTo>
                    <a:pt x="326" y="91"/>
                  </a:lnTo>
                  <a:lnTo>
                    <a:pt x="326" y="89"/>
                  </a:lnTo>
                  <a:lnTo>
                    <a:pt x="326" y="91"/>
                  </a:lnTo>
                  <a:lnTo>
                    <a:pt x="324" y="91"/>
                  </a:lnTo>
                  <a:lnTo>
                    <a:pt x="324" y="89"/>
                  </a:lnTo>
                  <a:lnTo>
                    <a:pt x="324" y="87"/>
                  </a:lnTo>
                  <a:lnTo>
                    <a:pt x="324" y="89"/>
                  </a:lnTo>
                  <a:lnTo>
                    <a:pt x="324" y="91"/>
                  </a:lnTo>
                  <a:lnTo>
                    <a:pt x="322" y="91"/>
                  </a:lnTo>
                  <a:lnTo>
                    <a:pt x="322" y="89"/>
                  </a:lnTo>
                  <a:lnTo>
                    <a:pt x="322" y="91"/>
                  </a:lnTo>
                  <a:lnTo>
                    <a:pt x="324" y="91"/>
                  </a:lnTo>
                  <a:lnTo>
                    <a:pt x="322" y="91"/>
                  </a:lnTo>
                  <a:lnTo>
                    <a:pt x="322" y="89"/>
                  </a:lnTo>
                  <a:lnTo>
                    <a:pt x="322" y="91"/>
                  </a:lnTo>
                  <a:lnTo>
                    <a:pt x="324" y="91"/>
                  </a:lnTo>
                  <a:lnTo>
                    <a:pt x="322" y="91"/>
                  </a:lnTo>
                  <a:lnTo>
                    <a:pt x="322" y="89"/>
                  </a:lnTo>
                  <a:lnTo>
                    <a:pt x="320" y="89"/>
                  </a:lnTo>
                  <a:lnTo>
                    <a:pt x="322" y="89"/>
                  </a:lnTo>
                  <a:lnTo>
                    <a:pt x="320" y="89"/>
                  </a:lnTo>
                  <a:lnTo>
                    <a:pt x="322" y="89"/>
                  </a:lnTo>
                  <a:lnTo>
                    <a:pt x="320" y="89"/>
                  </a:lnTo>
                  <a:lnTo>
                    <a:pt x="320" y="87"/>
                  </a:lnTo>
                  <a:lnTo>
                    <a:pt x="318" y="87"/>
                  </a:lnTo>
                  <a:lnTo>
                    <a:pt x="320" y="87"/>
                  </a:lnTo>
                  <a:lnTo>
                    <a:pt x="318" y="87"/>
                  </a:lnTo>
                  <a:lnTo>
                    <a:pt x="316" y="87"/>
                  </a:lnTo>
                  <a:lnTo>
                    <a:pt x="318" y="87"/>
                  </a:lnTo>
                  <a:lnTo>
                    <a:pt x="318" y="89"/>
                  </a:lnTo>
                  <a:lnTo>
                    <a:pt x="318" y="87"/>
                  </a:lnTo>
                  <a:lnTo>
                    <a:pt x="318" y="89"/>
                  </a:lnTo>
                  <a:lnTo>
                    <a:pt x="320" y="89"/>
                  </a:lnTo>
                  <a:lnTo>
                    <a:pt x="318" y="89"/>
                  </a:lnTo>
                  <a:lnTo>
                    <a:pt x="320" y="89"/>
                  </a:lnTo>
                  <a:lnTo>
                    <a:pt x="320" y="91"/>
                  </a:lnTo>
                  <a:lnTo>
                    <a:pt x="318" y="91"/>
                  </a:lnTo>
                  <a:lnTo>
                    <a:pt x="320" y="91"/>
                  </a:lnTo>
                  <a:lnTo>
                    <a:pt x="318" y="91"/>
                  </a:lnTo>
                  <a:lnTo>
                    <a:pt x="316" y="91"/>
                  </a:lnTo>
                  <a:lnTo>
                    <a:pt x="316" y="93"/>
                  </a:lnTo>
                  <a:lnTo>
                    <a:pt x="314" y="93"/>
                  </a:lnTo>
                  <a:lnTo>
                    <a:pt x="316" y="93"/>
                  </a:lnTo>
                  <a:lnTo>
                    <a:pt x="316" y="91"/>
                  </a:lnTo>
                  <a:lnTo>
                    <a:pt x="318" y="91"/>
                  </a:lnTo>
                  <a:lnTo>
                    <a:pt x="318" y="93"/>
                  </a:lnTo>
                  <a:lnTo>
                    <a:pt x="318" y="91"/>
                  </a:lnTo>
                  <a:lnTo>
                    <a:pt x="316" y="91"/>
                  </a:lnTo>
                  <a:lnTo>
                    <a:pt x="318" y="91"/>
                  </a:lnTo>
                  <a:lnTo>
                    <a:pt x="320" y="91"/>
                  </a:lnTo>
                  <a:lnTo>
                    <a:pt x="318" y="91"/>
                  </a:lnTo>
                  <a:lnTo>
                    <a:pt x="320" y="91"/>
                  </a:lnTo>
                  <a:lnTo>
                    <a:pt x="320" y="93"/>
                  </a:lnTo>
                  <a:lnTo>
                    <a:pt x="320" y="91"/>
                  </a:lnTo>
                  <a:lnTo>
                    <a:pt x="320" y="93"/>
                  </a:lnTo>
                  <a:lnTo>
                    <a:pt x="320" y="91"/>
                  </a:lnTo>
                  <a:lnTo>
                    <a:pt x="320" y="93"/>
                  </a:lnTo>
                  <a:lnTo>
                    <a:pt x="320" y="91"/>
                  </a:lnTo>
                  <a:lnTo>
                    <a:pt x="318" y="91"/>
                  </a:lnTo>
                  <a:lnTo>
                    <a:pt x="320" y="91"/>
                  </a:lnTo>
                  <a:lnTo>
                    <a:pt x="318" y="91"/>
                  </a:lnTo>
                  <a:lnTo>
                    <a:pt x="320" y="91"/>
                  </a:lnTo>
                  <a:lnTo>
                    <a:pt x="320" y="89"/>
                  </a:lnTo>
                  <a:lnTo>
                    <a:pt x="320" y="91"/>
                  </a:lnTo>
                  <a:lnTo>
                    <a:pt x="320" y="89"/>
                  </a:lnTo>
                  <a:lnTo>
                    <a:pt x="320" y="91"/>
                  </a:lnTo>
                  <a:lnTo>
                    <a:pt x="322" y="91"/>
                  </a:lnTo>
                  <a:lnTo>
                    <a:pt x="322" y="93"/>
                  </a:lnTo>
                  <a:lnTo>
                    <a:pt x="324" y="93"/>
                  </a:lnTo>
                  <a:lnTo>
                    <a:pt x="324" y="95"/>
                  </a:lnTo>
                  <a:lnTo>
                    <a:pt x="326" y="95"/>
                  </a:lnTo>
                  <a:lnTo>
                    <a:pt x="328" y="95"/>
                  </a:lnTo>
                  <a:lnTo>
                    <a:pt x="328" y="97"/>
                  </a:lnTo>
                  <a:lnTo>
                    <a:pt x="328" y="95"/>
                  </a:lnTo>
                  <a:lnTo>
                    <a:pt x="328" y="97"/>
                  </a:lnTo>
                  <a:lnTo>
                    <a:pt x="328" y="95"/>
                  </a:lnTo>
                  <a:lnTo>
                    <a:pt x="328" y="97"/>
                  </a:lnTo>
                  <a:lnTo>
                    <a:pt x="326" y="97"/>
                  </a:lnTo>
                  <a:lnTo>
                    <a:pt x="328" y="97"/>
                  </a:lnTo>
                  <a:lnTo>
                    <a:pt x="328" y="99"/>
                  </a:lnTo>
                  <a:lnTo>
                    <a:pt x="328" y="97"/>
                  </a:lnTo>
                  <a:lnTo>
                    <a:pt x="330" y="97"/>
                  </a:lnTo>
                  <a:lnTo>
                    <a:pt x="330" y="99"/>
                  </a:lnTo>
                  <a:lnTo>
                    <a:pt x="330" y="97"/>
                  </a:lnTo>
                  <a:lnTo>
                    <a:pt x="330" y="99"/>
                  </a:lnTo>
                  <a:lnTo>
                    <a:pt x="330" y="97"/>
                  </a:lnTo>
                  <a:lnTo>
                    <a:pt x="332" y="97"/>
                  </a:lnTo>
                  <a:lnTo>
                    <a:pt x="332" y="99"/>
                  </a:lnTo>
                  <a:lnTo>
                    <a:pt x="332" y="97"/>
                  </a:lnTo>
                  <a:lnTo>
                    <a:pt x="330" y="97"/>
                  </a:lnTo>
                  <a:lnTo>
                    <a:pt x="332" y="97"/>
                  </a:lnTo>
                  <a:lnTo>
                    <a:pt x="332" y="95"/>
                  </a:lnTo>
                  <a:lnTo>
                    <a:pt x="332" y="97"/>
                  </a:lnTo>
                  <a:lnTo>
                    <a:pt x="334" y="97"/>
                  </a:lnTo>
                  <a:lnTo>
                    <a:pt x="334" y="99"/>
                  </a:lnTo>
                  <a:lnTo>
                    <a:pt x="334" y="97"/>
                  </a:lnTo>
                  <a:lnTo>
                    <a:pt x="334" y="99"/>
                  </a:lnTo>
                  <a:lnTo>
                    <a:pt x="334" y="99"/>
                  </a:lnTo>
                  <a:lnTo>
                    <a:pt x="334" y="99"/>
                  </a:lnTo>
                  <a:lnTo>
                    <a:pt x="334" y="99"/>
                  </a:lnTo>
                  <a:lnTo>
                    <a:pt x="334" y="99"/>
                  </a:lnTo>
                  <a:lnTo>
                    <a:pt x="334" y="97"/>
                  </a:lnTo>
                  <a:lnTo>
                    <a:pt x="334" y="97"/>
                  </a:lnTo>
                  <a:lnTo>
                    <a:pt x="334" y="97"/>
                  </a:lnTo>
                  <a:lnTo>
                    <a:pt x="334" y="97"/>
                  </a:lnTo>
                  <a:lnTo>
                    <a:pt x="334" y="95"/>
                  </a:lnTo>
                  <a:lnTo>
                    <a:pt x="334" y="97"/>
                  </a:lnTo>
                  <a:lnTo>
                    <a:pt x="334" y="95"/>
                  </a:lnTo>
                  <a:lnTo>
                    <a:pt x="334" y="93"/>
                  </a:lnTo>
                  <a:lnTo>
                    <a:pt x="336" y="93"/>
                  </a:lnTo>
                  <a:lnTo>
                    <a:pt x="336" y="95"/>
                  </a:lnTo>
                  <a:lnTo>
                    <a:pt x="336" y="93"/>
                  </a:lnTo>
                  <a:lnTo>
                    <a:pt x="336" y="95"/>
                  </a:lnTo>
                  <a:lnTo>
                    <a:pt x="336" y="93"/>
                  </a:lnTo>
                  <a:lnTo>
                    <a:pt x="336" y="95"/>
                  </a:lnTo>
                  <a:lnTo>
                    <a:pt x="336" y="97"/>
                  </a:lnTo>
                  <a:lnTo>
                    <a:pt x="336" y="99"/>
                  </a:lnTo>
                  <a:lnTo>
                    <a:pt x="336" y="101"/>
                  </a:lnTo>
                  <a:lnTo>
                    <a:pt x="338" y="101"/>
                  </a:lnTo>
                  <a:lnTo>
                    <a:pt x="338" y="103"/>
                  </a:lnTo>
                  <a:lnTo>
                    <a:pt x="336" y="103"/>
                  </a:lnTo>
                  <a:lnTo>
                    <a:pt x="336" y="105"/>
                  </a:lnTo>
                  <a:lnTo>
                    <a:pt x="336" y="103"/>
                  </a:lnTo>
                  <a:lnTo>
                    <a:pt x="336" y="105"/>
                  </a:lnTo>
                  <a:lnTo>
                    <a:pt x="334" y="105"/>
                  </a:lnTo>
                  <a:lnTo>
                    <a:pt x="334" y="107"/>
                  </a:lnTo>
                  <a:lnTo>
                    <a:pt x="334" y="105"/>
                  </a:lnTo>
                  <a:lnTo>
                    <a:pt x="336" y="105"/>
                  </a:lnTo>
                  <a:lnTo>
                    <a:pt x="338" y="105"/>
                  </a:lnTo>
                  <a:lnTo>
                    <a:pt x="338" y="107"/>
                  </a:lnTo>
                  <a:lnTo>
                    <a:pt x="338" y="105"/>
                  </a:lnTo>
                  <a:lnTo>
                    <a:pt x="338" y="107"/>
                  </a:lnTo>
                  <a:lnTo>
                    <a:pt x="336" y="107"/>
                  </a:lnTo>
                  <a:lnTo>
                    <a:pt x="338" y="105"/>
                  </a:lnTo>
                  <a:lnTo>
                    <a:pt x="336" y="105"/>
                  </a:lnTo>
                  <a:lnTo>
                    <a:pt x="336" y="107"/>
                  </a:lnTo>
                  <a:lnTo>
                    <a:pt x="336" y="105"/>
                  </a:lnTo>
                  <a:lnTo>
                    <a:pt x="336" y="107"/>
                  </a:lnTo>
                  <a:lnTo>
                    <a:pt x="338" y="107"/>
                  </a:lnTo>
                  <a:lnTo>
                    <a:pt x="336" y="107"/>
                  </a:lnTo>
                  <a:lnTo>
                    <a:pt x="334" y="107"/>
                  </a:lnTo>
                  <a:lnTo>
                    <a:pt x="334" y="107"/>
                  </a:lnTo>
                  <a:lnTo>
                    <a:pt x="334" y="107"/>
                  </a:lnTo>
                  <a:lnTo>
                    <a:pt x="334" y="107"/>
                  </a:lnTo>
                  <a:lnTo>
                    <a:pt x="334" y="107"/>
                  </a:lnTo>
                  <a:lnTo>
                    <a:pt x="334" y="107"/>
                  </a:lnTo>
                  <a:lnTo>
                    <a:pt x="332" y="109"/>
                  </a:lnTo>
                  <a:lnTo>
                    <a:pt x="330" y="109"/>
                  </a:lnTo>
                  <a:lnTo>
                    <a:pt x="328" y="109"/>
                  </a:lnTo>
                  <a:lnTo>
                    <a:pt x="330" y="109"/>
                  </a:lnTo>
                  <a:lnTo>
                    <a:pt x="328" y="109"/>
                  </a:lnTo>
                  <a:lnTo>
                    <a:pt x="328" y="111"/>
                  </a:lnTo>
                  <a:lnTo>
                    <a:pt x="326" y="111"/>
                  </a:lnTo>
                  <a:lnTo>
                    <a:pt x="326" y="113"/>
                  </a:lnTo>
                  <a:lnTo>
                    <a:pt x="326" y="111"/>
                  </a:lnTo>
                  <a:lnTo>
                    <a:pt x="326" y="113"/>
                  </a:lnTo>
                  <a:lnTo>
                    <a:pt x="324" y="113"/>
                  </a:lnTo>
                  <a:lnTo>
                    <a:pt x="322" y="113"/>
                  </a:lnTo>
                  <a:lnTo>
                    <a:pt x="324" y="113"/>
                  </a:lnTo>
                  <a:lnTo>
                    <a:pt x="322" y="113"/>
                  </a:lnTo>
                  <a:lnTo>
                    <a:pt x="322" y="111"/>
                  </a:lnTo>
                  <a:lnTo>
                    <a:pt x="324" y="111"/>
                  </a:lnTo>
                  <a:lnTo>
                    <a:pt x="322" y="111"/>
                  </a:lnTo>
                  <a:lnTo>
                    <a:pt x="320" y="111"/>
                  </a:lnTo>
                  <a:lnTo>
                    <a:pt x="320" y="109"/>
                  </a:lnTo>
                  <a:lnTo>
                    <a:pt x="318" y="109"/>
                  </a:lnTo>
                  <a:lnTo>
                    <a:pt x="320" y="109"/>
                  </a:lnTo>
                  <a:lnTo>
                    <a:pt x="320" y="111"/>
                  </a:lnTo>
                  <a:lnTo>
                    <a:pt x="322" y="111"/>
                  </a:lnTo>
                  <a:lnTo>
                    <a:pt x="322" y="113"/>
                  </a:lnTo>
                  <a:lnTo>
                    <a:pt x="320" y="113"/>
                  </a:lnTo>
                  <a:lnTo>
                    <a:pt x="320" y="115"/>
                  </a:lnTo>
                  <a:lnTo>
                    <a:pt x="320" y="113"/>
                  </a:lnTo>
                  <a:lnTo>
                    <a:pt x="318" y="113"/>
                  </a:lnTo>
                  <a:lnTo>
                    <a:pt x="318" y="115"/>
                  </a:lnTo>
                  <a:lnTo>
                    <a:pt x="320" y="115"/>
                  </a:lnTo>
                  <a:lnTo>
                    <a:pt x="318" y="115"/>
                  </a:lnTo>
                  <a:lnTo>
                    <a:pt x="320" y="115"/>
                  </a:lnTo>
                  <a:lnTo>
                    <a:pt x="320" y="117"/>
                  </a:lnTo>
                  <a:lnTo>
                    <a:pt x="318" y="117"/>
                  </a:lnTo>
                  <a:lnTo>
                    <a:pt x="318" y="119"/>
                  </a:lnTo>
                  <a:lnTo>
                    <a:pt x="316" y="119"/>
                  </a:lnTo>
                  <a:lnTo>
                    <a:pt x="316" y="121"/>
                  </a:lnTo>
                  <a:lnTo>
                    <a:pt x="314" y="123"/>
                  </a:lnTo>
                  <a:lnTo>
                    <a:pt x="312" y="123"/>
                  </a:lnTo>
                  <a:lnTo>
                    <a:pt x="312" y="121"/>
                  </a:lnTo>
                  <a:lnTo>
                    <a:pt x="312" y="123"/>
                  </a:lnTo>
                  <a:lnTo>
                    <a:pt x="312" y="121"/>
                  </a:lnTo>
                  <a:lnTo>
                    <a:pt x="310" y="121"/>
                  </a:lnTo>
                  <a:lnTo>
                    <a:pt x="312" y="121"/>
                  </a:lnTo>
                  <a:lnTo>
                    <a:pt x="310" y="121"/>
                  </a:lnTo>
                  <a:lnTo>
                    <a:pt x="310" y="123"/>
                  </a:lnTo>
                  <a:lnTo>
                    <a:pt x="310" y="121"/>
                  </a:lnTo>
                  <a:lnTo>
                    <a:pt x="312" y="121"/>
                  </a:lnTo>
                  <a:lnTo>
                    <a:pt x="312" y="119"/>
                  </a:lnTo>
                  <a:lnTo>
                    <a:pt x="314" y="119"/>
                  </a:lnTo>
                  <a:lnTo>
                    <a:pt x="312" y="119"/>
                  </a:lnTo>
                  <a:lnTo>
                    <a:pt x="312" y="117"/>
                  </a:lnTo>
                  <a:lnTo>
                    <a:pt x="312" y="119"/>
                  </a:lnTo>
                  <a:lnTo>
                    <a:pt x="312" y="117"/>
                  </a:lnTo>
                  <a:lnTo>
                    <a:pt x="312" y="119"/>
                  </a:lnTo>
                  <a:lnTo>
                    <a:pt x="312" y="117"/>
                  </a:lnTo>
                  <a:lnTo>
                    <a:pt x="310" y="117"/>
                  </a:lnTo>
                  <a:lnTo>
                    <a:pt x="310" y="115"/>
                  </a:lnTo>
                  <a:lnTo>
                    <a:pt x="312" y="115"/>
                  </a:lnTo>
                  <a:lnTo>
                    <a:pt x="310" y="115"/>
                  </a:lnTo>
                  <a:lnTo>
                    <a:pt x="310" y="117"/>
                  </a:lnTo>
                  <a:lnTo>
                    <a:pt x="310" y="115"/>
                  </a:lnTo>
                  <a:lnTo>
                    <a:pt x="308" y="115"/>
                  </a:lnTo>
                  <a:lnTo>
                    <a:pt x="310" y="115"/>
                  </a:lnTo>
                  <a:lnTo>
                    <a:pt x="310" y="113"/>
                  </a:lnTo>
                  <a:lnTo>
                    <a:pt x="310" y="111"/>
                  </a:lnTo>
                  <a:lnTo>
                    <a:pt x="310" y="113"/>
                  </a:lnTo>
                  <a:lnTo>
                    <a:pt x="308" y="113"/>
                  </a:lnTo>
                  <a:lnTo>
                    <a:pt x="308" y="115"/>
                  </a:lnTo>
                  <a:lnTo>
                    <a:pt x="306" y="115"/>
                  </a:lnTo>
                  <a:lnTo>
                    <a:pt x="306" y="113"/>
                  </a:lnTo>
                  <a:lnTo>
                    <a:pt x="306" y="115"/>
                  </a:lnTo>
                  <a:lnTo>
                    <a:pt x="308" y="115"/>
                  </a:lnTo>
                  <a:lnTo>
                    <a:pt x="308" y="117"/>
                  </a:lnTo>
                  <a:lnTo>
                    <a:pt x="306" y="117"/>
                  </a:lnTo>
                  <a:lnTo>
                    <a:pt x="308" y="117"/>
                  </a:lnTo>
                  <a:lnTo>
                    <a:pt x="306" y="117"/>
                  </a:lnTo>
                  <a:lnTo>
                    <a:pt x="308" y="117"/>
                  </a:lnTo>
                  <a:lnTo>
                    <a:pt x="308" y="115"/>
                  </a:lnTo>
                  <a:lnTo>
                    <a:pt x="308" y="117"/>
                  </a:lnTo>
                  <a:lnTo>
                    <a:pt x="310" y="117"/>
                  </a:lnTo>
                  <a:lnTo>
                    <a:pt x="310" y="119"/>
                  </a:lnTo>
                  <a:lnTo>
                    <a:pt x="310" y="121"/>
                  </a:lnTo>
                  <a:lnTo>
                    <a:pt x="308" y="121"/>
                  </a:lnTo>
                  <a:lnTo>
                    <a:pt x="308" y="119"/>
                  </a:lnTo>
                  <a:lnTo>
                    <a:pt x="308" y="121"/>
                  </a:lnTo>
                  <a:lnTo>
                    <a:pt x="306" y="121"/>
                  </a:lnTo>
                  <a:lnTo>
                    <a:pt x="308" y="121"/>
                  </a:lnTo>
                  <a:lnTo>
                    <a:pt x="306" y="121"/>
                  </a:lnTo>
                  <a:lnTo>
                    <a:pt x="308" y="121"/>
                  </a:lnTo>
                  <a:lnTo>
                    <a:pt x="308" y="123"/>
                  </a:lnTo>
                  <a:lnTo>
                    <a:pt x="310" y="123"/>
                  </a:lnTo>
                  <a:lnTo>
                    <a:pt x="308" y="123"/>
                  </a:lnTo>
                  <a:lnTo>
                    <a:pt x="310" y="123"/>
                  </a:lnTo>
                  <a:lnTo>
                    <a:pt x="312" y="123"/>
                  </a:lnTo>
                  <a:lnTo>
                    <a:pt x="312" y="125"/>
                  </a:lnTo>
                  <a:lnTo>
                    <a:pt x="312" y="123"/>
                  </a:lnTo>
                  <a:lnTo>
                    <a:pt x="312" y="125"/>
                  </a:lnTo>
                  <a:lnTo>
                    <a:pt x="312" y="123"/>
                  </a:lnTo>
                  <a:lnTo>
                    <a:pt x="310" y="123"/>
                  </a:lnTo>
                  <a:lnTo>
                    <a:pt x="310" y="125"/>
                  </a:lnTo>
                  <a:lnTo>
                    <a:pt x="312" y="125"/>
                  </a:lnTo>
                  <a:lnTo>
                    <a:pt x="310" y="125"/>
                  </a:lnTo>
                  <a:lnTo>
                    <a:pt x="312" y="125"/>
                  </a:lnTo>
                  <a:lnTo>
                    <a:pt x="310" y="127"/>
                  </a:lnTo>
                  <a:lnTo>
                    <a:pt x="310" y="125"/>
                  </a:lnTo>
                  <a:lnTo>
                    <a:pt x="310" y="127"/>
                  </a:lnTo>
                  <a:lnTo>
                    <a:pt x="308" y="127"/>
                  </a:lnTo>
                  <a:lnTo>
                    <a:pt x="310" y="127"/>
                  </a:lnTo>
                  <a:lnTo>
                    <a:pt x="308" y="127"/>
                  </a:lnTo>
                  <a:lnTo>
                    <a:pt x="308" y="129"/>
                  </a:lnTo>
                  <a:lnTo>
                    <a:pt x="306" y="129"/>
                  </a:lnTo>
                  <a:lnTo>
                    <a:pt x="306" y="131"/>
                  </a:lnTo>
                  <a:lnTo>
                    <a:pt x="306" y="129"/>
                  </a:lnTo>
                  <a:lnTo>
                    <a:pt x="306" y="131"/>
                  </a:lnTo>
                  <a:lnTo>
                    <a:pt x="306" y="129"/>
                  </a:lnTo>
                  <a:lnTo>
                    <a:pt x="308" y="129"/>
                  </a:lnTo>
                  <a:lnTo>
                    <a:pt x="306" y="129"/>
                  </a:lnTo>
                  <a:lnTo>
                    <a:pt x="308" y="129"/>
                  </a:lnTo>
                  <a:lnTo>
                    <a:pt x="306" y="129"/>
                  </a:lnTo>
                  <a:lnTo>
                    <a:pt x="308" y="129"/>
                  </a:lnTo>
                  <a:lnTo>
                    <a:pt x="308" y="127"/>
                  </a:lnTo>
                  <a:lnTo>
                    <a:pt x="308" y="129"/>
                  </a:lnTo>
                  <a:lnTo>
                    <a:pt x="308" y="127"/>
                  </a:lnTo>
                  <a:lnTo>
                    <a:pt x="308" y="129"/>
                  </a:lnTo>
                  <a:lnTo>
                    <a:pt x="308" y="127"/>
                  </a:lnTo>
                  <a:lnTo>
                    <a:pt x="310" y="127"/>
                  </a:lnTo>
                  <a:lnTo>
                    <a:pt x="310" y="125"/>
                  </a:lnTo>
                  <a:lnTo>
                    <a:pt x="312" y="125"/>
                  </a:lnTo>
                  <a:lnTo>
                    <a:pt x="312" y="123"/>
                  </a:lnTo>
                  <a:lnTo>
                    <a:pt x="314" y="123"/>
                  </a:lnTo>
                  <a:lnTo>
                    <a:pt x="314" y="125"/>
                  </a:lnTo>
                  <a:lnTo>
                    <a:pt x="312" y="125"/>
                  </a:lnTo>
                  <a:lnTo>
                    <a:pt x="312" y="127"/>
                  </a:lnTo>
                  <a:lnTo>
                    <a:pt x="310" y="127"/>
                  </a:lnTo>
                  <a:lnTo>
                    <a:pt x="308" y="129"/>
                  </a:lnTo>
                  <a:lnTo>
                    <a:pt x="308" y="131"/>
                  </a:lnTo>
                  <a:lnTo>
                    <a:pt x="306" y="131"/>
                  </a:lnTo>
                  <a:lnTo>
                    <a:pt x="306" y="133"/>
                  </a:lnTo>
                  <a:lnTo>
                    <a:pt x="304" y="133"/>
                  </a:lnTo>
                  <a:lnTo>
                    <a:pt x="304" y="135"/>
                  </a:lnTo>
                  <a:lnTo>
                    <a:pt x="302" y="135"/>
                  </a:lnTo>
                  <a:lnTo>
                    <a:pt x="302" y="135"/>
                  </a:lnTo>
                  <a:lnTo>
                    <a:pt x="300" y="135"/>
                  </a:lnTo>
                  <a:lnTo>
                    <a:pt x="300" y="137"/>
                  </a:lnTo>
                  <a:lnTo>
                    <a:pt x="300" y="139"/>
                  </a:lnTo>
                  <a:lnTo>
                    <a:pt x="298" y="139"/>
                  </a:lnTo>
                  <a:lnTo>
                    <a:pt x="300" y="139"/>
                  </a:lnTo>
                  <a:lnTo>
                    <a:pt x="298" y="139"/>
                  </a:lnTo>
                  <a:lnTo>
                    <a:pt x="298" y="141"/>
                  </a:lnTo>
                  <a:lnTo>
                    <a:pt x="298" y="143"/>
                  </a:lnTo>
                  <a:lnTo>
                    <a:pt x="296" y="143"/>
                  </a:lnTo>
                  <a:lnTo>
                    <a:pt x="296" y="145"/>
                  </a:lnTo>
                  <a:lnTo>
                    <a:pt x="296" y="147"/>
                  </a:lnTo>
                  <a:lnTo>
                    <a:pt x="296" y="149"/>
                  </a:lnTo>
                  <a:lnTo>
                    <a:pt x="294" y="149"/>
                  </a:lnTo>
                  <a:lnTo>
                    <a:pt x="294" y="151"/>
                  </a:lnTo>
                  <a:lnTo>
                    <a:pt x="294" y="153"/>
                  </a:lnTo>
                  <a:lnTo>
                    <a:pt x="294" y="155"/>
                  </a:lnTo>
                  <a:lnTo>
                    <a:pt x="294" y="157"/>
                  </a:lnTo>
                  <a:lnTo>
                    <a:pt x="294" y="159"/>
                  </a:lnTo>
                  <a:lnTo>
                    <a:pt x="294" y="161"/>
                  </a:lnTo>
                  <a:lnTo>
                    <a:pt x="294" y="163"/>
                  </a:lnTo>
                  <a:lnTo>
                    <a:pt x="292" y="165"/>
                  </a:lnTo>
                  <a:lnTo>
                    <a:pt x="294" y="165"/>
                  </a:lnTo>
                  <a:lnTo>
                    <a:pt x="292" y="165"/>
                  </a:lnTo>
                  <a:lnTo>
                    <a:pt x="294" y="165"/>
                  </a:lnTo>
                  <a:lnTo>
                    <a:pt x="294" y="167"/>
                  </a:lnTo>
                  <a:lnTo>
                    <a:pt x="292" y="167"/>
                  </a:lnTo>
                  <a:lnTo>
                    <a:pt x="290" y="167"/>
                  </a:lnTo>
                  <a:lnTo>
                    <a:pt x="290" y="165"/>
                  </a:lnTo>
                  <a:lnTo>
                    <a:pt x="288" y="165"/>
                  </a:lnTo>
                  <a:lnTo>
                    <a:pt x="286" y="165"/>
                  </a:lnTo>
                  <a:lnTo>
                    <a:pt x="286" y="165"/>
                  </a:lnTo>
                  <a:lnTo>
                    <a:pt x="284" y="165"/>
                  </a:lnTo>
                  <a:lnTo>
                    <a:pt x="282" y="165"/>
                  </a:lnTo>
                  <a:lnTo>
                    <a:pt x="280" y="165"/>
                  </a:lnTo>
                  <a:lnTo>
                    <a:pt x="280" y="167"/>
                  </a:lnTo>
                  <a:lnTo>
                    <a:pt x="278" y="167"/>
                  </a:lnTo>
                  <a:lnTo>
                    <a:pt x="276" y="167"/>
                  </a:lnTo>
                  <a:lnTo>
                    <a:pt x="274" y="167"/>
                  </a:lnTo>
                  <a:lnTo>
                    <a:pt x="274" y="169"/>
                  </a:lnTo>
                  <a:lnTo>
                    <a:pt x="272" y="169"/>
                  </a:lnTo>
                  <a:lnTo>
                    <a:pt x="272" y="171"/>
                  </a:lnTo>
                  <a:lnTo>
                    <a:pt x="270" y="171"/>
                  </a:lnTo>
                  <a:lnTo>
                    <a:pt x="268" y="171"/>
                  </a:lnTo>
                  <a:lnTo>
                    <a:pt x="268" y="173"/>
                  </a:lnTo>
                  <a:lnTo>
                    <a:pt x="268" y="171"/>
                  </a:lnTo>
                  <a:lnTo>
                    <a:pt x="266" y="171"/>
                  </a:lnTo>
                  <a:lnTo>
                    <a:pt x="264" y="169"/>
                  </a:lnTo>
                  <a:lnTo>
                    <a:pt x="262" y="169"/>
                  </a:lnTo>
                  <a:lnTo>
                    <a:pt x="262" y="167"/>
                  </a:lnTo>
                  <a:lnTo>
                    <a:pt x="260" y="167"/>
                  </a:lnTo>
                  <a:lnTo>
                    <a:pt x="258" y="165"/>
                  </a:lnTo>
                  <a:lnTo>
                    <a:pt x="256" y="165"/>
                  </a:lnTo>
                  <a:lnTo>
                    <a:pt x="256" y="163"/>
                  </a:lnTo>
                  <a:lnTo>
                    <a:pt x="254" y="163"/>
                  </a:lnTo>
                  <a:lnTo>
                    <a:pt x="252" y="163"/>
                  </a:lnTo>
                  <a:lnTo>
                    <a:pt x="252" y="161"/>
                  </a:lnTo>
                  <a:lnTo>
                    <a:pt x="250" y="161"/>
                  </a:lnTo>
                  <a:lnTo>
                    <a:pt x="250" y="159"/>
                  </a:lnTo>
                  <a:lnTo>
                    <a:pt x="248" y="159"/>
                  </a:lnTo>
                  <a:lnTo>
                    <a:pt x="246" y="159"/>
                  </a:lnTo>
                  <a:lnTo>
                    <a:pt x="246" y="157"/>
                  </a:lnTo>
                  <a:lnTo>
                    <a:pt x="244" y="157"/>
                  </a:lnTo>
                  <a:lnTo>
                    <a:pt x="244" y="155"/>
                  </a:lnTo>
                  <a:lnTo>
                    <a:pt x="242" y="155"/>
                  </a:lnTo>
                  <a:lnTo>
                    <a:pt x="240" y="155"/>
                  </a:lnTo>
                  <a:lnTo>
                    <a:pt x="240" y="153"/>
                  </a:lnTo>
                  <a:lnTo>
                    <a:pt x="238" y="153"/>
                  </a:lnTo>
                  <a:lnTo>
                    <a:pt x="238" y="151"/>
                  </a:lnTo>
                  <a:lnTo>
                    <a:pt x="238" y="151"/>
                  </a:lnTo>
                  <a:lnTo>
                    <a:pt x="236" y="149"/>
                  </a:lnTo>
                  <a:lnTo>
                    <a:pt x="234" y="149"/>
                  </a:lnTo>
                  <a:lnTo>
                    <a:pt x="234" y="147"/>
                  </a:lnTo>
                  <a:lnTo>
                    <a:pt x="232" y="147"/>
                  </a:lnTo>
                  <a:lnTo>
                    <a:pt x="230" y="145"/>
                  </a:lnTo>
                  <a:lnTo>
                    <a:pt x="228" y="145"/>
                  </a:lnTo>
                  <a:lnTo>
                    <a:pt x="228" y="143"/>
                  </a:lnTo>
                  <a:lnTo>
                    <a:pt x="226" y="143"/>
                  </a:lnTo>
                  <a:lnTo>
                    <a:pt x="226" y="141"/>
                  </a:lnTo>
                  <a:lnTo>
                    <a:pt x="224" y="141"/>
                  </a:lnTo>
                  <a:lnTo>
                    <a:pt x="222" y="141"/>
                  </a:lnTo>
                  <a:lnTo>
                    <a:pt x="222" y="139"/>
                  </a:lnTo>
                  <a:lnTo>
                    <a:pt x="220" y="139"/>
                  </a:lnTo>
                  <a:lnTo>
                    <a:pt x="220" y="137"/>
                  </a:lnTo>
                  <a:lnTo>
                    <a:pt x="218" y="137"/>
                  </a:lnTo>
                  <a:lnTo>
                    <a:pt x="216" y="137"/>
                  </a:lnTo>
                  <a:lnTo>
                    <a:pt x="216" y="135"/>
                  </a:lnTo>
                  <a:lnTo>
                    <a:pt x="214" y="135"/>
                  </a:lnTo>
                  <a:lnTo>
                    <a:pt x="214" y="135"/>
                  </a:lnTo>
                  <a:lnTo>
                    <a:pt x="212" y="135"/>
                  </a:lnTo>
                  <a:lnTo>
                    <a:pt x="210" y="135"/>
                  </a:lnTo>
                  <a:lnTo>
                    <a:pt x="210" y="133"/>
                  </a:lnTo>
                  <a:lnTo>
                    <a:pt x="208" y="133"/>
                  </a:lnTo>
                  <a:lnTo>
                    <a:pt x="208" y="131"/>
                  </a:lnTo>
                  <a:lnTo>
                    <a:pt x="206" y="131"/>
                  </a:lnTo>
                  <a:lnTo>
                    <a:pt x="206" y="133"/>
                  </a:lnTo>
                  <a:lnTo>
                    <a:pt x="204" y="133"/>
                  </a:lnTo>
                  <a:lnTo>
                    <a:pt x="202" y="133"/>
                  </a:lnTo>
                  <a:lnTo>
                    <a:pt x="200" y="133"/>
                  </a:lnTo>
                  <a:lnTo>
                    <a:pt x="198" y="133"/>
                  </a:lnTo>
                  <a:lnTo>
                    <a:pt x="196" y="133"/>
                  </a:lnTo>
                  <a:lnTo>
                    <a:pt x="194" y="135"/>
                  </a:lnTo>
                  <a:lnTo>
                    <a:pt x="192" y="135"/>
                  </a:lnTo>
                  <a:lnTo>
                    <a:pt x="190" y="135"/>
                  </a:lnTo>
                  <a:lnTo>
                    <a:pt x="190" y="135"/>
                  </a:lnTo>
                  <a:lnTo>
                    <a:pt x="188" y="135"/>
                  </a:lnTo>
                  <a:lnTo>
                    <a:pt x="186" y="135"/>
                  </a:lnTo>
                  <a:lnTo>
                    <a:pt x="184" y="135"/>
                  </a:lnTo>
                  <a:lnTo>
                    <a:pt x="184" y="135"/>
                  </a:lnTo>
                  <a:lnTo>
                    <a:pt x="182" y="135"/>
                  </a:lnTo>
                  <a:lnTo>
                    <a:pt x="180" y="135"/>
                  </a:lnTo>
                  <a:lnTo>
                    <a:pt x="178" y="135"/>
                  </a:lnTo>
                  <a:lnTo>
                    <a:pt x="176" y="135"/>
                  </a:lnTo>
                  <a:lnTo>
                    <a:pt x="174" y="135"/>
                  </a:lnTo>
                  <a:lnTo>
                    <a:pt x="172" y="135"/>
                  </a:lnTo>
                  <a:lnTo>
                    <a:pt x="172" y="137"/>
                  </a:lnTo>
                  <a:lnTo>
                    <a:pt x="170" y="137"/>
                  </a:lnTo>
                  <a:lnTo>
                    <a:pt x="168" y="137"/>
                  </a:lnTo>
                  <a:lnTo>
                    <a:pt x="166" y="137"/>
                  </a:lnTo>
                  <a:lnTo>
                    <a:pt x="164" y="137"/>
                  </a:lnTo>
                  <a:lnTo>
                    <a:pt x="162" y="137"/>
                  </a:lnTo>
                  <a:lnTo>
                    <a:pt x="160" y="137"/>
                  </a:lnTo>
                  <a:lnTo>
                    <a:pt x="160" y="139"/>
                  </a:lnTo>
                  <a:lnTo>
                    <a:pt x="158" y="139"/>
                  </a:lnTo>
                  <a:lnTo>
                    <a:pt x="158" y="137"/>
                  </a:lnTo>
                  <a:lnTo>
                    <a:pt x="158" y="135"/>
                  </a:lnTo>
                  <a:lnTo>
                    <a:pt x="158" y="135"/>
                  </a:lnTo>
                  <a:lnTo>
                    <a:pt x="156" y="135"/>
                  </a:lnTo>
                  <a:lnTo>
                    <a:pt x="156" y="133"/>
                  </a:lnTo>
                  <a:lnTo>
                    <a:pt x="154" y="131"/>
                  </a:lnTo>
                  <a:lnTo>
                    <a:pt x="152" y="131"/>
                  </a:lnTo>
                  <a:lnTo>
                    <a:pt x="152" y="129"/>
                  </a:lnTo>
                  <a:lnTo>
                    <a:pt x="150" y="129"/>
                  </a:lnTo>
                  <a:lnTo>
                    <a:pt x="150" y="127"/>
                  </a:lnTo>
                  <a:lnTo>
                    <a:pt x="148" y="125"/>
                  </a:lnTo>
                  <a:lnTo>
                    <a:pt x="148" y="127"/>
                  </a:lnTo>
                  <a:lnTo>
                    <a:pt x="146" y="127"/>
                  </a:lnTo>
                  <a:lnTo>
                    <a:pt x="146" y="129"/>
                  </a:lnTo>
                  <a:lnTo>
                    <a:pt x="144" y="129"/>
                  </a:lnTo>
                  <a:lnTo>
                    <a:pt x="142" y="129"/>
                  </a:lnTo>
                  <a:lnTo>
                    <a:pt x="142" y="127"/>
                  </a:lnTo>
                  <a:lnTo>
                    <a:pt x="144" y="127"/>
                  </a:lnTo>
                  <a:lnTo>
                    <a:pt x="144" y="125"/>
                  </a:lnTo>
                  <a:lnTo>
                    <a:pt x="142" y="125"/>
                  </a:lnTo>
                  <a:lnTo>
                    <a:pt x="142" y="125"/>
                  </a:lnTo>
                  <a:lnTo>
                    <a:pt x="140" y="125"/>
                  </a:lnTo>
                  <a:lnTo>
                    <a:pt x="138" y="125"/>
                  </a:lnTo>
                  <a:lnTo>
                    <a:pt x="136" y="125"/>
                  </a:lnTo>
                  <a:lnTo>
                    <a:pt x="134" y="125"/>
                  </a:lnTo>
                  <a:lnTo>
                    <a:pt x="132" y="125"/>
                  </a:lnTo>
                  <a:lnTo>
                    <a:pt x="130" y="125"/>
                  </a:lnTo>
                  <a:lnTo>
                    <a:pt x="128" y="125"/>
                  </a:lnTo>
                  <a:lnTo>
                    <a:pt x="128" y="127"/>
                  </a:lnTo>
                  <a:lnTo>
                    <a:pt x="126" y="127"/>
                  </a:lnTo>
                  <a:lnTo>
                    <a:pt x="124" y="127"/>
                  </a:lnTo>
                  <a:lnTo>
                    <a:pt x="122" y="127"/>
                  </a:lnTo>
                  <a:lnTo>
                    <a:pt x="120" y="127"/>
                  </a:lnTo>
                  <a:lnTo>
                    <a:pt x="118" y="127"/>
                  </a:lnTo>
                  <a:lnTo>
                    <a:pt x="116" y="127"/>
                  </a:lnTo>
                  <a:lnTo>
                    <a:pt x="114" y="127"/>
                  </a:lnTo>
                  <a:lnTo>
                    <a:pt x="112" y="127"/>
                  </a:lnTo>
                  <a:lnTo>
                    <a:pt x="110" y="127"/>
                  </a:lnTo>
                  <a:lnTo>
                    <a:pt x="110" y="129"/>
                  </a:lnTo>
                  <a:lnTo>
                    <a:pt x="108" y="129"/>
                  </a:lnTo>
                  <a:lnTo>
                    <a:pt x="106" y="129"/>
                  </a:lnTo>
                  <a:lnTo>
                    <a:pt x="104" y="129"/>
                  </a:lnTo>
                  <a:lnTo>
                    <a:pt x="102" y="129"/>
                  </a:lnTo>
                  <a:lnTo>
                    <a:pt x="100" y="129"/>
                  </a:lnTo>
                  <a:lnTo>
                    <a:pt x="98" y="129"/>
                  </a:lnTo>
                  <a:lnTo>
                    <a:pt x="96" y="129"/>
                  </a:lnTo>
                  <a:lnTo>
                    <a:pt x="94" y="129"/>
                  </a:lnTo>
                  <a:lnTo>
                    <a:pt x="94" y="129"/>
                  </a:lnTo>
                  <a:lnTo>
                    <a:pt x="94" y="131"/>
                  </a:lnTo>
                  <a:lnTo>
                    <a:pt x="92" y="131"/>
                  </a:lnTo>
                  <a:lnTo>
                    <a:pt x="90" y="131"/>
                  </a:lnTo>
                  <a:lnTo>
                    <a:pt x="88" y="131"/>
                  </a:lnTo>
                  <a:lnTo>
                    <a:pt x="86" y="131"/>
                  </a:lnTo>
                  <a:lnTo>
                    <a:pt x="86" y="133"/>
                  </a:lnTo>
                  <a:lnTo>
                    <a:pt x="86" y="131"/>
                  </a:lnTo>
                  <a:lnTo>
                    <a:pt x="84" y="131"/>
                  </a:lnTo>
                  <a:lnTo>
                    <a:pt x="84" y="133"/>
                  </a:lnTo>
                  <a:lnTo>
                    <a:pt x="82" y="133"/>
                  </a:lnTo>
                  <a:lnTo>
                    <a:pt x="80" y="133"/>
                  </a:lnTo>
                  <a:lnTo>
                    <a:pt x="80" y="135"/>
                  </a:lnTo>
                  <a:lnTo>
                    <a:pt x="80" y="133"/>
                  </a:lnTo>
                  <a:lnTo>
                    <a:pt x="80" y="135"/>
                  </a:lnTo>
                  <a:lnTo>
                    <a:pt x="78" y="135"/>
                  </a:lnTo>
                  <a:lnTo>
                    <a:pt x="76" y="135"/>
                  </a:lnTo>
                  <a:lnTo>
                    <a:pt x="76" y="135"/>
                  </a:lnTo>
                  <a:lnTo>
                    <a:pt x="74" y="135"/>
                  </a:lnTo>
                  <a:lnTo>
                    <a:pt x="72" y="135"/>
                  </a:lnTo>
                  <a:lnTo>
                    <a:pt x="72" y="137"/>
                  </a:lnTo>
                  <a:lnTo>
                    <a:pt x="70" y="137"/>
                  </a:lnTo>
                  <a:lnTo>
                    <a:pt x="70" y="139"/>
                  </a:lnTo>
                  <a:lnTo>
                    <a:pt x="68" y="139"/>
                  </a:lnTo>
                  <a:lnTo>
                    <a:pt x="66" y="139"/>
                  </a:lnTo>
                  <a:lnTo>
                    <a:pt x="64" y="139"/>
                  </a:lnTo>
                  <a:lnTo>
                    <a:pt x="64" y="141"/>
                  </a:lnTo>
                  <a:lnTo>
                    <a:pt x="62" y="141"/>
                  </a:lnTo>
                  <a:lnTo>
                    <a:pt x="60" y="141"/>
                  </a:lnTo>
                  <a:lnTo>
                    <a:pt x="60" y="143"/>
                  </a:lnTo>
                  <a:lnTo>
                    <a:pt x="58" y="143"/>
                  </a:lnTo>
                  <a:lnTo>
                    <a:pt x="56" y="143"/>
                  </a:lnTo>
                  <a:lnTo>
                    <a:pt x="56" y="145"/>
                  </a:lnTo>
                  <a:lnTo>
                    <a:pt x="54" y="145"/>
                  </a:lnTo>
                  <a:lnTo>
                    <a:pt x="52" y="145"/>
                  </a:lnTo>
                  <a:lnTo>
                    <a:pt x="50" y="145"/>
                  </a:lnTo>
                  <a:lnTo>
                    <a:pt x="48" y="145"/>
                  </a:lnTo>
                  <a:lnTo>
                    <a:pt x="48" y="147"/>
                  </a:lnTo>
                  <a:lnTo>
                    <a:pt x="46" y="147"/>
                  </a:lnTo>
                  <a:lnTo>
                    <a:pt x="44" y="147"/>
                  </a:lnTo>
                  <a:lnTo>
                    <a:pt x="44" y="147"/>
                  </a:lnTo>
                  <a:lnTo>
                    <a:pt x="42" y="147"/>
                  </a:lnTo>
                  <a:lnTo>
                    <a:pt x="40" y="147"/>
                  </a:lnTo>
                  <a:lnTo>
                    <a:pt x="38" y="147"/>
                  </a:lnTo>
                  <a:lnTo>
                    <a:pt x="36" y="149"/>
                  </a:lnTo>
                  <a:lnTo>
                    <a:pt x="34" y="149"/>
                  </a:lnTo>
                  <a:lnTo>
                    <a:pt x="32" y="149"/>
                  </a:lnTo>
                  <a:lnTo>
                    <a:pt x="30" y="149"/>
                  </a:lnTo>
                  <a:lnTo>
                    <a:pt x="28" y="149"/>
                  </a:lnTo>
                  <a:lnTo>
                    <a:pt x="26" y="149"/>
                  </a:lnTo>
                  <a:lnTo>
                    <a:pt x="24" y="149"/>
                  </a:lnTo>
                  <a:lnTo>
                    <a:pt x="24" y="151"/>
                  </a:lnTo>
                  <a:lnTo>
                    <a:pt x="22" y="151"/>
                  </a:lnTo>
                  <a:lnTo>
                    <a:pt x="20" y="151"/>
                  </a:lnTo>
                  <a:lnTo>
                    <a:pt x="18" y="151"/>
                  </a:lnTo>
                  <a:lnTo>
                    <a:pt x="16" y="151"/>
                  </a:lnTo>
                  <a:lnTo>
                    <a:pt x="14" y="151"/>
                  </a:lnTo>
                  <a:lnTo>
                    <a:pt x="12" y="151"/>
                  </a:lnTo>
                  <a:lnTo>
                    <a:pt x="10" y="151"/>
                  </a:lnTo>
                  <a:lnTo>
                    <a:pt x="8" y="151"/>
                  </a:lnTo>
                  <a:lnTo>
                    <a:pt x="8" y="153"/>
                  </a:lnTo>
                  <a:lnTo>
                    <a:pt x="6" y="153"/>
                  </a:lnTo>
                  <a:lnTo>
                    <a:pt x="2" y="153"/>
                  </a:lnTo>
                  <a:lnTo>
                    <a:pt x="0" y="153"/>
                  </a:lnTo>
                  <a:lnTo>
                    <a:pt x="0" y="151"/>
                  </a:lnTo>
                  <a:lnTo>
                    <a:pt x="0" y="149"/>
                  </a:lnTo>
                  <a:lnTo>
                    <a:pt x="0" y="147"/>
                  </a:lnTo>
                  <a:lnTo>
                    <a:pt x="0" y="145"/>
                  </a:lnTo>
                  <a:lnTo>
                    <a:pt x="0" y="143"/>
                  </a:lnTo>
                  <a:lnTo>
                    <a:pt x="0" y="141"/>
                  </a:lnTo>
                  <a:lnTo>
                    <a:pt x="0" y="139"/>
                  </a:lnTo>
                  <a:lnTo>
                    <a:pt x="0" y="137"/>
                  </a:lnTo>
                  <a:lnTo>
                    <a:pt x="2" y="137"/>
                  </a:lnTo>
                  <a:lnTo>
                    <a:pt x="4" y="137"/>
                  </a:lnTo>
                  <a:lnTo>
                    <a:pt x="4" y="139"/>
                  </a:lnTo>
                  <a:lnTo>
                    <a:pt x="4" y="137"/>
                  </a:lnTo>
                  <a:lnTo>
                    <a:pt x="6" y="137"/>
                  </a:lnTo>
                  <a:lnTo>
                    <a:pt x="8" y="137"/>
                  </a:lnTo>
                  <a:lnTo>
                    <a:pt x="10" y="137"/>
                  </a:lnTo>
                  <a:lnTo>
                    <a:pt x="10" y="135"/>
                  </a:lnTo>
                  <a:lnTo>
                    <a:pt x="12" y="135"/>
                  </a:lnTo>
                  <a:lnTo>
                    <a:pt x="12" y="135"/>
                  </a:lnTo>
                  <a:lnTo>
                    <a:pt x="10" y="135"/>
                  </a:lnTo>
                  <a:lnTo>
                    <a:pt x="10" y="133"/>
                  </a:lnTo>
                  <a:lnTo>
                    <a:pt x="12" y="133"/>
                  </a:lnTo>
                  <a:lnTo>
                    <a:pt x="12" y="131"/>
                  </a:lnTo>
                  <a:lnTo>
                    <a:pt x="10" y="131"/>
                  </a:lnTo>
                  <a:lnTo>
                    <a:pt x="10" y="129"/>
                  </a:lnTo>
                  <a:lnTo>
                    <a:pt x="12" y="129"/>
                  </a:lnTo>
                  <a:lnTo>
                    <a:pt x="12" y="127"/>
                  </a:lnTo>
                  <a:lnTo>
                    <a:pt x="14" y="127"/>
                  </a:lnTo>
                  <a:lnTo>
                    <a:pt x="14" y="125"/>
                  </a:lnTo>
                  <a:lnTo>
                    <a:pt x="16" y="125"/>
                  </a:lnTo>
                  <a:lnTo>
                    <a:pt x="16" y="123"/>
                  </a:lnTo>
                  <a:lnTo>
                    <a:pt x="18" y="123"/>
                  </a:lnTo>
                  <a:lnTo>
                    <a:pt x="20" y="121"/>
                  </a:lnTo>
                  <a:lnTo>
                    <a:pt x="20" y="119"/>
                  </a:lnTo>
                  <a:lnTo>
                    <a:pt x="22" y="119"/>
                  </a:lnTo>
                  <a:lnTo>
                    <a:pt x="24" y="119"/>
                  </a:lnTo>
                  <a:lnTo>
                    <a:pt x="26" y="119"/>
                  </a:lnTo>
                  <a:lnTo>
                    <a:pt x="28" y="119"/>
                  </a:lnTo>
                  <a:lnTo>
                    <a:pt x="28" y="117"/>
                  </a:lnTo>
                  <a:lnTo>
                    <a:pt x="28" y="119"/>
                  </a:lnTo>
                  <a:lnTo>
                    <a:pt x="30" y="119"/>
                  </a:lnTo>
                  <a:lnTo>
                    <a:pt x="32" y="119"/>
                  </a:lnTo>
                  <a:lnTo>
                    <a:pt x="34" y="119"/>
                  </a:lnTo>
                  <a:lnTo>
                    <a:pt x="34" y="117"/>
                  </a:lnTo>
                  <a:lnTo>
                    <a:pt x="34" y="115"/>
                  </a:lnTo>
                  <a:lnTo>
                    <a:pt x="36" y="115"/>
                  </a:lnTo>
                  <a:lnTo>
                    <a:pt x="38" y="115"/>
                  </a:lnTo>
                  <a:lnTo>
                    <a:pt x="38" y="113"/>
                  </a:lnTo>
                  <a:lnTo>
                    <a:pt x="40" y="113"/>
                  </a:lnTo>
                  <a:lnTo>
                    <a:pt x="40" y="111"/>
                  </a:lnTo>
                  <a:lnTo>
                    <a:pt x="42" y="111"/>
                  </a:lnTo>
                  <a:lnTo>
                    <a:pt x="42" y="109"/>
                  </a:lnTo>
                  <a:lnTo>
                    <a:pt x="44" y="109"/>
                  </a:lnTo>
                  <a:lnTo>
                    <a:pt x="44" y="107"/>
                  </a:lnTo>
                  <a:lnTo>
                    <a:pt x="44" y="107"/>
                  </a:lnTo>
                  <a:lnTo>
                    <a:pt x="44" y="105"/>
                  </a:lnTo>
                  <a:lnTo>
                    <a:pt x="46" y="105"/>
                  </a:lnTo>
                  <a:lnTo>
                    <a:pt x="48" y="105"/>
                  </a:lnTo>
                  <a:lnTo>
                    <a:pt x="48" y="103"/>
                  </a:lnTo>
                  <a:lnTo>
                    <a:pt x="50" y="103"/>
                  </a:lnTo>
                  <a:lnTo>
                    <a:pt x="52" y="103"/>
                  </a:lnTo>
                  <a:lnTo>
                    <a:pt x="54" y="103"/>
                  </a:lnTo>
                  <a:lnTo>
                    <a:pt x="54" y="101"/>
                  </a:lnTo>
                  <a:lnTo>
                    <a:pt x="54" y="99"/>
                  </a:lnTo>
                  <a:lnTo>
                    <a:pt x="56" y="99"/>
                  </a:lnTo>
                  <a:lnTo>
                    <a:pt x="56" y="97"/>
                  </a:lnTo>
                  <a:lnTo>
                    <a:pt x="56" y="95"/>
                  </a:lnTo>
                  <a:lnTo>
                    <a:pt x="54" y="95"/>
                  </a:lnTo>
                  <a:lnTo>
                    <a:pt x="54" y="93"/>
                  </a:lnTo>
                  <a:lnTo>
                    <a:pt x="56" y="95"/>
                  </a:lnTo>
                  <a:lnTo>
                    <a:pt x="56" y="93"/>
                  </a:lnTo>
                  <a:lnTo>
                    <a:pt x="58" y="93"/>
                  </a:lnTo>
                  <a:lnTo>
                    <a:pt x="60" y="93"/>
                  </a:lnTo>
                  <a:lnTo>
                    <a:pt x="60" y="91"/>
                  </a:lnTo>
                  <a:lnTo>
                    <a:pt x="60" y="89"/>
                  </a:lnTo>
                  <a:lnTo>
                    <a:pt x="62" y="89"/>
                  </a:lnTo>
                  <a:lnTo>
                    <a:pt x="62" y="87"/>
                  </a:lnTo>
                  <a:lnTo>
                    <a:pt x="64" y="87"/>
                  </a:lnTo>
                  <a:lnTo>
                    <a:pt x="64" y="87"/>
                  </a:lnTo>
                  <a:lnTo>
                    <a:pt x="66" y="87"/>
                  </a:lnTo>
                  <a:lnTo>
                    <a:pt x="68" y="87"/>
                  </a:lnTo>
                  <a:lnTo>
                    <a:pt x="68" y="87"/>
                  </a:lnTo>
                  <a:lnTo>
                    <a:pt x="68" y="87"/>
                  </a:lnTo>
                  <a:lnTo>
                    <a:pt x="68" y="87"/>
                  </a:lnTo>
                  <a:lnTo>
                    <a:pt x="68" y="89"/>
                  </a:lnTo>
                  <a:lnTo>
                    <a:pt x="70" y="89"/>
                  </a:lnTo>
                  <a:lnTo>
                    <a:pt x="70" y="91"/>
                  </a:lnTo>
                  <a:lnTo>
                    <a:pt x="72" y="89"/>
                  </a:lnTo>
                  <a:lnTo>
                    <a:pt x="74" y="89"/>
                  </a:lnTo>
                  <a:lnTo>
                    <a:pt x="74" y="87"/>
                  </a:lnTo>
                  <a:lnTo>
                    <a:pt x="76" y="87"/>
                  </a:lnTo>
                  <a:lnTo>
                    <a:pt x="76" y="85"/>
                  </a:lnTo>
                  <a:lnTo>
                    <a:pt x="76" y="83"/>
                  </a:lnTo>
                  <a:lnTo>
                    <a:pt x="78" y="83"/>
                  </a:lnTo>
                  <a:lnTo>
                    <a:pt x="78" y="81"/>
                  </a:lnTo>
                  <a:lnTo>
                    <a:pt x="80" y="81"/>
                  </a:lnTo>
                  <a:lnTo>
                    <a:pt x="82" y="81"/>
                  </a:lnTo>
                  <a:lnTo>
                    <a:pt x="84" y="81"/>
                  </a:lnTo>
                  <a:lnTo>
                    <a:pt x="84" y="79"/>
                  </a:lnTo>
                  <a:lnTo>
                    <a:pt x="86" y="79"/>
                  </a:lnTo>
                  <a:lnTo>
                    <a:pt x="88" y="79"/>
                  </a:lnTo>
                  <a:lnTo>
                    <a:pt x="88" y="81"/>
                  </a:lnTo>
                  <a:lnTo>
                    <a:pt x="90" y="81"/>
                  </a:lnTo>
                  <a:lnTo>
                    <a:pt x="92" y="81"/>
                  </a:lnTo>
                  <a:lnTo>
                    <a:pt x="92" y="79"/>
                  </a:lnTo>
                  <a:lnTo>
                    <a:pt x="94" y="79"/>
                  </a:lnTo>
                  <a:lnTo>
                    <a:pt x="94" y="77"/>
                  </a:lnTo>
                  <a:lnTo>
                    <a:pt x="94" y="74"/>
                  </a:lnTo>
                  <a:lnTo>
                    <a:pt x="94" y="72"/>
                  </a:lnTo>
                  <a:lnTo>
                    <a:pt x="94" y="70"/>
                  </a:lnTo>
                  <a:lnTo>
                    <a:pt x="94" y="68"/>
                  </a:lnTo>
                  <a:lnTo>
                    <a:pt x="96" y="68"/>
                  </a:lnTo>
                  <a:lnTo>
                    <a:pt x="96" y="66"/>
                  </a:lnTo>
                  <a:lnTo>
                    <a:pt x="98" y="66"/>
                  </a:lnTo>
                  <a:lnTo>
                    <a:pt x="98" y="64"/>
                  </a:lnTo>
                  <a:lnTo>
                    <a:pt x="100" y="64"/>
                  </a:lnTo>
                  <a:lnTo>
                    <a:pt x="102" y="64"/>
                  </a:lnTo>
                  <a:lnTo>
                    <a:pt x="104" y="64"/>
                  </a:lnTo>
                  <a:lnTo>
                    <a:pt x="102" y="64"/>
                  </a:lnTo>
                  <a:lnTo>
                    <a:pt x="102" y="62"/>
                  </a:lnTo>
                  <a:lnTo>
                    <a:pt x="102" y="60"/>
                  </a:lnTo>
                  <a:lnTo>
                    <a:pt x="102" y="58"/>
                  </a:lnTo>
                  <a:lnTo>
                    <a:pt x="104" y="58"/>
                  </a:lnTo>
                  <a:lnTo>
                    <a:pt x="104" y="56"/>
                  </a:lnTo>
                  <a:lnTo>
                    <a:pt x="102" y="56"/>
                  </a:lnTo>
                  <a:lnTo>
                    <a:pt x="102" y="54"/>
                  </a:lnTo>
                  <a:lnTo>
                    <a:pt x="102" y="52"/>
                  </a:lnTo>
                  <a:lnTo>
                    <a:pt x="104" y="52"/>
                  </a:lnTo>
                  <a:lnTo>
                    <a:pt x="104" y="50"/>
                  </a:lnTo>
                  <a:lnTo>
                    <a:pt x="102" y="50"/>
                  </a:lnTo>
                  <a:lnTo>
                    <a:pt x="104" y="50"/>
                  </a:lnTo>
                  <a:lnTo>
                    <a:pt x="106" y="50"/>
                  </a:lnTo>
                  <a:lnTo>
                    <a:pt x="108" y="50"/>
                  </a:lnTo>
                  <a:lnTo>
                    <a:pt x="110" y="50"/>
                  </a:lnTo>
                  <a:lnTo>
                    <a:pt x="112" y="50"/>
                  </a:lnTo>
                  <a:close/>
                  <a:moveTo>
                    <a:pt x="378" y="40"/>
                  </a:moveTo>
                  <a:lnTo>
                    <a:pt x="378" y="38"/>
                  </a:lnTo>
                  <a:lnTo>
                    <a:pt x="378" y="40"/>
                  </a:lnTo>
                  <a:close/>
                </a:path>
              </a:pathLst>
            </a:custGeom>
            <a:solidFill>
              <a:srgbClr val="575F9F"/>
            </a:solidFill>
            <a:ln w="3175">
              <a:solidFill>
                <a:sysClr val="window" lastClr="FFFF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black"/>
                </a:solidFill>
                <a:effectLst/>
                <a:uLnTx/>
                <a:uFillTx/>
                <a:ea typeface="宋体" panose="02010600030101010101" pitchFamily="2" charset="-122"/>
              </a:endParaRPr>
            </a:p>
          </p:txBody>
        </p:sp>
        <p:sp>
          <p:nvSpPr>
            <p:cNvPr id="36" name="Freeform 3178">
              <a:extLst>
                <a:ext uri="{FF2B5EF4-FFF2-40B4-BE49-F238E27FC236}">
                  <a16:creationId xmlns:a16="http://schemas.microsoft.com/office/drawing/2014/main" id="{2982FE18-420D-4285-ED8F-867E7DB215C4}"/>
                </a:ext>
              </a:extLst>
            </p:cNvPr>
            <p:cNvSpPr>
              <a:spLocks noEditPoints="1"/>
            </p:cNvSpPr>
            <p:nvPr/>
          </p:nvSpPr>
          <p:spPr bwMode="auto">
            <a:xfrm>
              <a:off x="5946775" y="3049588"/>
              <a:ext cx="276225" cy="314325"/>
            </a:xfrm>
            <a:custGeom>
              <a:avLst/>
              <a:gdLst>
                <a:gd name="T0" fmla="*/ 84 w 174"/>
                <a:gd name="T1" fmla="*/ 38 h 198"/>
                <a:gd name="T2" fmla="*/ 82 w 174"/>
                <a:gd name="T3" fmla="*/ 32 h 198"/>
                <a:gd name="T4" fmla="*/ 76 w 174"/>
                <a:gd name="T5" fmla="*/ 30 h 198"/>
                <a:gd name="T6" fmla="*/ 132 w 174"/>
                <a:gd name="T7" fmla="*/ 18 h 198"/>
                <a:gd name="T8" fmla="*/ 164 w 174"/>
                <a:gd name="T9" fmla="*/ 14 h 198"/>
                <a:gd name="T10" fmla="*/ 168 w 174"/>
                <a:gd name="T11" fmla="*/ 32 h 198"/>
                <a:gd name="T12" fmla="*/ 172 w 174"/>
                <a:gd name="T13" fmla="*/ 48 h 198"/>
                <a:gd name="T14" fmla="*/ 174 w 174"/>
                <a:gd name="T15" fmla="*/ 68 h 198"/>
                <a:gd name="T16" fmla="*/ 174 w 174"/>
                <a:gd name="T17" fmla="*/ 80 h 198"/>
                <a:gd name="T18" fmla="*/ 174 w 174"/>
                <a:gd name="T19" fmla="*/ 90 h 198"/>
                <a:gd name="T20" fmla="*/ 172 w 174"/>
                <a:gd name="T21" fmla="*/ 108 h 198"/>
                <a:gd name="T22" fmla="*/ 170 w 174"/>
                <a:gd name="T23" fmla="*/ 122 h 198"/>
                <a:gd name="T24" fmla="*/ 162 w 174"/>
                <a:gd name="T25" fmla="*/ 132 h 198"/>
                <a:gd name="T26" fmla="*/ 154 w 174"/>
                <a:gd name="T27" fmla="*/ 142 h 198"/>
                <a:gd name="T28" fmla="*/ 144 w 174"/>
                <a:gd name="T29" fmla="*/ 146 h 198"/>
                <a:gd name="T30" fmla="*/ 140 w 174"/>
                <a:gd name="T31" fmla="*/ 158 h 198"/>
                <a:gd name="T32" fmla="*/ 136 w 174"/>
                <a:gd name="T33" fmla="*/ 170 h 198"/>
                <a:gd name="T34" fmla="*/ 128 w 174"/>
                <a:gd name="T35" fmla="*/ 166 h 198"/>
                <a:gd name="T36" fmla="*/ 122 w 174"/>
                <a:gd name="T37" fmla="*/ 176 h 198"/>
                <a:gd name="T38" fmla="*/ 122 w 174"/>
                <a:gd name="T39" fmla="*/ 186 h 198"/>
                <a:gd name="T40" fmla="*/ 118 w 174"/>
                <a:gd name="T41" fmla="*/ 196 h 198"/>
                <a:gd name="T42" fmla="*/ 104 w 174"/>
                <a:gd name="T43" fmla="*/ 192 h 198"/>
                <a:gd name="T44" fmla="*/ 98 w 174"/>
                <a:gd name="T45" fmla="*/ 184 h 198"/>
                <a:gd name="T46" fmla="*/ 88 w 174"/>
                <a:gd name="T47" fmla="*/ 186 h 198"/>
                <a:gd name="T48" fmla="*/ 76 w 174"/>
                <a:gd name="T49" fmla="*/ 188 h 198"/>
                <a:gd name="T50" fmla="*/ 60 w 174"/>
                <a:gd name="T51" fmla="*/ 192 h 198"/>
                <a:gd name="T52" fmla="*/ 48 w 174"/>
                <a:gd name="T53" fmla="*/ 186 h 198"/>
                <a:gd name="T54" fmla="*/ 36 w 174"/>
                <a:gd name="T55" fmla="*/ 180 h 198"/>
                <a:gd name="T56" fmla="*/ 26 w 174"/>
                <a:gd name="T57" fmla="*/ 174 h 198"/>
                <a:gd name="T58" fmla="*/ 14 w 174"/>
                <a:gd name="T59" fmla="*/ 174 h 198"/>
                <a:gd name="T60" fmla="*/ 12 w 174"/>
                <a:gd name="T61" fmla="*/ 156 h 198"/>
                <a:gd name="T62" fmla="*/ 10 w 174"/>
                <a:gd name="T63" fmla="*/ 138 h 198"/>
                <a:gd name="T64" fmla="*/ 8 w 174"/>
                <a:gd name="T65" fmla="*/ 120 h 198"/>
                <a:gd name="T66" fmla="*/ 8 w 174"/>
                <a:gd name="T67" fmla="*/ 102 h 198"/>
                <a:gd name="T68" fmla="*/ 6 w 174"/>
                <a:gd name="T69" fmla="*/ 84 h 198"/>
                <a:gd name="T70" fmla="*/ 4 w 174"/>
                <a:gd name="T71" fmla="*/ 68 h 198"/>
                <a:gd name="T72" fmla="*/ 2 w 174"/>
                <a:gd name="T73" fmla="*/ 48 h 198"/>
                <a:gd name="T74" fmla="*/ 8 w 174"/>
                <a:gd name="T75" fmla="*/ 36 h 198"/>
                <a:gd name="T76" fmla="*/ 26 w 174"/>
                <a:gd name="T77" fmla="*/ 36 h 198"/>
                <a:gd name="T78" fmla="*/ 44 w 174"/>
                <a:gd name="T79" fmla="*/ 32 h 198"/>
                <a:gd name="T80" fmla="*/ 56 w 174"/>
                <a:gd name="T81" fmla="*/ 32 h 198"/>
                <a:gd name="T82" fmla="*/ 58 w 174"/>
                <a:gd name="T83" fmla="*/ 32 h 198"/>
                <a:gd name="T84" fmla="*/ 64 w 174"/>
                <a:gd name="T85" fmla="*/ 36 h 198"/>
                <a:gd name="T86" fmla="*/ 68 w 174"/>
                <a:gd name="T87" fmla="*/ 38 h 198"/>
                <a:gd name="T88" fmla="*/ 66 w 174"/>
                <a:gd name="T89" fmla="*/ 40 h 198"/>
                <a:gd name="T90" fmla="*/ 74 w 174"/>
                <a:gd name="T91" fmla="*/ 36 h 198"/>
                <a:gd name="T92" fmla="*/ 78 w 174"/>
                <a:gd name="T93" fmla="*/ 36 h 198"/>
                <a:gd name="T94" fmla="*/ 80 w 174"/>
                <a:gd name="T95" fmla="*/ 36 h 198"/>
                <a:gd name="T96" fmla="*/ 70 w 174"/>
                <a:gd name="T97" fmla="*/ 42 h 198"/>
                <a:gd name="T98" fmla="*/ 78 w 174"/>
                <a:gd name="T99" fmla="*/ 38 h 198"/>
                <a:gd name="T100" fmla="*/ 86 w 174"/>
                <a:gd name="T101" fmla="*/ 42 h 198"/>
                <a:gd name="T102" fmla="*/ 96 w 174"/>
                <a:gd name="T103" fmla="*/ 40 h 198"/>
                <a:gd name="T104" fmla="*/ 104 w 174"/>
                <a:gd name="T105" fmla="*/ 36 h 198"/>
                <a:gd name="T106" fmla="*/ 120 w 174"/>
                <a:gd name="T107" fmla="*/ 32 h 198"/>
                <a:gd name="T108" fmla="*/ 120 w 174"/>
                <a:gd name="T109" fmla="*/ 32 h 198"/>
                <a:gd name="T110" fmla="*/ 126 w 174"/>
                <a:gd name="T111" fmla="*/ 26 h 198"/>
                <a:gd name="T112" fmla="*/ 134 w 174"/>
                <a:gd name="T113" fmla="*/ 18 h 198"/>
                <a:gd name="T114" fmla="*/ 146 w 174"/>
                <a:gd name="T115" fmla="*/ 10 h 198"/>
                <a:gd name="T116" fmla="*/ 154 w 174"/>
                <a:gd name="T117" fmla="*/ 6 h 198"/>
                <a:gd name="T118" fmla="*/ 162 w 174"/>
                <a:gd name="T119" fmla="*/ 0 h 198"/>
                <a:gd name="T120" fmla="*/ 76 w 174"/>
                <a:gd name="T121" fmla="*/ 36 h 198"/>
                <a:gd name="T122" fmla="*/ 76 w 174"/>
                <a:gd name="T123" fmla="*/ 36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4" h="198">
                  <a:moveTo>
                    <a:pt x="84" y="40"/>
                  </a:moveTo>
                  <a:lnTo>
                    <a:pt x="86" y="40"/>
                  </a:lnTo>
                  <a:lnTo>
                    <a:pt x="84" y="40"/>
                  </a:lnTo>
                  <a:close/>
                  <a:moveTo>
                    <a:pt x="84" y="38"/>
                  </a:moveTo>
                  <a:lnTo>
                    <a:pt x="84" y="40"/>
                  </a:lnTo>
                  <a:lnTo>
                    <a:pt x="86" y="40"/>
                  </a:lnTo>
                  <a:lnTo>
                    <a:pt x="84" y="40"/>
                  </a:lnTo>
                  <a:lnTo>
                    <a:pt x="84" y="38"/>
                  </a:lnTo>
                  <a:lnTo>
                    <a:pt x="82" y="38"/>
                  </a:lnTo>
                  <a:lnTo>
                    <a:pt x="84" y="38"/>
                  </a:lnTo>
                  <a:close/>
                  <a:moveTo>
                    <a:pt x="78" y="38"/>
                  </a:moveTo>
                  <a:lnTo>
                    <a:pt x="76" y="38"/>
                  </a:lnTo>
                  <a:lnTo>
                    <a:pt x="78" y="38"/>
                  </a:lnTo>
                  <a:close/>
                  <a:moveTo>
                    <a:pt x="82" y="32"/>
                  </a:moveTo>
                  <a:lnTo>
                    <a:pt x="82" y="34"/>
                  </a:lnTo>
                  <a:lnTo>
                    <a:pt x="80" y="34"/>
                  </a:lnTo>
                  <a:lnTo>
                    <a:pt x="80" y="32"/>
                  </a:lnTo>
                  <a:lnTo>
                    <a:pt x="82" y="32"/>
                  </a:lnTo>
                  <a:lnTo>
                    <a:pt x="82" y="34"/>
                  </a:lnTo>
                  <a:lnTo>
                    <a:pt x="82" y="32"/>
                  </a:lnTo>
                  <a:close/>
                  <a:moveTo>
                    <a:pt x="78" y="30"/>
                  </a:moveTo>
                  <a:lnTo>
                    <a:pt x="78" y="32"/>
                  </a:lnTo>
                  <a:lnTo>
                    <a:pt x="76" y="32"/>
                  </a:lnTo>
                  <a:lnTo>
                    <a:pt x="76" y="30"/>
                  </a:lnTo>
                  <a:lnTo>
                    <a:pt x="78" y="30"/>
                  </a:lnTo>
                  <a:close/>
                  <a:moveTo>
                    <a:pt x="76" y="30"/>
                  </a:moveTo>
                  <a:lnTo>
                    <a:pt x="74" y="30"/>
                  </a:lnTo>
                  <a:lnTo>
                    <a:pt x="76" y="30"/>
                  </a:lnTo>
                  <a:close/>
                  <a:moveTo>
                    <a:pt x="78" y="30"/>
                  </a:moveTo>
                  <a:lnTo>
                    <a:pt x="76" y="30"/>
                  </a:lnTo>
                  <a:lnTo>
                    <a:pt x="78" y="30"/>
                  </a:lnTo>
                  <a:lnTo>
                    <a:pt x="78" y="28"/>
                  </a:lnTo>
                  <a:lnTo>
                    <a:pt x="78" y="30"/>
                  </a:lnTo>
                  <a:close/>
                  <a:moveTo>
                    <a:pt x="52" y="32"/>
                  </a:moveTo>
                  <a:lnTo>
                    <a:pt x="54" y="32"/>
                  </a:lnTo>
                  <a:lnTo>
                    <a:pt x="52" y="32"/>
                  </a:lnTo>
                  <a:close/>
                  <a:moveTo>
                    <a:pt x="134" y="18"/>
                  </a:moveTo>
                  <a:lnTo>
                    <a:pt x="132" y="18"/>
                  </a:lnTo>
                  <a:lnTo>
                    <a:pt x="134" y="18"/>
                  </a:lnTo>
                  <a:lnTo>
                    <a:pt x="132" y="18"/>
                  </a:lnTo>
                  <a:lnTo>
                    <a:pt x="134" y="18"/>
                  </a:lnTo>
                  <a:close/>
                  <a:moveTo>
                    <a:pt x="162" y="0"/>
                  </a:moveTo>
                  <a:lnTo>
                    <a:pt x="162" y="2"/>
                  </a:lnTo>
                  <a:lnTo>
                    <a:pt x="162" y="4"/>
                  </a:lnTo>
                  <a:lnTo>
                    <a:pt x="162" y="6"/>
                  </a:lnTo>
                  <a:lnTo>
                    <a:pt x="164" y="6"/>
                  </a:lnTo>
                  <a:lnTo>
                    <a:pt x="164" y="8"/>
                  </a:lnTo>
                  <a:lnTo>
                    <a:pt x="164" y="10"/>
                  </a:lnTo>
                  <a:lnTo>
                    <a:pt x="164" y="12"/>
                  </a:lnTo>
                  <a:lnTo>
                    <a:pt x="164" y="14"/>
                  </a:lnTo>
                  <a:lnTo>
                    <a:pt x="164" y="18"/>
                  </a:lnTo>
                  <a:lnTo>
                    <a:pt x="166" y="18"/>
                  </a:lnTo>
                  <a:lnTo>
                    <a:pt x="166" y="20"/>
                  </a:lnTo>
                  <a:lnTo>
                    <a:pt x="166" y="22"/>
                  </a:lnTo>
                  <a:lnTo>
                    <a:pt x="166" y="24"/>
                  </a:lnTo>
                  <a:lnTo>
                    <a:pt x="166" y="26"/>
                  </a:lnTo>
                  <a:lnTo>
                    <a:pt x="166" y="28"/>
                  </a:lnTo>
                  <a:lnTo>
                    <a:pt x="168" y="28"/>
                  </a:lnTo>
                  <a:lnTo>
                    <a:pt x="168" y="30"/>
                  </a:lnTo>
                  <a:lnTo>
                    <a:pt x="168" y="32"/>
                  </a:lnTo>
                  <a:lnTo>
                    <a:pt x="168" y="34"/>
                  </a:lnTo>
                  <a:lnTo>
                    <a:pt x="168" y="36"/>
                  </a:lnTo>
                  <a:lnTo>
                    <a:pt x="168" y="36"/>
                  </a:lnTo>
                  <a:lnTo>
                    <a:pt x="170" y="38"/>
                  </a:lnTo>
                  <a:lnTo>
                    <a:pt x="170" y="40"/>
                  </a:lnTo>
                  <a:lnTo>
                    <a:pt x="170" y="42"/>
                  </a:lnTo>
                  <a:lnTo>
                    <a:pt x="170" y="44"/>
                  </a:lnTo>
                  <a:lnTo>
                    <a:pt x="170" y="46"/>
                  </a:lnTo>
                  <a:lnTo>
                    <a:pt x="170" y="48"/>
                  </a:lnTo>
                  <a:lnTo>
                    <a:pt x="172" y="48"/>
                  </a:lnTo>
                  <a:lnTo>
                    <a:pt x="172" y="50"/>
                  </a:lnTo>
                  <a:lnTo>
                    <a:pt x="172" y="52"/>
                  </a:lnTo>
                  <a:lnTo>
                    <a:pt x="172" y="54"/>
                  </a:lnTo>
                  <a:lnTo>
                    <a:pt x="172" y="56"/>
                  </a:lnTo>
                  <a:lnTo>
                    <a:pt x="172" y="58"/>
                  </a:lnTo>
                  <a:lnTo>
                    <a:pt x="174" y="60"/>
                  </a:lnTo>
                  <a:lnTo>
                    <a:pt x="174" y="62"/>
                  </a:lnTo>
                  <a:lnTo>
                    <a:pt x="174" y="64"/>
                  </a:lnTo>
                  <a:lnTo>
                    <a:pt x="174" y="66"/>
                  </a:lnTo>
                  <a:lnTo>
                    <a:pt x="174" y="68"/>
                  </a:lnTo>
                  <a:lnTo>
                    <a:pt x="174" y="70"/>
                  </a:lnTo>
                  <a:lnTo>
                    <a:pt x="172" y="70"/>
                  </a:lnTo>
                  <a:lnTo>
                    <a:pt x="170" y="70"/>
                  </a:lnTo>
                  <a:lnTo>
                    <a:pt x="170" y="72"/>
                  </a:lnTo>
                  <a:lnTo>
                    <a:pt x="170" y="74"/>
                  </a:lnTo>
                  <a:lnTo>
                    <a:pt x="170" y="76"/>
                  </a:lnTo>
                  <a:lnTo>
                    <a:pt x="172" y="76"/>
                  </a:lnTo>
                  <a:lnTo>
                    <a:pt x="172" y="78"/>
                  </a:lnTo>
                  <a:lnTo>
                    <a:pt x="174" y="78"/>
                  </a:lnTo>
                  <a:lnTo>
                    <a:pt x="174" y="80"/>
                  </a:lnTo>
                  <a:lnTo>
                    <a:pt x="172" y="80"/>
                  </a:lnTo>
                  <a:lnTo>
                    <a:pt x="172" y="82"/>
                  </a:lnTo>
                  <a:lnTo>
                    <a:pt x="174" y="82"/>
                  </a:lnTo>
                  <a:lnTo>
                    <a:pt x="172" y="82"/>
                  </a:lnTo>
                  <a:lnTo>
                    <a:pt x="172" y="84"/>
                  </a:lnTo>
                  <a:lnTo>
                    <a:pt x="174" y="84"/>
                  </a:lnTo>
                  <a:lnTo>
                    <a:pt x="174" y="84"/>
                  </a:lnTo>
                  <a:lnTo>
                    <a:pt x="174" y="86"/>
                  </a:lnTo>
                  <a:lnTo>
                    <a:pt x="174" y="88"/>
                  </a:lnTo>
                  <a:lnTo>
                    <a:pt x="174" y="90"/>
                  </a:lnTo>
                  <a:lnTo>
                    <a:pt x="172" y="90"/>
                  </a:lnTo>
                  <a:lnTo>
                    <a:pt x="172" y="92"/>
                  </a:lnTo>
                  <a:lnTo>
                    <a:pt x="172" y="94"/>
                  </a:lnTo>
                  <a:lnTo>
                    <a:pt x="172" y="96"/>
                  </a:lnTo>
                  <a:lnTo>
                    <a:pt x="172" y="98"/>
                  </a:lnTo>
                  <a:lnTo>
                    <a:pt x="172" y="100"/>
                  </a:lnTo>
                  <a:lnTo>
                    <a:pt x="172" y="102"/>
                  </a:lnTo>
                  <a:lnTo>
                    <a:pt x="172" y="104"/>
                  </a:lnTo>
                  <a:lnTo>
                    <a:pt x="172" y="106"/>
                  </a:lnTo>
                  <a:lnTo>
                    <a:pt x="172" y="108"/>
                  </a:lnTo>
                  <a:lnTo>
                    <a:pt x="170" y="108"/>
                  </a:lnTo>
                  <a:lnTo>
                    <a:pt x="170" y="110"/>
                  </a:lnTo>
                  <a:lnTo>
                    <a:pt x="170" y="112"/>
                  </a:lnTo>
                  <a:lnTo>
                    <a:pt x="170" y="114"/>
                  </a:lnTo>
                  <a:lnTo>
                    <a:pt x="170" y="116"/>
                  </a:lnTo>
                  <a:lnTo>
                    <a:pt x="168" y="116"/>
                  </a:lnTo>
                  <a:lnTo>
                    <a:pt x="168" y="118"/>
                  </a:lnTo>
                  <a:lnTo>
                    <a:pt x="170" y="118"/>
                  </a:lnTo>
                  <a:lnTo>
                    <a:pt x="170" y="120"/>
                  </a:lnTo>
                  <a:lnTo>
                    <a:pt x="170" y="122"/>
                  </a:lnTo>
                  <a:lnTo>
                    <a:pt x="170" y="124"/>
                  </a:lnTo>
                  <a:lnTo>
                    <a:pt x="168" y="124"/>
                  </a:lnTo>
                  <a:lnTo>
                    <a:pt x="168" y="126"/>
                  </a:lnTo>
                  <a:lnTo>
                    <a:pt x="166" y="126"/>
                  </a:lnTo>
                  <a:lnTo>
                    <a:pt x="166" y="128"/>
                  </a:lnTo>
                  <a:lnTo>
                    <a:pt x="164" y="128"/>
                  </a:lnTo>
                  <a:lnTo>
                    <a:pt x="164" y="130"/>
                  </a:lnTo>
                  <a:lnTo>
                    <a:pt x="162" y="130"/>
                  </a:lnTo>
                  <a:lnTo>
                    <a:pt x="162" y="132"/>
                  </a:lnTo>
                  <a:lnTo>
                    <a:pt x="162" y="132"/>
                  </a:lnTo>
                  <a:lnTo>
                    <a:pt x="160" y="132"/>
                  </a:lnTo>
                  <a:lnTo>
                    <a:pt x="160" y="134"/>
                  </a:lnTo>
                  <a:lnTo>
                    <a:pt x="158" y="134"/>
                  </a:lnTo>
                  <a:lnTo>
                    <a:pt x="158" y="136"/>
                  </a:lnTo>
                  <a:lnTo>
                    <a:pt x="158" y="138"/>
                  </a:lnTo>
                  <a:lnTo>
                    <a:pt x="156" y="138"/>
                  </a:lnTo>
                  <a:lnTo>
                    <a:pt x="154" y="138"/>
                  </a:lnTo>
                  <a:lnTo>
                    <a:pt x="154" y="140"/>
                  </a:lnTo>
                  <a:lnTo>
                    <a:pt x="154" y="140"/>
                  </a:lnTo>
                  <a:lnTo>
                    <a:pt x="154" y="142"/>
                  </a:lnTo>
                  <a:lnTo>
                    <a:pt x="152" y="142"/>
                  </a:lnTo>
                  <a:lnTo>
                    <a:pt x="152" y="140"/>
                  </a:lnTo>
                  <a:lnTo>
                    <a:pt x="152" y="138"/>
                  </a:lnTo>
                  <a:lnTo>
                    <a:pt x="150" y="138"/>
                  </a:lnTo>
                  <a:lnTo>
                    <a:pt x="148" y="138"/>
                  </a:lnTo>
                  <a:lnTo>
                    <a:pt x="148" y="140"/>
                  </a:lnTo>
                  <a:lnTo>
                    <a:pt x="146" y="142"/>
                  </a:lnTo>
                  <a:lnTo>
                    <a:pt x="146" y="144"/>
                  </a:lnTo>
                  <a:lnTo>
                    <a:pt x="146" y="146"/>
                  </a:lnTo>
                  <a:lnTo>
                    <a:pt x="144" y="146"/>
                  </a:lnTo>
                  <a:lnTo>
                    <a:pt x="142" y="146"/>
                  </a:lnTo>
                  <a:lnTo>
                    <a:pt x="142" y="148"/>
                  </a:lnTo>
                  <a:lnTo>
                    <a:pt x="140" y="148"/>
                  </a:lnTo>
                  <a:lnTo>
                    <a:pt x="140" y="150"/>
                  </a:lnTo>
                  <a:lnTo>
                    <a:pt x="140" y="152"/>
                  </a:lnTo>
                  <a:lnTo>
                    <a:pt x="138" y="152"/>
                  </a:lnTo>
                  <a:lnTo>
                    <a:pt x="138" y="154"/>
                  </a:lnTo>
                  <a:lnTo>
                    <a:pt x="140" y="154"/>
                  </a:lnTo>
                  <a:lnTo>
                    <a:pt x="140" y="156"/>
                  </a:lnTo>
                  <a:lnTo>
                    <a:pt x="140" y="158"/>
                  </a:lnTo>
                  <a:lnTo>
                    <a:pt x="138" y="158"/>
                  </a:lnTo>
                  <a:lnTo>
                    <a:pt x="138" y="160"/>
                  </a:lnTo>
                  <a:lnTo>
                    <a:pt x="140" y="160"/>
                  </a:lnTo>
                  <a:lnTo>
                    <a:pt x="140" y="162"/>
                  </a:lnTo>
                  <a:lnTo>
                    <a:pt x="140" y="164"/>
                  </a:lnTo>
                  <a:lnTo>
                    <a:pt x="140" y="166"/>
                  </a:lnTo>
                  <a:lnTo>
                    <a:pt x="138" y="166"/>
                  </a:lnTo>
                  <a:lnTo>
                    <a:pt x="138" y="168"/>
                  </a:lnTo>
                  <a:lnTo>
                    <a:pt x="136" y="168"/>
                  </a:lnTo>
                  <a:lnTo>
                    <a:pt x="136" y="170"/>
                  </a:lnTo>
                  <a:lnTo>
                    <a:pt x="134" y="170"/>
                  </a:lnTo>
                  <a:lnTo>
                    <a:pt x="134" y="168"/>
                  </a:lnTo>
                  <a:lnTo>
                    <a:pt x="134" y="166"/>
                  </a:lnTo>
                  <a:lnTo>
                    <a:pt x="134" y="164"/>
                  </a:lnTo>
                  <a:lnTo>
                    <a:pt x="132" y="164"/>
                  </a:lnTo>
                  <a:lnTo>
                    <a:pt x="130" y="164"/>
                  </a:lnTo>
                  <a:lnTo>
                    <a:pt x="130" y="162"/>
                  </a:lnTo>
                  <a:lnTo>
                    <a:pt x="128" y="162"/>
                  </a:lnTo>
                  <a:lnTo>
                    <a:pt x="128" y="164"/>
                  </a:lnTo>
                  <a:lnTo>
                    <a:pt x="128" y="166"/>
                  </a:lnTo>
                  <a:lnTo>
                    <a:pt x="126" y="166"/>
                  </a:lnTo>
                  <a:lnTo>
                    <a:pt x="126" y="168"/>
                  </a:lnTo>
                  <a:lnTo>
                    <a:pt x="126" y="170"/>
                  </a:lnTo>
                  <a:lnTo>
                    <a:pt x="124" y="170"/>
                  </a:lnTo>
                  <a:lnTo>
                    <a:pt x="124" y="172"/>
                  </a:lnTo>
                  <a:lnTo>
                    <a:pt x="126" y="172"/>
                  </a:lnTo>
                  <a:lnTo>
                    <a:pt x="126" y="174"/>
                  </a:lnTo>
                  <a:lnTo>
                    <a:pt x="124" y="174"/>
                  </a:lnTo>
                  <a:lnTo>
                    <a:pt x="124" y="176"/>
                  </a:lnTo>
                  <a:lnTo>
                    <a:pt x="122" y="176"/>
                  </a:lnTo>
                  <a:lnTo>
                    <a:pt x="122" y="178"/>
                  </a:lnTo>
                  <a:lnTo>
                    <a:pt x="124" y="178"/>
                  </a:lnTo>
                  <a:lnTo>
                    <a:pt x="124" y="180"/>
                  </a:lnTo>
                  <a:lnTo>
                    <a:pt x="124" y="180"/>
                  </a:lnTo>
                  <a:lnTo>
                    <a:pt x="124" y="182"/>
                  </a:lnTo>
                  <a:lnTo>
                    <a:pt x="126" y="182"/>
                  </a:lnTo>
                  <a:lnTo>
                    <a:pt x="126" y="184"/>
                  </a:lnTo>
                  <a:lnTo>
                    <a:pt x="126" y="186"/>
                  </a:lnTo>
                  <a:lnTo>
                    <a:pt x="124" y="186"/>
                  </a:lnTo>
                  <a:lnTo>
                    <a:pt x="122" y="186"/>
                  </a:lnTo>
                  <a:lnTo>
                    <a:pt x="120" y="186"/>
                  </a:lnTo>
                  <a:lnTo>
                    <a:pt x="120" y="188"/>
                  </a:lnTo>
                  <a:lnTo>
                    <a:pt x="122" y="188"/>
                  </a:lnTo>
                  <a:lnTo>
                    <a:pt x="122" y="190"/>
                  </a:lnTo>
                  <a:lnTo>
                    <a:pt x="120" y="190"/>
                  </a:lnTo>
                  <a:lnTo>
                    <a:pt x="122" y="192"/>
                  </a:lnTo>
                  <a:lnTo>
                    <a:pt x="120" y="192"/>
                  </a:lnTo>
                  <a:lnTo>
                    <a:pt x="120" y="194"/>
                  </a:lnTo>
                  <a:lnTo>
                    <a:pt x="120" y="196"/>
                  </a:lnTo>
                  <a:lnTo>
                    <a:pt x="118" y="196"/>
                  </a:lnTo>
                  <a:lnTo>
                    <a:pt x="116" y="196"/>
                  </a:lnTo>
                  <a:lnTo>
                    <a:pt x="114" y="196"/>
                  </a:lnTo>
                  <a:lnTo>
                    <a:pt x="114" y="198"/>
                  </a:lnTo>
                  <a:lnTo>
                    <a:pt x="112" y="198"/>
                  </a:lnTo>
                  <a:lnTo>
                    <a:pt x="110" y="198"/>
                  </a:lnTo>
                  <a:lnTo>
                    <a:pt x="108" y="196"/>
                  </a:lnTo>
                  <a:lnTo>
                    <a:pt x="108" y="194"/>
                  </a:lnTo>
                  <a:lnTo>
                    <a:pt x="106" y="194"/>
                  </a:lnTo>
                  <a:lnTo>
                    <a:pt x="106" y="192"/>
                  </a:lnTo>
                  <a:lnTo>
                    <a:pt x="104" y="192"/>
                  </a:lnTo>
                  <a:lnTo>
                    <a:pt x="104" y="192"/>
                  </a:lnTo>
                  <a:lnTo>
                    <a:pt x="104" y="190"/>
                  </a:lnTo>
                  <a:lnTo>
                    <a:pt x="102" y="190"/>
                  </a:lnTo>
                  <a:lnTo>
                    <a:pt x="102" y="192"/>
                  </a:lnTo>
                  <a:lnTo>
                    <a:pt x="102" y="190"/>
                  </a:lnTo>
                  <a:lnTo>
                    <a:pt x="100" y="190"/>
                  </a:lnTo>
                  <a:lnTo>
                    <a:pt x="98" y="190"/>
                  </a:lnTo>
                  <a:lnTo>
                    <a:pt x="98" y="188"/>
                  </a:lnTo>
                  <a:lnTo>
                    <a:pt x="98" y="186"/>
                  </a:lnTo>
                  <a:lnTo>
                    <a:pt x="98" y="184"/>
                  </a:lnTo>
                  <a:lnTo>
                    <a:pt x="96" y="184"/>
                  </a:lnTo>
                  <a:lnTo>
                    <a:pt x="96" y="182"/>
                  </a:lnTo>
                  <a:lnTo>
                    <a:pt x="96" y="180"/>
                  </a:lnTo>
                  <a:lnTo>
                    <a:pt x="96" y="182"/>
                  </a:lnTo>
                  <a:lnTo>
                    <a:pt x="94" y="182"/>
                  </a:lnTo>
                  <a:lnTo>
                    <a:pt x="92" y="182"/>
                  </a:lnTo>
                  <a:lnTo>
                    <a:pt x="92" y="184"/>
                  </a:lnTo>
                  <a:lnTo>
                    <a:pt x="90" y="184"/>
                  </a:lnTo>
                  <a:lnTo>
                    <a:pt x="90" y="186"/>
                  </a:lnTo>
                  <a:lnTo>
                    <a:pt x="88" y="186"/>
                  </a:lnTo>
                  <a:lnTo>
                    <a:pt x="86" y="188"/>
                  </a:lnTo>
                  <a:lnTo>
                    <a:pt x="86" y="190"/>
                  </a:lnTo>
                  <a:lnTo>
                    <a:pt x="84" y="190"/>
                  </a:lnTo>
                  <a:lnTo>
                    <a:pt x="82" y="190"/>
                  </a:lnTo>
                  <a:lnTo>
                    <a:pt x="80" y="190"/>
                  </a:lnTo>
                  <a:lnTo>
                    <a:pt x="80" y="192"/>
                  </a:lnTo>
                  <a:lnTo>
                    <a:pt x="78" y="192"/>
                  </a:lnTo>
                  <a:lnTo>
                    <a:pt x="78" y="190"/>
                  </a:lnTo>
                  <a:lnTo>
                    <a:pt x="76" y="190"/>
                  </a:lnTo>
                  <a:lnTo>
                    <a:pt x="76" y="188"/>
                  </a:lnTo>
                  <a:lnTo>
                    <a:pt x="74" y="188"/>
                  </a:lnTo>
                  <a:lnTo>
                    <a:pt x="72" y="188"/>
                  </a:lnTo>
                  <a:lnTo>
                    <a:pt x="70" y="188"/>
                  </a:lnTo>
                  <a:lnTo>
                    <a:pt x="68" y="188"/>
                  </a:lnTo>
                  <a:lnTo>
                    <a:pt x="66" y="188"/>
                  </a:lnTo>
                  <a:lnTo>
                    <a:pt x="66" y="190"/>
                  </a:lnTo>
                  <a:lnTo>
                    <a:pt x="64" y="190"/>
                  </a:lnTo>
                  <a:lnTo>
                    <a:pt x="64" y="192"/>
                  </a:lnTo>
                  <a:lnTo>
                    <a:pt x="62" y="192"/>
                  </a:lnTo>
                  <a:lnTo>
                    <a:pt x="60" y="192"/>
                  </a:lnTo>
                  <a:lnTo>
                    <a:pt x="58" y="192"/>
                  </a:lnTo>
                  <a:lnTo>
                    <a:pt x="58" y="190"/>
                  </a:lnTo>
                  <a:lnTo>
                    <a:pt x="58" y="188"/>
                  </a:lnTo>
                  <a:lnTo>
                    <a:pt x="56" y="188"/>
                  </a:lnTo>
                  <a:lnTo>
                    <a:pt x="56" y="188"/>
                  </a:lnTo>
                  <a:lnTo>
                    <a:pt x="56" y="186"/>
                  </a:lnTo>
                  <a:lnTo>
                    <a:pt x="54" y="186"/>
                  </a:lnTo>
                  <a:lnTo>
                    <a:pt x="52" y="186"/>
                  </a:lnTo>
                  <a:lnTo>
                    <a:pt x="50" y="186"/>
                  </a:lnTo>
                  <a:lnTo>
                    <a:pt x="48" y="186"/>
                  </a:lnTo>
                  <a:lnTo>
                    <a:pt x="46" y="186"/>
                  </a:lnTo>
                  <a:lnTo>
                    <a:pt x="44" y="186"/>
                  </a:lnTo>
                  <a:lnTo>
                    <a:pt x="42" y="186"/>
                  </a:lnTo>
                  <a:lnTo>
                    <a:pt x="40" y="186"/>
                  </a:lnTo>
                  <a:lnTo>
                    <a:pt x="40" y="184"/>
                  </a:lnTo>
                  <a:lnTo>
                    <a:pt x="40" y="182"/>
                  </a:lnTo>
                  <a:lnTo>
                    <a:pt x="40" y="180"/>
                  </a:lnTo>
                  <a:lnTo>
                    <a:pt x="38" y="180"/>
                  </a:lnTo>
                  <a:lnTo>
                    <a:pt x="38" y="180"/>
                  </a:lnTo>
                  <a:lnTo>
                    <a:pt x="36" y="180"/>
                  </a:lnTo>
                  <a:lnTo>
                    <a:pt x="36" y="178"/>
                  </a:lnTo>
                  <a:lnTo>
                    <a:pt x="36" y="176"/>
                  </a:lnTo>
                  <a:lnTo>
                    <a:pt x="34" y="176"/>
                  </a:lnTo>
                  <a:lnTo>
                    <a:pt x="32" y="176"/>
                  </a:lnTo>
                  <a:lnTo>
                    <a:pt x="30" y="176"/>
                  </a:lnTo>
                  <a:lnTo>
                    <a:pt x="30" y="174"/>
                  </a:lnTo>
                  <a:lnTo>
                    <a:pt x="30" y="172"/>
                  </a:lnTo>
                  <a:lnTo>
                    <a:pt x="28" y="172"/>
                  </a:lnTo>
                  <a:lnTo>
                    <a:pt x="26" y="172"/>
                  </a:lnTo>
                  <a:lnTo>
                    <a:pt x="26" y="174"/>
                  </a:lnTo>
                  <a:lnTo>
                    <a:pt x="24" y="174"/>
                  </a:lnTo>
                  <a:lnTo>
                    <a:pt x="22" y="174"/>
                  </a:lnTo>
                  <a:lnTo>
                    <a:pt x="22" y="176"/>
                  </a:lnTo>
                  <a:lnTo>
                    <a:pt x="22" y="174"/>
                  </a:lnTo>
                  <a:lnTo>
                    <a:pt x="20" y="174"/>
                  </a:lnTo>
                  <a:lnTo>
                    <a:pt x="18" y="174"/>
                  </a:lnTo>
                  <a:lnTo>
                    <a:pt x="18" y="172"/>
                  </a:lnTo>
                  <a:lnTo>
                    <a:pt x="16" y="172"/>
                  </a:lnTo>
                  <a:lnTo>
                    <a:pt x="14" y="172"/>
                  </a:lnTo>
                  <a:lnTo>
                    <a:pt x="14" y="174"/>
                  </a:lnTo>
                  <a:lnTo>
                    <a:pt x="12" y="174"/>
                  </a:lnTo>
                  <a:lnTo>
                    <a:pt x="12" y="172"/>
                  </a:lnTo>
                  <a:lnTo>
                    <a:pt x="12" y="170"/>
                  </a:lnTo>
                  <a:lnTo>
                    <a:pt x="12" y="168"/>
                  </a:lnTo>
                  <a:lnTo>
                    <a:pt x="12" y="166"/>
                  </a:lnTo>
                  <a:lnTo>
                    <a:pt x="12" y="164"/>
                  </a:lnTo>
                  <a:lnTo>
                    <a:pt x="12" y="162"/>
                  </a:lnTo>
                  <a:lnTo>
                    <a:pt x="12" y="160"/>
                  </a:lnTo>
                  <a:lnTo>
                    <a:pt x="12" y="158"/>
                  </a:lnTo>
                  <a:lnTo>
                    <a:pt x="12" y="156"/>
                  </a:lnTo>
                  <a:lnTo>
                    <a:pt x="12" y="154"/>
                  </a:lnTo>
                  <a:lnTo>
                    <a:pt x="10" y="154"/>
                  </a:lnTo>
                  <a:lnTo>
                    <a:pt x="10" y="152"/>
                  </a:lnTo>
                  <a:lnTo>
                    <a:pt x="10" y="150"/>
                  </a:lnTo>
                  <a:lnTo>
                    <a:pt x="10" y="148"/>
                  </a:lnTo>
                  <a:lnTo>
                    <a:pt x="10" y="146"/>
                  </a:lnTo>
                  <a:lnTo>
                    <a:pt x="10" y="144"/>
                  </a:lnTo>
                  <a:lnTo>
                    <a:pt x="10" y="142"/>
                  </a:lnTo>
                  <a:lnTo>
                    <a:pt x="10" y="140"/>
                  </a:lnTo>
                  <a:lnTo>
                    <a:pt x="10" y="138"/>
                  </a:lnTo>
                  <a:lnTo>
                    <a:pt x="8" y="136"/>
                  </a:lnTo>
                  <a:lnTo>
                    <a:pt x="8" y="134"/>
                  </a:lnTo>
                  <a:lnTo>
                    <a:pt x="8" y="132"/>
                  </a:lnTo>
                  <a:lnTo>
                    <a:pt x="8" y="132"/>
                  </a:lnTo>
                  <a:lnTo>
                    <a:pt x="8" y="130"/>
                  </a:lnTo>
                  <a:lnTo>
                    <a:pt x="8" y="128"/>
                  </a:lnTo>
                  <a:lnTo>
                    <a:pt x="8" y="126"/>
                  </a:lnTo>
                  <a:lnTo>
                    <a:pt x="8" y="124"/>
                  </a:lnTo>
                  <a:lnTo>
                    <a:pt x="8" y="122"/>
                  </a:lnTo>
                  <a:lnTo>
                    <a:pt x="8" y="120"/>
                  </a:lnTo>
                  <a:lnTo>
                    <a:pt x="8" y="118"/>
                  </a:lnTo>
                  <a:lnTo>
                    <a:pt x="8" y="118"/>
                  </a:lnTo>
                  <a:lnTo>
                    <a:pt x="8" y="116"/>
                  </a:lnTo>
                  <a:lnTo>
                    <a:pt x="8" y="114"/>
                  </a:lnTo>
                  <a:lnTo>
                    <a:pt x="8" y="112"/>
                  </a:lnTo>
                  <a:lnTo>
                    <a:pt x="8" y="110"/>
                  </a:lnTo>
                  <a:lnTo>
                    <a:pt x="8" y="108"/>
                  </a:lnTo>
                  <a:lnTo>
                    <a:pt x="8" y="106"/>
                  </a:lnTo>
                  <a:lnTo>
                    <a:pt x="8" y="104"/>
                  </a:lnTo>
                  <a:lnTo>
                    <a:pt x="8" y="102"/>
                  </a:lnTo>
                  <a:lnTo>
                    <a:pt x="8" y="100"/>
                  </a:lnTo>
                  <a:lnTo>
                    <a:pt x="8" y="98"/>
                  </a:lnTo>
                  <a:lnTo>
                    <a:pt x="6" y="98"/>
                  </a:lnTo>
                  <a:lnTo>
                    <a:pt x="6" y="96"/>
                  </a:lnTo>
                  <a:lnTo>
                    <a:pt x="6" y="94"/>
                  </a:lnTo>
                  <a:lnTo>
                    <a:pt x="6" y="92"/>
                  </a:lnTo>
                  <a:lnTo>
                    <a:pt x="6" y="90"/>
                  </a:lnTo>
                  <a:lnTo>
                    <a:pt x="6" y="88"/>
                  </a:lnTo>
                  <a:lnTo>
                    <a:pt x="6" y="86"/>
                  </a:lnTo>
                  <a:lnTo>
                    <a:pt x="6" y="84"/>
                  </a:lnTo>
                  <a:lnTo>
                    <a:pt x="6" y="84"/>
                  </a:lnTo>
                  <a:lnTo>
                    <a:pt x="6" y="82"/>
                  </a:lnTo>
                  <a:lnTo>
                    <a:pt x="4" y="82"/>
                  </a:lnTo>
                  <a:lnTo>
                    <a:pt x="4" y="80"/>
                  </a:lnTo>
                  <a:lnTo>
                    <a:pt x="4" y="78"/>
                  </a:lnTo>
                  <a:lnTo>
                    <a:pt x="4" y="76"/>
                  </a:lnTo>
                  <a:lnTo>
                    <a:pt x="4" y="74"/>
                  </a:lnTo>
                  <a:lnTo>
                    <a:pt x="4" y="72"/>
                  </a:lnTo>
                  <a:lnTo>
                    <a:pt x="4" y="70"/>
                  </a:lnTo>
                  <a:lnTo>
                    <a:pt x="4" y="68"/>
                  </a:lnTo>
                  <a:lnTo>
                    <a:pt x="4" y="66"/>
                  </a:lnTo>
                  <a:lnTo>
                    <a:pt x="2" y="64"/>
                  </a:lnTo>
                  <a:lnTo>
                    <a:pt x="2" y="62"/>
                  </a:lnTo>
                  <a:lnTo>
                    <a:pt x="2" y="60"/>
                  </a:lnTo>
                  <a:lnTo>
                    <a:pt x="2" y="58"/>
                  </a:lnTo>
                  <a:lnTo>
                    <a:pt x="2" y="56"/>
                  </a:lnTo>
                  <a:lnTo>
                    <a:pt x="2" y="54"/>
                  </a:lnTo>
                  <a:lnTo>
                    <a:pt x="2" y="52"/>
                  </a:lnTo>
                  <a:lnTo>
                    <a:pt x="2" y="50"/>
                  </a:lnTo>
                  <a:lnTo>
                    <a:pt x="2" y="48"/>
                  </a:lnTo>
                  <a:lnTo>
                    <a:pt x="0" y="46"/>
                  </a:lnTo>
                  <a:lnTo>
                    <a:pt x="0" y="44"/>
                  </a:lnTo>
                  <a:lnTo>
                    <a:pt x="0" y="42"/>
                  </a:lnTo>
                  <a:lnTo>
                    <a:pt x="0" y="40"/>
                  </a:lnTo>
                  <a:lnTo>
                    <a:pt x="0" y="38"/>
                  </a:lnTo>
                  <a:lnTo>
                    <a:pt x="2" y="38"/>
                  </a:lnTo>
                  <a:lnTo>
                    <a:pt x="4" y="36"/>
                  </a:lnTo>
                  <a:lnTo>
                    <a:pt x="6" y="36"/>
                  </a:lnTo>
                  <a:lnTo>
                    <a:pt x="8" y="36"/>
                  </a:lnTo>
                  <a:lnTo>
                    <a:pt x="8" y="36"/>
                  </a:lnTo>
                  <a:lnTo>
                    <a:pt x="10" y="36"/>
                  </a:lnTo>
                  <a:lnTo>
                    <a:pt x="12" y="36"/>
                  </a:lnTo>
                  <a:lnTo>
                    <a:pt x="14" y="36"/>
                  </a:lnTo>
                  <a:lnTo>
                    <a:pt x="14" y="36"/>
                  </a:lnTo>
                  <a:lnTo>
                    <a:pt x="16" y="36"/>
                  </a:lnTo>
                  <a:lnTo>
                    <a:pt x="18" y="36"/>
                  </a:lnTo>
                  <a:lnTo>
                    <a:pt x="20" y="36"/>
                  </a:lnTo>
                  <a:lnTo>
                    <a:pt x="22" y="36"/>
                  </a:lnTo>
                  <a:lnTo>
                    <a:pt x="24" y="36"/>
                  </a:lnTo>
                  <a:lnTo>
                    <a:pt x="26" y="36"/>
                  </a:lnTo>
                  <a:lnTo>
                    <a:pt x="28" y="34"/>
                  </a:lnTo>
                  <a:lnTo>
                    <a:pt x="30" y="34"/>
                  </a:lnTo>
                  <a:lnTo>
                    <a:pt x="32" y="34"/>
                  </a:lnTo>
                  <a:lnTo>
                    <a:pt x="34" y="34"/>
                  </a:lnTo>
                  <a:lnTo>
                    <a:pt x="36" y="34"/>
                  </a:lnTo>
                  <a:lnTo>
                    <a:pt x="38" y="34"/>
                  </a:lnTo>
                  <a:lnTo>
                    <a:pt x="40" y="34"/>
                  </a:lnTo>
                  <a:lnTo>
                    <a:pt x="40" y="32"/>
                  </a:lnTo>
                  <a:lnTo>
                    <a:pt x="42" y="32"/>
                  </a:lnTo>
                  <a:lnTo>
                    <a:pt x="44" y="32"/>
                  </a:lnTo>
                  <a:lnTo>
                    <a:pt x="46" y="32"/>
                  </a:lnTo>
                  <a:lnTo>
                    <a:pt x="48" y="32"/>
                  </a:lnTo>
                  <a:lnTo>
                    <a:pt x="50" y="32"/>
                  </a:lnTo>
                  <a:lnTo>
                    <a:pt x="50" y="30"/>
                  </a:lnTo>
                  <a:lnTo>
                    <a:pt x="52" y="30"/>
                  </a:lnTo>
                  <a:lnTo>
                    <a:pt x="52" y="32"/>
                  </a:lnTo>
                  <a:lnTo>
                    <a:pt x="54" y="32"/>
                  </a:lnTo>
                  <a:lnTo>
                    <a:pt x="52" y="32"/>
                  </a:lnTo>
                  <a:lnTo>
                    <a:pt x="54" y="32"/>
                  </a:lnTo>
                  <a:lnTo>
                    <a:pt x="56" y="32"/>
                  </a:lnTo>
                  <a:lnTo>
                    <a:pt x="56" y="32"/>
                  </a:lnTo>
                  <a:lnTo>
                    <a:pt x="56" y="32"/>
                  </a:lnTo>
                  <a:lnTo>
                    <a:pt x="56" y="32"/>
                  </a:lnTo>
                  <a:lnTo>
                    <a:pt x="56" y="34"/>
                  </a:lnTo>
                  <a:lnTo>
                    <a:pt x="56" y="32"/>
                  </a:lnTo>
                  <a:lnTo>
                    <a:pt x="58" y="32"/>
                  </a:lnTo>
                  <a:lnTo>
                    <a:pt x="56" y="32"/>
                  </a:lnTo>
                  <a:lnTo>
                    <a:pt x="58" y="32"/>
                  </a:lnTo>
                  <a:lnTo>
                    <a:pt x="58" y="34"/>
                  </a:lnTo>
                  <a:lnTo>
                    <a:pt x="58" y="32"/>
                  </a:lnTo>
                  <a:lnTo>
                    <a:pt x="58" y="34"/>
                  </a:lnTo>
                  <a:lnTo>
                    <a:pt x="60" y="34"/>
                  </a:lnTo>
                  <a:lnTo>
                    <a:pt x="62" y="34"/>
                  </a:lnTo>
                  <a:lnTo>
                    <a:pt x="62" y="36"/>
                  </a:lnTo>
                  <a:lnTo>
                    <a:pt x="64" y="36"/>
                  </a:lnTo>
                  <a:lnTo>
                    <a:pt x="66" y="36"/>
                  </a:lnTo>
                  <a:lnTo>
                    <a:pt x="68" y="36"/>
                  </a:lnTo>
                  <a:lnTo>
                    <a:pt x="66" y="36"/>
                  </a:lnTo>
                  <a:lnTo>
                    <a:pt x="64" y="36"/>
                  </a:lnTo>
                  <a:lnTo>
                    <a:pt x="64" y="36"/>
                  </a:lnTo>
                  <a:lnTo>
                    <a:pt x="64" y="36"/>
                  </a:lnTo>
                  <a:lnTo>
                    <a:pt x="66" y="36"/>
                  </a:lnTo>
                  <a:lnTo>
                    <a:pt x="66" y="36"/>
                  </a:lnTo>
                  <a:lnTo>
                    <a:pt x="68" y="36"/>
                  </a:lnTo>
                  <a:lnTo>
                    <a:pt x="68" y="36"/>
                  </a:lnTo>
                  <a:lnTo>
                    <a:pt x="70" y="36"/>
                  </a:lnTo>
                  <a:lnTo>
                    <a:pt x="70" y="38"/>
                  </a:lnTo>
                  <a:lnTo>
                    <a:pt x="72" y="38"/>
                  </a:lnTo>
                  <a:lnTo>
                    <a:pt x="70" y="38"/>
                  </a:lnTo>
                  <a:lnTo>
                    <a:pt x="68" y="38"/>
                  </a:lnTo>
                  <a:lnTo>
                    <a:pt x="66" y="38"/>
                  </a:lnTo>
                  <a:lnTo>
                    <a:pt x="66" y="40"/>
                  </a:lnTo>
                  <a:lnTo>
                    <a:pt x="66" y="38"/>
                  </a:lnTo>
                  <a:lnTo>
                    <a:pt x="66" y="40"/>
                  </a:lnTo>
                  <a:lnTo>
                    <a:pt x="64" y="40"/>
                  </a:lnTo>
                  <a:lnTo>
                    <a:pt x="62" y="40"/>
                  </a:lnTo>
                  <a:lnTo>
                    <a:pt x="60" y="40"/>
                  </a:lnTo>
                  <a:lnTo>
                    <a:pt x="62" y="40"/>
                  </a:lnTo>
                  <a:lnTo>
                    <a:pt x="64" y="40"/>
                  </a:lnTo>
                  <a:lnTo>
                    <a:pt x="66" y="40"/>
                  </a:lnTo>
                  <a:lnTo>
                    <a:pt x="68" y="40"/>
                  </a:lnTo>
                  <a:lnTo>
                    <a:pt x="68" y="38"/>
                  </a:lnTo>
                  <a:lnTo>
                    <a:pt x="68" y="40"/>
                  </a:lnTo>
                  <a:lnTo>
                    <a:pt x="66" y="40"/>
                  </a:lnTo>
                  <a:lnTo>
                    <a:pt x="68" y="40"/>
                  </a:lnTo>
                  <a:lnTo>
                    <a:pt x="68" y="38"/>
                  </a:lnTo>
                  <a:lnTo>
                    <a:pt x="70" y="38"/>
                  </a:lnTo>
                  <a:lnTo>
                    <a:pt x="72" y="38"/>
                  </a:lnTo>
                  <a:lnTo>
                    <a:pt x="74" y="38"/>
                  </a:lnTo>
                  <a:lnTo>
                    <a:pt x="74" y="36"/>
                  </a:lnTo>
                  <a:lnTo>
                    <a:pt x="76" y="36"/>
                  </a:lnTo>
                  <a:lnTo>
                    <a:pt x="76" y="36"/>
                  </a:lnTo>
                  <a:lnTo>
                    <a:pt x="78" y="36"/>
                  </a:lnTo>
                  <a:lnTo>
                    <a:pt x="76" y="36"/>
                  </a:lnTo>
                  <a:lnTo>
                    <a:pt x="78" y="36"/>
                  </a:lnTo>
                  <a:lnTo>
                    <a:pt x="78" y="36"/>
                  </a:lnTo>
                  <a:lnTo>
                    <a:pt x="78" y="36"/>
                  </a:lnTo>
                  <a:lnTo>
                    <a:pt x="78" y="36"/>
                  </a:lnTo>
                  <a:lnTo>
                    <a:pt x="80" y="36"/>
                  </a:lnTo>
                  <a:lnTo>
                    <a:pt x="78" y="36"/>
                  </a:lnTo>
                  <a:lnTo>
                    <a:pt x="80" y="36"/>
                  </a:lnTo>
                  <a:lnTo>
                    <a:pt x="80" y="36"/>
                  </a:lnTo>
                  <a:lnTo>
                    <a:pt x="82" y="36"/>
                  </a:lnTo>
                  <a:lnTo>
                    <a:pt x="82" y="36"/>
                  </a:lnTo>
                  <a:lnTo>
                    <a:pt x="82" y="38"/>
                  </a:lnTo>
                  <a:lnTo>
                    <a:pt x="82" y="36"/>
                  </a:lnTo>
                  <a:lnTo>
                    <a:pt x="82" y="38"/>
                  </a:lnTo>
                  <a:lnTo>
                    <a:pt x="80" y="38"/>
                  </a:lnTo>
                  <a:lnTo>
                    <a:pt x="82" y="38"/>
                  </a:lnTo>
                  <a:lnTo>
                    <a:pt x="80" y="36"/>
                  </a:lnTo>
                  <a:lnTo>
                    <a:pt x="80" y="38"/>
                  </a:lnTo>
                  <a:lnTo>
                    <a:pt x="78" y="38"/>
                  </a:lnTo>
                  <a:lnTo>
                    <a:pt x="76" y="38"/>
                  </a:lnTo>
                  <a:lnTo>
                    <a:pt x="74" y="38"/>
                  </a:lnTo>
                  <a:lnTo>
                    <a:pt x="74" y="40"/>
                  </a:lnTo>
                  <a:lnTo>
                    <a:pt x="72" y="40"/>
                  </a:lnTo>
                  <a:lnTo>
                    <a:pt x="70" y="40"/>
                  </a:lnTo>
                  <a:lnTo>
                    <a:pt x="68" y="40"/>
                  </a:lnTo>
                  <a:lnTo>
                    <a:pt x="68" y="42"/>
                  </a:lnTo>
                  <a:lnTo>
                    <a:pt x="70" y="42"/>
                  </a:lnTo>
                  <a:lnTo>
                    <a:pt x="68" y="42"/>
                  </a:lnTo>
                  <a:lnTo>
                    <a:pt x="70" y="42"/>
                  </a:lnTo>
                  <a:lnTo>
                    <a:pt x="72" y="42"/>
                  </a:lnTo>
                  <a:lnTo>
                    <a:pt x="74" y="42"/>
                  </a:lnTo>
                  <a:lnTo>
                    <a:pt x="76" y="42"/>
                  </a:lnTo>
                  <a:lnTo>
                    <a:pt x="76" y="40"/>
                  </a:lnTo>
                  <a:lnTo>
                    <a:pt x="78" y="40"/>
                  </a:lnTo>
                  <a:lnTo>
                    <a:pt x="78" y="38"/>
                  </a:lnTo>
                  <a:lnTo>
                    <a:pt x="78" y="40"/>
                  </a:lnTo>
                  <a:lnTo>
                    <a:pt x="78" y="38"/>
                  </a:lnTo>
                  <a:lnTo>
                    <a:pt x="78" y="40"/>
                  </a:lnTo>
                  <a:lnTo>
                    <a:pt x="78" y="38"/>
                  </a:lnTo>
                  <a:lnTo>
                    <a:pt x="78" y="40"/>
                  </a:lnTo>
                  <a:lnTo>
                    <a:pt x="80" y="40"/>
                  </a:lnTo>
                  <a:lnTo>
                    <a:pt x="82" y="40"/>
                  </a:lnTo>
                  <a:lnTo>
                    <a:pt x="82" y="38"/>
                  </a:lnTo>
                  <a:lnTo>
                    <a:pt x="82" y="40"/>
                  </a:lnTo>
                  <a:lnTo>
                    <a:pt x="84" y="40"/>
                  </a:lnTo>
                  <a:lnTo>
                    <a:pt x="86" y="40"/>
                  </a:lnTo>
                  <a:lnTo>
                    <a:pt x="86" y="42"/>
                  </a:lnTo>
                  <a:lnTo>
                    <a:pt x="88" y="42"/>
                  </a:lnTo>
                  <a:lnTo>
                    <a:pt x="88" y="40"/>
                  </a:lnTo>
                  <a:lnTo>
                    <a:pt x="86" y="40"/>
                  </a:lnTo>
                  <a:lnTo>
                    <a:pt x="88" y="40"/>
                  </a:lnTo>
                  <a:lnTo>
                    <a:pt x="88" y="42"/>
                  </a:lnTo>
                  <a:lnTo>
                    <a:pt x="90" y="42"/>
                  </a:lnTo>
                  <a:lnTo>
                    <a:pt x="92" y="42"/>
                  </a:lnTo>
                  <a:lnTo>
                    <a:pt x="94" y="42"/>
                  </a:lnTo>
                  <a:lnTo>
                    <a:pt x="94" y="40"/>
                  </a:lnTo>
                  <a:lnTo>
                    <a:pt x="96" y="40"/>
                  </a:lnTo>
                  <a:lnTo>
                    <a:pt x="96" y="38"/>
                  </a:lnTo>
                  <a:lnTo>
                    <a:pt x="98" y="38"/>
                  </a:lnTo>
                  <a:lnTo>
                    <a:pt x="100" y="38"/>
                  </a:lnTo>
                  <a:lnTo>
                    <a:pt x="102" y="38"/>
                  </a:lnTo>
                  <a:lnTo>
                    <a:pt x="102" y="36"/>
                  </a:lnTo>
                  <a:lnTo>
                    <a:pt x="104" y="36"/>
                  </a:lnTo>
                  <a:lnTo>
                    <a:pt x="104" y="36"/>
                  </a:lnTo>
                  <a:lnTo>
                    <a:pt x="104" y="36"/>
                  </a:lnTo>
                  <a:lnTo>
                    <a:pt x="104" y="36"/>
                  </a:lnTo>
                  <a:lnTo>
                    <a:pt x="104" y="36"/>
                  </a:lnTo>
                  <a:lnTo>
                    <a:pt x="106" y="36"/>
                  </a:lnTo>
                  <a:lnTo>
                    <a:pt x="106" y="34"/>
                  </a:lnTo>
                  <a:lnTo>
                    <a:pt x="108" y="34"/>
                  </a:lnTo>
                  <a:lnTo>
                    <a:pt x="110" y="34"/>
                  </a:lnTo>
                  <a:lnTo>
                    <a:pt x="112" y="34"/>
                  </a:lnTo>
                  <a:lnTo>
                    <a:pt x="114" y="34"/>
                  </a:lnTo>
                  <a:lnTo>
                    <a:pt x="116" y="34"/>
                  </a:lnTo>
                  <a:lnTo>
                    <a:pt x="118" y="34"/>
                  </a:lnTo>
                  <a:lnTo>
                    <a:pt x="120" y="34"/>
                  </a:lnTo>
                  <a:lnTo>
                    <a:pt x="120" y="32"/>
                  </a:lnTo>
                  <a:lnTo>
                    <a:pt x="120" y="34"/>
                  </a:lnTo>
                  <a:lnTo>
                    <a:pt x="120" y="32"/>
                  </a:lnTo>
                  <a:lnTo>
                    <a:pt x="120" y="34"/>
                  </a:lnTo>
                  <a:lnTo>
                    <a:pt x="122" y="34"/>
                  </a:lnTo>
                  <a:lnTo>
                    <a:pt x="122" y="36"/>
                  </a:lnTo>
                  <a:lnTo>
                    <a:pt x="122" y="34"/>
                  </a:lnTo>
                  <a:lnTo>
                    <a:pt x="120" y="34"/>
                  </a:lnTo>
                  <a:lnTo>
                    <a:pt x="120" y="32"/>
                  </a:lnTo>
                  <a:lnTo>
                    <a:pt x="122" y="32"/>
                  </a:lnTo>
                  <a:lnTo>
                    <a:pt x="120" y="32"/>
                  </a:lnTo>
                  <a:lnTo>
                    <a:pt x="122" y="32"/>
                  </a:lnTo>
                  <a:lnTo>
                    <a:pt x="122" y="30"/>
                  </a:lnTo>
                  <a:lnTo>
                    <a:pt x="122" y="32"/>
                  </a:lnTo>
                  <a:lnTo>
                    <a:pt x="122" y="30"/>
                  </a:lnTo>
                  <a:lnTo>
                    <a:pt x="124" y="30"/>
                  </a:lnTo>
                  <a:lnTo>
                    <a:pt x="122" y="30"/>
                  </a:lnTo>
                  <a:lnTo>
                    <a:pt x="124" y="30"/>
                  </a:lnTo>
                  <a:lnTo>
                    <a:pt x="124" y="28"/>
                  </a:lnTo>
                  <a:lnTo>
                    <a:pt x="126" y="28"/>
                  </a:lnTo>
                  <a:lnTo>
                    <a:pt x="126" y="26"/>
                  </a:lnTo>
                  <a:lnTo>
                    <a:pt x="128" y="26"/>
                  </a:lnTo>
                  <a:lnTo>
                    <a:pt x="128" y="24"/>
                  </a:lnTo>
                  <a:lnTo>
                    <a:pt x="130" y="24"/>
                  </a:lnTo>
                  <a:lnTo>
                    <a:pt x="130" y="22"/>
                  </a:lnTo>
                  <a:lnTo>
                    <a:pt x="130" y="20"/>
                  </a:lnTo>
                  <a:lnTo>
                    <a:pt x="132" y="20"/>
                  </a:lnTo>
                  <a:lnTo>
                    <a:pt x="132" y="18"/>
                  </a:lnTo>
                  <a:lnTo>
                    <a:pt x="134" y="18"/>
                  </a:lnTo>
                  <a:lnTo>
                    <a:pt x="132" y="18"/>
                  </a:lnTo>
                  <a:lnTo>
                    <a:pt x="134" y="18"/>
                  </a:lnTo>
                  <a:lnTo>
                    <a:pt x="134" y="16"/>
                  </a:lnTo>
                  <a:lnTo>
                    <a:pt x="136" y="16"/>
                  </a:lnTo>
                  <a:lnTo>
                    <a:pt x="138" y="16"/>
                  </a:lnTo>
                  <a:lnTo>
                    <a:pt x="138" y="14"/>
                  </a:lnTo>
                  <a:lnTo>
                    <a:pt x="140" y="14"/>
                  </a:lnTo>
                  <a:lnTo>
                    <a:pt x="140" y="12"/>
                  </a:lnTo>
                  <a:lnTo>
                    <a:pt x="142" y="12"/>
                  </a:lnTo>
                  <a:lnTo>
                    <a:pt x="142" y="10"/>
                  </a:lnTo>
                  <a:lnTo>
                    <a:pt x="144" y="10"/>
                  </a:lnTo>
                  <a:lnTo>
                    <a:pt x="146" y="10"/>
                  </a:lnTo>
                  <a:lnTo>
                    <a:pt x="146" y="8"/>
                  </a:lnTo>
                  <a:lnTo>
                    <a:pt x="148" y="8"/>
                  </a:lnTo>
                  <a:lnTo>
                    <a:pt x="150" y="8"/>
                  </a:lnTo>
                  <a:lnTo>
                    <a:pt x="150" y="6"/>
                  </a:lnTo>
                  <a:lnTo>
                    <a:pt x="152" y="6"/>
                  </a:lnTo>
                  <a:lnTo>
                    <a:pt x="154" y="6"/>
                  </a:lnTo>
                  <a:lnTo>
                    <a:pt x="154" y="4"/>
                  </a:lnTo>
                  <a:lnTo>
                    <a:pt x="154" y="6"/>
                  </a:lnTo>
                  <a:lnTo>
                    <a:pt x="154" y="4"/>
                  </a:lnTo>
                  <a:lnTo>
                    <a:pt x="154" y="6"/>
                  </a:lnTo>
                  <a:lnTo>
                    <a:pt x="154" y="4"/>
                  </a:lnTo>
                  <a:lnTo>
                    <a:pt x="154" y="6"/>
                  </a:lnTo>
                  <a:lnTo>
                    <a:pt x="154" y="4"/>
                  </a:lnTo>
                  <a:lnTo>
                    <a:pt x="154" y="4"/>
                  </a:lnTo>
                  <a:lnTo>
                    <a:pt x="156" y="4"/>
                  </a:lnTo>
                  <a:lnTo>
                    <a:pt x="156" y="2"/>
                  </a:lnTo>
                  <a:lnTo>
                    <a:pt x="158" y="2"/>
                  </a:lnTo>
                  <a:lnTo>
                    <a:pt x="158" y="0"/>
                  </a:lnTo>
                  <a:lnTo>
                    <a:pt x="160" y="0"/>
                  </a:lnTo>
                  <a:lnTo>
                    <a:pt x="162" y="0"/>
                  </a:lnTo>
                  <a:close/>
                  <a:moveTo>
                    <a:pt x="74" y="38"/>
                  </a:moveTo>
                  <a:lnTo>
                    <a:pt x="74" y="36"/>
                  </a:lnTo>
                  <a:lnTo>
                    <a:pt x="76" y="36"/>
                  </a:lnTo>
                  <a:lnTo>
                    <a:pt x="74" y="36"/>
                  </a:lnTo>
                  <a:lnTo>
                    <a:pt x="74" y="38"/>
                  </a:lnTo>
                  <a:close/>
                  <a:moveTo>
                    <a:pt x="76" y="36"/>
                  </a:moveTo>
                  <a:lnTo>
                    <a:pt x="78" y="36"/>
                  </a:lnTo>
                  <a:lnTo>
                    <a:pt x="76" y="36"/>
                  </a:lnTo>
                  <a:lnTo>
                    <a:pt x="78" y="36"/>
                  </a:lnTo>
                  <a:lnTo>
                    <a:pt x="76" y="36"/>
                  </a:lnTo>
                  <a:close/>
                  <a:moveTo>
                    <a:pt x="80" y="36"/>
                  </a:moveTo>
                  <a:lnTo>
                    <a:pt x="82" y="36"/>
                  </a:lnTo>
                  <a:lnTo>
                    <a:pt x="80" y="36"/>
                  </a:lnTo>
                  <a:close/>
                  <a:moveTo>
                    <a:pt x="76" y="36"/>
                  </a:moveTo>
                  <a:lnTo>
                    <a:pt x="76" y="36"/>
                  </a:lnTo>
                  <a:lnTo>
                    <a:pt x="78" y="36"/>
                  </a:lnTo>
                  <a:lnTo>
                    <a:pt x="76" y="36"/>
                  </a:lnTo>
                  <a:lnTo>
                    <a:pt x="78" y="36"/>
                  </a:lnTo>
                  <a:lnTo>
                    <a:pt x="76" y="36"/>
                  </a:lnTo>
                  <a:lnTo>
                    <a:pt x="76" y="36"/>
                  </a:lnTo>
                  <a:close/>
                  <a:moveTo>
                    <a:pt x="78" y="36"/>
                  </a:moveTo>
                  <a:lnTo>
                    <a:pt x="78" y="36"/>
                  </a:lnTo>
                  <a:lnTo>
                    <a:pt x="78" y="36"/>
                  </a:lnTo>
                  <a:close/>
                  <a:moveTo>
                    <a:pt x="64" y="36"/>
                  </a:moveTo>
                  <a:lnTo>
                    <a:pt x="62" y="36"/>
                  </a:lnTo>
                  <a:lnTo>
                    <a:pt x="64" y="36"/>
                  </a:lnTo>
                  <a:close/>
                  <a:moveTo>
                    <a:pt x="64" y="36"/>
                  </a:moveTo>
                  <a:lnTo>
                    <a:pt x="66" y="36"/>
                  </a:lnTo>
                  <a:lnTo>
                    <a:pt x="64" y="36"/>
                  </a:lnTo>
                  <a:close/>
                </a:path>
              </a:pathLst>
            </a:custGeom>
            <a:solidFill>
              <a:srgbClr val="EF9F4B"/>
            </a:solidFill>
            <a:ln w="3175">
              <a:solidFill>
                <a:sysClr val="window" lastClr="FFFF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black"/>
                </a:solidFill>
                <a:effectLst/>
                <a:uLnTx/>
                <a:uFillTx/>
                <a:ea typeface="宋体" panose="02010600030101010101" pitchFamily="2" charset="-122"/>
              </a:endParaRPr>
            </a:p>
          </p:txBody>
        </p:sp>
        <p:sp>
          <p:nvSpPr>
            <p:cNvPr id="37" name="Freeform 3185">
              <a:extLst>
                <a:ext uri="{FF2B5EF4-FFF2-40B4-BE49-F238E27FC236}">
                  <a16:creationId xmlns:a16="http://schemas.microsoft.com/office/drawing/2014/main" id="{47BCE23C-5B90-2069-742B-5D2C49EB5957}"/>
                </a:ext>
              </a:extLst>
            </p:cNvPr>
            <p:cNvSpPr>
              <a:spLocks/>
            </p:cNvSpPr>
            <p:nvPr/>
          </p:nvSpPr>
          <p:spPr bwMode="auto">
            <a:xfrm>
              <a:off x="5618163" y="3503613"/>
              <a:ext cx="588963" cy="198438"/>
            </a:xfrm>
            <a:custGeom>
              <a:avLst/>
              <a:gdLst>
                <a:gd name="T0" fmla="*/ 113 w 371"/>
                <a:gd name="T1" fmla="*/ 31 h 125"/>
                <a:gd name="T2" fmla="*/ 129 w 371"/>
                <a:gd name="T3" fmla="*/ 29 h 125"/>
                <a:gd name="T4" fmla="*/ 147 w 371"/>
                <a:gd name="T5" fmla="*/ 26 h 125"/>
                <a:gd name="T6" fmla="*/ 167 w 371"/>
                <a:gd name="T7" fmla="*/ 24 h 125"/>
                <a:gd name="T8" fmla="*/ 185 w 371"/>
                <a:gd name="T9" fmla="*/ 24 h 125"/>
                <a:gd name="T10" fmla="*/ 205 w 371"/>
                <a:gd name="T11" fmla="*/ 24 h 125"/>
                <a:gd name="T12" fmla="*/ 221 w 371"/>
                <a:gd name="T13" fmla="*/ 20 h 125"/>
                <a:gd name="T14" fmla="*/ 241 w 371"/>
                <a:gd name="T15" fmla="*/ 20 h 125"/>
                <a:gd name="T16" fmla="*/ 259 w 371"/>
                <a:gd name="T17" fmla="*/ 18 h 125"/>
                <a:gd name="T18" fmla="*/ 277 w 371"/>
                <a:gd name="T19" fmla="*/ 16 h 125"/>
                <a:gd name="T20" fmla="*/ 295 w 371"/>
                <a:gd name="T21" fmla="*/ 14 h 125"/>
                <a:gd name="T22" fmla="*/ 315 w 371"/>
                <a:gd name="T23" fmla="*/ 10 h 125"/>
                <a:gd name="T24" fmla="*/ 333 w 371"/>
                <a:gd name="T25" fmla="*/ 8 h 125"/>
                <a:gd name="T26" fmla="*/ 351 w 371"/>
                <a:gd name="T27" fmla="*/ 6 h 125"/>
                <a:gd name="T28" fmla="*/ 365 w 371"/>
                <a:gd name="T29" fmla="*/ 2 h 125"/>
                <a:gd name="T30" fmla="*/ 371 w 371"/>
                <a:gd name="T31" fmla="*/ 8 h 125"/>
                <a:gd name="T32" fmla="*/ 365 w 371"/>
                <a:gd name="T33" fmla="*/ 18 h 125"/>
                <a:gd name="T34" fmla="*/ 359 w 371"/>
                <a:gd name="T35" fmla="*/ 33 h 125"/>
                <a:gd name="T36" fmla="*/ 345 w 371"/>
                <a:gd name="T37" fmla="*/ 35 h 125"/>
                <a:gd name="T38" fmla="*/ 335 w 371"/>
                <a:gd name="T39" fmla="*/ 39 h 125"/>
                <a:gd name="T40" fmla="*/ 327 w 371"/>
                <a:gd name="T41" fmla="*/ 43 h 125"/>
                <a:gd name="T42" fmla="*/ 321 w 371"/>
                <a:gd name="T43" fmla="*/ 51 h 125"/>
                <a:gd name="T44" fmla="*/ 311 w 371"/>
                <a:gd name="T45" fmla="*/ 59 h 125"/>
                <a:gd name="T46" fmla="*/ 301 w 371"/>
                <a:gd name="T47" fmla="*/ 69 h 125"/>
                <a:gd name="T48" fmla="*/ 287 w 371"/>
                <a:gd name="T49" fmla="*/ 71 h 125"/>
                <a:gd name="T50" fmla="*/ 277 w 371"/>
                <a:gd name="T51" fmla="*/ 83 h 125"/>
                <a:gd name="T52" fmla="*/ 273 w 371"/>
                <a:gd name="T53" fmla="*/ 89 h 125"/>
                <a:gd name="T54" fmla="*/ 267 w 371"/>
                <a:gd name="T55" fmla="*/ 99 h 125"/>
                <a:gd name="T56" fmla="*/ 255 w 371"/>
                <a:gd name="T57" fmla="*/ 107 h 125"/>
                <a:gd name="T58" fmla="*/ 233 w 371"/>
                <a:gd name="T59" fmla="*/ 109 h 125"/>
                <a:gd name="T60" fmla="*/ 215 w 371"/>
                <a:gd name="T61" fmla="*/ 111 h 125"/>
                <a:gd name="T62" fmla="*/ 199 w 371"/>
                <a:gd name="T63" fmla="*/ 113 h 125"/>
                <a:gd name="T64" fmla="*/ 181 w 371"/>
                <a:gd name="T65" fmla="*/ 115 h 125"/>
                <a:gd name="T66" fmla="*/ 163 w 371"/>
                <a:gd name="T67" fmla="*/ 115 h 125"/>
                <a:gd name="T68" fmla="*/ 145 w 371"/>
                <a:gd name="T69" fmla="*/ 117 h 125"/>
                <a:gd name="T70" fmla="*/ 125 w 371"/>
                <a:gd name="T71" fmla="*/ 117 h 125"/>
                <a:gd name="T72" fmla="*/ 109 w 371"/>
                <a:gd name="T73" fmla="*/ 119 h 125"/>
                <a:gd name="T74" fmla="*/ 91 w 371"/>
                <a:gd name="T75" fmla="*/ 121 h 125"/>
                <a:gd name="T76" fmla="*/ 71 w 371"/>
                <a:gd name="T77" fmla="*/ 121 h 125"/>
                <a:gd name="T78" fmla="*/ 53 w 371"/>
                <a:gd name="T79" fmla="*/ 123 h 125"/>
                <a:gd name="T80" fmla="*/ 31 w 371"/>
                <a:gd name="T81" fmla="*/ 123 h 125"/>
                <a:gd name="T82" fmla="*/ 15 w 371"/>
                <a:gd name="T83" fmla="*/ 125 h 125"/>
                <a:gd name="T84" fmla="*/ 2 w 371"/>
                <a:gd name="T85" fmla="*/ 121 h 125"/>
                <a:gd name="T86" fmla="*/ 9 w 371"/>
                <a:gd name="T87" fmla="*/ 113 h 125"/>
                <a:gd name="T88" fmla="*/ 11 w 371"/>
                <a:gd name="T89" fmla="*/ 103 h 125"/>
                <a:gd name="T90" fmla="*/ 9 w 371"/>
                <a:gd name="T91" fmla="*/ 97 h 125"/>
                <a:gd name="T92" fmla="*/ 11 w 371"/>
                <a:gd name="T93" fmla="*/ 95 h 125"/>
                <a:gd name="T94" fmla="*/ 17 w 371"/>
                <a:gd name="T95" fmla="*/ 91 h 125"/>
                <a:gd name="T96" fmla="*/ 15 w 371"/>
                <a:gd name="T97" fmla="*/ 87 h 125"/>
                <a:gd name="T98" fmla="*/ 23 w 371"/>
                <a:gd name="T99" fmla="*/ 79 h 125"/>
                <a:gd name="T100" fmla="*/ 27 w 371"/>
                <a:gd name="T101" fmla="*/ 73 h 125"/>
                <a:gd name="T102" fmla="*/ 29 w 371"/>
                <a:gd name="T103" fmla="*/ 61 h 125"/>
                <a:gd name="T104" fmla="*/ 29 w 371"/>
                <a:gd name="T105" fmla="*/ 53 h 125"/>
                <a:gd name="T106" fmla="*/ 33 w 371"/>
                <a:gd name="T107" fmla="*/ 43 h 125"/>
                <a:gd name="T108" fmla="*/ 45 w 371"/>
                <a:gd name="T109" fmla="*/ 39 h 125"/>
                <a:gd name="T110" fmla="*/ 67 w 371"/>
                <a:gd name="T111" fmla="*/ 39 h 125"/>
                <a:gd name="T112" fmla="*/ 85 w 371"/>
                <a:gd name="T113" fmla="*/ 39 h 125"/>
                <a:gd name="T114" fmla="*/ 95 w 371"/>
                <a:gd name="T115" fmla="*/ 33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71" h="125">
                  <a:moveTo>
                    <a:pt x="97" y="29"/>
                  </a:moveTo>
                  <a:lnTo>
                    <a:pt x="99" y="29"/>
                  </a:lnTo>
                  <a:lnTo>
                    <a:pt x="101" y="29"/>
                  </a:lnTo>
                  <a:lnTo>
                    <a:pt x="103" y="29"/>
                  </a:lnTo>
                  <a:lnTo>
                    <a:pt x="105" y="29"/>
                  </a:lnTo>
                  <a:lnTo>
                    <a:pt x="105" y="31"/>
                  </a:lnTo>
                  <a:lnTo>
                    <a:pt x="107" y="31"/>
                  </a:lnTo>
                  <a:lnTo>
                    <a:pt x="109" y="31"/>
                  </a:lnTo>
                  <a:lnTo>
                    <a:pt x="111" y="31"/>
                  </a:lnTo>
                  <a:lnTo>
                    <a:pt x="113" y="31"/>
                  </a:lnTo>
                  <a:lnTo>
                    <a:pt x="115" y="31"/>
                  </a:lnTo>
                  <a:lnTo>
                    <a:pt x="117" y="31"/>
                  </a:lnTo>
                  <a:lnTo>
                    <a:pt x="119" y="31"/>
                  </a:lnTo>
                  <a:lnTo>
                    <a:pt x="119" y="31"/>
                  </a:lnTo>
                  <a:lnTo>
                    <a:pt x="121" y="31"/>
                  </a:lnTo>
                  <a:lnTo>
                    <a:pt x="121" y="29"/>
                  </a:lnTo>
                  <a:lnTo>
                    <a:pt x="123" y="29"/>
                  </a:lnTo>
                  <a:lnTo>
                    <a:pt x="125" y="29"/>
                  </a:lnTo>
                  <a:lnTo>
                    <a:pt x="127" y="29"/>
                  </a:lnTo>
                  <a:lnTo>
                    <a:pt x="129" y="29"/>
                  </a:lnTo>
                  <a:lnTo>
                    <a:pt x="131" y="29"/>
                  </a:lnTo>
                  <a:lnTo>
                    <a:pt x="133" y="29"/>
                  </a:lnTo>
                  <a:lnTo>
                    <a:pt x="135" y="29"/>
                  </a:lnTo>
                  <a:lnTo>
                    <a:pt x="137" y="29"/>
                  </a:lnTo>
                  <a:lnTo>
                    <a:pt x="139" y="29"/>
                  </a:lnTo>
                  <a:lnTo>
                    <a:pt x="141" y="29"/>
                  </a:lnTo>
                  <a:lnTo>
                    <a:pt x="143" y="29"/>
                  </a:lnTo>
                  <a:lnTo>
                    <a:pt x="143" y="26"/>
                  </a:lnTo>
                  <a:lnTo>
                    <a:pt x="145" y="26"/>
                  </a:lnTo>
                  <a:lnTo>
                    <a:pt x="147" y="26"/>
                  </a:lnTo>
                  <a:lnTo>
                    <a:pt x="149" y="26"/>
                  </a:lnTo>
                  <a:lnTo>
                    <a:pt x="151" y="26"/>
                  </a:lnTo>
                  <a:lnTo>
                    <a:pt x="153" y="26"/>
                  </a:lnTo>
                  <a:lnTo>
                    <a:pt x="155" y="26"/>
                  </a:lnTo>
                  <a:lnTo>
                    <a:pt x="157" y="26"/>
                  </a:lnTo>
                  <a:lnTo>
                    <a:pt x="159" y="26"/>
                  </a:lnTo>
                  <a:lnTo>
                    <a:pt x="161" y="26"/>
                  </a:lnTo>
                  <a:lnTo>
                    <a:pt x="163" y="26"/>
                  </a:lnTo>
                  <a:lnTo>
                    <a:pt x="165" y="24"/>
                  </a:lnTo>
                  <a:lnTo>
                    <a:pt x="167" y="24"/>
                  </a:lnTo>
                  <a:lnTo>
                    <a:pt x="167" y="24"/>
                  </a:lnTo>
                  <a:lnTo>
                    <a:pt x="169" y="24"/>
                  </a:lnTo>
                  <a:lnTo>
                    <a:pt x="171" y="24"/>
                  </a:lnTo>
                  <a:lnTo>
                    <a:pt x="173" y="24"/>
                  </a:lnTo>
                  <a:lnTo>
                    <a:pt x="175" y="24"/>
                  </a:lnTo>
                  <a:lnTo>
                    <a:pt x="177" y="24"/>
                  </a:lnTo>
                  <a:lnTo>
                    <a:pt x="179" y="24"/>
                  </a:lnTo>
                  <a:lnTo>
                    <a:pt x="181" y="24"/>
                  </a:lnTo>
                  <a:lnTo>
                    <a:pt x="183" y="24"/>
                  </a:lnTo>
                  <a:lnTo>
                    <a:pt x="185" y="24"/>
                  </a:lnTo>
                  <a:lnTo>
                    <a:pt x="187" y="24"/>
                  </a:lnTo>
                  <a:lnTo>
                    <a:pt x="189" y="24"/>
                  </a:lnTo>
                  <a:lnTo>
                    <a:pt x="191" y="24"/>
                  </a:lnTo>
                  <a:lnTo>
                    <a:pt x="193" y="24"/>
                  </a:lnTo>
                  <a:lnTo>
                    <a:pt x="195" y="24"/>
                  </a:lnTo>
                  <a:lnTo>
                    <a:pt x="197" y="24"/>
                  </a:lnTo>
                  <a:lnTo>
                    <a:pt x="199" y="24"/>
                  </a:lnTo>
                  <a:lnTo>
                    <a:pt x="201" y="24"/>
                  </a:lnTo>
                  <a:lnTo>
                    <a:pt x="203" y="24"/>
                  </a:lnTo>
                  <a:lnTo>
                    <a:pt x="205" y="24"/>
                  </a:lnTo>
                  <a:lnTo>
                    <a:pt x="207" y="22"/>
                  </a:lnTo>
                  <a:lnTo>
                    <a:pt x="209" y="22"/>
                  </a:lnTo>
                  <a:lnTo>
                    <a:pt x="211" y="22"/>
                  </a:lnTo>
                  <a:lnTo>
                    <a:pt x="213" y="22"/>
                  </a:lnTo>
                  <a:lnTo>
                    <a:pt x="215" y="22"/>
                  </a:lnTo>
                  <a:lnTo>
                    <a:pt x="215" y="22"/>
                  </a:lnTo>
                  <a:lnTo>
                    <a:pt x="217" y="22"/>
                  </a:lnTo>
                  <a:lnTo>
                    <a:pt x="217" y="20"/>
                  </a:lnTo>
                  <a:lnTo>
                    <a:pt x="219" y="20"/>
                  </a:lnTo>
                  <a:lnTo>
                    <a:pt x="221" y="20"/>
                  </a:lnTo>
                  <a:lnTo>
                    <a:pt x="223" y="20"/>
                  </a:lnTo>
                  <a:lnTo>
                    <a:pt x="225" y="20"/>
                  </a:lnTo>
                  <a:lnTo>
                    <a:pt x="227" y="20"/>
                  </a:lnTo>
                  <a:lnTo>
                    <a:pt x="229" y="20"/>
                  </a:lnTo>
                  <a:lnTo>
                    <a:pt x="231" y="20"/>
                  </a:lnTo>
                  <a:lnTo>
                    <a:pt x="233" y="20"/>
                  </a:lnTo>
                  <a:lnTo>
                    <a:pt x="235" y="20"/>
                  </a:lnTo>
                  <a:lnTo>
                    <a:pt x="237" y="20"/>
                  </a:lnTo>
                  <a:lnTo>
                    <a:pt x="239" y="20"/>
                  </a:lnTo>
                  <a:lnTo>
                    <a:pt x="241" y="20"/>
                  </a:lnTo>
                  <a:lnTo>
                    <a:pt x="243" y="20"/>
                  </a:lnTo>
                  <a:lnTo>
                    <a:pt x="245" y="20"/>
                  </a:lnTo>
                  <a:lnTo>
                    <a:pt x="247" y="20"/>
                  </a:lnTo>
                  <a:lnTo>
                    <a:pt x="249" y="20"/>
                  </a:lnTo>
                  <a:lnTo>
                    <a:pt x="251" y="20"/>
                  </a:lnTo>
                  <a:lnTo>
                    <a:pt x="251" y="18"/>
                  </a:lnTo>
                  <a:lnTo>
                    <a:pt x="253" y="18"/>
                  </a:lnTo>
                  <a:lnTo>
                    <a:pt x="255" y="18"/>
                  </a:lnTo>
                  <a:lnTo>
                    <a:pt x="257" y="18"/>
                  </a:lnTo>
                  <a:lnTo>
                    <a:pt x="259" y="18"/>
                  </a:lnTo>
                  <a:lnTo>
                    <a:pt x="261" y="18"/>
                  </a:lnTo>
                  <a:lnTo>
                    <a:pt x="263" y="18"/>
                  </a:lnTo>
                  <a:lnTo>
                    <a:pt x="263" y="18"/>
                  </a:lnTo>
                  <a:lnTo>
                    <a:pt x="265" y="18"/>
                  </a:lnTo>
                  <a:lnTo>
                    <a:pt x="267" y="18"/>
                  </a:lnTo>
                  <a:lnTo>
                    <a:pt x="269" y="16"/>
                  </a:lnTo>
                  <a:lnTo>
                    <a:pt x="271" y="16"/>
                  </a:lnTo>
                  <a:lnTo>
                    <a:pt x="273" y="16"/>
                  </a:lnTo>
                  <a:lnTo>
                    <a:pt x="275" y="16"/>
                  </a:lnTo>
                  <a:lnTo>
                    <a:pt x="277" y="16"/>
                  </a:lnTo>
                  <a:lnTo>
                    <a:pt x="279" y="16"/>
                  </a:lnTo>
                  <a:lnTo>
                    <a:pt x="281" y="16"/>
                  </a:lnTo>
                  <a:lnTo>
                    <a:pt x="283" y="16"/>
                  </a:lnTo>
                  <a:lnTo>
                    <a:pt x="285" y="16"/>
                  </a:lnTo>
                  <a:lnTo>
                    <a:pt x="285" y="14"/>
                  </a:lnTo>
                  <a:lnTo>
                    <a:pt x="287" y="14"/>
                  </a:lnTo>
                  <a:lnTo>
                    <a:pt x="289" y="14"/>
                  </a:lnTo>
                  <a:lnTo>
                    <a:pt x="291" y="14"/>
                  </a:lnTo>
                  <a:lnTo>
                    <a:pt x="293" y="14"/>
                  </a:lnTo>
                  <a:lnTo>
                    <a:pt x="295" y="14"/>
                  </a:lnTo>
                  <a:lnTo>
                    <a:pt x="299" y="12"/>
                  </a:lnTo>
                  <a:lnTo>
                    <a:pt x="301" y="12"/>
                  </a:lnTo>
                  <a:lnTo>
                    <a:pt x="303" y="12"/>
                  </a:lnTo>
                  <a:lnTo>
                    <a:pt x="305" y="12"/>
                  </a:lnTo>
                  <a:lnTo>
                    <a:pt x="307" y="12"/>
                  </a:lnTo>
                  <a:lnTo>
                    <a:pt x="309" y="12"/>
                  </a:lnTo>
                  <a:lnTo>
                    <a:pt x="311" y="12"/>
                  </a:lnTo>
                  <a:lnTo>
                    <a:pt x="311" y="10"/>
                  </a:lnTo>
                  <a:lnTo>
                    <a:pt x="313" y="10"/>
                  </a:lnTo>
                  <a:lnTo>
                    <a:pt x="315" y="10"/>
                  </a:lnTo>
                  <a:lnTo>
                    <a:pt x="317" y="10"/>
                  </a:lnTo>
                  <a:lnTo>
                    <a:pt x="319" y="10"/>
                  </a:lnTo>
                  <a:lnTo>
                    <a:pt x="321" y="10"/>
                  </a:lnTo>
                  <a:lnTo>
                    <a:pt x="323" y="10"/>
                  </a:lnTo>
                  <a:lnTo>
                    <a:pt x="325" y="10"/>
                  </a:lnTo>
                  <a:lnTo>
                    <a:pt x="325" y="8"/>
                  </a:lnTo>
                  <a:lnTo>
                    <a:pt x="327" y="8"/>
                  </a:lnTo>
                  <a:lnTo>
                    <a:pt x="329" y="8"/>
                  </a:lnTo>
                  <a:lnTo>
                    <a:pt x="331" y="8"/>
                  </a:lnTo>
                  <a:lnTo>
                    <a:pt x="333" y="8"/>
                  </a:lnTo>
                  <a:lnTo>
                    <a:pt x="335" y="8"/>
                  </a:lnTo>
                  <a:lnTo>
                    <a:pt x="337" y="8"/>
                  </a:lnTo>
                  <a:lnTo>
                    <a:pt x="337" y="6"/>
                  </a:lnTo>
                  <a:lnTo>
                    <a:pt x="339" y="6"/>
                  </a:lnTo>
                  <a:lnTo>
                    <a:pt x="341" y="6"/>
                  </a:lnTo>
                  <a:lnTo>
                    <a:pt x="343" y="6"/>
                  </a:lnTo>
                  <a:lnTo>
                    <a:pt x="345" y="6"/>
                  </a:lnTo>
                  <a:lnTo>
                    <a:pt x="347" y="6"/>
                  </a:lnTo>
                  <a:lnTo>
                    <a:pt x="349" y="6"/>
                  </a:lnTo>
                  <a:lnTo>
                    <a:pt x="351" y="6"/>
                  </a:lnTo>
                  <a:lnTo>
                    <a:pt x="351" y="4"/>
                  </a:lnTo>
                  <a:lnTo>
                    <a:pt x="353" y="4"/>
                  </a:lnTo>
                  <a:lnTo>
                    <a:pt x="355" y="4"/>
                  </a:lnTo>
                  <a:lnTo>
                    <a:pt x="357" y="4"/>
                  </a:lnTo>
                  <a:lnTo>
                    <a:pt x="359" y="4"/>
                  </a:lnTo>
                  <a:lnTo>
                    <a:pt x="361" y="4"/>
                  </a:lnTo>
                  <a:lnTo>
                    <a:pt x="361" y="2"/>
                  </a:lnTo>
                  <a:lnTo>
                    <a:pt x="361" y="2"/>
                  </a:lnTo>
                  <a:lnTo>
                    <a:pt x="363" y="2"/>
                  </a:lnTo>
                  <a:lnTo>
                    <a:pt x="365" y="2"/>
                  </a:lnTo>
                  <a:lnTo>
                    <a:pt x="367" y="2"/>
                  </a:lnTo>
                  <a:lnTo>
                    <a:pt x="369" y="0"/>
                  </a:lnTo>
                  <a:lnTo>
                    <a:pt x="371" y="0"/>
                  </a:lnTo>
                  <a:lnTo>
                    <a:pt x="369" y="2"/>
                  </a:lnTo>
                  <a:lnTo>
                    <a:pt x="371" y="2"/>
                  </a:lnTo>
                  <a:lnTo>
                    <a:pt x="371" y="4"/>
                  </a:lnTo>
                  <a:lnTo>
                    <a:pt x="369" y="4"/>
                  </a:lnTo>
                  <a:lnTo>
                    <a:pt x="369" y="6"/>
                  </a:lnTo>
                  <a:lnTo>
                    <a:pt x="369" y="8"/>
                  </a:lnTo>
                  <a:lnTo>
                    <a:pt x="371" y="8"/>
                  </a:lnTo>
                  <a:lnTo>
                    <a:pt x="371" y="10"/>
                  </a:lnTo>
                  <a:lnTo>
                    <a:pt x="369" y="10"/>
                  </a:lnTo>
                  <a:lnTo>
                    <a:pt x="369" y="12"/>
                  </a:lnTo>
                  <a:lnTo>
                    <a:pt x="369" y="14"/>
                  </a:lnTo>
                  <a:lnTo>
                    <a:pt x="369" y="16"/>
                  </a:lnTo>
                  <a:lnTo>
                    <a:pt x="371" y="16"/>
                  </a:lnTo>
                  <a:lnTo>
                    <a:pt x="369" y="16"/>
                  </a:lnTo>
                  <a:lnTo>
                    <a:pt x="367" y="16"/>
                  </a:lnTo>
                  <a:lnTo>
                    <a:pt x="365" y="16"/>
                  </a:lnTo>
                  <a:lnTo>
                    <a:pt x="365" y="18"/>
                  </a:lnTo>
                  <a:lnTo>
                    <a:pt x="363" y="18"/>
                  </a:lnTo>
                  <a:lnTo>
                    <a:pt x="363" y="20"/>
                  </a:lnTo>
                  <a:lnTo>
                    <a:pt x="361" y="20"/>
                  </a:lnTo>
                  <a:lnTo>
                    <a:pt x="361" y="22"/>
                  </a:lnTo>
                  <a:lnTo>
                    <a:pt x="361" y="24"/>
                  </a:lnTo>
                  <a:lnTo>
                    <a:pt x="361" y="26"/>
                  </a:lnTo>
                  <a:lnTo>
                    <a:pt x="361" y="29"/>
                  </a:lnTo>
                  <a:lnTo>
                    <a:pt x="361" y="31"/>
                  </a:lnTo>
                  <a:lnTo>
                    <a:pt x="359" y="31"/>
                  </a:lnTo>
                  <a:lnTo>
                    <a:pt x="359" y="33"/>
                  </a:lnTo>
                  <a:lnTo>
                    <a:pt x="357" y="33"/>
                  </a:lnTo>
                  <a:lnTo>
                    <a:pt x="355" y="33"/>
                  </a:lnTo>
                  <a:lnTo>
                    <a:pt x="355" y="31"/>
                  </a:lnTo>
                  <a:lnTo>
                    <a:pt x="353" y="31"/>
                  </a:lnTo>
                  <a:lnTo>
                    <a:pt x="351" y="31"/>
                  </a:lnTo>
                  <a:lnTo>
                    <a:pt x="351" y="33"/>
                  </a:lnTo>
                  <a:lnTo>
                    <a:pt x="349" y="33"/>
                  </a:lnTo>
                  <a:lnTo>
                    <a:pt x="347" y="33"/>
                  </a:lnTo>
                  <a:lnTo>
                    <a:pt x="345" y="33"/>
                  </a:lnTo>
                  <a:lnTo>
                    <a:pt x="345" y="35"/>
                  </a:lnTo>
                  <a:lnTo>
                    <a:pt x="343" y="35"/>
                  </a:lnTo>
                  <a:lnTo>
                    <a:pt x="343" y="37"/>
                  </a:lnTo>
                  <a:lnTo>
                    <a:pt x="343" y="39"/>
                  </a:lnTo>
                  <a:lnTo>
                    <a:pt x="341" y="39"/>
                  </a:lnTo>
                  <a:lnTo>
                    <a:pt x="341" y="41"/>
                  </a:lnTo>
                  <a:lnTo>
                    <a:pt x="339" y="41"/>
                  </a:lnTo>
                  <a:lnTo>
                    <a:pt x="337" y="43"/>
                  </a:lnTo>
                  <a:lnTo>
                    <a:pt x="337" y="41"/>
                  </a:lnTo>
                  <a:lnTo>
                    <a:pt x="335" y="41"/>
                  </a:lnTo>
                  <a:lnTo>
                    <a:pt x="335" y="39"/>
                  </a:lnTo>
                  <a:lnTo>
                    <a:pt x="335" y="39"/>
                  </a:lnTo>
                  <a:lnTo>
                    <a:pt x="335" y="39"/>
                  </a:lnTo>
                  <a:lnTo>
                    <a:pt x="335" y="39"/>
                  </a:lnTo>
                  <a:lnTo>
                    <a:pt x="333" y="39"/>
                  </a:lnTo>
                  <a:lnTo>
                    <a:pt x="331" y="39"/>
                  </a:lnTo>
                  <a:lnTo>
                    <a:pt x="331" y="39"/>
                  </a:lnTo>
                  <a:lnTo>
                    <a:pt x="329" y="39"/>
                  </a:lnTo>
                  <a:lnTo>
                    <a:pt x="329" y="41"/>
                  </a:lnTo>
                  <a:lnTo>
                    <a:pt x="327" y="41"/>
                  </a:lnTo>
                  <a:lnTo>
                    <a:pt x="327" y="43"/>
                  </a:lnTo>
                  <a:lnTo>
                    <a:pt x="327" y="45"/>
                  </a:lnTo>
                  <a:lnTo>
                    <a:pt x="325" y="45"/>
                  </a:lnTo>
                  <a:lnTo>
                    <a:pt x="323" y="45"/>
                  </a:lnTo>
                  <a:lnTo>
                    <a:pt x="323" y="47"/>
                  </a:lnTo>
                  <a:lnTo>
                    <a:pt x="321" y="45"/>
                  </a:lnTo>
                  <a:lnTo>
                    <a:pt x="321" y="47"/>
                  </a:lnTo>
                  <a:lnTo>
                    <a:pt x="323" y="47"/>
                  </a:lnTo>
                  <a:lnTo>
                    <a:pt x="323" y="49"/>
                  </a:lnTo>
                  <a:lnTo>
                    <a:pt x="323" y="51"/>
                  </a:lnTo>
                  <a:lnTo>
                    <a:pt x="321" y="51"/>
                  </a:lnTo>
                  <a:lnTo>
                    <a:pt x="321" y="53"/>
                  </a:lnTo>
                  <a:lnTo>
                    <a:pt x="321" y="55"/>
                  </a:lnTo>
                  <a:lnTo>
                    <a:pt x="319" y="55"/>
                  </a:lnTo>
                  <a:lnTo>
                    <a:pt x="317" y="55"/>
                  </a:lnTo>
                  <a:lnTo>
                    <a:pt x="315" y="55"/>
                  </a:lnTo>
                  <a:lnTo>
                    <a:pt x="315" y="57"/>
                  </a:lnTo>
                  <a:lnTo>
                    <a:pt x="313" y="57"/>
                  </a:lnTo>
                  <a:lnTo>
                    <a:pt x="311" y="57"/>
                  </a:lnTo>
                  <a:lnTo>
                    <a:pt x="311" y="59"/>
                  </a:lnTo>
                  <a:lnTo>
                    <a:pt x="311" y="59"/>
                  </a:lnTo>
                  <a:lnTo>
                    <a:pt x="311" y="61"/>
                  </a:lnTo>
                  <a:lnTo>
                    <a:pt x="309" y="61"/>
                  </a:lnTo>
                  <a:lnTo>
                    <a:pt x="309" y="63"/>
                  </a:lnTo>
                  <a:lnTo>
                    <a:pt x="307" y="63"/>
                  </a:lnTo>
                  <a:lnTo>
                    <a:pt x="307" y="65"/>
                  </a:lnTo>
                  <a:lnTo>
                    <a:pt x="305" y="65"/>
                  </a:lnTo>
                  <a:lnTo>
                    <a:pt x="305" y="67"/>
                  </a:lnTo>
                  <a:lnTo>
                    <a:pt x="303" y="67"/>
                  </a:lnTo>
                  <a:lnTo>
                    <a:pt x="301" y="67"/>
                  </a:lnTo>
                  <a:lnTo>
                    <a:pt x="301" y="69"/>
                  </a:lnTo>
                  <a:lnTo>
                    <a:pt x="301" y="71"/>
                  </a:lnTo>
                  <a:lnTo>
                    <a:pt x="299" y="71"/>
                  </a:lnTo>
                  <a:lnTo>
                    <a:pt x="297" y="71"/>
                  </a:lnTo>
                  <a:lnTo>
                    <a:pt x="295" y="71"/>
                  </a:lnTo>
                  <a:lnTo>
                    <a:pt x="295" y="69"/>
                  </a:lnTo>
                  <a:lnTo>
                    <a:pt x="295" y="71"/>
                  </a:lnTo>
                  <a:lnTo>
                    <a:pt x="293" y="71"/>
                  </a:lnTo>
                  <a:lnTo>
                    <a:pt x="291" y="71"/>
                  </a:lnTo>
                  <a:lnTo>
                    <a:pt x="289" y="71"/>
                  </a:lnTo>
                  <a:lnTo>
                    <a:pt x="287" y="71"/>
                  </a:lnTo>
                  <a:lnTo>
                    <a:pt x="287" y="73"/>
                  </a:lnTo>
                  <a:lnTo>
                    <a:pt x="285" y="75"/>
                  </a:lnTo>
                  <a:lnTo>
                    <a:pt x="283" y="75"/>
                  </a:lnTo>
                  <a:lnTo>
                    <a:pt x="283" y="77"/>
                  </a:lnTo>
                  <a:lnTo>
                    <a:pt x="281" y="77"/>
                  </a:lnTo>
                  <a:lnTo>
                    <a:pt x="281" y="79"/>
                  </a:lnTo>
                  <a:lnTo>
                    <a:pt x="279" y="79"/>
                  </a:lnTo>
                  <a:lnTo>
                    <a:pt x="279" y="81"/>
                  </a:lnTo>
                  <a:lnTo>
                    <a:pt x="277" y="81"/>
                  </a:lnTo>
                  <a:lnTo>
                    <a:pt x="277" y="83"/>
                  </a:lnTo>
                  <a:lnTo>
                    <a:pt x="279" y="83"/>
                  </a:lnTo>
                  <a:lnTo>
                    <a:pt x="279" y="85"/>
                  </a:lnTo>
                  <a:lnTo>
                    <a:pt x="277" y="85"/>
                  </a:lnTo>
                  <a:lnTo>
                    <a:pt x="277" y="87"/>
                  </a:lnTo>
                  <a:lnTo>
                    <a:pt x="279" y="87"/>
                  </a:lnTo>
                  <a:lnTo>
                    <a:pt x="279" y="87"/>
                  </a:lnTo>
                  <a:lnTo>
                    <a:pt x="277" y="87"/>
                  </a:lnTo>
                  <a:lnTo>
                    <a:pt x="277" y="89"/>
                  </a:lnTo>
                  <a:lnTo>
                    <a:pt x="275" y="89"/>
                  </a:lnTo>
                  <a:lnTo>
                    <a:pt x="273" y="89"/>
                  </a:lnTo>
                  <a:lnTo>
                    <a:pt x="271" y="89"/>
                  </a:lnTo>
                  <a:lnTo>
                    <a:pt x="271" y="91"/>
                  </a:lnTo>
                  <a:lnTo>
                    <a:pt x="271" y="89"/>
                  </a:lnTo>
                  <a:lnTo>
                    <a:pt x="269" y="89"/>
                  </a:lnTo>
                  <a:lnTo>
                    <a:pt x="267" y="89"/>
                  </a:lnTo>
                  <a:lnTo>
                    <a:pt x="267" y="91"/>
                  </a:lnTo>
                  <a:lnTo>
                    <a:pt x="267" y="93"/>
                  </a:lnTo>
                  <a:lnTo>
                    <a:pt x="267" y="95"/>
                  </a:lnTo>
                  <a:lnTo>
                    <a:pt x="267" y="97"/>
                  </a:lnTo>
                  <a:lnTo>
                    <a:pt x="267" y="99"/>
                  </a:lnTo>
                  <a:lnTo>
                    <a:pt x="267" y="101"/>
                  </a:lnTo>
                  <a:lnTo>
                    <a:pt x="267" y="103"/>
                  </a:lnTo>
                  <a:lnTo>
                    <a:pt x="267" y="105"/>
                  </a:lnTo>
                  <a:lnTo>
                    <a:pt x="265" y="105"/>
                  </a:lnTo>
                  <a:lnTo>
                    <a:pt x="263" y="105"/>
                  </a:lnTo>
                  <a:lnTo>
                    <a:pt x="263" y="105"/>
                  </a:lnTo>
                  <a:lnTo>
                    <a:pt x="261" y="105"/>
                  </a:lnTo>
                  <a:lnTo>
                    <a:pt x="259" y="107"/>
                  </a:lnTo>
                  <a:lnTo>
                    <a:pt x="257" y="107"/>
                  </a:lnTo>
                  <a:lnTo>
                    <a:pt x="255" y="107"/>
                  </a:lnTo>
                  <a:lnTo>
                    <a:pt x="253" y="107"/>
                  </a:lnTo>
                  <a:lnTo>
                    <a:pt x="251" y="107"/>
                  </a:lnTo>
                  <a:lnTo>
                    <a:pt x="249" y="107"/>
                  </a:lnTo>
                  <a:lnTo>
                    <a:pt x="247" y="107"/>
                  </a:lnTo>
                  <a:lnTo>
                    <a:pt x="245" y="107"/>
                  </a:lnTo>
                  <a:lnTo>
                    <a:pt x="243" y="107"/>
                  </a:lnTo>
                  <a:lnTo>
                    <a:pt x="239" y="109"/>
                  </a:lnTo>
                  <a:lnTo>
                    <a:pt x="237" y="109"/>
                  </a:lnTo>
                  <a:lnTo>
                    <a:pt x="235" y="109"/>
                  </a:lnTo>
                  <a:lnTo>
                    <a:pt x="233" y="109"/>
                  </a:lnTo>
                  <a:lnTo>
                    <a:pt x="231" y="109"/>
                  </a:lnTo>
                  <a:lnTo>
                    <a:pt x="229" y="109"/>
                  </a:lnTo>
                  <a:lnTo>
                    <a:pt x="227" y="109"/>
                  </a:lnTo>
                  <a:lnTo>
                    <a:pt x="225" y="109"/>
                  </a:lnTo>
                  <a:lnTo>
                    <a:pt x="225" y="111"/>
                  </a:lnTo>
                  <a:lnTo>
                    <a:pt x="223" y="111"/>
                  </a:lnTo>
                  <a:lnTo>
                    <a:pt x="221" y="111"/>
                  </a:lnTo>
                  <a:lnTo>
                    <a:pt x="219" y="111"/>
                  </a:lnTo>
                  <a:lnTo>
                    <a:pt x="217" y="111"/>
                  </a:lnTo>
                  <a:lnTo>
                    <a:pt x="215" y="111"/>
                  </a:lnTo>
                  <a:lnTo>
                    <a:pt x="215" y="111"/>
                  </a:lnTo>
                  <a:lnTo>
                    <a:pt x="213" y="111"/>
                  </a:lnTo>
                  <a:lnTo>
                    <a:pt x="211" y="111"/>
                  </a:lnTo>
                  <a:lnTo>
                    <a:pt x="209" y="111"/>
                  </a:lnTo>
                  <a:lnTo>
                    <a:pt x="207" y="111"/>
                  </a:lnTo>
                  <a:lnTo>
                    <a:pt x="207" y="113"/>
                  </a:lnTo>
                  <a:lnTo>
                    <a:pt x="205" y="113"/>
                  </a:lnTo>
                  <a:lnTo>
                    <a:pt x="203" y="113"/>
                  </a:lnTo>
                  <a:lnTo>
                    <a:pt x="201" y="113"/>
                  </a:lnTo>
                  <a:lnTo>
                    <a:pt x="199" y="113"/>
                  </a:lnTo>
                  <a:lnTo>
                    <a:pt x="197" y="113"/>
                  </a:lnTo>
                  <a:lnTo>
                    <a:pt x="195" y="113"/>
                  </a:lnTo>
                  <a:lnTo>
                    <a:pt x="193" y="113"/>
                  </a:lnTo>
                  <a:lnTo>
                    <a:pt x="191" y="113"/>
                  </a:lnTo>
                  <a:lnTo>
                    <a:pt x="189" y="113"/>
                  </a:lnTo>
                  <a:lnTo>
                    <a:pt x="187" y="113"/>
                  </a:lnTo>
                  <a:lnTo>
                    <a:pt x="185" y="113"/>
                  </a:lnTo>
                  <a:lnTo>
                    <a:pt x="183" y="113"/>
                  </a:lnTo>
                  <a:lnTo>
                    <a:pt x="183" y="115"/>
                  </a:lnTo>
                  <a:lnTo>
                    <a:pt x="181" y="115"/>
                  </a:lnTo>
                  <a:lnTo>
                    <a:pt x="179" y="115"/>
                  </a:lnTo>
                  <a:lnTo>
                    <a:pt x="177" y="115"/>
                  </a:lnTo>
                  <a:lnTo>
                    <a:pt x="175" y="115"/>
                  </a:lnTo>
                  <a:lnTo>
                    <a:pt x="173" y="115"/>
                  </a:lnTo>
                  <a:lnTo>
                    <a:pt x="171" y="115"/>
                  </a:lnTo>
                  <a:lnTo>
                    <a:pt x="169" y="115"/>
                  </a:lnTo>
                  <a:lnTo>
                    <a:pt x="167" y="115"/>
                  </a:lnTo>
                  <a:lnTo>
                    <a:pt x="167" y="115"/>
                  </a:lnTo>
                  <a:lnTo>
                    <a:pt x="165" y="115"/>
                  </a:lnTo>
                  <a:lnTo>
                    <a:pt x="163" y="115"/>
                  </a:lnTo>
                  <a:lnTo>
                    <a:pt x="161" y="115"/>
                  </a:lnTo>
                  <a:lnTo>
                    <a:pt x="159" y="115"/>
                  </a:lnTo>
                  <a:lnTo>
                    <a:pt x="159" y="117"/>
                  </a:lnTo>
                  <a:lnTo>
                    <a:pt x="157" y="117"/>
                  </a:lnTo>
                  <a:lnTo>
                    <a:pt x="155" y="117"/>
                  </a:lnTo>
                  <a:lnTo>
                    <a:pt x="153" y="117"/>
                  </a:lnTo>
                  <a:lnTo>
                    <a:pt x="151" y="117"/>
                  </a:lnTo>
                  <a:lnTo>
                    <a:pt x="149" y="117"/>
                  </a:lnTo>
                  <a:lnTo>
                    <a:pt x="147" y="117"/>
                  </a:lnTo>
                  <a:lnTo>
                    <a:pt x="145" y="117"/>
                  </a:lnTo>
                  <a:lnTo>
                    <a:pt x="143" y="117"/>
                  </a:lnTo>
                  <a:lnTo>
                    <a:pt x="141" y="117"/>
                  </a:lnTo>
                  <a:lnTo>
                    <a:pt x="139" y="117"/>
                  </a:lnTo>
                  <a:lnTo>
                    <a:pt x="137" y="117"/>
                  </a:lnTo>
                  <a:lnTo>
                    <a:pt x="135" y="117"/>
                  </a:lnTo>
                  <a:lnTo>
                    <a:pt x="133" y="117"/>
                  </a:lnTo>
                  <a:lnTo>
                    <a:pt x="131" y="117"/>
                  </a:lnTo>
                  <a:lnTo>
                    <a:pt x="129" y="117"/>
                  </a:lnTo>
                  <a:lnTo>
                    <a:pt x="127" y="117"/>
                  </a:lnTo>
                  <a:lnTo>
                    <a:pt x="125" y="117"/>
                  </a:lnTo>
                  <a:lnTo>
                    <a:pt x="125" y="119"/>
                  </a:lnTo>
                  <a:lnTo>
                    <a:pt x="123" y="119"/>
                  </a:lnTo>
                  <a:lnTo>
                    <a:pt x="121" y="119"/>
                  </a:lnTo>
                  <a:lnTo>
                    <a:pt x="119" y="119"/>
                  </a:lnTo>
                  <a:lnTo>
                    <a:pt x="119" y="119"/>
                  </a:lnTo>
                  <a:lnTo>
                    <a:pt x="117" y="119"/>
                  </a:lnTo>
                  <a:lnTo>
                    <a:pt x="115" y="119"/>
                  </a:lnTo>
                  <a:lnTo>
                    <a:pt x="113" y="119"/>
                  </a:lnTo>
                  <a:lnTo>
                    <a:pt x="111" y="119"/>
                  </a:lnTo>
                  <a:lnTo>
                    <a:pt x="109" y="119"/>
                  </a:lnTo>
                  <a:lnTo>
                    <a:pt x="107" y="119"/>
                  </a:lnTo>
                  <a:lnTo>
                    <a:pt x="105" y="119"/>
                  </a:lnTo>
                  <a:lnTo>
                    <a:pt x="103" y="119"/>
                  </a:lnTo>
                  <a:lnTo>
                    <a:pt x="101" y="119"/>
                  </a:lnTo>
                  <a:lnTo>
                    <a:pt x="99" y="119"/>
                  </a:lnTo>
                  <a:lnTo>
                    <a:pt x="97" y="119"/>
                  </a:lnTo>
                  <a:lnTo>
                    <a:pt x="95" y="119"/>
                  </a:lnTo>
                  <a:lnTo>
                    <a:pt x="95" y="121"/>
                  </a:lnTo>
                  <a:lnTo>
                    <a:pt x="93" y="121"/>
                  </a:lnTo>
                  <a:lnTo>
                    <a:pt x="91" y="121"/>
                  </a:lnTo>
                  <a:lnTo>
                    <a:pt x="89" y="121"/>
                  </a:lnTo>
                  <a:lnTo>
                    <a:pt x="87" y="121"/>
                  </a:lnTo>
                  <a:lnTo>
                    <a:pt x="85" y="121"/>
                  </a:lnTo>
                  <a:lnTo>
                    <a:pt x="83" y="121"/>
                  </a:lnTo>
                  <a:lnTo>
                    <a:pt x="81" y="121"/>
                  </a:lnTo>
                  <a:lnTo>
                    <a:pt x="79" y="121"/>
                  </a:lnTo>
                  <a:lnTo>
                    <a:pt x="77" y="121"/>
                  </a:lnTo>
                  <a:lnTo>
                    <a:pt x="75" y="121"/>
                  </a:lnTo>
                  <a:lnTo>
                    <a:pt x="73" y="121"/>
                  </a:lnTo>
                  <a:lnTo>
                    <a:pt x="71" y="121"/>
                  </a:lnTo>
                  <a:lnTo>
                    <a:pt x="71" y="121"/>
                  </a:lnTo>
                  <a:lnTo>
                    <a:pt x="69" y="121"/>
                  </a:lnTo>
                  <a:lnTo>
                    <a:pt x="67" y="123"/>
                  </a:lnTo>
                  <a:lnTo>
                    <a:pt x="65" y="123"/>
                  </a:lnTo>
                  <a:lnTo>
                    <a:pt x="63" y="123"/>
                  </a:lnTo>
                  <a:lnTo>
                    <a:pt x="61" y="123"/>
                  </a:lnTo>
                  <a:lnTo>
                    <a:pt x="59" y="123"/>
                  </a:lnTo>
                  <a:lnTo>
                    <a:pt x="57" y="123"/>
                  </a:lnTo>
                  <a:lnTo>
                    <a:pt x="55" y="123"/>
                  </a:lnTo>
                  <a:lnTo>
                    <a:pt x="53" y="123"/>
                  </a:lnTo>
                  <a:lnTo>
                    <a:pt x="51" y="123"/>
                  </a:lnTo>
                  <a:lnTo>
                    <a:pt x="49" y="123"/>
                  </a:lnTo>
                  <a:lnTo>
                    <a:pt x="47" y="123"/>
                  </a:lnTo>
                  <a:lnTo>
                    <a:pt x="45" y="123"/>
                  </a:lnTo>
                  <a:lnTo>
                    <a:pt x="43" y="123"/>
                  </a:lnTo>
                  <a:lnTo>
                    <a:pt x="39" y="123"/>
                  </a:lnTo>
                  <a:lnTo>
                    <a:pt x="37" y="123"/>
                  </a:lnTo>
                  <a:lnTo>
                    <a:pt x="35" y="123"/>
                  </a:lnTo>
                  <a:lnTo>
                    <a:pt x="33" y="123"/>
                  </a:lnTo>
                  <a:lnTo>
                    <a:pt x="31" y="123"/>
                  </a:lnTo>
                  <a:lnTo>
                    <a:pt x="29" y="123"/>
                  </a:lnTo>
                  <a:lnTo>
                    <a:pt x="27" y="123"/>
                  </a:lnTo>
                  <a:lnTo>
                    <a:pt x="25" y="123"/>
                  </a:lnTo>
                  <a:lnTo>
                    <a:pt x="23" y="123"/>
                  </a:lnTo>
                  <a:lnTo>
                    <a:pt x="23" y="123"/>
                  </a:lnTo>
                  <a:lnTo>
                    <a:pt x="21" y="123"/>
                  </a:lnTo>
                  <a:lnTo>
                    <a:pt x="21" y="125"/>
                  </a:lnTo>
                  <a:lnTo>
                    <a:pt x="19" y="125"/>
                  </a:lnTo>
                  <a:lnTo>
                    <a:pt x="17" y="125"/>
                  </a:lnTo>
                  <a:lnTo>
                    <a:pt x="15" y="125"/>
                  </a:lnTo>
                  <a:lnTo>
                    <a:pt x="13" y="125"/>
                  </a:lnTo>
                  <a:lnTo>
                    <a:pt x="11" y="125"/>
                  </a:lnTo>
                  <a:lnTo>
                    <a:pt x="9" y="125"/>
                  </a:lnTo>
                  <a:lnTo>
                    <a:pt x="7" y="125"/>
                  </a:lnTo>
                  <a:lnTo>
                    <a:pt x="4" y="125"/>
                  </a:lnTo>
                  <a:lnTo>
                    <a:pt x="2" y="125"/>
                  </a:lnTo>
                  <a:lnTo>
                    <a:pt x="0" y="125"/>
                  </a:lnTo>
                  <a:lnTo>
                    <a:pt x="0" y="123"/>
                  </a:lnTo>
                  <a:lnTo>
                    <a:pt x="0" y="121"/>
                  </a:lnTo>
                  <a:lnTo>
                    <a:pt x="2" y="121"/>
                  </a:lnTo>
                  <a:lnTo>
                    <a:pt x="2" y="123"/>
                  </a:lnTo>
                  <a:lnTo>
                    <a:pt x="4" y="123"/>
                  </a:lnTo>
                  <a:lnTo>
                    <a:pt x="4" y="121"/>
                  </a:lnTo>
                  <a:lnTo>
                    <a:pt x="7" y="119"/>
                  </a:lnTo>
                  <a:lnTo>
                    <a:pt x="7" y="117"/>
                  </a:lnTo>
                  <a:lnTo>
                    <a:pt x="9" y="117"/>
                  </a:lnTo>
                  <a:lnTo>
                    <a:pt x="11" y="117"/>
                  </a:lnTo>
                  <a:lnTo>
                    <a:pt x="11" y="115"/>
                  </a:lnTo>
                  <a:lnTo>
                    <a:pt x="9" y="115"/>
                  </a:lnTo>
                  <a:lnTo>
                    <a:pt x="9" y="113"/>
                  </a:lnTo>
                  <a:lnTo>
                    <a:pt x="11" y="113"/>
                  </a:lnTo>
                  <a:lnTo>
                    <a:pt x="11" y="111"/>
                  </a:lnTo>
                  <a:lnTo>
                    <a:pt x="11" y="109"/>
                  </a:lnTo>
                  <a:lnTo>
                    <a:pt x="9" y="109"/>
                  </a:lnTo>
                  <a:lnTo>
                    <a:pt x="7" y="109"/>
                  </a:lnTo>
                  <a:lnTo>
                    <a:pt x="7" y="107"/>
                  </a:lnTo>
                  <a:lnTo>
                    <a:pt x="9" y="107"/>
                  </a:lnTo>
                  <a:lnTo>
                    <a:pt x="9" y="105"/>
                  </a:lnTo>
                  <a:lnTo>
                    <a:pt x="9" y="103"/>
                  </a:lnTo>
                  <a:lnTo>
                    <a:pt x="11" y="103"/>
                  </a:lnTo>
                  <a:lnTo>
                    <a:pt x="11" y="101"/>
                  </a:lnTo>
                  <a:lnTo>
                    <a:pt x="9" y="101"/>
                  </a:lnTo>
                  <a:lnTo>
                    <a:pt x="7" y="101"/>
                  </a:lnTo>
                  <a:lnTo>
                    <a:pt x="7" y="103"/>
                  </a:lnTo>
                  <a:lnTo>
                    <a:pt x="9" y="103"/>
                  </a:lnTo>
                  <a:lnTo>
                    <a:pt x="7" y="103"/>
                  </a:lnTo>
                  <a:lnTo>
                    <a:pt x="7" y="101"/>
                  </a:lnTo>
                  <a:lnTo>
                    <a:pt x="7" y="99"/>
                  </a:lnTo>
                  <a:lnTo>
                    <a:pt x="9" y="99"/>
                  </a:lnTo>
                  <a:lnTo>
                    <a:pt x="9" y="97"/>
                  </a:lnTo>
                  <a:lnTo>
                    <a:pt x="11" y="97"/>
                  </a:lnTo>
                  <a:lnTo>
                    <a:pt x="11" y="99"/>
                  </a:lnTo>
                  <a:lnTo>
                    <a:pt x="11" y="101"/>
                  </a:lnTo>
                  <a:lnTo>
                    <a:pt x="13" y="101"/>
                  </a:lnTo>
                  <a:lnTo>
                    <a:pt x="11" y="101"/>
                  </a:lnTo>
                  <a:lnTo>
                    <a:pt x="13" y="101"/>
                  </a:lnTo>
                  <a:lnTo>
                    <a:pt x="13" y="99"/>
                  </a:lnTo>
                  <a:lnTo>
                    <a:pt x="13" y="97"/>
                  </a:lnTo>
                  <a:lnTo>
                    <a:pt x="13" y="95"/>
                  </a:lnTo>
                  <a:lnTo>
                    <a:pt x="11" y="95"/>
                  </a:lnTo>
                  <a:lnTo>
                    <a:pt x="13" y="93"/>
                  </a:lnTo>
                  <a:lnTo>
                    <a:pt x="15" y="93"/>
                  </a:lnTo>
                  <a:lnTo>
                    <a:pt x="17" y="93"/>
                  </a:lnTo>
                  <a:lnTo>
                    <a:pt x="17" y="95"/>
                  </a:lnTo>
                  <a:lnTo>
                    <a:pt x="19" y="95"/>
                  </a:lnTo>
                  <a:lnTo>
                    <a:pt x="19" y="93"/>
                  </a:lnTo>
                  <a:lnTo>
                    <a:pt x="17" y="93"/>
                  </a:lnTo>
                  <a:lnTo>
                    <a:pt x="17" y="91"/>
                  </a:lnTo>
                  <a:lnTo>
                    <a:pt x="15" y="91"/>
                  </a:lnTo>
                  <a:lnTo>
                    <a:pt x="17" y="91"/>
                  </a:lnTo>
                  <a:lnTo>
                    <a:pt x="17" y="89"/>
                  </a:lnTo>
                  <a:lnTo>
                    <a:pt x="19" y="89"/>
                  </a:lnTo>
                  <a:lnTo>
                    <a:pt x="21" y="89"/>
                  </a:lnTo>
                  <a:lnTo>
                    <a:pt x="21" y="87"/>
                  </a:lnTo>
                  <a:lnTo>
                    <a:pt x="21" y="87"/>
                  </a:lnTo>
                  <a:lnTo>
                    <a:pt x="19" y="87"/>
                  </a:lnTo>
                  <a:lnTo>
                    <a:pt x="19" y="87"/>
                  </a:lnTo>
                  <a:lnTo>
                    <a:pt x="17" y="87"/>
                  </a:lnTo>
                  <a:lnTo>
                    <a:pt x="17" y="87"/>
                  </a:lnTo>
                  <a:lnTo>
                    <a:pt x="15" y="87"/>
                  </a:lnTo>
                  <a:lnTo>
                    <a:pt x="15" y="85"/>
                  </a:lnTo>
                  <a:lnTo>
                    <a:pt x="17" y="85"/>
                  </a:lnTo>
                  <a:lnTo>
                    <a:pt x="17" y="83"/>
                  </a:lnTo>
                  <a:lnTo>
                    <a:pt x="19" y="83"/>
                  </a:lnTo>
                  <a:lnTo>
                    <a:pt x="19" y="85"/>
                  </a:lnTo>
                  <a:lnTo>
                    <a:pt x="19" y="83"/>
                  </a:lnTo>
                  <a:lnTo>
                    <a:pt x="21" y="83"/>
                  </a:lnTo>
                  <a:lnTo>
                    <a:pt x="23" y="83"/>
                  </a:lnTo>
                  <a:lnTo>
                    <a:pt x="23" y="81"/>
                  </a:lnTo>
                  <a:lnTo>
                    <a:pt x="23" y="79"/>
                  </a:lnTo>
                  <a:lnTo>
                    <a:pt x="23" y="81"/>
                  </a:lnTo>
                  <a:lnTo>
                    <a:pt x="25" y="79"/>
                  </a:lnTo>
                  <a:lnTo>
                    <a:pt x="25" y="77"/>
                  </a:lnTo>
                  <a:lnTo>
                    <a:pt x="23" y="77"/>
                  </a:lnTo>
                  <a:lnTo>
                    <a:pt x="23" y="77"/>
                  </a:lnTo>
                  <a:lnTo>
                    <a:pt x="23" y="75"/>
                  </a:lnTo>
                  <a:lnTo>
                    <a:pt x="23" y="75"/>
                  </a:lnTo>
                  <a:lnTo>
                    <a:pt x="25" y="75"/>
                  </a:lnTo>
                  <a:lnTo>
                    <a:pt x="27" y="75"/>
                  </a:lnTo>
                  <a:lnTo>
                    <a:pt x="27" y="73"/>
                  </a:lnTo>
                  <a:lnTo>
                    <a:pt x="25" y="73"/>
                  </a:lnTo>
                  <a:lnTo>
                    <a:pt x="25" y="71"/>
                  </a:lnTo>
                  <a:lnTo>
                    <a:pt x="25" y="69"/>
                  </a:lnTo>
                  <a:lnTo>
                    <a:pt x="23" y="69"/>
                  </a:lnTo>
                  <a:lnTo>
                    <a:pt x="25" y="69"/>
                  </a:lnTo>
                  <a:lnTo>
                    <a:pt x="25" y="67"/>
                  </a:lnTo>
                  <a:lnTo>
                    <a:pt x="25" y="65"/>
                  </a:lnTo>
                  <a:lnTo>
                    <a:pt x="27" y="63"/>
                  </a:lnTo>
                  <a:lnTo>
                    <a:pt x="29" y="63"/>
                  </a:lnTo>
                  <a:lnTo>
                    <a:pt x="29" y="61"/>
                  </a:lnTo>
                  <a:lnTo>
                    <a:pt x="29" y="59"/>
                  </a:lnTo>
                  <a:lnTo>
                    <a:pt x="27" y="59"/>
                  </a:lnTo>
                  <a:lnTo>
                    <a:pt x="27" y="57"/>
                  </a:lnTo>
                  <a:lnTo>
                    <a:pt x="25" y="57"/>
                  </a:lnTo>
                  <a:lnTo>
                    <a:pt x="25" y="55"/>
                  </a:lnTo>
                  <a:lnTo>
                    <a:pt x="27" y="55"/>
                  </a:lnTo>
                  <a:lnTo>
                    <a:pt x="29" y="55"/>
                  </a:lnTo>
                  <a:lnTo>
                    <a:pt x="31" y="55"/>
                  </a:lnTo>
                  <a:lnTo>
                    <a:pt x="31" y="53"/>
                  </a:lnTo>
                  <a:lnTo>
                    <a:pt x="29" y="53"/>
                  </a:lnTo>
                  <a:lnTo>
                    <a:pt x="29" y="51"/>
                  </a:lnTo>
                  <a:lnTo>
                    <a:pt x="27" y="51"/>
                  </a:lnTo>
                  <a:lnTo>
                    <a:pt x="29" y="51"/>
                  </a:lnTo>
                  <a:lnTo>
                    <a:pt x="29" y="49"/>
                  </a:lnTo>
                  <a:lnTo>
                    <a:pt x="31" y="49"/>
                  </a:lnTo>
                  <a:lnTo>
                    <a:pt x="33" y="49"/>
                  </a:lnTo>
                  <a:lnTo>
                    <a:pt x="33" y="47"/>
                  </a:lnTo>
                  <a:lnTo>
                    <a:pt x="31" y="45"/>
                  </a:lnTo>
                  <a:lnTo>
                    <a:pt x="31" y="43"/>
                  </a:lnTo>
                  <a:lnTo>
                    <a:pt x="33" y="43"/>
                  </a:lnTo>
                  <a:lnTo>
                    <a:pt x="33" y="41"/>
                  </a:lnTo>
                  <a:lnTo>
                    <a:pt x="31" y="41"/>
                  </a:lnTo>
                  <a:lnTo>
                    <a:pt x="33" y="41"/>
                  </a:lnTo>
                  <a:lnTo>
                    <a:pt x="33" y="43"/>
                  </a:lnTo>
                  <a:lnTo>
                    <a:pt x="35" y="43"/>
                  </a:lnTo>
                  <a:lnTo>
                    <a:pt x="37" y="41"/>
                  </a:lnTo>
                  <a:lnTo>
                    <a:pt x="39" y="41"/>
                  </a:lnTo>
                  <a:lnTo>
                    <a:pt x="41" y="41"/>
                  </a:lnTo>
                  <a:lnTo>
                    <a:pt x="43" y="39"/>
                  </a:lnTo>
                  <a:lnTo>
                    <a:pt x="45" y="39"/>
                  </a:lnTo>
                  <a:lnTo>
                    <a:pt x="47" y="39"/>
                  </a:lnTo>
                  <a:lnTo>
                    <a:pt x="49" y="39"/>
                  </a:lnTo>
                  <a:lnTo>
                    <a:pt x="51" y="39"/>
                  </a:lnTo>
                  <a:lnTo>
                    <a:pt x="53" y="39"/>
                  </a:lnTo>
                  <a:lnTo>
                    <a:pt x="55" y="39"/>
                  </a:lnTo>
                  <a:lnTo>
                    <a:pt x="57" y="39"/>
                  </a:lnTo>
                  <a:lnTo>
                    <a:pt x="61" y="39"/>
                  </a:lnTo>
                  <a:lnTo>
                    <a:pt x="63" y="39"/>
                  </a:lnTo>
                  <a:lnTo>
                    <a:pt x="65" y="39"/>
                  </a:lnTo>
                  <a:lnTo>
                    <a:pt x="67" y="39"/>
                  </a:lnTo>
                  <a:lnTo>
                    <a:pt x="69" y="39"/>
                  </a:lnTo>
                  <a:lnTo>
                    <a:pt x="71" y="39"/>
                  </a:lnTo>
                  <a:lnTo>
                    <a:pt x="71" y="39"/>
                  </a:lnTo>
                  <a:lnTo>
                    <a:pt x="73" y="39"/>
                  </a:lnTo>
                  <a:lnTo>
                    <a:pt x="75" y="39"/>
                  </a:lnTo>
                  <a:lnTo>
                    <a:pt x="77" y="39"/>
                  </a:lnTo>
                  <a:lnTo>
                    <a:pt x="79" y="39"/>
                  </a:lnTo>
                  <a:lnTo>
                    <a:pt x="81" y="39"/>
                  </a:lnTo>
                  <a:lnTo>
                    <a:pt x="83" y="39"/>
                  </a:lnTo>
                  <a:lnTo>
                    <a:pt x="85" y="39"/>
                  </a:lnTo>
                  <a:lnTo>
                    <a:pt x="87" y="39"/>
                  </a:lnTo>
                  <a:lnTo>
                    <a:pt x="89" y="39"/>
                  </a:lnTo>
                  <a:lnTo>
                    <a:pt x="91" y="39"/>
                  </a:lnTo>
                  <a:lnTo>
                    <a:pt x="93" y="39"/>
                  </a:lnTo>
                  <a:lnTo>
                    <a:pt x="95" y="39"/>
                  </a:lnTo>
                  <a:lnTo>
                    <a:pt x="97" y="39"/>
                  </a:lnTo>
                  <a:lnTo>
                    <a:pt x="97" y="37"/>
                  </a:lnTo>
                  <a:lnTo>
                    <a:pt x="97" y="35"/>
                  </a:lnTo>
                  <a:lnTo>
                    <a:pt x="97" y="33"/>
                  </a:lnTo>
                  <a:lnTo>
                    <a:pt x="95" y="33"/>
                  </a:lnTo>
                  <a:lnTo>
                    <a:pt x="95" y="31"/>
                  </a:lnTo>
                  <a:lnTo>
                    <a:pt x="95" y="29"/>
                  </a:lnTo>
                  <a:lnTo>
                    <a:pt x="97" y="29"/>
                  </a:lnTo>
                  <a:close/>
                </a:path>
              </a:pathLst>
            </a:custGeom>
            <a:solidFill>
              <a:srgbClr val="575F9F"/>
            </a:solid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black"/>
                </a:solidFill>
                <a:effectLst/>
                <a:uLnTx/>
                <a:uFillTx/>
                <a:ea typeface="宋体" panose="02010600030101010101" pitchFamily="2" charset="-122"/>
              </a:endParaRPr>
            </a:p>
          </p:txBody>
        </p:sp>
        <p:sp>
          <p:nvSpPr>
            <p:cNvPr id="38" name="Freeform 3779">
              <a:extLst>
                <a:ext uri="{FF2B5EF4-FFF2-40B4-BE49-F238E27FC236}">
                  <a16:creationId xmlns:a16="http://schemas.microsoft.com/office/drawing/2014/main" id="{4C13946A-23F3-B5D5-4620-29855FC40471}"/>
                </a:ext>
              </a:extLst>
            </p:cNvPr>
            <p:cNvSpPr>
              <a:spLocks/>
            </p:cNvSpPr>
            <p:nvPr/>
          </p:nvSpPr>
          <p:spPr bwMode="auto">
            <a:xfrm>
              <a:off x="6121401" y="3157538"/>
              <a:ext cx="298450" cy="298450"/>
            </a:xfrm>
            <a:custGeom>
              <a:avLst/>
              <a:gdLst>
                <a:gd name="T0" fmla="*/ 66 w 188"/>
                <a:gd name="T1" fmla="*/ 14 h 188"/>
                <a:gd name="T2" fmla="*/ 70 w 188"/>
                <a:gd name="T3" fmla="*/ 28 h 188"/>
                <a:gd name="T4" fmla="*/ 72 w 188"/>
                <a:gd name="T5" fmla="*/ 44 h 188"/>
                <a:gd name="T6" fmla="*/ 88 w 188"/>
                <a:gd name="T7" fmla="*/ 46 h 188"/>
                <a:gd name="T8" fmla="*/ 104 w 188"/>
                <a:gd name="T9" fmla="*/ 42 h 188"/>
                <a:gd name="T10" fmla="*/ 116 w 188"/>
                <a:gd name="T11" fmla="*/ 46 h 188"/>
                <a:gd name="T12" fmla="*/ 120 w 188"/>
                <a:gd name="T13" fmla="*/ 64 h 188"/>
                <a:gd name="T14" fmla="*/ 128 w 188"/>
                <a:gd name="T15" fmla="*/ 62 h 188"/>
                <a:gd name="T16" fmla="*/ 132 w 188"/>
                <a:gd name="T17" fmla="*/ 52 h 188"/>
                <a:gd name="T18" fmla="*/ 140 w 188"/>
                <a:gd name="T19" fmla="*/ 48 h 188"/>
                <a:gd name="T20" fmla="*/ 146 w 188"/>
                <a:gd name="T21" fmla="*/ 40 h 188"/>
                <a:gd name="T22" fmla="*/ 152 w 188"/>
                <a:gd name="T23" fmla="*/ 44 h 188"/>
                <a:gd name="T24" fmla="*/ 158 w 188"/>
                <a:gd name="T25" fmla="*/ 40 h 188"/>
                <a:gd name="T26" fmla="*/ 162 w 188"/>
                <a:gd name="T27" fmla="*/ 34 h 188"/>
                <a:gd name="T28" fmla="*/ 172 w 188"/>
                <a:gd name="T29" fmla="*/ 30 h 188"/>
                <a:gd name="T30" fmla="*/ 180 w 188"/>
                <a:gd name="T31" fmla="*/ 32 h 188"/>
                <a:gd name="T32" fmla="*/ 184 w 188"/>
                <a:gd name="T33" fmla="*/ 38 h 188"/>
                <a:gd name="T34" fmla="*/ 188 w 188"/>
                <a:gd name="T35" fmla="*/ 44 h 188"/>
                <a:gd name="T36" fmla="*/ 188 w 188"/>
                <a:gd name="T37" fmla="*/ 54 h 188"/>
                <a:gd name="T38" fmla="*/ 180 w 188"/>
                <a:gd name="T39" fmla="*/ 54 h 188"/>
                <a:gd name="T40" fmla="*/ 168 w 188"/>
                <a:gd name="T41" fmla="*/ 48 h 188"/>
                <a:gd name="T42" fmla="*/ 164 w 188"/>
                <a:gd name="T43" fmla="*/ 50 h 188"/>
                <a:gd name="T44" fmla="*/ 164 w 188"/>
                <a:gd name="T45" fmla="*/ 60 h 188"/>
                <a:gd name="T46" fmla="*/ 158 w 188"/>
                <a:gd name="T47" fmla="*/ 70 h 188"/>
                <a:gd name="T48" fmla="*/ 154 w 188"/>
                <a:gd name="T49" fmla="*/ 76 h 188"/>
                <a:gd name="T50" fmla="*/ 148 w 188"/>
                <a:gd name="T51" fmla="*/ 84 h 188"/>
                <a:gd name="T52" fmla="*/ 140 w 188"/>
                <a:gd name="T53" fmla="*/ 88 h 188"/>
                <a:gd name="T54" fmla="*/ 140 w 188"/>
                <a:gd name="T55" fmla="*/ 104 h 188"/>
                <a:gd name="T56" fmla="*/ 128 w 188"/>
                <a:gd name="T57" fmla="*/ 106 h 188"/>
                <a:gd name="T58" fmla="*/ 120 w 188"/>
                <a:gd name="T59" fmla="*/ 106 h 188"/>
                <a:gd name="T60" fmla="*/ 118 w 188"/>
                <a:gd name="T61" fmla="*/ 114 h 188"/>
                <a:gd name="T62" fmla="*/ 112 w 188"/>
                <a:gd name="T63" fmla="*/ 122 h 188"/>
                <a:gd name="T64" fmla="*/ 108 w 188"/>
                <a:gd name="T65" fmla="*/ 136 h 188"/>
                <a:gd name="T66" fmla="*/ 102 w 188"/>
                <a:gd name="T67" fmla="*/ 148 h 188"/>
                <a:gd name="T68" fmla="*/ 102 w 188"/>
                <a:gd name="T69" fmla="*/ 158 h 188"/>
                <a:gd name="T70" fmla="*/ 98 w 188"/>
                <a:gd name="T71" fmla="*/ 166 h 188"/>
                <a:gd name="T72" fmla="*/ 92 w 188"/>
                <a:gd name="T73" fmla="*/ 168 h 188"/>
                <a:gd name="T74" fmla="*/ 82 w 188"/>
                <a:gd name="T75" fmla="*/ 172 h 188"/>
                <a:gd name="T76" fmla="*/ 74 w 188"/>
                <a:gd name="T77" fmla="*/ 178 h 188"/>
                <a:gd name="T78" fmla="*/ 64 w 188"/>
                <a:gd name="T79" fmla="*/ 180 h 188"/>
                <a:gd name="T80" fmla="*/ 54 w 188"/>
                <a:gd name="T81" fmla="*/ 184 h 188"/>
                <a:gd name="T82" fmla="*/ 44 w 188"/>
                <a:gd name="T83" fmla="*/ 184 h 188"/>
                <a:gd name="T84" fmla="*/ 36 w 188"/>
                <a:gd name="T85" fmla="*/ 176 h 188"/>
                <a:gd name="T86" fmla="*/ 26 w 188"/>
                <a:gd name="T87" fmla="*/ 172 h 188"/>
                <a:gd name="T88" fmla="*/ 18 w 188"/>
                <a:gd name="T89" fmla="*/ 166 h 188"/>
                <a:gd name="T90" fmla="*/ 10 w 188"/>
                <a:gd name="T91" fmla="*/ 158 h 188"/>
                <a:gd name="T92" fmla="*/ 4 w 188"/>
                <a:gd name="T93" fmla="*/ 150 h 188"/>
                <a:gd name="T94" fmla="*/ 0 w 188"/>
                <a:gd name="T95" fmla="*/ 136 h 188"/>
                <a:gd name="T96" fmla="*/ 8 w 188"/>
                <a:gd name="T97" fmla="*/ 128 h 188"/>
                <a:gd name="T98" fmla="*/ 10 w 188"/>
                <a:gd name="T99" fmla="*/ 118 h 188"/>
                <a:gd name="T100" fmla="*/ 14 w 188"/>
                <a:gd name="T101" fmla="*/ 110 h 188"/>
                <a:gd name="T102" fmla="*/ 16 w 188"/>
                <a:gd name="T103" fmla="*/ 102 h 188"/>
                <a:gd name="T104" fmla="*/ 24 w 188"/>
                <a:gd name="T105" fmla="*/ 96 h 188"/>
                <a:gd name="T106" fmla="*/ 30 w 188"/>
                <a:gd name="T107" fmla="*/ 96 h 188"/>
                <a:gd name="T108" fmla="*/ 28 w 188"/>
                <a:gd name="T109" fmla="*/ 84 h 188"/>
                <a:gd name="T110" fmla="*/ 36 w 188"/>
                <a:gd name="T111" fmla="*/ 74 h 188"/>
                <a:gd name="T112" fmla="*/ 44 w 188"/>
                <a:gd name="T113" fmla="*/ 72 h 188"/>
                <a:gd name="T114" fmla="*/ 52 w 188"/>
                <a:gd name="T115" fmla="*/ 64 h 188"/>
                <a:gd name="T116" fmla="*/ 60 w 188"/>
                <a:gd name="T117" fmla="*/ 54 h 188"/>
                <a:gd name="T118" fmla="*/ 60 w 188"/>
                <a:gd name="T119" fmla="*/ 40 h 188"/>
                <a:gd name="T120" fmla="*/ 62 w 188"/>
                <a:gd name="T121" fmla="*/ 24 h 188"/>
                <a:gd name="T122" fmla="*/ 64 w 188"/>
                <a:gd name="T123" fmla="*/ 14 h 188"/>
                <a:gd name="T124" fmla="*/ 60 w 188"/>
                <a:gd name="T125" fmla="*/ 4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88" h="188">
                  <a:moveTo>
                    <a:pt x="64" y="0"/>
                  </a:moveTo>
                  <a:lnTo>
                    <a:pt x="64" y="2"/>
                  </a:lnTo>
                  <a:lnTo>
                    <a:pt x="66" y="2"/>
                  </a:lnTo>
                  <a:lnTo>
                    <a:pt x="66" y="4"/>
                  </a:lnTo>
                  <a:lnTo>
                    <a:pt x="66" y="6"/>
                  </a:lnTo>
                  <a:lnTo>
                    <a:pt x="66" y="8"/>
                  </a:lnTo>
                  <a:lnTo>
                    <a:pt x="66" y="10"/>
                  </a:lnTo>
                  <a:lnTo>
                    <a:pt x="66" y="12"/>
                  </a:lnTo>
                  <a:lnTo>
                    <a:pt x="66" y="14"/>
                  </a:lnTo>
                  <a:lnTo>
                    <a:pt x="68" y="14"/>
                  </a:lnTo>
                  <a:lnTo>
                    <a:pt x="68" y="16"/>
                  </a:lnTo>
                  <a:lnTo>
                    <a:pt x="68" y="18"/>
                  </a:lnTo>
                  <a:lnTo>
                    <a:pt x="68" y="20"/>
                  </a:lnTo>
                  <a:lnTo>
                    <a:pt x="68" y="22"/>
                  </a:lnTo>
                  <a:lnTo>
                    <a:pt x="70" y="22"/>
                  </a:lnTo>
                  <a:lnTo>
                    <a:pt x="70" y="24"/>
                  </a:lnTo>
                  <a:lnTo>
                    <a:pt x="70" y="26"/>
                  </a:lnTo>
                  <a:lnTo>
                    <a:pt x="70" y="28"/>
                  </a:lnTo>
                  <a:lnTo>
                    <a:pt x="70" y="30"/>
                  </a:lnTo>
                  <a:lnTo>
                    <a:pt x="70" y="32"/>
                  </a:lnTo>
                  <a:lnTo>
                    <a:pt x="70" y="34"/>
                  </a:lnTo>
                  <a:lnTo>
                    <a:pt x="72" y="34"/>
                  </a:lnTo>
                  <a:lnTo>
                    <a:pt x="72" y="36"/>
                  </a:lnTo>
                  <a:lnTo>
                    <a:pt x="72" y="38"/>
                  </a:lnTo>
                  <a:lnTo>
                    <a:pt x="72" y="40"/>
                  </a:lnTo>
                  <a:lnTo>
                    <a:pt x="72" y="42"/>
                  </a:lnTo>
                  <a:lnTo>
                    <a:pt x="72" y="44"/>
                  </a:lnTo>
                  <a:lnTo>
                    <a:pt x="74" y="46"/>
                  </a:lnTo>
                  <a:lnTo>
                    <a:pt x="74" y="48"/>
                  </a:lnTo>
                  <a:lnTo>
                    <a:pt x="76" y="48"/>
                  </a:lnTo>
                  <a:lnTo>
                    <a:pt x="78" y="48"/>
                  </a:lnTo>
                  <a:lnTo>
                    <a:pt x="80" y="48"/>
                  </a:lnTo>
                  <a:lnTo>
                    <a:pt x="82" y="46"/>
                  </a:lnTo>
                  <a:lnTo>
                    <a:pt x="84" y="46"/>
                  </a:lnTo>
                  <a:lnTo>
                    <a:pt x="86" y="46"/>
                  </a:lnTo>
                  <a:lnTo>
                    <a:pt x="88" y="46"/>
                  </a:lnTo>
                  <a:lnTo>
                    <a:pt x="90" y="46"/>
                  </a:lnTo>
                  <a:lnTo>
                    <a:pt x="92" y="46"/>
                  </a:lnTo>
                  <a:lnTo>
                    <a:pt x="92" y="44"/>
                  </a:lnTo>
                  <a:lnTo>
                    <a:pt x="92" y="44"/>
                  </a:lnTo>
                  <a:lnTo>
                    <a:pt x="94" y="44"/>
                  </a:lnTo>
                  <a:lnTo>
                    <a:pt x="96" y="44"/>
                  </a:lnTo>
                  <a:lnTo>
                    <a:pt x="98" y="44"/>
                  </a:lnTo>
                  <a:lnTo>
                    <a:pt x="100" y="44"/>
                  </a:lnTo>
                  <a:lnTo>
                    <a:pt x="104" y="42"/>
                  </a:lnTo>
                  <a:lnTo>
                    <a:pt x="106" y="42"/>
                  </a:lnTo>
                  <a:lnTo>
                    <a:pt x="108" y="42"/>
                  </a:lnTo>
                  <a:lnTo>
                    <a:pt x="110" y="42"/>
                  </a:lnTo>
                  <a:lnTo>
                    <a:pt x="112" y="40"/>
                  </a:lnTo>
                  <a:lnTo>
                    <a:pt x="114" y="40"/>
                  </a:lnTo>
                  <a:lnTo>
                    <a:pt x="116" y="40"/>
                  </a:lnTo>
                  <a:lnTo>
                    <a:pt x="116" y="42"/>
                  </a:lnTo>
                  <a:lnTo>
                    <a:pt x="116" y="44"/>
                  </a:lnTo>
                  <a:lnTo>
                    <a:pt x="116" y="46"/>
                  </a:lnTo>
                  <a:lnTo>
                    <a:pt x="116" y="48"/>
                  </a:lnTo>
                  <a:lnTo>
                    <a:pt x="116" y="50"/>
                  </a:lnTo>
                  <a:lnTo>
                    <a:pt x="118" y="52"/>
                  </a:lnTo>
                  <a:lnTo>
                    <a:pt x="118" y="54"/>
                  </a:lnTo>
                  <a:lnTo>
                    <a:pt x="118" y="56"/>
                  </a:lnTo>
                  <a:lnTo>
                    <a:pt x="118" y="58"/>
                  </a:lnTo>
                  <a:lnTo>
                    <a:pt x="118" y="60"/>
                  </a:lnTo>
                  <a:lnTo>
                    <a:pt x="118" y="62"/>
                  </a:lnTo>
                  <a:lnTo>
                    <a:pt x="120" y="64"/>
                  </a:lnTo>
                  <a:lnTo>
                    <a:pt x="120" y="64"/>
                  </a:lnTo>
                  <a:lnTo>
                    <a:pt x="120" y="66"/>
                  </a:lnTo>
                  <a:lnTo>
                    <a:pt x="122" y="66"/>
                  </a:lnTo>
                  <a:lnTo>
                    <a:pt x="122" y="64"/>
                  </a:lnTo>
                  <a:lnTo>
                    <a:pt x="124" y="64"/>
                  </a:lnTo>
                  <a:lnTo>
                    <a:pt x="124" y="64"/>
                  </a:lnTo>
                  <a:lnTo>
                    <a:pt x="124" y="62"/>
                  </a:lnTo>
                  <a:lnTo>
                    <a:pt x="126" y="62"/>
                  </a:lnTo>
                  <a:lnTo>
                    <a:pt x="128" y="62"/>
                  </a:lnTo>
                  <a:lnTo>
                    <a:pt x="128" y="60"/>
                  </a:lnTo>
                  <a:lnTo>
                    <a:pt x="128" y="58"/>
                  </a:lnTo>
                  <a:lnTo>
                    <a:pt x="130" y="58"/>
                  </a:lnTo>
                  <a:lnTo>
                    <a:pt x="130" y="56"/>
                  </a:lnTo>
                  <a:lnTo>
                    <a:pt x="132" y="56"/>
                  </a:lnTo>
                  <a:lnTo>
                    <a:pt x="130" y="56"/>
                  </a:lnTo>
                  <a:lnTo>
                    <a:pt x="132" y="56"/>
                  </a:lnTo>
                  <a:lnTo>
                    <a:pt x="132" y="54"/>
                  </a:lnTo>
                  <a:lnTo>
                    <a:pt x="132" y="52"/>
                  </a:lnTo>
                  <a:lnTo>
                    <a:pt x="134" y="52"/>
                  </a:lnTo>
                  <a:lnTo>
                    <a:pt x="134" y="50"/>
                  </a:lnTo>
                  <a:lnTo>
                    <a:pt x="136" y="50"/>
                  </a:lnTo>
                  <a:lnTo>
                    <a:pt x="138" y="50"/>
                  </a:lnTo>
                  <a:lnTo>
                    <a:pt x="140" y="50"/>
                  </a:lnTo>
                  <a:lnTo>
                    <a:pt x="140" y="52"/>
                  </a:lnTo>
                  <a:lnTo>
                    <a:pt x="140" y="50"/>
                  </a:lnTo>
                  <a:lnTo>
                    <a:pt x="140" y="48"/>
                  </a:lnTo>
                  <a:lnTo>
                    <a:pt x="140" y="48"/>
                  </a:lnTo>
                  <a:lnTo>
                    <a:pt x="140" y="46"/>
                  </a:lnTo>
                  <a:lnTo>
                    <a:pt x="140" y="44"/>
                  </a:lnTo>
                  <a:lnTo>
                    <a:pt x="142" y="44"/>
                  </a:lnTo>
                  <a:lnTo>
                    <a:pt x="142" y="42"/>
                  </a:lnTo>
                  <a:lnTo>
                    <a:pt x="142" y="40"/>
                  </a:lnTo>
                  <a:lnTo>
                    <a:pt x="142" y="38"/>
                  </a:lnTo>
                  <a:lnTo>
                    <a:pt x="144" y="38"/>
                  </a:lnTo>
                  <a:lnTo>
                    <a:pt x="144" y="40"/>
                  </a:lnTo>
                  <a:lnTo>
                    <a:pt x="146" y="40"/>
                  </a:lnTo>
                  <a:lnTo>
                    <a:pt x="144" y="40"/>
                  </a:lnTo>
                  <a:lnTo>
                    <a:pt x="144" y="42"/>
                  </a:lnTo>
                  <a:lnTo>
                    <a:pt x="146" y="42"/>
                  </a:lnTo>
                  <a:lnTo>
                    <a:pt x="148" y="42"/>
                  </a:lnTo>
                  <a:lnTo>
                    <a:pt x="148" y="44"/>
                  </a:lnTo>
                  <a:lnTo>
                    <a:pt x="150" y="44"/>
                  </a:lnTo>
                  <a:lnTo>
                    <a:pt x="150" y="42"/>
                  </a:lnTo>
                  <a:lnTo>
                    <a:pt x="152" y="42"/>
                  </a:lnTo>
                  <a:lnTo>
                    <a:pt x="152" y="44"/>
                  </a:lnTo>
                  <a:lnTo>
                    <a:pt x="154" y="44"/>
                  </a:lnTo>
                  <a:lnTo>
                    <a:pt x="154" y="42"/>
                  </a:lnTo>
                  <a:lnTo>
                    <a:pt x="156" y="42"/>
                  </a:lnTo>
                  <a:lnTo>
                    <a:pt x="158" y="42"/>
                  </a:lnTo>
                  <a:lnTo>
                    <a:pt x="158" y="40"/>
                  </a:lnTo>
                  <a:lnTo>
                    <a:pt x="158" y="42"/>
                  </a:lnTo>
                  <a:lnTo>
                    <a:pt x="158" y="40"/>
                  </a:lnTo>
                  <a:lnTo>
                    <a:pt x="160" y="40"/>
                  </a:lnTo>
                  <a:lnTo>
                    <a:pt x="158" y="40"/>
                  </a:lnTo>
                  <a:lnTo>
                    <a:pt x="156" y="40"/>
                  </a:lnTo>
                  <a:lnTo>
                    <a:pt x="156" y="38"/>
                  </a:lnTo>
                  <a:lnTo>
                    <a:pt x="158" y="38"/>
                  </a:lnTo>
                  <a:lnTo>
                    <a:pt x="160" y="38"/>
                  </a:lnTo>
                  <a:lnTo>
                    <a:pt x="158" y="38"/>
                  </a:lnTo>
                  <a:lnTo>
                    <a:pt x="158" y="36"/>
                  </a:lnTo>
                  <a:lnTo>
                    <a:pt x="160" y="36"/>
                  </a:lnTo>
                  <a:lnTo>
                    <a:pt x="160" y="34"/>
                  </a:lnTo>
                  <a:lnTo>
                    <a:pt x="162" y="34"/>
                  </a:lnTo>
                  <a:lnTo>
                    <a:pt x="162" y="36"/>
                  </a:lnTo>
                  <a:lnTo>
                    <a:pt x="164" y="36"/>
                  </a:lnTo>
                  <a:lnTo>
                    <a:pt x="164" y="34"/>
                  </a:lnTo>
                  <a:lnTo>
                    <a:pt x="166" y="34"/>
                  </a:lnTo>
                  <a:lnTo>
                    <a:pt x="166" y="32"/>
                  </a:lnTo>
                  <a:lnTo>
                    <a:pt x="166" y="30"/>
                  </a:lnTo>
                  <a:lnTo>
                    <a:pt x="168" y="30"/>
                  </a:lnTo>
                  <a:lnTo>
                    <a:pt x="170" y="30"/>
                  </a:lnTo>
                  <a:lnTo>
                    <a:pt x="172" y="30"/>
                  </a:lnTo>
                  <a:lnTo>
                    <a:pt x="172" y="32"/>
                  </a:lnTo>
                  <a:lnTo>
                    <a:pt x="174" y="32"/>
                  </a:lnTo>
                  <a:lnTo>
                    <a:pt x="174" y="34"/>
                  </a:lnTo>
                  <a:lnTo>
                    <a:pt x="176" y="34"/>
                  </a:lnTo>
                  <a:lnTo>
                    <a:pt x="178" y="34"/>
                  </a:lnTo>
                  <a:lnTo>
                    <a:pt x="178" y="32"/>
                  </a:lnTo>
                  <a:lnTo>
                    <a:pt x="178" y="34"/>
                  </a:lnTo>
                  <a:lnTo>
                    <a:pt x="178" y="32"/>
                  </a:lnTo>
                  <a:lnTo>
                    <a:pt x="180" y="32"/>
                  </a:lnTo>
                  <a:lnTo>
                    <a:pt x="182" y="32"/>
                  </a:lnTo>
                  <a:lnTo>
                    <a:pt x="184" y="34"/>
                  </a:lnTo>
                  <a:lnTo>
                    <a:pt x="182" y="34"/>
                  </a:lnTo>
                  <a:lnTo>
                    <a:pt x="180" y="34"/>
                  </a:lnTo>
                  <a:lnTo>
                    <a:pt x="180" y="36"/>
                  </a:lnTo>
                  <a:lnTo>
                    <a:pt x="182" y="36"/>
                  </a:lnTo>
                  <a:lnTo>
                    <a:pt x="182" y="38"/>
                  </a:lnTo>
                  <a:lnTo>
                    <a:pt x="184" y="36"/>
                  </a:lnTo>
                  <a:lnTo>
                    <a:pt x="184" y="38"/>
                  </a:lnTo>
                  <a:lnTo>
                    <a:pt x="186" y="38"/>
                  </a:lnTo>
                  <a:lnTo>
                    <a:pt x="186" y="40"/>
                  </a:lnTo>
                  <a:lnTo>
                    <a:pt x="186" y="42"/>
                  </a:lnTo>
                  <a:lnTo>
                    <a:pt x="186" y="40"/>
                  </a:lnTo>
                  <a:lnTo>
                    <a:pt x="188" y="40"/>
                  </a:lnTo>
                  <a:lnTo>
                    <a:pt x="188" y="42"/>
                  </a:lnTo>
                  <a:lnTo>
                    <a:pt x="188" y="42"/>
                  </a:lnTo>
                  <a:lnTo>
                    <a:pt x="188" y="44"/>
                  </a:lnTo>
                  <a:lnTo>
                    <a:pt x="188" y="44"/>
                  </a:lnTo>
                  <a:lnTo>
                    <a:pt x="188" y="46"/>
                  </a:lnTo>
                  <a:lnTo>
                    <a:pt x="188" y="46"/>
                  </a:lnTo>
                  <a:lnTo>
                    <a:pt x="188" y="48"/>
                  </a:lnTo>
                  <a:lnTo>
                    <a:pt x="188" y="50"/>
                  </a:lnTo>
                  <a:lnTo>
                    <a:pt x="188" y="52"/>
                  </a:lnTo>
                  <a:lnTo>
                    <a:pt x="188" y="54"/>
                  </a:lnTo>
                  <a:lnTo>
                    <a:pt x="188" y="54"/>
                  </a:lnTo>
                  <a:lnTo>
                    <a:pt x="188" y="54"/>
                  </a:lnTo>
                  <a:lnTo>
                    <a:pt x="188" y="54"/>
                  </a:lnTo>
                  <a:lnTo>
                    <a:pt x="188" y="54"/>
                  </a:lnTo>
                  <a:lnTo>
                    <a:pt x="188" y="56"/>
                  </a:lnTo>
                  <a:lnTo>
                    <a:pt x="188" y="58"/>
                  </a:lnTo>
                  <a:lnTo>
                    <a:pt x="188" y="56"/>
                  </a:lnTo>
                  <a:lnTo>
                    <a:pt x="186" y="56"/>
                  </a:lnTo>
                  <a:lnTo>
                    <a:pt x="184" y="56"/>
                  </a:lnTo>
                  <a:lnTo>
                    <a:pt x="184" y="54"/>
                  </a:lnTo>
                  <a:lnTo>
                    <a:pt x="182" y="54"/>
                  </a:lnTo>
                  <a:lnTo>
                    <a:pt x="180" y="54"/>
                  </a:lnTo>
                  <a:lnTo>
                    <a:pt x="180" y="52"/>
                  </a:lnTo>
                  <a:lnTo>
                    <a:pt x="178" y="52"/>
                  </a:lnTo>
                  <a:lnTo>
                    <a:pt x="176" y="52"/>
                  </a:lnTo>
                  <a:lnTo>
                    <a:pt x="176" y="50"/>
                  </a:lnTo>
                  <a:lnTo>
                    <a:pt x="174" y="50"/>
                  </a:lnTo>
                  <a:lnTo>
                    <a:pt x="172" y="50"/>
                  </a:lnTo>
                  <a:lnTo>
                    <a:pt x="172" y="48"/>
                  </a:lnTo>
                  <a:lnTo>
                    <a:pt x="170" y="48"/>
                  </a:lnTo>
                  <a:lnTo>
                    <a:pt x="168" y="48"/>
                  </a:lnTo>
                  <a:lnTo>
                    <a:pt x="168" y="46"/>
                  </a:lnTo>
                  <a:lnTo>
                    <a:pt x="166" y="46"/>
                  </a:lnTo>
                  <a:lnTo>
                    <a:pt x="164" y="46"/>
                  </a:lnTo>
                  <a:lnTo>
                    <a:pt x="164" y="44"/>
                  </a:lnTo>
                  <a:lnTo>
                    <a:pt x="162" y="44"/>
                  </a:lnTo>
                  <a:lnTo>
                    <a:pt x="164" y="44"/>
                  </a:lnTo>
                  <a:lnTo>
                    <a:pt x="164" y="46"/>
                  </a:lnTo>
                  <a:lnTo>
                    <a:pt x="164" y="48"/>
                  </a:lnTo>
                  <a:lnTo>
                    <a:pt x="164" y="50"/>
                  </a:lnTo>
                  <a:lnTo>
                    <a:pt x="164" y="52"/>
                  </a:lnTo>
                  <a:lnTo>
                    <a:pt x="164" y="54"/>
                  </a:lnTo>
                  <a:lnTo>
                    <a:pt x="162" y="54"/>
                  </a:lnTo>
                  <a:lnTo>
                    <a:pt x="162" y="56"/>
                  </a:lnTo>
                  <a:lnTo>
                    <a:pt x="164" y="56"/>
                  </a:lnTo>
                  <a:lnTo>
                    <a:pt x="164" y="58"/>
                  </a:lnTo>
                  <a:lnTo>
                    <a:pt x="162" y="58"/>
                  </a:lnTo>
                  <a:lnTo>
                    <a:pt x="162" y="60"/>
                  </a:lnTo>
                  <a:lnTo>
                    <a:pt x="164" y="60"/>
                  </a:lnTo>
                  <a:lnTo>
                    <a:pt x="164" y="62"/>
                  </a:lnTo>
                  <a:lnTo>
                    <a:pt x="162" y="62"/>
                  </a:lnTo>
                  <a:lnTo>
                    <a:pt x="162" y="64"/>
                  </a:lnTo>
                  <a:lnTo>
                    <a:pt x="160" y="64"/>
                  </a:lnTo>
                  <a:lnTo>
                    <a:pt x="160" y="66"/>
                  </a:lnTo>
                  <a:lnTo>
                    <a:pt x="158" y="66"/>
                  </a:lnTo>
                  <a:lnTo>
                    <a:pt x="158" y="68"/>
                  </a:lnTo>
                  <a:lnTo>
                    <a:pt x="160" y="68"/>
                  </a:lnTo>
                  <a:lnTo>
                    <a:pt x="158" y="70"/>
                  </a:lnTo>
                  <a:lnTo>
                    <a:pt x="158" y="72"/>
                  </a:lnTo>
                  <a:lnTo>
                    <a:pt x="158" y="70"/>
                  </a:lnTo>
                  <a:lnTo>
                    <a:pt x="158" y="72"/>
                  </a:lnTo>
                  <a:lnTo>
                    <a:pt x="158" y="70"/>
                  </a:lnTo>
                  <a:lnTo>
                    <a:pt x="156" y="70"/>
                  </a:lnTo>
                  <a:lnTo>
                    <a:pt x="156" y="72"/>
                  </a:lnTo>
                  <a:lnTo>
                    <a:pt x="156" y="74"/>
                  </a:lnTo>
                  <a:lnTo>
                    <a:pt x="154" y="74"/>
                  </a:lnTo>
                  <a:lnTo>
                    <a:pt x="154" y="76"/>
                  </a:lnTo>
                  <a:lnTo>
                    <a:pt x="154" y="74"/>
                  </a:lnTo>
                  <a:lnTo>
                    <a:pt x="152" y="74"/>
                  </a:lnTo>
                  <a:lnTo>
                    <a:pt x="152" y="76"/>
                  </a:lnTo>
                  <a:lnTo>
                    <a:pt x="152" y="78"/>
                  </a:lnTo>
                  <a:lnTo>
                    <a:pt x="150" y="78"/>
                  </a:lnTo>
                  <a:lnTo>
                    <a:pt x="150" y="80"/>
                  </a:lnTo>
                  <a:lnTo>
                    <a:pt x="150" y="82"/>
                  </a:lnTo>
                  <a:lnTo>
                    <a:pt x="150" y="84"/>
                  </a:lnTo>
                  <a:lnTo>
                    <a:pt x="148" y="84"/>
                  </a:lnTo>
                  <a:lnTo>
                    <a:pt x="146" y="84"/>
                  </a:lnTo>
                  <a:lnTo>
                    <a:pt x="146" y="82"/>
                  </a:lnTo>
                  <a:lnTo>
                    <a:pt x="144" y="82"/>
                  </a:lnTo>
                  <a:lnTo>
                    <a:pt x="142" y="82"/>
                  </a:lnTo>
                  <a:lnTo>
                    <a:pt x="142" y="84"/>
                  </a:lnTo>
                  <a:lnTo>
                    <a:pt x="140" y="86"/>
                  </a:lnTo>
                  <a:lnTo>
                    <a:pt x="142" y="86"/>
                  </a:lnTo>
                  <a:lnTo>
                    <a:pt x="140" y="86"/>
                  </a:lnTo>
                  <a:lnTo>
                    <a:pt x="140" y="88"/>
                  </a:lnTo>
                  <a:lnTo>
                    <a:pt x="140" y="90"/>
                  </a:lnTo>
                  <a:lnTo>
                    <a:pt x="140" y="92"/>
                  </a:lnTo>
                  <a:lnTo>
                    <a:pt x="140" y="94"/>
                  </a:lnTo>
                  <a:lnTo>
                    <a:pt x="140" y="94"/>
                  </a:lnTo>
                  <a:lnTo>
                    <a:pt x="140" y="96"/>
                  </a:lnTo>
                  <a:lnTo>
                    <a:pt x="140" y="98"/>
                  </a:lnTo>
                  <a:lnTo>
                    <a:pt x="140" y="100"/>
                  </a:lnTo>
                  <a:lnTo>
                    <a:pt x="140" y="102"/>
                  </a:lnTo>
                  <a:lnTo>
                    <a:pt x="140" y="104"/>
                  </a:lnTo>
                  <a:lnTo>
                    <a:pt x="138" y="104"/>
                  </a:lnTo>
                  <a:lnTo>
                    <a:pt x="138" y="106"/>
                  </a:lnTo>
                  <a:lnTo>
                    <a:pt x="136" y="106"/>
                  </a:lnTo>
                  <a:lnTo>
                    <a:pt x="136" y="108"/>
                  </a:lnTo>
                  <a:lnTo>
                    <a:pt x="134" y="108"/>
                  </a:lnTo>
                  <a:lnTo>
                    <a:pt x="132" y="108"/>
                  </a:lnTo>
                  <a:lnTo>
                    <a:pt x="132" y="106"/>
                  </a:lnTo>
                  <a:lnTo>
                    <a:pt x="130" y="106"/>
                  </a:lnTo>
                  <a:lnTo>
                    <a:pt x="128" y="106"/>
                  </a:lnTo>
                  <a:lnTo>
                    <a:pt x="128" y="104"/>
                  </a:lnTo>
                  <a:lnTo>
                    <a:pt x="126" y="104"/>
                  </a:lnTo>
                  <a:lnTo>
                    <a:pt x="126" y="102"/>
                  </a:lnTo>
                  <a:lnTo>
                    <a:pt x="124" y="102"/>
                  </a:lnTo>
                  <a:lnTo>
                    <a:pt x="122" y="102"/>
                  </a:lnTo>
                  <a:lnTo>
                    <a:pt x="120" y="100"/>
                  </a:lnTo>
                  <a:lnTo>
                    <a:pt x="120" y="102"/>
                  </a:lnTo>
                  <a:lnTo>
                    <a:pt x="120" y="104"/>
                  </a:lnTo>
                  <a:lnTo>
                    <a:pt x="120" y="106"/>
                  </a:lnTo>
                  <a:lnTo>
                    <a:pt x="118" y="106"/>
                  </a:lnTo>
                  <a:lnTo>
                    <a:pt x="120" y="108"/>
                  </a:lnTo>
                  <a:lnTo>
                    <a:pt x="118" y="108"/>
                  </a:lnTo>
                  <a:lnTo>
                    <a:pt x="120" y="108"/>
                  </a:lnTo>
                  <a:lnTo>
                    <a:pt x="120" y="110"/>
                  </a:lnTo>
                  <a:lnTo>
                    <a:pt x="120" y="112"/>
                  </a:lnTo>
                  <a:lnTo>
                    <a:pt x="118" y="112"/>
                  </a:lnTo>
                  <a:lnTo>
                    <a:pt x="118" y="112"/>
                  </a:lnTo>
                  <a:lnTo>
                    <a:pt x="118" y="114"/>
                  </a:lnTo>
                  <a:lnTo>
                    <a:pt x="116" y="114"/>
                  </a:lnTo>
                  <a:lnTo>
                    <a:pt x="116" y="116"/>
                  </a:lnTo>
                  <a:lnTo>
                    <a:pt x="118" y="116"/>
                  </a:lnTo>
                  <a:lnTo>
                    <a:pt x="118" y="118"/>
                  </a:lnTo>
                  <a:lnTo>
                    <a:pt x="116" y="118"/>
                  </a:lnTo>
                  <a:lnTo>
                    <a:pt x="116" y="120"/>
                  </a:lnTo>
                  <a:lnTo>
                    <a:pt x="114" y="120"/>
                  </a:lnTo>
                  <a:lnTo>
                    <a:pt x="114" y="122"/>
                  </a:lnTo>
                  <a:lnTo>
                    <a:pt x="112" y="122"/>
                  </a:lnTo>
                  <a:lnTo>
                    <a:pt x="112" y="124"/>
                  </a:lnTo>
                  <a:lnTo>
                    <a:pt x="112" y="126"/>
                  </a:lnTo>
                  <a:lnTo>
                    <a:pt x="112" y="128"/>
                  </a:lnTo>
                  <a:lnTo>
                    <a:pt x="112" y="130"/>
                  </a:lnTo>
                  <a:lnTo>
                    <a:pt x="112" y="132"/>
                  </a:lnTo>
                  <a:lnTo>
                    <a:pt x="112" y="134"/>
                  </a:lnTo>
                  <a:lnTo>
                    <a:pt x="110" y="134"/>
                  </a:lnTo>
                  <a:lnTo>
                    <a:pt x="110" y="136"/>
                  </a:lnTo>
                  <a:lnTo>
                    <a:pt x="108" y="136"/>
                  </a:lnTo>
                  <a:lnTo>
                    <a:pt x="108" y="138"/>
                  </a:lnTo>
                  <a:lnTo>
                    <a:pt x="108" y="140"/>
                  </a:lnTo>
                  <a:lnTo>
                    <a:pt x="106" y="140"/>
                  </a:lnTo>
                  <a:lnTo>
                    <a:pt x="106" y="142"/>
                  </a:lnTo>
                  <a:lnTo>
                    <a:pt x="104" y="142"/>
                  </a:lnTo>
                  <a:lnTo>
                    <a:pt x="104" y="144"/>
                  </a:lnTo>
                  <a:lnTo>
                    <a:pt x="104" y="146"/>
                  </a:lnTo>
                  <a:lnTo>
                    <a:pt x="104" y="148"/>
                  </a:lnTo>
                  <a:lnTo>
                    <a:pt x="102" y="148"/>
                  </a:lnTo>
                  <a:lnTo>
                    <a:pt x="102" y="150"/>
                  </a:lnTo>
                  <a:lnTo>
                    <a:pt x="102" y="152"/>
                  </a:lnTo>
                  <a:lnTo>
                    <a:pt x="102" y="154"/>
                  </a:lnTo>
                  <a:lnTo>
                    <a:pt x="102" y="156"/>
                  </a:lnTo>
                  <a:lnTo>
                    <a:pt x="104" y="156"/>
                  </a:lnTo>
                  <a:lnTo>
                    <a:pt x="106" y="156"/>
                  </a:lnTo>
                  <a:lnTo>
                    <a:pt x="104" y="156"/>
                  </a:lnTo>
                  <a:lnTo>
                    <a:pt x="104" y="158"/>
                  </a:lnTo>
                  <a:lnTo>
                    <a:pt x="102" y="158"/>
                  </a:lnTo>
                  <a:lnTo>
                    <a:pt x="102" y="160"/>
                  </a:lnTo>
                  <a:lnTo>
                    <a:pt x="102" y="160"/>
                  </a:lnTo>
                  <a:lnTo>
                    <a:pt x="104" y="160"/>
                  </a:lnTo>
                  <a:lnTo>
                    <a:pt x="102" y="160"/>
                  </a:lnTo>
                  <a:lnTo>
                    <a:pt x="102" y="162"/>
                  </a:lnTo>
                  <a:lnTo>
                    <a:pt x="100" y="162"/>
                  </a:lnTo>
                  <a:lnTo>
                    <a:pt x="100" y="164"/>
                  </a:lnTo>
                  <a:lnTo>
                    <a:pt x="98" y="164"/>
                  </a:lnTo>
                  <a:lnTo>
                    <a:pt x="98" y="166"/>
                  </a:lnTo>
                  <a:lnTo>
                    <a:pt x="96" y="166"/>
                  </a:lnTo>
                  <a:lnTo>
                    <a:pt x="96" y="168"/>
                  </a:lnTo>
                  <a:lnTo>
                    <a:pt x="96" y="166"/>
                  </a:lnTo>
                  <a:lnTo>
                    <a:pt x="94" y="166"/>
                  </a:lnTo>
                  <a:lnTo>
                    <a:pt x="94" y="164"/>
                  </a:lnTo>
                  <a:lnTo>
                    <a:pt x="92" y="164"/>
                  </a:lnTo>
                  <a:lnTo>
                    <a:pt x="92" y="166"/>
                  </a:lnTo>
                  <a:lnTo>
                    <a:pt x="92" y="166"/>
                  </a:lnTo>
                  <a:lnTo>
                    <a:pt x="92" y="168"/>
                  </a:lnTo>
                  <a:lnTo>
                    <a:pt x="90" y="168"/>
                  </a:lnTo>
                  <a:lnTo>
                    <a:pt x="90" y="170"/>
                  </a:lnTo>
                  <a:lnTo>
                    <a:pt x="88" y="170"/>
                  </a:lnTo>
                  <a:lnTo>
                    <a:pt x="88" y="172"/>
                  </a:lnTo>
                  <a:lnTo>
                    <a:pt x="86" y="172"/>
                  </a:lnTo>
                  <a:lnTo>
                    <a:pt x="84" y="172"/>
                  </a:lnTo>
                  <a:lnTo>
                    <a:pt x="84" y="170"/>
                  </a:lnTo>
                  <a:lnTo>
                    <a:pt x="82" y="170"/>
                  </a:lnTo>
                  <a:lnTo>
                    <a:pt x="82" y="172"/>
                  </a:lnTo>
                  <a:lnTo>
                    <a:pt x="80" y="172"/>
                  </a:lnTo>
                  <a:lnTo>
                    <a:pt x="82" y="172"/>
                  </a:lnTo>
                  <a:lnTo>
                    <a:pt x="82" y="174"/>
                  </a:lnTo>
                  <a:lnTo>
                    <a:pt x="82" y="176"/>
                  </a:lnTo>
                  <a:lnTo>
                    <a:pt x="80" y="176"/>
                  </a:lnTo>
                  <a:lnTo>
                    <a:pt x="80" y="178"/>
                  </a:lnTo>
                  <a:lnTo>
                    <a:pt x="78" y="178"/>
                  </a:lnTo>
                  <a:lnTo>
                    <a:pt x="76" y="178"/>
                  </a:lnTo>
                  <a:lnTo>
                    <a:pt x="74" y="178"/>
                  </a:lnTo>
                  <a:lnTo>
                    <a:pt x="74" y="180"/>
                  </a:lnTo>
                  <a:lnTo>
                    <a:pt x="72" y="180"/>
                  </a:lnTo>
                  <a:lnTo>
                    <a:pt x="70" y="180"/>
                  </a:lnTo>
                  <a:lnTo>
                    <a:pt x="70" y="182"/>
                  </a:lnTo>
                  <a:lnTo>
                    <a:pt x="68" y="182"/>
                  </a:lnTo>
                  <a:lnTo>
                    <a:pt x="68" y="184"/>
                  </a:lnTo>
                  <a:lnTo>
                    <a:pt x="66" y="182"/>
                  </a:lnTo>
                  <a:lnTo>
                    <a:pt x="64" y="182"/>
                  </a:lnTo>
                  <a:lnTo>
                    <a:pt x="64" y="180"/>
                  </a:lnTo>
                  <a:lnTo>
                    <a:pt x="62" y="180"/>
                  </a:lnTo>
                  <a:lnTo>
                    <a:pt x="60" y="180"/>
                  </a:lnTo>
                  <a:lnTo>
                    <a:pt x="60" y="178"/>
                  </a:lnTo>
                  <a:lnTo>
                    <a:pt x="60" y="180"/>
                  </a:lnTo>
                  <a:lnTo>
                    <a:pt x="58" y="180"/>
                  </a:lnTo>
                  <a:lnTo>
                    <a:pt x="58" y="182"/>
                  </a:lnTo>
                  <a:lnTo>
                    <a:pt x="56" y="182"/>
                  </a:lnTo>
                  <a:lnTo>
                    <a:pt x="56" y="184"/>
                  </a:lnTo>
                  <a:lnTo>
                    <a:pt x="54" y="184"/>
                  </a:lnTo>
                  <a:lnTo>
                    <a:pt x="54" y="186"/>
                  </a:lnTo>
                  <a:lnTo>
                    <a:pt x="52" y="186"/>
                  </a:lnTo>
                  <a:lnTo>
                    <a:pt x="52" y="188"/>
                  </a:lnTo>
                  <a:lnTo>
                    <a:pt x="50" y="188"/>
                  </a:lnTo>
                  <a:lnTo>
                    <a:pt x="48" y="188"/>
                  </a:lnTo>
                  <a:lnTo>
                    <a:pt x="46" y="188"/>
                  </a:lnTo>
                  <a:lnTo>
                    <a:pt x="46" y="186"/>
                  </a:lnTo>
                  <a:lnTo>
                    <a:pt x="44" y="186"/>
                  </a:lnTo>
                  <a:lnTo>
                    <a:pt x="44" y="184"/>
                  </a:lnTo>
                  <a:lnTo>
                    <a:pt x="44" y="184"/>
                  </a:lnTo>
                  <a:lnTo>
                    <a:pt x="42" y="184"/>
                  </a:lnTo>
                  <a:lnTo>
                    <a:pt x="40" y="184"/>
                  </a:lnTo>
                  <a:lnTo>
                    <a:pt x="40" y="182"/>
                  </a:lnTo>
                  <a:lnTo>
                    <a:pt x="38" y="182"/>
                  </a:lnTo>
                  <a:lnTo>
                    <a:pt x="38" y="180"/>
                  </a:lnTo>
                  <a:lnTo>
                    <a:pt x="36" y="180"/>
                  </a:lnTo>
                  <a:lnTo>
                    <a:pt x="36" y="178"/>
                  </a:lnTo>
                  <a:lnTo>
                    <a:pt x="36" y="176"/>
                  </a:lnTo>
                  <a:lnTo>
                    <a:pt x="34" y="176"/>
                  </a:lnTo>
                  <a:lnTo>
                    <a:pt x="34" y="174"/>
                  </a:lnTo>
                  <a:lnTo>
                    <a:pt x="36" y="174"/>
                  </a:lnTo>
                  <a:lnTo>
                    <a:pt x="36" y="172"/>
                  </a:lnTo>
                  <a:lnTo>
                    <a:pt x="34" y="172"/>
                  </a:lnTo>
                  <a:lnTo>
                    <a:pt x="32" y="172"/>
                  </a:lnTo>
                  <a:lnTo>
                    <a:pt x="30" y="172"/>
                  </a:lnTo>
                  <a:lnTo>
                    <a:pt x="28" y="172"/>
                  </a:lnTo>
                  <a:lnTo>
                    <a:pt x="26" y="172"/>
                  </a:lnTo>
                  <a:lnTo>
                    <a:pt x="26" y="170"/>
                  </a:lnTo>
                  <a:lnTo>
                    <a:pt x="24" y="170"/>
                  </a:lnTo>
                  <a:lnTo>
                    <a:pt x="24" y="168"/>
                  </a:lnTo>
                  <a:lnTo>
                    <a:pt x="22" y="168"/>
                  </a:lnTo>
                  <a:lnTo>
                    <a:pt x="22" y="166"/>
                  </a:lnTo>
                  <a:lnTo>
                    <a:pt x="20" y="166"/>
                  </a:lnTo>
                  <a:lnTo>
                    <a:pt x="20" y="168"/>
                  </a:lnTo>
                  <a:lnTo>
                    <a:pt x="20" y="166"/>
                  </a:lnTo>
                  <a:lnTo>
                    <a:pt x="18" y="166"/>
                  </a:lnTo>
                  <a:lnTo>
                    <a:pt x="18" y="164"/>
                  </a:lnTo>
                  <a:lnTo>
                    <a:pt x="16" y="164"/>
                  </a:lnTo>
                  <a:lnTo>
                    <a:pt x="16" y="162"/>
                  </a:lnTo>
                  <a:lnTo>
                    <a:pt x="16" y="160"/>
                  </a:lnTo>
                  <a:lnTo>
                    <a:pt x="14" y="160"/>
                  </a:lnTo>
                  <a:lnTo>
                    <a:pt x="12" y="160"/>
                  </a:lnTo>
                  <a:lnTo>
                    <a:pt x="12" y="160"/>
                  </a:lnTo>
                  <a:lnTo>
                    <a:pt x="12" y="158"/>
                  </a:lnTo>
                  <a:lnTo>
                    <a:pt x="10" y="158"/>
                  </a:lnTo>
                  <a:lnTo>
                    <a:pt x="10" y="156"/>
                  </a:lnTo>
                  <a:lnTo>
                    <a:pt x="8" y="156"/>
                  </a:lnTo>
                  <a:lnTo>
                    <a:pt x="8" y="158"/>
                  </a:lnTo>
                  <a:lnTo>
                    <a:pt x="8" y="156"/>
                  </a:lnTo>
                  <a:lnTo>
                    <a:pt x="8" y="154"/>
                  </a:lnTo>
                  <a:lnTo>
                    <a:pt x="8" y="152"/>
                  </a:lnTo>
                  <a:lnTo>
                    <a:pt x="6" y="152"/>
                  </a:lnTo>
                  <a:lnTo>
                    <a:pt x="6" y="150"/>
                  </a:lnTo>
                  <a:lnTo>
                    <a:pt x="4" y="150"/>
                  </a:lnTo>
                  <a:lnTo>
                    <a:pt x="4" y="148"/>
                  </a:lnTo>
                  <a:lnTo>
                    <a:pt x="2" y="148"/>
                  </a:lnTo>
                  <a:lnTo>
                    <a:pt x="2" y="146"/>
                  </a:lnTo>
                  <a:lnTo>
                    <a:pt x="0" y="146"/>
                  </a:lnTo>
                  <a:lnTo>
                    <a:pt x="0" y="144"/>
                  </a:lnTo>
                  <a:lnTo>
                    <a:pt x="0" y="142"/>
                  </a:lnTo>
                  <a:lnTo>
                    <a:pt x="0" y="140"/>
                  </a:lnTo>
                  <a:lnTo>
                    <a:pt x="2" y="138"/>
                  </a:lnTo>
                  <a:lnTo>
                    <a:pt x="0" y="136"/>
                  </a:lnTo>
                  <a:lnTo>
                    <a:pt x="2" y="136"/>
                  </a:lnTo>
                  <a:lnTo>
                    <a:pt x="0" y="134"/>
                  </a:lnTo>
                  <a:lnTo>
                    <a:pt x="0" y="132"/>
                  </a:lnTo>
                  <a:lnTo>
                    <a:pt x="0" y="130"/>
                  </a:lnTo>
                  <a:lnTo>
                    <a:pt x="2" y="130"/>
                  </a:lnTo>
                  <a:lnTo>
                    <a:pt x="4" y="130"/>
                  </a:lnTo>
                  <a:lnTo>
                    <a:pt x="4" y="128"/>
                  </a:lnTo>
                  <a:lnTo>
                    <a:pt x="6" y="128"/>
                  </a:lnTo>
                  <a:lnTo>
                    <a:pt x="8" y="128"/>
                  </a:lnTo>
                  <a:lnTo>
                    <a:pt x="10" y="128"/>
                  </a:lnTo>
                  <a:lnTo>
                    <a:pt x="10" y="126"/>
                  </a:lnTo>
                  <a:lnTo>
                    <a:pt x="10" y="124"/>
                  </a:lnTo>
                  <a:lnTo>
                    <a:pt x="12" y="124"/>
                  </a:lnTo>
                  <a:lnTo>
                    <a:pt x="10" y="122"/>
                  </a:lnTo>
                  <a:lnTo>
                    <a:pt x="12" y="122"/>
                  </a:lnTo>
                  <a:lnTo>
                    <a:pt x="12" y="120"/>
                  </a:lnTo>
                  <a:lnTo>
                    <a:pt x="10" y="120"/>
                  </a:lnTo>
                  <a:lnTo>
                    <a:pt x="10" y="118"/>
                  </a:lnTo>
                  <a:lnTo>
                    <a:pt x="12" y="118"/>
                  </a:lnTo>
                  <a:lnTo>
                    <a:pt x="14" y="118"/>
                  </a:lnTo>
                  <a:lnTo>
                    <a:pt x="16" y="118"/>
                  </a:lnTo>
                  <a:lnTo>
                    <a:pt x="16" y="116"/>
                  </a:lnTo>
                  <a:lnTo>
                    <a:pt x="16" y="114"/>
                  </a:lnTo>
                  <a:lnTo>
                    <a:pt x="14" y="114"/>
                  </a:lnTo>
                  <a:lnTo>
                    <a:pt x="14" y="112"/>
                  </a:lnTo>
                  <a:lnTo>
                    <a:pt x="14" y="112"/>
                  </a:lnTo>
                  <a:lnTo>
                    <a:pt x="14" y="110"/>
                  </a:lnTo>
                  <a:lnTo>
                    <a:pt x="12" y="110"/>
                  </a:lnTo>
                  <a:lnTo>
                    <a:pt x="12" y="108"/>
                  </a:lnTo>
                  <a:lnTo>
                    <a:pt x="14" y="108"/>
                  </a:lnTo>
                  <a:lnTo>
                    <a:pt x="14" y="106"/>
                  </a:lnTo>
                  <a:lnTo>
                    <a:pt x="16" y="106"/>
                  </a:lnTo>
                  <a:lnTo>
                    <a:pt x="16" y="104"/>
                  </a:lnTo>
                  <a:lnTo>
                    <a:pt x="14" y="104"/>
                  </a:lnTo>
                  <a:lnTo>
                    <a:pt x="14" y="102"/>
                  </a:lnTo>
                  <a:lnTo>
                    <a:pt x="16" y="102"/>
                  </a:lnTo>
                  <a:lnTo>
                    <a:pt x="16" y="100"/>
                  </a:lnTo>
                  <a:lnTo>
                    <a:pt x="16" y="98"/>
                  </a:lnTo>
                  <a:lnTo>
                    <a:pt x="18" y="98"/>
                  </a:lnTo>
                  <a:lnTo>
                    <a:pt x="18" y="96"/>
                  </a:lnTo>
                  <a:lnTo>
                    <a:pt x="18" y="94"/>
                  </a:lnTo>
                  <a:lnTo>
                    <a:pt x="20" y="94"/>
                  </a:lnTo>
                  <a:lnTo>
                    <a:pt x="20" y="96"/>
                  </a:lnTo>
                  <a:lnTo>
                    <a:pt x="22" y="96"/>
                  </a:lnTo>
                  <a:lnTo>
                    <a:pt x="24" y="96"/>
                  </a:lnTo>
                  <a:lnTo>
                    <a:pt x="24" y="98"/>
                  </a:lnTo>
                  <a:lnTo>
                    <a:pt x="24" y="100"/>
                  </a:lnTo>
                  <a:lnTo>
                    <a:pt x="24" y="102"/>
                  </a:lnTo>
                  <a:lnTo>
                    <a:pt x="26" y="102"/>
                  </a:lnTo>
                  <a:lnTo>
                    <a:pt x="26" y="100"/>
                  </a:lnTo>
                  <a:lnTo>
                    <a:pt x="28" y="100"/>
                  </a:lnTo>
                  <a:lnTo>
                    <a:pt x="28" y="98"/>
                  </a:lnTo>
                  <a:lnTo>
                    <a:pt x="30" y="98"/>
                  </a:lnTo>
                  <a:lnTo>
                    <a:pt x="30" y="96"/>
                  </a:lnTo>
                  <a:lnTo>
                    <a:pt x="30" y="94"/>
                  </a:lnTo>
                  <a:lnTo>
                    <a:pt x="30" y="92"/>
                  </a:lnTo>
                  <a:lnTo>
                    <a:pt x="28" y="92"/>
                  </a:lnTo>
                  <a:lnTo>
                    <a:pt x="28" y="90"/>
                  </a:lnTo>
                  <a:lnTo>
                    <a:pt x="30" y="90"/>
                  </a:lnTo>
                  <a:lnTo>
                    <a:pt x="30" y="88"/>
                  </a:lnTo>
                  <a:lnTo>
                    <a:pt x="30" y="86"/>
                  </a:lnTo>
                  <a:lnTo>
                    <a:pt x="28" y="86"/>
                  </a:lnTo>
                  <a:lnTo>
                    <a:pt x="28" y="84"/>
                  </a:lnTo>
                  <a:lnTo>
                    <a:pt x="30" y="84"/>
                  </a:lnTo>
                  <a:lnTo>
                    <a:pt x="30" y="82"/>
                  </a:lnTo>
                  <a:lnTo>
                    <a:pt x="30" y="80"/>
                  </a:lnTo>
                  <a:lnTo>
                    <a:pt x="32" y="80"/>
                  </a:lnTo>
                  <a:lnTo>
                    <a:pt x="32" y="78"/>
                  </a:lnTo>
                  <a:lnTo>
                    <a:pt x="34" y="78"/>
                  </a:lnTo>
                  <a:lnTo>
                    <a:pt x="36" y="78"/>
                  </a:lnTo>
                  <a:lnTo>
                    <a:pt x="36" y="76"/>
                  </a:lnTo>
                  <a:lnTo>
                    <a:pt x="36" y="74"/>
                  </a:lnTo>
                  <a:lnTo>
                    <a:pt x="38" y="72"/>
                  </a:lnTo>
                  <a:lnTo>
                    <a:pt x="38" y="70"/>
                  </a:lnTo>
                  <a:lnTo>
                    <a:pt x="40" y="70"/>
                  </a:lnTo>
                  <a:lnTo>
                    <a:pt x="42" y="70"/>
                  </a:lnTo>
                  <a:lnTo>
                    <a:pt x="42" y="72"/>
                  </a:lnTo>
                  <a:lnTo>
                    <a:pt x="42" y="74"/>
                  </a:lnTo>
                  <a:lnTo>
                    <a:pt x="44" y="74"/>
                  </a:lnTo>
                  <a:lnTo>
                    <a:pt x="44" y="72"/>
                  </a:lnTo>
                  <a:lnTo>
                    <a:pt x="44" y="72"/>
                  </a:lnTo>
                  <a:lnTo>
                    <a:pt x="44" y="70"/>
                  </a:lnTo>
                  <a:lnTo>
                    <a:pt x="46" y="70"/>
                  </a:lnTo>
                  <a:lnTo>
                    <a:pt x="48" y="70"/>
                  </a:lnTo>
                  <a:lnTo>
                    <a:pt x="48" y="68"/>
                  </a:lnTo>
                  <a:lnTo>
                    <a:pt x="48" y="66"/>
                  </a:lnTo>
                  <a:lnTo>
                    <a:pt x="50" y="66"/>
                  </a:lnTo>
                  <a:lnTo>
                    <a:pt x="50" y="64"/>
                  </a:lnTo>
                  <a:lnTo>
                    <a:pt x="52" y="64"/>
                  </a:lnTo>
                  <a:lnTo>
                    <a:pt x="52" y="64"/>
                  </a:lnTo>
                  <a:lnTo>
                    <a:pt x="52" y="62"/>
                  </a:lnTo>
                  <a:lnTo>
                    <a:pt x="54" y="62"/>
                  </a:lnTo>
                  <a:lnTo>
                    <a:pt x="54" y="60"/>
                  </a:lnTo>
                  <a:lnTo>
                    <a:pt x="56" y="60"/>
                  </a:lnTo>
                  <a:lnTo>
                    <a:pt x="56" y="58"/>
                  </a:lnTo>
                  <a:lnTo>
                    <a:pt x="58" y="58"/>
                  </a:lnTo>
                  <a:lnTo>
                    <a:pt x="58" y="56"/>
                  </a:lnTo>
                  <a:lnTo>
                    <a:pt x="60" y="56"/>
                  </a:lnTo>
                  <a:lnTo>
                    <a:pt x="60" y="54"/>
                  </a:lnTo>
                  <a:lnTo>
                    <a:pt x="60" y="52"/>
                  </a:lnTo>
                  <a:lnTo>
                    <a:pt x="60" y="50"/>
                  </a:lnTo>
                  <a:lnTo>
                    <a:pt x="58" y="50"/>
                  </a:lnTo>
                  <a:lnTo>
                    <a:pt x="58" y="48"/>
                  </a:lnTo>
                  <a:lnTo>
                    <a:pt x="60" y="48"/>
                  </a:lnTo>
                  <a:lnTo>
                    <a:pt x="60" y="46"/>
                  </a:lnTo>
                  <a:lnTo>
                    <a:pt x="60" y="44"/>
                  </a:lnTo>
                  <a:lnTo>
                    <a:pt x="60" y="42"/>
                  </a:lnTo>
                  <a:lnTo>
                    <a:pt x="60" y="40"/>
                  </a:lnTo>
                  <a:lnTo>
                    <a:pt x="62" y="40"/>
                  </a:lnTo>
                  <a:lnTo>
                    <a:pt x="62" y="38"/>
                  </a:lnTo>
                  <a:lnTo>
                    <a:pt x="62" y="36"/>
                  </a:lnTo>
                  <a:lnTo>
                    <a:pt x="62" y="34"/>
                  </a:lnTo>
                  <a:lnTo>
                    <a:pt x="62" y="32"/>
                  </a:lnTo>
                  <a:lnTo>
                    <a:pt x="62" y="30"/>
                  </a:lnTo>
                  <a:lnTo>
                    <a:pt x="62" y="28"/>
                  </a:lnTo>
                  <a:lnTo>
                    <a:pt x="62" y="26"/>
                  </a:lnTo>
                  <a:lnTo>
                    <a:pt x="62" y="24"/>
                  </a:lnTo>
                  <a:lnTo>
                    <a:pt x="62" y="22"/>
                  </a:lnTo>
                  <a:lnTo>
                    <a:pt x="64" y="22"/>
                  </a:lnTo>
                  <a:lnTo>
                    <a:pt x="64" y="20"/>
                  </a:lnTo>
                  <a:lnTo>
                    <a:pt x="64" y="18"/>
                  </a:lnTo>
                  <a:lnTo>
                    <a:pt x="64" y="16"/>
                  </a:lnTo>
                  <a:lnTo>
                    <a:pt x="64" y="16"/>
                  </a:lnTo>
                  <a:lnTo>
                    <a:pt x="62" y="16"/>
                  </a:lnTo>
                  <a:lnTo>
                    <a:pt x="62" y="14"/>
                  </a:lnTo>
                  <a:lnTo>
                    <a:pt x="64" y="14"/>
                  </a:lnTo>
                  <a:lnTo>
                    <a:pt x="62" y="14"/>
                  </a:lnTo>
                  <a:lnTo>
                    <a:pt x="62" y="12"/>
                  </a:lnTo>
                  <a:lnTo>
                    <a:pt x="64" y="12"/>
                  </a:lnTo>
                  <a:lnTo>
                    <a:pt x="64" y="10"/>
                  </a:lnTo>
                  <a:lnTo>
                    <a:pt x="62" y="10"/>
                  </a:lnTo>
                  <a:lnTo>
                    <a:pt x="62" y="8"/>
                  </a:lnTo>
                  <a:lnTo>
                    <a:pt x="60" y="8"/>
                  </a:lnTo>
                  <a:lnTo>
                    <a:pt x="60" y="6"/>
                  </a:lnTo>
                  <a:lnTo>
                    <a:pt x="60" y="4"/>
                  </a:lnTo>
                  <a:lnTo>
                    <a:pt x="60" y="2"/>
                  </a:lnTo>
                  <a:lnTo>
                    <a:pt x="62" y="2"/>
                  </a:lnTo>
                  <a:lnTo>
                    <a:pt x="64" y="2"/>
                  </a:lnTo>
                  <a:lnTo>
                    <a:pt x="64" y="0"/>
                  </a:lnTo>
                  <a:close/>
                </a:path>
              </a:pathLst>
            </a:custGeom>
            <a:solidFill>
              <a:srgbClr val="EF9F4B"/>
            </a:solidFill>
            <a:ln w="3175">
              <a:solidFill>
                <a:sysClr val="window" lastClr="FFFF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black"/>
                </a:solidFill>
                <a:effectLst/>
                <a:uLnTx/>
                <a:uFillTx/>
                <a:ea typeface="宋体" panose="02010600030101010101" pitchFamily="2" charset="-122"/>
              </a:endParaRPr>
            </a:p>
          </p:txBody>
        </p:sp>
        <p:sp>
          <p:nvSpPr>
            <p:cNvPr id="39" name="Freeform 2425">
              <a:extLst>
                <a:ext uri="{FF2B5EF4-FFF2-40B4-BE49-F238E27FC236}">
                  <a16:creationId xmlns:a16="http://schemas.microsoft.com/office/drawing/2014/main" id="{F7D7B62A-B8CB-C370-EFEA-48C11EEA2486}"/>
                </a:ext>
              </a:extLst>
            </p:cNvPr>
            <p:cNvSpPr>
              <a:spLocks noEditPoints="1"/>
            </p:cNvSpPr>
            <p:nvPr/>
          </p:nvSpPr>
          <p:spPr bwMode="auto">
            <a:xfrm>
              <a:off x="6680200" y="2432050"/>
              <a:ext cx="238125" cy="377825"/>
            </a:xfrm>
            <a:custGeom>
              <a:avLst/>
              <a:gdLst>
                <a:gd name="T0" fmla="*/ 64 w 150"/>
                <a:gd name="T1" fmla="*/ 198 h 238"/>
                <a:gd name="T2" fmla="*/ 58 w 150"/>
                <a:gd name="T3" fmla="*/ 198 h 238"/>
                <a:gd name="T4" fmla="*/ 66 w 150"/>
                <a:gd name="T5" fmla="*/ 194 h 238"/>
                <a:gd name="T6" fmla="*/ 64 w 150"/>
                <a:gd name="T7" fmla="*/ 192 h 238"/>
                <a:gd name="T8" fmla="*/ 66 w 150"/>
                <a:gd name="T9" fmla="*/ 190 h 238"/>
                <a:gd name="T10" fmla="*/ 72 w 150"/>
                <a:gd name="T11" fmla="*/ 188 h 238"/>
                <a:gd name="T12" fmla="*/ 72 w 150"/>
                <a:gd name="T13" fmla="*/ 186 h 238"/>
                <a:gd name="T14" fmla="*/ 70 w 150"/>
                <a:gd name="T15" fmla="*/ 190 h 238"/>
                <a:gd name="T16" fmla="*/ 82 w 150"/>
                <a:gd name="T17" fmla="*/ 180 h 238"/>
                <a:gd name="T18" fmla="*/ 88 w 150"/>
                <a:gd name="T19" fmla="*/ 176 h 238"/>
                <a:gd name="T20" fmla="*/ 90 w 150"/>
                <a:gd name="T21" fmla="*/ 174 h 238"/>
                <a:gd name="T22" fmla="*/ 96 w 150"/>
                <a:gd name="T23" fmla="*/ 168 h 238"/>
                <a:gd name="T24" fmla="*/ 100 w 150"/>
                <a:gd name="T25" fmla="*/ 164 h 238"/>
                <a:gd name="T26" fmla="*/ 98 w 150"/>
                <a:gd name="T27" fmla="*/ 164 h 238"/>
                <a:gd name="T28" fmla="*/ 98 w 150"/>
                <a:gd name="T29" fmla="*/ 164 h 238"/>
                <a:gd name="T30" fmla="*/ 106 w 150"/>
                <a:gd name="T31" fmla="*/ 158 h 238"/>
                <a:gd name="T32" fmla="*/ 112 w 150"/>
                <a:gd name="T33" fmla="*/ 158 h 238"/>
                <a:gd name="T34" fmla="*/ 106 w 150"/>
                <a:gd name="T35" fmla="*/ 154 h 238"/>
                <a:gd name="T36" fmla="*/ 94 w 150"/>
                <a:gd name="T37" fmla="*/ 158 h 238"/>
                <a:gd name="T38" fmla="*/ 96 w 150"/>
                <a:gd name="T39" fmla="*/ 154 h 238"/>
                <a:gd name="T40" fmla="*/ 104 w 150"/>
                <a:gd name="T41" fmla="*/ 160 h 238"/>
                <a:gd name="T42" fmla="*/ 120 w 150"/>
                <a:gd name="T43" fmla="*/ 140 h 238"/>
                <a:gd name="T44" fmla="*/ 90 w 150"/>
                <a:gd name="T45" fmla="*/ 152 h 238"/>
                <a:gd name="T46" fmla="*/ 118 w 150"/>
                <a:gd name="T47" fmla="*/ 144 h 238"/>
                <a:gd name="T48" fmla="*/ 108 w 150"/>
                <a:gd name="T49" fmla="*/ 146 h 238"/>
                <a:gd name="T50" fmla="*/ 126 w 150"/>
                <a:gd name="T51" fmla="*/ 134 h 238"/>
                <a:gd name="T52" fmla="*/ 136 w 150"/>
                <a:gd name="T53" fmla="*/ 128 h 238"/>
                <a:gd name="T54" fmla="*/ 130 w 150"/>
                <a:gd name="T55" fmla="*/ 130 h 238"/>
                <a:gd name="T56" fmla="*/ 134 w 150"/>
                <a:gd name="T57" fmla="*/ 124 h 238"/>
                <a:gd name="T58" fmla="*/ 142 w 150"/>
                <a:gd name="T59" fmla="*/ 102 h 238"/>
                <a:gd name="T60" fmla="*/ 132 w 150"/>
                <a:gd name="T61" fmla="*/ 126 h 238"/>
                <a:gd name="T62" fmla="*/ 124 w 150"/>
                <a:gd name="T63" fmla="*/ 130 h 238"/>
                <a:gd name="T64" fmla="*/ 122 w 150"/>
                <a:gd name="T65" fmla="*/ 138 h 238"/>
                <a:gd name="T66" fmla="*/ 112 w 150"/>
                <a:gd name="T67" fmla="*/ 138 h 238"/>
                <a:gd name="T68" fmla="*/ 106 w 150"/>
                <a:gd name="T69" fmla="*/ 140 h 238"/>
                <a:gd name="T70" fmla="*/ 102 w 150"/>
                <a:gd name="T71" fmla="*/ 148 h 238"/>
                <a:gd name="T72" fmla="*/ 96 w 150"/>
                <a:gd name="T73" fmla="*/ 154 h 238"/>
                <a:gd name="T74" fmla="*/ 96 w 150"/>
                <a:gd name="T75" fmla="*/ 146 h 238"/>
                <a:gd name="T76" fmla="*/ 92 w 150"/>
                <a:gd name="T77" fmla="*/ 144 h 238"/>
                <a:gd name="T78" fmla="*/ 88 w 150"/>
                <a:gd name="T79" fmla="*/ 168 h 238"/>
                <a:gd name="T80" fmla="*/ 86 w 150"/>
                <a:gd name="T81" fmla="*/ 170 h 238"/>
                <a:gd name="T82" fmla="*/ 80 w 150"/>
                <a:gd name="T83" fmla="*/ 174 h 238"/>
                <a:gd name="T84" fmla="*/ 76 w 150"/>
                <a:gd name="T85" fmla="*/ 182 h 238"/>
                <a:gd name="T86" fmla="*/ 74 w 150"/>
                <a:gd name="T87" fmla="*/ 186 h 238"/>
                <a:gd name="T88" fmla="*/ 66 w 150"/>
                <a:gd name="T89" fmla="*/ 178 h 238"/>
                <a:gd name="T90" fmla="*/ 70 w 150"/>
                <a:gd name="T91" fmla="*/ 192 h 238"/>
                <a:gd name="T92" fmla="*/ 64 w 150"/>
                <a:gd name="T93" fmla="*/ 194 h 238"/>
                <a:gd name="T94" fmla="*/ 58 w 150"/>
                <a:gd name="T95" fmla="*/ 200 h 238"/>
                <a:gd name="T96" fmla="*/ 52 w 150"/>
                <a:gd name="T97" fmla="*/ 222 h 238"/>
                <a:gd name="T98" fmla="*/ 34 w 150"/>
                <a:gd name="T99" fmla="*/ 222 h 238"/>
                <a:gd name="T100" fmla="*/ 14 w 150"/>
                <a:gd name="T101" fmla="*/ 170 h 238"/>
                <a:gd name="T102" fmla="*/ 10 w 150"/>
                <a:gd name="T103" fmla="*/ 134 h 238"/>
                <a:gd name="T104" fmla="*/ 16 w 150"/>
                <a:gd name="T105" fmla="*/ 102 h 238"/>
                <a:gd name="T106" fmla="*/ 16 w 150"/>
                <a:gd name="T107" fmla="*/ 68 h 238"/>
                <a:gd name="T108" fmla="*/ 30 w 150"/>
                <a:gd name="T109" fmla="*/ 8 h 238"/>
                <a:gd name="T110" fmla="*/ 52 w 150"/>
                <a:gd name="T111" fmla="*/ 6 h 238"/>
                <a:gd name="T112" fmla="*/ 86 w 150"/>
                <a:gd name="T113" fmla="*/ 28 h 238"/>
                <a:gd name="T114" fmla="*/ 102 w 150"/>
                <a:gd name="T115" fmla="*/ 70 h 238"/>
                <a:gd name="T116" fmla="*/ 124 w 150"/>
                <a:gd name="T117" fmla="*/ 84 h 238"/>
                <a:gd name="T118" fmla="*/ 144 w 150"/>
                <a:gd name="T119" fmla="*/ 100 h 238"/>
                <a:gd name="T120" fmla="*/ 138 w 150"/>
                <a:gd name="T121" fmla="*/ 102 h 238"/>
                <a:gd name="T122" fmla="*/ 144 w 150"/>
                <a:gd name="T123" fmla="*/ 104 h 238"/>
                <a:gd name="T124" fmla="*/ 144 w 150"/>
                <a:gd name="T125" fmla="*/ 116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50" h="238">
                  <a:moveTo>
                    <a:pt x="58" y="216"/>
                  </a:moveTo>
                  <a:lnTo>
                    <a:pt x="56" y="216"/>
                  </a:lnTo>
                  <a:lnTo>
                    <a:pt x="58" y="216"/>
                  </a:lnTo>
                  <a:close/>
                  <a:moveTo>
                    <a:pt x="60" y="208"/>
                  </a:moveTo>
                  <a:lnTo>
                    <a:pt x="60" y="210"/>
                  </a:lnTo>
                  <a:lnTo>
                    <a:pt x="60" y="208"/>
                  </a:lnTo>
                  <a:close/>
                  <a:moveTo>
                    <a:pt x="58" y="204"/>
                  </a:moveTo>
                  <a:lnTo>
                    <a:pt x="60" y="204"/>
                  </a:lnTo>
                  <a:lnTo>
                    <a:pt x="58" y="204"/>
                  </a:lnTo>
                  <a:close/>
                  <a:moveTo>
                    <a:pt x="58" y="204"/>
                  </a:moveTo>
                  <a:lnTo>
                    <a:pt x="58" y="202"/>
                  </a:lnTo>
                  <a:lnTo>
                    <a:pt x="58" y="204"/>
                  </a:lnTo>
                  <a:close/>
                  <a:moveTo>
                    <a:pt x="60" y="202"/>
                  </a:moveTo>
                  <a:lnTo>
                    <a:pt x="58" y="202"/>
                  </a:lnTo>
                  <a:lnTo>
                    <a:pt x="60" y="202"/>
                  </a:lnTo>
                  <a:close/>
                  <a:moveTo>
                    <a:pt x="56" y="202"/>
                  </a:moveTo>
                  <a:lnTo>
                    <a:pt x="58" y="202"/>
                  </a:lnTo>
                  <a:lnTo>
                    <a:pt x="56" y="202"/>
                  </a:lnTo>
                  <a:close/>
                  <a:moveTo>
                    <a:pt x="60" y="200"/>
                  </a:moveTo>
                  <a:lnTo>
                    <a:pt x="60" y="202"/>
                  </a:lnTo>
                  <a:lnTo>
                    <a:pt x="60" y="200"/>
                  </a:lnTo>
                  <a:close/>
                  <a:moveTo>
                    <a:pt x="70" y="196"/>
                  </a:moveTo>
                  <a:lnTo>
                    <a:pt x="68" y="196"/>
                  </a:lnTo>
                  <a:lnTo>
                    <a:pt x="70" y="196"/>
                  </a:lnTo>
                  <a:close/>
                  <a:moveTo>
                    <a:pt x="62" y="200"/>
                  </a:moveTo>
                  <a:lnTo>
                    <a:pt x="62" y="198"/>
                  </a:lnTo>
                  <a:lnTo>
                    <a:pt x="62" y="200"/>
                  </a:lnTo>
                  <a:close/>
                  <a:moveTo>
                    <a:pt x="64" y="198"/>
                  </a:moveTo>
                  <a:lnTo>
                    <a:pt x="62" y="198"/>
                  </a:lnTo>
                  <a:lnTo>
                    <a:pt x="64" y="198"/>
                  </a:lnTo>
                  <a:close/>
                  <a:moveTo>
                    <a:pt x="64" y="198"/>
                  </a:moveTo>
                  <a:lnTo>
                    <a:pt x="64" y="196"/>
                  </a:lnTo>
                  <a:lnTo>
                    <a:pt x="64" y="198"/>
                  </a:lnTo>
                  <a:close/>
                  <a:moveTo>
                    <a:pt x="64" y="198"/>
                  </a:moveTo>
                  <a:lnTo>
                    <a:pt x="62" y="198"/>
                  </a:lnTo>
                  <a:lnTo>
                    <a:pt x="64" y="198"/>
                  </a:lnTo>
                  <a:close/>
                  <a:moveTo>
                    <a:pt x="66" y="196"/>
                  </a:moveTo>
                  <a:lnTo>
                    <a:pt x="68" y="196"/>
                  </a:lnTo>
                  <a:lnTo>
                    <a:pt x="66" y="196"/>
                  </a:lnTo>
                  <a:close/>
                  <a:moveTo>
                    <a:pt x="62" y="198"/>
                  </a:moveTo>
                  <a:lnTo>
                    <a:pt x="62" y="196"/>
                  </a:lnTo>
                  <a:lnTo>
                    <a:pt x="62" y="198"/>
                  </a:lnTo>
                  <a:close/>
                  <a:moveTo>
                    <a:pt x="72" y="194"/>
                  </a:moveTo>
                  <a:lnTo>
                    <a:pt x="72" y="192"/>
                  </a:lnTo>
                  <a:lnTo>
                    <a:pt x="72" y="194"/>
                  </a:lnTo>
                  <a:close/>
                  <a:moveTo>
                    <a:pt x="72" y="192"/>
                  </a:moveTo>
                  <a:lnTo>
                    <a:pt x="72" y="194"/>
                  </a:lnTo>
                  <a:lnTo>
                    <a:pt x="72" y="192"/>
                  </a:lnTo>
                  <a:close/>
                  <a:moveTo>
                    <a:pt x="64" y="196"/>
                  </a:moveTo>
                  <a:lnTo>
                    <a:pt x="64" y="198"/>
                  </a:lnTo>
                  <a:lnTo>
                    <a:pt x="64" y="196"/>
                  </a:lnTo>
                  <a:close/>
                  <a:moveTo>
                    <a:pt x="70" y="194"/>
                  </a:moveTo>
                  <a:lnTo>
                    <a:pt x="68" y="194"/>
                  </a:lnTo>
                  <a:lnTo>
                    <a:pt x="70" y="194"/>
                  </a:lnTo>
                  <a:close/>
                  <a:moveTo>
                    <a:pt x="60" y="196"/>
                  </a:moveTo>
                  <a:lnTo>
                    <a:pt x="60" y="198"/>
                  </a:lnTo>
                  <a:lnTo>
                    <a:pt x="60" y="200"/>
                  </a:lnTo>
                  <a:lnTo>
                    <a:pt x="60" y="198"/>
                  </a:lnTo>
                  <a:lnTo>
                    <a:pt x="60" y="196"/>
                  </a:lnTo>
                  <a:close/>
                  <a:moveTo>
                    <a:pt x="68" y="192"/>
                  </a:moveTo>
                  <a:lnTo>
                    <a:pt x="68" y="194"/>
                  </a:lnTo>
                  <a:lnTo>
                    <a:pt x="68" y="192"/>
                  </a:lnTo>
                  <a:close/>
                  <a:moveTo>
                    <a:pt x="88" y="186"/>
                  </a:moveTo>
                  <a:lnTo>
                    <a:pt x="88" y="186"/>
                  </a:lnTo>
                  <a:lnTo>
                    <a:pt x="86" y="186"/>
                  </a:lnTo>
                  <a:lnTo>
                    <a:pt x="88" y="186"/>
                  </a:lnTo>
                  <a:lnTo>
                    <a:pt x="88" y="186"/>
                  </a:lnTo>
                  <a:close/>
                  <a:moveTo>
                    <a:pt x="60" y="196"/>
                  </a:moveTo>
                  <a:lnTo>
                    <a:pt x="58" y="196"/>
                  </a:lnTo>
                  <a:lnTo>
                    <a:pt x="60" y="196"/>
                  </a:lnTo>
                  <a:lnTo>
                    <a:pt x="58" y="196"/>
                  </a:lnTo>
                  <a:lnTo>
                    <a:pt x="58" y="198"/>
                  </a:lnTo>
                  <a:lnTo>
                    <a:pt x="60" y="198"/>
                  </a:lnTo>
                  <a:lnTo>
                    <a:pt x="60" y="196"/>
                  </a:lnTo>
                  <a:lnTo>
                    <a:pt x="60" y="198"/>
                  </a:lnTo>
                  <a:lnTo>
                    <a:pt x="58" y="198"/>
                  </a:lnTo>
                  <a:lnTo>
                    <a:pt x="58" y="196"/>
                  </a:lnTo>
                  <a:lnTo>
                    <a:pt x="60" y="196"/>
                  </a:lnTo>
                  <a:close/>
                  <a:moveTo>
                    <a:pt x="76" y="188"/>
                  </a:moveTo>
                  <a:lnTo>
                    <a:pt x="76" y="190"/>
                  </a:lnTo>
                  <a:lnTo>
                    <a:pt x="76" y="188"/>
                  </a:lnTo>
                  <a:close/>
                  <a:moveTo>
                    <a:pt x="78" y="188"/>
                  </a:moveTo>
                  <a:lnTo>
                    <a:pt x="76" y="188"/>
                  </a:lnTo>
                  <a:lnTo>
                    <a:pt x="78" y="188"/>
                  </a:lnTo>
                  <a:close/>
                  <a:moveTo>
                    <a:pt x="60" y="196"/>
                  </a:moveTo>
                  <a:lnTo>
                    <a:pt x="60" y="194"/>
                  </a:lnTo>
                  <a:lnTo>
                    <a:pt x="60" y="196"/>
                  </a:lnTo>
                  <a:close/>
                  <a:moveTo>
                    <a:pt x="72" y="192"/>
                  </a:moveTo>
                  <a:lnTo>
                    <a:pt x="72" y="190"/>
                  </a:lnTo>
                  <a:lnTo>
                    <a:pt x="72" y="192"/>
                  </a:lnTo>
                  <a:close/>
                  <a:moveTo>
                    <a:pt x="58" y="194"/>
                  </a:moveTo>
                  <a:lnTo>
                    <a:pt x="58" y="196"/>
                  </a:lnTo>
                  <a:lnTo>
                    <a:pt x="58" y="194"/>
                  </a:lnTo>
                  <a:lnTo>
                    <a:pt x="60" y="194"/>
                  </a:lnTo>
                  <a:lnTo>
                    <a:pt x="58" y="194"/>
                  </a:lnTo>
                  <a:close/>
                  <a:moveTo>
                    <a:pt x="76" y="190"/>
                  </a:moveTo>
                  <a:lnTo>
                    <a:pt x="76" y="188"/>
                  </a:lnTo>
                  <a:lnTo>
                    <a:pt x="76" y="190"/>
                  </a:lnTo>
                  <a:close/>
                  <a:moveTo>
                    <a:pt x="64" y="196"/>
                  </a:moveTo>
                  <a:lnTo>
                    <a:pt x="64" y="194"/>
                  </a:lnTo>
                  <a:lnTo>
                    <a:pt x="66" y="194"/>
                  </a:lnTo>
                  <a:lnTo>
                    <a:pt x="64" y="194"/>
                  </a:lnTo>
                  <a:lnTo>
                    <a:pt x="66" y="194"/>
                  </a:lnTo>
                  <a:lnTo>
                    <a:pt x="64" y="194"/>
                  </a:lnTo>
                  <a:lnTo>
                    <a:pt x="66" y="192"/>
                  </a:lnTo>
                  <a:lnTo>
                    <a:pt x="66" y="194"/>
                  </a:lnTo>
                  <a:lnTo>
                    <a:pt x="66" y="192"/>
                  </a:lnTo>
                  <a:lnTo>
                    <a:pt x="66" y="194"/>
                  </a:lnTo>
                  <a:lnTo>
                    <a:pt x="64" y="194"/>
                  </a:lnTo>
                  <a:lnTo>
                    <a:pt x="64" y="196"/>
                  </a:lnTo>
                  <a:close/>
                  <a:moveTo>
                    <a:pt x="68" y="192"/>
                  </a:moveTo>
                  <a:lnTo>
                    <a:pt x="68" y="190"/>
                  </a:lnTo>
                  <a:lnTo>
                    <a:pt x="68" y="192"/>
                  </a:lnTo>
                  <a:close/>
                  <a:moveTo>
                    <a:pt x="62" y="192"/>
                  </a:moveTo>
                  <a:lnTo>
                    <a:pt x="62" y="194"/>
                  </a:lnTo>
                  <a:lnTo>
                    <a:pt x="62" y="192"/>
                  </a:lnTo>
                  <a:close/>
                  <a:moveTo>
                    <a:pt x="66" y="190"/>
                  </a:moveTo>
                  <a:lnTo>
                    <a:pt x="66" y="192"/>
                  </a:lnTo>
                  <a:lnTo>
                    <a:pt x="66" y="190"/>
                  </a:lnTo>
                  <a:close/>
                  <a:moveTo>
                    <a:pt x="76" y="188"/>
                  </a:moveTo>
                  <a:lnTo>
                    <a:pt x="76" y="186"/>
                  </a:lnTo>
                  <a:lnTo>
                    <a:pt x="76" y="188"/>
                  </a:lnTo>
                  <a:close/>
                  <a:moveTo>
                    <a:pt x="62" y="192"/>
                  </a:moveTo>
                  <a:lnTo>
                    <a:pt x="64" y="192"/>
                  </a:lnTo>
                  <a:lnTo>
                    <a:pt x="62" y="192"/>
                  </a:lnTo>
                  <a:close/>
                  <a:moveTo>
                    <a:pt x="78" y="186"/>
                  </a:moveTo>
                  <a:lnTo>
                    <a:pt x="78" y="186"/>
                  </a:lnTo>
                  <a:lnTo>
                    <a:pt x="78" y="186"/>
                  </a:lnTo>
                  <a:close/>
                  <a:moveTo>
                    <a:pt x="70" y="188"/>
                  </a:moveTo>
                  <a:lnTo>
                    <a:pt x="70" y="190"/>
                  </a:lnTo>
                  <a:lnTo>
                    <a:pt x="70" y="188"/>
                  </a:lnTo>
                  <a:close/>
                  <a:moveTo>
                    <a:pt x="102" y="178"/>
                  </a:moveTo>
                  <a:lnTo>
                    <a:pt x="102" y="180"/>
                  </a:lnTo>
                  <a:lnTo>
                    <a:pt x="102" y="178"/>
                  </a:lnTo>
                  <a:close/>
                  <a:moveTo>
                    <a:pt x="68" y="190"/>
                  </a:moveTo>
                  <a:lnTo>
                    <a:pt x="66" y="190"/>
                  </a:lnTo>
                  <a:lnTo>
                    <a:pt x="68" y="190"/>
                  </a:lnTo>
                  <a:lnTo>
                    <a:pt x="66" y="190"/>
                  </a:lnTo>
                  <a:lnTo>
                    <a:pt x="68" y="190"/>
                  </a:lnTo>
                  <a:close/>
                  <a:moveTo>
                    <a:pt x="64" y="192"/>
                  </a:moveTo>
                  <a:lnTo>
                    <a:pt x="62" y="192"/>
                  </a:lnTo>
                  <a:lnTo>
                    <a:pt x="62" y="190"/>
                  </a:lnTo>
                  <a:lnTo>
                    <a:pt x="64" y="190"/>
                  </a:lnTo>
                  <a:lnTo>
                    <a:pt x="64" y="192"/>
                  </a:lnTo>
                  <a:close/>
                  <a:moveTo>
                    <a:pt x="76" y="186"/>
                  </a:moveTo>
                  <a:lnTo>
                    <a:pt x="76" y="186"/>
                  </a:lnTo>
                  <a:lnTo>
                    <a:pt x="76" y="186"/>
                  </a:lnTo>
                  <a:close/>
                  <a:moveTo>
                    <a:pt x="66" y="190"/>
                  </a:moveTo>
                  <a:lnTo>
                    <a:pt x="66" y="188"/>
                  </a:lnTo>
                  <a:lnTo>
                    <a:pt x="66" y="190"/>
                  </a:lnTo>
                  <a:close/>
                  <a:moveTo>
                    <a:pt x="78" y="186"/>
                  </a:moveTo>
                  <a:lnTo>
                    <a:pt x="76" y="186"/>
                  </a:lnTo>
                  <a:lnTo>
                    <a:pt x="78" y="186"/>
                  </a:lnTo>
                  <a:close/>
                  <a:moveTo>
                    <a:pt x="74" y="186"/>
                  </a:moveTo>
                  <a:lnTo>
                    <a:pt x="76" y="186"/>
                  </a:lnTo>
                  <a:lnTo>
                    <a:pt x="76" y="188"/>
                  </a:lnTo>
                  <a:lnTo>
                    <a:pt x="76" y="190"/>
                  </a:lnTo>
                  <a:lnTo>
                    <a:pt x="76" y="188"/>
                  </a:lnTo>
                  <a:lnTo>
                    <a:pt x="74" y="188"/>
                  </a:lnTo>
                  <a:lnTo>
                    <a:pt x="74" y="186"/>
                  </a:lnTo>
                  <a:lnTo>
                    <a:pt x="74" y="188"/>
                  </a:lnTo>
                  <a:lnTo>
                    <a:pt x="74" y="186"/>
                  </a:lnTo>
                  <a:lnTo>
                    <a:pt x="74" y="188"/>
                  </a:lnTo>
                  <a:lnTo>
                    <a:pt x="74" y="186"/>
                  </a:lnTo>
                  <a:lnTo>
                    <a:pt x="74" y="188"/>
                  </a:lnTo>
                  <a:lnTo>
                    <a:pt x="74" y="186"/>
                  </a:lnTo>
                  <a:close/>
                  <a:moveTo>
                    <a:pt x="66" y="188"/>
                  </a:moveTo>
                  <a:lnTo>
                    <a:pt x="66" y="190"/>
                  </a:lnTo>
                  <a:lnTo>
                    <a:pt x="68" y="190"/>
                  </a:lnTo>
                  <a:lnTo>
                    <a:pt x="68" y="192"/>
                  </a:lnTo>
                  <a:lnTo>
                    <a:pt x="68" y="194"/>
                  </a:lnTo>
                  <a:lnTo>
                    <a:pt x="66" y="194"/>
                  </a:lnTo>
                  <a:lnTo>
                    <a:pt x="66" y="192"/>
                  </a:lnTo>
                  <a:lnTo>
                    <a:pt x="66" y="190"/>
                  </a:lnTo>
                  <a:lnTo>
                    <a:pt x="66" y="192"/>
                  </a:lnTo>
                  <a:lnTo>
                    <a:pt x="66" y="194"/>
                  </a:lnTo>
                  <a:lnTo>
                    <a:pt x="66" y="192"/>
                  </a:lnTo>
                  <a:lnTo>
                    <a:pt x="64" y="192"/>
                  </a:lnTo>
                  <a:lnTo>
                    <a:pt x="64" y="190"/>
                  </a:lnTo>
                  <a:lnTo>
                    <a:pt x="66" y="190"/>
                  </a:lnTo>
                  <a:lnTo>
                    <a:pt x="64" y="190"/>
                  </a:lnTo>
                  <a:lnTo>
                    <a:pt x="66" y="190"/>
                  </a:lnTo>
                  <a:lnTo>
                    <a:pt x="64" y="190"/>
                  </a:lnTo>
                  <a:lnTo>
                    <a:pt x="66" y="190"/>
                  </a:lnTo>
                  <a:lnTo>
                    <a:pt x="66" y="192"/>
                  </a:lnTo>
                  <a:lnTo>
                    <a:pt x="66" y="190"/>
                  </a:lnTo>
                  <a:lnTo>
                    <a:pt x="66" y="188"/>
                  </a:lnTo>
                  <a:lnTo>
                    <a:pt x="66" y="190"/>
                  </a:lnTo>
                  <a:lnTo>
                    <a:pt x="66" y="188"/>
                  </a:lnTo>
                  <a:lnTo>
                    <a:pt x="66" y="190"/>
                  </a:lnTo>
                  <a:lnTo>
                    <a:pt x="66" y="188"/>
                  </a:lnTo>
                  <a:close/>
                  <a:moveTo>
                    <a:pt x="68" y="188"/>
                  </a:moveTo>
                  <a:lnTo>
                    <a:pt x="66" y="188"/>
                  </a:lnTo>
                  <a:lnTo>
                    <a:pt x="68" y="188"/>
                  </a:lnTo>
                  <a:close/>
                  <a:moveTo>
                    <a:pt x="76" y="186"/>
                  </a:moveTo>
                  <a:lnTo>
                    <a:pt x="78" y="186"/>
                  </a:lnTo>
                  <a:lnTo>
                    <a:pt x="78" y="186"/>
                  </a:lnTo>
                  <a:lnTo>
                    <a:pt x="76" y="186"/>
                  </a:lnTo>
                  <a:lnTo>
                    <a:pt x="76" y="186"/>
                  </a:lnTo>
                  <a:close/>
                  <a:moveTo>
                    <a:pt x="100" y="176"/>
                  </a:moveTo>
                  <a:lnTo>
                    <a:pt x="102" y="176"/>
                  </a:lnTo>
                  <a:lnTo>
                    <a:pt x="100" y="176"/>
                  </a:lnTo>
                  <a:lnTo>
                    <a:pt x="102" y="176"/>
                  </a:lnTo>
                  <a:lnTo>
                    <a:pt x="102" y="178"/>
                  </a:lnTo>
                  <a:lnTo>
                    <a:pt x="100" y="178"/>
                  </a:lnTo>
                  <a:lnTo>
                    <a:pt x="100" y="176"/>
                  </a:lnTo>
                  <a:close/>
                  <a:moveTo>
                    <a:pt x="86" y="182"/>
                  </a:moveTo>
                  <a:lnTo>
                    <a:pt x="86" y="184"/>
                  </a:lnTo>
                  <a:lnTo>
                    <a:pt x="86" y="182"/>
                  </a:lnTo>
                  <a:lnTo>
                    <a:pt x="84" y="182"/>
                  </a:lnTo>
                  <a:lnTo>
                    <a:pt x="86" y="182"/>
                  </a:lnTo>
                  <a:lnTo>
                    <a:pt x="84" y="182"/>
                  </a:lnTo>
                  <a:lnTo>
                    <a:pt x="86" y="182"/>
                  </a:lnTo>
                  <a:close/>
                  <a:moveTo>
                    <a:pt x="70" y="186"/>
                  </a:moveTo>
                  <a:lnTo>
                    <a:pt x="72" y="186"/>
                  </a:lnTo>
                  <a:lnTo>
                    <a:pt x="72" y="188"/>
                  </a:lnTo>
                  <a:lnTo>
                    <a:pt x="72" y="190"/>
                  </a:lnTo>
                  <a:lnTo>
                    <a:pt x="72" y="188"/>
                  </a:lnTo>
                  <a:lnTo>
                    <a:pt x="72" y="186"/>
                  </a:lnTo>
                  <a:lnTo>
                    <a:pt x="74" y="186"/>
                  </a:lnTo>
                  <a:lnTo>
                    <a:pt x="74" y="188"/>
                  </a:lnTo>
                  <a:lnTo>
                    <a:pt x="74" y="190"/>
                  </a:lnTo>
                  <a:lnTo>
                    <a:pt x="74" y="192"/>
                  </a:lnTo>
                  <a:lnTo>
                    <a:pt x="72" y="192"/>
                  </a:lnTo>
                  <a:lnTo>
                    <a:pt x="74" y="192"/>
                  </a:lnTo>
                  <a:lnTo>
                    <a:pt x="72" y="192"/>
                  </a:lnTo>
                  <a:lnTo>
                    <a:pt x="74" y="192"/>
                  </a:lnTo>
                  <a:lnTo>
                    <a:pt x="74" y="190"/>
                  </a:lnTo>
                  <a:lnTo>
                    <a:pt x="72" y="190"/>
                  </a:lnTo>
                  <a:lnTo>
                    <a:pt x="72" y="192"/>
                  </a:lnTo>
                  <a:lnTo>
                    <a:pt x="72" y="190"/>
                  </a:lnTo>
                  <a:lnTo>
                    <a:pt x="72" y="192"/>
                  </a:lnTo>
                  <a:lnTo>
                    <a:pt x="72" y="190"/>
                  </a:lnTo>
                  <a:lnTo>
                    <a:pt x="72" y="192"/>
                  </a:lnTo>
                  <a:lnTo>
                    <a:pt x="72" y="190"/>
                  </a:lnTo>
                  <a:lnTo>
                    <a:pt x="72" y="188"/>
                  </a:lnTo>
                  <a:lnTo>
                    <a:pt x="70" y="188"/>
                  </a:lnTo>
                  <a:lnTo>
                    <a:pt x="70" y="186"/>
                  </a:lnTo>
                  <a:lnTo>
                    <a:pt x="72" y="186"/>
                  </a:lnTo>
                  <a:lnTo>
                    <a:pt x="70" y="186"/>
                  </a:lnTo>
                  <a:lnTo>
                    <a:pt x="72" y="186"/>
                  </a:lnTo>
                  <a:lnTo>
                    <a:pt x="70" y="186"/>
                  </a:lnTo>
                  <a:lnTo>
                    <a:pt x="72" y="186"/>
                  </a:lnTo>
                  <a:lnTo>
                    <a:pt x="70" y="186"/>
                  </a:lnTo>
                  <a:close/>
                  <a:moveTo>
                    <a:pt x="84" y="182"/>
                  </a:moveTo>
                  <a:lnTo>
                    <a:pt x="86" y="182"/>
                  </a:lnTo>
                  <a:lnTo>
                    <a:pt x="84" y="182"/>
                  </a:lnTo>
                  <a:close/>
                  <a:moveTo>
                    <a:pt x="72" y="186"/>
                  </a:moveTo>
                  <a:lnTo>
                    <a:pt x="70" y="186"/>
                  </a:lnTo>
                  <a:lnTo>
                    <a:pt x="72" y="186"/>
                  </a:lnTo>
                  <a:close/>
                  <a:moveTo>
                    <a:pt x="72" y="186"/>
                  </a:moveTo>
                  <a:lnTo>
                    <a:pt x="72" y="186"/>
                  </a:lnTo>
                  <a:lnTo>
                    <a:pt x="72" y="186"/>
                  </a:lnTo>
                  <a:close/>
                  <a:moveTo>
                    <a:pt x="102" y="176"/>
                  </a:moveTo>
                  <a:lnTo>
                    <a:pt x="100" y="176"/>
                  </a:lnTo>
                  <a:lnTo>
                    <a:pt x="102" y="176"/>
                  </a:lnTo>
                  <a:close/>
                  <a:moveTo>
                    <a:pt x="86" y="182"/>
                  </a:moveTo>
                  <a:lnTo>
                    <a:pt x="86" y="180"/>
                  </a:lnTo>
                  <a:lnTo>
                    <a:pt x="86" y="182"/>
                  </a:lnTo>
                  <a:close/>
                  <a:moveTo>
                    <a:pt x="72" y="186"/>
                  </a:moveTo>
                  <a:lnTo>
                    <a:pt x="72" y="186"/>
                  </a:lnTo>
                  <a:lnTo>
                    <a:pt x="72" y="186"/>
                  </a:lnTo>
                  <a:close/>
                  <a:moveTo>
                    <a:pt x="80" y="184"/>
                  </a:moveTo>
                  <a:lnTo>
                    <a:pt x="80" y="182"/>
                  </a:lnTo>
                  <a:lnTo>
                    <a:pt x="80" y="184"/>
                  </a:lnTo>
                  <a:close/>
                  <a:moveTo>
                    <a:pt x="92" y="178"/>
                  </a:moveTo>
                  <a:lnTo>
                    <a:pt x="92" y="180"/>
                  </a:lnTo>
                  <a:lnTo>
                    <a:pt x="92" y="178"/>
                  </a:lnTo>
                  <a:close/>
                  <a:moveTo>
                    <a:pt x="84" y="180"/>
                  </a:moveTo>
                  <a:lnTo>
                    <a:pt x="84" y="182"/>
                  </a:lnTo>
                  <a:lnTo>
                    <a:pt x="84" y="180"/>
                  </a:lnTo>
                  <a:close/>
                  <a:moveTo>
                    <a:pt x="68" y="186"/>
                  </a:moveTo>
                  <a:lnTo>
                    <a:pt x="70" y="186"/>
                  </a:lnTo>
                  <a:lnTo>
                    <a:pt x="70" y="186"/>
                  </a:lnTo>
                  <a:lnTo>
                    <a:pt x="70" y="186"/>
                  </a:lnTo>
                  <a:lnTo>
                    <a:pt x="70" y="186"/>
                  </a:lnTo>
                  <a:lnTo>
                    <a:pt x="70" y="186"/>
                  </a:lnTo>
                  <a:lnTo>
                    <a:pt x="70" y="186"/>
                  </a:lnTo>
                  <a:lnTo>
                    <a:pt x="70" y="186"/>
                  </a:lnTo>
                  <a:lnTo>
                    <a:pt x="70" y="186"/>
                  </a:lnTo>
                  <a:lnTo>
                    <a:pt x="72" y="186"/>
                  </a:lnTo>
                  <a:lnTo>
                    <a:pt x="70" y="186"/>
                  </a:lnTo>
                  <a:lnTo>
                    <a:pt x="70" y="188"/>
                  </a:lnTo>
                  <a:lnTo>
                    <a:pt x="72" y="188"/>
                  </a:lnTo>
                  <a:lnTo>
                    <a:pt x="70" y="188"/>
                  </a:lnTo>
                  <a:lnTo>
                    <a:pt x="70" y="190"/>
                  </a:lnTo>
                  <a:lnTo>
                    <a:pt x="72" y="190"/>
                  </a:lnTo>
                  <a:lnTo>
                    <a:pt x="70" y="190"/>
                  </a:lnTo>
                  <a:lnTo>
                    <a:pt x="70" y="188"/>
                  </a:lnTo>
                  <a:lnTo>
                    <a:pt x="70" y="186"/>
                  </a:lnTo>
                  <a:lnTo>
                    <a:pt x="68" y="186"/>
                  </a:lnTo>
                  <a:lnTo>
                    <a:pt x="68" y="186"/>
                  </a:lnTo>
                  <a:close/>
                  <a:moveTo>
                    <a:pt x="74" y="186"/>
                  </a:moveTo>
                  <a:lnTo>
                    <a:pt x="74" y="184"/>
                  </a:lnTo>
                  <a:lnTo>
                    <a:pt x="74" y="186"/>
                  </a:lnTo>
                  <a:close/>
                  <a:moveTo>
                    <a:pt x="88" y="180"/>
                  </a:moveTo>
                  <a:lnTo>
                    <a:pt x="86" y="180"/>
                  </a:lnTo>
                  <a:lnTo>
                    <a:pt x="88" y="180"/>
                  </a:lnTo>
                  <a:close/>
                  <a:moveTo>
                    <a:pt x="82" y="182"/>
                  </a:moveTo>
                  <a:lnTo>
                    <a:pt x="82" y="180"/>
                  </a:lnTo>
                  <a:lnTo>
                    <a:pt x="82" y="182"/>
                  </a:lnTo>
                  <a:close/>
                  <a:moveTo>
                    <a:pt x="82" y="182"/>
                  </a:moveTo>
                  <a:lnTo>
                    <a:pt x="82" y="180"/>
                  </a:lnTo>
                  <a:lnTo>
                    <a:pt x="82" y="182"/>
                  </a:lnTo>
                  <a:close/>
                  <a:moveTo>
                    <a:pt x="80" y="182"/>
                  </a:moveTo>
                  <a:lnTo>
                    <a:pt x="80" y="180"/>
                  </a:lnTo>
                  <a:lnTo>
                    <a:pt x="80" y="182"/>
                  </a:lnTo>
                  <a:lnTo>
                    <a:pt x="80" y="180"/>
                  </a:lnTo>
                  <a:lnTo>
                    <a:pt x="80" y="182"/>
                  </a:lnTo>
                  <a:close/>
                  <a:moveTo>
                    <a:pt x="84" y="178"/>
                  </a:moveTo>
                  <a:lnTo>
                    <a:pt x="84" y="180"/>
                  </a:lnTo>
                  <a:lnTo>
                    <a:pt x="84" y="178"/>
                  </a:lnTo>
                  <a:close/>
                  <a:moveTo>
                    <a:pt x="86" y="178"/>
                  </a:moveTo>
                  <a:lnTo>
                    <a:pt x="86" y="180"/>
                  </a:lnTo>
                  <a:lnTo>
                    <a:pt x="86" y="178"/>
                  </a:lnTo>
                  <a:close/>
                  <a:moveTo>
                    <a:pt x="72" y="184"/>
                  </a:moveTo>
                  <a:lnTo>
                    <a:pt x="72" y="186"/>
                  </a:lnTo>
                  <a:lnTo>
                    <a:pt x="72" y="184"/>
                  </a:lnTo>
                  <a:close/>
                  <a:moveTo>
                    <a:pt x="84" y="178"/>
                  </a:moveTo>
                  <a:lnTo>
                    <a:pt x="86" y="178"/>
                  </a:lnTo>
                  <a:lnTo>
                    <a:pt x="84" y="178"/>
                  </a:lnTo>
                  <a:close/>
                  <a:moveTo>
                    <a:pt x="82" y="180"/>
                  </a:moveTo>
                  <a:lnTo>
                    <a:pt x="84" y="180"/>
                  </a:lnTo>
                  <a:lnTo>
                    <a:pt x="82" y="180"/>
                  </a:lnTo>
                  <a:close/>
                  <a:moveTo>
                    <a:pt x="80" y="180"/>
                  </a:moveTo>
                  <a:lnTo>
                    <a:pt x="80" y="182"/>
                  </a:lnTo>
                  <a:lnTo>
                    <a:pt x="80" y="180"/>
                  </a:lnTo>
                  <a:close/>
                  <a:moveTo>
                    <a:pt x="66" y="184"/>
                  </a:moveTo>
                  <a:lnTo>
                    <a:pt x="68" y="184"/>
                  </a:lnTo>
                  <a:lnTo>
                    <a:pt x="68" y="186"/>
                  </a:lnTo>
                  <a:lnTo>
                    <a:pt x="66" y="186"/>
                  </a:lnTo>
                  <a:lnTo>
                    <a:pt x="66" y="184"/>
                  </a:lnTo>
                  <a:close/>
                  <a:moveTo>
                    <a:pt x="66" y="184"/>
                  </a:moveTo>
                  <a:lnTo>
                    <a:pt x="66" y="186"/>
                  </a:lnTo>
                  <a:lnTo>
                    <a:pt x="66" y="184"/>
                  </a:lnTo>
                  <a:close/>
                  <a:moveTo>
                    <a:pt x="82" y="178"/>
                  </a:moveTo>
                  <a:lnTo>
                    <a:pt x="84" y="178"/>
                  </a:lnTo>
                  <a:lnTo>
                    <a:pt x="82" y="178"/>
                  </a:lnTo>
                  <a:close/>
                  <a:moveTo>
                    <a:pt x="80" y="180"/>
                  </a:moveTo>
                  <a:lnTo>
                    <a:pt x="80" y="178"/>
                  </a:lnTo>
                  <a:lnTo>
                    <a:pt x="80" y="180"/>
                  </a:lnTo>
                  <a:close/>
                  <a:moveTo>
                    <a:pt x="68" y="184"/>
                  </a:moveTo>
                  <a:lnTo>
                    <a:pt x="66" y="184"/>
                  </a:lnTo>
                  <a:lnTo>
                    <a:pt x="68" y="184"/>
                  </a:lnTo>
                  <a:lnTo>
                    <a:pt x="66" y="184"/>
                  </a:lnTo>
                  <a:lnTo>
                    <a:pt x="68" y="184"/>
                  </a:lnTo>
                  <a:close/>
                  <a:moveTo>
                    <a:pt x="82" y="178"/>
                  </a:moveTo>
                  <a:lnTo>
                    <a:pt x="82" y="180"/>
                  </a:lnTo>
                  <a:lnTo>
                    <a:pt x="82" y="178"/>
                  </a:lnTo>
                  <a:lnTo>
                    <a:pt x="82" y="180"/>
                  </a:lnTo>
                  <a:lnTo>
                    <a:pt x="82" y="178"/>
                  </a:lnTo>
                  <a:close/>
                  <a:moveTo>
                    <a:pt x="84" y="178"/>
                  </a:moveTo>
                  <a:lnTo>
                    <a:pt x="84" y="176"/>
                  </a:lnTo>
                  <a:lnTo>
                    <a:pt x="84" y="178"/>
                  </a:lnTo>
                  <a:lnTo>
                    <a:pt x="84" y="176"/>
                  </a:lnTo>
                  <a:lnTo>
                    <a:pt x="84" y="178"/>
                  </a:lnTo>
                  <a:close/>
                  <a:moveTo>
                    <a:pt x="80" y="178"/>
                  </a:moveTo>
                  <a:lnTo>
                    <a:pt x="80" y="180"/>
                  </a:lnTo>
                  <a:lnTo>
                    <a:pt x="80" y="178"/>
                  </a:lnTo>
                  <a:close/>
                  <a:moveTo>
                    <a:pt x="88" y="176"/>
                  </a:moveTo>
                  <a:lnTo>
                    <a:pt x="88" y="174"/>
                  </a:lnTo>
                  <a:lnTo>
                    <a:pt x="88" y="176"/>
                  </a:lnTo>
                  <a:close/>
                  <a:moveTo>
                    <a:pt x="80" y="178"/>
                  </a:moveTo>
                  <a:lnTo>
                    <a:pt x="78" y="178"/>
                  </a:lnTo>
                  <a:lnTo>
                    <a:pt x="80" y="178"/>
                  </a:lnTo>
                  <a:close/>
                  <a:moveTo>
                    <a:pt x="92" y="174"/>
                  </a:moveTo>
                  <a:lnTo>
                    <a:pt x="90" y="174"/>
                  </a:lnTo>
                  <a:lnTo>
                    <a:pt x="92" y="174"/>
                  </a:lnTo>
                  <a:close/>
                  <a:moveTo>
                    <a:pt x="72" y="180"/>
                  </a:moveTo>
                  <a:lnTo>
                    <a:pt x="72" y="182"/>
                  </a:lnTo>
                  <a:lnTo>
                    <a:pt x="72" y="184"/>
                  </a:lnTo>
                  <a:lnTo>
                    <a:pt x="72" y="186"/>
                  </a:lnTo>
                  <a:lnTo>
                    <a:pt x="72" y="186"/>
                  </a:lnTo>
                  <a:lnTo>
                    <a:pt x="74" y="186"/>
                  </a:lnTo>
                  <a:lnTo>
                    <a:pt x="72" y="186"/>
                  </a:lnTo>
                  <a:lnTo>
                    <a:pt x="74" y="186"/>
                  </a:lnTo>
                  <a:lnTo>
                    <a:pt x="72" y="186"/>
                  </a:lnTo>
                  <a:lnTo>
                    <a:pt x="74" y="186"/>
                  </a:lnTo>
                  <a:lnTo>
                    <a:pt x="72" y="186"/>
                  </a:lnTo>
                  <a:lnTo>
                    <a:pt x="72" y="186"/>
                  </a:lnTo>
                  <a:lnTo>
                    <a:pt x="72" y="184"/>
                  </a:lnTo>
                  <a:lnTo>
                    <a:pt x="72" y="182"/>
                  </a:lnTo>
                  <a:lnTo>
                    <a:pt x="72" y="180"/>
                  </a:lnTo>
                  <a:close/>
                  <a:moveTo>
                    <a:pt x="92" y="172"/>
                  </a:moveTo>
                  <a:lnTo>
                    <a:pt x="92" y="174"/>
                  </a:lnTo>
                  <a:lnTo>
                    <a:pt x="92" y="172"/>
                  </a:lnTo>
                  <a:lnTo>
                    <a:pt x="92" y="174"/>
                  </a:lnTo>
                  <a:lnTo>
                    <a:pt x="92" y="172"/>
                  </a:lnTo>
                  <a:close/>
                  <a:moveTo>
                    <a:pt x="90" y="174"/>
                  </a:moveTo>
                  <a:lnTo>
                    <a:pt x="88" y="174"/>
                  </a:lnTo>
                  <a:lnTo>
                    <a:pt x="90" y="174"/>
                  </a:lnTo>
                  <a:lnTo>
                    <a:pt x="88" y="174"/>
                  </a:lnTo>
                  <a:lnTo>
                    <a:pt x="90" y="174"/>
                  </a:lnTo>
                  <a:close/>
                  <a:moveTo>
                    <a:pt x="90" y="174"/>
                  </a:moveTo>
                  <a:lnTo>
                    <a:pt x="90" y="172"/>
                  </a:lnTo>
                  <a:lnTo>
                    <a:pt x="90" y="174"/>
                  </a:lnTo>
                  <a:lnTo>
                    <a:pt x="90" y="172"/>
                  </a:lnTo>
                  <a:lnTo>
                    <a:pt x="90" y="174"/>
                  </a:lnTo>
                  <a:close/>
                  <a:moveTo>
                    <a:pt x="80" y="176"/>
                  </a:moveTo>
                  <a:lnTo>
                    <a:pt x="80" y="178"/>
                  </a:lnTo>
                  <a:lnTo>
                    <a:pt x="80" y="176"/>
                  </a:lnTo>
                  <a:close/>
                  <a:moveTo>
                    <a:pt x="82" y="176"/>
                  </a:moveTo>
                  <a:lnTo>
                    <a:pt x="80" y="176"/>
                  </a:lnTo>
                  <a:lnTo>
                    <a:pt x="82" y="176"/>
                  </a:lnTo>
                  <a:close/>
                  <a:moveTo>
                    <a:pt x="72" y="178"/>
                  </a:moveTo>
                  <a:lnTo>
                    <a:pt x="74" y="178"/>
                  </a:lnTo>
                  <a:lnTo>
                    <a:pt x="72" y="178"/>
                  </a:lnTo>
                  <a:close/>
                  <a:moveTo>
                    <a:pt x="100" y="168"/>
                  </a:moveTo>
                  <a:lnTo>
                    <a:pt x="102" y="168"/>
                  </a:lnTo>
                  <a:lnTo>
                    <a:pt x="100" y="168"/>
                  </a:lnTo>
                  <a:close/>
                  <a:moveTo>
                    <a:pt x="80" y="176"/>
                  </a:moveTo>
                  <a:lnTo>
                    <a:pt x="80" y="174"/>
                  </a:lnTo>
                  <a:lnTo>
                    <a:pt x="80" y="176"/>
                  </a:lnTo>
                  <a:close/>
                  <a:moveTo>
                    <a:pt x="100" y="166"/>
                  </a:moveTo>
                  <a:lnTo>
                    <a:pt x="100" y="168"/>
                  </a:lnTo>
                  <a:lnTo>
                    <a:pt x="100" y="166"/>
                  </a:lnTo>
                  <a:close/>
                  <a:moveTo>
                    <a:pt x="98" y="168"/>
                  </a:moveTo>
                  <a:lnTo>
                    <a:pt x="96" y="168"/>
                  </a:lnTo>
                  <a:lnTo>
                    <a:pt x="98" y="168"/>
                  </a:lnTo>
                  <a:close/>
                  <a:moveTo>
                    <a:pt x="98" y="168"/>
                  </a:moveTo>
                  <a:lnTo>
                    <a:pt x="100" y="168"/>
                  </a:lnTo>
                  <a:lnTo>
                    <a:pt x="98" y="168"/>
                  </a:lnTo>
                  <a:close/>
                  <a:moveTo>
                    <a:pt x="110" y="162"/>
                  </a:moveTo>
                  <a:lnTo>
                    <a:pt x="110" y="164"/>
                  </a:lnTo>
                  <a:lnTo>
                    <a:pt x="110" y="162"/>
                  </a:lnTo>
                  <a:close/>
                  <a:moveTo>
                    <a:pt x="102" y="166"/>
                  </a:moveTo>
                  <a:lnTo>
                    <a:pt x="100" y="166"/>
                  </a:lnTo>
                  <a:lnTo>
                    <a:pt x="102" y="166"/>
                  </a:lnTo>
                  <a:close/>
                  <a:moveTo>
                    <a:pt x="96" y="168"/>
                  </a:moveTo>
                  <a:lnTo>
                    <a:pt x="96" y="166"/>
                  </a:lnTo>
                  <a:lnTo>
                    <a:pt x="96" y="168"/>
                  </a:lnTo>
                  <a:close/>
                  <a:moveTo>
                    <a:pt x="96" y="168"/>
                  </a:moveTo>
                  <a:lnTo>
                    <a:pt x="96" y="166"/>
                  </a:lnTo>
                  <a:lnTo>
                    <a:pt x="96" y="168"/>
                  </a:lnTo>
                  <a:lnTo>
                    <a:pt x="96" y="166"/>
                  </a:lnTo>
                  <a:lnTo>
                    <a:pt x="96" y="168"/>
                  </a:lnTo>
                  <a:close/>
                  <a:moveTo>
                    <a:pt x="96" y="168"/>
                  </a:moveTo>
                  <a:lnTo>
                    <a:pt x="96" y="166"/>
                  </a:lnTo>
                  <a:lnTo>
                    <a:pt x="96" y="168"/>
                  </a:lnTo>
                  <a:close/>
                  <a:moveTo>
                    <a:pt x="98" y="166"/>
                  </a:moveTo>
                  <a:lnTo>
                    <a:pt x="96" y="166"/>
                  </a:lnTo>
                  <a:lnTo>
                    <a:pt x="98" y="166"/>
                  </a:lnTo>
                  <a:close/>
                  <a:moveTo>
                    <a:pt x="92" y="168"/>
                  </a:moveTo>
                  <a:lnTo>
                    <a:pt x="92" y="170"/>
                  </a:lnTo>
                  <a:lnTo>
                    <a:pt x="92" y="168"/>
                  </a:lnTo>
                  <a:lnTo>
                    <a:pt x="90" y="168"/>
                  </a:lnTo>
                  <a:lnTo>
                    <a:pt x="92" y="168"/>
                  </a:lnTo>
                  <a:close/>
                  <a:moveTo>
                    <a:pt x="96" y="168"/>
                  </a:moveTo>
                  <a:lnTo>
                    <a:pt x="96" y="166"/>
                  </a:lnTo>
                  <a:lnTo>
                    <a:pt x="96" y="168"/>
                  </a:lnTo>
                  <a:close/>
                  <a:moveTo>
                    <a:pt x="102" y="164"/>
                  </a:moveTo>
                  <a:lnTo>
                    <a:pt x="100" y="164"/>
                  </a:lnTo>
                  <a:lnTo>
                    <a:pt x="102" y="164"/>
                  </a:lnTo>
                  <a:close/>
                  <a:moveTo>
                    <a:pt x="66" y="180"/>
                  </a:moveTo>
                  <a:lnTo>
                    <a:pt x="66" y="178"/>
                  </a:lnTo>
                  <a:lnTo>
                    <a:pt x="66" y="180"/>
                  </a:lnTo>
                  <a:close/>
                  <a:moveTo>
                    <a:pt x="106" y="162"/>
                  </a:moveTo>
                  <a:lnTo>
                    <a:pt x="108" y="162"/>
                  </a:lnTo>
                  <a:lnTo>
                    <a:pt x="108" y="164"/>
                  </a:lnTo>
                  <a:lnTo>
                    <a:pt x="108" y="166"/>
                  </a:lnTo>
                  <a:lnTo>
                    <a:pt x="106" y="166"/>
                  </a:lnTo>
                  <a:lnTo>
                    <a:pt x="106" y="164"/>
                  </a:lnTo>
                  <a:lnTo>
                    <a:pt x="104" y="164"/>
                  </a:lnTo>
                  <a:lnTo>
                    <a:pt x="104" y="162"/>
                  </a:lnTo>
                  <a:lnTo>
                    <a:pt x="106" y="162"/>
                  </a:lnTo>
                  <a:close/>
                  <a:moveTo>
                    <a:pt x="100" y="164"/>
                  </a:moveTo>
                  <a:lnTo>
                    <a:pt x="98" y="164"/>
                  </a:lnTo>
                  <a:lnTo>
                    <a:pt x="100" y="164"/>
                  </a:lnTo>
                  <a:lnTo>
                    <a:pt x="98" y="164"/>
                  </a:lnTo>
                  <a:lnTo>
                    <a:pt x="100" y="164"/>
                  </a:lnTo>
                  <a:close/>
                  <a:moveTo>
                    <a:pt x="96" y="164"/>
                  </a:moveTo>
                  <a:lnTo>
                    <a:pt x="96" y="166"/>
                  </a:lnTo>
                  <a:lnTo>
                    <a:pt x="96" y="164"/>
                  </a:lnTo>
                  <a:close/>
                  <a:moveTo>
                    <a:pt x="94" y="164"/>
                  </a:moveTo>
                  <a:lnTo>
                    <a:pt x="94" y="166"/>
                  </a:lnTo>
                  <a:lnTo>
                    <a:pt x="94" y="164"/>
                  </a:lnTo>
                  <a:close/>
                  <a:moveTo>
                    <a:pt x="104" y="162"/>
                  </a:moveTo>
                  <a:lnTo>
                    <a:pt x="106" y="162"/>
                  </a:lnTo>
                  <a:lnTo>
                    <a:pt x="104" y="162"/>
                  </a:lnTo>
                  <a:close/>
                  <a:moveTo>
                    <a:pt x="104" y="162"/>
                  </a:moveTo>
                  <a:lnTo>
                    <a:pt x="104" y="160"/>
                  </a:lnTo>
                  <a:lnTo>
                    <a:pt x="104" y="162"/>
                  </a:lnTo>
                  <a:close/>
                  <a:moveTo>
                    <a:pt x="110" y="158"/>
                  </a:moveTo>
                  <a:lnTo>
                    <a:pt x="110" y="160"/>
                  </a:lnTo>
                  <a:lnTo>
                    <a:pt x="110" y="158"/>
                  </a:lnTo>
                  <a:lnTo>
                    <a:pt x="110" y="160"/>
                  </a:lnTo>
                  <a:lnTo>
                    <a:pt x="110" y="158"/>
                  </a:lnTo>
                  <a:close/>
                  <a:moveTo>
                    <a:pt x="116" y="156"/>
                  </a:moveTo>
                  <a:lnTo>
                    <a:pt x="116" y="158"/>
                  </a:lnTo>
                  <a:lnTo>
                    <a:pt x="116" y="156"/>
                  </a:lnTo>
                  <a:lnTo>
                    <a:pt x="116" y="158"/>
                  </a:lnTo>
                  <a:lnTo>
                    <a:pt x="114" y="158"/>
                  </a:lnTo>
                  <a:lnTo>
                    <a:pt x="114" y="156"/>
                  </a:lnTo>
                  <a:lnTo>
                    <a:pt x="116" y="156"/>
                  </a:lnTo>
                  <a:close/>
                  <a:moveTo>
                    <a:pt x="104" y="160"/>
                  </a:moveTo>
                  <a:lnTo>
                    <a:pt x="106" y="160"/>
                  </a:lnTo>
                  <a:lnTo>
                    <a:pt x="104" y="160"/>
                  </a:lnTo>
                  <a:close/>
                  <a:moveTo>
                    <a:pt x="112" y="158"/>
                  </a:moveTo>
                  <a:lnTo>
                    <a:pt x="110" y="158"/>
                  </a:lnTo>
                  <a:lnTo>
                    <a:pt x="112" y="158"/>
                  </a:lnTo>
                  <a:close/>
                  <a:moveTo>
                    <a:pt x="98" y="162"/>
                  </a:moveTo>
                  <a:lnTo>
                    <a:pt x="98" y="164"/>
                  </a:lnTo>
                  <a:lnTo>
                    <a:pt x="98" y="162"/>
                  </a:lnTo>
                  <a:lnTo>
                    <a:pt x="98" y="164"/>
                  </a:lnTo>
                  <a:lnTo>
                    <a:pt x="98" y="162"/>
                  </a:lnTo>
                  <a:lnTo>
                    <a:pt x="98" y="164"/>
                  </a:lnTo>
                  <a:lnTo>
                    <a:pt x="100" y="164"/>
                  </a:lnTo>
                  <a:lnTo>
                    <a:pt x="98" y="164"/>
                  </a:lnTo>
                  <a:lnTo>
                    <a:pt x="100" y="164"/>
                  </a:lnTo>
                  <a:lnTo>
                    <a:pt x="98" y="164"/>
                  </a:lnTo>
                  <a:lnTo>
                    <a:pt x="98" y="166"/>
                  </a:lnTo>
                  <a:lnTo>
                    <a:pt x="98" y="164"/>
                  </a:lnTo>
                  <a:lnTo>
                    <a:pt x="98" y="166"/>
                  </a:lnTo>
                  <a:lnTo>
                    <a:pt x="98" y="164"/>
                  </a:lnTo>
                  <a:lnTo>
                    <a:pt x="100" y="164"/>
                  </a:lnTo>
                  <a:lnTo>
                    <a:pt x="100" y="166"/>
                  </a:lnTo>
                  <a:lnTo>
                    <a:pt x="102" y="166"/>
                  </a:lnTo>
                  <a:lnTo>
                    <a:pt x="100" y="166"/>
                  </a:lnTo>
                  <a:lnTo>
                    <a:pt x="100" y="168"/>
                  </a:lnTo>
                  <a:lnTo>
                    <a:pt x="100" y="166"/>
                  </a:lnTo>
                  <a:lnTo>
                    <a:pt x="100" y="168"/>
                  </a:lnTo>
                  <a:lnTo>
                    <a:pt x="100" y="166"/>
                  </a:lnTo>
                  <a:lnTo>
                    <a:pt x="100" y="168"/>
                  </a:lnTo>
                  <a:lnTo>
                    <a:pt x="98" y="168"/>
                  </a:lnTo>
                  <a:lnTo>
                    <a:pt x="98" y="166"/>
                  </a:lnTo>
                  <a:lnTo>
                    <a:pt x="98" y="168"/>
                  </a:lnTo>
                  <a:lnTo>
                    <a:pt x="98" y="166"/>
                  </a:lnTo>
                  <a:lnTo>
                    <a:pt x="98" y="168"/>
                  </a:lnTo>
                  <a:lnTo>
                    <a:pt x="98" y="166"/>
                  </a:lnTo>
                  <a:lnTo>
                    <a:pt x="96" y="166"/>
                  </a:lnTo>
                  <a:lnTo>
                    <a:pt x="96" y="164"/>
                  </a:lnTo>
                  <a:lnTo>
                    <a:pt x="96" y="166"/>
                  </a:lnTo>
                  <a:lnTo>
                    <a:pt x="96" y="164"/>
                  </a:lnTo>
                  <a:lnTo>
                    <a:pt x="96" y="166"/>
                  </a:lnTo>
                  <a:lnTo>
                    <a:pt x="96" y="164"/>
                  </a:lnTo>
                  <a:lnTo>
                    <a:pt x="96" y="166"/>
                  </a:lnTo>
                  <a:lnTo>
                    <a:pt x="96" y="164"/>
                  </a:lnTo>
                  <a:lnTo>
                    <a:pt x="98" y="164"/>
                  </a:lnTo>
                  <a:lnTo>
                    <a:pt x="96" y="164"/>
                  </a:lnTo>
                  <a:lnTo>
                    <a:pt x="98" y="164"/>
                  </a:lnTo>
                  <a:lnTo>
                    <a:pt x="98" y="162"/>
                  </a:lnTo>
                  <a:close/>
                  <a:moveTo>
                    <a:pt x="106" y="160"/>
                  </a:moveTo>
                  <a:lnTo>
                    <a:pt x="104" y="160"/>
                  </a:lnTo>
                  <a:lnTo>
                    <a:pt x="106" y="160"/>
                  </a:lnTo>
                  <a:close/>
                  <a:moveTo>
                    <a:pt x="106" y="158"/>
                  </a:moveTo>
                  <a:lnTo>
                    <a:pt x="106" y="160"/>
                  </a:lnTo>
                  <a:lnTo>
                    <a:pt x="106" y="158"/>
                  </a:lnTo>
                  <a:close/>
                  <a:moveTo>
                    <a:pt x="106" y="160"/>
                  </a:moveTo>
                  <a:lnTo>
                    <a:pt x="106" y="158"/>
                  </a:lnTo>
                  <a:lnTo>
                    <a:pt x="106" y="160"/>
                  </a:lnTo>
                  <a:close/>
                  <a:moveTo>
                    <a:pt x="104" y="160"/>
                  </a:moveTo>
                  <a:lnTo>
                    <a:pt x="102" y="160"/>
                  </a:lnTo>
                  <a:lnTo>
                    <a:pt x="104" y="160"/>
                  </a:lnTo>
                  <a:lnTo>
                    <a:pt x="102" y="160"/>
                  </a:lnTo>
                  <a:lnTo>
                    <a:pt x="104" y="160"/>
                  </a:lnTo>
                  <a:close/>
                  <a:moveTo>
                    <a:pt x="106" y="158"/>
                  </a:moveTo>
                  <a:lnTo>
                    <a:pt x="104" y="158"/>
                  </a:lnTo>
                  <a:lnTo>
                    <a:pt x="106" y="158"/>
                  </a:lnTo>
                  <a:close/>
                  <a:moveTo>
                    <a:pt x="104" y="158"/>
                  </a:moveTo>
                  <a:lnTo>
                    <a:pt x="106" y="158"/>
                  </a:lnTo>
                  <a:lnTo>
                    <a:pt x="104" y="158"/>
                  </a:lnTo>
                  <a:close/>
                  <a:moveTo>
                    <a:pt x="104" y="158"/>
                  </a:moveTo>
                  <a:lnTo>
                    <a:pt x="104" y="160"/>
                  </a:lnTo>
                  <a:lnTo>
                    <a:pt x="104" y="158"/>
                  </a:lnTo>
                  <a:close/>
                  <a:moveTo>
                    <a:pt x="104" y="158"/>
                  </a:moveTo>
                  <a:lnTo>
                    <a:pt x="104" y="160"/>
                  </a:lnTo>
                  <a:lnTo>
                    <a:pt x="104" y="158"/>
                  </a:lnTo>
                  <a:close/>
                  <a:moveTo>
                    <a:pt x="106" y="158"/>
                  </a:moveTo>
                  <a:lnTo>
                    <a:pt x="104" y="158"/>
                  </a:lnTo>
                  <a:lnTo>
                    <a:pt x="106" y="158"/>
                  </a:lnTo>
                  <a:close/>
                  <a:moveTo>
                    <a:pt x="114" y="154"/>
                  </a:moveTo>
                  <a:lnTo>
                    <a:pt x="116" y="154"/>
                  </a:lnTo>
                  <a:lnTo>
                    <a:pt x="114" y="154"/>
                  </a:lnTo>
                  <a:close/>
                  <a:moveTo>
                    <a:pt x="106" y="158"/>
                  </a:moveTo>
                  <a:lnTo>
                    <a:pt x="106" y="156"/>
                  </a:lnTo>
                  <a:lnTo>
                    <a:pt x="106" y="158"/>
                  </a:lnTo>
                  <a:close/>
                  <a:moveTo>
                    <a:pt x="106" y="158"/>
                  </a:moveTo>
                  <a:lnTo>
                    <a:pt x="104" y="158"/>
                  </a:lnTo>
                  <a:lnTo>
                    <a:pt x="106" y="158"/>
                  </a:lnTo>
                  <a:close/>
                  <a:moveTo>
                    <a:pt x="96" y="160"/>
                  </a:moveTo>
                  <a:lnTo>
                    <a:pt x="98" y="160"/>
                  </a:lnTo>
                  <a:lnTo>
                    <a:pt x="98" y="162"/>
                  </a:lnTo>
                  <a:lnTo>
                    <a:pt x="96" y="162"/>
                  </a:lnTo>
                  <a:lnTo>
                    <a:pt x="98" y="162"/>
                  </a:lnTo>
                  <a:lnTo>
                    <a:pt x="96" y="162"/>
                  </a:lnTo>
                  <a:lnTo>
                    <a:pt x="96" y="164"/>
                  </a:lnTo>
                  <a:lnTo>
                    <a:pt x="96" y="162"/>
                  </a:lnTo>
                  <a:lnTo>
                    <a:pt x="96" y="164"/>
                  </a:lnTo>
                  <a:lnTo>
                    <a:pt x="96" y="162"/>
                  </a:lnTo>
                  <a:lnTo>
                    <a:pt x="96" y="164"/>
                  </a:lnTo>
                  <a:lnTo>
                    <a:pt x="96" y="162"/>
                  </a:lnTo>
                  <a:lnTo>
                    <a:pt x="96" y="164"/>
                  </a:lnTo>
                  <a:lnTo>
                    <a:pt x="94" y="164"/>
                  </a:lnTo>
                  <a:lnTo>
                    <a:pt x="96" y="164"/>
                  </a:lnTo>
                  <a:lnTo>
                    <a:pt x="96" y="162"/>
                  </a:lnTo>
                  <a:lnTo>
                    <a:pt x="96" y="164"/>
                  </a:lnTo>
                  <a:lnTo>
                    <a:pt x="94" y="164"/>
                  </a:lnTo>
                  <a:lnTo>
                    <a:pt x="94" y="166"/>
                  </a:lnTo>
                  <a:lnTo>
                    <a:pt x="94" y="164"/>
                  </a:lnTo>
                  <a:lnTo>
                    <a:pt x="94" y="162"/>
                  </a:lnTo>
                  <a:lnTo>
                    <a:pt x="96" y="162"/>
                  </a:lnTo>
                  <a:lnTo>
                    <a:pt x="94" y="162"/>
                  </a:lnTo>
                  <a:lnTo>
                    <a:pt x="96" y="162"/>
                  </a:lnTo>
                  <a:lnTo>
                    <a:pt x="96" y="160"/>
                  </a:lnTo>
                  <a:close/>
                  <a:moveTo>
                    <a:pt x="98" y="160"/>
                  </a:moveTo>
                  <a:lnTo>
                    <a:pt x="98" y="158"/>
                  </a:lnTo>
                  <a:lnTo>
                    <a:pt x="98" y="160"/>
                  </a:lnTo>
                  <a:close/>
                  <a:moveTo>
                    <a:pt x="112" y="154"/>
                  </a:moveTo>
                  <a:lnTo>
                    <a:pt x="114" y="154"/>
                  </a:lnTo>
                  <a:lnTo>
                    <a:pt x="114" y="156"/>
                  </a:lnTo>
                  <a:lnTo>
                    <a:pt x="112" y="156"/>
                  </a:lnTo>
                  <a:lnTo>
                    <a:pt x="112" y="158"/>
                  </a:lnTo>
                  <a:lnTo>
                    <a:pt x="112" y="156"/>
                  </a:lnTo>
                  <a:lnTo>
                    <a:pt x="112" y="158"/>
                  </a:lnTo>
                  <a:lnTo>
                    <a:pt x="112" y="156"/>
                  </a:lnTo>
                  <a:lnTo>
                    <a:pt x="112" y="158"/>
                  </a:lnTo>
                  <a:lnTo>
                    <a:pt x="112" y="156"/>
                  </a:lnTo>
                  <a:lnTo>
                    <a:pt x="112" y="158"/>
                  </a:lnTo>
                  <a:lnTo>
                    <a:pt x="112" y="156"/>
                  </a:lnTo>
                  <a:lnTo>
                    <a:pt x="110" y="156"/>
                  </a:lnTo>
                  <a:lnTo>
                    <a:pt x="112" y="156"/>
                  </a:lnTo>
                  <a:lnTo>
                    <a:pt x="110" y="156"/>
                  </a:lnTo>
                  <a:lnTo>
                    <a:pt x="112" y="156"/>
                  </a:lnTo>
                  <a:lnTo>
                    <a:pt x="110" y="156"/>
                  </a:lnTo>
                  <a:lnTo>
                    <a:pt x="110" y="158"/>
                  </a:lnTo>
                  <a:lnTo>
                    <a:pt x="110" y="156"/>
                  </a:lnTo>
                  <a:lnTo>
                    <a:pt x="110" y="158"/>
                  </a:lnTo>
                  <a:lnTo>
                    <a:pt x="110" y="156"/>
                  </a:lnTo>
                  <a:lnTo>
                    <a:pt x="110" y="154"/>
                  </a:lnTo>
                  <a:lnTo>
                    <a:pt x="110" y="156"/>
                  </a:lnTo>
                  <a:lnTo>
                    <a:pt x="112" y="156"/>
                  </a:lnTo>
                  <a:lnTo>
                    <a:pt x="112" y="154"/>
                  </a:lnTo>
                  <a:close/>
                  <a:moveTo>
                    <a:pt x="98" y="160"/>
                  </a:moveTo>
                  <a:lnTo>
                    <a:pt x="96" y="160"/>
                  </a:lnTo>
                  <a:lnTo>
                    <a:pt x="98" y="160"/>
                  </a:lnTo>
                  <a:close/>
                  <a:moveTo>
                    <a:pt x="104" y="156"/>
                  </a:moveTo>
                  <a:lnTo>
                    <a:pt x="104" y="158"/>
                  </a:lnTo>
                  <a:lnTo>
                    <a:pt x="104" y="156"/>
                  </a:lnTo>
                  <a:lnTo>
                    <a:pt x="104" y="158"/>
                  </a:lnTo>
                  <a:lnTo>
                    <a:pt x="104" y="156"/>
                  </a:lnTo>
                  <a:close/>
                  <a:moveTo>
                    <a:pt x="114" y="152"/>
                  </a:moveTo>
                  <a:lnTo>
                    <a:pt x="114" y="154"/>
                  </a:lnTo>
                  <a:lnTo>
                    <a:pt x="114" y="152"/>
                  </a:lnTo>
                  <a:close/>
                  <a:moveTo>
                    <a:pt x="92" y="160"/>
                  </a:moveTo>
                  <a:lnTo>
                    <a:pt x="92" y="162"/>
                  </a:lnTo>
                  <a:lnTo>
                    <a:pt x="92" y="160"/>
                  </a:lnTo>
                  <a:close/>
                  <a:moveTo>
                    <a:pt x="106" y="156"/>
                  </a:moveTo>
                  <a:lnTo>
                    <a:pt x="106" y="154"/>
                  </a:lnTo>
                  <a:lnTo>
                    <a:pt x="106" y="156"/>
                  </a:lnTo>
                  <a:close/>
                  <a:moveTo>
                    <a:pt x="114" y="152"/>
                  </a:moveTo>
                  <a:lnTo>
                    <a:pt x="116" y="152"/>
                  </a:lnTo>
                  <a:lnTo>
                    <a:pt x="114" y="152"/>
                  </a:lnTo>
                  <a:close/>
                  <a:moveTo>
                    <a:pt x="108" y="154"/>
                  </a:moveTo>
                  <a:lnTo>
                    <a:pt x="110" y="154"/>
                  </a:lnTo>
                  <a:lnTo>
                    <a:pt x="108" y="154"/>
                  </a:lnTo>
                  <a:close/>
                  <a:moveTo>
                    <a:pt x="104" y="154"/>
                  </a:moveTo>
                  <a:lnTo>
                    <a:pt x="106" y="154"/>
                  </a:lnTo>
                  <a:lnTo>
                    <a:pt x="104" y="154"/>
                  </a:lnTo>
                  <a:close/>
                  <a:moveTo>
                    <a:pt x="104" y="154"/>
                  </a:moveTo>
                  <a:lnTo>
                    <a:pt x="104" y="156"/>
                  </a:lnTo>
                  <a:lnTo>
                    <a:pt x="104" y="154"/>
                  </a:lnTo>
                  <a:close/>
                  <a:moveTo>
                    <a:pt x="108" y="152"/>
                  </a:moveTo>
                  <a:lnTo>
                    <a:pt x="110" y="152"/>
                  </a:lnTo>
                  <a:lnTo>
                    <a:pt x="108" y="152"/>
                  </a:lnTo>
                  <a:lnTo>
                    <a:pt x="108" y="154"/>
                  </a:lnTo>
                  <a:lnTo>
                    <a:pt x="108" y="152"/>
                  </a:lnTo>
                  <a:close/>
                  <a:moveTo>
                    <a:pt x="104" y="154"/>
                  </a:moveTo>
                  <a:lnTo>
                    <a:pt x="106" y="154"/>
                  </a:lnTo>
                  <a:lnTo>
                    <a:pt x="104" y="154"/>
                  </a:lnTo>
                  <a:close/>
                  <a:moveTo>
                    <a:pt x="98" y="156"/>
                  </a:moveTo>
                  <a:lnTo>
                    <a:pt x="98" y="158"/>
                  </a:lnTo>
                  <a:lnTo>
                    <a:pt x="96" y="158"/>
                  </a:lnTo>
                  <a:lnTo>
                    <a:pt x="96" y="156"/>
                  </a:lnTo>
                  <a:lnTo>
                    <a:pt x="98" y="156"/>
                  </a:lnTo>
                  <a:close/>
                  <a:moveTo>
                    <a:pt x="106" y="154"/>
                  </a:moveTo>
                  <a:lnTo>
                    <a:pt x="104" y="154"/>
                  </a:lnTo>
                  <a:lnTo>
                    <a:pt x="106" y="154"/>
                  </a:lnTo>
                  <a:close/>
                  <a:moveTo>
                    <a:pt x="92" y="158"/>
                  </a:moveTo>
                  <a:lnTo>
                    <a:pt x="92" y="160"/>
                  </a:lnTo>
                  <a:lnTo>
                    <a:pt x="92" y="158"/>
                  </a:lnTo>
                  <a:close/>
                  <a:moveTo>
                    <a:pt x="96" y="158"/>
                  </a:moveTo>
                  <a:lnTo>
                    <a:pt x="96" y="156"/>
                  </a:lnTo>
                  <a:lnTo>
                    <a:pt x="96" y="158"/>
                  </a:lnTo>
                  <a:close/>
                  <a:moveTo>
                    <a:pt x="94" y="158"/>
                  </a:moveTo>
                  <a:lnTo>
                    <a:pt x="94" y="156"/>
                  </a:lnTo>
                  <a:lnTo>
                    <a:pt x="94" y="158"/>
                  </a:lnTo>
                  <a:close/>
                  <a:moveTo>
                    <a:pt x="104" y="154"/>
                  </a:moveTo>
                  <a:lnTo>
                    <a:pt x="104" y="152"/>
                  </a:lnTo>
                  <a:lnTo>
                    <a:pt x="104" y="154"/>
                  </a:lnTo>
                  <a:lnTo>
                    <a:pt x="104" y="152"/>
                  </a:lnTo>
                  <a:lnTo>
                    <a:pt x="104" y="154"/>
                  </a:lnTo>
                  <a:close/>
                  <a:moveTo>
                    <a:pt x="108" y="152"/>
                  </a:moveTo>
                  <a:lnTo>
                    <a:pt x="106" y="152"/>
                  </a:lnTo>
                  <a:lnTo>
                    <a:pt x="108" y="152"/>
                  </a:lnTo>
                  <a:close/>
                  <a:moveTo>
                    <a:pt x="108" y="152"/>
                  </a:moveTo>
                  <a:lnTo>
                    <a:pt x="108" y="150"/>
                  </a:lnTo>
                  <a:lnTo>
                    <a:pt x="108" y="152"/>
                  </a:lnTo>
                  <a:close/>
                  <a:moveTo>
                    <a:pt x="116" y="148"/>
                  </a:moveTo>
                  <a:lnTo>
                    <a:pt x="116" y="150"/>
                  </a:lnTo>
                  <a:lnTo>
                    <a:pt x="116" y="148"/>
                  </a:lnTo>
                  <a:lnTo>
                    <a:pt x="116" y="150"/>
                  </a:lnTo>
                  <a:lnTo>
                    <a:pt x="116" y="148"/>
                  </a:lnTo>
                  <a:close/>
                  <a:moveTo>
                    <a:pt x="116" y="148"/>
                  </a:moveTo>
                  <a:lnTo>
                    <a:pt x="118" y="148"/>
                  </a:lnTo>
                  <a:lnTo>
                    <a:pt x="116" y="148"/>
                  </a:lnTo>
                  <a:close/>
                  <a:moveTo>
                    <a:pt x="90" y="158"/>
                  </a:moveTo>
                  <a:lnTo>
                    <a:pt x="92" y="158"/>
                  </a:lnTo>
                  <a:lnTo>
                    <a:pt x="90" y="158"/>
                  </a:lnTo>
                  <a:close/>
                  <a:moveTo>
                    <a:pt x="92" y="156"/>
                  </a:moveTo>
                  <a:lnTo>
                    <a:pt x="92" y="158"/>
                  </a:lnTo>
                  <a:lnTo>
                    <a:pt x="92" y="156"/>
                  </a:lnTo>
                  <a:close/>
                  <a:moveTo>
                    <a:pt x="92" y="158"/>
                  </a:moveTo>
                  <a:lnTo>
                    <a:pt x="90" y="158"/>
                  </a:lnTo>
                  <a:lnTo>
                    <a:pt x="90" y="156"/>
                  </a:lnTo>
                  <a:lnTo>
                    <a:pt x="92" y="156"/>
                  </a:lnTo>
                  <a:lnTo>
                    <a:pt x="92" y="158"/>
                  </a:lnTo>
                  <a:close/>
                  <a:moveTo>
                    <a:pt x="116" y="148"/>
                  </a:moveTo>
                  <a:lnTo>
                    <a:pt x="114" y="148"/>
                  </a:lnTo>
                  <a:lnTo>
                    <a:pt x="116" y="148"/>
                  </a:lnTo>
                  <a:close/>
                  <a:moveTo>
                    <a:pt x="96" y="154"/>
                  </a:moveTo>
                  <a:lnTo>
                    <a:pt x="94" y="154"/>
                  </a:lnTo>
                  <a:lnTo>
                    <a:pt x="96" y="154"/>
                  </a:lnTo>
                  <a:close/>
                  <a:moveTo>
                    <a:pt x="110" y="150"/>
                  </a:moveTo>
                  <a:lnTo>
                    <a:pt x="108" y="150"/>
                  </a:lnTo>
                  <a:lnTo>
                    <a:pt x="108" y="148"/>
                  </a:lnTo>
                  <a:lnTo>
                    <a:pt x="108" y="150"/>
                  </a:lnTo>
                  <a:lnTo>
                    <a:pt x="110" y="150"/>
                  </a:lnTo>
                  <a:close/>
                  <a:moveTo>
                    <a:pt x="96" y="152"/>
                  </a:moveTo>
                  <a:lnTo>
                    <a:pt x="96" y="154"/>
                  </a:lnTo>
                  <a:lnTo>
                    <a:pt x="96" y="152"/>
                  </a:lnTo>
                  <a:close/>
                  <a:moveTo>
                    <a:pt x="98" y="152"/>
                  </a:moveTo>
                  <a:lnTo>
                    <a:pt x="100" y="152"/>
                  </a:lnTo>
                  <a:lnTo>
                    <a:pt x="100" y="154"/>
                  </a:lnTo>
                  <a:lnTo>
                    <a:pt x="100" y="152"/>
                  </a:lnTo>
                  <a:lnTo>
                    <a:pt x="100" y="154"/>
                  </a:lnTo>
                  <a:lnTo>
                    <a:pt x="100" y="152"/>
                  </a:lnTo>
                  <a:lnTo>
                    <a:pt x="100" y="154"/>
                  </a:lnTo>
                  <a:lnTo>
                    <a:pt x="102" y="154"/>
                  </a:lnTo>
                  <a:lnTo>
                    <a:pt x="104" y="154"/>
                  </a:lnTo>
                  <a:lnTo>
                    <a:pt x="102" y="154"/>
                  </a:lnTo>
                  <a:lnTo>
                    <a:pt x="104" y="154"/>
                  </a:lnTo>
                  <a:lnTo>
                    <a:pt x="104" y="156"/>
                  </a:lnTo>
                  <a:lnTo>
                    <a:pt x="102" y="156"/>
                  </a:lnTo>
                  <a:lnTo>
                    <a:pt x="104" y="156"/>
                  </a:lnTo>
                  <a:lnTo>
                    <a:pt x="104" y="154"/>
                  </a:lnTo>
                  <a:lnTo>
                    <a:pt x="106" y="154"/>
                  </a:lnTo>
                  <a:lnTo>
                    <a:pt x="106" y="156"/>
                  </a:lnTo>
                  <a:lnTo>
                    <a:pt x="104" y="156"/>
                  </a:lnTo>
                  <a:lnTo>
                    <a:pt x="106" y="156"/>
                  </a:lnTo>
                  <a:lnTo>
                    <a:pt x="104" y="156"/>
                  </a:lnTo>
                  <a:lnTo>
                    <a:pt x="102" y="156"/>
                  </a:lnTo>
                  <a:lnTo>
                    <a:pt x="104" y="156"/>
                  </a:lnTo>
                  <a:lnTo>
                    <a:pt x="102" y="156"/>
                  </a:lnTo>
                  <a:lnTo>
                    <a:pt x="102" y="158"/>
                  </a:lnTo>
                  <a:lnTo>
                    <a:pt x="104" y="158"/>
                  </a:lnTo>
                  <a:lnTo>
                    <a:pt x="104" y="160"/>
                  </a:lnTo>
                  <a:lnTo>
                    <a:pt x="102" y="160"/>
                  </a:lnTo>
                  <a:lnTo>
                    <a:pt x="102" y="158"/>
                  </a:lnTo>
                  <a:lnTo>
                    <a:pt x="102" y="160"/>
                  </a:lnTo>
                  <a:lnTo>
                    <a:pt x="102" y="158"/>
                  </a:lnTo>
                  <a:lnTo>
                    <a:pt x="102" y="160"/>
                  </a:lnTo>
                  <a:lnTo>
                    <a:pt x="102" y="158"/>
                  </a:lnTo>
                  <a:lnTo>
                    <a:pt x="102" y="160"/>
                  </a:lnTo>
                  <a:lnTo>
                    <a:pt x="100" y="160"/>
                  </a:lnTo>
                  <a:lnTo>
                    <a:pt x="100" y="158"/>
                  </a:lnTo>
                  <a:lnTo>
                    <a:pt x="102" y="158"/>
                  </a:lnTo>
                  <a:lnTo>
                    <a:pt x="100" y="158"/>
                  </a:lnTo>
                  <a:lnTo>
                    <a:pt x="100" y="156"/>
                  </a:lnTo>
                  <a:lnTo>
                    <a:pt x="102" y="156"/>
                  </a:lnTo>
                  <a:lnTo>
                    <a:pt x="100" y="156"/>
                  </a:lnTo>
                  <a:lnTo>
                    <a:pt x="100" y="154"/>
                  </a:lnTo>
                  <a:lnTo>
                    <a:pt x="98" y="154"/>
                  </a:lnTo>
                  <a:lnTo>
                    <a:pt x="98" y="152"/>
                  </a:lnTo>
                  <a:lnTo>
                    <a:pt x="98" y="154"/>
                  </a:lnTo>
                  <a:lnTo>
                    <a:pt x="98" y="152"/>
                  </a:lnTo>
                  <a:close/>
                  <a:moveTo>
                    <a:pt x="104" y="158"/>
                  </a:moveTo>
                  <a:lnTo>
                    <a:pt x="102" y="158"/>
                  </a:lnTo>
                  <a:lnTo>
                    <a:pt x="104" y="158"/>
                  </a:lnTo>
                  <a:close/>
                  <a:moveTo>
                    <a:pt x="98" y="152"/>
                  </a:moveTo>
                  <a:lnTo>
                    <a:pt x="98" y="150"/>
                  </a:lnTo>
                  <a:lnTo>
                    <a:pt x="98" y="152"/>
                  </a:lnTo>
                  <a:lnTo>
                    <a:pt x="98" y="150"/>
                  </a:lnTo>
                  <a:lnTo>
                    <a:pt x="98" y="152"/>
                  </a:lnTo>
                  <a:close/>
                  <a:moveTo>
                    <a:pt x="122" y="142"/>
                  </a:moveTo>
                  <a:lnTo>
                    <a:pt x="120" y="142"/>
                  </a:lnTo>
                  <a:lnTo>
                    <a:pt x="122" y="142"/>
                  </a:lnTo>
                  <a:close/>
                  <a:moveTo>
                    <a:pt x="120" y="140"/>
                  </a:moveTo>
                  <a:lnTo>
                    <a:pt x="120" y="142"/>
                  </a:lnTo>
                  <a:lnTo>
                    <a:pt x="120" y="140"/>
                  </a:lnTo>
                  <a:close/>
                  <a:moveTo>
                    <a:pt x="120" y="140"/>
                  </a:moveTo>
                  <a:lnTo>
                    <a:pt x="118" y="140"/>
                  </a:lnTo>
                  <a:lnTo>
                    <a:pt x="120" y="140"/>
                  </a:lnTo>
                  <a:close/>
                  <a:moveTo>
                    <a:pt x="108" y="146"/>
                  </a:moveTo>
                  <a:lnTo>
                    <a:pt x="108" y="148"/>
                  </a:lnTo>
                  <a:lnTo>
                    <a:pt x="108" y="146"/>
                  </a:lnTo>
                  <a:lnTo>
                    <a:pt x="108" y="148"/>
                  </a:lnTo>
                  <a:lnTo>
                    <a:pt x="108" y="146"/>
                  </a:lnTo>
                  <a:lnTo>
                    <a:pt x="108" y="144"/>
                  </a:lnTo>
                  <a:lnTo>
                    <a:pt x="108" y="146"/>
                  </a:lnTo>
                  <a:close/>
                  <a:moveTo>
                    <a:pt x="106" y="146"/>
                  </a:moveTo>
                  <a:lnTo>
                    <a:pt x="106" y="144"/>
                  </a:lnTo>
                  <a:lnTo>
                    <a:pt x="106" y="146"/>
                  </a:lnTo>
                  <a:close/>
                  <a:moveTo>
                    <a:pt x="106" y="148"/>
                  </a:moveTo>
                  <a:lnTo>
                    <a:pt x="104" y="148"/>
                  </a:lnTo>
                  <a:lnTo>
                    <a:pt x="104" y="146"/>
                  </a:lnTo>
                  <a:lnTo>
                    <a:pt x="106" y="146"/>
                  </a:lnTo>
                  <a:lnTo>
                    <a:pt x="106" y="148"/>
                  </a:lnTo>
                  <a:close/>
                  <a:moveTo>
                    <a:pt x="92" y="150"/>
                  </a:moveTo>
                  <a:lnTo>
                    <a:pt x="92" y="152"/>
                  </a:lnTo>
                  <a:lnTo>
                    <a:pt x="92" y="154"/>
                  </a:lnTo>
                  <a:lnTo>
                    <a:pt x="92" y="156"/>
                  </a:lnTo>
                  <a:lnTo>
                    <a:pt x="92" y="158"/>
                  </a:lnTo>
                  <a:lnTo>
                    <a:pt x="92" y="156"/>
                  </a:lnTo>
                  <a:lnTo>
                    <a:pt x="90" y="156"/>
                  </a:lnTo>
                  <a:lnTo>
                    <a:pt x="92" y="156"/>
                  </a:lnTo>
                  <a:lnTo>
                    <a:pt x="90" y="156"/>
                  </a:lnTo>
                  <a:lnTo>
                    <a:pt x="92" y="156"/>
                  </a:lnTo>
                  <a:lnTo>
                    <a:pt x="90" y="156"/>
                  </a:lnTo>
                  <a:lnTo>
                    <a:pt x="92" y="156"/>
                  </a:lnTo>
                  <a:lnTo>
                    <a:pt x="90" y="156"/>
                  </a:lnTo>
                  <a:lnTo>
                    <a:pt x="92" y="156"/>
                  </a:lnTo>
                  <a:lnTo>
                    <a:pt x="92" y="154"/>
                  </a:lnTo>
                  <a:lnTo>
                    <a:pt x="90" y="154"/>
                  </a:lnTo>
                  <a:lnTo>
                    <a:pt x="92" y="154"/>
                  </a:lnTo>
                  <a:lnTo>
                    <a:pt x="90" y="154"/>
                  </a:lnTo>
                  <a:lnTo>
                    <a:pt x="90" y="152"/>
                  </a:lnTo>
                  <a:lnTo>
                    <a:pt x="90" y="150"/>
                  </a:lnTo>
                  <a:lnTo>
                    <a:pt x="90" y="152"/>
                  </a:lnTo>
                  <a:lnTo>
                    <a:pt x="90" y="150"/>
                  </a:lnTo>
                  <a:lnTo>
                    <a:pt x="92" y="150"/>
                  </a:lnTo>
                  <a:lnTo>
                    <a:pt x="90" y="150"/>
                  </a:lnTo>
                  <a:lnTo>
                    <a:pt x="92" y="150"/>
                  </a:lnTo>
                  <a:close/>
                  <a:moveTo>
                    <a:pt x="124" y="138"/>
                  </a:moveTo>
                  <a:lnTo>
                    <a:pt x="124" y="138"/>
                  </a:lnTo>
                  <a:lnTo>
                    <a:pt x="124" y="138"/>
                  </a:lnTo>
                  <a:close/>
                  <a:moveTo>
                    <a:pt x="116" y="140"/>
                  </a:moveTo>
                  <a:lnTo>
                    <a:pt x="114" y="140"/>
                  </a:lnTo>
                  <a:lnTo>
                    <a:pt x="116" y="140"/>
                  </a:lnTo>
                  <a:close/>
                  <a:moveTo>
                    <a:pt x="126" y="138"/>
                  </a:moveTo>
                  <a:lnTo>
                    <a:pt x="124" y="138"/>
                  </a:lnTo>
                  <a:lnTo>
                    <a:pt x="126" y="138"/>
                  </a:lnTo>
                  <a:close/>
                  <a:moveTo>
                    <a:pt x="96" y="148"/>
                  </a:moveTo>
                  <a:lnTo>
                    <a:pt x="96" y="146"/>
                  </a:lnTo>
                  <a:lnTo>
                    <a:pt x="96" y="148"/>
                  </a:lnTo>
                  <a:close/>
                  <a:moveTo>
                    <a:pt x="96" y="146"/>
                  </a:moveTo>
                  <a:lnTo>
                    <a:pt x="96" y="148"/>
                  </a:lnTo>
                  <a:lnTo>
                    <a:pt x="96" y="146"/>
                  </a:lnTo>
                  <a:close/>
                  <a:moveTo>
                    <a:pt x="118" y="138"/>
                  </a:moveTo>
                  <a:lnTo>
                    <a:pt x="118" y="140"/>
                  </a:lnTo>
                  <a:lnTo>
                    <a:pt x="118" y="138"/>
                  </a:lnTo>
                  <a:close/>
                  <a:moveTo>
                    <a:pt x="96" y="146"/>
                  </a:moveTo>
                  <a:lnTo>
                    <a:pt x="94" y="146"/>
                  </a:lnTo>
                  <a:lnTo>
                    <a:pt x="96" y="146"/>
                  </a:lnTo>
                  <a:close/>
                  <a:moveTo>
                    <a:pt x="110" y="140"/>
                  </a:moveTo>
                  <a:lnTo>
                    <a:pt x="112" y="140"/>
                  </a:lnTo>
                  <a:lnTo>
                    <a:pt x="114" y="140"/>
                  </a:lnTo>
                  <a:lnTo>
                    <a:pt x="114" y="142"/>
                  </a:lnTo>
                  <a:lnTo>
                    <a:pt x="114" y="140"/>
                  </a:lnTo>
                  <a:lnTo>
                    <a:pt x="116" y="140"/>
                  </a:lnTo>
                  <a:lnTo>
                    <a:pt x="116" y="142"/>
                  </a:lnTo>
                  <a:lnTo>
                    <a:pt x="118" y="142"/>
                  </a:lnTo>
                  <a:lnTo>
                    <a:pt x="118" y="144"/>
                  </a:lnTo>
                  <a:lnTo>
                    <a:pt x="116" y="144"/>
                  </a:lnTo>
                  <a:lnTo>
                    <a:pt x="118" y="144"/>
                  </a:lnTo>
                  <a:lnTo>
                    <a:pt x="118" y="146"/>
                  </a:lnTo>
                  <a:lnTo>
                    <a:pt x="116" y="146"/>
                  </a:lnTo>
                  <a:lnTo>
                    <a:pt x="114" y="146"/>
                  </a:lnTo>
                  <a:lnTo>
                    <a:pt x="114" y="148"/>
                  </a:lnTo>
                  <a:lnTo>
                    <a:pt x="114" y="146"/>
                  </a:lnTo>
                  <a:lnTo>
                    <a:pt x="112" y="146"/>
                  </a:lnTo>
                  <a:lnTo>
                    <a:pt x="112" y="144"/>
                  </a:lnTo>
                  <a:lnTo>
                    <a:pt x="112" y="146"/>
                  </a:lnTo>
                  <a:lnTo>
                    <a:pt x="114" y="146"/>
                  </a:lnTo>
                  <a:lnTo>
                    <a:pt x="114" y="148"/>
                  </a:lnTo>
                  <a:lnTo>
                    <a:pt x="112" y="148"/>
                  </a:lnTo>
                  <a:lnTo>
                    <a:pt x="114" y="148"/>
                  </a:lnTo>
                  <a:lnTo>
                    <a:pt x="112" y="148"/>
                  </a:lnTo>
                  <a:lnTo>
                    <a:pt x="114" y="148"/>
                  </a:lnTo>
                  <a:lnTo>
                    <a:pt x="114" y="150"/>
                  </a:lnTo>
                  <a:lnTo>
                    <a:pt x="114" y="152"/>
                  </a:lnTo>
                  <a:lnTo>
                    <a:pt x="114" y="150"/>
                  </a:lnTo>
                  <a:lnTo>
                    <a:pt x="112" y="150"/>
                  </a:lnTo>
                  <a:lnTo>
                    <a:pt x="114" y="150"/>
                  </a:lnTo>
                  <a:lnTo>
                    <a:pt x="112" y="150"/>
                  </a:lnTo>
                  <a:lnTo>
                    <a:pt x="112" y="152"/>
                  </a:lnTo>
                  <a:lnTo>
                    <a:pt x="112" y="150"/>
                  </a:lnTo>
                  <a:lnTo>
                    <a:pt x="110" y="150"/>
                  </a:lnTo>
                  <a:lnTo>
                    <a:pt x="110" y="148"/>
                  </a:lnTo>
                  <a:lnTo>
                    <a:pt x="110" y="150"/>
                  </a:lnTo>
                  <a:lnTo>
                    <a:pt x="110" y="148"/>
                  </a:lnTo>
                  <a:lnTo>
                    <a:pt x="108" y="148"/>
                  </a:lnTo>
                  <a:lnTo>
                    <a:pt x="110" y="148"/>
                  </a:lnTo>
                  <a:lnTo>
                    <a:pt x="108" y="148"/>
                  </a:lnTo>
                  <a:lnTo>
                    <a:pt x="110" y="148"/>
                  </a:lnTo>
                  <a:lnTo>
                    <a:pt x="110" y="146"/>
                  </a:lnTo>
                  <a:lnTo>
                    <a:pt x="108" y="146"/>
                  </a:lnTo>
                  <a:lnTo>
                    <a:pt x="110" y="146"/>
                  </a:lnTo>
                  <a:lnTo>
                    <a:pt x="108" y="146"/>
                  </a:lnTo>
                  <a:lnTo>
                    <a:pt x="108" y="144"/>
                  </a:lnTo>
                  <a:lnTo>
                    <a:pt x="108" y="146"/>
                  </a:lnTo>
                  <a:lnTo>
                    <a:pt x="110" y="146"/>
                  </a:lnTo>
                  <a:lnTo>
                    <a:pt x="110" y="144"/>
                  </a:lnTo>
                  <a:lnTo>
                    <a:pt x="108" y="144"/>
                  </a:lnTo>
                  <a:lnTo>
                    <a:pt x="110" y="144"/>
                  </a:lnTo>
                  <a:lnTo>
                    <a:pt x="110" y="142"/>
                  </a:lnTo>
                  <a:lnTo>
                    <a:pt x="108" y="142"/>
                  </a:lnTo>
                  <a:lnTo>
                    <a:pt x="110" y="142"/>
                  </a:lnTo>
                  <a:lnTo>
                    <a:pt x="110" y="140"/>
                  </a:lnTo>
                  <a:close/>
                  <a:moveTo>
                    <a:pt x="126" y="136"/>
                  </a:moveTo>
                  <a:lnTo>
                    <a:pt x="126" y="134"/>
                  </a:lnTo>
                  <a:lnTo>
                    <a:pt x="126" y="136"/>
                  </a:lnTo>
                  <a:close/>
                  <a:moveTo>
                    <a:pt x="116" y="138"/>
                  </a:moveTo>
                  <a:lnTo>
                    <a:pt x="116" y="138"/>
                  </a:lnTo>
                  <a:lnTo>
                    <a:pt x="118" y="138"/>
                  </a:lnTo>
                  <a:lnTo>
                    <a:pt x="116" y="138"/>
                  </a:lnTo>
                  <a:lnTo>
                    <a:pt x="118" y="138"/>
                  </a:lnTo>
                  <a:lnTo>
                    <a:pt x="116" y="138"/>
                  </a:lnTo>
                  <a:lnTo>
                    <a:pt x="116" y="138"/>
                  </a:lnTo>
                  <a:close/>
                  <a:moveTo>
                    <a:pt x="124" y="134"/>
                  </a:moveTo>
                  <a:lnTo>
                    <a:pt x="124" y="136"/>
                  </a:lnTo>
                  <a:lnTo>
                    <a:pt x="124" y="134"/>
                  </a:lnTo>
                  <a:close/>
                  <a:moveTo>
                    <a:pt x="124" y="136"/>
                  </a:moveTo>
                  <a:lnTo>
                    <a:pt x="124" y="134"/>
                  </a:lnTo>
                  <a:lnTo>
                    <a:pt x="124" y="136"/>
                  </a:lnTo>
                  <a:close/>
                  <a:moveTo>
                    <a:pt x="124" y="134"/>
                  </a:moveTo>
                  <a:lnTo>
                    <a:pt x="124" y="136"/>
                  </a:lnTo>
                  <a:lnTo>
                    <a:pt x="124" y="134"/>
                  </a:lnTo>
                  <a:close/>
                  <a:moveTo>
                    <a:pt x="124" y="136"/>
                  </a:moveTo>
                  <a:lnTo>
                    <a:pt x="126" y="136"/>
                  </a:lnTo>
                  <a:lnTo>
                    <a:pt x="124" y="136"/>
                  </a:lnTo>
                  <a:lnTo>
                    <a:pt x="124" y="134"/>
                  </a:lnTo>
                  <a:lnTo>
                    <a:pt x="124" y="136"/>
                  </a:lnTo>
                  <a:close/>
                  <a:moveTo>
                    <a:pt x="132" y="130"/>
                  </a:moveTo>
                  <a:lnTo>
                    <a:pt x="132" y="132"/>
                  </a:lnTo>
                  <a:lnTo>
                    <a:pt x="132" y="130"/>
                  </a:lnTo>
                  <a:close/>
                  <a:moveTo>
                    <a:pt x="126" y="134"/>
                  </a:moveTo>
                  <a:lnTo>
                    <a:pt x="124" y="134"/>
                  </a:lnTo>
                  <a:lnTo>
                    <a:pt x="126" y="134"/>
                  </a:lnTo>
                  <a:close/>
                  <a:moveTo>
                    <a:pt x="114" y="138"/>
                  </a:moveTo>
                  <a:lnTo>
                    <a:pt x="116" y="138"/>
                  </a:lnTo>
                  <a:lnTo>
                    <a:pt x="114" y="138"/>
                  </a:lnTo>
                  <a:close/>
                  <a:moveTo>
                    <a:pt x="118" y="138"/>
                  </a:moveTo>
                  <a:lnTo>
                    <a:pt x="116" y="138"/>
                  </a:lnTo>
                  <a:lnTo>
                    <a:pt x="118" y="138"/>
                  </a:lnTo>
                  <a:close/>
                  <a:moveTo>
                    <a:pt x="130" y="132"/>
                  </a:moveTo>
                  <a:lnTo>
                    <a:pt x="130" y="130"/>
                  </a:lnTo>
                  <a:lnTo>
                    <a:pt x="130" y="132"/>
                  </a:lnTo>
                  <a:close/>
                  <a:moveTo>
                    <a:pt x="130" y="132"/>
                  </a:moveTo>
                  <a:lnTo>
                    <a:pt x="130" y="130"/>
                  </a:lnTo>
                  <a:lnTo>
                    <a:pt x="130" y="132"/>
                  </a:lnTo>
                  <a:close/>
                  <a:moveTo>
                    <a:pt x="130" y="130"/>
                  </a:moveTo>
                  <a:lnTo>
                    <a:pt x="130" y="132"/>
                  </a:lnTo>
                  <a:lnTo>
                    <a:pt x="130" y="130"/>
                  </a:lnTo>
                  <a:close/>
                  <a:moveTo>
                    <a:pt x="130" y="132"/>
                  </a:moveTo>
                  <a:lnTo>
                    <a:pt x="130" y="130"/>
                  </a:lnTo>
                  <a:lnTo>
                    <a:pt x="130" y="132"/>
                  </a:lnTo>
                  <a:close/>
                  <a:moveTo>
                    <a:pt x="134" y="128"/>
                  </a:moveTo>
                  <a:lnTo>
                    <a:pt x="134" y="130"/>
                  </a:lnTo>
                  <a:lnTo>
                    <a:pt x="134" y="128"/>
                  </a:lnTo>
                  <a:close/>
                  <a:moveTo>
                    <a:pt x="124" y="132"/>
                  </a:moveTo>
                  <a:lnTo>
                    <a:pt x="126" y="132"/>
                  </a:lnTo>
                  <a:lnTo>
                    <a:pt x="124" y="132"/>
                  </a:lnTo>
                  <a:lnTo>
                    <a:pt x="124" y="134"/>
                  </a:lnTo>
                  <a:lnTo>
                    <a:pt x="124" y="132"/>
                  </a:lnTo>
                  <a:close/>
                  <a:moveTo>
                    <a:pt x="136" y="128"/>
                  </a:moveTo>
                  <a:lnTo>
                    <a:pt x="134" y="128"/>
                  </a:lnTo>
                  <a:lnTo>
                    <a:pt x="136" y="128"/>
                  </a:lnTo>
                  <a:lnTo>
                    <a:pt x="134" y="128"/>
                  </a:lnTo>
                  <a:lnTo>
                    <a:pt x="136" y="128"/>
                  </a:lnTo>
                  <a:lnTo>
                    <a:pt x="134" y="128"/>
                  </a:lnTo>
                  <a:lnTo>
                    <a:pt x="136" y="128"/>
                  </a:lnTo>
                  <a:close/>
                  <a:moveTo>
                    <a:pt x="136" y="128"/>
                  </a:moveTo>
                  <a:lnTo>
                    <a:pt x="134" y="128"/>
                  </a:lnTo>
                  <a:lnTo>
                    <a:pt x="136" y="128"/>
                  </a:lnTo>
                  <a:close/>
                  <a:moveTo>
                    <a:pt x="130" y="130"/>
                  </a:moveTo>
                  <a:lnTo>
                    <a:pt x="128" y="130"/>
                  </a:lnTo>
                  <a:lnTo>
                    <a:pt x="130" y="130"/>
                  </a:lnTo>
                  <a:close/>
                  <a:moveTo>
                    <a:pt x="126" y="132"/>
                  </a:moveTo>
                  <a:lnTo>
                    <a:pt x="124" y="132"/>
                  </a:lnTo>
                  <a:lnTo>
                    <a:pt x="126" y="132"/>
                  </a:lnTo>
                  <a:lnTo>
                    <a:pt x="124" y="132"/>
                  </a:lnTo>
                  <a:lnTo>
                    <a:pt x="126" y="132"/>
                  </a:lnTo>
                  <a:close/>
                  <a:moveTo>
                    <a:pt x="130" y="128"/>
                  </a:moveTo>
                  <a:lnTo>
                    <a:pt x="132" y="128"/>
                  </a:lnTo>
                  <a:lnTo>
                    <a:pt x="132" y="130"/>
                  </a:lnTo>
                  <a:lnTo>
                    <a:pt x="130" y="130"/>
                  </a:lnTo>
                  <a:lnTo>
                    <a:pt x="130" y="128"/>
                  </a:lnTo>
                  <a:close/>
                  <a:moveTo>
                    <a:pt x="130" y="130"/>
                  </a:moveTo>
                  <a:lnTo>
                    <a:pt x="130" y="128"/>
                  </a:lnTo>
                  <a:lnTo>
                    <a:pt x="130" y="130"/>
                  </a:lnTo>
                  <a:close/>
                  <a:moveTo>
                    <a:pt x="134" y="128"/>
                  </a:moveTo>
                  <a:lnTo>
                    <a:pt x="136" y="128"/>
                  </a:lnTo>
                  <a:lnTo>
                    <a:pt x="134" y="128"/>
                  </a:lnTo>
                  <a:lnTo>
                    <a:pt x="136" y="128"/>
                  </a:lnTo>
                  <a:lnTo>
                    <a:pt x="134" y="128"/>
                  </a:lnTo>
                  <a:close/>
                  <a:moveTo>
                    <a:pt x="134" y="128"/>
                  </a:moveTo>
                  <a:lnTo>
                    <a:pt x="132" y="128"/>
                  </a:lnTo>
                  <a:lnTo>
                    <a:pt x="134" y="128"/>
                  </a:lnTo>
                  <a:lnTo>
                    <a:pt x="132" y="128"/>
                  </a:lnTo>
                  <a:lnTo>
                    <a:pt x="134" y="128"/>
                  </a:lnTo>
                  <a:lnTo>
                    <a:pt x="134" y="130"/>
                  </a:lnTo>
                  <a:lnTo>
                    <a:pt x="134" y="132"/>
                  </a:lnTo>
                  <a:lnTo>
                    <a:pt x="134" y="130"/>
                  </a:lnTo>
                  <a:lnTo>
                    <a:pt x="132" y="130"/>
                  </a:lnTo>
                  <a:lnTo>
                    <a:pt x="132" y="128"/>
                  </a:lnTo>
                  <a:lnTo>
                    <a:pt x="134" y="128"/>
                  </a:lnTo>
                  <a:close/>
                  <a:moveTo>
                    <a:pt x="130" y="128"/>
                  </a:moveTo>
                  <a:lnTo>
                    <a:pt x="130" y="130"/>
                  </a:lnTo>
                  <a:lnTo>
                    <a:pt x="130" y="128"/>
                  </a:lnTo>
                  <a:close/>
                  <a:moveTo>
                    <a:pt x="126" y="132"/>
                  </a:moveTo>
                  <a:lnTo>
                    <a:pt x="126" y="130"/>
                  </a:lnTo>
                  <a:lnTo>
                    <a:pt x="126" y="132"/>
                  </a:lnTo>
                  <a:close/>
                  <a:moveTo>
                    <a:pt x="134" y="128"/>
                  </a:moveTo>
                  <a:lnTo>
                    <a:pt x="132" y="128"/>
                  </a:lnTo>
                  <a:lnTo>
                    <a:pt x="134" y="128"/>
                  </a:lnTo>
                  <a:close/>
                  <a:moveTo>
                    <a:pt x="132" y="128"/>
                  </a:moveTo>
                  <a:lnTo>
                    <a:pt x="132" y="130"/>
                  </a:lnTo>
                  <a:lnTo>
                    <a:pt x="132" y="128"/>
                  </a:lnTo>
                  <a:close/>
                  <a:moveTo>
                    <a:pt x="124" y="130"/>
                  </a:moveTo>
                  <a:lnTo>
                    <a:pt x="124" y="132"/>
                  </a:lnTo>
                  <a:lnTo>
                    <a:pt x="124" y="130"/>
                  </a:lnTo>
                  <a:lnTo>
                    <a:pt x="124" y="132"/>
                  </a:lnTo>
                  <a:lnTo>
                    <a:pt x="124" y="130"/>
                  </a:lnTo>
                  <a:close/>
                  <a:moveTo>
                    <a:pt x="134" y="124"/>
                  </a:moveTo>
                  <a:lnTo>
                    <a:pt x="134" y="126"/>
                  </a:lnTo>
                  <a:lnTo>
                    <a:pt x="134" y="124"/>
                  </a:lnTo>
                  <a:close/>
                  <a:moveTo>
                    <a:pt x="134" y="124"/>
                  </a:moveTo>
                  <a:lnTo>
                    <a:pt x="136" y="124"/>
                  </a:lnTo>
                  <a:lnTo>
                    <a:pt x="134" y="124"/>
                  </a:lnTo>
                  <a:lnTo>
                    <a:pt x="136" y="124"/>
                  </a:lnTo>
                  <a:lnTo>
                    <a:pt x="134" y="124"/>
                  </a:lnTo>
                  <a:close/>
                  <a:moveTo>
                    <a:pt x="92" y="140"/>
                  </a:moveTo>
                  <a:lnTo>
                    <a:pt x="92" y="142"/>
                  </a:lnTo>
                  <a:lnTo>
                    <a:pt x="92" y="140"/>
                  </a:lnTo>
                  <a:lnTo>
                    <a:pt x="92" y="142"/>
                  </a:lnTo>
                  <a:lnTo>
                    <a:pt x="92" y="144"/>
                  </a:lnTo>
                  <a:lnTo>
                    <a:pt x="92" y="142"/>
                  </a:lnTo>
                  <a:lnTo>
                    <a:pt x="90" y="142"/>
                  </a:lnTo>
                  <a:lnTo>
                    <a:pt x="90" y="140"/>
                  </a:lnTo>
                  <a:lnTo>
                    <a:pt x="92" y="140"/>
                  </a:lnTo>
                  <a:close/>
                  <a:moveTo>
                    <a:pt x="136" y="124"/>
                  </a:moveTo>
                  <a:lnTo>
                    <a:pt x="134" y="124"/>
                  </a:lnTo>
                  <a:lnTo>
                    <a:pt x="136" y="124"/>
                  </a:lnTo>
                  <a:lnTo>
                    <a:pt x="134" y="124"/>
                  </a:lnTo>
                  <a:lnTo>
                    <a:pt x="136" y="124"/>
                  </a:lnTo>
                  <a:close/>
                  <a:moveTo>
                    <a:pt x="134" y="122"/>
                  </a:moveTo>
                  <a:lnTo>
                    <a:pt x="134" y="124"/>
                  </a:lnTo>
                  <a:lnTo>
                    <a:pt x="136" y="124"/>
                  </a:lnTo>
                  <a:lnTo>
                    <a:pt x="134" y="124"/>
                  </a:lnTo>
                  <a:lnTo>
                    <a:pt x="134" y="122"/>
                  </a:lnTo>
                  <a:close/>
                  <a:moveTo>
                    <a:pt x="138" y="122"/>
                  </a:moveTo>
                  <a:lnTo>
                    <a:pt x="138" y="120"/>
                  </a:lnTo>
                  <a:lnTo>
                    <a:pt x="138" y="122"/>
                  </a:lnTo>
                  <a:close/>
                  <a:moveTo>
                    <a:pt x="138" y="122"/>
                  </a:moveTo>
                  <a:lnTo>
                    <a:pt x="138" y="120"/>
                  </a:lnTo>
                  <a:lnTo>
                    <a:pt x="138" y="122"/>
                  </a:lnTo>
                  <a:close/>
                  <a:moveTo>
                    <a:pt x="140" y="118"/>
                  </a:moveTo>
                  <a:lnTo>
                    <a:pt x="142" y="118"/>
                  </a:lnTo>
                  <a:lnTo>
                    <a:pt x="142" y="120"/>
                  </a:lnTo>
                  <a:lnTo>
                    <a:pt x="140" y="120"/>
                  </a:lnTo>
                  <a:lnTo>
                    <a:pt x="140" y="118"/>
                  </a:lnTo>
                  <a:close/>
                  <a:moveTo>
                    <a:pt x="138" y="118"/>
                  </a:moveTo>
                  <a:lnTo>
                    <a:pt x="138" y="116"/>
                  </a:lnTo>
                  <a:lnTo>
                    <a:pt x="138" y="118"/>
                  </a:lnTo>
                  <a:close/>
                  <a:moveTo>
                    <a:pt x="144" y="104"/>
                  </a:moveTo>
                  <a:lnTo>
                    <a:pt x="142" y="104"/>
                  </a:lnTo>
                  <a:lnTo>
                    <a:pt x="144" y="104"/>
                  </a:lnTo>
                  <a:close/>
                  <a:moveTo>
                    <a:pt x="144" y="104"/>
                  </a:moveTo>
                  <a:lnTo>
                    <a:pt x="142" y="104"/>
                  </a:lnTo>
                  <a:lnTo>
                    <a:pt x="144" y="104"/>
                  </a:lnTo>
                  <a:close/>
                  <a:moveTo>
                    <a:pt x="144" y="104"/>
                  </a:moveTo>
                  <a:lnTo>
                    <a:pt x="146" y="104"/>
                  </a:lnTo>
                  <a:lnTo>
                    <a:pt x="144" y="104"/>
                  </a:lnTo>
                  <a:close/>
                  <a:moveTo>
                    <a:pt x="140" y="104"/>
                  </a:moveTo>
                  <a:lnTo>
                    <a:pt x="142" y="104"/>
                  </a:lnTo>
                  <a:lnTo>
                    <a:pt x="140" y="104"/>
                  </a:lnTo>
                  <a:close/>
                  <a:moveTo>
                    <a:pt x="142" y="104"/>
                  </a:moveTo>
                  <a:lnTo>
                    <a:pt x="140" y="104"/>
                  </a:lnTo>
                  <a:lnTo>
                    <a:pt x="142" y="104"/>
                  </a:lnTo>
                  <a:close/>
                  <a:moveTo>
                    <a:pt x="142" y="102"/>
                  </a:moveTo>
                  <a:lnTo>
                    <a:pt x="142" y="104"/>
                  </a:lnTo>
                  <a:lnTo>
                    <a:pt x="142" y="102"/>
                  </a:lnTo>
                  <a:close/>
                  <a:moveTo>
                    <a:pt x="144" y="116"/>
                  </a:moveTo>
                  <a:lnTo>
                    <a:pt x="142" y="116"/>
                  </a:lnTo>
                  <a:lnTo>
                    <a:pt x="142" y="118"/>
                  </a:lnTo>
                  <a:lnTo>
                    <a:pt x="140" y="118"/>
                  </a:lnTo>
                  <a:lnTo>
                    <a:pt x="140" y="116"/>
                  </a:lnTo>
                  <a:lnTo>
                    <a:pt x="140" y="118"/>
                  </a:lnTo>
                  <a:lnTo>
                    <a:pt x="140" y="116"/>
                  </a:lnTo>
                  <a:lnTo>
                    <a:pt x="138" y="116"/>
                  </a:lnTo>
                  <a:lnTo>
                    <a:pt x="140" y="116"/>
                  </a:lnTo>
                  <a:lnTo>
                    <a:pt x="140" y="114"/>
                  </a:lnTo>
                  <a:lnTo>
                    <a:pt x="138" y="114"/>
                  </a:lnTo>
                  <a:lnTo>
                    <a:pt x="138" y="116"/>
                  </a:lnTo>
                  <a:lnTo>
                    <a:pt x="136" y="116"/>
                  </a:lnTo>
                  <a:lnTo>
                    <a:pt x="138" y="118"/>
                  </a:lnTo>
                  <a:lnTo>
                    <a:pt x="138" y="120"/>
                  </a:lnTo>
                  <a:lnTo>
                    <a:pt x="138" y="122"/>
                  </a:lnTo>
                  <a:lnTo>
                    <a:pt x="136" y="122"/>
                  </a:lnTo>
                  <a:lnTo>
                    <a:pt x="136" y="120"/>
                  </a:lnTo>
                  <a:lnTo>
                    <a:pt x="136" y="122"/>
                  </a:lnTo>
                  <a:lnTo>
                    <a:pt x="134" y="122"/>
                  </a:lnTo>
                  <a:lnTo>
                    <a:pt x="134" y="120"/>
                  </a:lnTo>
                  <a:lnTo>
                    <a:pt x="132" y="120"/>
                  </a:lnTo>
                  <a:lnTo>
                    <a:pt x="134" y="120"/>
                  </a:lnTo>
                  <a:lnTo>
                    <a:pt x="132" y="122"/>
                  </a:lnTo>
                  <a:lnTo>
                    <a:pt x="130" y="122"/>
                  </a:lnTo>
                  <a:lnTo>
                    <a:pt x="130" y="124"/>
                  </a:lnTo>
                  <a:lnTo>
                    <a:pt x="130" y="122"/>
                  </a:lnTo>
                  <a:lnTo>
                    <a:pt x="132" y="122"/>
                  </a:lnTo>
                  <a:lnTo>
                    <a:pt x="132" y="124"/>
                  </a:lnTo>
                  <a:lnTo>
                    <a:pt x="132" y="126"/>
                  </a:lnTo>
                  <a:lnTo>
                    <a:pt x="134" y="126"/>
                  </a:lnTo>
                  <a:lnTo>
                    <a:pt x="132" y="126"/>
                  </a:lnTo>
                  <a:lnTo>
                    <a:pt x="132" y="128"/>
                  </a:lnTo>
                  <a:lnTo>
                    <a:pt x="132" y="126"/>
                  </a:lnTo>
                  <a:lnTo>
                    <a:pt x="132" y="128"/>
                  </a:lnTo>
                  <a:lnTo>
                    <a:pt x="130" y="128"/>
                  </a:lnTo>
                  <a:lnTo>
                    <a:pt x="132" y="128"/>
                  </a:lnTo>
                  <a:lnTo>
                    <a:pt x="130" y="128"/>
                  </a:lnTo>
                  <a:lnTo>
                    <a:pt x="128" y="128"/>
                  </a:lnTo>
                  <a:lnTo>
                    <a:pt x="128" y="130"/>
                  </a:lnTo>
                  <a:lnTo>
                    <a:pt x="128" y="132"/>
                  </a:lnTo>
                  <a:lnTo>
                    <a:pt x="128" y="130"/>
                  </a:lnTo>
                  <a:lnTo>
                    <a:pt x="128" y="132"/>
                  </a:lnTo>
                  <a:lnTo>
                    <a:pt x="128" y="130"/>
                  </a:lnTo>
                  <a:lnTo>
                    <a:pt x="126" y="130"/>
                  </a:lnTo>
                  <a:lnTo>
                    <a:pt x="128" y="130"/>
                  </a:lnTo>
                  <a:lnTo>
                    <a:pt x="126" y="130"/>
                  </a:lnTo>
                  <a:lnTo>
                    <a:pt x="128" y="130"/>
                  </a:lnTo>
                  <a:lnTo>
                    <a:pt x="126" y="130"/>
                  </a:lnTo>
                  <a:lnTo>
                    <a:pt x="126" y="128"/>
                  </a:lnTo>
                  <a:lnTo>
                    <a:pt x="126" y="126"/>
                  </a:lnTo>
                  <a:lnTo>
                    <a:pt x="126" y="124"/>
                  </a:lnTo>
                  <a:lnTo>
                    <a:pt x="126" y="126"/>
                  </a:lnTo>
                  <a:lnTo>
                    <a:pt x="126" y="128"/>
                  </a:lnTo>
                  <a:lnTo>
                    <a:pt x="126" y="126"/>
                  </a:lnTo>
                  <a:lnTo>
                    <a:pt x="126" y="128"/>
                  </a:lnTo>
                  <a:lnTo>
                    <a:pt x="126" y="130"/>
                  </a:lnTo>
                  <a:lnTo>
                    <a:pt x="124" y="130"/>
                  </a:lnTo>
                  <a:lnTo>
                    <a:pt x="126" y="130"/>
                  </a:lnTo>
                  <a:lnTo>
                    <a:pt x="126" y="128"/>
                  </a:lnTo>
                  <a:lnTo>
                    <a:pt x="124" y="128"/>
                  </a:lnTo>
                  <a:lnTo>
                    <a:pt x="124" y="128"/>
                  </a:lnTo>
                  <a:lnTo>
                    <a:pt x="124" y="128"/>
                  </a:lnTo>
                  <a:lnTo>
                    <a:pt x="124" y="128"/>
                  </a:lnTo>
                  <a:lnTo>
                    <a:pt x="124" y="128"/>
                  </a:lnTo>
                  <a:lnTo>
                    <a:pt x="124" y="130"/>
                  </a:lnTo>
                  <a:lnTo>
                    <a:pt x="124" y="128"/>
                  </a:lnTo>
                  <a:lnTo>
                    <a:pt x="124" y="130"/>
                  </a:lnTo>
                  <a:lnTo>
                    <a:pt x="124" y="130"/>
                  </a:lnTo>
                  <a:lnTo>
                    <a:pt x="124" y="130"/>
                  </a:lnTo>
                  <a:lnTo>
                    <a:pt x="124" y="132"/>
                  </a:lnTo>
                  <a:lnTo>
                    <a:pt x="124" y="134"/>
                  </a:lnTo>
                  <a:lnTo>
                    <a:pt x="124" y="134"/>
                  </a:lnTo>
                  <a:lnTo>
                    <a:pt x="124" y="134"/>
                  </a:lnTo>
                  <a:lnTo>
                    <a:pt x="124" y="136"/>
                  </a:lnTo>
                  <a:lnTo>
                    <a:pt x="124" y="138"/>
                  </a:lnTo>
                  <a:lnTo>
                    <a:pt x="124" y="136"/>
                  </a:lnTo>
                  <a:lnTo>
                    <a:pt x="124" y="136"/>
                  </a:lnTo>
                  <a:lnTo>
                    <a:pt x="124" y="136"/>
                  </a:lnTo>
                  <a:lnTo>
                    <a:pt x="124" y="136"/>
                  </a:lnTo>
                  <a:lnTo>
                    <a:pt x="124" y="136"/>
                  </a:lnTo>
                  <a:lnTo>
                    <a:pt x="124" y="136"/>
                  </a:lnTo>
                  <a:lnTo>
                    <a:pt x="124" y="134"/>
                  </a:lnTo>
                  <a:lnTo>
                    <a:pt x="124" y="136"/>
                  </a:lnTo>
                  <a:lnTo>
                    <a:pt x="124" y="134"/>
                  </a:lnTo>
                  <a:lnTo>
                    <a:pt x="124" y="136"/>
                  </a:lnTo>
                  <a:lnTo>
                    <a:pt x="124" y="138"/>
                  </a:lnTo>
                  <a:lnTo>
                    <a:pt x="124" y="136"/>
                  </a:lnTo>
                  <a:lnTo>
                    <a:pt x="122" y="136"/>
                  </a:lnTo>
                  <a:lnTo>
                    <a:pt x="122" y="134"/>
                  </a:lnTo>
                  <a:lnTo>
                    <a:pt x="120" y="134"/>
                  </a:lnTo>
                  <a:lnTo>
                    <a:pt x="122" y="134"/>
                  </a:lnTo>
                  <a:lnTo>
                    <a:pt x="122" y="136"/>
                  </a:lnTo>
                  <a:lnTo>
                    <a:pt x="120" y="136"/>
                  </a:lnTo>
                  <a:lnTo>
                    <a:pt x="122" y="136"/>
                  </a:lnTo>
                  <a:lnTo>
                    <a:pt x="120" y="136"/>
                  </a:lnTo>
                  <a:lnTo>
                    <a:pt x="120" y="138"/>
                  </a:lnTo>
                  <a:lnTo>
                    <a:pt x="122" y="138"/>
                  </a:lnTo>
                  <a:lnTo>
                    <a:pt x="122" y="136"/>
                  </a:lnTo>
                  <a:lnTo>
                    <a:pt x="122" y="138"/>
                  </a:lnTo>
                  <a:lnTo>
                    <a:pt x="122" y="136"/>
                  </a:lnTo>
                  <a:lnTo>
                    <a:pt x="122" y="138"/>
                  </a:lnTo>
                  <a:lnTo>
                    <a:pt x="124" y="138"/>
                  </a:lnTo>
                  <a:lnTo>
                    <a:pt x="124" y="138"/>
                  </a:lnTo>
                  <a:lnTo>
                    <a:pt x="122" y="138"/>
                  </a:lnTo>
                  <a:lnTo>
                    <a:pt x="122" y="138"/>
                  </a:lnTo>
                  <a:lnTo>
                    <a:pt x="122" y="138"/>
                  </a:lnTo>
                  <a:lnTo>
                    <a:pt x="122" y="140"/>
                  </a:lnTo>
                  <a:lnTo>
                    <a:pt x="122" y="142"/>
                  </a:lnTo>
                  <a:lnTo>
                    <a:pt x="120" y="142"/>
                  </a:lnTo>
                  <a:lnTo>
                    <a:pt x="120" y="140"/>
                  </a:lnTo>
                  <a:lnTo>
                    <a:pt x="120" y="138"/>
                  </a:lnTo>
                  <a:lnTo>
                    <a:pt x="120" y="140"/>
                  </a:lnTo>
                  <a:lnTo>
                    <a:pt x="120" y="138"/>
                  </a:lnTo>
                  <a:lnTo>
                    <a:pt x="120" y="140"/>
                  </a:lnTo>
                  <a:lnTo>
                    <a:pt x="118" y="140"/>
                  </a:lnTo>
                  <a:lnTo>
                    <a:pt x="118" y="138"/>
                  </a:lnTo>
                  <a:lnTo>
                    <a:pt x="118" y="138"/>
                  </a:lnTo>
                  <a:lnTo>
                    <a:pt x="116" y="138"/>
                  </a:lnTo>
                  <a:lnTo>
                    <a:pt x="118" y="138"/>
                  </a:lnTo>
                  <a:lnTo>
                    <a:pt x="116" y="138"/>
                  </a:lnTo>
                  <a:lnTo>
                    <a:pt x="116" y="136"/>
                  </a:lnTo>
                  <a:lnTo>
                    <a:pt x="114" y="136"/>
                  </a:lnTo>
                  <a:lnTo>
                    <a:pt x="114" y="138"/>
                  </a:lnTo>
                  <a:lnTo>
                    <a:pt x="116" y="138"/>
                  </a:lnTo>
                  <a:lnTo>
                    <a:pt x="114" y="138"/>
                  </a:lnTo>
                  <a:lnTo>
                    <a:pt x="116" y="138"/>
                  </a:lnTo>
                  <a:lnTo>
                    <a:pt x="114" y="138"/>
                  </a:lnTo>
                  <a:lnTo>
                    <a:pt x="114" y="136"/>
                  </a:lnTo>
                  <a:lnTo>
                    <a:pt x="112" y="136"/>
                  </a:lnTo>
                  <a:lnTo>
                    <a:pt x="110" y="136"/>
                  </a:lnTo>
                  <a:lnTo>
                    <a:pt x="110" y="134"/>
                  </a:lnTo>
                  <a:lnTo>
                    <a:pt x="112" y="134"/>
                  </a:lnTo>
                  <a:lnTo>
                    <a:pt x="110" y="134"/>
                  </a:lnTo>
                  <a:lnTo>
                    <a:pt x="110" y="136"/>
                  </a:lnTo>
                  <a:lnTo>
                    <a:pt x="108" y="136"/>
                  </a:lnTo>
                  <a:lnTo>
                    <a:pt x="110" y="136"/>
                  </a:lnTo>
                  <a:lnTo>
                    <a:pt x="112" y="136"/>
                  </a:lnTo>
                  <a:lnTo>
                    <a:pt x="112" y="138"/>
                  </a:lnTo>
                  <a:lnTo>
                    <a:pt x="112" y="138"/>
                  </a:lnTo>
                  <a:lnTo>
                    <a:pt x="114" y="138"/>
                  </a:lnTo>
                  <a:lnTo>
                    <a:pt x="112" y="138"/>
                  </a:lnTo>
                  <a:lnTo>
                    <a:pt x="112" y="138"/>
                  </a:lnTo>
                  <a:lnTo>
                    <a:pt x="110" y="138"/>
                  </a:lnTo>
                  <a:lnTo>
                    <a:pt x="112" y="138"/>
                  </a:lnTo>
                  <a:lnTo>
                    <a:pt x="110" y="138"/>
                  </a:lnTo>
                  <a:lnTo>
                    <a:pt x="112" y="138"/>
                  </a:lnTo>
                  <a:lnTo>
                    <a:pt x="110" y="138"/>
                  </a:lnTo>
                  <a:lnTo>
                    <a:pt x="110" y="136"/>
                  </a:lnTo>
                  <a:lnTo>
                    <a:pt x="110" y="138"/>
                  </a:lnTo>
                  <a:lnTo>
                    <a:pt x="108" y="138"/>
                  </a:lnTo>
                  <a:lnTo>
                    <a:pt x="110" y="138"/>
                  </a:lnTo>
                  <a:lnTo>
                    <a:pt x="108" y="138"/>
                  </a:lnTo>
                  <a:lnTo>
                    <a:pt x="110" y="138"/>
                  </a:lnTo>
                  <a:lnTo>
                    <a:pt x="108" y="138"/>
                  </a:lnTo>
                  <a:lnTo>
                    <a:pt x="110" y="138"/>
                  </a:lnTo>
                  <a:lnTo>
                    <a:pt x="108" y="138"/>
                  </a:lnTo>
                  <a:lnTo>
                    <a:pt x="108" y="138"/>
                  </a:lnTo>
                  <a:lnTo>
                    <a:pt x="108" y="138"/>
                  </a:lnTo>
                  <a:lnTo>
                    <a:pt x="110" y="138"/>
                  </a:lnTo>
                  <a:lnTo>
                    <a:pt x="110" y="138"/>
                  </a:lnTo>
                  <a:lnTo>
                    <a:pt x="110" y="138"/>
                  </a:lnTo>
                  <a:lnTo>
                    <a:pt x="112" y="138"/>
                  </a:lnTo>
                  <a:lnTo>
                    <a:pt x="112" y="138"/>
                  </a:lnTo>
                  <a:lnTo>
                    <a:pt x="110" y="138"/>
                  </a:lnTo>
                  <a:lnTo>
                    <a:pt x="112" y="138"/>
                  </a:lnTo>
                  <a:lnTo>
                    <a:pt x="112" y="140"/>
                  </a:lnTo>
                  <a:lnTo>
                    <a:pt x="110" y="140"/>
                  </a:lnTo>
                  <a:lnTo>
                    <a:pt x="110" y="138"/>
                  </a:lnTo>
                  <a:lnTo>
                    <a:pt x="110" y="140"/>
                  </a:lnTo>
                  <a:lnTo>
                    <a:pt x="108" y="140"/>
                  </a:lnTo>
                  <a:lnTo>
                    <a:pt x="108" y="138"/>
                  </a:lnTo>
                  <a:lnTo>
                    <a:pt x="108" y="140"/>
                  </a:lnTo>
                  <a:lnTo>
                    <a:pt x="108" y="142"/>
                  </a:lnTo>
                  <a:lnTo>
                    <a:pt x="108" y="144"/>
                  </a:lnTo>
                  <a:lnTo>
                    <a:pt x="106" y="144"/>
                  </a:lnTo>
                  <a:lnTo>
                    <a:pt x="106" y="142"/>
                  </a:lnTo>
                  <a:lnTo>
                    <a:pt x="106" y="140"/>
                  </a:lnTo>
                  <a:lnTo>
                    <a:pt x="106" y="138"/>
                  </a:lnTo>
                  <a:lnTo>
                    <a:pt x="104" y="138"/>
                  </a:lnTo>
                  <a:lnTo>
                    <a:pt x="106" y="138"/>
                  </a:lnTo>
                  <a:lnTo>
                    <a:pt x="104" y="138"/>
                  </a:lnTo>
                  <a:lnTo>
                    <a:pt x="104" y="138"/>
                  </a:lnTo>
                  <a:lnTo>
                    <a:pt x="104" y="136"/>
                  </a:lnTo>
                  <a:lnTo>
                    <a:pt x="102" y="136"/>
                  </a:lnTo>
                  <a:lnTo>
                    <a:pt x="104" y="136"/>
                  </a:lnTo>
                  <a:lnTo>
                    <a:pt x="104" y="138"/>
                  </a:lnTo>
                  <a:lnTo>
                    <a:pt x="104" y="138"/>
                  </a:lnTo>
                  <a:lnTo>
                    <a:pt x="106" y="138"/>
                  </a:lnTo>
                  <a:lnTo>
                    <a:pt x="104" y="138"/>
                  </a:lnTo>
                  <a:lnTo>
                    <a:pt x="104" y="140"/>
                  </a:lnTo>
                  <a:lnTo>
                    <a:pt x="106" y="140"/>
                  </a:lnTo>
                  <a:lnTo>
                    <a:pt x="104" y="140"/>
                  </a:lnTo>
                  <a:lnTo>
                    <a:pt x="102" y="140"/>
                  </a:lnTo>
                  <a:lnTo>
                    <a:pt x="104" y="140"/>
                  </a:lnTo>
                  <a:lnTo>
                    <a:pt x="104" y="142"/>
                  </a:lnTo>
                  <a:lnTo>
                    <a:pt x="106" y="142"/>
                  </a:lnTo>
                  <a:lnTo>
                    <a:pt x="104" y="142"/>
                  </a:lnTo>
                  <a:lnTo>
                    <a:pt x="106" y="142"/>
                  </a:lnTo>
                  <a:lnTo>
                    <a:pt x="106" y="144"/>
                  </a:lnTo>
                  <a:lnTo>
                    <a:pt x="106" y="146"/>
                  </a:lnTo>
                  <a:lnTo>
                    <a:pt x="106" y="144"/>
                  </a:lnTo>
                  <a:lnTo>
                    <a:pt x="104" y="144"/>
                  </a:lnTo>
                  <a:lnTo>
                    <a:pt x="104" y="142"/>
                  </a:lnTo>
                  <a:lnTo>
                    <a:pt x="104" y="144"/>
                  </a:lnTo>
                  <a:lnTo>
                    <a:pt x="104" y="146"/>
                  </a:lnTo>
                  <a:lnTo>
                    <a:pt x="102" y="146"/>
                  </a:lnTo>
                  <a:lnTo>
                    <a:pt x="102" y="144"/>
                  </a:lnTo>
                  <a:lnTo>
                    <a:pt x="102" y="146"/>
                  </a:lnTo>
                  <a:lnTo>
                    <a:pt x="102" y="144"/>
                  </a:lnTo>
                  <a:lnTo>
                    <a:pt x="102" y="146"/>
                  </a:lnTo>
                  <a:lnTo>
                    <a:pt x="102" y="144"/>
                  </a:lnTo>
                  <a:lnTo>
                    <a:pt x="102" y="146"/>
                  </a:lnTo>
                  <a:lnTo>
                    <a:pt x="102" y="148"/>
                  </a:lnTo>
                  <a:lnTo>
                    <a:pt x="102" y="150"/>
                  </a:lnTo>
                  <a:lnTo>
                    <a:pt x="102" y="148"/>
                  </a:lnTo>
                  <a:lnTo>
                    <a:pt x="104" y="148"/>
                  </a:lnTo>
                  <a:lnTo>
                    <a:pt x="102" y="148"/>
                  </a:lnTo>
                  <a:lnTo>
                    <a:pt x="102" y="146"/>
                  </a:lnTo>
                  <a:lnTo>
                    <a:pt x="104" y="146"/>
                  </a:lnTo>
                  <a:lnTo>
                    <a:pt x="104" y="148"/>
                  </a:lnTo>
                  <a:lnTo>
                    <a:pt x="104" y="150"/>
                  </a:lnTo>
                  <a:lnTo>
                    <a:pt x="106" y="150"/>
                  </a:lnTo>
                  <a:lnTo>
                    <a:pt x="106" y="152"/>
                  </a:lnTo>
                  <a:lnTo>
                    <a:pt x="104" y="152"/>
                  </a:lnTo>
                  <a:lnTo>
                    <a:pt x="106" y="152"/>
                  </a:lnTo>
                  <a:lnTo>
                    <a:pt x="106" y="154"/>
                  </a:lnTo>
                  <a:lnTo>
                    <a:pt x="106" y="152"/>
                  </a:lnTo>
                  <a:lnTo>
                    <a:pt x="106" y="154"/>
                  </a:lnTo>
                  <a:lnTo>
                    <a:pt x="106" y="152"/>
                  </a:lnTo>
                  <a:lnTo>
                    <a:pt x="104" y="152"/>
                  </a:lnTo>
                  <a:lnTo>
                    <a:pt x="102" y="152"/>
                  </a:lnTo>
                  <a:lnTo>
                    <a:pt x="102" y="150"/>
                  </a:lnTo>
                  <a:lnTo>
                    <a:pt x="102" y="152"/>
                  </a:lnTo>
                  <a:lnTo>
                    <a:pt x="100" y="152"/>
                  </a:lnTo>
                  <a:lnTo>
                    <a:pt x="98" y="152"/>
                  </a:lnTo>
                  <a:lnTo>
                    <a:pt x="98" y="150"/>
                  </a:lnTo>
                  <a:lnTo>
                    <a:pt x="96" y="150"/>
                  </a:lnTo>
                  <a:lnTo>
                    <a:pt x="96" y="152"/>
                  </a:lnTo>
                  <a:lnTo>
                    <a:pt x="98" y="152"/>
                  </a:lnTo>
                  <a:lnTo>
                    <a:pt x="96" y="152"/>
                  </a:lnTo>
                  <a:lnTo>
                    <a:pt x="96" y="150"/>
                  </a:lnTo>
                  <a:lnTo>
                    <a:pt x="96" y="152"/>
                  </a:lnTo>
                  <a:lnTo>
                    <a:pt x="96" y="150"/>
                  </a:lnTo>
                  <a:lnTo>
                    <a:pt x="96" y="152"/>
                  </a:lnTo>
                  <a:lnTo>
                    <a:pt x="96" y="150"/>
                  </a:lnTo>
                  <a:lnTo>
                    <a:pt x="96" y="152"/>
                  </a:lnTo>
                  <a:lnTo>
                    <a:pt x="96" y="150"/>
                  </a:lnTo>
                  <a:lnTo>
                    <a:pt x="96" y="152"/>
                  </a:lnTo>
                  <a:lnTo>
                    <a:pt x="96" y="154"/>
                  </a:lnTo>
                  <a:lnTo>
                    <a:pt x="94" y="154"/>
                  </a:lnTo>
                  <a:lnTo>
                    <a:pt x="94" y="152"/>
                  </a:lnTo>
                  <a:lnTo>
                    <a:pt x="94" y="150"/>
                  </a:lnTo>
                  <a:lnTo>
                    <a:pt x="94" y="152"/>
                  </a:lnTo>
                  <a:lnTo>
                    <a:pt x="94" y="150"/>
                  </a:lnTo>
                  <a:lnTo>
                    <a:pt x="96" y="150"/>
                  </a:lnTo>
                  <a:lnTo>
                    <a:pt x="94" y="150"/>
                  </a:lnTo>
                  <a:lnTo>
                    <a:pt x="94" y="148"/>
                  </a:lnTo>
                  <a:lnTo>
                    <a:pt x="96" y="148"/>
                  </a:lnTo>
                  <a:lnTo>
                    <a:pt x="94" y="148"/>
                  </a:lnTo>
                  <a:lnTo>
                    <a:pt x="94" y="146"/>
                  </a:lnTo>
                  <a:lnTo>
                    <a:pt x="96" y="146"/>
                  </a:lnTo>
                  <a:lnTo>
                    <a:pt x="96" y="148"/>
                  </a:lnTo>
                  <a:lnTo>
                    <a:pt x="96" y="146"/>
                  </a:lnTo>
                  <a:lnTo>
                    <a:pt x="96" y="148"/>
                  </a:lnTo>
                  <a:lnTo>
                    <a:pt x="96" y="146"/>
                  </a:lnTo>
                  <a:lnTo>
                    <a:pt x="96" y="148"/>
                  </a:lnTo>
                  <a:lnTo>
                    <a:pt x="98" y="148"/>
                  </a:lnTo>
                  <a:lnTo>
                    <a:pt x="98" y="150"/>
                  </a:lnTo>
                  <a:lnTo>
                    <a:pt x="100" y="150"/>
                  </a:lnTo>
                  <a:lnTo>
                    <a:pt x="98" y="150"/>
                  </a:lnTo>
                  <a:lnTo>
                    <a:pt x="100" y="150"/>
                  </a:lnTo>
                  <a:lnTo>
                    <a:pt x="98" y="150"/>
                  </a:lnTo>
                  <a:lnTo>
                    <a:pt x="98" y="148"/>
                  </a:lnTo>
                  <a:lnTo>
                    <a:pt x="100" y="148"/>
                  </a:lnTo>
                  <a:lnTo>
                    <a:pt x="98" y="148"/>
                  </a:lnTo>
                  <a:lnTo>
                    <a:pt x="98" y="146"/>
                  </a:lnTo>
                  <a:lnTo>
                    <a:pt x="96" y="146"/>
                  </a:lnTo>
                  <a:lnTo>
                    <a:pt x="96" y="144"/>
                  </a:lnTo>
                  <a:lnTo>
                    <a:pt x="94" y="144"/>
                  </a:lnTo>
                  <a:lnTo>
                    <a:pt x="96" y="144"/>
                  </a:lnTo>
                  <a:lnTo>
                    <a:pt x="94" y="144"/>
                  </a:lnTo>
                  <a:lnTo>
                    <a:pt x="96" y="144"/>
                  </a:lnTo>
                  <a:lnTo>
                    <a:pt x="96" y="146"/>
                  </a:lnTo>
                  <a:lnTo>
                    <a:pt x="94" y="146"/>
                  </a:lnTo>
                  <a:lnTo>
                    <a:pt x="96" y="146"/>
                  </a:lnTo>
                  <a:lnTo>
                    <a:pt x="94" y="146"/>
                  </a:lnTo>
                  <a:lnTo>
                    <a:pt x="96" y="146"/>
                  </a:lnTo>
                  <a:lnTo>
                    <a:pt x="94" y="146"/>
                  </a:lnTo>
                  <a:lnTo>
                    <a:pt x="94" y="148"/>
                  </a:lnTo>
                  <a:lnTo>
                    <a:pt x="94" y="150"/>
                  </a:lnTo>
                  <a:lnTo>
                    <a:pt x="94" y="148"/>
                  </a:lnTo>
                  <a:lnTo>
                    <a:pt x="92" y="148"/>
                  </a:lnTo>
                  <a:lnTo>
                    <a:pt x="94" y="146"/>
                  </a:lnTo>
                  <a:lnTo>
                    <a:pt x="92" y="146"/>
                  </a:lnTo>
                  <a:lnTo>
                    <a:pt x="94" y="146"/>
                  </a:lnTo>
                  <a:lnTo>
                    <a:pt x="92" y="146"/>
                  </a:lnTo>
                  <a:lnTo>
                    <a:pt x="92" y="144"/>
                  </a:lnTo>
                  <a:lnTo>
                    <a:pt x="92" y="142"/>
                  </a:lnTo>
                  <a:lnTo>
                    <a:pt x="94" y="142"/>
                  </a:lnTo>
                  <a:lnTo>
                    <a:pt x="92" y="142"/>
                  </a:lnTo>
                  <a:lnTo>
                    <a:pt x="94" y="142"/>
                  </a:lnTo>
                  <a:lnTo>
                    <a:pt x="92" y="142"/>
                  </a:lnTo>
                  <a:lnTo>
                    <a:pt x="94" y="142"/>
                  </a:lnTo>
                  <a:lnTo>
                    <a:pt x="92" y="140"/>
                  </a:lnTo>
                  <a:lnTo>
                    <a:pt x="94" y="140"/>
                  </a:lnTo>
                  <a:lnTo>
                    <a:pt x="92" y="140"/>
                  </a:lnTo>
                  <a:lnTo>
                    <a:pt x="92" y="138"/>
                  </a:lnTo>
                  <a:lnTo>
                    <a:pt x="92" y="140"/>
                  </a:lnTo>
                  <a:lnTo>
                    <a:pt x="92" y="142"/>
                  </a:lnTo>
                  <a:lnTo>
                    <a:pt x="92" y="140"/>
                  </a:lnTo>
                  <a:lnTo>
                    <a:pt x="90" y="140"/>
                  </a:lnTo>
                  <a:lnTo>
                    <a:pt x="90" y="138"/>
                  </a:lnTo>
                  <a:lnTo>
                    <a:pt x="88" y="138"/>
                  </a:lnTo>
                  <a:lnTo>
                    <a:pt x="88" y="138"/>
                  </a:lnTo>
                  <a:lnTo>
                    <a:pt x="88" y="136"/>
                  </a:lnTo>
                  <a:lnTo>
                    <a:pt x="88" y="138"/>
                  </a:lnTo>
                  <a:lnTo>
                    <a:pt x="88" y="138"/>
                  </a:lnTo>
                  <a:lnTo>
                    <a:pt x="90" y="140"/>
                  </a:lnTo>
                  <a:lnTo>
                    <a:pt x="90" y="142"/>
                  </a:lnTo>
                  <a:lnTo>
                    <a:pt x="92" y="142"/>
                  </a:lnTo>
                  <a:lnTo>
                    <a:pt x="92" y="144"/>
                  </a:lnTo>
                  <a:lnTo>
                    <a:pt x="90" y="144"/>
                  </a:lnTo>
                  <a:lnTo>
                    <a:pt x="92" y="144"/>
                  </a:lnTo>
                  <a:lnTo>
                    <a:pt x="90" y="144"/>
                  </a:lnTo>
                  <a:lnTo>
                    <a:pt x="90" y="146"/>
                  </a:lnTo>
                  <a:lnTo>
                    <a:pt x="92" y="146"/>
                  </a:lnTo>
                  <a:lnTo>
                    <a:pt x="90" y="146"/>
                  </a:lnTo>
                  <a:lnTo>
                    <a:pt x="90" y="148"/>
                  </a:lnTo>
                  <a:lnTo>
                    <a:pt x="90" y="146"/>
                  </a:lnTo>
                  <a:lnTo>
                    <a:pt x="90" y="148"/>
                  </a:lnTo>
                  <a:lnTo>
                    <a:pt x="90" y="146"/>
                  </a:lnTo>
                  <a:lnTo>
                    <a:pt x="88" y="146"/>
                  </a:lnTo>
                  <a:lnTo>
                    <a:pt x="90" y="146"/>
                  </a:lnTo>
                  <a:lnTo>
                    <a:pt x="90" y="148"/>
                  </a:lnTo>
                  <a:lnTo>
                    <a:pt x="88" y="148"/>
                  </a:lnTo>
                  <a:lnTo>
                    <a:pt x="88" y="150"/>
                  </a:lnTo>
                  <a:lnTo>
                    <a:pt x="86" y="150"/>
                  </a:lnTo>
                  <a:lnTo>
                    <a:pt x="88" y="150"/>
                  </a:lnTo>
                  <a:lnTo>
                    <a:pt x="88" y="152"/>
                  </a:lnTo>
                  <a:lnTo>
                    <a:pt x="86" y="152"/>
                  </a:lnTo>
                  <a:lnTo>
                    <a:pt x="88" y="152"/>
                  </a:lnTo>
                  <a:lnTo>
                    <a:pt x="86" y="152"/>
                  </a:lnTo>
                  <a:lnTo>
                    <a:pt x="88" y="152"/>
                  </a:lnTo>
                  <a:lnTo>
                    <a:pt x="90" y="152"/>
                  </a:lnTo>
                  <a:lnTo>
                    <a:pt x="90" y="154"/>
                  </a:lnTo>
                  <a:lnTo>
                    <a:pt x="90" y="156"/>
                  </a:lnTo>
                  <a:lnTo>
                    <a:pt x="88" y="156"/>
                  </a:lnTo>
                  <a:lnTo>
                    <a:pt x="88" y="158"/>
                  </a:lnTo>
                  <a:lnTo>
                    <a:pt x="88" y="160"/>
                  </a:lnTo>
                  <a:lnTo>
                    <a:pt x="88" y="162"/>
                  </a:lnTo>
                  <a:lnTo>
                    <a:pt x="88" y="164"/>
                  </a:lnTo>
                  <a:lnTo>
                    <a:pt x="88" y="162"/>
                  </a:lnTo>
                  <a:lnTo>
                    <a:pt x="88" y="164"/>
                  </a:lnTo>
                  <a:lnTo>
                    <a:pt x="88" y="166"/>
                  </a:lnTo>
                  <a:lnTo>
                    <a:pt x="90" y="166"/>
                  </a:lnTo>
                  <a:lnTo>
                    <a:pt x="88" y="166"/>
                  </a:lnTo>
                  <a:lnTo>
                    <a:pt x="88" y="168"/>
                  </a:lnTo>
                  <a:lnTo>
                    <a:pt x="90" y="168"/>
                  </a:lnTo>
                  <a:lnTo>
                    <a:pt x="90" y="170"/>
                  </a:lnTo>
                  <a:lnTo>
                    <a:pt x="90" y="172"/>
                  </a:lnTo>
                  <a:lnTo>
                    <a:pt x="90" y="170"/>
                  </a:lnTo>
                  <a:lnTo>
                    <a:pt x="90" y="172"/>
                  </a:lnTo>
                  <a:lnTo>
                    <a:pt x="90" y="174"/>
                  </a:lnTo>
                  <a:lnTo>
                    <a:pt x="88" y="174"/>
                  </a:lnTo>
                  <a:lnTo>
                    <a:pt x="88" y="172"/>
                  </a:lnTo>
                  <a:lnTo>
                    <a:pt x="88" y="174"/>
                  </a:lnTo>
                  <a:lnTo>
                    <a:pt x="88" y="176"/>
                  </a:lnTo>
                  <a:lnTo>
                    <a:pt x="88" y="174"/>
                  </a:lnTo>
                  <a:lnTo>
                    <a:pt x="88" y="176"/>
                  </a:lnTo>
                  <a:lnTo>
                    <a:pt x="86" y="176"/>
                  </a:lnTo>
                  <a:lnTo>
                    <a:pt x="88" y="176"/>
                  </a:lnTo>
                  <a:lnTo>
                    <a:pt x="86" y="176"/>
                  </a:lnTo>
                  <a:lnTo>
                    <a:pt x="88" y="176"/>
                  </a:lnTo>
                  <a:lnTo>
                    <a:pt x="88" y="178"/>
                  </a:lnTo>
                  <a:lnTo>
                    <a:pt x="86" y="178"/>
                  </a:lnTo>
                  <a:lnTo>
                    <a:pt x="88" y="178"/>
                  </a:lnTo>
                  <a:lnTo>
                    <a:pt x="86" y="178"/>
                  </a:lnTo>
                  <a:lnTo>
                    <a:pt x="86" y="180"/>
                  </a:lnTo>
                  <a:lnTo>
                    <a:pt x="86" y="178"/>
                  </a:lnTo>
                  <a:lnTo>
                    <a:pt x="84" y="178"/>
                  </a:lnTo>
                  <a:lnTo>
                    <a:pt x="86" y="178"/>
                  </a:lnTo>
                  <a:lnTo>
                    <a:pt x="86" y="176"/>
                  </a:lnTo>
                  <a:lnTo>
                    <a:pt x="86" y="178"/>
                  </a:lnTo>
                  <a:lnTo>
                    <a:pt x="86" y="176"/>
                  </a:lnTo>
                  <a:lnTo>
                    <a:pt x="86" y="174"/>
                  </a:lnTo>
                  <a:lnTo>
                    <a:pt x="86" y="176"/>
                  </a:lnTo>
                  <a:lnTo>
                    <a:pt x="86" y="174"/>
                  </a:lnTo>
                  <a:lnTo>
                    <a:pt x="86" y="176"/>
                  </a:lnTo>
                  <a:lnTo>
                    <a:pt x="86" y="174"/>
                  </a:lnTo>
                  <a:lnTo>
                    <a:pt x="86" y="172"/>
                  </a:lnTo>
                  <a:lnTo>
                    <a:pt x="86" y="170"/>
                  </a:lnTo>
                  <a:lnTo>
                    <a:pt x="86" y="172"/>
                  </a:lnTo>
                  <a:lnTo>
                    <a:pt x="86" y="170"/>
                  </a:lnTo>
                  <a:lnTo>
                    <a:pt x="86" y="172"/>
                  </a:lnTo>
                  <a:lnTo>
                    <a:pt x="86" y="174"/>
                  </a:lnTo>
                  <a:lnTo>
                    <a:pt x="84" y="174"/>
                  </a:lnTo>
                  <a:lnTo>
                    <a:pt x="86" y="174"/>
                  </a:lnTo>
                  <a:lnTo>
                    <a:pt x="84" y="174"/>
                  </a:lnTo>
                  <a:lnTo>
                    <a:pt x="86" y="174"/>
                  </a:lnTo>
                  <a:lnTo>
                    <a:pt x="84" y="174"/>
                  </a:lnTo>
                  <a:lnTo>
                    <a:pt x="86" y="174"/>
                  </a:lnTo>
                  <a:lnTo>
                    <a:pt x="84" y="174"/>
                  </a:lnTo>
                  <a:lnTo>
                    <a:pt x="86" y="174"/>
                  </a:lnTo>
                  <a:lnTo>
                    <a:pt x="86" y="176"/>
                  </a:lnTo>
                  <a:lnTo>
                    <a:pt x="84" y="176"/>
                  </a:lnTo>
                  <a:lnTo>
                    <a:pt x="86" y="176"/>
                  </a:lnTo>
                  <a:lnTo>
                    <a:pt x="84" y="176"/>
                  </a:lnTo>
                  <a:lnTo>
                    <a:pt x="86" y="176"/>
                  </a:lnTo>
                  <a:lnTo>
                    <a:pt x="84" y="176"/>
                  </a:lnTo>
                  <a:lnTo>
                    <a:pt x="84" y="178"/>
                  </a:lnTo>
                  <a:lnTo>
                    <a:pt x="84" y="176"/>
                  </a:lnTo>
                  <a:lnTo>
                    <a:pt x="82" y="176"/>
                  </a:lnTo>
                  <a:lnTo>
                    <a:pt x="84" y="176"/>
                  </a:lnTo>
                  <a:lnTo>
                    <a:pt x="82" y="176"/>
                  </a:lnTo>
                  <a:lnTo>
                    <a:pt x="84" y="176"/>
                  </a:lnTo>
                  <a:lnTo>
                    <a:pt x="82" y="178"/>
                  </a:lnTo>
                  <a:lnTo>
                    <a:pt x="82" y="176"/>
                  </a:lnTo>
                  <a:lnTo>
                    <a:pt x="82" y="178"/>
                  </a:lnTo>
                  <a:lnTo>
                    <a:pt x="82" y="176"/>
                  </a:lnTo>
                  <a:lnTo>
                    <a:pt x="82" y="178"/>
                  </a:lnTo>
                  <a:lnTo>
                    <a:pt x="82" y="176"/>
                  </a:lnTo>
                  <a:lnTo>
                    <a:pt x="82" y="178"/>
                  </a:lnTo>
                  <a:lnTo>
                    <a:pt x="82" y="176"/>
                  </a:lnTo>
                  <a:lnTo>
                    <a:pt x="80" y="176"/>
                  </a:lnTo>
                  <a:lnTo>
                    <a:pt x="82" y="176"/>
                  </a:lnTo>
                  <a:lnTo>
                    <a:pt x="82" y="174"/>
                  </a:lnTo>
                  <a:lnTo>
                    <a:pt x="80" y="174"/>
                  </a:lnTo>
                  <a:lnTo>
                    <a:pt x="82" y="174"/>
                  </a:lnTo>
                  <a:lnTo>
                    <a:pt x="80" y="174"/>
                  </a:lnTo>
                  <a:lnTo>
                    <a:pt x="82" y="174"/>
                  </a:lnTo>
                  <a:lnTo>
                    <a:pt x="80" y="174"/>
                  </a:lnTo>
                  <a:lnTo>
                    <a:pt x="80" y="176"/>
                  </a:lnTo>
                  <a:lnTo>
                    <a:pt x="80" y="174"/>
                  </a:lnTo>
                  <a:lnTo>
                    <a:pt x="82" y="174"/>
                  </a:lnTo>
                  <a:lnTo>
                    <a:pt x="80" y="174"/>
                  </a:lnTo>
                  <a:lnTo>
                    <a:pt x="80" y="172"/>
                  </a:lnTo>
                  <a:lnTo>
                    <a:pt x="80" y="174"/>
                  </a:lnTo>
                  <a:lnTo>
                    <a:pt x="80" y="172"/>
                  </a:lnTo>
                  <a:lnTo>
                    <a:pt x="78" y="172"/>
                  </a:lnTo>
                  <a:lnTo>
                    <a:pt x="78" y="174"/>
                  </a:lnTo>
                  <a:lnTo>
                    <a:pt x="80" y="174"/>
                  </a:lnTo>
                  <a:lnTo>
                    <a:pt x="80" y="176"/>
                  </a:lnTo>
                  <a:lnTo>
                    <a:pt x="80" y="174"/>
                  </a:lnTo>
                  <a:lnTo>
                    <a:pt x="80" y="176"/>
                  </a:lnTo>
                  <a:lnTo>
                    <a:pt x="80" y="174"/>
                  </a:lnTo>
                  <a:lnTo>
                    <a:pt x="78" y="174"/>
                  </a:lnTo>
                  <a:lnTo>
                    <a:pt x="80" y="174"/>
                  </a:lnTo>
                  <a:lnTo>
                    <a:pt x="80" y="176"/>
                  </a:lnTo>
                  <a:lnTo>
                    <a:pt x="78" y="176"/>
                  </a:lnTo>
                  <a:lnTo>
                    <a:pt x="80" y="176"/>
                  </a:lnTo>
                  <a:lnTo>
                    <a:pt x="80" y="178"/>
                  </a:lnTo>
                  <a:lnTo>
                    <a:pt x="80" y="176"/>
                  </a:lnTo>
                  <a:lnTo>
                    <a:pt x="80" y="178"/>
                  </a:lnTo>
                  <a:lnTo>
                    <a:pt x="78" y="178"/>
                  </a:lnTo>
                  <a:lnTo>
                    <a:pt x="80" y="178"/>
                  </a:lnTo>
                  <a:lnTo>
                    <a:pt x="78" y="178"/>
                  </a:lnTo>
                  <a:lnTo>
                    <a:pt x="78" y="180"/>
                  </a:lnTo>
                  <a:lnTo>
                    <a:pt x="78" y="182"/>
                  </a:lnTo>
                  <a:lnTo>
                    <a:pt x="80" y="182"/>
                  </a:lnTo>
                  <a:lnTo>
                    <a:pt x="80" y="184"/>
                  </a:lnTo>
                  <a:lnTo>
                    <a:pt x="78" y="184"/>
                  </a:lnTo>
                  <a:lnTo>
                    <a:pt x="78" y="186"/>
                  </a:lnTo>
                  <a:lnTo>
                    <a:pt x="78" y="184"/>
                  </a:lnTo>
                  <a:lnTo>
                    <a:pt x="76" y="184"/>
                  </a:lnTo>
                  <a:lnTo>
                    <a:pt x="76" y="182"/>
                  </a:lnTo>
                  <a:lnTo>
                    <a:pt x="76" y="184"/>
                  </a:lnTo>
                  <a:lnTo>
                    <a:pt x="76" y="182"/>
                  </a:lnTo>
                  <a:lnTo>
                    <a:pt x="76" y="184"/>
                  </a:lnTo>
                  <a:lnTo>
                    <a:pt x="76" y="186"/>
                  </a:lnTo>
                  <a:lnTo>
                    <a:pt x="76" y="184"/>
                  </a:lnTo>
                  <a:lnTo>
                    <a:pt x="76" y="186"/>
                  </a:lnTo>
                  <a:lnTo>
                    <a:pt x="76" y="184"/>
                  </a:lnTo>
                  <a:lnTo>
                    <a:pt x="76" y="186"/>
                  </a:lnTo>
                  <a:lnTo>
                    <a:pt x="76" y="184"/>
                  </a:lnTo>
                  <a:lnTo>
                    <a:pt x="76" y="182"/>
                  </a:lnTo>
                  <a:lnTo>
                    <a:pt x="76" y="182"/>
                  </a:lnTo>
                  <a:lnTo>
                    <a:pt x="76" y="182"/>
                  </a:lnTo>
                  <a:lnTo>
                    <a:pt x="76" y="182"/>
                  </a:lnTo>
                  <a:lnTo>
                    <a:pt x="76" y="182"/>
                  </a:lnTo>
                  <a:lnTo>
                    <a:pt x="76" y="182"/>
                  </a:lnTo>
                  <a:lnTo>
                    <a:pt x="76" y="180"/>
                  </a:lnTo>
                  <a:lnTo>
                    <a:pt x="76" y="182"/>
                  </a:lnTo>
                  <a:lnTo>
                    <a:pt x="76" y="180"/>
                  </a:lnTo>
                  <a:lnTo>
                    <a:pt x="76" y="182"/>
                  </a:lnTo>
                  <a:lnTo>
                    <a:pt x="76" y="180"/>
                  </a:lnTo>
                  <a:lnTo>
                    <a:pt x="76" y="178"/>
                  </a:lnTo>
                  <a:lnTo>
                    <a:pt x="76" y="176"/>
                  </a:lnTo>
                  <a:lnTo>
                    <a:pt x="76" y="178"/>
                  </a:lnTo>
                  <a:lnTo>
                    <a:pt x="76" y="180"/>
                  </a:lnTo>
                  <a:lnTo>
                    <a:pt x="76" y="182"/>
                  </a:lnTo>
                  <a:lnTo>
                    <a:pt x="76" y="184"/>
                  </a:lnTo>
                  <a:lnTo>
                    <a:pt x="76" y="186"/>
                  </a:lnTo>
                  <a:lnTo>
                    <a:pt x="76" y="186"/>
                  </a:lnTo>
                  <a:lnTo>
                    <a:pt x="76" y="186"/>
                  </a:lnTo>
                  <a:lnTo>
                    <a:pt x="76" y="186"/>
                  </a:lnTo>
                  <a:lnTo>
                    <a:pt x="76" y="186"/>
                  </a:lnTo>
                  <a:lnTo>
                    <a:pt x="76" y="186"/>
                  </a:lnTo>
                  <a:lnTo>
                    <a:pt x="74" y="186"/>
                  </a:lnTo>
                  <a:lnTo>
                    <a:pt x="74" y="186"/>
                  </a:lnTo>
                  <a:lnTo>
                    <a:pt x="74" y="186"/>
                  </a:lnTo>
                  <a:lnTo>
                    <a:pt x="74" y="186"/>
                  </a:lnTo>
                  <a:lnTo>
                    <a:pt x="74" y="186"/>
                  </a:lnTo>
                  <a:lnTo>
                    <a:pt x="74" y="186"/>
                  </a:lnTo>
                  <a:lnTo>
                    <a:pt x="74" y="184"/>
                  </a:lnTo>
                  <a:lnTo>
                    <a:pt x="74" y="186"/>
                  </a:lnTo>
                  <a:lnTo>
                    <a:pt x="74" y="184"/>
                  </a:lnTo>
                  <a:lnTo>
                    <a:pt x="74" y="186"/>
                  </a:lnTo>
                  <a:lnTo>
                    <a:pt x="74" y="184"/>
                  </a:lnTo>
                  <a:lnTo>
                    <a:pt x="72" y="184"/>
                  </a:lnTo>
                  <a:lnTo>
                    <a:pt x="72" y="182"/>
                  </a:lnTo>
                  <a:lnTo>
                    <a:pt x="72" y="180"/>
                  </a:lnTo>
                  <a:lnTo>
                    <a:pt x="72" y="182"/>
                  </a:lnTo>
                  <a:lnTo>
                    <a:pt x="72" y="184"/>
                  </a:lnTo>
                  <a:lnTo>
                    <a:pt x="72" y="182"/>
                  </a:lnTo>
                  <a:lnTo>
                    <a:pt x="72" y="184"/>
                  </a:lnTo>
                  <a:lnTo>
                    <a:pt x="70" y="184"/>
                  </a:lnTo>
                  <a:lnTo>
                    <a:pt x="70" y="186"/>
                  </a:lnTo>
                  <a:lnTo>
                    <a:pt x="70" y="184"/>
                  </a:lnTo>
                  <a:lnTo>
                    <a:pt x="70" y="186"/>
                  </a:lnTo>
                  <a:lnTo>
                    <a:pt x="72" y="186"/>
                  </a:lnTo>
                  <a:lnTo>
                    <a:pt x="70" y="186"/>
                  </a:lnTo>
                  <a:lnTo>
                    <a:pt x="70" y="186"/>
                  </a:lnTo>
                  <a:lnTo>
                    <a:pt x="70" y="186"/>
                  </a:lnTo>
                  <a:lnTo>
                    <a:pt x="70" y="186"/>
                  </a:lnTo>
                  <a:lnTo>
                    <a:pt x="70" y="186"/>
                  </a:lnTo>
                  <a:lnTo>
                    <a:pt x="70" y="186"/>
                  </a:lnTo>
                  <a:lnTo>
                    <a:pt x="70" y="186"/>
                  </a:lnTo>
                  <a:lnTo>
                    <a:pt x="68" y="186"/>
                  </a:lnTo>
                  <a:lnTo>
                    <a:pt x="68" y="184"/>
                  </a:lnTo>
                  <a:lnTo>
                    <a:pt x="68" y="186"/>
                  </a:lnTo>
                  <a:lnTo>
                    <a:pt x="68" y="184"/>
                  </a:lnTo>
                  <a:lnTo>
                    <a:pt x="66" y="184"/>
                  </a:lnTo>
                  <a:lnTo>
                    <a:pt x="66" y="182"/>
                  </a:lnTo>
                  <a:lnTo>
                    <a:pt x="66" y="180"/>
                  </a:lnTo>
                  <a:lnTo>
                    <a:pt x="66" y="178"/>
                  </a:lnTo>
                  <a:lnTo>
                    <a:pt x="66" y="176"/>
                  </a:lnTo>
                  <a:lnTo>
                    <a:pt x="66" y="178"/>
                  </a:lnTo>
                  <a:lnTo>
                    <a:pt x="66" y="180"/>
                  </a:lnTo>
                  <a:lnTo>
                    <a:pt x="66" y="182"/>
                  </a:lnTo>
                  <a:lnTo>
                    <a:pt x="66" y="180"/>
                  </a:lnTo>
                  <a:lnTo>
                    <a:pt x="66" y="182"/>
                  </a:lnTo>
                  <a:lnTo>
                    <a:pt x="64" y="182"/>
                  </a:lnTo>
                  <a:lnTo>
                    <a:pt x="66" y="182"/>
                  </a:lnTo>
                  <a:lnTo>
                    <a:pt x="66" y="184"/>
                  </a:lnTo>
                  <a:lnTo>
                    <a:pt x="66" y="186"/>
                  </a:lnTo>
                  <a:lnTo>
                    <a:pt x="68" y="186"/>
                  </a:lnTo>
                  <a:lnTo>
                    <a:pt x="66" y="186"/>
                  </a:lnTo>
                  <a:lnTo>
                    <a:pt x="68" y="186"/>
                  </a:lnTo>
                  <a:lnTo>
                    <a:pt x="68" y="184"/>
                  </a:lnTo>
                  <a:lnTo>
                    <a:pt x="68" y="186"/>
                  </a:lnTo>
                  <a:lnTo>
                    <a:pt x="68" y="186"/>
                  </a:lnTo>
                  <a:lnTo>
                    <a:pt x="68" y="186"/>
                  </a:lnTo>
                  <a:lnTo>
                    <a:pt x="68" y="186"/>
                  </a:lnTo>
                  <a:lnTo>
                    <a:pt x="70" y="186"/>
                  </a:lnTo>
                  <a:lnTo>
                    <a:pt x="70" y="188"/>
                  </a:lnTo>
                  <a:lnTo>
                    <a:pt x="70" y="190"/>
                  </a:lnTo>
                  <a:lnTo>
                    <a:pt x="72" y="190"/>
                  </a:lnTo>
                  <a:lnTo>
                    <a:pt x="70" y="190"/>
                  </a:lnTo>
                  <a:lnTo>
                    <a:pt x="70" y="192"/>
                  </a:lnTo>
                  <a:lnTo>
                    <a:pt x="72" y="192"/>
                  </a:lnTo>
                  <a:lnTo>
                    <a:pt x="72" y="194"/>
                  </a:lnTo>
                  <a:lnTo>
                    <a:pt x="72" y="192"/>
                  </a:lnTo>
                  <a:lnTo>
                    <a:pt x="72" y="194"/>
                  </a:lnTo>
                  <a:lnTo>
                    <a:pt x="70" y="194"/>
                  </a:lnTo>
                  <a:lnTo>
                    <a:pt x="70" y="196"/>
                  </a:lnTo>
                  <a:lnTo>
                    <a:pt x="72" y="196"/>
                  </a:lnTo>
                  <a:lnTo>
                    <a:pt x="70" y="196"/>
                  </a:lnTo>
                  <a:lnTo>
                    <a:pt x="72" y="196"/>
                  </a:lnTo>
                  <a:lnTo>
                    <a:pt x="70" y="196"/>
                  </a:lnTo>
                  <a:lnTo>
                    <a:pt x="70" y="194"/>
                  </a:lnTo>
                  <a:lnTo>
                    <a:pt x="70" y="192"/>
                  </a:lnTo>
                  <a:lnTo>
                    <a:pt x="70" y="194"/>
                  </a:lnTo>
                  <a:lnTo>
                    <a:pt x="70" y="192"/>
                  </a:lnTo>
                  <a:lnTo>
                    <a:pt x="70" y="194"/>
                  </a:lnTo>
                  <a:lnTo>
                    <a:pt x="70" y="192"/>
                  </a:lnTo>
                  <a:lnTo>
                    <a:pt x="68" y="192"/>
                  </a:lnTo>
                  <a:lnTo>
                    <a:pt x="68" y="190"/>
                  </a:lnTo>
                  <a:lnTo>
                    <a:pt x="68" y="192"/>
                  </a:lnTo>
                  <a:lnTo>
                    <a:pt x="68" y="190"/>
                  </a:lnTo>
                  <a:lnTo>
                    <a:pt x="68" y="192"/>
                  </a:lnTo>
                  <a:lnTo>
                    <a:pt x="68" y="190"/>
                  </a:lnTo>
                  <a:lnTo>
                    <a:pt x="68" y="188"/>
                  </a:lnTo>
                  <a:lnTo>
                    <a:pt x="68" y="190"/>
                  </a:lnTo>
                  <a:lnTo>
                    <a:pt x="68" y="188"/>
                  </a:lnTo>
                  <a:lnTo>
                    <a:pt x="68" y="190"/>
                  </a:lnTo>
                  <a:lnTo>
                    <a:pt x="68" y="188"/>
                  </a:lnTo>
                  <a:lnTo>
                    <a:pt x="66" y="188"/>
                  </a:lnTo>
                  <a:lnTo>
                    <a:pt x="68" y="188"/>
                  </a:lnTo>
                  <a:lnTo>
                    <a:pt x="66" y="188"/>
                  </a:lnTo>
                  <a:lnTo>
                    <a:pt x="66" y="186"/>
                  </a:lnTo>
                  <a:lnTo>
                    <a:pt x="66" y="188"/>
                  </a:lnTo>
                  <a:lnTo>
                    <a:pt x="68" y="188"/>
                  </a:lnTo>
                  <a:lnTo>
                    <a:pt x="66" y="188"/>
                  </a:lnTo>
                  <a:lnTo>
                    <a:pt x="66" y="186"/>
                  </a:lnTo>
                  <a:lnTo>
                    <a:pt x="66" y="188"/>
                  </a:lnTo>
                  <a:lnTo>
                    <a:pt x="66" y="190"/>
                  </a:lnTo>
                  <a:lnTo>
                    <a:pt x="64" y="190"/>
                  </a:lnTo>
                  <a:lnTo>
                    <a:pt x="64" y="188"/>
                  </a:lnTo>
                  <a:lnTo>
                    <a:pt x="64" y="190"/>
                  </a:lnTo>
                  <a:lnTo>
                    <a:pt x="64" y="192"/>
                  </a:lnTo>
                  <a:lnTo>
                    <a:pt x="64" y="194"/>
                  </a:lnTo>
                  <a:lnTo>
                    <a:pt x="64" y="192"/>
                  </a:lnTo>
                  <a:lnTo>
                    <a:pt x="64" y="194"/>
                  </a:lnTo>
                  <a:lnTo>
                    <a:pt x="64" y="196"/>
                  </a:lnTo>
                  <a:lnTo>
                    <a:pt x="64" y="194"/>
                  </a:lnTo>
                  <a:lnTo>
                    <a:pt x="64" y="196"/>
                  </a:lnTo>
                  <a:lnTo>
                    <a:pt x="62" y="196"/>
                  </a:lnTo>
                  <a:lnTo>
                    <a:pt x="64" y="196"/>
                  </a:lnTo>
                  <a:lnTo>
                    <a:pt x="64" y="194"/>
                  </a:lnTo>
                  <a:lnTo>
                    <a:pt x="64" y="192"/>
                  </a:lnTo>
                  <a:lnTo>
                    <a:pt x="64" y="190"/>
                  </a:lnTo>
                  <a:lnTo>
                    <a:pt x="64" y="188"/>
                  </a:lnTo>
                  <a:lnTo>
                    <a:pt x="64" y="190"/>
                  </a:lnTo>
                  <a:lnTo>
                    <a:pt x="64" y="188"/>
                  </a:lnTo>
                  <a:lnTo>
                    <a:pt x="64" y="190"/>
                  </a:lnTo>
                  <a:lnTo>
                    <a:pt x="62" y="190"/>
                  </a:lnTo>
                  <a:lnTo>
                    <a:pt x="62" y="192"/>
                  </a:lnTo>
                  <a:lnTo>
                    <a:pt x="62" y="190"/>
                  </a:lnTo>
                  <a:lnTo>
                    <a:pt x="62" y="188"/>
                  </a:lnTo>
                  <a:lnTo>
                    <a:pt x="62" y="190"/>
                  </a:lnTo>
                  <a:lnTo>
                    <a:pt x="62" y="192"/>
                  </a:lnTo>
                  <a:lnTo>
                    <a:pt x="60" y="192"/>
                  </a:lnTo>
                  <a:lnTo>
                    <a:pt x="60" y="194"/>
                  </a:lnTo>
                  <a:lnTo>
                    <a:pt x="60" y="192"/>
                  </a:lnTo>
                  <a:lnTo>
                    <a:pt x="60" y="194"/>
                  </a:lnTo>
                  <a:lnTo>
                    <a:pt x="60" y="192"/>
                  </a:lnTo>
                  <a:lnTo>
                    <a:pt x="58" y="192"/>
                  </a:lnTo>
                  <a:lnTo>
                    <a:pt x="60" y="192"/>
                  </a:lnTo>
                  <a:lnTo>
                    <a:pt x="60" y="194"/>
                  </a:lnTo>
                  <a:lnTo>
                    <a:pt x="58" y="194"/>
                  </a:lnTo>
                  <a:lnTo>
                    <a:pt x="60" y="194"/>
                  </a:lnTo>
                  <a:lnTo>
                    <a:pt x="58" y="194"/>
                  </a:lnTo>
                  <a:lnTo>
                    <a:pt x="60" y="194"/>
                  </a:lnTo>
                  <a:lnTo>
                    <a:pt x="58" y="194"/>
                  </a:lnTo>
                  <a:lnTo>
                    <a:pt x="58" y="196"/>
                  </a:lnTo>
                  <a:lnTo>
                    <a:pt x="56" y="196"/>
                  </a:lnTo>
                  <a:lnTo>
                    <a:pt x="58" y="196"/>
                  </a:lnTo>
                  <a:lnTo>
                    <a:pt x="58" y="198"/>
                  </a:lnTo>
                  <a:lnTo>
                    <a:pt x="58" y="196"/>
                  </a:lnTo>
                  <a:lnTo>
                    <a:pt x="56" y="196"/>
                  </a:lnTo>
                  <a:lnTo>
                    <a:pt x="56" y="198"/>
                  </a:lnTo>
                  <a:lnTo>
                    <a:pt x="58" y="198"/>
                  </a:lnTo>
                  <a:lnTo>
                    <a:pt x="58" y="200"/>
                  </a:lnTo>
                  <a:lnTo>
                    <a:pt x="56" y="200"/>
                  </a:lnTo>
                  <a:lnTo>
                    <a:pt x="58" y="200"/>
                  </a:lnTo>
                  <a:lnTo>
                    <a:pt x="56" y="200"/>
                  </a:lnTo>
                  <a:lnTo>
                    <a:pt x="56" y="202"/>
                  </a:lnTo>
                  <a:lnTo>
                    <a:pt x="56" y="200"/>
                  </a:lnTo>
                  <a:lnTo>
                    <a:pt x="56" y="202"/>
                  </a:lnTo>
                  <a:lnTo>
                    <a:pt x="56" y="204"/>
                  </a:lnTo>
                  <a:lnTo>
                    <a:pt x="56" y="202"/>
                  </a:lnTo>
                  <a:lnTo>
                    <a:pt x="58" y="202"/>
                  </a:lnTo>
                  <a:lnTo>
                    <a:pt x="56" y="202"/>
                  </a:lnTo>
                  <a:lnTo>
                    <a:pt x="56" y="204"/>
                  </a:lnTo>
                  <a:lnTo>
                    <a:pt x="54" y="204"/>
                  </a:lnTo>
                  <a:lnTo>
                    <a:pt x="56" y="204"/>
                  </a:lnTo>
                  <a:lnTo>
                    <a:pt x="56" y="206"/>
                  </a:lnTo>
                  <a:lnTo>
                    <a:pt x="54" y="206"/>
                  </a:lnTo>
                  <a:lnTo>
                    <a:pt x="56" y="206"/>
                  </a:lnTo>
                  <a:lnTo>
                    <a:pt x="56" y="204"/>
                  </a:lnTo>
                  <a:lnTo>
                    <a:pt x="58" y="204"/>
                  </a:lnTo>
                  <a:lnTo>
                    <a:pt x="58" y="206"/>
                  </a:lnTo>
                  <a:lnTo>
                    <a:pt x="60" y="206"/>
                  </a:lnTo>
                  <a:lnTo>
                    <a:pt x="60" y="208"/>
                  </a:lnTo>
                  <a:lnTo>
                    <a:pt x="58" y="208"/>
                  </a:lnTo>
                  <a:lnTo>
                    <a:pt x="58" y="210"/>
                  </a:lnTo>
                  <a:lnTo>
                    <a:pt x="56" y="210"/>
                  </a:lnTo>
                  <a:lnTo>
                    <a:pt x="54" y="210"/>
                  </a:lnTo>
                  <a:lnTo>
                    <a:pt x="56" y="210"/>
                  </a:lnTo>
                  <a:lnTo>
                    <a:pt x="56" y="212"/>
                  </a:lnTo>
                  <a:lnTo>
                    <a:pt x="54" y="212"/>
                  </a:lnTo>
                  <a:lnTo>
                    <a:pt x="54" y="214"/>
                  </a:lnTo>
                  <a:lnTo>
                    <a:pt x="56" y="214"/>
                  </a:lnTo>
                  <a:lnTo>
                    <a:pt x="56" y="216"/>
                  </a:lnTo>
                  <a:lnTo>
                    <a:pt x="56" y="218"/>
                  </a:lnTo>
                  <a:lnTo>
                    <a:pt x="56" y="220"/>
                  </a:lnTo>
                  <a:lnTo>
                    <a:pt x="54" y="220"/>
                  </a:lnTo>
                  <a:lnTo>
                    <a:pt x="56" y="220"/>
                  </a:lnTo>
                  <a:lnTo>
                    <a:pt x="56" y="222"/>
                  </a:lnTo>
                  <a:lnTo>
                    <a:pt x="54" y="222"/>
                  </a:lnTo>
                  <a:lnTo>
                    <a:pt x="52" y="222"/>
                  </a:lnTo>
                  <a:lnTo>
                    <a:pt x="52" y="224"/>
                  </a:lnTo>
                  <a:lnTo>
                    <a:pt x="50" y="226"/>
                  </a:lnTo>
                  <a:lnTo>
                    <a:pt x="52" y="226"/>
                  </a:lnTo>
                  <a:lnTo>
                    <a:pt x="52" y="224"/>
                  </a:lnTo>
                  <a:lnTo>
                    <a:pt x="52" y="226"/>
                  </a:lnTo>
                  <a:lnTo>
                    <a:pt x="52" y="228"/>
                  </a:lnTo>
                  <a:lnTo>
                    <a:pt x="52" y="230"/>
                  </a:lnTo>
                  <a:lnTo>
                    <a:pt x="52" y="232"/>
                  </a:lnTo>
                  <a:lnTo>
                    <a:pt x="52" y="234"/>
                  </a:lnTo>
                  <a:lnTo>
                    <a:pt x="52" y="234"/>
                  </a:lnTo>
                  <a:lnTo>
                    <a:pt x="52" y="236"/>
                  </a:lnTo>
                  <a:lnTo>
                    <a:pt x="52" y="238"/>
                  </a:lnTo>
                  <a:lnTo>
                    <a:pt x="50" y="238"/>
                  </a:lnTo>
                  <a:lnTo>
                    <a:pt x="50" y="236"/>
                  </a:lnTo>
                  <a:lnTo>
                    <a:pt x="50" y="238"/>
                  </a:lnTo>
                  <a:lnTo>
                    <a:pt x="48" y="238"/>
                  </a:lnTo>
                  <a:lnTo>
                    <a:pt x="48" y="236"/>
                  </a:lnTo>
                  <a:lnTo>
                    <a:pt x="46" y="236"/>
                  </a:lnTo>
                  <a:lnTo>
                    <a:pt x="44" y="236"/>
                  </a:lnTo>
                  <a:lnTo>
                    <a:pt x="44" y="234"/>
                  </a:lnTo>
                  <a:lnTo>
                    <a:pt x="44" y="234"/>
                  </a:lnTo>
                  <a:lnTo>
                    <a:pt x="44" y="232"/>
                  </a:lnTo>
                  <a:lnTo>
                    <a:pt x="42" y="232"/>
                  </a:lnTo>
                  <a:lnTo>
                    <a:pt x="40" y="232"/>
                  </a:lnTo>
                  <a:lnTo>
                    <a:pt x="40" y="230"/>
                  </a:lnTo>
                  <a:lnTo>
                    <a:pt x="40" y="232"/>
                  </a:lnTo>
                  <a:lnTo>
                    <a:pt x="40" y="230"/>
                  </a:lnTo>
                  <a:lnTo>
                    <a:pt x="38" y="230"/>
                  </a:lnTo>
                  <a:lnTo>
                    <a:pt x="40" y="230"/>
                  </a:lnTo>
                  <a:lnTo>
                    <a:pt x="38" y="230"/>
                  </a:lnTo>
                  <a:lnTo>
                    <a:pt x="38" y="228"/>
                  </a:lnTo>
                  <a:lnTo>
                    <a:pt x="36" y="228"/>
                  </a:lnTo>
                  <a:lnTo>
                    <a:pt x="34" y="228"/>
                  </a:lnTo>
                  <a:lnTo>
                    <a:pt x="34" y="226"/>
                  </a:lnTo>
                  <a:lnTo>
                    <a:pt x="34" y="224"/>
                  </a:lnTo>
                  <a:lnTo>
                    <a:pt x="34" y="222"/>
                  </a:lnTo>
                  <a:lnTo>
                    <a:pt x="34" y="220"/>
                  </a:lnTo>
                  <a:lnTo>
                    <a:pt x="32" y="220"/>
                  </a:lnTo>
                  <a:lnTo>
                    <a:pt x="32" y="218"/>
                  </a:lnTo>
                  <a:lnTo>
                    <a:pt x="32" y="216"/>
                  </a:lnTo>
                  <a:lnTo>
                    <a:pt x="30" y="216"/>
                  </a:lnTo>
                  <a:lnTo>
                    <a:pt x="30" y="214"/>
                  </a:lnTo>
                  <a:lnTo>
                    <a:pt x="30" y="212"/>
                  </a:lnTo>
                  <a:lnTo>
                    <a:pt x="30" y="210"/>
                  </a:lnTo>
                  <a:lnTo>
                    <a:pt x="28" y="210"/>
                  </a:lnTo>
                  <a:lnTo>
                    <a:pt x="28" y="208"/>
                  </a:lnTo>
                  <a:lnTo>
                    <a:pt x="28" y="206"/>
                  </a:lnTo>
                  <a:lnTo>
                    <a:pt x="28" y="206"/>
                  </a:lnTo>
                  <a:lnTo>
                    <a:pt x="28" y="204"/>
                  </a:lnTo>
                  <a:lnTo>
                    <a:pt x="28" y="202"/>
                  </a:lnTo>
                  <a:lnTo>
                    <a:pt x="28" y="200"/>
                  </a:lnTo>
                  <a:lnTo>
                    <a:pt x="26" y="200"/>
                  </a:lnTo>
                  <a:lnTo>
                    <a:pt x="26" y="198"/>
                  </a:lnTo>
                  <a:lnTo>
                    <a:pt x="26" y="196"/>
                  </a:lnTo>
                  <a:lnTo>
                    <a:pt x="26" y="194"/>
                  </a:lnTo>
                  <a:lnTo>
                    <a:pt x="24" y="194"/>
                  </a:lnTo>
                  <a:lnTo>
                    <a:pt x="24" y="192"/>
                  </a:lnTo>
                  <a:lnTo>
                    <a:pt x="24" y="190"/>
                  </a:lnTo>
                  <a:lnTo>
                    <a:pt x="22" y="190"/>
                  </a:lnTo>
                  <a:lnTo>
                    <a:pt x="22" y="188"/>
                  </a:lnTo>
                  <a:lnTo>
                    <a:pt x="22" y="186"/>
                  </a:lnTo>
                  <a:lnTo>
                    <a:pt x="22" y="186"/>
                  </a:lnTo>
                  <a:lnTo>
                    <a:pt x="20" y="186"/>
                  </a:lnTo>
                  <a:lnTo>
                    <a:pt x="20" y="184"/>
                  </a:lnTo>
                  <a:lnTo>
                    <a:pt x="20" y="182"/>
                  </a:lnTo>
                  <a:lnTo>
                    <a:pt x="18" y="180"/>
                  </a:lnTo>
                  <a:lnTo>
                    <a:pt x="18" y="178"/>
                  </a:lnTo>
                  <a:lnTo>
                    <a:pt x="18" y="176"/>
                  </a:lnTo>
                  <a:lnTo>
                    <a:pt x="16" y="176"/>
                  </a:lnTo>
                  <a:lnTo>
                    <a:pt x="16" y="174"/>
                  </a:lnTo>
                  <a:lnTo>
                    <a:pt x="16" y="172"/>
                  </a:lnTo>
                  <a:lnTo>
                    <a:pt x="14" y="170"/>
                  </a:lnTo>
                  <a:lnTo>
                    <a:pt x="14" y="168"/>
                  </a:lnTo>
                  <a:lnTo>
                    <a:pt x="14" y="166"/>
                  </a:lnTo>
                  <a:lnTo>
                    <a:pt x="12" y="166"/>
                  </a:lnTo>
                  <a:lnTo>
                    <a:pt x="12" y="164"/>
                  </a:lnTo>
                  <a:lnTo>
                    <a:pt x="12" y="162"/>
                  </a:lnTo>
                  <a:lnTo>
                    <a:pt x="12" y="160"/>
                  </a:lnTo>
                  <a:lnTo>
                    <a:pt x="10" y="160"/>
                  </a:lnTo>
                  <a:lnTo>
                    <a:pt x="10" y="158"/>
                  </a:lnTo>
                  <a:lnTo>
                    <a:pt x="10" y="156"/>
                  </a:lnTo>
                  <a:lnTo>
                    <a:pt x="8" y="156"/>
                  </a:lnTo>
                  <a:lnTo>
                    <a:pt x="8" y="154"/>
                  </a:lnTo>
                  <a:lnTo>
                    <a:pt x="8" y="152"/>
                  </a:lnTo>
                  <a:lnTo>
                    <a:pt x="8" y="150"/>
                  </a:lnTo>
                  <a:lnTo>
                    <a:pt x="6" y="150"/>
                  </a:lnTo>
                  <a:lnTo>
                    <a:pt x="6" y="148"/>
                  </a:lnTo>
                  <a:lnTo>
                    <a:pt x="6" y="146"/>
                  </a:lnTo>
                  <a:lnTo>
                    <a:pt x="4" y="146"/>
                  </a:lnTo>
                  <a:lnTo>
                    <a:pt x="4" y="144"/>
                  </a:lnTo>
                  <a:lnTo>
                    <a:pt x="4" y="142"/>
                  </a:lnTo>
                  <a:lnTo>
                    <a:pt x="2" y="140"/>
                  </a:lnTo>
                  <a:lnTo>
                    <a:pt x="2" y="138"/>
                  </a:lnTo>
                  <a:lnTo>
                    <a:pt x="2" y="138"/>
                  </a:lnTo>
                  <a:lnTo>
                    <a:pt x="0" y="138"/>
                  </a:lnTo>
                  <a:lnTo>
                    <a:pt x="0" y="136"/>
                  </a:lnTo>
                  <a:lnTo>
                    <a:pt x="0" y="134"/>
                  </a:lnTo>
                  <a:lnTo>
                    <a:pt x="2" y="134"/>
                  </a:lnTo>
                  <a:lnTo>
                    <a:pt x="2" y="132"/>
                  </a:lnTo>
                  <a:lnTo>
                    <a:pt x="4" y="132"/>
                  </a:lnTo>
                  <a:lnTo>
                    <a:pt x="6" y="132"/>
                  </a:lnTo>
                  <a:lnTo>
                    <a:pt x="6" y="134"/>
                  </a:lnTo>
                  <a:lnTo>
                    <a:pt x="8" y="134"/>
                  </a:lnTo>
                  <a:lnTo>
                    <a:pt x="8" y="136"/>
                  </a:lnTo>
                  <a:lnTo>
                    <a:pt x="10" y="136"/>
                  </a:lnTo>
                  <a:lnTo>
                    <a:pt x="10" y="134"/>
                  </a:lnTo>
                  <a:lnTo>
                    <a:pt x="8" y="134"/>
                  </a:lnTo>
                  <a:lnTo>
                    <a:pt x="10" y="134"/>
                  </a:lnTo>
                  <a:lnTo>
                    <a:pt x="8" y="132"/>
                  </a:lnTo>
                  <a:lnTo>
                    <a:pt x="10" y="132"/>
                  </a:lnTo>
                  <a:lnTo>
                    <a:pt x="8" y="132"/>
                  </a:lnTo>
                  <a:lnTo>
                    <a:pt x="10" y="132"/>
                  </a:lnTo>
                  <a:lnTo>
                    <a:pt x="10" y="130"/>
                  </a:lnTo>
                  <a:lnTo>
                    <a:pt x="8" y="130"/>
                  </a:lnTo>
                  <a:lnTo>
                    <a:pt x="8" y="128"/>
                  </a:lnTo>
                  <a:lnTo>
                    <a:pt x="8" y="126"/>
                  </a:lnTo>
                  <a:lnTo>
                    <a:pt x="8" y="124"/>
                  </a:lnTo>
                  <a:lnTo>
                    <a:pt x="10" y="124"/>
                  </a:lnTo>
                  <a:lnTo>
                    <a:pt x="10" y="126"/>
                  </a:lnTo>
                  <a:lnTo>
                    <a:pt x="12" y="126"/>
                  </a:lnTo>
                  <a:lnTo>
                    <a:pt x="14" y="126"/>
                  </a:lnTo>
                  <a:lnTo>
                    <a:pt x="14" y="124"/>
                  </a:lnTo>
                  <a:lnTo>
                    <a:pt x="14" y="122"/>
                  </a:lnTo>
                  <a:lnTo>
                    <a:pt x="12" y="122"/>
                  </a:lnTo>
                  <a:lnTo>
                    <a:pt x="10" y="122"/>
                  </a:lnTo>
                  <a:lnTo>
                    <a:pt x="10" y="120"/>
                  </a:lnTo>
                  <a:lnTo>
                    <a:pt x="10" y="122"/>
                  </a:lnTo>
                  <a:lnTo>
                    <a:pt x="10" y="120"/>
                  </a:lnTo>
                  <a:lnTo>
                    <a:pt x="8" y="120"/>
                  </a:lnTo>
                  <a:lnTo>
                    <a:pt x="10" y="120"/>
                  </a:lnTo>
                  <a:lnTo>
                    <a:pt x="10" y="118"/>
                  </a:lnTo>
                  <a:lnTo>
                    <a:pt x="10" y="116"/>
                  </a:lnTo>
                  <a:lnTo>
                    <a:pt x="10" y="114"/>
                  </a:lnTo>
                  <a:lnTo>
                    <a:pt x="10" y="112"/>
                  </a:lnTo>
                  <a:lnTo>
                    <a:pt x="12" y="112"/>
                  </a:lnTo>
                  <a:lnTo>
                    <a:pt x="12" y="110"/>
                  </a:lnTo>
                  <a:lnTo>
                    <a:pt x="14" y="112"/>
                  </a:lnTo>
                  <a:lnTo>
                    <a:pt x="12" y="110"/>
                  </a:lnTo>
                  <a:lnTo>
                    <a:pt x="14" y="110"/>
                  </a:lnTo>
                  <a:lnTo>
                    <a:pt x="14" y="108"/>
                  </a:lnTo>
                  <a:lnTo>
                    <a:pt x="14" y="106"/>
                  </a:lnTo>
                  <a:lnTo>
                    <a:pt x="16" y="106"/>
                  </a:lnTo>
                  <a:lnTo>
                    <a:pt x="16" y="104"/>
                  </a:lnTo>
                  <a:lnTo>
                    <a:pt x="16" y="102"/>
                  </a:lnTo>
                  <a:lnTo>
                    <a:pt x="14" y="102"/>
                  </a:lnTo>
                  <a:lnTo>
                    <a:pt x="16" y="102"/>
                  </a:lnTo>
                  <a:lnTo>
                    <a:pt x="16" y="100"/>
                  </a:lnTo>
                  <a:lnTo>
                    <a:pt x="16" y="98"/>
                  </a:lnTo>
                  <a:lnTo>
                    <a:pt x="16" y="100"/>
                  </a:lnTo>
                  <a:lnTo>
                    <a:pt x="16" y="98"/>
                  </a:lnTo>
                  <a:lnTo>
                    <a:pt x="18" y="98"/>
                  </a:lnTo>
                  <a:lnTo>
                    <a:pt x="18" y="96"/>
                  </a:lnTo>
                  <a:lnTo>
                    <a:pt x="18" y="94"/>
                  </a:lnTo>
                  <a:lnTo>
                    <a:pt x="18" y="92"/>
                  </a:lnTo>
                  <a:lnTo>
                    <a:pt x="16" y="92"/>
                  </a:lnTo>
                  <a:lnTo>
                    <a:pt x="16" y="90"/>
                  </a:lnTo>
                  <a:lnTo>
                    <a:pt x="14" y="90"/>
                  </a:lnTo>
                  <a:lnTo>
                    <a:pt x="14" y="90"/>
                  </a:lnTo>
                  <a:lnTo>
                    <a:pt x="16" y="90"/>
                  </a:lnTo>
                  <a:lnTo>
                    <a:pt x="16" y="88"/>
                  </a:lnTo>
                  <a:lnTo>
                    <a:pt x="14" y="88"/>
                  </a:lnTo>
                  <a:lnTo>
                    <a:pt x="16" y="88"/>
                  </a:lnTo>
                  <a:lnTo>
                    <a:pt x="14" y="88"/>
                  </a:lnTo>
                  <a:lnTo>
                    <a:pt x="14" y="86"/>
                  </a:lnTo>
                  <a:lnTo>
                    <a:pt x="16" y="86"/>
                  </a:lnTo>
                  <a:lnTo>
                    <a:pt x="14" y="86"/>
                  </a:lnTo>
                  <a:lnTo>
                    <a:pt x="14" y="84"/>
                  </a:lnTo>
                  <a:lnTo>
                    <a:pt x="14" y="82"/>
                  </a:lnTo>
                  <a:lnTo>
                    <a:pt x="12" y="82"/>
                  </a:lnTo>
                  <a:lnTo>
                    <a:pt x="12" y="80"/>
                  </a:lnTo>
                  <a:lnTo>
                    <a:pt x="12" y="78"/>
                  </a:lnTo>
                  <a:lnTo>
                    <a:pt x="12" y="76"/>
                  </a:lnTo>
                  <a:lnTo>
                    <a:pt x="14" y="76"/>
                  </a:lnTo>
                  <a:lnTo>
                    <a:pt x="14" y="74"/>
                  </a:lnTo>
                  <a:lnTo>
                    <a:pt x="12" y="74"/>
                  </a:lnTo>
                  <a:lnTo>
                    <a:pt x="12" y="72"/>
                  </a:lnTo>
                  <a:lnTo>
                    <a:pt x="14" y="72"/>
                  </a:lnTo>
                  <a:lnTo>
                    <a:pt x="14" y="70"/>
                  </a:lnTo>
                  <a:lnTo>
                    <a:pt x="16" y="70"/>
                  </a:lnTo>
                  <a:lnTo>
                    <a:pt x="16" y="68"/>
                  </a:lnTo>
                  <a:lnTo>
                    <a:pt x="16" y="66"/>
                  </a:lnTo>
                  <a:lnTo>
                    <a:pt x="16" y="64"/>
                  </a:lnTo>
                  <a:lnTo>
                    <a:pt x="14" y="60"/>
                  </a:lnTo>
                  <a:lnTo>
                    <a:pt x="14" y="58"/>
                  </a:lnTo>
                  <a:lnTo>
                    <a:pt x="14" y="56"/>
                  </a:lnTo>
                  <a:lnTo>
                    <a:pt x="14" y="54"/>
                  </a:lnTo>
                  <a:lnTo>
                    <a:pt x="14" y="52"/>
                  </a:lnTo>
                  <a:lnTo>
                    <a:pt x="14" y="50"/>
                  </a:lnTo>
                  <a:lnTo>
                    <a:pt x="14" y="48"/>
                  </a:lnTo>
                  <a:lnTo>
                    <a:pt x="16" y="46"/>
                  </a:lnTo>
                  <a:lnTo>
                    <a:pt x="16" y="44"/>
                  </a:lnTo>
                  <a:lnTo>
                    <a:pt x="16" y="42"/>
                  </a:lnTo>
                  <a:lnTo>
                    <a:pt x="16" y="42"/>
                  </a:lnTo>
                  <a:lnTo>
                    <a:pt x="18" y="40"/>
                  </a:lnTo>
                  <a:lnTo>
                    <a:pt x="18" y="38"/>
                  </a:lnTo>
                  <a:lnTo>
                    <a:pt x="18" y="36"/>
                  </a:lnTo>
                  <a:lnTo>
                    <a:pt x="18" y="34"/>
                  </a:lnTo>
                  <a:lnTo>
                    <a:pt x="20" y="34"/>
                  </a:lnTo>
                  <a:lnTo>
                    <a:pt x="20" y="32"/>
                  </a:lnTo>
                  <a:lnTo>
                    <a:pt x="20" y="30"/>
                  </a:lnTo>
                  <a:lnTo>
                    <a:pt x="20" y="28"/>
                  </a:lnTo>
                  <a:lnTo>
                    <a:pt x="20" y="26"/>
                  </a:lnTo>
                  <a:lnTo>
                    <a:pt x="22" y="26"/>
                  </a:lnTo>
                  <a:lnTo>
                    <a:pt x="22" y="24"/>
                  </a:lnTo>
                  <a:lnTo>
                    <a:pt x="22" y="22"/>
                  </a:lnTo>
                  <a:lnTo>
                    <a:pt x="22" y="20"/>
                  </a:lnTo>
                  <a:lnTo>
                    <a:pt x="24" y="18"/>
                  </a:lnTo>
                  <a:lnTo>
                    <a:pt x="24" y="16"/>
                  </a:lnTo>
                  <a:lnTo>
                    <a:pt x="24" y="14"/>
                  </a:lnTo>
                  <a:lnTo>
                    <a:pt x="24" y="12"/>
                  </a:lnTo>
                  <a:lnTo>
                    <a:pt x="24" y="10"/>
                  </a:lnTo>
                  <a:lnTo>
                    <a:pt x="26" y="10"/>
                  </a:lnTo>
                  <a:lnTo>
                    <a:pt x="26" y="8"/>
                  </a:lnTo>
                  <a:lnTo>
                    <a:pt x="28" y="8"/>
                  </a:lnTo>
                  <a:lnTo>
                    <a:pt x="28" y="8"/>
                  </a:lnTo>
                  <a:lnTo>
                    <a:pt x="30" y="8"/>
                  </a:lnTo>
                  <a:lnTo>
                    <a:pt x="32" y="8"/>
                  </a:lnTo>
                  <a:lnTo>
                    <a:pt x="30" y="8"/>
                  </a:lnTo>
                  <a:lnTo>
                    <a:pt x="32" y="8"/>
                  </a:lnTo>
                  <a:lnTo>
                    <a:pt x="30" y="8"/>
                  </a:lnTo>
                  <a:lnTo>
                    <a:pt x="32" y="8"/>
                  </a:lnTo>
                  <a:lnTo>
                    <a:pt x="30" y="8"/>
                  </a:lnTo>
                  <a:lnTo>
                    <a:pt x="32" y="8"/>
                  </a:lnTo>
                  <a:lnTo>
                    <a:pt x="32" y="10"/>
                  </a:lnTo>
                  <a:lnTo>
                    <a:pt x="30" y="10"/>
                  </a:lnTo>
                  <a:lnTo>
                    <a:pt x="32" y="10"/>
                  </a:lnTo>
                  <a:lnTo>
                    <a:pt x="32" y="12"/>
                  </a:lnTo>
                  <a:lnTo>
                    <a:pt x="32" y="14"/>
                  </a:lnTo>
                  <a:lnTo>
                    <a:pt x="34" y="14"/>
                  </a:lnTo>
                  <a:lnTo>
                    <a:pt x="34" y="16"/>
                  </a:lnTo>
                  <a:lnTo>
                    <a:pt x="36" y="16"/>
                  </a:lnTo>
                  <a:lnTo>
                    <a:pt x="38" y="16"/>
                  </a:lnTo>
                  <a:lnTo>
                    <a:pt x="38" y="18"/>
                  </a:lnTo>
                  <a:lnTo>
                    <a:pt x="38" y="16"/>
                  </a:lnTo>
                  <a:lnTo>
                    <a:pt x="38" y="18"/>
                  </a:lnTo>
                  <a:lnTo>
                    <a:pt x="38" y="16"/>
                  </a:lnTo>
                  <a:lnTo>
                    <a:pt x="38" y="18"/>
                  </a:lnTo>
                  <a:lnTo>
                    <a:pt x="38" y="16"/>
                  </a:lnTo>
                  <a:lnTo>
                    <a:pt x="38" y="18"/>
                  </a:lnTo>
                  <a:lnTo>
                    <a:pt x="40" y="18"/>
                  </a:lnTo>
                  <a:lnTo>
                    <a:pt x="40" y="16"/>
                  </a:lnTo>
                  <a:lnTo>
                    <a:pt x="42" y="16"/>
                  </a:lnTo>
                  <a:lnTo>
                    <a:pt x="42" y="14"/>
                  </a:lnTo>
                  <a:lnTo>
                    <a:pt x="44" y="14"/>
                  </a:lnTo>
                  <a:lnTo>
                    <a:pt x="44" y="12"/>
                  </a:lnTo>
                  <a:lnTo>
                    <a:pt x="46" y="12"/>
                  </a:lnTo>
                  <a:lnTo>
                    <a:pt x="48" y="12"/>
                  </a:lnTo>
                  <a:lnTo>
                    <a:pt x="48" y="10"/>
                  </a:lnTo>
                  <a:lnTo>
                    <a:pt x="48" y="8"/>
                  </a:lnTo>
                  <a:lnTo>
                    <a:pt x="50" y="8"/>
                  </a:lnTo>
                  <a:lnTo>
                    <a:pt x="50" y="6"/>
                  </a:lnTo>
                  <a:lnTo>
                    <a:pt x="52" y="6"/>
                  </a:lnTo>
                  <a:lnTo>
                    <a:pt x="54" y="6"/>
                  </a:lnTo>
                  <a:lnTo>
                    <a:pt x="56" y="6"/>
                  </a:lnTo>
                  <a:lnTo>
                    <a:pt x="56" y="4"/>
                  </a:lnTo>
                  <a:lnTo>
                    <a:pt x="54" y="4"/>
                  </a:lnTo>
                  <a:lnTo>
                    <a:pt x="54" y="2"/>
                  </a:lnTo>
                  <a:lnTo>
                    <a:pt x="56" y="2"/>
                  </a:lnTo>
                  <a:lnTo>
                    <a:pt x="56" y="0"/>
                  </a:lnTo>
                  <a:lnTo>
                    <a:pt x="58" y="0"/>
                  </a:lnTo>
                  <a:lnTo>
                    <a:pt x="60" y="0"/>
                  </a:lnTo>
                  <a:lnTo>
                    <a:pt x="62" y="0"/>
                  </a:lnTo>
                  <a:lnTo>
                    <a:pt x="62" y="2"/>
                  </a:lnTo>
                  <a:lnTo>
                    <a:pt x="64" y="2"/>
                  </a:lnTo>
                  <a:lnTo>
                    <a:pt x="66" y="2"/>
                  </a:lnTo>
                  <a:lnTo>
                    <a:pt x="68" y="2"/>
                  </a:lnTo>
                  <a:lnTo>
                    <a:pt x="68" y="4"/>
                  </a:lnTo>
                  <a:lnTo>
                    <a:pt x="70" y="4"/>
                  </a:lnTo>
                  <a:lnTo>
                    <a:pt x="72" y="4"/>
                  </a:lnTo>
                  <a:lnTo>
                    <a:pt x="72" y="6"/>
                  </a:lnTo>
                  <a:lnTo>
                    <a:pt x="74" y="6"/>
                  </a:lnTo>
                  <a:lnTo>
                    <a:pt x="74" y="8"/>
                  </a:lnTo>
                  <a:lnTo>
                    <a:pt x="76" y="8"/>
                  </a:lnTo>
                  <a:lnTo>
                    <a:pt x="76" y="8"/>
                  </a:lnTo>
                  <a:lnTo>
                    <a:pt x="78" y="8"/>
                  </a:lnTo>
                  <a:lnTo>
                    <a:pt x="78" y="10"/>
                  </a:lnTo>
                  <a:lnTo>
                    <a:pt x="78" y="12"/>
                  </a:lnTo>
                  <a:lnTo>
                    <a:pt x="80" y="12"/>
                  </a:lnTo>
                  <a:lnTo>
                    <a:pt x="80" y="14"/>
                  </a:lnTo>
                  <a:lnTo>
                    <a:pt x="80" y="16"/>
                  </a:lnTo>
                  <a:lnTo>
                    <a:pt x="80" y="18"/>
                  </a:lnTo>
                  <a:lnTo>
                    <a:pt x="82" y="18"/>
                  </a:lnTo>
                  <a:lnTo>
                    <a:pt x="82" y="20"/>
                  </a:lnTo>
                  <a:lnTo>
                    <a:pt x="82" y="22"/>
                  </a:lnTo>
                  <a:lnTo>
                    <a:pt x="84" y="24"/>
                  </a:lnTo>
                  <a:lnTo>
                    <a:pt x="84" y="26"/>
                  </a:lnTo>
                  <a:lnTo>
                    <a:pt x="84" y="28"/>
                  </a:lnTo>
                  <a:lnTo>
                    <a:pt x="86" y="28"/>
                  </a:lnTo>
                  <a:lnTo>
                    <a:pt x="86" y="30"/>
                  </a:lnTo>
                  <a:lnTo>
                    <a:pt x="86" y="32"/>
                  </a:lnTo>
                  <a:lnTo>
                    <a:pt x="88" y="32"/>
                  </a:lnTo>
                  <a:lnTo>
                    <a:pt x="88" y="34"/>
                  </a:lnTo>
                  <a:lnTo>
                    <a:pt x="88" y="36"/>
                  </a:lnTo>
                  <a:lnTo>
                    <a:pt x="88" y="38"/>
                  </a:lnTo>
                  <a:lnTo>
                    <a:pt x="90" y="38"/>
                  </a:lnTo>
                  <a:lnTo>
                    <a:pt x="90" y="40"/>
                  </a:lnTo>
                  <a:lnTo>
                    <a:pt x="90" y="42"/>
                  </a:lnTo>
                  <a:lnTo>
                    <a:pt x="92" y="42"/>
                  </a:lnTo>
                  <a:lnTo>
                    <a:pt x="92" y="42"/>
                  </a:lnTo>
                  <a:lnTo>
                    <a:pt x="92" y="44"/>
                  </a:lnTo>
                  <a:lnTo>
                    <a:pt x="94" y="46"/>
                  </a:lnTo>
                  <a:lnTo>
                    <a:pt x="94" y="48"/>
                  </a:lnTo>
                  <a:lnTo>
                    <a:pt x="94" y="50"/>
                  </a:lnTo>
                  <a:lnTo>
                    <a:pt x="96" y="50"/>
                  </a:lnTo>
                  <a:lnTo>
                    <a:pt x="96" y="52"/>
                  </a:lnTo>
                  <a:lnTo>
                    <a:pt x="96" y="54"/>
                  </a:lnTo>
                  <a:lnTo>
                    <a:pt x="98" y="56"/>
                  </a:lnTo>
                  <a:lnTo>
                    <a:pt x="98" y="58"/>
                  </a:lnTo>
                  <a:lnTo>
                    <a:pt x="98" y="60"/>
                  </a:lnTo>
                  <a:lnTo>
                    <a:pt x="100" y="60"/>
                  </a:lnTo>
                  <a:lnTo>
                    <a:pt x="100" y="62"/>
                  </a:lnTo>
                  <a:lnTo>
                    <a:pt x="102" y="62"/>
                  </a:lnTo>
                  <a:lnTo>
                    <a:pt x="102" y="64"/>
                  </a:lnTo>
                  <a:lnTo>
                    <a:pt x="100" y="64"/>
                  </a:lnTo>
                  <a:lnTo>
                    <a:pt x="102" y="64"/>
                  </a:lnTo>
                  <a:lnTo>
                    <a:pt x="100" y="64"/>
                  </a:lnTo>
                  <a:lnTo>
                    <a:pt x="102" y="64"/>
                  </a:lnTo>
                  <a:lnTo>
                    <a:pt x="100" y="64"/>
                  </a:lnTo>
                  <a:lnTo>
                    <a:pt x="100" y="66"/>
                  </a:lnTo>
                  <a:lnTo>
                    <a:pt x="102" y="66"/>
                  </a:lnTo>
                  <a:lnTo>
                    <a:pt x="102" y="68"/>
                  </a:lnTo>
                  <a:lnTo>
                    <a:pt x="104" y="68"/>
                  </a:lnTo>
                  <a:lnTo>
                    <a:pt x="102" y="68"/>
                  </a:lnTo>
                  <a:lnTo>
                    <a:pt x="102" y="70"/>
                  </a:lnTo>
                  <a:lnTo>
                    <a:pt x="102" y="72"/>
                  </a:lnTo>
                  <a:lnTo>
                    <a:pt x="104" y="72"/>
                  </a:lnTo>
                  <a:lnTo>
                    <a:pt x="102" y="72"/>
                  </a:lnTo>
                  <a:lnTo>
                    <a:pt x="104" y="74"/>
                  </a:lnTo>
                  <a:lnTo>
                    <a:pt x="104" y="76"/>
                  </a:lnTo>
                  <a:lnTo>
                    <a:pt x="106" y="74"/>
                  </a:lnTo>
                  <a:lnTo>
                    <a:pt x="106" y="76"/>
                  </a:lnTo>
                  <a:lnTo>
                    <a:pt x="106" y="74"/>
                  </a:lnTo>
                  <a:lnTo>
                    <a:pt x="106" y="76"/>
                  </a:lnTo>
                  <a:lnTo>
                    <a:pt x="108" y="76"/>
                  </a:lnTo>
                  <a:lnTo>
                    <a:pt x="108" y="74"/>
                  </a:lnTo>
                  <a:lnTo>
                    <a:pt x="106" y="74"/>
                  </a:lnTo>
                  <a:lnTo>
                    <a:pt x="108" y="74"/>
                  </a:lnTo>
                  <a:lnTo>
                    <a:pt x="108" y="76"/>
                  </a:lnTo>
                  <a:lnTo>
                    <a:pt x="110" y="76"/>
                  </a:lnTo>
                  <a:lnTo>
                    <a:pt x="112" y="76"/>
                  </a:lnTo>
                  <a:lnTo>
                    <a:pt x="110" y="76"/>
                  </a:lnTo>
                  <a:lnTo>
                    <a:pt x="112" y="76"/>
                  </a:lnTo>
                  <a:lnTo>
                    <a:pt x="114" y="76"/>
                  </a:lnTo>
                  <a:lnTo>
                    <a:pt x="116" y="76"/>
                  </a:lnTo>
                  <a:lnTo>
                    <a:pt x="116" y="74"/>
                  </a:lnTo>
                  <a:lnTo>
                    <a:pt x="118" y="74"/>
                  </a:lnTo>
                  <a:lnTo>
                    <a:pt x="120" y="74"/>
                  </a:lnTo>
                  <a:lnTo>
                    <a:pt x="120" y="76"/>
                  </a:lnTo>
                  <a:lnTo>
                    <a:pt x="120" y="78"/>
                  </a:lnTo>
                  <a:lnTo>
                    <a:pt x="122" y="78"/>
                  </a:lnTo>
                  <a:lnTo>
                    <a:pt x="120" y="78"/>
                  </a:lnTo>
                  <a:lnTo>
                    <a:pt x="120" y="80"/>
                  </a:lnTo>
                  <a:lnTo>
                    <a:pt x="120" y="78"/>
                  </a:lnTo>
                  <a:lnTo>
                    <a:pt x="120" y="80"/>
                  </a:lnTo>
                  <a:lnTo>
                    <a:pt x="118" y="80"/>
                  </a:lnTo>
                  <a:lnTo>
                    <a:pt x="118" y="82"/>
                  </a:lnTo>
                  <a:lnTo>
                    <a:pt x="120" y="82"/>
                  </a:lnTo>
                  <a:lnTo>
                    <a:pt x="120" y="84"/>
                  </a:lnTo>
                  <a:lnTo>
                    <a:pt x="122" y="84"/>
                  </a:lnTo>
                  <a:lnTo>
                    <a:pt x="124" y="84"/>
                  </a:lnTo>
                  <a:lnTo>
                    <a:pt x="124" y="86"/>
                  </a:lnTo>
                  <a:lnTo>
                    <a:pt x="124" y="88"/>
                  </a:lnTo>
                  <a:lnTo>
                    <a:pt x="124" y="90"/>
                  </a:lnTo>
                  <a:lnTo>
                    <a:pt x="122" y="90"/>
                  </a:lnTo>
                  <a:lnTo>
                    <a:pt x="124" y="90"/>
                  </a:lnTo>
                  <a:lnTo>
                    <a:pt x="122" y="90"/>
                  </a:lnTo>
                  <a:lnTo>
                    <a:pt x="124" y="90"/>
                  </a:lnTo>
                  <a:lnTo>
                    <a:pt x="124" y="90"/>
                  </a:lnTo>
                  <a:lnTo>
                    <a:pt x="124" y="90"/>
                  </a:lnTo>
                  <a:lnTo>
                    <a:pt x="124" y="92"/>
                  </a:lnTo>
                  <a:lnTo>
                    <a:pt x="126" y="92"/>
                  </a:lnTo>
                  <a:lnTo>
                    <a:pt x="126" y="94"/>
                  </a:lnTo>
                  <a:lnTo>
                    <a:pt x="128" y="94"/>
                  </a:lnTo>
                  <a:lnTo>
                    <a:pt x="130" y="94"/>
                  </a:lnTo>
                  <a:lnTo>
                    <a:pt x="130" y="92"/>
                  </a:lnTo>
                  <a:lnTo>
                    <a:pt x="130" y="90"/>
                  </a:lnTo>
                  <a:lnTo>
                    <a:pt x="132" y="90"/>
                  </a:lnTo>
                  <a:lnTo>
                    <a:pt x="134" y="90"/>
                  </a:lnTo>
                  <a:lnTo>
                    <a:pt x="136" y="90"/>
                  </a:lnTo>
                  <a:lnTo>
                    <a:pt x="136" y="92"/>
                  </a:lnTo>
                  <a:lnTo>
                    <a:pt x="138" y="92"/>
                  </a:lnTo>
                  <a:lnTo>
                    <a:pt x="138" y="94"/>
                  </a:lnTo>
                  <a:lnTo>
                    <a:pt x="140" y="94"/>
                  </a:lnTo>
                  <a:lnTo>
                    <a:pt x="140" y="96"/>
                  </a:lnTo>
                  <a:lnTo>
                    <a:pt x="142" y="96"/>
                  </a:lnTo>
                  <a:lnTo>
                    <a:pt x="142" y="98"/>
                  </a:lnTo>
                  <a:lnTo>
                    <a:pt x="144" y="98"/>
                  </a:lnTo>
                  <a:lnTo>
                    <a:pt x="144" y="100"/>
                  </a:lnTo>
                  <a:lnTo>
                    <a:pt x="146" y="100"/>
                  </a:lnTo>
                  <a:lnTo>
                    <a:pt x="144" y="100"/>
                  </a:lnTo>
                  <a:lnTo>
                    <a:pt x="146" y="100"/>
                  </a:lnTo>
                  <a:lnTo>
                    <a:pt x="144" y="100"/>
                  </a:lnTo>
                  <a:lnTo>
                    <a:pt x="144" y="98"/>
                  </a:lnTo>
                  <a:lnTo>
                    <a:pt x="142" y="98"/>
                  </a:lnTo>
                  <a:lnTo>
                    <a:pt x="144" y="98"/>
                  </a:lnTo>
                  <a:lnTo>
                    <a:pt x="144" y="100"/>
                  </a:lnTo>
                  <a:lnTo>
                    <a:pt x="142" y="100"/>
                  </a:lnTo>
                  <a:lnTo>
                    <a:pt x="144" y="100"/>
                  </a:lnTo>
                  <a:lnTo>
                    <a:pt x="142" y="100"/>
                  </a:lnTo>
                  <a:lnTo>
                    <a:pt x="140" y="100"/>
                  </a:lnTo>
                  <a:lnTo>
                    <a:pt x="142" y="100"/>
                  </a:lnTo>
                  <a:lnTo>
                    <a:pt x="140" y="100"/>
                  </a:lnTo>
                  <a:lnTo>
                    <a:pt x="142" y="100"/>
                  </a:lnTo>
                  <a:lnTo>
                    <a:pt x="142" y="102"/>
                  </a:lnTo>
                  <a:lnTo>
                    <a:pt x="140" y="102"/>
                  </a:lnTo>
                  <a:lnTo>
                    <a:pt x="140" y="100"/>
                  </a:lnTo>
                  <a:lnTo>
                    <a:pt x="140" y="102"/>
                  </a:lnTo>
                  <a:lnTo>
                    <a:pt x="140" y="100"/>
                  </a:lnTo>
                  <a:lnTo>
                    <a:pt x="140" y="102"/>
                  </a:lnTo>
                  <a:lnTo>
                    <a:pt x="140" y="100"/>
                  </a:lnTo>
                  <a:lnTo>
                    <a:pt x="138" y="100"/>
                  </a:lnTo>
                  <a:lnTo>
                    <a:pt x="140" y="100"/>
                  </a:lnTo>
                  <a:lnTo>
                    <a:pt x="138" y="100"/>
                  </a:lnTo>
                  <a:lnTo>
                    <a:pt x="140" y="100"/>
                  </a:lnTo>
                  <a:lnTo>
                    <a:pt x="140" y="102"/>
                  </a:lnTo>
                  <a:lnTo>
                    <a:pt x="142" y="102"/>
                  </a:lnTo>
                  <a:lnTo>
                    <a:pt x="142" y="104"/>
                  </a:lnTo>
                  <a:lnTo>
                    <a:pt x="140" y="104"/>
                  </a:lnTo>
                  <a:lnTo>
                    <a:pt x="140" y="102"/>
                  </a:lnTo>
                  <a:lnTo>
                    <a:pt x="140" y="104"/>
                  </a:lnTo>
                  <a:lnTo>
                    <a:pt x="140" y="102"/>
                  </a:lnTo>
                  <a:lnTo>
                    <a:pt x="140" y="104"/>
                  </a:lnTo>
                  <a:lnTo>
                    <a:pt x="140" y="102"/>
                  </a:lnTo>
                  <a:lnTo>
                    <a:pt x="140" y="104"/>
                  </a:lnTo>
                  <a:lnTo>
                    <a:pt x="140" y="102"/>
                  </a:lnTo>
                  <a:lnTo>
                    <a:pt x="140" y="104"/>
                  </a:lnTo>
                  <a:lnTo>
                    <a:pt x="140" y="102"/>
                  </a:lnTo>
                  <a:lnTo>
                    <a:pt x="138" y="102"/>
                  </a:lnTo>
                  <a:lnTo>
                    <a:pt x="140" y="102"/>
                  </a:lnTo>
                  <a:lnTo>
                    <a:pt x="138" y="102"/>
                  </a:lnTo>
                  <a:lnTo>
                    <a:pt x="140" y="102"/>
                  </a:lnTo>
                  <a:lnTo>
                    <a:pt x="138" y="102"/>
                  </a:lnTo>
                  <a:lnTo>
                    <a:pt x="138" y="104"/>
                  </a:lnTo>
                  <a:lnTo>
                    <a:pt x="138" y="102"/>
                  </a:lnTo>
                  <a:lnTo>
                    <a:pt x="140" y="102"/>
                  </a:lnTo>
                  <a:lnTo>
                    <a:pt x="140" y="104"/>
                  </a:lnTo>
                  <a:lnTo>
                    <a:pt x="140" y="102"/>
                  </a:lnTo>
                  <a:lnTo>
                    <a:pt x="140" y="104"/>
                  </a:lnTo>
                  <a:lnTo>
                    <a:pt x="138" y="104"/>
                  </a:lnTo>
                  <a:lnTo>
                    <a:pt x="140" y="104"/>
                  </a:lnTo>
                  <a:lnTo>
                    <a:pt x="138" y="104"/>
                  </a:lnTo>
                  <a:lnTo>
                    <a:pt x="140" y="104"/>
                  </a:lnTo>
                  <a:lnTo>
                    <a:pt x="142" y="104"/>
                  </a:lnTo>
                  <a:lnTo>
                    <a:pt x="142" y="106"/>
                  </a:lnTo>
                  <a:lnTo>
                    <a:pt x="142" y="108"/>
                  </a:lnTo>
                  <a:lnTo>
                    <a:pt x="142" y="106"/>
                  </a:lnTo>
                  <a:lnTo>
                    <a:pt x="142" y="108"/>
                  </a:lnTo>
                  <a:lnTo>
                    <a:pt x="142" y="106"/>
                  </a:lnTo>
                  <a:lnTo>
                    <a:pt x="142" y="108"/>
                  </a:lnTo>
                  <a:lnTo>
                    <a:pt x="142" y="106"/>
                  </a:lnTo>
                  <a:lnTo>
                    <a:pt x="144" y="106"/>
                  </a:lnTo>
                  <a:lnTo>
                    <a:pt x="142" y="106"/>
                  </a:lnTo>
                  <a:lnTo>
                    <a:pt x="142" y="104"/>
                  </a:lnTo>
                  <a:lnTo>
                    <a:pt x="142" y="106"/>
                  </a:lnTo>
                  <a:lnTo>
                    <a:pt x="142" y="104"/>
                  </a:lnTo>
                  <a:lnTo>
                    <a:pt x="144" y="104"/>
                  </a:lnTo>
                  <a:lnTo>
                    <a:pt x="142" y="104"/>
                  </a:lnTo>
                  <a:lnTo>
                    <a:pt x="144" y="104"/>
                  </a:lnTo>
                  <a:lnTo>
                    <a:pt x="142" y="104"/>
                  </a:lnTo>
                  <a:lnTo>
                    <a:pt x="144" y="104"/>
                  </a:lnTo>
                  <a:lnTo>
                    <a:pt x="142" y="104"/>
                  </a:lnTo>
                  <a:lnTo>
                    <a:pt x="144" y="104"/>
                  </a:lnTo>
                  <a:lnTo>
                    <a:pt x="142" y="104"/>
                  </a:lnTo>
                  <a:lnTo>
                    <a:pt x="144" y="104"/>
                  </a:lnTo>
                  <a:lnTo>
                    <a:pt x="142" y="104"/>
                  </a:lnTo>
                  <a:lnTo>
                    <a:pt x="142" y="102"/>
                  </a:lnTo>
                  <a:lnTo>
                    <a:pt x="144" y="102"/>
                  </a:lnTo>
                  <a:lnTo>
                    <a:pt x="144" y="104"/>
                  </a:lnTo>
                  <a:lnTo>
                    <a:pt x="144" y="102"/>
                  </a:lnTo>
                  <a:lnTo>
                    <a:pt x="144" y="104"/>
                  </a:lnTo>
                  <a:lnTo>
                    <a:pt x="146" y="104"/>
                  </a:lnTo>
                  <a:lnTo>
                    <a:pt x="146" y="106"/>
                  </a:lnTo>
                  <a:lnTo>
                    <a:pt x="144" y="106"/>
                  </a:lnTo>
                  <a:lnTo>
                    <a:pt x="146" y="106"/>
                  </a:lnTo>
                  <a:lnTo>
                    <a:pt x="144" y="106"/>
                  </a:lnTo>
                  <a:lnTo>
                    <a:pt x="146" y="106"/>
                  </a:lnTo>
                  <a:lnTo>
                    <a:pt x="146" y="104"/>
                  </a:lnTo>
                  <a:lnTo>
                    <a:pt x="146" y="106"/>
                  </a:lnTo>
                  <a:lnTo>
                    <a:pt x="146" y="104"/>
                  </a:lnTo>
                  <a:lnTo>
                    <a:pt x="146" y="102"/>
                  </a:lnTo>
                  <a:lnTo>
                    <a:pt x="146" y="104"/>
                  </a:lnTo>
                  <a:lnTo>
                    <a:pt x="146" y="102"/>
                  </a:lnTo>
                  <a:lnTo>
                    <a:pt x="144" y="102"/>
                  </a:lnTo>
                  <a:lnTo>
                    <a:pt x="144" y="100"/>
                  </a:lnTo>
                  <a:lnTo>
                    <a:pt x="144" y="102"/>
                  </a:lnTo>
                  <a:lnTo>
                    <a:pt x="144" y="100"/>
                  </a:lnTo>
                  <a:lnTo>
                    <a:pt x="144" y="102"/>
                  </a:lnTo>
                  <a:lnTo>
                    <a:pt x="146" y="102"/>
                  </a:lnTo>
                  <a:lnTo>
                    <a:pt x="146" y="104"/>
                  </a:lnTo>
                  <a:lnTo>
                    <a:pt x="146" y="102"/>
                  </a:lnTo>
                  <a:lnTo>
                    <a:pt x="148" y="102"/>
                  </a:lnTo>
                  <a:lnTo>
                    <a:pt x="148" y="104"/>
                  </a:lnTo>
                  <a:lnTo>
                    <a:pt x="150" y="104"/>
                  </a:lnTo>
                  <a:lnTo>
                    <a:pt x="148" y="104"/>
                  </a:lnTo>
                  <a:lnTo>
                    <a:pt x="148" y="106"/>
                  </a:lnTo>
                  <a:lnTo>
                    <a:pt x="148" y="108"/>
                  </a:lnTo>
                  <a:lnTo>
                    <a:pt x="146" y="108"/>
                  </a:lnTo>
                  <a:lnTo>
                    <a:pt x="146" y="110"/>
                  </a:lnTo>
                  <a:lnTo>
                    <a:pt x="146" y="112"/>
                  </a:lnTo>
                  <a:lnTo>
                    <a:pt x="146" y="114"/>
                  </a:lnTo>
                  <a:lnTo>
                    <a:pt x="144" y="114"/>
                  </a:lnTo>
                  <a:lnTo>
                    <a:pt x="146" y="114"/>
                  </a:lnTo>
                  <a:lnTo>
                    <a:pt x="144" y="114"/>
                  </a:lnTo>
                  <a:lnTo>
                    <a:pt x="144" y="116"/>
                  </a:lnTo>
                  <a:close/>
                  <a:moveTo>
                    <a:pt x="148" y="104"/>
                  </a:moveTo>
                  <a:lnTo>
                    <a:pt x="146" y="104"/>
                  </a:lnTo>
                  <a:lnTo>
                    <a:pt x="148" y="104"/>
                  </a:lnTo>
                  <a:close/>
                  <a:moveTo>
                    <a:pt x="138" y="104"/>
                  </a:moveTo>
                  <a:lnTo>
                    <a:pt x="140" y="104"/>
                  </a:lnTo>
                  <a:lnTo>
                    <a:pt x="138" y="104"/>
                  </a:lnTo>
                  <a:close/>
                  <a:moveTo>
                    <a:pt x="72" y="174"/>
                  </a:moveTo>
                  <a:lnTo>
                    <a:pt x="72" y="176"/>
                  </a:lnTo>
                  <a:lnTo>
                    <a:pt x="74" y="176"/>
                  </a:lnTo>
                  <a:lnTo>
                    <a:pt x="72" y="176"/>
                  </a:lnTo>
                  <a:lnTo>
                    <a:pt x="72" y="178"/>
                  </a:lnTo>
                  <a:lnTo>
                    <a:pt x="72" y="180"/>
                  </a:lnTo>
                  <a:lnTo>
                    <a:pt x="72" y="178"/>
                  </a:lnTo>
                  <a:lnTo>
                    <a:pt x="74" y="178"/>
                  </a:lnTo>
                  <a:lnTo>
                    <a:pt x="72" y="178"/>
                  </a:lnTo>
                  <a:lnTo>
                    <a:pt x="74" y="178"/>
                  </a:lnTo>
                  <a:lnTo>
                    <a:pt x="72" y="176"/>
                  </a:lnTo>
                  <a:lnTo>
                    <a:pt x="74" y="176"/>
                  </a:lnTo>
                  <a:lnTo>
                    <a:pt x="72" y="176"/>
                  </a:lnTo>
                  <a:lnTo>
                    <a:pt x="72" y="174"/>
                  </a:lnTo>
                  <a:close/>
                  <a:moveTo>
                    <a:pt x="76" y="186"/>
                  </a:moveTo>
                  <a:lnTo>
                    <a:pt x="76" y="186"/>
                  </a:lnTo>
                  <a:lnTo>
                    <a:pt x="76" y="186"/>
                  </a:lnTo>
                  <a:close/>
                  <a:moveTo>
                    <a:pt x="84" y="174"/>
                  </a:moveTo>
                  <a:lnTo>
                    <a:pt x="84" y="176"/>
                  </a:lnTo>
                  <a:lnTo>
                    <a:pt x="84" y="174"/>
                  </a:lnTo>
                  <a:close/>
                  <a:moveTo>
                    <a:pt x="90" y="170"/>
                  </a:moveTo>
                  <a:lnTo>
                    <a:pt x="88" y="170"/>
                  </a:lnTo>
                  <a:lnTo>
                    <a:pt x="90" y="170"/>
                  </a:lnTo>
                  <a:lnTo>
                    <a:pt x="90" y="172"/>
                  </a:lnTo>
                  <a:lnTo>
                    <a:pt x="90" y="170"/>
                  </a:lnTo>
                  <a:close/>
                  <a:moveTo>
                    <a:pt x="124" y="132"/>
                  </a:moveTo>
                  <a:lnTo>
                    <a:pt x="124" y="134"/>
                  </a:lnTo>
                  <a:lnTo>
                    <a:pt x="124" y="132"/>
                  </a:lnTo>
                  <a:close/>
                </a:path>
              </a:pathLst>
            </a:custGeom>
            <a:solidFill>
              <a:srgbClr val="0099FF"/>
            </a:solidFill>
            <a:ln w="3175">
              <a:solidFill>
                <a:sysClr val="window" lastClr="FFFF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black"/>
                </a:solidFill>
                <a:effectLst/>
                <a:uLnTx/>
                <a:uFillTx/>
                <a:ea typeface="宋体" panose="02010600030101010101" pitchFamily="2" charset="-122"/>
              </a:endParaRPr>
            </a:p>
          </p:txBody>
        </p:sp>
        <p:sp>
          <p:nvSpPr>
            <p:cNvPr id="40" name="Freeform 2954">
              <a:extLst>
                <a:ext uri="{FF2B5EF4-FFF2-40B4-BE49-F238E27FC236}">
                  <a16:creationId xmlns:a16="http://schemas.microsoft.com/office/drawing/2014/main" id="{8E5B18D3-8C26-96D8-2235-869A54A8A156}"/>
                </a:ext>
              </a:extLst>
            </p:cNvPr>
            <p:cNvSpPr>
              <a:spLocks/>
            </p:cNvSpPr>
            <p:nvPr/>
          </p:nvSpPr>
          <p:spPr bwMode="auto">
            <a:xfrm>
              <a:off x="6651626" y="2644775"/>
              <a:ext cx="111125" cy="225425"/>
            </a:xfrm>
            <a:custGeom>
              <a:avLst/>
              <a:gdLst>
                <a:gd name="T0" fmla="*/ 20 w 70"/>
                <a:gd name="T1" fmla="*/ 4 h 142"/>
                <a:gd name="T2" fmla="*/ 24 w 70"/>
                <a:gd name="T3" fmla="*/ 12 h 142"/>
                <a:gd name="T4" fmla="*/ 26 w 70"/>
                <a:gd name="T5" fmla="*/ 20 h 142"/>
                <a:gd name="T6" fmla="*/ 30 w 70"/>
                <a:gd name="T7" fmla="*/ 26 h 142"/>
                <a:gd name="T8" fmla="*/ 32 w 70"/>
                <a:gd name="T9" fmla="*/ 34 h 142"/>
                <a:gd name="T10" fmla="*/ 36 w 70"/>
                <a:gd name="T11" fmla="*/ 42 h 142"/>
                <a:gd name="T12" fmla="*/ 38 w 70"/>
                <a:gd name="T13" fmla="*/ 52 h 142"/>
                <a:gd name="T14" fmla="*/ 42 w 70"/>
                <a:gd name="T15" fmla="*/ 56 h 142"/>
                <a:gd name="T16" fmla="*/ 44 w 70"/>
                <a:gd name="T17" fmla="*/ 64 h 142"/>
                <a:gd name="T18" fmla="*/ 46 w 70"/>
                <a:gd name="T19" fmla="*/ 72 h 142"/>
                <a:gd name="T20" fmla="*/ 48 w 70"/>
                <a:gd name="T21" fmla="*/ 78 h 142"/>
                <a:gd name="T22" fmla="*/ 50 w 70"/>
                <a:gd name="T23" fmla="*/ 86 h 142"/>
                <a:gd name="T24" fmla="*/ 52 w 70"/>
                <a:gd name="T25" fmla="*/ 94 h 142"/>
                <a:gd name="T26" fmla="*/ 56 w 70"/>
                <a:gd name="T27" fmla="*/ 96 h 142"/>
                <a:gd name="T28" fmla="*/ 60 w 70"/>
                <a:gd name="T29" fmla="*/ 98 h 142"/>
                <a:gd name="T30" fmla="*/ 64 w 70"/>
                <a:gd name="T31" fmla="*/ 102 h 142"/>
                <a:gd name="T32" fmla="*/ 68 w 70"/>
                <a:gd name="T33" fmla="*/ 104 h 142"/>
                <a:gd name="T34" fmla="*/ 68 w 70"/>
                <a:gd name="T35" fmla="*/ 110 h 142"/>
                <a:gd name="T36" fmla="*/ 64 w 70"/>
                <a:gd name="T37" fmla="*/ 116 h 142"/>
                <a:gd name="T38" fmla="*/ 60 w 70"/>
                <a:gd name="T39" fmla="*/ 122 h 142"/>
                <a:gd name="T40" fmla="*/ 54 w 70"/>
                <a:gd name="T41" fmla="*/ 126 h 142"/>
                <a:gd name="T42" fmla="*/ 48 w 70"/>
                <a:gd name="T43" fmla="*/ 130 h 142"/>
                <a:gd name="T44" fmla="*/ 44 w 70"/>
                <a:gd name="T45" fmla="*/ 134 h 142"/>
                <a:gd name="T46" fmla="*/ 36 w 70"/>
                <a:gd name="T47" fmla="*/ 136 h 142"/>
                <a:gd name="T48" fmla="*/ 28 w 70"/>
                <a:gd name="T49" fmla="*/ 138 h 142"/>
                <a:gd name="T50" fmla="*/ 20 w 70"/>
                <a:gd name="T51" fmla="*/ 140 h 142"/>
                <a:gd name="T52" fmla="*/ 12 w 70"/>
                <a:gd name="T53" fmla="*/ 142 h 142"/>
                <a:gd name="T54" fmla="*/ 8 w 70"/>
                <a:gd name="T55" fmla="*/ 140 h 142"/>
                <a:gd name="T56" fmla="*/ 4 w 70"/>
                <a:gd name="T57" fmla="*/ 134 h 142"/>
                <a:gd name="T58" fmla="*/ 4 w 70"/>
                <a:gd name="T59" fmla="*/ 128 h 142"/>
                <a:gd name="T60" fmla="*/ 4 w 70"/>
                <a:gd name="T61" fmla="*/ 122 h 142"/>
                <a:gd name="T62" fmla="*/ 2 w 70"/>
                <a:gd name="T63" fmla="*/ 118 h 142"/>
                <a:gd name="T64" fmla="*/ 2 w 70"/>
                <a:gd name="T65" fmla="*/ 108 h 142"/>
                <a:gd name="T66" fmla="*/ 0 w 70"/>
                <a:gd name="T67" fmla="*/ 100 h 142"/>
                <a:gd name="T68" fmla="*/ 0 w 70"/>
                <a:gd name="T69" fmla="*/ 92 h 142"/>
                <a:gd name="T70" fmla="*/ 2 w 70"/>
                <a:gd name="T71" fmla="*/ 84 h 142"/>
                <a:gd name="T72" fmla="*/ 2 w 70"/>
                <a:gd name="T73" fmla="*/ 78 h 142"/>
                <a:gd name="T74" fmla="*/ 4 w 70"/>
                <a:gd name="T75" fmla="*/ 72 h 142"/>
                <a:gd name="T76" fmla="*/ 4 w 70"/>
                <a:gd name="T77" fmla="*/ 70 h 142"/>
                <a:gd name="T78" fmla="*/ 2 w 70"/>
                <a:gd name="T79" fmla="*/ 66 h 142"/>
                <a:gd name="T80" fmla="*/ 0 w 70"/>
                <a:gd name="T81" fmla="*/ 58 h 142"/>
                <a:gd name="T82" fmla="*/ 6 w 70"/>
                <a:gd name="T83" fmla="*/ 54 h 142"/>
                <a:gd name="T84" fmla="*/ 6 w 70"/>
                <a:gd name="T85" fmla="*/ 52 h 142"/>
                <a:gd name="T86" fmla="*/ 12 w 70"/>
                <a:gd name="T87" fmla="*/ 50 h 142"/>
                <a:gd name="T88" fmla="*/ 12 w 70"/>
                <a:gd name="T89" fmla="*/ 48 h 142"/>
                <a:gd name="T90" fmla="*/ 14 w 70"/>
                <a:gd name="T91" fmla="*/ 44 h 142"/>
                <a:gd name="T92" fmla="*/ 12 w 70"/>
                <a:gd name="T93" fmla="*/ 40 h 142"/>
                <a:gd name="T94" fmla="*/ 8 w 70"/>
                <a:gd name="T95" fmla="*/ 34 h 142"/>
                <a:gd name="T96" fmla="*/ 10 w 70"/>
                <a:gd name="T97" fmla="*/ 26 h 142"/>
                <a:gd name="T98" fmla="*/ 8 w 70"/>
                <a:gd name="T99" fmla="*/ 20 h 142"/>
                <a:gd name="T100" fmla="*/ 6 w 70"/>
                <a:gd name="T101" fmla="*/ 16 h 142"/>
                <a:gd name="T102" fmla="*/ 8 w 70"/>
                <a:gd name="T103" fmla="*/ 16 h 142"/>
                <a:gd name="T104" fmla="*/ 8 w 70"/>
                <a:gd name="T105" fmla="*/ 6 h 142"/>
                <a:gd name="T106" fmla="*/ 10 w 70"/>
                <a:gd name="T107" fmla="*/ 4 h 142"/>
                <a:gd name="T108" fmla="*/ 16 w 70"/>
                <a:gd name="T109" fmla="*/ 4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70" h="142">
                  <a:moveTo>
                    <a:pt x="18" y="0"/>
                  </a:moveTo>
                  <a:lnTo>
                    <a:pt x="18" y="2"/>
                  </a:lnTo>
                  <a:lnTo>
                    <a:pt x="18" y="4"/>
                  </a:lnTo>
                  <a:lnTo>
                    <a:pt x="20" y="4"/>
                  </a:lnTo>
                  <a:lnTo>
                    <a:pt x="20" y="4"/>
                  </a:lnTo>
                  <a:lnTo>
                    <a:pt x="20" y="6"/>
                  </a:lnTo>
                  <a:lnTo>
                    <a:pt x="22" y="8"/>
                  </a:lnTo>
                  <a:lnTo>
                    <a:pt x="22" y="10"/>
                  </a:lnTo>
                  <a:lnTo>
                    <a:pt x="22" y="12"/>
                  </a:lnTo>
                  <a:lnTo>
                    <a:pt x="24" y="12"/>
                  </a:lnTo>
                  <a:lnTo>
                    <a:pt x="24" y="14"/>
                  </a:lnTo>
                  <a:lnTo>
                    <a:pt x="24" y="16"/>
                  </a:lnTo>
                  <a:lnTo>
                    <a:pt x="26" y="16"/>
                  </a:lnTo>
                  <a:lnTo>
                    <a:pt x="26" y="18"/>
                  </a:lnTo>
                  <a:lnTo>
                    <a:pt x="26" y="20"/>
                  </a:lnTo>
                  <a:lnTo>
                    <a:pt x="26" y="22"/>
                  </a:lnTo>
                  <a:lnTo>
                    <a:pt x="28" y="22"/>
                  </a:lnTo>
                  <a:lnTo>
                    <a:pt x="28" y="24"/>
                  </a:lnTo>
                  <a:lnTo>
                    <a:pt x="28" y="26"/>
                  </a:lnTo>
                  <a:lnTo>
                    <a:pt x="30" y="26"/>
                  </a:lnTo>
                  <a:lnTo>
                    <a:pt x="30" y="28"/>
                  </a:lnTo>
                  <a:lnTo>
                    <a:pt x="30" y="30"/>
                  </a:lnTo>
                  <a:lnTo>
                    <a:pt x="30" y="32"/>
                  </a:lnTo>
                  <a:lnTo>
                    <a:pt x="32" y="32"/>
                  </a:lnTo>
                  <a:lnTo>
                    <a:pt x="32" y="34"/>
                  </a:lnTo>
                  <a:lnTo>
                    <a:pt x="32" y="36"/>
                  </a:lnTo>
                  <a:lnTo>
                    <a:pt x="34" y="38"/>
                  </a:lnTo>
                  <a:lnTo>
                    <a:pt x="34" y="40"/>
                  </a:lnTo>
                  <a:lnTo>
                    <a:pt x="34" y="42"/>
                  </a:lnTo>
                  <a:lnTo>
                    <a:pt x="36" y="42"/>
                  </a:lnTo>
                  <a:lnTo>
                    <a:pt x="36" y="44"/>
                  </a:lnTo>
                  <a:lnTo>
                    <a:pt x="36" y="46"/>
                  </a:lnTo>
                  <a:lnTo>
                    <a:pt x="38" y="48"/>
                  </a:lnTo>
                  <a:lnTo>
                    <a:pt x="38" y="50"/>
                  </a:lnTo>
                  <a:lnTo>
                    <a:pt x="38" y="52"/>
                  </a:lnTo>
                  <a:lnTo>
                    <a:pt x="40" y="52"/>
                  </a:lnTo>
                  <a:lnTo>
                    <a:pt x="40" y="52"/>
                  </a:lnTo>
                  <a:lnTo>
                    <a:pt x="40" y="54"/>
                  </a:lnTo>
                  <a:lnTo>
                    <a:pt x="40" y="56"/>
                  </a:lnTo>
                  <a:lnTo>
                    <a:pt x="42" y="56"/>
                  </a:lnTo>
                  <a:lnTo>
                    <a:pt x="42" y="58"/>
                  </a:lnTo>
                  <a:lnTo>
                    <a:pt x="42" y="60"/>
                  </a:lnTo>
                  <a:lnTo>
                    <a:pt x="44" y="60"/>
                  </a:lnTo>
                  <a:lnTo>
                    <a:pt x="44" y="62"/>
                  </a:lnTo>
                  <a:lnTo>
                    <a:pt x="44" y="64"/>
                  </a:lnTo>
                  <a:lnTo>
                    <a:pt x="44" y="66"/>
                  </a:lnTo>
                  <a:lnTo>
                    <a:pt x="46" y="66"/>
                  </a:lnTo>
                  <a:lnTo>
                    <a:pt x="46" y="68"/>
                  </a:lnTo>
                  <a:lnTo>
                    <a:pt x="46" y="70"/>
                  </a:lnTo>
                  <a:lnTo>
                    <a:pt x="46" y="72"/>
                  </a:lnTo>
                  <a:lnTo>
                    <a:pt x="46" y="72"/>
                  </a:lnTo>
                  <a:lnTo>
                    <a:pt x="46" y="74"/>
                  </a:lnTo>
                  <a:lnTo>
                    <a:pt x="46" y="76"/>
                  </a:lnTo>
                  <a:lnTo>
                    <a:pt x="48" y="76"/>
                  </a:lnTo>
                  <a:lnTo>
                    <a:pt x="48" y="78"/>
                  </a:lnTo>
                  <a:lnTo>
                    <a:pt x="48" y="80"/>
                  </a:lnTo>
                  <a:lnTo>
                    <a:pt x="48" y="82"/>
                  </a:lnTo>
                  <a:lnTo>
                    <a:pt x="50" y="82"/>
                  </a:lnTo>
                  <a:lnTo>
                    <a:pt x="50" y="84"/>
                  </a:lnTo>
                  <a:lnTo>
                    <a:pt x="50" y="86"/>
                  </a:lnTo>
                  <a:lnTo>
                    <a:pt x="52" y="86"/>
                  </a:lnTo>
                  <a:lnTo>
                    <a:pt x="52" y="88"/>
                  </a:lnTo>
                  <a:lnTo>
                    <a:pt x="52" y="90"/>
                  </a:lnTo>
                  <a:lnTo>
                    <a:pt x="52" y="92"/>
                  </a:lnTo>
                  <a:lnTo>
                    <a:pt x="52" y="94"/>
                  </a:lnTo>
                  <a:lnTo>
                    <a:pt x="54" y="94"/>
                  </a:lnTo>
                  <a:lnTo>
                    <a:pt x="56" y="94"/>
                  </a:lnTo>
                  <a:lnTo>
                    <a:pt x="56" y="96"/>
                  </a:lnTo>
                  <a:lnTo>
                    <a:pt x="58" y="96"/>
                  </a:lnTo>
                  <a:lnTo>
                    <a:pt x="56" y="96"/>
                  </a:lnTo>
                  <a:lnTo>
                    <a:pt x="58" y="96"/>
                  </a:lnTo>
                  <a:lnTo>
                    <a:pt x="58" y="98"/>
                  </a:lnTo>
                  <a:lnTo>
                    <a:pt x="58" y="96"/>
                  </a:lnTo>
                  <a:lnTo>
                    <a:pt x="58" y="98"/>
                  </a:lnTo>
                  <a:lnTo>
                    <a:pt x="60" y="98"/>
                  </a:lnTo>
                  <a:lnTo>
                    <a:pt x="62" y="98"/>
                  </a:lnTo>
                  <a:lnTo>
                    <a:pt x="62" y="100"/>
                  </a:lnTo>
                  <a:lnTo>
                    <a:pt x="62" y="100"/>
                  </a:lnTo>
                  <a:lnTo>
                    <a:pt x="62" y="102"/>
                  </a:lnTo>
                  <a:lnTo>
                    <a:pt x="64" y="102"/>
                  </a:lnTo>
                  <a:lnTo>
                    <a:pt x="66" y="102"/>
                  </a:lnTo>
                  <a:lnTo>
                    <a:pt x="66" y="104"/>
                  </a:lnTo>
                  <a:lnTo>
                    <a:pt x="68" y="104"/>
                  </a:lnTo>
                  <a:lnTo>
                    <a:pt x="68" y="102"/>
                  </a:lnTo>
                  <a:lnTo>
                    <a:pt x="68" y="104"/>
                  </a:lnTo>
                  <a:lnTo>
                    <a:pt x="70" y="104"/>
                  </a:lnTo>
                  <a:lnTo>
                    <a:pt x="68" y="104"/>
                  </a:lnTo>
                  <a:lnTo>
                    <a:pt x="68" y="106"/>
                  </a:lnTo>
                  <a:lnTo>
                    <a:pt x="68" y="108"/>
                  </a:lnTo>
                  <a:lnTo>
                    <a:pt x="68" y="110"/>
                  </a:lnTo>
                  <a:lnTo>
                    <a:pt x="68" y="112"/>
                  </a:lnTo>
                  <a:lnTo>
                    <a:pt x="68" y="114"/>
                  </a:lnTo>
                  <a:lnTo>
                    <a:pt x="68" y="116"/>
                  </a:lnTo>
                  <a:lnTo>
                    <a:pt x="66" y="116"/>
                  </a:lnTo>
                  <a:lnTo>
                    <a:pt x="64" y="116"/>
                  </a:lnTo>
                  <a:lnTo>
                    <a:pt x="62" y="116"/>
                  </a:lnTo>
                  <a:lnTo>
                    <a:pt x="62" y="118"/>
                  </a:lnTo>
                  <a:lnTo>
                    <a:pt x="60" y="118"/>
                  </a:lnTo>
                  <a:lnTo>
                    <a:pt x="60" y="120"/>
                  </a:lnTo>
                  <a:lnTo>
                    <a:pt x="60" y="122"/>
                  </a:lnTo>
                  <a:lnTo>
                    <a:pt x="58" y="122"/>
                  </a:lnTo>
                  <a:lnTo>
                    <a:pt x="56" y="122"/>
                  </a:lnTo>
                  <a:lnTo>
                    <a:pt x="56" y="124"/>
                  </a:lnTo>
                  <a:lnTo>
                    <a:pt x="56" y="126"/>
                  </a:lnTo>
                  <a:lnTo>
                    <a:pt x="54" y="126"/>
                  </a:lnTo>
                  <a:lnTo>
                    <a:pt x="54" y="128"/>
                  </a:lnTo>
                  <a:lnTo>
                    <a:pt x="52" y="128"/>
                  </a:lnTo>
                  <a:lnTo>
                    <a:pt x="52" y="130"/>
                  </a:lnTo>
                  <a:lnTo>
                    <a:pt x="50" y="130"/>
                  </a:lnTo>
                  <a:lnTo>
                    <a:pt x="48" y="130"/>
                  </a:lnTo>
                  <a:lnTo>
                    <a:pt x="48" y="132"/>
                  </a:lnTo>
                  <a:lnTo>
                    <a:pt x="46" y="132"/>
                  </a:lnTo>
                  <a:lnTo>
                    <a:pt x="46" y="132"/>
                  </a:lnTo>
                  <a:lnTo>
                    <a:pt x="44" y="132"/>
                  </a:lnTo>
                  <a:lnTo>
                    <a:pt x="44" y="134"/>
                  </a:lnTo>
                  <a:lnTo>
                    <a:pt x="42" y="134"/>
                  </a:lnTo>
                  <a:lnTo>
                    <a:pt x="40" y="134"/>
                  </a:lnTo>
                  <a:lnTo>
                    <a:pt x="38" y="134"/>
                  </a:lnTo>
                  <a:lnTo>
                    <a:pt x="36" y="134"/>
                  </a:lnTo>
                  <a:lnTo>
                    <a:pt x="36" y="136"/>
                  </a:lnTo>
                  <a:lnTo>
                    <a:pt x="34" y="136"/>
                  </a:lnTo>
                  <a:lnTo>
                    <a:pt x="32" y="136"/>
                  </a:lnTo>
                  <a:lnTo>
                    <a:pt x="30" y="136"/>
                  </a:lnTo>
                  <a:lnTo>
                    <a:pt x="30" y="138"/>
                  </a:lnTo>
                  <a:lnTo>
                    <a:pt x="28" y="138"/>
                  </a:lnTo>
                  <a:lnTo>
                    <a:pt x="26" y="138"/>
                  </a:lnTo>
                  <a:lnTo>
                    <a:pt x="24" y="138"/>
                  </a:lnTo>
                  <a:lnTo>
                    <a:pt x="22" y="138"/>
                  </a:lnTo>
                  <a:lnTo>
                    <a:pt x="22" y="140"/>
                  </a:lnTo>
                  <a:lnTo>
                    <a:pt x="20" y="140"/>
                  </a:lnTo>
                  <a:lnTo>
                    <a:pt x="18" y="140"/>
                  </a:lnTo>
                  <a:lnTo>
                    <a:pt x="16" y="140"/>
                  </a:lnTo>
                  <a:lnTo>
                    <a:pt x="16" y="142"/>
                  </a:lnTo>
                  <a:lnTo>
                    <a:pt x="14" y="142"/>
                  </a:lnTo>
                  <a:lnTo>
                    <a:pt x="12" y="142"/>
                  </a:lnTo>
                  <a:lnTo>
                    <a:pt x="10" y="142"/>
                  </a:lnTo>
                  <a:lnTo>
                    <a:pt x="8" y="142"/>
                  </a:lnTo>
                  <a:lnTo>
                    <a:pt x="8" y="140"/>
                  </a:lnTo>
                  <a:lnTo>
                    <a:pt x="8" y="142"/>
                  </a:lnTo>
                  <a:lnTo>
                    <a:pt x="8" y="140"/>
                  </a:lnTo>
                  <a:lnTo>
                    <a:pt x="6" y="140"/>
                  </a:lnTo>
                  <a:lnTo>
                    <a:pt x="6" y="138"/>
                  </a:lnTo>
                  <a:lnTo>
                    <a:pt x="4" y="138"/>
                  </a:lnTo>
                  <a:lnTo>
                    <a:pt x="4" y="136"/>
                  </a:lnTo>
                  <a:lnTo>
                    <a:pt x="4" y="134"/>
                  </a:lnTo>
                  <a:lnTo>
                    <a:pt x="4" y="132"/>
                  </a:lnTo>
                  <a:lnTo>
                    <a:pt x="4" y="130"/>
                  </a:lnTo>
                  <a:lnTo>
                    <a:pt x="6" y="130"/>
                  </a:lnTo>
                  <a:lnTo>
                    <a:pt x="6" y="128"/>
                  </a:lnTo>
                  <a:lnTo>
                    <a:pt x="4" y="128"/>
                  </a:lnTo>
                  <a:lnTo>
                    <a:pt x="4" y="126"/>
                  </a:lnTo>
                  <a:lnTo>
                    <a:pt x="4" y="124"/>
                  </a:lnTo>
                  <a:lnTo>
                    <a:pt x="6" y="124"/>
                  </a:lnTo>
                  <a:lnTo>
                    <a:pt x="4" y="124"/>
                  </a:lnTo>
                  <a:lnTo>
                    <a:pt x="4" y="122"/>
                  </a:lnTo>
                  <a:lnTo>
                    <a:pt x="4" y="120"/>
                  </a:lnTo>
                  <a:lnTo>
                    <a:pt x="4" y="118"/>
                  </a:lnTo>
                  <a:lnTo>
                    <a:pt x="2" y="118"/>
                  </a:lnTo>
                  <a:lnTo>
                    <a:pt x="4" y="118"/>
                  </a:lnTo>
                  <a:lnTo>
                    <a:pt x="2" y="118"/>
                  </a:lnTo>
                  <a:lnTo>
                    <a:pt x="2" y="116"/>
                  </a:lnTo>
                  <a:lnTo>
                    <a:pt x="2" y="114"/>
                  </a:lnTo>
                  <a:lnTo>
                    <a:pt x="2" y="112"/>
                  </a:lnTo>
                  <a:lnTo>
                    <a:pt x="2" y="110"/>
                  </a:lnTo>
                  <a:lnTo>
                    <a:pt x="2" y="108"/>
                  </a:lnTo>
                  <a:lnTo>
                    <a:pt x="2" y="106"/>
                  </a:lnTo>
                  <a:lnTo>
                    <a:pt x="0" y="106"/>
                  </a:lnTo>
                  <a:lnTo>
                    <a:pt x="0" y="104"/>
                  </a:lnTo>
                  <a:lnTo>
                    <a:pt x="0" y="102"/>
                  </a:lnTo>
                  <a:lnTo>
                    <a:pt x="0" y="100"/>
                  </a:lnTo>
                  <a:lnTo>
                    <a:pt x="0" y="100"/>
                  </a:lnTo>
                  <a:lnTo>
                    <a:pt x="0" y="98"/>
                  </a:lnTo>
                  <a:lnTo>
                    <a:pt x="0" y="96"/>
                  </a:lnTo>
                  <a:lnTo>
                    <a:pt x="0" y="94"/>
                  </a:lnTo>
                  <a:lnTo>
                    <a:pt x="0" y="92"/>
                  </a:lnTo>
                  <a:lnTo>
                    <a:pt x="0" y="90"/>
                  </a:lnTo>
                  <a:lnTo>
                    <a:pt x="2" y="90"/>
                  </a:lnTo>
                  <a:lnTo>
                    <a:pt x="2" y="88"/>
                  </a:lnTo>
                  <a:lnTo>
                    <a:pt x="2" y="86"/>
                  </a:lnTo>
                  <a:lnTo>
                    <a:pt x="2" y="84"/>
                  </a:lnTo>
                  <a:lnTo>
                    <a:pt x="2" y="82"/>
                  </a:lnTo>
                  <a:lnTo>
                    <a:pt x="2" y="80"/>
                  </a:lnTo>
                  <a:lnTo>
                    <a:pt x="4" y="80"/>
                  </a:lnTo>
                  <a:lnTo>
                    <a:pt x="4" y="78"/>
                  </a:lnTo>
                  <a:lnTo>
                    <a:pt x="2" y="78"/>
                  </a:lnTo>
                  <a:lnTo>
                    <a:pt x="4" y="78"/>
                  </a:lnTo>
                  <a:lnTo>
                    <a:pt x="4" y="76"/>
                  </a:lnTo>
                  <a:lnTo>
                    <a:pt x="2" y="76"/>
                  </a:lnTo>
                  <a:lnTo>
                    <a:pt x="2" y="74"/>
                  </a:lnTo>
                  <a:lnTo>
                    <a:pt x="4" y="72"/>
                  </a:lnTo>
                  <a:lnTo>
                    <a:pt x="2" y="72"/>
                  </a:lnTo>
                  <a:lnTo>
                    <a:pt x="4" y="72"/>
                  </a:lnTo>
                  <a:lnTo>
                    <a:pt x="2" y="72"/>
                  </a:lnTo>
                  <a:lnTo>
                    <a:pt x="4" y="72"/>
                  </a:lnTo>
                  <a:lnTo>
                    <a:pt x="4" y="70"/>
                  </a:lnTo>
                  <a:lnTo>
                    <a:pt x="4" y="68"/>
                  </a:lnTo>
                  <a:lnTo>
                    <a:pt x="4" y="70"/>
                  </a:lnTo>
                  <a:lnTo>
                    <a:pt x="2" y="70"/>
                  </a:lnTo>
                  <a:lnTo>
                    <a:pt x="2" y="68"/>
                  </a:lnTo>
                  <a:lnTo>
                    <a:pt x="2" y="66"/>
                  </a:lnTo>
                  <a:lnTo>
                    <a:pt x="2" y="64"/>
                  </a:lnTo>
                  <a:lnTo>
                    <a:pt x="0" y="64"/>
                  </a:lnTo>
                  <a:lnTo>
                    <a:pt x="0" y="62"/>
                  </a:lnTo>
                  <a:lnTo>
                    <a:pt x="0" y="60"/>
                  </a:lnTo>
                  <a:lnTo>
                    <a:pt x="0" y="58"/>
                  </a:lnTo>
                  <a:lnTo>
                    <a:pt x="2" y="58"/>
                  </a:lnTo>
                  <a:lnTo>
                    <a:pt x="2" y="56"/>
                  </a:lnTo>
                  <a:lnTo>
                    <a:pt x="4" y="56"/>
                  </a:lnTo>
                  <a:lnTo>
                    <a:pt x="4" y="54"/>
                  </a:lnTo>
                  <a:lnTo>
                    <a:pt x="6" y="54"/>
                  </a:lnTo>
                  <a:lnTo>
                    <a:pt x="6" y="56"/>
                  </a:lnTo>
                  <a:lnTo>
                    <a:pt x="6" y="54"/>
                  </a:lnTo>
                  <a:lnTo>
                    <a:pt x="8" y="54"/>
                  </a:lnTo>
                  <a:lnTo>
                    <a:pt x="8" y="52"/>
                  </a:lnTo>
                  <a:lnTo>
                    <a:pt x="6" y="52"/>
                  </a:lnTo>
                  <a:lnTo>
                    <a:pt x="8" y="52"/>
                  </a:lnTo>
                  <a:lnTo>
                    <a:pt x="8" y="52"/>
                  </a:lnTo>
                  <a:lnTo>
                    <a:pt x="10" y="52"/>
                  </a:lnTo>
                  <a:lnTo>
                    <a:pt x="10" y="50"/>
                  </a:lnTo>
                  <a:lnTo>
                    <a:pt x="12" y="50"/>
                  </a:lnTo>
                  <a:lnTo>
                    <a:pt x="10" y="50"/>
                  </a:lnTo>
                  <a:lnTo>
                    <a:pt x="12" y="50"/>
                  </a:lnTo>
                  <a:lnTo>
                    <a:pt x="12" y="48"/>
                  </a:lnTo>
                  <a:lnTo>
                    <a:pt x="12" y="46"/>
                  </a:lnTo>
                  <a:lnTo>
                    <a:pt x="12" y="48"/>
                  </a:lnTo>
                  <a:lnTo>
                    <a:pt x="12" y="46"/>
                  </a:lnTo>
                  <a:lnTo>
                    <a:pt x="14" y="46"/>
                  </a:lnTo>
                  <a:lnTo>
                    <a:pt x="14" y="44"/>
                  </a:lnTo>
                  <a:lnTo>
                    <a:pt x="12" y="44"/>
                  </a:lnTo>
                  <a:lnTo>
                    <a:pt x="14" y="44"/>
                  </a:lnTo>
                  <a:lnTo>
                    <a:pt x="12" y="44"/>
                  </a:lnTo>
                  <a:lnTo>
                    <a:pt x="12" y="42"/>
                  </a:lnTo>
                  <a:lnTo>
                    <a:pt x="14" y="42"/>
                  </a:lnTo>
                  <a:lnTo>
                    <a:pt x="14" y="40"/>
                  </a:lnTo>
                  <a:lnTo>
                    <a:pt x="12" y="40"/>
                  </a:lnTo>
                  <a:lnTo>
                    <a:pt x="12" y="38"/>
                  </a:lnTo>
                  <a:lnTo>
                    <a:pt x="10" y="38"/>
                  </a:lnTo>
                  <a:lnTo>
                    <a:pt x="10" y="36"/>
                  </a:lnTo>
                  <a:lnTo>
                    <a:pt x="10" y="34"/>
                  </a:lnTo>
                  <a:lnTo>
                    <a:pt x="8" y="34"/>
                  </a:lnTo>
                  <a:lnTo>
                    <a:pt x="8" y="32"/>
                  </a:lnTo>
                  <a:lnTo>
                    <a:pt x="8" y="30"/>
                  </a:lnTo>
                  <a:lnTo>
                    <a:pt x="8" y="28"/>
                  </a:lnTo>
                  <a:lnTo>
                    <a:pt x="8" y="26"/>
                  </a:lnTo>
                  <a:lnTo>
                    <a:pt x="10" y="26"/>
                  </a:lnTo>
                  <a:lnTo>
                    <a:pt x="8" y="26"/>
                  </a:lnTo>
                  <a:lnTo>
                    <a:pt x="10" y="26"/>
                  </a:lnTo>
                  <a:lnTo>
                    <a:pt x="10" y="24"/>
                  </a:lnTo>
                  <a:lnTo>
                    <a:pt x="8" y="22"/>
                  </a:lnTo>
                  <a:lnTo>
                    <a:pt x="8" y="20"/>
                  </a:lnTo>
                  <a:lnTo>
                    <a:pt x="6" y="20"/>
                  </a:lnTo>
                  <a:lnTo>
                    <a:pt x="8" y="20"/>
                  </a:lnTo>
                  <a:lnTo>
                    <a:pt x="8" y="18"/>
                  </a:lnTo>
                  <a:lnTo>
                    <a:pt x="8" y="16"/>
                  </a:lnTo>
                  <a:lnTo>
                    <a:pt x="6" y="16"/>
                  </a:lnTo>
                  <a:lnTo>
                    <a:pt x="8" y="16"/>
                  </a:lnTo>
                  <a:lnTo>
                    <a:pt x="6" y="16"/>
                  </a:lnTo>
                  <a:lnTo>
                    <a:pt x="8" y="16"/>
                  </a:lnTo>
                  <a:lnTo>
                    <a:pt x="6" y="16"/>
                  </a:lnTo>
                  <a:lnTo>
                    <a:pt x="8" y="16"/>
                  </a:lnTo>
                  <a:lnTo>
                    <a:pt x="8" y="14"/>
                  </a:lnTo>
                  <a:lnTo>
                    <a:pt x="8" y="12"/>
                  </a:lnTo>
                  <a:lnTo>
                    <a:pt x="8" y="10"/>
                  </a:lnTo>
                  <a:lnTo>
                    <a:pt x="8" y="8"/>
                  </a:lnTo>
                  <a:lnTo>
                    <a:pt x="8" y="6"/>
                  </a:lnTo>
                  <a:lnTo>
                    <a:pt x="6" y="6"/>
                  </a:lnTo>
                  <a:lnTo>
                    <a:pt x="8" y="6"/>
                  </a:lnTo>
                  <a:lnTo>
                    <a:pt x="8" y="4"/>
                  </a:lnTo>
                  <a:lnTo>
                    <a:pt x="10" y="4"/>
                  </a:lnTo>
                  <a:lnTo>
                    <a:pt x="10" y="4"/>
                  </a:lnTo>
                  <a:lnTo>
                    <a:pt x="12" y="4"/>
                  </a:lnTo>
                  <a:lnTo>
                    <a:pt x="14" y="4"/>
                  </a:lnTo>
                  <a:lnTo>
                    <a:pt x="14" y="4"/>
                  </a:lnTo>
                  <a:lnTo>
                    <a:pt x="14" y="4"/>
                  </a:lnTo>
                  <a:lnTo>
                    <a:pt x="16" y="4"/>
                  </a:lnTo>
                  <a:lnTo>
                    <a:pt x="18" y="4"/>
                  </a:lnTo>
                  <a:lnTo>
                    <a:pt x="18" y="2"/>
                  </a:lnTo>
                  <a:lnTo>
                    <a:pt x="18" y="0"/>
                  </a:lnTo>
                  <a:close/>
                </a:path>
              </a:pathLst>
            </a:custGeom>
            <a:solidFill>
              <a:srgbClr val="0099FF"/>
            </a:solidFill>
            <a:ln w="3175">
              <a:solidFill>
                <a:sysClr val="window" lastClr="FFFF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black"/>
                </a:solidFill>
                <a:effectLst/>
                <a:uLnTx/>
                <a:uFillTx/>
                <a:ea typeface="宋体" panose="02010600030101010101" pitchFamily="2" charset="-122"/>
              </a:endParaRPr>
            </a:p>
          </p:txBody>
        </p:sp>
        <p:sp>
          <p:nvSpPr>
            <p:cNvPr id="41" name="Freeform 3081">
              <a:extLst>
                <a:ext uri="{FF2B5EF4-FFF2-40B4-BE49-F238E27FC236}">
                  <a16:creationId xmlns:a16="http://schemas.microsoft.com/office/drawing/2014/main" id="{CA0AC338-451E-95B3-88F9-D9216A24BCC6}"/>
                </a:ext>
              </a:extLst>
            </p:cNvPr>
            <p:cNvSpPr>
              <a:spLocks noEditPoints="1"/>
            </p:cNvSpPr>
            <p:nvPr/>
          </p:nvSpPr>
          <p:spPr bwMode="auto">
            <a:xfrm>
              <a:off x="6245225" y="2708275"/>
              <a:ext cx="498475" cy="373063"/>
            </a:xfrm>
            <a:custGeom>
              <a:avLst/>
              <a:gdLst>
                <a:gd name="T0" fmla="*/ 248 w 314"/>
                <a:gd name="T1" fmla="*/ 225 h 235"/>
                <a:gd name="T2" fmla="*/ 258 w 314"/>
                <a:gd name="T3" fmla="*/ 219 h 235"/>
                <a:gd name="T4" fmla="*/ 256 w 314"/>
                <a:gd name="T5" fmla="*/ 219 h 235"/>
                <a:gd name="T6" fmla="*/ 256 w 314"/>
                <a:gd name="T7" fmla="*/ 221 h 235"/>
                <a:gd name="T8" fmla="*/ 248 w 314"/>
                <a:gd name="T9" fmla="*/ 223 h 235"/>
                <a:gd name="T10" fmla="*/ 256 w 314"/>
                <a:gd name="T11" fmla="*/ 221 h 235"/>
                <a:gd name="T12" fmla="*/ 238 w 314"/>
                <a:gd name="T13" fmla="*/ 225 h 235"/>
                <a:gd name="T14" fmla="*/ 268 w 314"/>
                <a:gd name="T15" fmla="*/ 215 h 235"/>
                <a:gd name="T16" fmla="*/ 276 w 314"/>
                <a:gd name="T17" fmla="*/ 213 h 235"/>
                <a:gd name="T18" fmla="*/ 284 w 314"/>
                <a:gd name="T19" fmla="*/ 205 h 235"/>
                <a:gd name="T20" fmla="*/ 294 w 314"/>
                <a:gd name="T21" fmla="*/ 197 h 235"/>
                <a:gd name="T22" fmla="*/ 310 w 314"/>
                <a:gd name="T23" fmla="*/ 181 h 235"/>
                <a:gd name="T24" fmla="*/ 298 w 314"/>
                <a:gd name="T25" fmla="*/ 189 h 235"/>
                <a:gd name="T26" fmla="*/ 302 w 314"/>
                <a:gd name="T27" fmla="*/ 185 h 235"/>
                <a:gd name="T28" fmla="*/ 300 w 314"/>
                <a:gd name="T29" fmla="*/ 183 h 235"/>
                <a:gd name="T30" fmla="*/ 304 w 314"/>
                <a:gd name="T31" fmla="*/ 179 h 235"/>
                <a:gd name="T32" fmla="*/ 24 w 314"/>
                <a:gd name="T33" fmla="*/ 155 h 235"/>
                <a:gd name="T34" fmla="*/ 112 w 314"/>
                <a:gd name="T35" fmla="*/ 64 h 235"/>
                <a:gd name="T36" fmla="*/ 114 w 314"/>
                <a:gd name="T37" fmla="*/ 60 h 235"/>
                <a:gd name="T38" fmla="*/ 130 w 314"/>
                <a:gd name="T39" fmla="*/ 32 h 235"/>
                <a:gd name="T40" fmla="*/ 148 w 314"/>
                <a:gd name="T41" fmla="*/ 14 h 235"/>
                <a:gd name="T42" fmla="*/ 168 w 314"/>
                <a:gd name="T43" fmla="*/ 10 h 235"/>
                <a:gd name="T44" fmla="*/ 204 w 314"/>
                <a:gd name="T45" fmla="*/ 12 h 235"/>
                <a:gd name="T46" fmla="*/ 212 w 314"/>
                <a:gd name="T47" fmla="*/ 50 h 235"/>
                <a:gd name="T48" fmla="*/ 226 w 314"/>
                <a:gd name="T49" fmla="*/ 76 h 235"/>
                <a:gd name="T50" fmla="*/ 238 w 314"/>
                <a:gd name="T51" fmla="*/ 119 h 235"/>
                <a:gd name="T52" fmla="*/ 244 w 314"/>
                <a:gd name="T53" fmla="*/ 165 h 235"/>
                <a:gd name="T54" fmla="*/ 250 w 314"/>
                <a:gd name="T55" fmla="*/ 203 h 235"/>
                <a:gd name="T56" fmla="*/ 246 w 314"/>
                <a:gd name="T57" fmla="*/ 209 h 235"/>
                <a:gd name="T58" fmla="*/ 252 w 314"/>
                <a:gd name="T59" fmla="*/ 209 h 235"/>
                <a:gd name="T60" fmla="*/ 256 w 314"/>
                <a:gd name="T61" fmla="*/ 203 h 235"/>
                <a:gd name="T62" fmla="*/ 268 w 314"/>
                <a:gd name="T63" fmla="*/ 203 h 235"/>
                <a:gd name="T64" fmla="*/ 276 w 314"/>
                <a:gd name="T65" fmla="*/ 197 h 235"/>
                <a:gd name="T66" fmla="*/ 300 w 314"/>
                <a:gd name="T67" fmla="*/ 179 h 235"/>
                <a:gd name="T68" fmla="*/ 296 w 314"/>
                <a:gd name="T69" fmla="*/ 185 h 235"/>
                <a:gd name="T70" fmla="*/ 292 w 314"/>
                <a:gd name="T71" fmla="*/ 191 h 235"/>
                <a:gd name="T72" fmla="*/ 292 w 314"/>
                <a:gd name="T73" fmla="*/ 197 h 235"/>
                <a:gd name="T74" fmla="*/ 284 w 314"/>
                <a:gd name="T75" fmla="*/ 203 h 235"/>
                <a:gd name="T76" fmla="*/ 276 w 314"/>
                <a:gd name="T77" fmla="*/ 207 h 235"/>
                <a:gd name="T78" fmla="*/ 266 w 314"/>
                <a:gd name="T79" fmla="*/ 215 h 235"/>
                <a:gd name="T80" fmla="*/ 256 w 314"/>
                <a:gd name="T81" fmla="*/ 221 h 235"/>
                <a:gd name="T82" fmla="*/ 250 w 314"/>
                <a:gd name="T83" fmla="*/ 225 h 235"/>
                <a:gd name="T84" fmla="*/ 240 w 314"/>
                <a:gd name="T85" fmla="*/ 223 h 235"/>
                <a:gd name="T86" fmla="*/ 224 w 314"/>
                <a:gd name="T87" fmla="*/ 203 h 235"/>
                <a:gd name="T88" fmla="*/ 188 w 314"/>
                <a:gd name="T89" fmla="*/ 191 h 235"/>
                <a:gd name="T90" fmla="*/ 168 w 314"/>
                <a:gd name="T91" fmla="*/ 171 h 235"/>
                <a:gd name="T92" fmla="*/ 122 w 314"/>
                <a:gd name="T93" fmla="*/ 183 h 235"/>
                <a:gd name="T94" fmla="*/ 74 w 314"/>
                <a:gd name="T95" fmla="*/ 193 h 235"/>
                <a:gd name="T96" fmla="*/ 28 w 314"/>
                <a:gd name="T97" fmla="*/ 203 h 235"/>
                <a:gd name="T98" fmla="*/ 6 w 314"/>
                <a:gd name="T99" fmla="*/ 189 h 235"/>
                <a:gd name="T100" fmla="*/ 24 w 314"/>
                <a:gd name="T101" fmla="*/ 165 h 235"/>
                <a:gd name="T102" fmla="*/ 16 w 314"/>
                <a:gd name="T103" fmla="*/ 143 h 235"/>
                <a:gd name="T104" fmla="*/ 56 w 314"/>
                <a:gd name="T105" fmla="*/ 125 h 235"/>
                <a:gd name="T106" fmla="*/ 88 w 314"/>
                <a:gd name="T107" fmla="*/ 121 h 235"/>
                <a:gd name="T108" fmla="*/ 110 w 314"/>
                <a:gd name="T109" fmla="*/ 107 h 235"/>
                <a:gd name="T110" fmla="*/ 114 w 314"/>
                <a:gd name="T111" fmla="*/ 86 h 235"/>
                <a:gd name="T112" fmla="*/ 114 w 314"/>
                <a:gd name="T113" fmla="*/ 72 h 235"/>
                <a:gd name="T114" fmla="*/ 110 w 314"/>
                <a:gd name="T115" fmla="*/ 76 h 235"/>
                <a:gd name="T116" fmla="*/ 112 w 314"/>
                <a:gd name="T117" fmla="*/ 62 h 235"/>
                <a:gd name="T118" fmla="*/ 124 w 314"/>
                <a:gd name="T119" fmla="*/ 46 h 235"/>
                <a:gd name="T120" fmla="*/ 138 w 314"/>
                <a:gd name="T121" fmla="*/ 22 h 235"/>
                <a:gd name="T122" fmla="*/ 114 w 314"/>
                <a:gd name="T123" fmla="*/ 70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14" h="235">
                  <a:moveTo>
                    <a:pt x="256" y="221"/>
                  </a:moveTo>
                  <a:lnTo>
                    <a:pt x="256" y="223"/>
                  </a:lnTo>
                  <a:lnTo>
                    <a:pt x="254" y="223"/>
                  </a:lnTo>
                  <a:lnTo>
                    <a:pt x="254" y="223"/>
                  </a:lnTo>
                  <a:lnTo>
                    <a:pt x="252" y="223"/>
                  </a:lnTo>
                  <a:lnTo>
                    <a:pt x="252" y="225"/>
                  </a:lnTo>
                  <a:lnTo>
                    <a:pt x="252" y="223"/>
                  </a:lnTo>
                  <a:lnTo>
                    <a:pt x="254" y="223"/>
                  </a:lnTo>
                  <a:lnTo>
                    <a:pt x="254" y="223"/>
                  </a:lnTo>
                  <a:lnTo>
                    <a:pt x="254" y="221"/>
                  </a:lnTo>
                  <a:lnTo>
                    <a:pt x="256" y="221"/>
                  </a:lnTo>
                  <a:close/>
                  <a:moveTo>
                    <a:pt x="248" y="225"/>
                  </a:moveTo>
                  <a:lnTo>
                    <a:pt x="246" y="225"/>
                  </a:lnTo>
                  <a:lnTo>
                    <a:pt x="248" y="225"/>
                  </a:lnTo>
                  <a:close/>
                  <a:moveTo>
                    <a:pt x="250" y="223"/>
                  </a:moveTo>
                  <a:lnTo>
                    <a:pt x="248" y="223"/>
                  </a:lnTo>
                  <a:lnTo>
                    <a:pt x="250" y="223"/>
                  </a:lnTo>
                  <a:close/>
                  <a:moveTo>
                    <a:pt x="248" y="225"/>
                  </a:moveTo>
                  <a:lnTo>
                    <a:pt x="248" y="223"/>
                  </a:lnTo>
                  <a:lnTo>
                    <a:pt x="248" y="225"/>
                  </a:lnTo>
                  <a:close/>
                  <a:moveTo>
                    <a:pt x="260" y="219"/>
                  </a:moveTo>
                  <a:lnTo>
                    <a:pt x="260" y="221"/>
                  </a:lnTo>
                  <a:lnTo>
                    <a:pt x="260" y="219"/>
                  </a:lnTo>
                  <a:close/>
                  <a:moveTo>
                    <a:pt x="258" y="221"/>
                  </a:moveTo>
                  <a:lnTo>
                    <a:pt x="256" y="221"/>
                  </a:lnTo>
                  <a:lnTo>
                    <a:pt x="258" y="221"/>
                  </a:lnTo>
                  <a:close/>
                  <a:moveTo>
                    <a:pt x="248" y="225"/>
                  </a:moveTo>
                  <a:lnTo>
                    <a:pt x="248" y="223"/>
                  </a:lnTo>
                  <a:lnTo>
                    <a:pt x="248" y="225"/>
                  </a:lnTo>
                  <a:close/>
                  <a:moveTo>
                    <a:pt x="254" y="223"/>
                  </a:moveTo>
                  <a:lnTo>
                    <a:pt x="254" y="221"/>
                  </a:lnTo>
                  <a:lnTo>
                    <a:pt x="254" y="223"/>
                  </a:lnTo>
                  <a:close/>
                  <a:moveTo>
                    <a:pt x="254" y="221"/>
                  </a:moveTo>
                  <a:lnTo>
                    <a:pt x="254" y="223"/>
                  </a:lnTo>
                  <a:lnTo>
                    <a:pt x="254" y="221"/>
                  </a:lnTo>
                  <a:lnTo>
                    <a:pt x="254" y="223"/>
                  </a:lnTo>
                  <a:lnTo>
                    <a:pt x="254" y="221"/>
                  </a:lnTo>
                  <a:close/>
                  <a:moveTo>
                    <a:pt x="254" y="221"/>
                  </a:moveTo>
                  <a:lnTo>
                    <a:pt x="254" y="223"/>
                  </a:lnTo>
                  <a:lnTo>
                    <a:pt x="254" y="221"/>
                  </a:lnTo>
                  <a:close/>
                  <a:moveTo>
                    <a:pt x="256" y="221"/>
                  </a:moveTo>
                  <a:lnTo>
                    <a:pt x="254" y="221"/>
                  </a:lnTo>
                  <a:lnTo>
                    <a:pt x="256" y="221"/>
                  </a:lnTo>
                  <a:close/>
                  <a:moveTo>
                    <a:pt x="256" y="221"/>
                  </a:moveTo>
                  <a:lnTo>
                    <a:pt x="254" y="221"/>
                  </a:lnTo>
                  <a:lnTo>
                    <a:pt x="256" y="221"/>
                  </a:lnTo>
                  <a:close/>
                  <a:moveTo>
                    <a:pt x="246" y="223"/>
                  </a:moveTo>
                  <a:lnTo>
                    <a:pt x="248" y="223"/>
                  </a:lnTo>
                  <a:lnTo>
                    <a:pt x="246" y="223"/>
                  </a:lnTo>
                  <a:lnTo>
                    <a:pt x="248" y="223"/>
                  </a:lnTo>
                  <a:lnTo>
                    <a:pt x="248" y="225"/>
                  </a:lnTo>
                  <a:lnTo>
                    <a:pt x="246" y="225"/>
                  </a:lnTo>
                  <a:lnTo>
                    <a:pt x="246" y="223"/>
                  </a:lnTo>
                  <a:close/>
                  <a:moveTo>
                    <a:pt x="258" y="219"/>
                  </a:moveTo>
                  <a:lnTo>
                    <a:pt x="258" y="221"/>
                  </a:lnTo>
                  <a:lnTo>
                    <a:pt x="258" y="219"/>
                  </a:lnTo>
                  <a:close/>
                  <a:moveTo>
                    <a:pt x="254" y="221"/>
                  </a:moveTo>
                  <a:lnTo>
                    <a:pt x="254" y="223"/>
                  </a:lnTo>
                  <a:lnTo>
                    <a:pt x="254" y="221"/>
                  </a:lnTo>
                  <a:close/>
                  <a:moveTo>
                    <a:pt x="258" y="221"/>
                  </a:moveTo>
                  <a:lnTo>
                    <a:pt x="256" y="221"/>
                  </a:lnTo>
                  <a:lnTo>
                    <a:pt x="258" y="221"/>
                  </a:lnTo>
                  <a:close/>
                  <a:moveTo>
                    <a:pt x="248" y="223"/>
                  </a:moveTo>
                  <a:lnTo>
                    <a:pt x="248" y="225"/>
                  </a:lnTo>
                  <a:lnTo>
                    <a:pt x="248" y="223"/>
                  </a:lnTo>
                  <a:close/>
                  <a:moveTo>
                    <a:pt x="254" y="221"/>
                  </a:moveTo>
                  <a:lnTo>
                    <a:pt x="254" y="223"/>
                  </a:lnTo>
                  <a:lnTo>
                    <a:pt x="254" y="221"/>
                  </a:lnTo>
                  <a:close/>
                  <a:moveTo>
                    <a:pt x="258" y="219"/>
                  </a:moveTo>
                  <a:lnTo>
                    <a:pt x="258" y="221"/>
                  </a:lnTo>
                  <a:lnTo>
                    <a:pt x="258" y="219"/>
                  </a:lnTo>
                  <a:close/>
                  <a:moveTo>
                    <a:pt x="262" y="219"/>
                  </a:moveTo>
                  <a:lnTo>
                    <a:pt x="260" y="219"/>
                  </a:lnTo>
                  <a:lnTo>
                    <a:pt x="262" y="219"/>
                  </a:lnTo>
                  <a:close/>
                  <a:moveTo>
                    <a:pt x="254" y="221"/>
                  </a:moveTo>
                  <a:lnTo>
                    <a:pt x="254" y="223"/>
                  </a:lnTo>
                  <a:lnTo>
                    <a:pt x="254" y="221"/>
                  </a:lnTo>
                  <a:close/>
                  <a:moveTo>
                    <a:pt x="260" y="219"/>
                  </a:moveTo>
                  <a:lnTo>
                    <a:pt x="258" y="219"/>
                  </a:lnTo>
                  <a:lnTo>
                    <a:pt x="260" y="219"/>
                  </a:lnTo>
                  <a:close/>
                  <a:moveTo>
                    <a:pt x="256" y="219"/>
                  </a:moveTo>
                  <a:lnTo>
                    <a:pt x="256" y="221"/>
                  </a:lnTo>
                  <a:lnTo>
                    <a:pt x="256" y="219"/>
                  </a:lnTo>
                  <a:close/>
                  <a:moveTo>
                    <a:pt x="258" y="219"/>
                  </a:moveTo>
                  <a:lnTo>
                    <a:pt x="258" y="221"/>
                  </a:lnTo>
                  <a:lnTo>
                    <a:pt x="256" y="219"/>
                  </a:lnTo>
                  <a:lnTo>
                    <a:pt x="258" y="219"/>
                  </a:lnTo>
                  <a:lnTo>
                    <a:pt x="256" y="219"/>
                  </a:lnTo>
                  <a:lnTo>
                    <a:pt x="258" y="221"/>
                  </a:lnTo>
                  <a:lnTo>
                    <a:pt x="256" y="221"/>
                  </a:lnTo>
                  <a:lnTo>
                    <a:pt x="256" y="219"/>
                  </a:lnTo>
                  <a:lnTo>
                    <a:pt x="258" y="219"/>
                  </a:lnTo>
                  <a:close/>
                  <a:moveTo>
                    <a:pt x="248" y="223"/>
                  </a:moveTo>
                  <a:lnTo>
                    <a:pt x="250" y="223"/>
                  </a:lnTo>
                  <a:lnTo>
                    <a:pt x="248" y="223"/>
                  </a:lnTo>
                  <a:lnTo>
                    <a:pt x="250" y="223"/>
                  </a:lnTo>
                  <a:lnTo>
                    <a:pt x="248" y="223"/>
                  </a:lnTo>
                  <a:lnTo>
                    <a:pt x="250" y="223"/>
                  </a:lnTo>
                  <a:lnTo>
                    <a:pt x="248" y="223"/>
                  </a:lnTo>
                  <a:close/>
                  <a:moveTo>
                    <a:pt x="246" y="225"/>
                  </a:moveTo>
                  <a:lnTo>
                    <a:pt x="246" y="223"/>
                  </a:lnTo>
                  <a:lnTo>
                    <a:pt x="246" y="225"/>
                  </a:lnTo>
                  <a:close/>
                  <a:moveTo>
                    <a:pt x="256" y="219"/>
                  </a:moveTo>
                  <a:lnTo>
                    <a:pt x="256" y="221"/>
                  </a:lnTo>
                  <a:lnTo>
                    <a:pt x="256" y="219"/>
                  </a:lnTo>
                  <a:close/>
                  <a:moveTo>
                    <a:pt x="256" y="221"/>
                  </a:moveTo>
                  <a:lnTo>
                    <a:pt x="256" y="219"/>
                  </a:lnTo>
                  <a:lnTo>
                    <a:pt x="256" y="221"/>
                  </a:lnTo>
                  <a:close/>
                  <a:moveTo>
                    <a:pt x="246" y="223"/>
                  </a:moveTo>
                  <a:lnTo>
                    <a:pt x="248" y="223"/>
                  </a:lnTo>
                  <a:lnTo>
                    <a:pt x="246" y="223"/>
                  </a:lnTo>
                  <a:close/>
                  <a:moveTo>
                    <a:pt x="262" y="217"/>
                  </a:moveTo>
                  <a:lnTo>
                    <a:pt x="262" y="219"/>
                  </a:lnTo>
                  <a:lnTo>
                    <a:pt x="262" y="217"/>
                  </a:lnTo>
                  <a:close/>
                  <a:moveTo>
                    <a:pt x="262" y="217"/>
                  </a:moveTo>
                  <a:lnTo>
                    <a:pt x="262" y="219"/>
                  </a:lnTo>
                  <a:lnTo>
                    <a:pt x="262" y="217"/>
                  </a:lnTo>
                  <a:lnTo>
                    <a:pt x="262" y="219"/>
                  </a:lnTo>
                  <a:lnTo>
                    <a:pt x="262" y="217"/>
                  </a:lnTo>
                  <a:close/>
                  <a:moveTo>
                    <a:pt x="262" y="219"/>
                  </a:moveTo>
                  <a:lnTo>
                    <a:pt x="260" y="219"/>
                  </a:lnTo>
                  <a:lnTo>
                    <a:pt x="262" y="219"/>
                  </a:lnTo>
                  <a:close/>
                  <a:moveTo>
                    <a:pt x="256" y="219"/>
                  </a:moveTo>
                  <a:lnTo>
                    <a:pt x="258" y="219"/>
                  </a:lnTo>
                  <a:lnTo>
                    <a:pt x="256" y="219"/>
                  </a:lnTo>
                  <a:close/>
                  <a:moveTo>
                    <a:pt x="262" y="217"/>
                  </a:moveTo>
                  <a:lnTo>
                    <a:pt x="262" y="219"/>
                  </a:lnTo>
                  <a:lnTo>
                    <a:pt x="262" y="217"/>
                  </a:lnTo>
                  <a:close/>
                  <a:moveTo>
                    <a:pt x="262" y="217"/>
                  </a:moveTo>
                  <a:lnTo>
                    <a:pt x="260" y="217"/>
                  </a:lnTo>
                  <a:lnTo>
                    <a:pt x="262" y="217"/>
                  </a:lnTo>
                  <a:close/>
                  <a:moveTo>
                    <a:pt x="246" y="223"/>
                  </a:moveTo>
                  <a:lnTo>
                    <a:pt x="248" y="223"/>
                  </a:lnTo>
                  <a:lnTo>
                    <a:pt x="246" y="223"/>
                  </a:lnTo>
                  <a:close/>
                  <a:moveTo>
                    <a:pt x="248" y="223"/>
                  </a:moveTo>
                  <a:lnTo>
                    <a:pt x="248" y="225"/>
                  </a:lnTo>
                  <a:lnTo>
                    <a:pt x="248" y="223"/>
                  </a:lnTo>
                  <a:close/>
                  <a:moveTo>
                    <a:pt x="264" y="217"/>
                  </a:moveTo>
                  <a:lnTo>
                    <a:pt x="266" y="217"/>
                  </a:lnTo>
                  <a:lnTo>
                    <a:pt x="264" y="217"/>
                  </a:lnTo>
                  <a:close/>
                  <a:moveTo>
                    <a:pt x="260" y="217"/>
                  </a:moveTo>
                  <a:lnTo>
                    <a:pt x="260" y="219"/>
                  </a:lnTo>
                  <a:lnTo>
                    <a:pt x="260" y="217"/>
                  </a:lnTo>
                  <a:close/>
                  <a:moveTo>
                    <a:pt x="264" y="217"/>
                  </a:moveTo>
                  <a:lnTo>
                    <a:pt x="262" y="217"/>
                  </a:lnTo>
                  <a:lnTo>
                    <a:pt x="264" y="217"/>
                  </a:lnTo>
                  <a:close/>
                  <a:moveTo>
                    <a:pt x="266" y="215"/>
                  </a:moveTo>
                  <a:lnTo>
                    <a:pt x="266" y="217"/>
                  </a:lnTo>
                  <a:lnTo>
                    <a:pt x="266" y="215"/>
                  </a:lnTo>
                  <a:lnTo>
                    <a:pt x="268" y="215"/>
                  </a:lnTo>
                  <a:lnTo>
                    <a:pt x="266" y="215"/>
                  </a:lnTo>
                  <a:lnTo>
                    <a:pt x="266" y="217"/>
                  </a:lnTo>
                  <a:lnTo>
                    <a:pt x="264" y="217"/>
                  </a:lnTo>
                  <a:lnTo>
                    <a:pt x="264" y="219"/>
                  </a:lnTo>
                  <a:lnTo>
                    <a:pt x="262" y="219"/>
                  </a:lnTo>
                  <a:lnTo>
                    <a:pt x="260" y="221"/>
                  </a:lnTo>
                  <a:lnTo>
                    <a:pt x="258" y="221"/>
                  </a:lnTo>
                  <a:lnTo>
                    <a:pt x="256" y="223"/>
                  </a:lnTo>
                  <a:lnTo>
                    <a:pt x="258" y="221"/>
                  </a:lnTo>
                  <a:lnTo>
                    <a:pt x="256" y="221"/>
                  </a:lnTo>
                  <a:lnTo>
                    <a:pt x="256" y="223"/>
                  </a:lnTo>
                  <a:lnTo>
                    <a:pt x="256" y="221"/>
                  </a:lnTo>
                  <a:lnTo>
                    <a:pt x="258" y="221"/>
                  </a:lnTo>
                  <a:lnTo>
                    <a:pt x="260" y="219"/>
                  </a:lnTo>
                  <a:lnTo>
                    <a:pt x="260" y="221"/>
                  </a:lnTo>
                  <a:lnTo>
                    <a:pt x="260" y="219"/>
                  </a:lnTo>
                  <a:lnTo>
                    <a:pt x="262" y="219"/>
                  </a:lnTo>
                  <a:lnTo>
                    <a:pt x="264" y="219"/>
                  </a:lnTo>
                  <a:lnTo>
                    <a:pt x="262" y="219"/>
                  </a:lnTo>
                  <a:lnTo>
                    <a:pt x="264" y="219"/>
                  </a:lnTo>
                  <a:lnTo>
                    <a:pt x="264" y="217"/>
                  </a:lnTo>
                  <a:lnTo>
                    <a:pt x="266" y="217"/>
                  </a:lnTo>
                  <a:lnTo>
                    <a:pt x="266" y="215"/>
                  </a:lnTo>
                  <a:close/>
                  <a:moveTo>
                    <a:pt x="268" y="215"/>
                  </a:moveTo>
                  <a:lnTo>
                    <a:pt x="266" y="215"/>
                  </a:lnTo>
                  <a:lnTo>
                    <a:pt x="268" y="215"/>
                  </a:lnTo>
                  <a:close/>
                  <a:moveTo>
                    <a:pt x="266" y="215"/>
                  </a:moveTo>
                  <a:lnTo>
                    <a:pt x="266" y="217"/>
                  </a:lnTo>
                  <a:lnTo>
                    <a:pt x="264" y="217"/>
                  </a:lnTo>
                  <a:lnTo>
                    <a:pt x="266" y="217"/>
                  </a:lnTo>
                  <a:lnTo>
                    <a:pt x="264" y="217"/>
                  </a:lnTo>
                  <a:lnTo>
                    <a:pt x="266" y="215"/>
                  </a:lnTo>
                  <a:close/>
                  <a:moveTo>
                    <a:pt x="266" y="215"/>
                  </a:moveTo>
                  <a:lnTo>
                    <a:pt x="268" y="215"/>
                  </a:lnTo>
                  <a:lnTo>
                    <a:pt x="266" y="215"/>
                  </a:lnTo>
                  <a:close/>
                  <a:moveTo>
                    <a:pt x="266" y="215"/>
                  </a:moveTo>
                  <a:lnTo>
                    <a:pt x="266" y="217"/>
                  </a:lnTo>
                  <a:lnTo>
                    <a:pt x="266" y="215"/>
                  </a:lnTo>
                  <a:close/>
                  <a:moveTo>
                    <a:pt x="238" y="225"/>
                  </a:moveTo>
                  <a:lnTo>
                    <a:pt x="238" y="227"/>
                  </a:lnTo>
                  <a:lnTo>
                    <a:pt x="238" y="225"/>
                  </a:lnTo>
                  <a:lnTo>
                    <a:pt x="238" y="227"/>
                  </a:lnTo>
                  <a:lnTo>
                    <a:pt x="240" y="227"/>
                  </a:lnTo>
                  <a:lnTo>
                    <a:pt x="238" y="227"/>
                  </a:lnTo>
                  <a:lnTo>
                    <a:pt x="238" y="229"/>
                  </a:lnTo>
                  <a:lnTo>
                    <a:pt x="238" y="231"/>
                  </a:lnTo>
                  <a:lnTo>
                    <a:pt x="236" y="231"/>
                  </a:lnTo>
                  <a:lnTo>
                    <a:pt x="238" y="231"/>
                  </a:lnTo>
                  <a:lnTo>
                    <a:pt x="236" y="231"/>
                  </a:lnTo>
                  <a:lnTo>
                    <a:pt x="236" y="233"/>
                  </a:lnTo>
                  <a:lnTo>
                    <a:pt x="234" y="233"/>
                  </a:lnTo>
                  <a:lnTo>
                    <a:pt x="234" y="235"/>
                  </a:lnTo>
                  <a:lnTo>
                    <a:pt x="232" y="235"/>
                  </a:lnTo>
                  <a:lnTo>
                    <a:pt x="232" y="233"/>
                  </a:lnTo>
                  <a:lnTo>
                    <a:pt x="232" y="231"/>
                  </a:lnTo>
                  <a:lnTo>
                    <a:pt x="234" y="231"/>
                  </a:lnTo>
                  <a:lnTo>
                    <a:pt x="234" y="229"/>
                  </a:lnTo>
                  <a:lnTo>
                    <a:pt x="232" y="229"/>
                  </a:lnTo>
                  <a:lnTo>
                    <a:pt x="232" y="227"/>
                  </a:lnTo>
                  <a:lnTo>
                    <a:pt x="234" y="227"/>
                  </a:lnTo>
                  <a:lnTo>
                    <a:pt x="234" y="225"/>
                  </a:lnTo>
                  <a:lnTo>
                    <a:pt x="236" y="225"/>
                  </a:lnTo>
                  <a:lnTo>
                    <a:pt x="238" y="225"/>
                  </a:lnTo>
                  <a:close/>
                  <a:moveTo>
                    <a:pt x="268" y="215"/>
                  </a:moveTo>
                  <a:lnTo>
                    <a:pt x="266" y="215"/>
                  </a:lnTo>
                  <a:lnTo>
                    <a:pt x="268" y="215"/>
                  </a:lnTo>
                  <a:close/>
                  <a:moveTo>
                    <a:pt x="272" y="213"/>
                  </a:moveTo>
                  <a:lnTo>
                    <a:pt x="270" y="213"/>
                  </a:lnTo>
                  <a:lnTo>
                    <a:pt x="272" y="213"/>
                  </a:lnTo>
                  <a:lnTo>
                    <a:pt x="270" y="213"/>
                  </a:lnTo>
                  <a:lnTo>
                    <a:pt x="272" y="213"/>
                  </a:lnTo>
                  <a:close/>
                  <a:moveTo>
                    <a:pt x="262" y="217"/>
                  </a:moveTo>
                  <a:lnTo>
                    <a:pt x="262" y="215"/>
                  </a:lnTo>
                  <a:lnTo>
                    <a:pt x="262" y="217"/>
                  </a:lnTo>
                  <a:close/>
                  <a:moveTo>
                    <a:pt x="238" y="223"/>
                  </a:moveTo>
                  <a:lnTo>
                    <a:pt x="238" y="221"/>
                  </a:lnTo>
                  <a:lnTo>
                    <a:pt x="238" y="223"/>
                  </a:lnTo>
                  <a:close/>
                  <a:moveTo>
                    <a:pt x="240" y="223"/>
                  </a:moveTo>
                  <a:lnTo>
                    <a:pt x="238" y="223"/>
                  </a:lnTo>
                  <a:lnTo>
                    <a:pt x="238" y="221"/>
                  </a:lnTo>
                  <a:lnTo>
                    <a:pt x="240" y="221"/>
                  </a:lnTo>
                  <a:lnTo>
                    <a:pt x="240" y="223"/>
                  </a:lnTo>
                  <a:close/>
                  <a:moveTo>
                    <a:pt x="286" y="203"/>
                  </a:moveTo>
                  <a:lnTo>
                    <a:pt x="284" y="203"/>
                  </a:lnTo>
                  <a:lnTo>
                    <a:pt x="284" y="205"/>
                  </a:lnTo>
                  <a:lnTo>
                    <a:pt x="282" y="205"/>
                  </a:lnTo>
                  <a:lnTo>
                    <a:pt x="282" y="207"/>
                  </a:lnTo>
                  <a:lnTo>
                    <a:pt x="280" y="207"/>
                  </a:lnTo>
                  <a:lnTo>
                    <a:pt x="280" y="209"/>
                  </a:lnTo>
                  <a:lnTo>
                    <a:pt x="278" y="209"/>
                  </a:lnTo>
                  <a:lnTo>
                    <a:pt x="278" y="211"/>
                  </a:lnTo>
                  <a:lnTo>
                    <a:pt x="276" y="211"/>
                  </a:lnTo>
                  <a:lnTo>
                    <a:pt x="276" y="213"/>
                  </a:lnTo>
                  <a:lnTo>
                    <a:pt x="274" y="213"/>
                  </a:lnTo>
                  <a:lnTo>
                    <a:pt x="272" y="213"/>
                  </a:lnTo>
                  <a:lnTo>
                    <a:pt x="272" y="215"/>
                  </a:lnTo>
                  <a:lnTo>
                    <a:pt x="270" y="215"/>
                  </a:lnTo>
                  <a:lnTo>
                    <a:pt x="268" y="217"/>
                  </a:lnTo>
                  <a:lnTo>
                    <a:pt x="266" y="217"/>
                  </a:lnTo>
                  <a:lnTo>
                    <a:pt x="268" y="217"/>
                  </a:lnTo>
                  <a:lnTo>
                    <a:pt x="268" y="215"/>
                  </a:lnTo>
                  <a:lnTo>
                    <a:pt x="270" y="215"/>
                  </a:lnTo>
                  <a:lnTo>
                    <a:pt x="272" y="215"/>
                  </a:lnTo>
                  <a:lnTo>
                    <a:pt x="270" y="215"/>
                  </a:lnTo>
                  <a:lnTo>
                    <a:pt x="272" y="215"/>
                  </a:lnTo>
                  <a:lnTo>
                    <a:pt x="272" y="213"/>
                  </a:lnTo>
                  <a:lnTo>
                    <a:pt x="274" y="213"/>
                  </a:lnTo>
                  <a:lnTo>
                    <a:pt x="276" y="213"/>
                  </a:lnTo>
                  <a:lnTo>
                    <a:pt x="276" y="211"/>
                  </a:lnTo>
                  <a:lnTo>
                    <a:pt x="278" y="211"/>
                  </a:lnTo>
                  <a:lnTo>
                    <a:pt x="278" y="209"/>
                  </a:lnTo>
                  <a:lnTo>
                    <a:pt x="278" y="211"/>
                  </a:lnTo>
                  <a:lnTo>
                    <a:pt x="278" y="209"/>
                  </a:lnTo>
                  <a:lnTo>
                    <a:pt x="280" y="209"/>
                  </a:lnTo>
                  <a:lnTo>
                    <a:pt x="280" y="207"/>
                  </a:lnTo>
                  <a:lnTo>
                    <a:pt x="282" y="207"/>
                  </a:lnTo>
                  <a:lnTo>
                    <a:pt x="282" y="205"/>
                  </a:lnTo>
                  <a:lnTo>
                    <a:pt x="282" y="207"/>
                  </a:lnTo>
                  <a:lnTo>
                    <a:pt x="282" y="205"/>
                  </a:lnTo>
                  <a:lnTo>
                    <a:pt x="284" y="205"/>
                  </a:lnTo>
                  <a:lnTo>
                    <a:pt x="284" y="203"/>
                  </a:lnTo>
                  <a:lnTo>
                    <a:pt x="286" y="203"/>
                  </a:lnTo>
                  <a:lnTo>
                    <a:pt x="284" y="203"/>
                  </a:lnTo>
                  <a:lnTo>
                    <a:pt x="286" y="203"/>
                  </a:lnTo>
                  <a:close/>
                  <a:moveTo>
                    <a:pt x="294" y="199"/>
                  </a:moveTo>
                  <a:lnTo>
                    <a:pt x="292" y="199"/>
                  </a:lnTo>
                  <a:lnTo>
                    <a:pt x="294" y="199"/>
                  </a:lnTo>
                  <a:close/>
                  <a:moveTo>
                    <a:pt x="296" y="197"/>
                  </a:moveTo>
                  <a:lnTo>
                    <a:pt x="296" y="199"/>
                  </a:lnTo>
                  <a:lnTo>
                    <a:pt x="294" y="199"/>
                  </a:lnTo>
                  <a:lnTo>
                    <a:pt x="292" y="199"/>
                  </a:lnTo>
                  <a:lnTo>
                    <a:pt x="292" y="201"/>
                  </a:lnTo>
                  <a:lnTo>
                    <a:pt x="290" y="201"/>
                  </a:lnTo>
                  <a:lnTo>
                    <a:pt x="290" y="203"/>
                  </a:lnTo>
                  <a:lnTo>
                    <a:pt x="288" y="203"/>
                  </a:lnTo>
                  <a:lnTo>
                    <a:pt x="288" y="203"/>
                  </a:lnTo>
                  <a:lnTo>
                    <a:pt x="286" y="203"/>
                  </a:lnTo>
                  <a:lnTo>
                    <a:pt x="288" y="203"/>
                  </a:lnTo>
                  <a:lnTo>
                    <a:pt x="288" y="203"/>
                  </a:lnTo>
                  <a:lnTo>
                    <a:pt x="286" y="203"/>
                  </a:lnTo>
                  <a:lnTo>
                    <a:pt x="288" y="203"/>
                  </a:lnTo>
                  <a:lnTo>
                    <a:pt x="290" y="203"/>
                  </a:lnTo>
                  <a:lnTo>
                    <a:pt x="290" y="201"/>
                  </a:lnTo>
                  <a:lnTo>
                    <a:pt x="292" y="201"/>
                  </a:lnTo>
                  <a:lnTo>
                    <a:pt x="292" y="199"/>
                  </a:lnTo>
                  <a:lnTo>
                    <a:pt x="294" y="199"/>
                  </a:lnTo>
                  <a:lnTo>
                    <a:pt x="294" y="197"/>
                  </a:lnTo>
                  <a:lnTo>
                    <a:pt x="296" y="197"/>
                  </a:lnTo>
                  <a:close/>
                  <a:moveTo>
                    <a:pt x="246" y="211"/>
                  </a:moveTo>
                  <a:lnTo>
                    <a:pt x="246" y="209"/>
                  </a:lnTo>
                  <a:lnTo>
                    <a:pt x="246" y="211"/>
                  </a:lnTo>
                  <a:close/>
                  <a:moveTo>
                    <a:pt x="268" y="203"/>
                  </a:moveTo>
                  <a:lnTo>
                    <a:pt x="268" y="203"/>
                  </a:lnTo>
                  <a:lnTo>
                    <a:pt x="268" y="203"/>
                  </a:lnTo>
                  <a:close/>
                  <a:moveTo>
                    <a:pt x="272" y="197"/>
                  </a:moveTo>
                  <a:lnTo>
                    <a:pt x="272" y="199"/>
                  </a:lnTo>
                  <a:lnTo>
                    <a:pt x="272" y="197"/>
                  </a:lnTo>
                  <a:close/>
                  <a:moveTo>
                    <a:pt x="272" y="197"/>
                  </a:moveTo>
                  <a:lnTo>
                    <a:pt x="272" y="199"/>
                  </a:lnTo>
                  <a:lnTo>
                    <a:pt x="272" y="197"/>
                  </a:lnTo>
                  <a:close/>
                  <a:moveTo>
                    <a:pt x="272" y="199"/>
                  </a:moveTo>
                  <a:lnTo>
                    <a:pt x="272" y="197"/>
                  </a:lnTo>
                  <a:lnTo>
                    <a:pt x="272" y="199"/>
                  </a:lnTo>
                  <a:close/>
                  <a:moveTo>
                    <a:pt x="294" y="191"/>
                  </a:moveTo>
                  <a:lnTo>
                    <a:pt x="296" y="191"/>
                  </a:lnTo>
                  <a:lnTo>
                    <a:pt x="294" y="191"/>
                  </a:lnTo>
                  <a:close/>
                  <a:moveTo>
                    <a:pt x="300" y="187"/>
                  </a:moveTo>
                  <a:lnTo>
                    <a:pt x="300" y="185"/>
                  </a:lnTo>
                  <a:lnTo>
                    <a:pt x="300" y="187"/>
                  </a:lnTo>
                  <a:close/>
                  <a:moveTo>
                    <a:pt x="312" y="177"/>
                  </a:moveTo>
                  <a:lnTo>
                    <a:pt x="314" y="177"/>
                  </a:lnTo>
                  <a:lnTo>
                    <a:pt x="314" y="179"/>
                  </a:lnTo>
                  <a:lnTo>
                    <a:pt x="312" y="181"/>
                  </a:lnTo>
                  <a:lnTo>
                    <a:pt x="310" y="181"/>
                  </a:lnTo>
                  <a:lnTo>
                    <a:pt x="310" y="183"/>
                  </a:lnTo>
                  <a:lnTo>
                    <a:pt x="308" y="183"/>
                  </a:lnTo>
                  <a:lnTo>
                    <a:pt x="308" y="185"/>
                  </a:lnTo>
                  <a:lnTo>
                    <a:pt x="306" y="185"/>
                  </a:lnTo>
                  <a:lnTo>
                    <a:pt x="306" y="187"/>
                  </a:lnTo>
                  <a:lnTo>
                    <a:pt x="304" y="187"/>
                  </a:lnTo>
                  <a:lnTo>
                    <a:pt x="304" y="189"/>
                  </a:lnTo>
                  <a:lnTo>
                    <a:pt x="302" y="189"/>
                  </a:lnTo>
                  <a:lnTo>
                    <a:pt x="302" y="191"/>
                  </a:lnTo>
                  <a:lnTo>
                    <a:pt x="302" y="191"/>
                  </a:lnTo>
                  <a:lnTo>
                    <a:pt x="302" y="193"/>
                  </a:lnTo>
                  <a:lnTo>
                    <a:pt x="300" y="193"/>
                  </a:lnTo>
                  <a:lnTo>
                    <a:pt x="300" y="195"/>
                  </a:lnTo>
                  <a:lnTo>
                    <a:pt x="298" y="195"/>
                  </a:lnTo>
                  <a:lnTo>
                    <a:pt x="298" y="197"/>
                  </a:lnTo>
                  <a:lnTo>
                    <a:pt x="296" y="197"/>
                  </a:lnTo>
                  <a:lnTo>
                    <a:pt x="298" y="197"/>
                  </a:lnTo>
                  <a:lnTo>
                    <a:pt x="298" y="195"/>
                  </a:lnTo>
                  <a:lnTo>
                    <a:pt x="298" y="197"/>
                  </a:lnTo>
                  <a:lnTo>
                    <a:pt x="298" y="195"/>
                  </a:lnTo>
                  <a:lnTo>
                    <a:pt x="296" y="195"/>
                  </a:lnTo>
                  <a:lnTo>
                    <a:pt x="294" y="195"/>
                  </a:lnTo>
                  <a:lnTo>
                    <a:pt x="296" y="195"/>
                  </a:lnTo>
                  <a:lnTo>
                    <a:pt x="296" y="193"/>
                  </a:lnTo>
                  <a:lnTo>
                    <a:pt x="296" y="191"/>
                  </a:lnTo>
                  <a:lnTo>
                    <a:pt x="298" y="191"/>
                  </a:lnTo>
                  <a:lnTo>
                    <a:pt x="298" y="189"/>
                  </a:lnTo>
                  <a:lnTo>
                    <a:pt x="298" y="187"/>
                  </a:lnTo>
                  <a:lnTo>
                    <a:pt x="298" y="189"/>
                  </a:lnTo>
                  <a:lnTo>
                    <a:pt x="298" y="187"/>
                  </a:lnTo>
                  <a:lnTo>
                    <a:pt x="298" y="189"/>
                  </a:lnTo>
                  <a:lnTo>
                    <a:pt x="298" y="187"/>
                  </a:lnTo>
                  <a:lnTo>
                    <a:pt x="298" y="189"/>
                  </a:lnTo>
                  <a:lnTo>
                    <a:pt x="298" y="187"/>
                  </a:lnTo>
                  <a:lnTo>
                    <a:pt x="300" y="187"/>
                  </a:lnTo>
                  <a:lnTo>
                    <a:pt x="298" y="187"/>
                  </a:lnTo>
                  <a:lnTo>
                    <a:pt x="298" y="185"/>
                  </a:lnTo>
                  <a:lnTo>
                    <a:pt x="300" y="185"/>
                  </a:lnTo>
                  <a:lnTo>
                    <a:pt x="300" y="187"/>
                  </a:lnTo>
                  <a:lnTo>
                    <a:pt x="302" y="187"/>
                  </a:lnTo>
                  <a:lnTo>
                    <a:pt x="302" y="185"/>
                  </a:lnTo>
                  <a:lnTo>
                    <a:pt x="302" y="187"/>
                  </a:lnTo>
                  <a:lnTo>
                    <a:pt x="302" y="185"/>
                  </a:lnTo>
                  <a:lnTo>
                    <a:pt x="302" y="183"/>
                  </a:lnTo>
                  <a:lnTo>
                    <a:pt x="302" y="185"/>
                  </a:lnTo>
                  <a:lnTo>
                    <a:pt x="302" y="183"/>
                  </a:lnTo>
                  <a:lnTo>
                    <a:pt x="302" y="183"/>
                  </a:lnTo>
                  <a:lnTo>
                    <a:pt x="302" y="185"/>
                  </a:lnTo>
                  <a:lnTo>
                    <a:pt x="302" y="183"/>
                  </a:lnTo>
                  <a:lnTo>
                    <a:pt x="302" y="185"/>
                  </a:lnTo>
                  <a:lnTo>
                    <a:pt x="304" y="185"/>
                  </a:lnTo>
                  <a:lnTo>
                    <a:pt x="302" y="185"/>
                  </a:lnTo>
                  <a:lnTo>
                    <a:pt x="304" y="185"/>
                  </a:lnTo>
                  <a:lnTo>
                    <a:pt x="302" y="185"/>
                  </a:lnTo>
                  <a:lnTo>
                    <a:pt x="302" y="183"/>
                  </a:lnTo>
                  <a:lnTo>
                    <a:pt x="302" y="181"/>
                  </a:lnTo>
                  <a:lnTo>
                    <a:pt x="304" y="183"/>
                  </a:lnTo>
                  <a:lnTo>
                    <a:pt x="306" y="183"/>
                  </a:lnTo>
                  <a:lnTo>
                    <a:pt x="306" y="185"/>
                  </a:lnTo>
                  <a:lnTo>
                    <a:pt x="308" y="185"/>
                  </a:lnTo>
                  <a:lnTo>
                    <a:pt x="306" y="185"/>
                  </a:lnTo>
                  <a:lnTo>
                    <a:pt x="308" y="185"/>
                  </a:lnTo>
                  <a:lnTo>
                    <a:pt x="308" y="183"/>
                  </a:lnTo>
                  <a:lnTo>
                    <a:pt x="306" y="183"/>
                  </a:lnTo>
                  <a:lnTo>
                    <a:pt x="308" y="183"/>
                  </a:lnTo>
                  <a:lnTo>
                    <a:pt x="308" y="185"/>
                  </a:lnTo>
                  <a:lnTo>
                    <a:pt x="308" y="183"/>
                  </a:lnTo>
                  <a:lnTo>
                    <a:pt x="310" y="183"/>
                  </a:lnTo>
                  <a:lnTo>
                    <a:pt x="310" y="181"/>
                  </a:lnTo>
                  <a:lnTo>
                    <a:pt x="312" y="181"/>
                  </a:lnTo>
                  <a:lnTo>
                    <a:pt x="312" y="179"/>
                  </a:lnTo>
                  <a:lnTo>
                    <a:pt x="310" y="179"/>
                  </a:lnTo>
                  <a:lnTo>
                    <a:pt x="312" y="179"/>
                  </a:lnTo>
                  <a:lnTo>
                    <a:pt x="312" y="177"/>
                  </a:lnTo>
                  <a:close/>
                  <a:moveTo>
                    <a:pt x="298" y="181"/>
                  </a:moveTo>
                  <a:lnTo>
                    <a:pt x="298" y="183"/>
                  </a:lnTo>
                  <a:lnTo>
                    <a:pt x="300" y="183"/>
                  </a:lnTo>
                  <a:lnTo>
                    <a:pt x="298" y="183"/>
                  </a:lnTo>
                  <a:lnTo>
                    <a:pt x="300" y="183"/>
                  </a:lnTo>
                  <a:lnTo>
                    <a:pt x="298" y="183"/>
                  </a:lnTo>
                  <a:lnTo>
                    <a:pt x="300" y="183"/>
                  </a:lnTo>
                  <a:lnTo>
                    <a:pt x="298" y="183"/>
                  </a:lnTo>
                  <a:lnTo>
                    <a:pt x="300" y="183"/>
                  </a:lnTo>
                  <a:lnTo>
                    <a:pt x="300" y="185"/>
                  </a:lnTo>
                  <a:lnTo>
                    <a:pt x="302" y="185"/>
                  </a:lnTo>
                  <a:lnTo>
                    <a:pt x="300" y="185"/>
                  </a:lnTo>
                  <a:lnTo>
                    <a:pt x="298" y="185"/>
                  </a:lnTo>
                  <a:lnTo>
                    <a:pt x="300" y="185"/>
                  </a:lnTo>
                  <a:lnTo>
                    <a:pt x="298" y="185"/>
                  </a:lnTo>
                  <a:lnTo>
                    <a:pt x="296" y="185"/>
                  </a:lnTo>
                  <a:lnTo>
                    <a:pt x="298" y="185"/>
                  </a:lnTo>
                  <a:lnTo>
                    <a:pt x="296" y="185"/>
                  </a:lnTo>
                  <a:lnTo>
                    <a:pt x="296" y="183"/>
                  </a:lnTo>
                  <a:lnTo>
                    <a:pt x="298" y="183"/>
                  </a:lnTo>
                  <a:lnTo>
                    <a:pt x="296" y="183"/>
                  </a:lnTo>
                  <a:lnTo>
                    <a:pt x="298" y="183"/>
                  </a:lnTo>
                  <a:lnTo>
                    <a:pt x="296" y="183"/>
                  </a:lnTo>
                  <a:lnTo>
                    <a:pt x="298" y="183"/>
                  </a:lnTo>
                  <a:lnTo>
                    <a:pt x="298" y="181"/>
                  </a:lnTo>
                  <a:close/>
                  <a:moveTo>
                    <a:pt x="304" y="179"/>
                  </a:moveTo>
                  <a:lnTo>
                    <a:pt x="306" y="179"/>
                  </a:lnTo>
                  <a:lnTo>
                    <a:pt x="306" y="181"/>
                  </a:lnTo>
                  <a:lnTo>
                    <a:pt x="304" y="181"/>
                  </a:lnTo>
                  <a:lnTo>
                    <a:pt x="304" y="179"/>
                  </a:lnTo>
                  <a:lnTo>
                    <a:pt x="304" y="181"/>
                  </a:lnTo>
                  <a:lnTo>
                    <a:pt x="304" y="179"/>
                  </a:lnTo>
                  <a:lnTo>
                    <a:pt x="302" y="179"/>
                  </a:lnTo>
                  <a:lnTo>
                    <a:pt x="304" y="179"/>
                  </a:lnTo>
                  <a:close/>
                  <a:moveTo>
                    <a:pt x="302" y="175"/>
                  </a:moveTo>
                  <a:lnTo>
                    <a:pt x="302" y="177"/>
                  </a:lnTo>
                  <a:lnTo>
                    <a:pt x="300" y="177"/>
                  </a:lnTo>
                  <a:lnTo>
                    <a:pt x="302" y="177"/>
                  </a:lnTo>
                  <a:lnTo>
                    <a:pt x="302" y="175"/>
                  </a:lnTo>
                  <a:close/>
                  <a:moveTo>
                    <a:pt x="302" y="175"/>
                  </a:moveTo>
                  <a:lnTo>
                    <a:pt x="302" y="173"/>
                  </a:lnTo>
                  <a:lnTo>
                    <a:pt x="302" y="175"/>
                  </a:lnTo>
                  <a:close/>
                  <a:moveTo>
                    <a:pt x="308" y="167"/>
                  </a:moveTo>
                  <a:lnTo>
                    <a:pt x="308" y="169"/>
                  </a:lnTo>
                  <a:lnTo>
                    <a:pt x="306" y="169"/>
                  </a:lnTo>
                  <a:lnTo>
                    <a:pt x="306" y="171"/>
                  </a:lnTo>
                  <a:lnTo>
                    <a:pt x="304" y="171"/>
                  </a:lnTo>
                  <a:lnTo>
                    <a:pt x="304" y="169"/>
                  </a:lnTo>
                  <a:lnTo>
                    <a:pt x="304" y="171"/>
                  </a:lnTo>
                  <a:lnTo>
                    <a:pt x="304" y="169"/>
                  </a:lnTo>
                  <a:lnTo>
                    <a:pt x="306" y="169"/>
                  </a:lnTo>
                  <a:lnTo>
                    <a:pt x="304" y="169"/>
                  </a:lnTo>
                  <a:lnTo>
                    <a:pt x="306" y="169"/>
                  </a:lnTo>
                  <a:lnTo>
                    <a:pt x="306" y="167"/>
                  </a:lnTo>
                  <a:lnTo>
                    <a:pt x="308" y="167"/>
                  </a:lnTo>
                  <a:close/>
                  <a:moveTo>
                    <a:pt x="26" y="155"/>
                  </a:moveTo>
                  <a:lnTo>
                    <a:pt x="26" y="157"/>
                  </a:lnTo>
                  <a:lnTo>
                    <a:pt x="26" y="155"/>
                  </a:lnTo>
                  <a:close/>
                  <a:moveTo>
                    <a:pt x="24" y="155"/>
                  </a:moveTo>
                  <a:lnTo>
                    <a:pt x="22" y="155"/>
                  </a:lnTo>
                  <a:lnTo>
                    <a:pt x="24" y="155"/>
                  </a:lnTo>
                  <a:close/>
                  <a:moveTo>
                    <a:pt x="26" y="151"/>
                  </a:moveTo>
                  <a:lnTo>
                    <a:pt x="26" y="149"/>
                  </a:lnTo>
                  <a:lnTo>
                    <a:pt x="26" y="151"/>
                  </a:lnTo>
                  <a:close/>
                  <a:moveTo>
                    <a:pt x="20" y="149"/>
                  </a:moveTo>
                  <a:lnTo>
                    <a:pt x="22" y="149"/>
                  </a:lnTo>
                  <a:lnTo>
                    <a:pt x="24" y="149"/>
                  </a:lnTo>
                  <a:lnTo>
                    <a:pt x="24" y="151"/>
                  </a:lnTo>
                  <a:lnTo>
                    <a:pt x="24" y="153"/>
                  </a:lnTo>
                  <a:lnTo>
                    <a:pt x="24" y="155"/>
                  </a:lnTo>
                  <a:lnTo>
                    <a:pt x="22" y="155"/>
                  </a:lnTo>
                  <a:lnTo>
                    <a:pt x="22" y="153"/>
                  </a:lnTo>
                  <a:lnTo>
                    <a:pt x="20" y="153"/>
                  </a:lnTo>
                  <a:lnTo>
                    <a:pt x="20" y="151"/>
                  </a:lnTo>
                  <a:lnTo>
                    <a:pt x="20" y="149"/>
                  </a:lnTo>
                  <a:close/>
                  <a:moveTo>
                    <a:pt x="108" y="82"/>
                  </a:moveTo>
                  <a:lnTo>
                    <a:pt x="108" y="84"/>
                  </a:lnTo>
                  <a:lnTo>
                    <a:pt x="106" y="84"/>
                  </a:lnTo>
                  <a:lnTo>
                    <a:pt x="108" y="84"/>
                  </a:lnTo>
                  <a:lnTo>
                    <a:pt x="108" y="82"/>
                  </a:lnTo>
                  <a:close/>
                  <a:moveTo>
                    <a:pt x="108" y="68"/>
                  </a:moveTo>
                  <a:lnTo>
                    <a:pt x="110" y="68"/>
                  </a:lnTo>
                  <a:lnTo>
                    <a:pt x="108" y="68"/>
                  </a:lnTo>
                  <a:close/>
                  <a:moveTo>
                    <a:pt x="112" y="60"/>
                  </a:moveTo>
                  <a:lnTo>
                    <a:pt x="114" y="60"/>
                  </a:lnTo>
                  <a:lnTo>
                    <a:pt x="112" y="60"/>
                  </a:lnTo>
                  <a:lnTo>
                    <a:pt x="112" y="62"/>
                  </a:lnTo>
                  <a:lnTo>
                    <a:pt x="112" y="64"/>
                  </a:lnTo>
                  <a:lnTo>
                    <a:pt x="112" y="62"/>
                  </a:lnTo>
                  <a:lnTo>
                    <a:pt x="110" y="62"/>
                  </a:lnTo>
                  <a:lnTo>
                    <a:pt x="110" y="64"/>
                  </a:lnTo>
                  <a:lnTo>
                    <a:pt x="110" y="62"/>
                  </a:lnTo>
                  <a:lnTo>
                    <a:pt x="110" y="64"/>
                  </a:lnTo>
                  <a:lnTo>
                    <a:pt x="110" y="62"/>
                  </a:lnTo>
                  <a:lnTo>
                    <a:pt x="110" y="60"/>
                  </a:lnTo>
                  <a:lnTo>
                    <a:pt x="110" y="62"/>
                  </a:lnTo>
                  <a:lnTo>
                    <a:pt x="112" y="62"/>
                  </a:lnTo>
                  <a:lnTo>
                    <a:pt x="110" y="62"/>
                  </a:lnTo>
                  <a:lnTo>
                    <a:pt x="112" y="62"/>
                  </a:lnTo>
                  <a:lnTo>
                    <a:pt x="110" y="62"/>
                  </a:lnTo>
                  <a:lnTo>
                    <a:pt x="110" y="60"/>
                  </a:lnTo>
                  <a:lnTo>
                    <a:pt x="112" y="60"/>
                  </a:lnTo>
                  <a:close/>
                  <a:moveTo>
                    <a:pt x="118" y="56"/>
                  </a:moveTo>
                  <a:lnTo>
                    <a:pt x="118" y="58"/>
                  </a:lnTo>
                  <a:lnTo>
                    <a:pt x="118" y="56"/>
                  </a:lnTo>
                  <a:close/>
                  <a:moveTo>
                    <a:pt x="118" y="58"/>
                  </a:moveTo>
                  <a:lnTo>
                    <a:pt x="118" y="60"/>
                  </a:lnTo>
                  <a:lnTo>
                    <a:pt x="116" y="60"/>
                  </a:lnTo>
                  <a:lnTo>
                    <a:pt x="116" y="60"/>
                  </a:lnTo>
                  <a:lnTo>
                    <a:pt x="114" y="60"/>
                  </a:lnTo>
                  <a:lnTo>
                    <a:pt x="114" y="60"/>
                  </a:lnTo>
                  <a:lnTo>
                    <a:pt x="114" y="58"/>
                  </a:lnTo>
                  <a:lnTo>
                    <a:pt x="116" y="58"/>
                  </a:lnTo>
                  <a:lnTo>
                    <a:pt x="116" y="60"/>
                  </a:lnTo>
                  <a:lnTo>
                    <a:pt x="114" y="60"/>
                  </a:lnTo>
                  <a:lnTo>
                    <a:pt x="116" y="60"/>
                  </a:lnTo>
                  <a:lnTo>
                    <a:pt x="114" y="60"/>
                  </a:lnTo>
                  <a:lnTo>
                    <a:pt x="116" y="60"/>
                  </a:lnTo>
                  <a:lnTo>
                    <a:pt x="114" y="60"/>
                  </a:lnTo>
                  <a:lnTo>
                    <a:pt x="116" y="60"/>
                  </a:lnTo>
                  <a:lnTo>
                    <a:pt x="116" y="58"/>
                  </a:lnTo>
                  <a:lnTo>
                    <a:pt x="118" y="58"/>
                  </a:lnTo>
                  <a:lnTo>
                    <a:pt x="118" y="56"/>
                  </a:lnTo>
                  <a:lnTo>
                    <a:pt x="118" y="58"/>
                  </a:lnTo>
                  <a:close/>
                  <a:moveTo>
                    <a:pt x="122" y="54"/>
                  </a:moveTo>
                  <a:lnTo>
                    <a:pt x="122" y="52"/>
                  </a:lnTo>
                  <a:lnTo>
                    <a:pt x="122" y="54"/>
                  </a:lnTo>
                  <a:close/>
                  <a:moveTo>
                    <a:pt x="122" y="54"/>
                  </a:moveTo>
                  <a:lnTo>
                    <a:pt x="120" y="54"/>
                  </a:lnTo>
                  <a:lnTo>
                    <a:pt x="122" y="54"/>
                  </a:lnTo>
                  <a:lnTo>
                    <a:pt x="120" y="54"/>
                  </a:lnTo>
                  <a:lnTo>
                    <a:pt x="120" y="52"/>
                  </a:lnTo>
                  <a:lnTo>
                    <a:pt x="122" y="54"/>
                  </a:lnTo>
                  <a:lnTo>
                    <a:pt x="120" y="54"/>
                  </a:lnTo>
                  <a:lnTo>
                    <a:pt x="122" y="54"/>
                  </a:lnTo>
                  <a:close/>
                  <a:moveTo>
                    <a:pt x="122" y="52"/>
                  </a:moveTo>
                  <a:lnTo>
                    <a:pt x="122" y="54"/>
                  </a:lnTo>
                  <a:lnTo>
                    <a:pt x="122" y="52"/>
                  </a:lnTo>
                  <a:close/>
                  <a:moveTo>
                    <a:pt x="122" y="48"/>
                  </a:moveTo>
                  <a:lnTo>
                    <a:pt x="120" y="48"/>
                  </a:lnTo>
                  <a:lnTo>
                    <a:pt x="122" y="48"/>
                  </a:lnTo>
                  <a:close/>
                  <a:moveTo>
                    <a:pt x="130" y="32"/>
                  </a:moveTo>
                  <a:lnTo>
                    <a:pt x="130" y="30"/>
                  </a:lnTo>
                  <a:lnTo>
                    <a:pt x="132" y="30"/>
                  </a:lnTo>
                  <a:lnTo>
                    <a:pt x="132" y="32"/>
                  </a:lnTo>
                  <a:lnTo>
                    <a:pt x="130" y="32"/>
                  </a:lnTo>
                  <a:close/>
                  <a:moveTo>
                    <a:pt x="132" y="30"/>
                  </a:moveTo>
                  <a:lnTo>
                    <a:pt x="132" y="32"/>
                  </a:lnTo>
                  <a:lnTo>
                    <a:pt x="130" y="32"/>
                  </a:lnTo>
                  <a:lnTo>
                    <a:pt x="132" y="32"/>
                  </a:lnTo>
                  <a:lnTo>
                    <a:pt x="130" y="32"/>
                  </a:lnTo>
                  <a:lnTo>
                    <a:pt x="132" y="32"/>
                  </a:lnTo>
                  <a:lnTo>
                    <a:pt x="132" y="30"/>
                  </a:lnTo>
                  <a:close/>
                  <a:moveTo>
                    <a:pt x="140" y="20"/>
                  </a:moveTo>
                  <a:lnTo>
                    <a:pt x="140" y="22"/>
                  </a:lnTo>
                  <a:lnTo>
                    <a:pt x="140" y="20"/>
                  </a:lnTo>
                  <a:close/>
                  <a:moveTo>
                    <a:pt x="144" y="16"/>
                  </a:moveTo>
                  <a:lnTo>
                    <a:pt x="144" y="18"/>
                  </a:lnTo>
                  <a:lnTo>
                    <a:pt x="144" y="16"/>
                  </a:lnTo>
                  <a:close/>
                  <a:moveTo>
                    <a:pt x="146" y="16"/>
                  </a:moveTo>
                  <a:lnTo>
                    <a:pt x="144" y="16"/>
                  </a:lnTo>
                  <a:lnTo>
                    <a:pt x="146" y="16"/>
                  </a:lnTo>
                  <a:close/>
                  <a:moveTo>
                    <a:pt x="144" y="16"/>
                  </a:moveTo>
                  <a:lnTo>
                    <a:pt x="146" y="16"/>
                  </a:lnTo>
                  <a:lnTo>
                    <a:pt x="144" y="16"/>
                  </a:lnTo>
                  <a:close/>
                  <a:moveTo>
                    <a:pt x="144" y="16"/>
                  </a:moveTo>
                  <a:lnTo>
                    <a:pt x="144" y="18"/>
                  </a:lnTo>
                  <a:lnTo>
                    <a:pt x="144" y="16"/>
                  </a:lnTo>
                  <a:close/>
                  <a:moveTo>
                    <a:pt x="148" y="14"/>
                  </a:moveTo>
                  <a:lnTo>
                    <a:pt x="146" y="14"/>
                  </a:lnTo>
                  <a:lnTo>
                    <a:pt x="148" y="14"/>
                  </a:lnTo>
                  <a:close/>
                  <a:moveTo>
                    <a:pt x="148" y="16"/>
                  </a:moveTo>
                  <a:lnTo>
                    <a:pt x="146" y="16"/>
                  </a:lnTo>
                  <a:lnTo>
                    <a:pt x="146" y="14"/>
                  </a:lnTo>
                  <a:lnTo>
                    <a:pt x="148" y="14"/>
                  </a:lnTo>
                  <a:lnTo>
                    <a:pt x="148" y="16"/>
                  </a:lnTo>
                  <a:close/>
                  <a:moveTo>
                    <a:pt x="146" y="14"/>
                  </a:moveTo>
                  <a:lnTo>
                    <a:pt x="148" y="14"/>
                  </a:lnTo>
                  <a:lnTo>
                    <a:pt x="146" y="14"/>
                  </a:lnTo>
                  <a:lnTo>
                    <a:pt x="148" y="14"/>
                  </a:lnTo>
                  <a:lnTo>
                    <a:pt x="146" y="14"/>
                  </a:lnTo>
                  <a:close/>
                  <a:moveTo>
                    <a:pt x="150" y="12"/>
                  </a:moveTo>
                  <a:lnTo>
                    <a:pt x="152" y="12"/>
                  </a:lnTo>
                  <a:lnTo>
                    <a:pt x="152" y="14"/>
                  </a:lnTo>
                  <a:lnTo>
                    <a:pt x="152" y="12"/>
                  </a:lnTo>
                  <a:lnTo>
                    <a:pt x="154" y="12"/>
                  </a:lnTo>
                  <a:lnTo>
                    <a:pt x="156" y="12"/>
                  </a:lnTo>
                  <a:lnTo>
                    <a:pt x="158" y="12"/>
                  </a:lnTo>
                  <a:lnTo>
                    <a:pt x="158" y="12"/>
                  </a:lnTo>
                  <a:lnTo>
                    <a:pt x="158" y="12"/>
                  </a:lnTo>
                  <a:lnTo>
                    <a:pt x="160" y="12"/>
                  </a:lnTo>
                  <a:lnTo>
                    <a:pt x="162" y="12"/>
                  </a:lnTo>
                  <a:lnTo>
                    <a:pt x="164" y="12"/>
                  </a:lnTo>
                  <a:lnTo>
                    <a:pt x="164" y="10"/>
                  </a:lnTo>
                  <a:lnTo>
                    <a:pt x="166" y="10"/>
                  </a:lnTo>
                  <a:lnTo>
                    <a:pt x="168" y="10"/>
                  </a:lnTo>
                  <a:lnTo>
                    <a:pt x="170" y="10"/>
                  </a:lnTo>
                  <a:lnTo>
                    <a:pt x="172" y="10"/>
                  </a:lnTo>
                  <a:lnTo>
                    <a:pt x="172" y="8"/>
                  </a:lnTo>
                  <a:lnTo>
                    <a:pt x="174" y="8"/>
                  </a:lnTo>
                  <a:lnTo>
                    <a:pt x="176" y="8"/>
                  </a:lnTo>
                  <a:lnTo>
                    <a:pt x="178" y="8"/>
                  </a:lnTo>
                  <a:lnTo>
                    <a:pt x="178" y="6"/>
                  </a:lnTo>
                  <a:lnTo>
                    <a:pt x="180" y="6"/>
                  </a:lnTo>
                  <a:lnTo>
                    <a:pt x="182" y="6"/>
                  </a:lnTo>
                  <a:lnTo>
                    <a:pt x="184" y="4"/>
                  </a:lnTo>
                  <a:lnTo>
                    <a:pt x="186" y="4"/>
                  </a:lnTo>
                  <a:lnTo>
                    <a:pt x="188" y="4"/>
                  </a:lnTo>
                  <a:lnTo>
                    <a:pt x="190" y="4"/>
                  </a:lnTo>
                  <a:lnTo>
                    <a:pt x="190" y="2"/>
                  </a:lnTo>
                  <a:lnTo>
                    <a:pt x="192" y="2"/>
                  </a:lnTo>
                  <a:lnTo>
                    <a:pt x="194" y="2"/>
                  </a:lnTo>
                  <a:lnTo>
                    <a:pt x="196" y="2"/>
                  </a:lnTo>
                  <a:lnTo>
                    <a:pt x="198" y="0"/>
                  </a:lnTo>
                  <a:lnTo>
                    <a:pt x="200" y="0"/>
                  </a:lnTo>
                  <a:lnTo>
                    <a:pt x="202" y="0"/>
                  </a:lnTo>
                  <a:lnTo>
                    <a:pt x="202" y="2"/>
                  </a:lnTo>
                  <a:lnTo>
                    <a:pt x="202" y="4"/>
                  </a:lnTo>
                  <a:lnTo>
                    <a:pt x="202" y="6"/>
                  </a:lnTo>
                  <a:lnTo>
                    <a:pt x="202" y="8"/>
                  </a:lnTo>
                  <a:lnTo>
                    <a:pt x="204" y="8"/>
                  </a:lnTo>
                  <a:lnTo>
                    <a:pt x="204" y="10"/>
                  </a:lnTo>
                  <a:lnTo>
                    <a:pt x="204" y="12"/>
                  </a:lnTo>
                  <a:lnTo>
                    <a:pt x="204" y="12"/>
                  </a:lnTo>
                  <a:lnTo>
                    <a:pt x="204" y="14"/>
                  </a:lnTo>
                  <a:lnTo>
                    <a:pt x="206" y="14"/>
                  </a:lnTo>
                  <a:lnTo>
                    <a:pt x="206" y="16"/>
                  </a:lnTo>
                  <a:lnTo>
                    <a:pt x="206" y="18"/>
                  </a:lnTo>
                  <a:lnTo>
                    <a:pt x="206" y="20"/>
                  </a:lnTo>
                  <a:lnTo>
                    <a:pt x="206" y="20"/>
                  </a:lnTo>
                  <a:lnTo>
                    <a:pt x="206" y="22"/>
                  </a:lnTo>
                  <a:lnTo>
                    <a:pt x="208" y="22"/>
                  </a:lnTo>
                  <a:lnTo>
                    <a:pt x="208" y="24"/>
                  </a:lnTo>
                  <a:lnTo>
                    <a:pt x="210" y="24"/>
                  </a:lnTo>
                  <a:lnTo>
                    <a:pt x="210" y="26"/>
                  </a:lnTo>
                  <a:lnTo>
                    <a:pt x="210" y="28"/>
                  </a:lnTo>
                  <a:lnTo>
                    <a:pt x="210" y="30"/>
                  </a:lnTo>
                  <a:lnTo>
                    <a:pt x="210" y="32"/>
                  </a:lnTo>
                  <a:lnTo>
                    <a:pt x="210" y="34"/>
                  </a:lnTo>
                  <a:lnTo>
                    <a:pt x="212" y="34"/>
                  </a:lnTo>
                  <a:lnTo>
                    <a:pt x="212" y="36"/>
                  </a:lnTo>
                  <a:lnTo>
                    <a:pt x="212" y="38"/>
                  </a:lnTo>
                  <a:lnTo>
                    <a:pt x="210" y="38"/>
                  </a:lnTo>
                  <a:lnTo>
                    <a:pt x="210" y="40"/>
                  </a:lnTo>
                  <a:lnTo>
                    <a:pt x="210" y="42"/>
                  </a:lnTo>
                  <a:lnTo>
                    <a:pt x="210" y="44"/>
                  </a:lnTo>
                  <a:lnTo>
                    <a:pt x="210" y="46"/>
                  </a:lnTo>
                  <a:lnTo>
                    <a:pt x="210" y="48"/>
                  </a:lnTo>
                  <a:lnTo>
                    <a:pt x="212" y="48"/>
                  </a:lnTo>
                  <a:lnTo>
                    <a:pt x="212" y="50"/>
                  </a:lnTo>
                  <a:lnTo>
                    <a:pt x="212" y="52"/>
                  </a:lnTo>
                  <a:lnTo>
                    <a:pt x="214" y="52"/>
                  </a:lnTo>
                  <a:lnTo>
                    <a:pt x="214" y="54"/>
                  </a:lnTo>
                  <a:lnTo>
                    <a:pt x="214" y="56"/>
                  </a:lnTo>
                  <a:lnTo>
                    <a:pt x="216" y="56"/>
                  </a:lnTo>
                  <a:lnTo>
                    <a:pt x="216" y="58"/>
                  </a:lnTo>
                  <a:lnTo>
                    <a:pt x="216" y="60"/>
                  </a:lnTo>
                  <a:lnTo>
                    <a:pt x="218" y="60"/>
                  </a:lnTo>
                  <a:lnTo>
                    <a:pt x="218" y="60"/>
                  </a:lnTo>
                  <a:lnTo>
                    <a:pt x="218" y="62"/>
                  </a:lnTo>
                  <a:lnTo>
                    <a:pt x="218" y="64"/>
                  </a:lnTo>
                  <a:lnTo>
                    <a:pt x="218" y="66"/>
                  </a:lnTo>
                  <a:lnTo>
                    <a:pt x="218" y="68"/>
                  </a:lnTo>
                  <a:lnTo>
                    <a:pt x="218" y="70"/>
                  </a:lnTo>
                  <a:lnTo>
                    <a:pt x="220" y="70"/>
                  </a:lnTo>
                  <a:lnTo>
                    <a:pt x="220" y="68"/>
                  </a:lnTo>
                  <a:lnTo>
                    <a:pt x="220" y="66"/>
                  </a:lnTo>
                  <a:lnTo>
                    <a:pt x="222" y="66"/>
                  </a:lnTo>
                  <a:lnTo>
                    <a:pt x="222" y="68"/>
                  </a:lnTo>
                  <a:lnTo>
                    <a:pt x="224" y="68"/>
                  </a:lnTo>
                  <a:lnTo>
                    <a:pt x="222" y="68"/>
                  </a:lnTo>
                  <a:lnTo>
                    <a:pt x="224" y="68"/>
                  </a:lnTo>
                  <a:lnTo>
                    <a:pt x="224" y="70"/>
                  </a:lnTo>
                  <a:lnTo>
                    <a:pt x="226" y="70"/>
                  </a:lnTo>
                  <a:lnTo>
                    <a:pt x="226" y="72"/>
                  </a:lnTo>
                  <a:lnTo>
                    <a:pt x="226" y="74"/>
                  </a:lnTo>
                  <a:lnTo>
                    <a:pt x="226" y="76"/>
                  </a:lnTo>
                  <a:lnTo>
                    <a:pt x="228" y="76"/>
                  </a:lnTo>
                  <a:lnTo>
                    <a:pt x="228" y="78"/>
                  </a:lnTo>
                  <a:lnTo>
                    <a:pt x="228" y="80"/>
                  </a:lnTo>
                  <a:lnTo>
                    <a:pt x="228" y="82"/>
                  </a:lnTo>
                  <a:lnTo>
                    <a:pt x="230" y="84"/>
                  </a:lnTo>
                  <a:lnTo>
                    <a:pt x="230" y="86"/>
                  </a:lnTo>
                  <a:lnTo>
                    <a:pt x="230" y="88"/>
                  </a:lnTo>
                  <a:lnTo>
                    <a:pt x="230" y="90"/>
                  </a:lnTo>
                  <a:lnTo>
                    <a:pt x="232" y="92"/>
                  </a:lnTo>
                  <a:lnTo>
                    <a:pt x="232" y="94"/>
                  </a:lnTo>
                  <a:lnTo>
                    <a:pt x="232" y="96"/>
                  </a:lnTo>
                  <a:lnTo>
                    <a:pt x="232" y="98"/>
                  </a:lnTo>
                  <a:lnTo>
                    <a:pt x="234" y="98"/>
                  </a:lnTo>
                  <a:lnTo>
                    <a:pt x="234" y="100"/>
                  </a:lnTo>
                  <a:lnTo>
                    <a:pt x="234" y="102"/>
                  </a:lnTo>
                  <a:lnTo>
                    <a:pt x="234" y="104"/>
                  </a:lnTo>
                  <a:lnTo>
                    <a:pt x="236" y="107"/>
                  </a:lnTo>
                  <a:lnTo>
                    <a:pt x="234" y="107"/>
                  </a:lnTo>
                  <a:lnTo>
                    <a:pt x="236" y="109"/>
                  </a:lnTo>
                  <a:lnTo>
                    <a:pt x="236" y="109"/>
                  </a:lnTo>
                  <a:lnTo>
                    <a:pt x="236" y="111"/>
                  </a:lnTo>
                  <a:lnTo>
                    <a:pt x="238" y="109"/>
                  </a:lnTo>
                  <a:lnTo>
                    <a:pt x="238" y="111"/>
                  </a:lnTo>
                  <a:lnTo>
                    <a:pt x="238" y="113"/>
                  </a:lnTo>
                  <a:lnTo>
                    <a:pt x="238" y="115"/>
                  </a:lnTo>
                  <a:lnTo>
                    <a:pt x="238" y="117"/>
                  </a:lnTo>
                  <a:lnTo>
                    <a:pt x="238" y="119"/>
                  </a:lnTo>
                  <a:lnTo>
                    <a:pt x="238" y="121"/>
                  </a:lnTo>
                  <a:lnTo>
                    <a:pt x="238" y="123"/>
                  </a:lnTo>
                  <a:lnTo>
                    <a:pt x="238" y="125"/>
                  </a:lnTo>
                  <a:lnTo>
                    <a:pt x="238" y="127"/>
                  </a:lnTo>
                  <a:lnTo>
                    <a:pt x="238" y="129"/>
                  </a:lnTo>
                  <a:lnTo>
                    <a:pt x="238" y="131"/>
                  </a:lnTo>
                  <a:lnTo>
                    <a:pt x="238" y="133"/>
                  </a:lnTo>
                  <a:lnTo>
                    <a:pt x="238" y="135"/>
                  </a:lnTo>
                  <a:lnTo>
                    <a:pt x="238" y="137"/>
                  </a:lnTo>
                  <a:lnTo>
                    <a:pt x="238" y="139"/>
                  </a:lnTo>
                  <a:lnTo>
                    <a:pt x="238" y="141"/>
                  </a:lnTo>
                  <a:lnTo>
                    <a:pt x="238" y="143"/>
                  </a:lnTo>
                  <a:lnTo>
                    <a:pt x="238" y="145"/>
                  </a:lnTo>
                  <a:lnTo>
                    <a:pt x="238" y="147"/>
                  </a:lnTo>
                  <a:lnTo>
                    <a:pt x="238" y="149"/>
                  </a:lnTo>
                  <a:lnTo>
                    <a:pt x="240" y="149"/>
                  </a:lnTo>
                  <a:lnTo>
                    <a:pt x="240" y="151"/>
                  </a:lnTo>
                  <a:lnTo>
                    <a:pt x="240" y="153"/>
                  </a:lnTo>
                  <a:lnTo>
                    <a:pt x="240" y="155"/>
                  </a:lnTo>
                  <a:lnTo>
                    <a:pt x="242" y="155"/>
                  </a:lnTo>
                  <a:lnTo>
                    <a:pt x="242" y="157"/>
                  </a:lnTo>
                  <a:lnTo>
                    <a:pt x="242" y="157"/>
                  </a:lnTo>
                  <a:lnTo>
                    <a:pt x="242" y="159"/>
                  </a:lnTo>
                  <a:lnTo>
                    <a:pt x="242" y="161"/>
                  </a:lnTo>
                  <a:lnTo>
                    <a:pt x="242" y="163"/>
                  </a:lnTo>
                  <a:lnTo>
                    <a:pt x="244" y="163"/>
                  </a:lnTo>
                  <a:lnTo>
                    <a:pt x="244" y="165"/>
                  </a:lnTo>
                  <a:lnTo>
                    <a:pt x="244" y="167"/>
                  </a:lnTo>
                  <a:lnTo>
                    <a:pt x="244" y="169"/>
                  </a:lnTo>
                  <a:lnTo>
                    <a:pt x="244" y="171"/>
                  </a:lnTo>
                  <a:lnTo>
                    <a:pt x="246" y="171"/>
                  </a:lnTo>
                  <a:lnTo>
                    <a:pt x="246" y="173"/>
                  </a:lnTo>
                  <a:lnTo>
                    <a:pt x="246" y="175"/>
                  </a:lnTo>
                  <a:lnTo>
                    <a:pt x="246" y="177"/>
                  </a:lnTo>
                  <a:lnTo>
                    <a:pt x="246" y="179"/>
                  </a:lnTo>
                  <a:lnTo>
                    <a:pt x="248" y="181"/>
                  </a:lnTo>
                  <a:lnTo>
                    <a:pt x="248" y="183"/>
                  </a:lnTo>
                  <a:lnTo>
                    <a:pt x="248" y="185"/>
                  </a:lnTo>
                  <a:lnTo>
                    <a:pt x="248" y="187"/>
                  </a:lnTo>
                  <a:lnTo>
                    <a:pt x="250" y="187"/>
                  </a:lnTo>
                  <a:lnTo>
                    <a:pt x="250" y="189"/>
                  </a:lnTo>
                  <a:lnTo>
                    <a:pt x="252" y="189"/>
                  </a:lnTo>
                  <a:lnTo>
                    <a:pt x="252" y="191"/>
                  </a:lnTo>
                  <a:lnTo>
                    <a:pt x="250" y="193"/>
                  </a:lnTo>
                  <a:lnTo>
                    <a:pt x="248" y="195"/>
                  </a:lnTo>
                  <a:lnTo>
                    <a:pt x="246" y="197"/>
                  </a:lnTo>
                  <a:lnTo>
                    <a:pt x="246" y="199"/>
                  </a:lnTo>
                  <a:lnTo>
                    <a:pt x="244" y="199"/>
                  </a:lnTo>
                  <a:lnTo>
                    <a:pt x="246" y="199"/>
                  </a:lnTo>
                  <a:lnTo>
                    <a:pt x="246" y="201"/>
                  </a:lnTo>
                  <a:lnTo>
                    <a:pt x="248" y="201"/>
                  </a:lnTo>
                  <a:lnTo>
                    <a:pt x="248" y="203"/>
                  </a:lnTo>
                  <a:lnTo>
                    <a:pt x="248" y="203"/>
                  </a:lnTo>
                  <a:lnTo>
                    <a:pt x="250" y="203"/>
                  </a:lnTo>
                  <a:lnTo>
                    <a:pt x="248" y="203"/>
                  </a:lnTo>
                  <a:lnTo>
                    <a:pt x="250" y="203"/>
                  </a:lnTo>
                  <a:lnTo>
                    <a:pt x="248" y="203"/>
                  </a:lnTo>
                  <a:lnTo>
                    <a:pt x="250" y="203"/>
                  </a:lnTo>
                  <a:lnTo>
                    <a:pt x="248" y="203"/>
                  </a:lnTo>
                  <a:lnTo>
                    <a:pt x="248" y="205"/>
                  </a:lnTo>
                  <a:lnTo>
                    <a:pt x="248" y="203"/>
                  </a:lnTo>
                  <a:lnTo>
                    <a:pt x="248" y="205"/>
                  </a:lnTo>
                  <a:lnTo>
                    <a:pt x="246" y="205"/>
                  </a:lnTo>
                  <a:lnTo>
                    <a:pt x="248" y="205"/>
                  </a:lnTo>
                  <a:lnTo>
                    <a:pt x="246" y="205"/>
                  </a:lnTo>
                  <a:lnTo>
                    <a:pt x="248" y="205"/>
                  </a:lnTo>
                  <a:lnTo>
                    <a:pt x="248" y="207"/>
                  </a:lnTo>
                  <a:lnTo>
                    <a:pt x="246" y="207"/>
                  </a:lnTo>
                  <a:lnTo>
                    <a:pt x="246" y="205"/>
                  </a:lnTo>
                  <a:lnTo>
                    <a:pt x="248" y="205"/>
                  </a:lnTo>
                  <a:lnTo>
                    <a:pt x="246" y="205"/>
                  </a:lnTo>
                  <a:lnTo>
                    <a:pt x="246" y="207"/>
                  </a:lnTo>
                  <a:lnTo>
                    <a:pt x="246" y="205"/>
                  </a:lnTo>
                  <a:lnTo>
                    <a:pt x="246" y="207"/>
                  </a:lnTo>
                  <a:lnTo>
                    <a:pt x="246" y="205"/>
                  </a:lnTo>
                  <a:lnTo>
                    <a:pt x="246" y="207"/>
                  </a:lnTo>
                  <a:lnTo>
                    <a:pt x="246" y="209"/>
                  </a:lnTo>
                  <a:lnTo>
                    <a:pt x="246" y="207"/>
                  </a:lnTo>
                  <a:lnTo>
                    <a:pt x="246" y="209"/>
                  </a:lnTo>
                  <a:lnTo>
                    <a:pt x="244" y="209"/>
                  </a:lnTo>
                  <a:lnTo>
                    <a:pt x="246" y="209"/>
                  </a:lnTo>
                  <a:lnTo>
                    <a:pt x="246" y="211"/>
                  </a:lnTo>
                  <a:lnTo>
                    <a:pt x="246" y="209"/>
                  </a:lnTo>
                  <a:lnTo>
                    <a:pt x="246" y="211"/>
                  </a:lnTo>
                  <a:lnTo>
                    <a:pt x="244" y="211"/>
                  </a:lnTo>
                  <a:lnTo>
                    <a:pt x="244" y="209"/>
                  </a:lnTo>
                  <a:lnTo>
                    <a:pt x="244" y="211"/>
                  </a:lnTo>
                  <a:lnTo>
                    <a:pt x="244" y="209"/>
                  </a:lnTo>
                  <a:lnTo>
                    <a:pt x="244" y="211"/>
                  </a:lnTo>
                  <a:lnTo>
                    <a:pt x="244" y="209"/>
                  </a:lnTo>
                  <a:lnTo>
                    <a:pt x="244" y="211"/>
                  </a:lnTo>
                  <a:lnTo>
                    <a:pt x="246" y="211"/>
                  </a:lnTo>
                  <a:lnTo>
                    <a:pt x="244" y="211"/>
                  </a:lnTo>
                  <a:lnTo>
                    <a:pt x="246" y="211"/>
                  </a:lnTo>
                  <a:lnTo>
                    <a:pt x="246" y="213"/>
                  </a:lnTo>
                  <a:lnTo>
                    <a:pt x="248" y="213"/>
                  </a:lnTo>
                  <a:lnTo>
                    <a:pt x="248" y="215"/>
                  </a:lnTo>
                  <a:lnTo>
                    <a:pt x="248" y="213"/>
                  </a:lnTo>
                  <a:lnTo>
                    <a:pt x="248" y="211"/>
                  </a:lnTo>
                  <a:lnTo>
                    <a:pt x="250" y="211"/>
                  </a:lnTo>
                  <a:lnTo>
                    <a:pt x="250" y="213"/>
                  </a:lnTo>
                  <a:lnTo>
                    <a:pt x="250" y="211"/>
                  </a:lnTo>
                  <a:lnTo>
                    <a:pt x="248" y="211"/>
                  </a:lnTo>
                  <a:lnTo>
                    <a:pt x="248" y="209"/>
                  </a:lnTo>
                  <a:lnTo>
                    <a:pt x="250" y="209"/>
                  </a:lnTo>
                  <a:lnTo>
                    <a:pt x="252" y="209"/>
                  </a:lnTo>
                  <a:lnTo>
                    <a:pt x="252" y="211"/>
                  </a:lnTo>
                  <a:lnTo>
                    <a:pt x="252" y="209"/>
                  </a:lnTo>
                  <a:lnTo>
                    <a:pt x="250" y="209"/>
                  </a:lnTo>
                  <a:lnTo>
                    <a:pt x="250" y="207"/>
                  </a:lnTo>
                  <a:lnTo>
                    <a:pt x="252" y="207"/>
                  </a:lnTo>
                  <a:lnTo>
                    <a:pt x="252" y="205"/>
                  </a:lnTo>
                  <a:lnTo>
                    <a:pt x="254" y="205"/>
                  </a:lnTo>
                  <a:lnTo>
                    <a:pt x="254" y="205"/>
                  </a:lnTo>
                  <a:lnTo>
                    <a:pt x="254" y="203"/>
                  </a:lnTo>
                  <a:lnTo>
                    <a:pt x="254" y="205"/>
                  </a:lnTo>
                  <a:lnTo>
                    <a:pt x="254" y="205"/>
                  </a:lnTo>
                  <a:lnTo>
                    <a:pt x="254" y="207"/>
                  </a:lnTo>
                  <a:lnTo>
                    <a:pt x="254" y="205"/>
                  </a:lnTo>
                  <a:lnTo>
                    <a:pt x="256" y="205"/>
                  </a:lnTo>
                  <a:lnTo>
                    <a:pt x="256" y="207"/>
                  </a:lnTo>
                  <a:lnTo>
                    <a:pt x="256" y="205"/>
                  </a:lnTo>
                  <a:lnTo>
                    <a:pt x="256" y="207"/>
                  </a:lnTo>
                  <a:lnTo>
                    <a:pt x="256" y="205"/>
                  </a:lnTo>
                  <a:lnTo>
                    <a:pt x="256" y="203"/>
                  </a:lnTo>
                  <a:lnTo>
                    <a:pt x="254" y="203"/>
                  </a:lnTo>
                  <a:lnTo>
                    <a:pt x="256" y="203"/>
                  </a:lnTo>
                  <a:lnTo>
                    <a:pt x="258" y="203"/>
                  </a:lnTo>
                  <a:lnTo>
                    <a:pt x="256" y="203"/>
                  </a:lnTo>
                  <a:lnTo>
                    <a:pt x="258" y="203"/>
                  </a:lnTo>
                  <a:lnTo>
                    <a:pt x="256" y="203"/>
                  </a:lnTo>
                  <a:lnTo>
                    <a:pt x="258" y="203"/>
                  </a:lnTo>
                  <a:lnTo>
                    <a:pt x="256" y="203"/>
                  </a:lnTo>
                  <a:lnTo>
                    <a:pt x="258" y="203"/>
                  </a:lnTo>
                  <a:lnTo>
                    <a:pt x="256" y="203"/>
                  </a:lnTo>
                  <a:lnTo>
                    <a:pt x="256" y="205"/>
                  </a:lnTo>
                  <a:lnTo>
                    <a:pt x="256" y="203"/>
                  </a:lnTo>
                  <a:lnTo>
                    <a:pt x="258" y="203"/>
                  </a:lnTo>
                  <a:lnTo>
                    <a:pt x="256" y="203"/>
                  </a:lnTo>
                  <a:lnTo>
                    <a:pt x="256" y="205"/>
                  </a:lnTo>
                  <a:lnTo>
                    <a:pt x="256" y="203"/>
                  </a:lnTo>
                  <a:lnTo>
                    <a:pt x="256" y="205"/>
                  </a:lnTo>
                  <a:lnTo>
                    <a:pt x="258" y="205"/>
                  </a:lnTo>
                  <a:lnTo>
                    <a:pt x="258" y="203"/>
                  </a:lnTo>
                  <a:lnTo>
                    <a:pt x="260" y="203"/>
                  </a:lnTo>
                  <a:lnTo>
                    <a:pt x="260" y="203"/>
                  </a:lnTo>
                  <a:lnTo>
                    <a:pt x="258" y="203"/>
                  </a:lnTo>
                  <a:lnTo>
                    <a:pt x="260" y="203"/>
                  </a:lnTo>
                  <a:lnTo>
                    <a:pt x="258" y="203"/>
                  </a:lnTo>
                  <a:lnTo>
                    <a:pt x="258" y="203"/>
                  </a:lnTo>
                  <a:lnTo>
                    <a:pt x="258" y="203"/>
                  </a:lnTo>
                  <a:lnTo>
                    <a:pt x="258" y="203"/>
                  </a:lnTo>
                  <a:lnTo>
                    <a:pt x="258" y="203"/>
                  </a:lnTo>
                  <a:lnTo>
                    <a:pt x="260" y="203"/>
                  </a:lnTo>
                  <a:lnTo>
                    <a:pt x="262" y="203"/>
                  </a:lnTo>
                  <a:lnTo>
                    <a:pt x="264" y="203"/>
                  </a:lnTo>
                  <a:lnTo>
                    <a:pt x="266" y="203"/>
                  </a:lnTo>
                  <a:lnTo>
                    <a:pt x="266" y="203"/>
                  </a:lnTo>
                  <a:lnTo>
                    <a:pt x="268" y="203"/>
                  </a:lnTo>
                  <a:lnTo>
                    <a:pt x="266" y="203"/>
                  </a:lnTo>
                  <a:lnTo>
                    <a:pt x="268" y="203"/>
                  </a:lnTo>
                  <a:lnTo>
                    <a:pt x="268" y="203"/>
                  </a:lnTo>
                  <a:lnTo>
                    <a:pt x="266" y="203"/>
                  </a:lnTo>
                  <a:lnTo>
                    <a:pt x="266" y="201"/>
                  </a:lnTo>
                  <a:lnTo>
                    <a:pt x="268" y="201"/>
                  </a:lnTo>
                  <a:lnTo>
                    <a:pt x="268" y="199"/>
                  </a:lnTo>
                  <a:lnTo>
                    <a:pt x="268" y="201"/>
                  </a:lnTo>
                  <a:lnTo>
                    <a:pt x="268" y="199"/>
                  </a:lnTo>
                  <a:lnTo>
                    <a:pt x="270" y="199"/>
                  </a:lnTo>
                  <a:lnTo>
                    <a:pt x="268" y="199"/>
                  </a:lnTo>
                  <a:lnTo>
                    <a:pt x="270" y="199"/>
                  </a:lnTo>
                  <a:lnTo>
                    <a:pt x="268" y="199"/>
                  </a:lnTo>
                  <a:lnTo>
                    <a:pt x="270" y="199"/>
                  </a:lnTo>
                  <a:lnTo>
                    <a:pt x="270" y="197"/>
                  </a:lnTo>
                  <a:lnTo>
                    <a:pt x="270" y="199"/>
                  </a:lnTo>
                  <a:lnTo>
                    <a:pt x="270" y="197"/>
                  </a:lnTo>
                  <a:lnTo>
                    <a:pt x="272" y="197"/>
                  </a:lnTo>
                  <a:lnTo>
                    <a:pt x="272" y="199"/>
                  </a:lnTo>
                  <a:lnTo>
                    <a:pt x="272" y="197"/>
                  </a:lnTo>
                  <a:lnTo>
                    <a:pt x="272" y="199"/>
                  </a:lnTo>
                  <a:lnTo>
                    <a:pt x="272" y="197"/>
                  </a:lnTo>
                  <a:lnTo>
                    <a:pt x="272" y="199"/>
                  </a:lnTo>
                  <a:lnTo>
                    <a:pt x="272" y="197"/>
                  </a:lnTo>
                  <a:lnTo>
                    <a:pt x="272" y="199"/>
                  </a:lnTo>
                  <a:lnTo>
                    <a:pt x="272" y="197"/>
                  </a:lnTo>
                  <a:lnTo>
                    <a:pt x="272" y="199"/>
                  </a:lnTo>
                  <a:lnTo>
                    <a:pt x="272" y="197"/>
                  </a:lnTo>
                  <a:lnTo>
                    <a:pt x="274" y="197"/>
                  </a:lnTo>
                  <a:lnTo>
                    <a:pt x="276" y="197"/>
                  </a:lnTo>
                  <a:lnTo>
                    <a:pt x="278" y="197"/>
                  </a:lnTo>
                  <a:lnTo>
                    <a:pt x="278" y="195"/>
                  </a:lnTo>
                  <a:lnTo>
                    <a:pt x="280" y="195"/>
                  </a:lnTo>
                  <a:lnTo>
                    <a:pt x="282" y="195"/>
                  </a:lnTo>
                  <a:lnTo>
                    <a:pt x="284" y="195"/>
                  </a:lnTo>
                  <a:lnTo>
                    <a:pt x="284" y="193"/>
                  </a:lnTo>
                  <a:lnTo>
                    <a:pt x="286" y="193"/>
                  </a:lnTo>
                  <a:lnTo>
                    <a:pt x="288" y="193"/>
                  </a:lnTo>
                  <a:lnTo>
                    <a:pt x="288" y="191"/>
                  </a:lnTo>
                  <a:lnTo>
                    <a:pt x="290" y="191"/>
                  </a:lnTo>
                  <a:lnTo>
                    <a:pt x="290" y="189"/>
                  </a:lnTo>
                  <a:lnTo>
                    <a:pt x="290" y="191"/>
                  </a:lnTo>
                  <a:lnTo>
                    <a:pt x="292" y="191"/>
                  </a:lnTo>
                  <a:lnTo>
                    <a:pt x="292" y="189"/>
                  </a:lnTo>
                  <a:lnTo>
                    <a:pt x="292" y="191"/>
                  </a:lnTo>
                  <a:lnTo>
                    <a:pt x="290" y="191"/>
                  </a:lnTo>
                  <a:lnTo>
                    <a:pt x="290" y="189"/>
                  </a:lnTo>
                  <a:lnTo>
                    <a:pt x="290" y="187"/>
                  </a:lnTo>
                  <a:lnTo>
                    <a:pt x="292" y="187"/>
                  </a:lnTo>
                  <a:lnTo>
                    <a:pt x="292" y="185"/>
                  </a:lnTo>
                  <a:lnTo>
                    <a:pt x="294" y="185"/>
                  </a:lnTo>
                  <a:lnTo>
                    <a:pt x="294" y="183"/>
                  </a:lnTo>
                  <a:lnTo>
                    <a:pt x="296" y="183"/>
                  </a:lnTo>
                  <a:lnTo>
                    <a:pt x="296" y="181"/>
                  </a:lnTo>
                  <a:lnTo>
                    <a:pt x="298" y="181"/>
                  </a:lnTo>
                  <a:lnTo>
                    <a:pt x="298" y="179"/>
                  </a:lnTo>
                  <a:lnTo>
                    <a:pt x="300" y="179"/>
                  </a:lnTo>
                  <a:lnTo>
                    <a:pt x="300" y="177"/>
                  </a:lnTo>
                  <a:lnTo>
                    <a:pt x="300" y="179"/>
                  </a:lnTo>
                  <a:lnTo>
                    <a:pt x="300" y="181"/>
                  </a:lnTo>
                  <a:lnTo>
                    <a:pt x="298" y="181"/>
                  </a:lnTo>
                  <a:lnTo>
                    <a:pt x="300" y="181"/>
                  </a:lnTo>
                  <a:lnTo>
                    <a:pt x="300" y="179"/>
                  </a:lnTo>
                  <a:lnTo>
                    <a:pt x="298" y="179"/>
                  </a:lnTo>
                  <a:lnTo>
                    <a:pt x="300" y="179"/>
                  </a:lnTo>
                  <a:lnTo>
                    <a:pt x="298" y="179"/>
                  </a:lnTo>
                  <a:lnTo>
                    <a:pt x="298" y="181"/>
                  </a:lnTo>
                  <a:lnTo>
                    <a:pt x="300" y="181"/>
                  </a:lnTo>
                  <a:lnTo>
                    <a:pt x="298" y="181"/>
                  </a:lnTo>
                  <a:lnTo>
                    <a:pt x="298" y="179"/>
                  </a:lnTo>
                  <a:lnTo>
                    <a:pt x="298" y="181"/>
                  </a:lnTo>
                  <a:lnTo>
                    <a:pt x="296" y="181"/>
                  </a:lnTo>
                  <a:lnTo>
                    <a:pt x="298" y="181"/>
                  </a:lnTo>
                  <a:lnTo>
                    <a:pt x="296" y="181"/>
                  </a:lnTo>
                  <a:lnTo>
                    <a:pt x="298" y="181"/>
                  </a:lnTo>
                  <a:lnTo>
                    <a:pt x="296" y="181"/>
                  </a:lnTo>
                  <a:lnTo>
                    <a:pt x="296" y="183"/>
                  </a:lnTo>
                  <a:lnTo>
                    <a:pt x="296" y="181"/>
                  </a:lnTo>
                  <a:lnTo>
                    <a:pt x="296" y="183"/>
                  </a:lnTo>
                  <a:lnTo>
                    <a:pt x="296" y="181"/>
                  </a:lnTo>
                  <a:lnTo>
                    <a:pt x="296" y="183"/>
                  </a:lnTo>
                  <a:lnTo>
                    <a:pt x="296" y="181"/>
                  </a:lnTo>
                  <a:lnTo>
                    <a:pt x="296" y="183"/>
                  </a:lnTo>
                  <a:lnTo>
                    <a:pt x="296" y="185"/>
                  </a:lnTo>
                  <a:lnTo>
                    <a:pt x="294" y="185"/>
                  </a:lnTo>
                  <a:lnTo>
                    <a:pt x="296" y="185"/>
                  </a:lnTo>
                  <a:lnTo>
                    <a:pt x="294" y="185"/>
                  </a:lnTo>
                  <a:lnTo>
                    <a:pt x="296" y="185"/>
                  </a:lnTo>
                  <a:lnTo>
                    <a:pt x="294" y="185"/>
                  </a:lnTo>
                  <a:lnTo>
                    <a:pt x="296" y="185"/>
                  </a:lnTo>
                  <a:lnTo>
                    <a:pt x="294" y="185"/>
                  </a:lnTo>
                  <a:lnTo>
                    <a:pt x="294" y="187"/>
                  </a:lnTo>
                  <a:lnTo>
                    <a:pt x="294" y="185"/>
                  </a:lnTo>
                  <a:lnTo>
                    <a:pt x="296" y="185"/>
                  </a:lnTo>
                  <a:lnTo>
                    <a:pt x="296" y="187"/>
                  </a:lnTo>
                  <a:lnTo>
                    <a:pt x="294" y="187"/>
                  </a:lnTo>
                  <a:lnTo>
                    <a:pt x="296" y="187"/>
                  </a:lnTo>
                  <a:lnTo>
                    <a:pt x="294" y="187"/>
                  </a:lnTo>
                  <a:lnTo>
                    <a:pt x="296" y="187"/>
                  </a:lnTo>
                  <a:lnTo>
                    <a:pt x="294" y="187"/>
                  </a:lnTo>
                  <a:lnTo>
                    <a:pt x="296" y="187"/>
                  </a:lnTo>
                  <a:lnTo>
                    <a:pt x="294" y="187"/>
                  </a:lnTo>
                  <a:lnTo>
                    <a:pt x="294" y="189"/>
                  </a:lnTo>
                  <a:lnTo>
                    <a:pt x="296" y="189"/>
                  </a:lnTo>
                  <a:lnTo>
                    <a:pt x="294" y="189"/>
                  </a:lnTo>
                  <a:lnTo>
                    <a:pt x="294" y="187"/>
                  </a:lnTo>
                  <a:lnTo>
                    <a:pt x="294" y="189"/>
                  </a:lnTo>
                  <a:lnTo>
                    <a:pt x="294" y="187"/>
                  </a:lnTo>
                  <a:lnTo>
                    <a:pt x="294" y="189"/>
                  </a:lnTo>
                  <a:lnTo>
                    <a:pt x="292" y="189"/>
                  </a:lnTo>
                  <a:lnTo>
                    <a:pt x="292" y="191"/>
                  </a:lnTo>
                  <a:lnTo>
                    <a:pt x="292" y="189"/>
                  </a:lnTo>
                  <a:lnTo>
                    <a:pt x="292" y="191"/>
                  </a:lnTo>
                  <a:lnTo>
                    <a:pt x="292" y="193"/>
                  </a:lnTo>
                  <a:lnTo>
                    <a:pt x="290" y="193"/>
                  </a:lnTo>
                  <a:lnTo>
                    <a:pt x="290" y="195"/>
                  </a:lnTo>
                  <a:lnTo>
                    <a:pt x="290" y="193"/>
                  </a:lnTo>
                  <a:lnTo>
                    <a:pt x="290" y="195"/>
                  </a:lnTo>
                  <a:lnTo>
                    <a:pt x="290" y="193"/>
                  </a:lnTo>
                  <a:lnTo>
                    <a:pt x="290" y="195"/>
                  </a:lnTo>
                  <a:lnTo>
                    <a:pt x="288" y="195"/>
                  </a:lnTo>
                  <a:lnTo>
                    <a:pt x="290" y="195"/>
                  </a:lnTo>
                  <a:lnTo>
                    <a:pt x="288" y="195"/>
                  </a:lnTo>
                  <a:lnTo>
                    <a:pt x="290" y="195"/>
                  </a:lnTo>
                  <a:lnTo>
                    <a:pt x="288" y="195"/>
                  </a:lnTo>
                  <a:lnTo>
                    <a:pt x="290" y="195"/>
                  </a:lnTo>
                  <a:lnTo>
                    <a:pt x="288" y="195"/>
                  </a:lnTo>
                  <a:lnTo>
                    <a:pt x="290" y="195"/>
                  </a:lnTo>
                  <a:lnTo>
                    <a:pt x="292" y="195"/>
                  </a:lnTo>
                  <a:lnTo>
                    <a:pt x="294" y="195"/>
                  </a:lnTo>
                  <a:lnTo>
                    <a:pt x="296" y="195"/>
                  </a:lnTo>
                  <a:lnTo>
                    <a:pt x="296" y="197"/>
                  </a:lnTo>
                  <a:lnTo>
                    <a:pt x="294" y="197"/>
                  </a:lnTo>
                  <a:lnTo>
                    <a:pt x="296" y="197"/>
                  </a:lnTo>
                  <a:lnTo>
                    <a:pt x="294" y="197"/>
                  </a:lnTo>
                  <a:lnTo>
                    <a:pt x="292" y="197"/>
                  </a:lnTo>
                  <a:lnTo>
                    <a:pt x="294" y="197"/>
                  </a:lnTo>
                  <a:lnTo>
                    <a:pt x="292" y="197"/>
                  </a:lnTo>
                  <a:lnTo>
                    <a:pt x="294" y="197"/>
                  </a:lnTo>
                  <a:lnTo>
                    <a:pt x="294" y="199"/>
                  </a:lnTo>
                  <a:lnTo>
                    <a:pt x="292" y="199"/>
                  </a:lnTo>
                  <a:lnTo>
                    <a:pt x="294" y="199"/>
                  </a:lnTo>
                  <a:lnTo>
                    <a:pt x="292" y="199"/>
                  </a:lnTo>
                  <a:lnTo>
                    <a:pt x="292" y="201"/>
                  </a:lnTo>
                  <a:lnTo>
                    <a:pt x="290" y="201"/>
                  </a:lnTo>
                  <a:lnTo>
                    <a:pt x="290" y="199"/>
                  </a:lnTo>
                  <a:lnTo>
                    <a:pt x="290" y="201"/>
                  </a:lnTo>
                  <a:lnTo>
                    <a:pt x="288" y="201"/>
                  </a:lnTo>
                  <a:lnTo>
                    <a:pt x="288" y="203"/>
                  </a:lnTo>
                  <a:lnTo>
                    <a:pt x="286" y="203"/>
                  </a:lnTo>
                  <a:lnTo>
                    <a:pt x="288" y="203"/>
                  </a:lnTo>
                  <a:lnTo>
                    <a:pt x="288" y="201"/>
                  </a:lnTo>
                  <a:lnTo>
                    <a:pt x="288" y="203"/>
                  </a:lnTo>
                  <a:lnTo>
                    <a:pt x="286" y="203"/>
                  </a:lnTo>
                  <a:lnTo>
                    <a:pt x="286" y="201"/>
                  </a:lnTo>
                  <a:lnTo>
                    <a:pt x="286" y="203"/>
                  </a:lnTo>
                  <a:lnTo>
                    <a:pt x="286" y="201"/>
                  </a:lnTo>
                  <a:lnTo>
                    <a:pt x="286" y="203"/>
                  </a:lnTo>
                  <a:lnTo>
                    <a:pt x="286" y="203"/>
                  </a:lnTo>
                  <a:lnTo>
                    <a:pt x="284" y="203"/>
                  </a:lnTo>
                  <a:lnTo>
                    <a:pt x="284" y="203"/>
                  </a:lnTo>
                  <a:lnTo>
                    <a:pt x="284" y="203"/>
                  </a:lnTo>
                  <a:lnTo>
                    <a:pt x="284" y="203"/>
                  </a:lnTo>
                  <a:lnTo>
                    <a:pt x="284" y="203"/>
                  </a:lnTo>
                  <a:lnTo>
                    <a:pt x="284" y="203"/>
                  </a:lnTo>
                  <a:lnTo>
                    <a:pt x="284" y="203"/>
                  </a:lnTo>
                  <a:lnTo>
                    <a:pt x="284" y="203"/>
                  </a:lnTo>
                  <a:lnTo>
                    <a:pt x="284" y="203"/>
                  </a:lnTo>
                  <a:lnTo>
                    <a:pt x="284" y="203"/>
                  </a:lnTo>
                  <a:lnTo>
                    <a:pt x="282" y="203"/>
                  </a:lnTo>
                  <a:lnTo>
                    <a:pt x="282" y="203"/>
                  </a:lnTo>
                  <a:lnTo>
                    <a:pt x="282" y="203"/>
                  </a:lnTo>
                  <a:lnTo>
                    <a:pt x="282" y="203"/>
                  </a:lnTo>
                  <a:lnTo>
                    <a:pt x="284" y="203"/>
                  </a:lnTo>
                  <a:lnTo>
                    <a:pt x="282" y="203"/>
                  </a:lnTo>
                  <a:lnTo>
                    <a:pt x="284" y="203"/>
                  </a:lnTo>
                  <a:lnTo>
                    <a:pt x="284" y="205"/>
                  </a:lnTo>
                  <a:lnTo>
                    <a:pt x="284" y="203"/>
                  </a:lnTo>
                  <a:lnTo>
                    <a:pt x="284" y="205"/>
                  </a:lnTo>
                  <a:lnTo>
                    <a:pt x="282" y="205"/>
                  </a:lnTo>
                  <a:lnTo>
                    <a:pt x="284" y="205"/>
                  </a:lnTo>
                  <a:lnTo>
                    <a:pt x="282" y="205"/>
                  </a:lnTo>
                  <a:lnTo>
                    <a:pt x="284" y="205"/>
                  </a:lnTo>
                  <a:lnTo>
                    <a:pt x="282" y="205"/>
                  </a:lnTo>
                  <a:lnTo>
                    <a:pt x="280" y="205"/>
                  </a:lnTo>
                  <a:lnTo>
                    <a:pt x="280" y="203"/>
                  </a:lnTo>
                  <a:lnTo>
                    <a:pt x="280" y="205"/>
                  </a:lnTo>
                  <a:lnTo>
                    <a:pt x="280" y="207"/>
                  </a:lnTo>
                  <a:lnTo>
                    <a:pt x="278" y="207"/>
                  </a:lnTo>
                  <a:lnTo>
                    <a:pt x="276" y="207"/>
                  </a:lnTo>
                  <a:lnTo>
                    <a:pt x="276" y="209"/>
                  </a:lnTo>
                  <a:lnTo>
                    <a:pt x="276" y="207"/>
                  </a:lnTo>
                  <a:lnTo>
                    <a:pt x="276" y="209"/>
                  </a:lnTo>
                  <a:lnTo>
                    <a:pt x="274" y="209"/>
                  </a:lnTo>
                  <a:lnTo>
                    <a:pt x="272" y="209"/>
                  </a:lnTo>
                  <a:lnTo>
                    <a:pt x="270" y="209"/>
                  </a:lnTo>
                  <a:lnTo>
                    <a:pt x="272" y="209"/>
                  </a:lnTo>
                  <a:lnTo>
                    <a:pt x="270" y="209"/>
                  </a:lnTo>
                  <a:lnTo>
                    <a:pt x="272" y="209"/>
                  </a:lnTo>
                  <a:lnTo>
                    <a:pt x="270" y="209"/>
                  </a:lnTo>
                  <a:lnTo>
                    <a:pt x="272" y="209"/>
                  </a:lnTo>
                  <a:lnTo>
                    <a:pt x="272" y="211"/>
                  </a:lnTo>
                  <a:lnTo>
                    <a:pt x="272" y="209"/>
                  </a:lnTo>
                  <a:lnTo>
                    <a:pt x="272" y="211"/>
                  </a:lnTo>
                  <a:lnTo>
                    <a:pt x="270" y="211"/>
                  </a:lnTo>
                  <a:lnTo>
                    <a:pt x="268" y="211"/>
                  </a:lnTo>
                  <a:lnTo>
                    <a:pt x="268" y="213"/>
                  </a:lnTo>
                  <a:lnTo>
                    <a:pt x="268" y="211"/>
                  </a:lnTo>
                  <a:lnTo>
                    <a:pt x="268" y="213"/>
                  </a:lnTo>
                  <a:lnTo>
                    <a:pt x="266" y="213"/>
                  </a:lnTo>
                  <a:lnTo>
                    <a:pt x="266" y="215"/>
                  </a:lnTo>
                  <a:lnTo>
                    <a:pt x="266" y="213"/>
                  </a:lnTo>
                  <a:lnTo>
                    <a:pt x="266" y="215"/>
                  </a:lnTo>
                  <a:lnTo>
                    <a:pt x="266" y="213"/>
                  </a:lnTo>
                  <a:lnTo>
                    <a:pt x="266" y="215"/>
                  </a:lnTo>
                  <a:lnTo>
                    <a:pt x="266" y="213"/>
                  </a:lnTo>
                  <a:lnTo>
                    <a:pt x="264" y="213"/>
                  </a:lnTo>
                  <a:lnTo>
                    <a:pt x="266" y="213"/>
                  </a:lnTo>
                  <a:lnTo>
                    <a:pt x="266" y="215"/>
                  </a:lnTo>
                  <a:lnTo>
                    <a:pt x="264" y="213"/>
                  </a:lnTo>
                  <a:lnTo>
                    <a:pt x="266" y="213"/>
                  </a:lnTo>
                  <a:lnTo>
                    <a:pt x="266" y="215"/>
                  </a:lnTo>
                  <a:lnTo>
                    <a:pt x="264" y="215"/>
                  </a:lnTo>
                  <a:lnTo>
                    <a:pt x="264" y="213"/>
                  </a:lnTo>
                  <a:lnTo>
                    <a:pt x="264" y="215"/>
                  </a:lnTo>
                  <a:lnTo>
                    <a:pt x="262" y="215"/>
                  </a:lnTo>
                  <a:lnTo>
                    <a:pt x="262" y="217"/>
                  </a:lnTo>
                  <a:lnTo>
                    <a:pt x="262" y="215"/>
                  </a:lnTo>
                  <a:lnTo>
                    <a:pt x="262" y="217"/>
                  </a:lnTo>
                  <a:lnTo>
                    <a:pt x="262" y="215"/>
                  </a:lnTo>
                  <a:lnTo>
                    <a:pt x="262" y="217"/>
                  </a:lnTo>
                  <a:lnTo>
                    <a:pt x="260" y="217"/>
                  </a:lnTo>
                  <a:lnTo>
                    <a:pt x="258" y="217"/>
                  </a:lnTo>
                  <a:lnTo>
                    <a:pt x="260" y="217"/>
                  </a:lnTo>
                  <a:lnTo>
                    <a:pt x="260" y="219"/>
                  </a:lnTo>
                  <a:lnTo>
                    <a:pt x="258" y="219"/>
                  </a:lnTo>
                  <a:lnTo>
                    <a:pt x="258" y="217"/>
                  </a:lnTo>
                  <a:lnTo>
                    <a:pt x="258" y="219"/>
                  </a:lnTo>
                  <a:lnTo>
                    <a:pt x="256" y="219"/>
                  </a:lnTo>
                  <a:lnTo>
                    <a:pt x="256" y="221"/>
                  </a:lnTo>
                  <a:lnTo>
                    <a:pt x="256" y="219"/>
                  </a:lnTo>
                  <a:lnTo>
                    <a:pt x="254" y="219"/>
                  </a:lnTo>
                  <a:lnTo>
                    <a:pt x="256" y="219"/>
                  </a:lnTo>
                  <a:lnTo>
                    <a:pt x="254" y="219"/>
                  </a:lnTo>
                  <a:lnTo>
                    <a:pt x="256" y="219"/>
                  </a:lnTo>
                  <a:lnTo>
                    <a:pt x="256" y="221"/>
                  </a:lnTo>
                  <a:lnTo>
                    <a:pt x="254" y="221"/>
                  </a:lnTo>
                  <a:lnTo>
                    <a:pt x="254" y="223"/>
                  </a:lnTo>
                  <a:lnTo>
                    <a:pt x="254" y="223"/>
                  </a:lnTo>
                  <a:lnTo>
                    <a:pt x="254" y="221"/>
                  </a:lnTo>
                  <a:lnTo>
                    <a:pt x="254" y="223"/>
                  </a:lnTo>
                  <a:lnTo>
                    <a:pt x="254" y="221"/>
                  </a:lnTo>
                  <a:lnTo>
                    <a:pt x="254" y="221"/>
                  </a:lnTo>
                  <a:lnTo>
                    <a:pt x="254" y="221"/>
                  </a:lnTo>
                  <a:lnTo>
                    <a:pt x="254" y="221"/>
                  </a:lnTo>
                  <a:lnTo>
                    <a:pt x="254" y="221"/>
                  </a:lnTo>
                  <a:lnTo>
                    <a:pt x="252" y="223"/>
                  </a:lnTo>
                  <a:lnTo>
                    <a:pt x="254" y="223"/>
                  </a:lnTo>
                  <a:lnTo>
                    <a:pt x="252" y="223"/>
                  </a:lnTo>
                  <a:lnTo>
                    <a:pt x="254" y="223"/>
                  </a:lnTo>
                  <a:lnTo>
                    <a:pt x="252" y="223"/>
                  </a:lnTo>
                  <a:lnTo>
                    <a:pt x="250" y="225"/>
                  </a:lnTo>
                  <a:lnTo>
                    <a:pt x="248" y="225"/>
                  </a:lnTo>
                  <a:lnTo>
                    <a:pt x="248" y="227"/>
                  </a:lnTo>
                  <a:lnTo>
                    <a:pt x="246" y="227"/>
                  </a:lnTo>
                  <a:lnTo>
                    <a:pt x="246" y="229"/>
                  </a:lnTo>
                  <a:lnTo>
                    <a:pt x="244" y="229"/>
                  </a:lnTo>
                  <a:lnTo>
                    <a:pt x="244" y="227"/>
                  </a:lnTo>
                  <a:lnTo>
                    <a:pt x="246" y="227"/>
                  </a:lnTo>
                  <a:lnTo>
                    <a:pt x="248" y="225"/>
                  </a:lnTo>
                  <a:lnTo>
                    <a:pt x="250" y="225"/>
                  </a:lnTo>
                  <a:lnTo>
                    <a:pt x="250" y="223"/>
                  </a:lnTo>
                  <a:lnTo>
                    <a:pt x="250" y="225"/>
                  </a:lnTo>
                  <a:lnTo>
                    <a:pt x="250" y="223"/>
                  </a:lnTo>
                  <a:lnTo>
                    <a:pt x="250" y="221"/>
                  </a:lnTo>
                  <a:lnTo>
                    <a:pt x="248" y="221"/>
                  </a:lnTo>
                  <a:lnTo>
                    <a:pt x="246" y="221"/>
                  </a:lnTo>
                  <a:lnTo>
                    <a:pt x="248" y="221"/>
                  </a:lnTo>
                  <a:lnTo>
                    <a:pt x="248" y="223"/>
                  </a:lnTo>
                  <a:lnTo>
                    <a:pt x="246" y="223"/>
                  </a:lnTo>
                  <a:lnTo>
                    <a:pt x="246" y="221"/>
                  </a:lnTo>
                  <a:lnTo>
                    <a:pt x="246" y="223"/>
                  </a:lnTo>
                  <a:lnTo>
                    <a:pt x="244" y="223"/>
                  </a:lnTo>
                  <a:lnTo>
                    <a:pt x="246" y="223"/>
                  </a:lnTo>
                  <a:lnTo>
                    <a:pt x="246" y="225"/>
                  </a:lnTo>
                  <a:lnTo>
                    <a:pt x="244" y="225"/>
                  </a:lnTo>
                  <a:lnTo>
                    <a:pt x="246" y="225"/>
                  </a:lnTo>
                  <a:lnTo>
                    <a:pt x="244" y="225"/>
                  </a:lnTo>
                  <a:lnTo>
                    <a:pt x="246" y="225"/>
                  </a:lnTo>
                  <a:lnTo>
                    <a:pt x="246" y="227"/>
                  </a:lnTo>
                  <a:lnTo>
                    <a:pt x="246" y="225"/>
                  </a:lnTo>
                  <a:lnTo>
                    <a:pt x="244" y="225"/>
                  </a:lnTo>
                  <a:lnTo>
                    <a:pt x="244" y="227"/>
                  </a:lnTo>
                  <a:lnTo>
                    <a:pt x="244" y="225"/>
                  </a:lnTo>
                  <a:lnTo>
                    <a:pt x="246" y="227"/>
                  </a:lnTo>
                  <a:lnTo>
                    <a:pt x="244" y="227"/>
                  </a:lnTo>
                  <a:lnTo>
                    <a:pt x="242" y="227"/>
                  </a:lnTo>
                  <a:lnTo>
                    <a:pt x="240" y="227"/>
                  </a:lnTo>
                  <a:lnTo>
                    <a:pt x="240" y="225"/>
                  </a:lnTo>
                  <a:lnTo>
                    <a:pt x="240" y="223"/>
                  </a:lnTo>
                  <a:lnTo>
                    <a:pt x="240" y="225"/>
                  </a:lnTo>
                  <a:lnTo>
                    <a:pt x="240" y="223"/>
                  </a:lnTo>
                  <a:lnTo>
                    <a:pt x="240" y="221"/>
                  </a:lnTo>
                  <a:lnTo>
                    <a:pt x="238" y="221"/>
                  </a:lnTo>
                  <a:lnTo>
                    <a:pt x="240" y="221"/>
                  </a:lnTo>
                  <a:lnTo>
                    <a:pt x="238" y="221"/>
                  </a:lnTo>
                  <a:lnTo>
                    <a:pt x="240" y="221"/>
                  </a:lnTo>
                  <a:lnTo>
                    <a:pt x="238" y="221"/>
                  </a:lnTo>
                  <a:lnTo>
                    <a:pt x="238" y="219"/>
                  </a:lnTo>
                  <a:lnTo>
                    <a:pt x="238" y="217"/>
                  </a:lnTo>
                  <a:lnTo>
                    <a:pt x="238" y="215"/>
                  </a:lnTo>
                  <a:lnTo>
                    <a:pt x="240" y="215"/>
                  </a:lnTo>
                  <a:lnTo>
                    <a:pt x="240" y="213"/>
                  </a:lnTo>
                  <a:lnTo>
                    <a:pt x="240" y="211"/>
                  </a:lnTo>
                  <a:lnTo>
                    <a:pt x="240" y="209"/>
                  </a:lnTo>
                  <a:lnTo>
                    <a:pt x="240" y="207"/>
                  </a:lnTo>
                  <a:lnTo>
                    <a:pt x="240" y="205"/>
                  </a:lnTo>
                  <a:lnTo>
                    <a:pt x="238" y="205"/>
                  </a:lnTo>
                  <a:lnTo>
                    <a:pt x="238" y="203"/>
                  </a:lnTo>
                  <a:lnTo>
                    <a:pt x="236" y="203"/>
                  </a:lnTo>
                  <a:lnTo>
                    <a:pt x="234" y="203"/>
                  </a:lnTo>
                  <a:lnTo>
                    <a:pt x="232" y="203"/>
                  </a:lnTo>
                  <a:lnTo>
                    <a:pt x="230" y="203"/>
                  </a:lnTo>
                  <a:lnTo>
                    <a:pt x="230" y="203"/>
                  </a:lnTo>
                  <a:lnTo>
                    <a:pt x="228" y="203"/>
                  </a:lnTo>
                  <a:lnTo>
                    <a:pt x="226" y="203"/>
                  </a:lnTo>
                  <a:lnTo>
                    <a:pt x="224" y="203"/>
                  </a:lnTo>
                  <a:lnTo>
                    <a:pt x="222" y="203"/>
                  </a:lnTo>
                  <a:lnTo>
                    <a:pt x="222" y="201"/>
                  </a:lnTo>
                  <a:lnTo>
                    <a:pt x="220" y="201"/>
                  </a:lnTo>
                  <a:lnTo>
                    <a:pt x="218" y="201"/>
                  </a:lnTo>
                  <a:lnTo>
                    <a:pt x="216" y="201"/>
                  </a:lnTo>
                  <a:lnTo>
                    <a:pt x="216" y="199"/>
                  </a:lnTo>
                  <a:lnTo>
                    <a:pt x="214" y="199"/>
                  </a:lnTo>
                  <a:lnTo>
                    <a:pt x="212" y="199"/>
                  </a:lnTo>
                  <a:lnTo>
                    <a:pt x="210" y="199"/>
                  </a:lnTo>
                  <a:lnTo>
                    <a:pt x="208" y="199"/>
                  </a:lnTo>
                  <a:lnTo>
                    <a:pt x="208" y="197"/>
                  </a:lnTo>
                  <a:lnTo>
                    <a:pt x="206" y="197"/>
                  </a:lnTo>
                  <a:lnTo>
                    <a:pt x="206" y="197"/>
                  </a:lnTo>
                  <a:lnTo>
                    <a:pt x="204" y="197"/>
                  </a:lnTo>
                  <a:lnTo>
                    <a:pt x="204" y="195"/>
                  </a:lnTo>
                  <a:lnTo>
                    <a:pt x="202" y="195"/>
                  </a:lnTo>
                  <a:lnTo>
                    <a:pt x="202" y="193"/>
                  </a:lnTo>
                  <a:lnTo>
                    <a:pt x="200" y="193"/>
                  </a:lnTo>
                  <a:lnTo>
                    <a:pt x="198" y="193"/>
                  </a:lnTo>
                  <a:lnTo>
                    <a:pt x="196" y="193"/>
                  </a:lnTo>
                  <a:lnTo>
                    <a:pt x="196" y="195"/>
                  </a:lnTo>
                  <a:lnTo>
                    <a:pt x="196" y="193"/>
                  </a:lnTo>
                  <a:lnTo>
                    <a:pt x="194" y="193"/>
                  </a:lnTo>
                  <a:lnTo>
                    <a:pt x="192" y="193"/>
                  </a:lnTo>
                  <a:lnTo>
                    <a:pt x="192" y="191"/>
                  </a:lnTo>
                  <a:lnTo>
                    <a:pt x="190" y="191"/>
                  </a:lnTo>
                  <a:lnTo>
                    <a:pt x="188" y="191"/>
                  </a:lnTo>
                  <a:lnTo>
                    <a:pt x="190" y="191"/>
                  </a:lnTo>
                  <a:lnTo>
                    <a:pt x="190" y="189"/>
                  </a:lnTo>
                  <a:lnTo>
                    <a:pt x="188" y="189"/>
                  </a:lnTo>
                  <a:lnTo>
                    <a:pt x="186" y="189"/>
                  </a:lnTo>
                  <a:lnTo>
                    <a:pt x="186" y="187"/>
                  </a:lnTo>
                  <a:lnTo>
                    <a:pt x="186" y="185"/>
                  </a:lnTo>
                  <a:lnTo>
                    <a:pt x="186" y="183"/>
                  </a:lnTo>
                  <a:lnTo>
                    <a:pt x="184" y="183"/>
                  </a:lnTo>
                  <a:lnTo>
                    <a:pt x="184" y="181"/>
                  </a:lnTo>
                  <a:lnTo>
                    <a:pt x="186" y="181"/>
                  </a:lnTo>
                  <a:lnTo>
                    <a:pt x="184" y="181"/>
                  </a:lnTo>
                  <a:lnTo>
                    <a:pt x="184" y="179"/>
                  </a:lnTo>
                  <a:lnTo>
                    <a:pt x="182" y="179"/>
                  </a:lnTo>
                  <a:lnTo>
                    <a:pt x="182" y="177"/>
                  </a:lnTo>
                  <a:lnTo>
                    <a:pt x="184" y="177"/>
                  </a:lnTo>
                  <a:lnTo>
                    <a:pt x="182" y="177"/>
                  </a:lnTo>
                  <a:lnTo>
                    <a:pt x="182" y="175"/>
                  </a:lnTo>
                  <a:lnTo>
                    <a:pt x="180" y="175"/>
                  </a:lnTo>
                  <a:lnTo>
                    <a:pt x="178" y="175"/>
                  </a:lnTo>
                  <a:lnTo>
                    <a:pt x="176" y="175"/>
                  </a:lnTo>
                  <a:lnTo>
                    <a:pt x="174" y="175"/>
                  </a:lnTo>
                  <a:lnTo>
                    <a:pt x="174" y="173"/>
                  </a:lnTo>
                  <a:lnTo>
                    <a:pt x="172" y="171"/>
                  </a:lnTo>
                  <a:lnTo>
                    <a:pt x="170" y="171"/>
                  </a:lnTo>
                  <a:lnTo>
                    <a:pt x="170" y="169"/>
                  </a:lnTo>
                  <a:lnTo>
                    <a:pt x="168" y="169"/>
                  </a:lnTo>
                  <a:lnTo>
                    <a:pt x="168" y="171"/>
                  </a:lnTo>
                  <a:lnTo>
                    <a:pt x="166" y="171"/>
                  </a:lnTo>
                  <a:lnTo>
                    <a:pt x="164" y="171"/>
                  </a:lnTo>
                  <a:lnTo>
                    <a:pt x="162" y="171"/>
                  </a:lnTo>
                  <a:lnTo>
                    <a:pt x="160" y="171"/>
                  </a:lnTo>
                  <a:lnTo>
                    <a:pt x="160" y="173"/>
                  </a:lnTo>
                  <a:lnTo>
                    <a:pt x="158" y="173"/>
                  </a:lnTo>
                  <a:lnTo>
                    <a:pt x="158" y="173"/>
                  </a:lnTo>
                  <a:lnTo>
                    <a:pt x="156" y="173"/>
                  </a:lnTo>
                  <a:lnTo>
                    <a:pt x="156" y="175"/>
                  </a:lnTo>
                  <a:lnTo>
                    <a:pt x="154" y="175"/>
                  </a:lnTo>
                  <a:lnTo>
                    <a:pt x="152" y="175"/>
                  </a:lnTo>
                  <a:lnTo>
                    <a:pt x="150" y="175"/>
                  </a:lnTo>
                  <a:lnTo>
                    <a:pt x="148" y="175"/>
                  </a:lnTo>
                  <a:lnTo>
                    <a:pt x="146" y="177"/>
                  </a:lnTo>
                  <a:lnTo>
                    <a:pt x="144" y="177"/>
                  </a:lnTo>
                  <a:lnTo>
                    <a:pt x="142" y="177"/>
                  </a:lnTo>
                  <a:lnTo>
                    <a:pt x="140" y="177"/>
                  </a:lnTo>
                  <a:lnTo>
                    <a:pt x="138" y="179"/>
                  </a:lnTo>
                  <a:lnTo>
                    <a:pt x="136" y="179"/>
                  </a:lnTo>
                  <a:lnTo>
                    <a:pt x="132" y="179"/>
                  </a:lnTo>
                  <a:lnTo>
                    <a:pt x="132" y="181"/>
                  </a:lnTo>
                  <a:lnTo>
                    <a:pt x="130" y="181"/>
                  </a:lnTo>
                  <a:lnTo>
                    <a:pt x="128" y="181"/>
                  </a:lnTo>
                  <a:lnTo>
                    <a:pt x="126" y="181"/>
                  </a:lnTo>
                  <a:lnTo>
                    <a:pt x="124" y="181"/>
                  </a:lnTo>
                  <a:lnTo>
                    <a:pt x="122" y="181"/>
                  </a:lnTo>
                  <a:lnTo>
                    <a:pt x="122" y="183"/>
                  </a:lnTo>
                  <a:lnTo>
                    <a:pt x="120" y="183"/>
                  </a:lnTo>
                  <a:lnTo>
                    <a:pt x="118" y="183"/>
                  </a:lnTo>
                  <a:lnTo>
                    <a:pt x="116" y="183"/>
                  </a:lnTo>
                  <a:lnTo>
                    <a:pt x="114" y="185"/>
                  </a:lnTo>
                  <a:lnTo>
                    <a:pt x="112" y="185"/>
                  </a:lnTo>
                  <a:lnTo>
                    <a:pt x="110" y="185"/>
                  </a:lnTo>
                  <a:lnTo>
                    <a:pt x="110" y="185"/>
                  </a:lnTo>
                  <a:lnTo>
                    <a:pt x="108" y="185"/>
                  </a:lnTo>
                  <a:lnTo>
                    <a:pt x="108" y="187"/>
                  </a:lnTo>
                  <a:lnTo>
                    <a:pt x="106" y="187"/>
                  </a:lnTo>
                  <a:lnTo>
                    <a:pt x="104" y="187"/>
                  </a:lnTo>
                  <a:lnTo>
                    <a:pt x="102" y="187"/>
                  </a:lnTo>
                  <a:lnTo>
                    <a:pt x="100" y="187"/>
                  </a:lnTo>
                  <a:lnTo>
                    <a:pt x="100" y="189"/>
                  </a:lnTo>
                  <a:lnTo>
                    <a:pt x="98" y="189"/>
                  </a:lnTo>
                  <a:lnTo>
                    <a:pt x="96" y="189"/>
                  </a:lnTo>
                  <a:lnTo>
                    <a:pt x="94" y="189"/>
                  </a:lnTo>
                  <a:lnTo>
                    <a:pt x="90" y="191"/>
                  </a:lnTo>
                  <a:lnTo>
                    <a:pt x="88" y="191"/>
                  </a:lnTo>
                  <a:lnTo>
                    <a:pt x="86" y="191"/>
                  </a:lnTo>
                  <a:lnTo>
                    <a:pt x="84" y="191"/>
                  </a:lnTo>
                  <a:lnTo>
                    <a:pt x="82" y="191"/>
                  </a:lnTo>
                  <a:lnTo>
                    <a:pt x="82" y="193"/>
                  </a:lnTo>
                  <a:lnTo>
                    <a:pt x="80" y="193"/>
                  </a:lnTo>
                  <a:lnTo>
                    <a:pt x="78" y="193"/>
                  </a:lnTo>
                  <a:lnTo>
                    <a:pt x="76" y="193"/>
                  </a:lnTo>
                  <a:lnTo>
                    <a:pt x="74" y="193"/>
                  </a:lnTo>
                  <a:lnTo>
                    <a:pt x="74" y="195"/>
                  </a:lnTo>
                  <a:lnTo>
                    <a:pt x="72" y="195"/>
                  </a:lnTo>
                  <a:lnTo>
                    <a:pt x="70" y="195"/>
                  </a:lnTo>
                  <a:lnTo>
                    <a:pt x="68" y="195"/>
                  </a:lnTo>
                  <a:lnTo>
                    <a:pt x="66" y="195"/>
                  </a:lnTo>
                  <a:lnTo>
                    <a:pt x="64" y="195"/>
                  </a:lnTo>
                  <a:lnTo>
                    <a:pt x="64" y="197"/>
                  </a:lnTo>
                  <a:lnTo>
                    <a:pt x="62" y="197"/>
                  </a:lnTo>
                  <a:lnTo>
                    <a:pt x="62" y="197"/>
                  </a:lnTo>
                  <a:lnTo>
                    <a:pt x="60" y="197"/>
                  </a:lnTo>
                  <a:lnTo>
                    <a:pt x="58" y="197"/>
                  </a:lnTo>
                  <a:lnTo>
                    <a:pt x="56" y="199"/>
                  </a:lnTo>
                  <a:lnTo>
                    <a:pt x="54" y="199"/>
                  </a:lnTo>
                  <a:lnTo>
                    <a:pt x="52" y="199"/>
                  </a:lnTo>
                  <a:lnTo>
                    <a:pt x="50" y="199"/>
                  </a:lnTo>
                  <a:lnTo>
                    <a:pt x="48" y="201"/>
                  </a:lnTo>
                  <a:lnTo>
                    <a:pt x="46" y="201"/>
                  </a:lnTo>
                  <a:lnTo>
                    <a:pt x="44" y="201"/>
                  </a:lnTo>
                  <a:lnTo>
                    <a:pt x="42" y="201"/>
                  </a:lnTo>
                  <a:lnTo>
                    <a:pt x="40" y="201"/>
                  </a:lnTo>
                  <a:lnTo>
                    <a:pt x="40" y="203"/>
                  </a:lnTo>
                  <a:lnTo>
                    <a:pt x="38" y="203"/>
                  </a:lnTo>
                  <a:lnTo>
                    <a:pt x="36" y="203"/>
                  </a:lnTo>
                  <a:lnTo>
                    <a:pt x="34" y="203"/>
                  </a:lnTo>
                  <a:lnTo>
                    <a:pt x="32" y="203"/>
                  </a:lnTo>
                  <a:lnTo>
                    <a:pt x="30" y="203"/>
                  </a:lnTo>
                  <a:lnTo>
                    <a:pt x="28" y="203"/>
                  </a:lnTo>
                  <a:lnTo>
                    <a:pt x="26" y="203"/>
                  </a:lnTo>
                  <a:lnTo>
                    <a:pt x="24" y="203"/>
                  </a:lnTo>
                  <a:lnTo>
                    <a:pt x="22" y="203"/>
                  </a:lnTo>
                  <a:lnTo>
                    <a:pt x="20" y="203"/>
                  </a:lnTo>
                  <a:lnTo>
                    <a:pt x="18" y="205"/>
                  </a:lnTo>
                  <a:lnTo>
                    <a:pt x="16" y="205"/>
                  </a:lnTo>
                  <a:lnTo>
                    <a:pt x="14" y="205"/>
                  </a:lnTo>
                  <a:lnTo>
                    <a:pt x="14" y="205"/>
                  </a:lnTo>
                  <a:lnTo>
                    <a:pt x="12" y="205"/>
                  </a:lnTo>
                  <a:lnTo>
                    <a:pt x="12" y="207"/>
                  </a:lnTo>
                  <a:lnTo>
                    <a:pt x="10" y="207"/>
                  </a:lnTo>
                  <a:lnTo>
                    <a:pt x="8" y="207"/>
                  </a:lnTo>
                  <a:lnTo>
                    <a:pt x="6" y="207"/>
                  </a:lnTo>
                  <a:lnTo>
                    <a:pt x="4" y="207"/>
                  </a:lnTo>
                  <a:lnTo>
                    <a:pt x="4" y="205"/>
                  </a:lnTo>
                  <a:lnTo>
                    <a:pt x="2" y="203"/>
                  </a:lnTo>
                  <a:lnTo>
                    <a:pt x="2" y="203"/>
                  </a:lnTo>
                  <a:lnTo>
                    <a:pt x="2" y="201"/>
                  </a:lnTo>
                  <a:lnTo>
                    <a:pt x="2" y="199"/>
                  </a:lnTo>
                  <a:lnTo>
                    <a:pt x="2" y="197"/>
                  </a:lnTo>
                  <a:lnTo>
                    <a:pt x="0" y="195"/>
                  </a:lnTo>
                  <a:lnTo>
                    <a:pt x="2" y="195"/>
                  </a:lnTo>
                  <a:lnTo>
                    <a:pt x="2" y="193"/>
                  </a:lnTo>
                  <a:lnTo>
                    <a:pt x="4" y="193"/>
                  </a:lnTo>
                  <a:lnTo>
                    <a:pt x="4" y="191"/>
                  </a:lnTo>
                  <a:lnTo>
                    <a:pt x="6" y="191"/>
                  </a:lnTo>
                  <a:lnTo>
                    <a:pt x="6" y="189"/>
                  </a:lnTo>
                  <a:lnTo>
                    <a:pt x="8" y="189"/>
                  </a:lnTo>
                  <a:lnTo>
                    <a:pt x="8" y="187"/>
                  </a:lnTo>
                  <a:lnTo>
                    <a:pt x="10" y="187"/>
                  </a:lnTo>
                  <a:lnTo>
                    <a:pt x="10" y="185"/>
                  </a:lnTo>
                  <a:lnTo>
                    <a:pt x="12" y="185"/>
                  </a:lnTo>
                  <a:lnTo>
                    <a:pt x="12" y="183"/>
                  </a:lnTo>
                  <a:lnTo>
                    <a:pt x="14" y="183"/>
                  </a:lnTo>
                  <a:lnTo>
                    <a:pt x="14" y="181"/>
                  </a:lnTo>
                  <a:lnTo>
                    <a:pt x="14" y="179"/>
                  </a:lnTo>
                  <a:lnTo>
                    <a:pt x="14" y="181"/>
                  </a:lnTo>
                  <a:lnTo>
                    <a:pt x="14" y="179"/>
                  </a:lnTo>
                  <a:lnTo>
                    <a:pt x="14" y="181"/>
                  </a:lnTo>
                  <a:lnTo>
                    <a:pt x="14" y="179"/>
                  </a:lnTo>
                  <a:lnTo>
                    <a:pt x="16" y="179"/>
                  </a:lnTo>
                  <a:lnTo>
                    <a:pt x="16" y="177"/>
                  </a:lnTo>
                  <a:lnTo>
                    <a:pt x="18" y="177"/>
                  </a:lnTo>
                  <a:lnTo>
                    <a:pt x="18" y="175"/>
                  </a:lnTo>
                  <a:lnTo>
                    <a:pt x="18" y="177"/>
                  </a:lnTo>
                  <a:lnTo>
                    <a:pt x="18" y="175"/>
                  </a:lnTo>
                  <a:lnTo>
                    <a:pt x="20" y="175"/>
                  </a:lnTo>
                  <a:lnTo>
                    <a:pt x="20" y="173"/>
                  </a:lnTo>
                  <a:lnTo>
                    <a:pt x="20" y="171"/>
                  </a:lnTo>
                  <a:lnTo>
                    <a:pt x="22" y="171"/>
                  </a:lnTo>
                  <a:lnTo>
                    <a:pt x="22" y="169"/>
                  </a:lnTo>
                  <a:lnTo>
                    <a:pt x="22" y="167"/>
                  </a:lnTo>
                  <a:lnTo>
                    <a:pt x="24" y="167"/>
                  </a:lnTo>
                  <a:lnTo>
                    <a:pt x="24" y="165"/>
                  </a:lnTo>
                  <a:lnTo>
                    <a:pt x="26" y="165"/>
                  </a:lnTo>
                  <a:lnTo>
                    <a:pt x="26" y="163"/>
                  </a:lnTo>
                  <a:lnTo>
                    <a:pt x="28" y="163"/>
                  </a:lnTo>
                  <a:lnTo>
                    <a:pt x="28" y="161"/>
                  </a:lnTo>
                  <a:lnTo>
                    <a:pt x="30" y="161"/>
                  </a:lnTo>
                  <a:lnTo>
                    <a:pt x="28" y="159"/>
                  </a:lnTo>
                  <a:lnTo>
                    <a:pt x="28" y="157"/>
                  </a:lnTo>
                  <a:lnTo>
                    <a:pt x="28" y="159"/>
                  </a:lnTo>
                  <a:lnTo>
                    <a:pt x="28" y="157"/>
                  </a:lnTo>
                  <a:lnTo>
                    <a:pt x="26" y="157"/>
                  </a:lnTo>
                  <a:lnTo>
                    <a:pt x="28" y="157"/>
                  </a:lnTo>
                  <a:lnTo>
                    <a:pt x="26" y="157"/>
                  </a:lnTo>
                  <a:lnTo>
                    <a:pt x="26" y="157"/>
                  </a:lnTo>
                  <a:lnTo>
                    <a:pt x="26" y="155"/>
                  </a:lnTo>
                  <a:lnTo>
                    <a:pt x="24" y="155"/>
                  </a:lnTo>
                  <a:lnTo>
                    <a:pt x="24" y="153"/>
                  </a:lnTo>
                  <a:lnTo>
                    <a:pt x="24" y="151"/>
                  </a:lnTo>
                  <a:lnTo>
                    <a:pt x="26" y="151"/>
                  </a:lnTo>
                  <a:lnTo>
                    <a:pt x="26" y="149"/>
                  </a:lnTo>
                  <a:lnTo>
                    <a:pt x="24" y="149"/>
                  </a:lnTo>
                  <a:lnTo>
                    <a:pt x="22" y="149"/>
                  </a:lnTo>
                  <a:lnTo>
                    <a:pt x="20" y="149"/>
                  </a:lnTo>
                  <a:lnTo>
                    <a:pt x="18" y="149"/>
                  </a:lnTo>
                  <a:lnTo>
                    <a:pt x="18" y="147"/>
                  </a:lnTo>
                  <a:lnTo>
                    <a:pt x="18" y="145"/>
                  </a:lnTo>
                  <a:lnTo>
                    <a:pt x="18" y="143"/>
                  </a:lnTo>
                  <a:lnTo>
                    <a:pt x="16" y="143"/>
                  </a:lnTo>
                  <a:lnTo>
                    <a:pt x="16" y="141"/>
                  </a:lnTo>
                  <a:lnTo>
                    <a:pt x="16" y="139"/>
                  </a:lnTo>
                  <a:lnTo>
                    <a:pt x="18" y="139"/>
                  </a:lnTo>
                  <a:lnTo>
                    <a:pt x="18" y="137"/>
                  </a:lnTo>
                  <a:lnTo>
                    <a:pt x="20" y="137"/>
                  </a:lnTo>
                  <a:lnTo>
                    <a:pt x="22" y="135"/>
                  </a:lnTo>
                  <a:lnTo>
                    <a:pt x="24" y="135"/>
                  </a:lnTo>
                  <a:lnTo>
                    <a:pt x="24" y="133"/>
                  </a:lnTo>
                  <a:lnTo>
                    <a:pt x="26" y="133"/>
                  </a:lnTo>
                  <a:lnTo>
                    <a:pt x="28" y="133"/>
                  </a:lnTo>
                  <a:lnTo>
                    <a:pt x="30" y="131"/>
                  </a:lnTo>
                  <a:lnTo>
                    <a:pt x="32" y="131"/>
                  </a:lnTo>
                  <a:lnTo>
                    <a:pt x="32" y="129"/>
                  </a:lnTo>
                  <a:lnTo>
                    <a:pt x="34" y="129"/>
                  </a:lnTo>
                  <a:lnTo>
                    <a:pt x="36" y="129"/>
                  </a:lnTo>
                  <a:lnTo>
                    <a:pt x="38" y="129"/>
                  </a:lnTo>
                  <a:lnTo>
                    <a:pt x="40" y="129"/>
                  </a:lnTo>
                  <a:lnTo>
                    <a:pt x="40" y="127"/>
                  </a:lnTo>
                  <a:lnTo>
                    <a:pt x="42" y="127"/>
                  </a:lnTo>
                  <a:lnTo>
                    <a:pt x="44" y="127"/>
                  </a:lnTo>
                  <a:lnTo>
                    <a:pt x="46" y="127"/>
                  </a:lnTo>
                  <a:lnTo>
                    <a:pt x="48" y="127"/>
                  </a:lnTo>
                  <a:lnTo>
                    <a:pt x="48" y="125"/>
                  </a:lnTo>
                  <a:lnTo>
                    <a:pt x="50" y="125"/>
                  </a:lnTo>
                  <a:lnTo>
                    <a:pt x="52" y="125"/>
                  </a:lnTo>
                  <a:lnTo>
                    <a:pt x="54" y="125"/>
                  </a:lnTo>
                  <a:lnTo>
                    <a:pt x="56" y="125"/>
                  </a:lnTo>
                  <a:lnTo>
                    <a:pt x="58" y="125"/>
                  </a:lnTo>
                  <a:lnTo>
                    <a:pt x="60" y="125"/>
                  </a:lnTo>
                  <a:lnTo>
                    <a:pt x="62" y="125"/>
                  </a:lnTo>
                  <a:lnTo>
                    <a:pt x="62" y="125"/>
                  </a:lnTo>
                  <a:lnTo>
                    <a:pt x="64" y="125"/>
                  </a:lnTo>
                  <a:lnTo>
                    <a:pt x="66" y="125"/>
                  </a:lnTo>
                  <a:lnTo>
                    <a:pt x="64" y="125"/>
                  </a:lnTo>
                  <a:lnTo>
                    <a:pt x="64" y="127"/>
                  </a:lnTo>
                  <a:lnTo>
                    <a:pt x="64" y="125"/>
                  </a:lnTo>
                  <a:lnTo>
                    <a:pt x="64" y="127"/>
                  </a:lnTo>
                  <a:lnTo>
                    <a:pt x="64" y="125"/>
                  </a:lnTo>
                  <a:lnTo>
                    <a:pt x="66" y="125"/>
                  </a:lnTo>
                  <a:lnTo>
                    <a:pt x="66" y="127"/>
                  </a:lnTo>
                  <a:lnTo>
                    <a:pt x="68" y="127"/>
                  </a:lnTo>
                  <a:lnTo>
                    <a:pt x="70" y="127"/>
                  </a:lnTo>
                  <a:lnTo>
                    <a:pt x="72" y="127"/>
                  </a:lnTo>
                  <a:lnTo>
                    <a:pt x="74" y="127"/>
                  </a:lnTo>
                  <a:lnTo>
                    <a:pt x="76" y="127"/>
                  </a:lnTo>
                  <a:lnTo>
                    <a:pt x="76" y="125"/>
                  </a:lnTo>
                  <a:lnTo>
                    <a:pt x="78" y="125"/>
                  </a:lnTo>
                  <a:lnTo>
                    <a:pt x="78" y="123"/>
                  </a:lnTo>
                  <a:lnTo>
                    <a:pt x="80" y="123"/>
                  </a:lnTo>
                  <a:lnTo>
                    <a:pt x="82" y="123"/>
                  </a:lnTo>
                  <a:lnTo>
                    <a:pt x="84" y="123"/>
                  </a:lnTo>
                  <a:lnTo>
                    <a:pt x="86" y="123"/>
                  </a:lnTo>
                  <a:lnTo>
                    <a:pt x="86" y="121"/>
                  </a:lnTo>
                  <a:lnTo>
                    <a:pt x="88" y="121"/>
                  </a:lnTo>
                  <a:lnTo>
                    <a:pt x="90" y="121"/>
                  </a:lnTo>
                  <a:lnTo>
                    <a:pt x="92" y="121"/>
                  </a:lnTo>
                  <a:lnTo>
                    <a:pt x="94" y="121"/>
                  </a:lnTo>
                  <a:lnTo>
                    <a:pt x="96" y="121"/>
                  </a:lnTo>
                  <a:lnTo>
                    <a:pt x="96" y="119"/>
                  </a:lnTo>
                  <a:lnTo>
                    <a:pt x="98" y="119"/>
                  </a:lnTo>
                  <a:lnTo>
                    <a:pt x="98" y="117"/>
                  </a:lnTo>
                  <a:lnTo>
                    <a:pt x="100" y="117"/>
                  </a:lnTo>
                  <a:lnTo>
                    <a:pt x="102" y="117"/>
                  </a:lnTo>
                  <a:lnTo>
                    <a:pt x="102" y="115"/>
                  </a:lnTo>
                  <a:lnTo>
                    <a:pt x="104" y="115"/>
                  </a:lnTo>
                  <a:lnTo>
                    <a:pt x="102" y="115"/>
                  </a:lnTo>
                  <a:lnTo>
                    <a:pt x="104" y="115"/>
                  </a:lnTo>
                  <a:lnTo>
                    <a:pt x="104" y="117"/>
                  </a:lnTo>
                  <a:lnTo>
                    <a:pt x="104" y="115"/>
                  </a:lnTo>
                  <a:lnTo>
                    <a:pt x="104" y="117"/>
                  </a:lnTo>
                  <a:lnTo>
                    <a:pt x="104" y="115"/>
                  </a:lnTo>
                  <a:lnTo>
                    <a:pt x="104" y="113"/>
                  </a:lnTo>
                  <a:lnTo>
                    <a:pt x="104" y="111"/>
                  </a:lnTo>
                  <a:lnTo>
                    <a:pt x="106" y="111"/>
                  </a:lnTo>
                  <a:lnTo>
                    <a:pt x="106" y="109"/>
                  </a:lnTo>
                  <a:lnTo>
                    <a:pt x="108" y="109"/>
                  </a:lnTo>
                  <a:lnTo>
                    <a:pt x="108" y="109"/>
                  </a:lnTo>
                  <a:lnTo>
                    <a:pt x="110" y="109"/>
                  </a:lnTo>
                  <a:lnTo>
                    <a:pt x="108" y="109"/>
                  </a:lnTo>
                  <a:lnTo>
                    <a:pt x="110" y="109"/>
                  </a:lnTo>
                  <a:lnTo>
                    <a:pt x="110" y="107"/>
                  </a:lnTo>
                  <a:lnTo>
                    <a:pt x="110" y="104"/>
                  </a:lnTo>
                  <a:lnTo>
                    <a:pt x="110" y="104"/>
                  </a:lnTo>
                  <a:lnTo>
                    <a:pt x="112" y="104"/>
                  </a:lnTo>
                  <a:lnTo>
                    <a:pt x="112" y="102"/>
                  </a:lnTo>
                  <a:lnTo>
                    <a:pt x="112" y="104"/>
                  </a:lnTo>
                  <a:lnTo>
                    <a:pt x="114" y="104"/>
                  </a:lnTo>
                  <a:lnTo>
                    <a:pt x="114" y="102"/>
                  </a:lnTo>
                  <a:lnTo>
                    <a:pt x="116" y="102"/>
                  </a:lnTo>
                  <a:lnTo>
                    <a:pt x="118" y="102"/>
                  </a:lnTo>
                  <a:lnTo>
                    <a:pt x="118" y="100"/>
                  </a:lnTo>
                  <a:lnTo>
                    <a:pt x="118" y="98"/>
                  </a:lnTo>
                  <a:lnTo>
                    <a:pt x="118" y="96"/>
                  </a:lnTo>
                  <a:lnTo>
                    <a:pt x="116" y="96"/>
                  </a:lnTo>
                  <a:lnTo>
                    <a:pt x="116" y="94"/>
                  </a:lnTo>
                  <a:lnTo>
                    <a:pt x="116" y="96"/>
                  </a:lnTo>
                  <a:lnTo>
                    <a:pt x="118" y="96"/>
                  </a:lnTo>
                  <a:lnTo>
                    <a:pt x="118" y="94"/>
                  </a:lnTo>
                  <a:lnTo>
                    <a:pt x="116" y="94"/>
                  </a:lnTo>
                  <a:lnTo>
                    <a:pt x="118" y="94"/>
                  </a:lnTo>
                  <a:lnTo>
                    <a:pt x="116" y="94"/>
                  </a:lnTo>
                  <a:lnTo>
                    <a:pt x="116" y="92"/>
                  </a:lnTo>
                  <a:lnTo>
                    <a:pt x="116" y="90"/>
                  </a:lnTo>
                  <a:lnTo>
                    <a:pt x="114" y="90"/>
                  </a:lnTo>
                  <a:lnTo>
                    <a:pt x="114" y="88"/>
                  </a:lnTo>
                  <a:lnTo>
                    <a:pt x="114" y="86"/>
                  </a:lnTo>
                  <a:lnTo>
                    <a:pt x="112" y="86"/>
                  </a:lnTo>
                  <a:lnTo>
                    <a:pt x="114" y="86"/>
                  </a:lnTo>
                  <a:lnTo>
                    <a:pt x="112" y="86"/>
                  </a:lnTo>
                  <a:lnTo>
                    <a:pt x="110" y="86"/>
                  </a:lnTo>
                  <a:lnTo>
                    <a:pt x="110" y="84"/>
                  </a:lnTo>
                  <a:lnTo>
                    <a:pt x="112" y="84"/>
                  </a:lnTo>
                  <a:lnTo>
                    <a:pt x="112" y="82"/>
                  </a:lnTo>
                  <a:lnTo>
                    <a:pt x="112" y="84"/>
                  </a:lnTo>
                  <a:lnTo>
                    <a:pt x="114" y="84"/>
                  </a:lnTo>
                  <a:lnTo>
                    <a:pt x="114" y="82"/>
                  </a:lnTo>
                  <a:lnTo>
                    <a:pt x="116" y="82"/>
                  </a:lnTo>
                  <a:lnTo>
                    <a:pt x="116" y="80"/>
                  </a:lnTo>
                  <a:lnTo>
                    <a:pt x="116" y="78"/>
                  </a:lnTo>
                  <a:lnTo>
                    <a:pt x="116" y="76"/>
                  </a:lnTo>
                  <a:lnTo>
                    <a:pt x="118" y="76"/>
                  </a:lnTo>
                  <a:lnTo>
                    <a:pt x="118" y="78"/>
                  </a:lnTo>
                  <a:lnTo>
                    <a:pt x="118" y="76"/>
                  </a:lnTo>
                  <a:lnTo>
                    <a:pt x="116" y="76"/>
                  </a:lnTo>
                  <a:lnTo>
                    <a:pt x="116" y="78"/>
                  </a:lnTo>
                  <a:lnTo>
                    <a:pt x="114" y="78"/>
                  </a:lnTo>
                  <a:lnTo>
                    <a:pt x="112" y="78"/>
                  </a:lnTo>
                  <a:lnTo>
                    <a:pt x="112" y="76"/>
                  </a:lnTo>
                  <a:lnTo>
                    <a:pt x="114" y="76"/>
                  </a:lnTo>
                  <a:lnTo>
                    <a:pt x="114" y="74"/>
                  </a:lnTo>
                  <a:lnTo>
                    <a:pt x="112" y="74"/>
                  </a:lnTo>
                  <a:lnTo>
                    <a:pt x="114" y="74"/>
                  </a:lnTo>
                  <a:lnTo>
                    <a:pt x="114" y="72"/>
                  </a:lnTo>
                  <a:lnTo>
                    <a:pt x="114" y="74"/>
                  </a:lnTo>
                  <a:lnTo>
                    <a:pt x="114" y="72"/>
                  </a:lnTo>
                  <a:lnTo>
                    <a:pt x="114" y="74"/>
                  </a:lnTo>
                  <a:lnTo>
                    <a:pt x="114" y="72"/>
                  </a:lnTo>
                  <a:lnTo>
                    <a:pt x="112" y="72"/>
                  </a:lnTo>
                  <a:lnTo>
                    <a:pt x="112" y="74"/>
                  </a:lnTo>
                  <a:lnTo>
                    <a:pt x="112" y="72"/>
                  </a:lnTo>
                  <a:lnTo>
                    <a:pt x="112" y="74"/>
                  </a:lnTo>
                  <a:lnTo>
                    <a:pt x="110" y="74"/>
                  </a:lnTo>
                  <a:lnTo>
                    <a:pt x="110" y="72"/>
                  </a:lnTo>
                  <a:lnTo>
                    <a:pt x="112" y="72"/>
                  </a:lnTo>
                  <a:lnTo>
                    <a:pt x="110" y="72"/>
                  </a:lnTo>
                  <a:lnTo>
                    <a:pt x="112" y="72"/>
                  </a:lnTo>
                  <a:lnTo>
                    <a:pt x="110" y="72"/>
                  </a:lnTo>
                  <a:lnTo>
                    <a:pt x="110" y="74"/>
                  </a:lnTo>
                  <a:lnTo>
                    <a:pt x="110" y="74"/>
                  </a:lnTo>
                  <a:lnTo>
                    <a:pt x="110" y="76"/>
                  </a:lnTo>
                  <a:lnTo>
                    <a:pt x="110" y="76"/>
                  </a:lnTo>
                  <a:lnTo>
                    <a:pt x="112" y="76"/>
                  </a:lnTo>
                  <a:lnTo>
                    <a:pt x="110" y="76"/>
                  </a:lnTo>
                  <a:lnTo>
                    <a:pt x="112" y="76"/>
                  </a:lnTo>
                  <a:lnTo>
                    <a:pt x="112" y="78"/>
                  </a:lnTo>
                  <a:lnTo>
                    <a:pt x="110" y="78"/>
                  </a:lnTo>
                  <a:lnTo>
                    <a:pt x="110" y="80"/>
                  </a:lnTo>
                  <a:lnTo>
                    <a:pt x="110" y="78"/>
                  </a:lnTo>
                  <a:lnTo>
                    <a:pt x="110" y="76"/>
                  </a:lnTo>
                  <a:lnTo>
                    <a:pt x="110" y="76"/>
                  </a:lnTo>
                  <a:lnTo>
                    <a:pt x="110" y="78"/>
                  </a:lnTo>
                  <a:lnTo>
                    <a:pt x="110" y="76"/>
                  </a:lnTo>
                  <a:lnTo>
                    <a:pt x="110" y="74"/>
                  </a:lnTo>
                  <a:lnTo>
                    <a:pt x="108" y="74"/>
                  </a:lnTo>
                  <a:lnTo>
                    <a:pt x="110" y="74"/>
                  </a:lnTo>
                  <a:lnTo>
                    <a:pt x="110" y="72"/>
                  </a:lnTo>
                  <a:lnTo>
                    <a:pt x="110" y="74"/>
                  </a:lnTo>
                  <a:lnTo>
                    <a:pt x="108" y="74"/>
                  </a:lnTo>
                  <a:lnTo>
                    <a:pt x="106" y="74"/>
                  </a:lnTo>
                  <a:lnTo>
                    <a:pt x="108" y="74"/>
                  </a:lnTo>
                  <a:lnTo>
                    <a:pt x="106" y="74"/>
                  </a:lnTo>
                  <a:lnTo>
                    <a:pt x="108" y="74"/>
                  </a:lnTo>
                  <a:lnTo>
                    <a:pt x="106" y="74"/>
                  </a:lnTo>
                  <a:lnTo>
                    <a:pt x="108" y="74"/>
                  </a:lnTo>
                  <a:lnTo>
                    <a:pt x="106" y="74"/>
                  </a:lnTo>
                  <a:lnTo>
                    <a:pt x="106" y="72"/>
                  </a:lnTo>
                  <a:lnTo>
                    <a:pt x="108" y="72"/>
                  </a:lnTo>
                  <a:lnTo>
                    <a:pt x="108" y="70"/>
                  </a:lnTo>
                  <a:lnTo>
                    <a:pt x="110" y="70"/>
                  </a:lnTo>
                  <a:lnTo>
                    <a:pt x="110" y="68"/>
                  </a:lnTo>
                  <a:lnTo>
                    <a:pt x="110" y="66"/>
                  </a:lnTo>
                  <a:lnTo>
                    <a:pt x="110" y="66"/>
                  </a:lnTo>
                  <a:lnTo>
                    <a:pt x="110" y="64"/>
                  </a:lnTo>
                  <a:lnTo>
                    <a:pt x="112" y="64"/>
                  </a:lnTo>
                  <a:lnTo>
                    <a:pt x="114" y="64"/>
                  </a:lnTo>
                  <a:lnTo>
                    <a:pt x="112" y="64"/>
                  </a:lnTo>
                  <a:lnTo>
                    <a:pt x="114" y="64"/>
                  </a:lnTo>
                  <a:lnTo>
                    <a:pt x="112" y="64"/>
                  </a:lnTo>
                  <a:lnTo>
                    <a:pt x="112" y="62"/>
                  </a:lnTo>
                  <a:lnTo>
                    <a:pt x="114" y="62"/>
                  </a:lnTo>
                  <a:lnTo>
                    <a:pt x="114" y="64"/>
                  </a:lnTo>
                  <a:lnTo>
                    <a:pt x="114" y="62"/>
                  </a:lnTo>
                  <a:lnTo>
                    <a:pt x="116" y="62"/>
                  </a:lnTo>
                  <a:lnTo>
                    <a:pt x="116" y="60"/>
                  </a:lnTo>
                  <a:lnTo>
                    <a:pt x="116" y="62"/>
                  </a:lnTo>
                  <a:lnTo>
                    <a:pt x="116" y="60"/>
                  </a:lnTo>
                  <a:lnTo>
                    <a:pt x="116" y="62"/>
                  </a:lnTo>
                  <a:lnTo>
                    <a:pt x="116" y="60"/>
                  </a:lnTo>
                  <a:lnTo>
                    <a:pt x="116" y="60"/>
                  </a:lnTo>
                  <a:lnTo>
                    <a:pt x="118" y="60"/>
                  </a:lnTo>
                  <a:lnTo>
                    <a:pt x="116" y="60"/>
                  </a:lnTo>
                  <a:lnTo>
                    <a:pt x="118" y="60"/>
                  </a:lnTo>
                  <a:lnTo>
                    <a:pt x="118" y="58"/>
                  </a:lnTo>
                  <a:lnTo>
                    <a:pt x="118" y="56"/>
                  </a:lnTo>
                  <a:lnTo>
                    <a:pt x="120" y="56"/>
                  </a:lnTo>
                  <a:lnTo>
                    <a:pt x="120" y="58"/>
                  </a:lnTo>
                  <a:lnTo>
                    <a:pt x="120" y="56"/>
                  </a:lnTo>
                  <a:lnTo>
                    <a:pt x="120" y="54"/>
                  </a:lnTo>
                  <a:lnTo>
                    <a:pt x="122" y="54"/>
                  </a:lnTo>
                  <a:lnTo>
                    <a:pt x="122" y="52"/>
                  </a:lnTo>
                  <a:lnTo>
                    <a:pt x="122" y="50"/>
                  </a:lnTo>
                  <a:lnTo>
                    <a:pt x="122" y="52"/>
                  </a:lnTo>
                  <a:lnTo>
                    <a:pt x="122" y="50"/>
                  </a:lnTo>
                  <a:lnTo>
                    <a:pt x="122" y="48"/>
                  </a:lnTo>
                  <a:lnTo>
                    <a:pt x="122" y="46"/>
                  </a:lnTo>
                  <a:lnTo>
                    <a:pt x="124" y="46"/>
                  </a:lnTo>
                  <a:lnTo>
                    <a:pt x="124" y="44"/>
                  </a:lnTo>
                  <a:lnTo>
                    <a:pt x="124" y="42"/>
                  </a:lnTo>
                  <a:lnTo>
                    <a:pt x="126" y="42"/>
                  </a:lnTo>
                  <a:lnTo>
                    <a:pt x="126" y="40"/>
                  </a:lnTo>
                  <a:lnTo>
                    <a:pt x="126" y="38"/>
                  </a:lnTo>
                  <a:lnTo>
                    <a:pt x="128" y="38"/>
                  </a:lnTo>
                  <a:lnTo>
                    <a:pt x="128" y="36"/>
                  </a:lnTo>
                  <a:lnTo>
                    <a:pt x="130" y="36"/>
                  </a:lnTo>
                  <a:lnTo>
                    <a:pt x="130" y="34"/>
                  </a:lnTo>
                  <a:lnTo>
                    <a:pt x="130" y="36"/>
                  </a:lnTo>
                  <a:lnTo>
                    <a:pt x="130" y="34"/>
                  </a:lnTo>
                  <a:lnTo>
                    <a:pt x="130" y="32"/>
                  </a:lnTo>
                  <a:lnTo>
                    <a:pt x="132" y="32"/>
                  </a:lnTo>
                  <a:lnTo>
                    <a:pt x="132" y="30"/>
                  </a:lnTo>
                  <a:lnTo>
                    <a:pt x="132" y="28"/>
                  </a:lnTo>
                  <a:lnTo>
                    <a:pt x="134" y="28"/>
                  </a:lnTo>
                  <a:lnTo>
                    <a:pt x="134" y="26"/>
                  </a:lnTo>
                  <a:lnTo>
                    <a:pt x="136" y="26"/>
                  </a:lnTo>
                  <a:lnTo>
                    <a:pt x="134" y="26"/>
                  </a:lnTo>
                  <a:lnTo>
                    <a:pt x="136" y="26"/>
                  </a:lnTo>
                  <a:lnTo>
                    <a:pt x="136" y="24"/>
                  </a:lnTo>
                  <a:lnTo>
                    <a:pt x="136" y="26"/>
                  </a:lnTo>
                  <a:lnTo>
                    <a:pt x="136" y="24"/>
                  </a:lnTo>
                  <a:lnTo>
                    <a:pt x="138" y="24"/>
                  </a:lnTo>
                  <a:lnTo>
                    <a:pt x="138" y="22"/>
                  </a:lnTo>
                  <a:lnTo>
                    <a:pt x="138" y="24"/>
                  </a:lnTo>
                  <a:lnTo>
                    <a:pt x="138" y="22"/>
                  </a:lnTo>
                  <a:lnTo>
                    <a:pt x="138" y="24"/>
                  </a:lnTo>
                  <a:lnTo>
                    <a:pt x="138" y="22"/>
                  </a:lnTo>
                  <a:lnTo>
                    <a:pt x="140" y="22"/>
                  </a:lnTo>
                  <a:lnTo>
                    <a:pt x="140" y="20"/>
                  </a:lnTo>
                  <a:lnTo>
                    <a:pt x="142" y="20"/>
                  </a:lnTo>
                  <a:lnTo>
                    <a:pt x="142" y="18"/>
                  </a:lnTo>
                  <a:lnTo>
                    <a:pt x="144" y="18"/>
                  </a:lnTo>
                  <a:lnTo>
                    <a:pt x="144" y="16"/>
                  </a:lnTo>
                  <a:lnTo>
                    <a:pt x="144" y="18"/>
                  </a:lnTo>
                  <a:lnTo>
                    <a:pt x="146" y="18"/>
                  </a:lnTo>
                  <a:lnTo>
                    <a:pt x="144" y="18"/>
                  </a:lnTo>
                  <a:lnTo>
                    <a:pt x="146" y="18"/>
                  </a:lnTo>
                  <a:lnTo>
                    <a:pt x="146" y="16"/>
                  </a:lnTo>
                  <a:lnTo>
                    <a:pt x="148" y="16"/>
                  </a:lnTo>
                  <a:lnTo>
                    <a:pt x="148" y="14"/>
                  </a:lnTo>
                  <a:lnTo>
                    <a:pt x="146" y="14"/>
                  </a:lnTo>
                  <a:lnTo>
                    <a:pt x="148" y="14"/>
                  </a:lnTo>
                  <a:lnTo>
                    <a:pt x="148" y="12"/>
                  </a:lnTo>
                  <a:lnTo>
                    <a:pt x="150" y="12"/>
                  </a:lnTo>
                  <a:close/>
                  <a:moveTo>
                    <a:pt x="134" y="26"/>
                  </a:moveTo>
                  <a:lnTo>
                    <a:pt x="134" y="28"/>
                  </a:lnTo>
                  <a:lnTo>
                    <a:pt x="134" y="26"/>
                  </a:lnTo>
                  <a:close/>
                  <a:moveTo>
                    <a:pt x="114" y="70"/>
                  </a:moveTo>
                  <a:lnTo>
                    <a:pt x="114" y="72"/>
                  </a:lnTo>
                  <a:lnTo>
                    <a:pt x="114" y="70"/>
                  </a:lnTo>
                  <a:lnTo>
                    <a:pt x="114" y="68"/>
                  </a:lnTo>
                  <a:lnTo>
                    <a:pt x="114" y="70"/>
                  </a:lnTo>
                  <a:close/>
                  <a:moveTo>
                    <a:pt x="116" y="74"/>
                  </a:moveTo>
                  <a:lnTo>
                    <a:pt x="116" y="76"/>
                  </a:lnTo>
                  <a:lnTo>
                    <a:pt x="116" y="74"/>
                  </a:lnTo>
                  <a:close/>
                  <a:moveTo>
                    <a:pt x="114" y="86"/>
                  </a:moveTo>
                  <a:lnTo>
                    <a:pt x="114" y="88"/>
                  </a:lnTo>
                  <a:lnTo>
                    <a:pt x="114" y="86"/>
                  </a:lnTo>
                  <a:close/>
                </a:path>
              </a:pathLst>
            </a:custGeom>
            <a:gradFill>
              <a:gsLst>
                <a:gs pos="58000">
                  <a:srgbClr val="EF9F4B"/>
                </a:gs>
                <a:gs pos="67000">
                  <a:schemeClr val="bg2">
                    <a:lumMod val="85000"/>
                  </a:schemeClr>
                </a:gs>
              </a:gsLst>
              <a:lin ang="1800000" scaled="0"/>
            </a:gradFill>
            <a:ln w="3175">
              <a:solidFill>
                <a:sysClr val="window" lastClr="FFFF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black"/>
                </a:solidFill>
                <a:effectLst/>
                <a:uLnTx/>
                <a:uFillTx/>
                <a:ea typeface="宋体" panose="02010600030101010101" pitchFamily="2" charset="-122"/>
              </a:endParaRPr>
            </a:p>
          </p:txBody>
        </p:sp>
        <p:sp>
          <p:nvSpPr>
            <p:cNvPr id="42" name="Freeform 3181">
              <a:extLst>
                <a:ext uri="{FF2B5EF4-FFF2-40B4-BE49-F238E27FC236}">
                  <a16:creationId xmlns:a16="http://schemas.microsoft.com/office/drawing/2014/main" id="{E6A6C7EF-37B7-98D8-FF58-380DCAE7F371}"/>
                </a:ext>
              </a:extLst>
            </p:cNvPr>
            <p:cNvSpPr>
              <a:spLocks/>
            </p:cNvSpPr>
            <p:nvPr/>
          </p:nvSpPr>
          <p:spPr bwMode="auto">
            <a:xfrm>
              <a:off x="6203950" y="2976563"/>
              <a:ext cx="387350" cy="257175"/>
            </a:xfrm>
            <a:custGeom>
              <a:avLst/>
              <a:gdLst>
                <a:gd name="T0" fmla="*/ 30 w 244"/>
                <a:gd name="T1" fmla="*/ 36 h 162"/>
                <a:gd name="T2" fmla="*/ 40 w 244"/>
                <a:gd name="T3" fmla="*/ 36 h 162"/>
                <a:gd name="T4" fmla="*/ 52 w 244"/>
                <a:gd name="T5" fmla="*/ 34 h 162"/>
                <a:gd name="T6" fmla="*/ 66 w 244"/>
                <a:gd name="T7" fmla="*/ 34 h 162"/>
                <a:gd name="T8" fmla="*/ 78 w 244"/>
                <a:gd name="T9" fmla="*/ 30 h 162"/>
                <a:gd name="T10" fmla="*/ 90 w 244"/>
                <a:gd name="T11" fmla="*/ 28 h 162"/>
                <a:gd name="T12" fmla="*/ 100 w 244"/>
                <a:gd name="T13" fmla="*/ 24 h 162"/>
                <a:gd name="T14" fmla="*/ 112 w 244"/>
                <a:gd name="T15" fmla="*/ 22 h 162"/>
                <a:gd name="T16" fmla="*/ 126 w 244"/>
                <a:gd name="T17" fmla="*/ 18 h 162"/>
                <a:gd name="T18" fmla="*/ 136 w 244"/>
                <a:gd name="T19" fmla="*/ 16 h 162"/>
                <a:gd name="T20" fmla="*/ 148 w 244"/>
                <a:gd name="T21" fmla="*/ 12 h 162"/>
                <a:gd name="T22" fmla="*/ 162 w 244"/>
                <a:gd name="T23" fmla="*/ 10 h 162"/>
                <a:gd name="T24" fmla="*/ 176 w 244"/>
                <a:gd name="T25" fmla="*/ 6 h 162"/>
                <a:gd name="T26" fmla="*/ 186 w 244"/>
                <a:gd name="T27" fmla="*/ 4 h 162"/>
                <a:gd name="T28" fmla="*/ 196 w 244"/>
                <a:gd name="T29" fmla="*/ 0 h 162"/>
                <a:gd name="T30" fmla="*/ 206 w 244"/>
                <a:gd name="T31" fmla="*/ 6 h 162"/>
                <a:gd name="T32" fmla="*/ 210 w 244"/>
                <a:gd name="T33" fmla="*/ 12 h 162"/>
                <a:gd name="T34" fmla="*/ 212 w 244"/>
                <a:gd name="T35" fmla="*/ 20 h 162"/>
                <a:gd name="T36" fmla="*/ 218 w 244"/>
                <a:gd name="T37" fmla="*/ 24 h 162"/>
                <a:gd name="T38" fmla="*/ 228 w 244"/>
                <a:gd name="T39" fmla="*/ 24 h 162"/>
                <a:gd name="T40" fmla="*/ 226 w 244"/>
                <a:gd name="T41" fmla="*/ 32 h 162"/>
                <a:gd name="T42" fmla="*/ 224 w 244"/>
                <a:gd name="T43" fmla="*/ 42 h 162"/>
                <a:gd name="T44" fmla="*/ 220 w 244"/>
                <a:gd name="T45" fmla="*/ 48 h 162"/>
                <a:gd name="T46" fmla="*/ 224 w 244"/>
                <a:gd name="T47" fmla="*/ 54 h 162"/>
                <a:gd name="T48" fmla="*/ 220 w 244"/>
                <a:gd name="T49" fmla="*/ 64 h 162"/>
                <a:gd name="T50" fmla="*/ 220 w 244"/>
                <a:gd name="T51" fmla="*/ 70 h 162"/>
                <a:gd name="T52" fmla="*/ 228 w 244"/>
                <a:gd name="T53" fmla="*/ 76 h 162"/>
                <a:gd name="T54" fmla="*/ 232 w 244"/>
                <a:gd name="T55" fmla="*/ 80 h 162"/>
                <a:gd name="T56" fmla="*/ 242 w 244"/>
                <a:gd name="T57" fmla="*/ 84 h 162"/>
                <a:gd name="T58" fmla="*/ 242 w 244"/>
                <a:gd name="T59" fmla="*/ 90 h 162"/>
                <a:gd name="T60" fmla="*/ 234 w 244"/>
                <a:gd name="T61" fmla="*/ 100 h 162"/>
                <a:gd name="T62" fmla="*/ 230 w 244"/>
                <a:gd name="T63" fmla="*/ 108 h 162"/>
                <a:gd name="T64" fmla="*/ 222 w 244"/>
                <a:gd name="T65" fmla="*/ 112 h 162"/>
                <a:gd name="T66" fmla="*/ 212 w 244"/>
                <a:gd name="T67" fmla="*/ 118 h 162"/>
                <a:gd name="T68" fmla="*/ 204 w 244"/>
                <a:gd name="T69" fmla="*/ 124 h 162"/>
                <a:gd name="T70" fmla="*/ 192 w 244"/>
                <a:gd name="T71" fmla="*/ 126 h 162"/>
                <a:gd name="T72" fmla="*/ 174 w 244"/>
                <a:gd name="T73" fmla="*/ 130 h 162"/>
                <a:gd name="T74" fmla="*/ 162 w 244"/>
                <a:gd name="T75" fmla="*/ 132 h 162"/>
                <a:gd name="T76" fmla="*/ 148 w 244"/>
                <a:gd name="T77" fmla="*/ 136 h 162"/>
                <a:gd name="T78" fmla="*/ 136 w 244"/>
                <a:gd name="T79" fmla="*/ 138 h 162"/>
                <a:gd name="T80" fmla="*/ 124 w 244"/>
                <a:gd name="T81" fmla="*/ 140 h 162"/>
                <a:gd name="T82" fmla="*/ 110 w 244"/>
                <a:gd name="T83" fmla="*/ 144 h 162"/>
                <a:gd name="T84" fmla="*/ 96 w 244"/>
                <a:gd name="T85" fmla="*/ 146 h 162"/>
                <a:gd name="T86" fmla="*/ 88 w 244"/>
                <a:gd name="T87" fmla="*/ 150 h 162"/>
                <a:gd name="T88" fmla="*/ 74 w 244"/>
                <a:gd name="T89" fmla="*/ 152 h 162"/>
                <a:gd name="T90" fmla="*/ 60 w 244"/>
                <a:gd name="T91" fmla="*/ 154 h 162"/>
                <a:gd name="T92" fmla="*/ 44 w 244"/>
                <a:gd name="T93" fmla="*/ 158 h 162"/>
                <a:gd name="T94" fmla="*/ 34 w 244"/>
                <a:gd name="T95" fmla="*/ 160 h 162"/>
                <a:gd name="T96" fmla="*/ 22 w 244"/>
                <a:gd name="T97" fmla="*/ 160 h 162"/>
                <a:gd name="T98" fmla="*/ 18 w 244"/>
                <a:gd name="T99" fmla="*/ 148 h 162"/>
                <a:gd name="T100" fmla="*/ 16 w 244"/>
                <a:gd name="T101" fmla="*/ 136 h 162"/>
                <a:gd name="T102" fmla="*/ 14 w 244"/>
                <a:gd name="T103" fmla="*/ 124 h 162"/>
                <a:gd name="T104" fmla="*/ 12 w 244"/>
                <a:gd name="T105" fmla="*/ 112 h 162"/>
                <a:gd name="T106" fmla="*/ 10 w 244"/>
                <a:gd name="T107" fmla="*/ 98 h 162"/>
                <a:gd name="T108" fmla="*/ 8 w 244"/>
                <a:gd name="T109" fmla="*/ 86 h 162"/>
                <a:gd name="T110" fmla="*/ 6 w 244"/>
                <a:gd name="T111" fmla="*/ 74 h 162"/>
                <a:gd name="T112" fmla="*/ 2 w 244"/>
                <a:gd name="T113" fmla="*/ 64 h 162"/>
                <a:gd name="T114" fmla="*/ 0 w 244"/>
                <a:gd name="T115" fmla="*/ 50 h 162"/>
                <a:gd name="T116" fmla="*/ 6 w 244"/>
                <a:gd name="T117" fmla="*/ 42 h 162"/>
                <a:gd name="T118" fmla="*/ 12 w 244"/>
                <a:gd name="T119" fmla="*/ 34 h 162"/>
                <a:gd name="T120" fmla="*/ 14 w 244"/>
                <a:gd name="T121" fmla="*/ 34 h 162"/>
                <a:gd name="T122" fmla="*/ 16 w 244"/>
                <a:gd name="T123" fmla="*/ 34 h 162"/>
                <a:gd name="T124" fmla="*/ 20 w 244"/>
                <a:gd name="T125" fmla="*/ 30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44" h="162">
                  <a:moveTo>
                    <a:pt x="26" y="26"/>
                  </a:moveTo>
                  <a:lnTo>
                    <a:pt x="28" y="28"/>
                  </a:lnTo>
                  <a:lnTo>
                    <a:pt x="28" y="30"/>
                  </a:lnTo>
                  <a:lnTo>
                    <a:pt x="28" y="32"/>
                  </a:lnTo>
                  <a:lnTo>
                    <a:pt x="28" y="34"/>
                  </a:lnTo>
                  <a:lnTo>
                    <a:pt x="28" y="34"/>
                  </a:lnTo>
                  <a:lnTo>
                    <a:pt x="30" y="36"/>
                  </a:lnTo>
                  <a:lnTo>
                    <a:pt x="30" y="38"/>
                  </a:lnTo>
                  <a:lnTo>
                    <a:pt x="32" y="38"/>
                  </a:lnTo>
                  <a:lnTo>
                    <a:pt x="34" y="38"/>
                  </a:lnTo>
                  <a:lnTo>
                    <a:pt x="36" y="38"/>
                  </a:lnTo>
                  <a:lnTo>
                    <a:pt x="38" y="38"/>
                  </a:lnTo>
                  <a:lnTo>
                    <a:pt x="38" y="36"/>
                  </a:lnTo>
                  <a:lnTo>
                    <a:pt x="40" y="36"/>
                  </a:lnTo>
                  <a:lnTo>
                    <a:pt x="40" y="36"/>
                  </a:lnTo>
                  <a:lnTo>
                    <a:pt x="42" y="36"/>
                  </a:lnTo>
                  <a:lnTo>
                    <a:pt x="44" y="36"/>
                  </a:lnTo>
                  <a:lnTo>
                    <a:pt x="46" y="34"/>
                  </a:lnTo>
                  <a:lnTo>
                    <a:pt x="48" y="34"/>
                  </a:lnTo>
                  <a:lnTo>
                    <a:pt x="50" y="34"/>
                  </a:lnTo>
                  <a:lnTo>
                    <a:pt x="52" y="34"/>
                  </a:lnTo>
                  <a:lnTo>
                    <a:pt x="54" y="34"/>
                  </a:lnTo>
                  <a:lnTo>
                    <a:pt x="56" y="34"/>
                  </a:lnTo>
                  <a:lnTo>
                    <a:pt x="58" y="34"/>
                  </a:lnTo>
                  <a:lnTo>
                    <a:pt x="60" y="34"/>
                  </a:lnTo>
                  <a:lnTo>
                    <a:pt x="62" y="34"/>
                  </a:lnTo>
                  <a:lnTo>
                    <a:pt x="64" y="34"/>
                  </a:lnTo>
                  <a:lnTo>
                    <a:pt x="66" y="34"/>
                  </a:lnTo>
                  <a:lnTo>
                    <a:pt x="66" y="32"/>
                  </a:lnTo>
                  <a:lnTo>
                    <a:pt x="68" y="32"/>
                  </a:lnTo>
                  <a:lnTo>
                    <a:pt x="70" y="32"/>
                  </a:lnTo>
                  <a:lnTo>
                    <a:pt x="72" y="32"/>
                  </a:lnTo>
                  <a:lnTo>
                    <a:pt x="74" y="32"/>
                  </a:lnTo>
                  <a:lnTo>
                    <a:pt x="76" y="30"/>
                  </a:lnTo>
                  <a:lnTo>
                    <a:pt x="78" y="30"/>
                  </a:lnTo>
                  <a:lnTo>
                    <a:pt x="80" y="30"/>
                  </a:lnTo>
                  <a:lnTo>
                    <a:pt x="82" y="30"/>
                  </a:lnTo>
                  <a:lnTo>
                    <a:pt x="84" y="28"/>
                  </a:lnTo>
                  <a:lnTo>
                    <a:pt x="86" y="28"/>
                  </a:lnTo>
                  <a:lnTo>
                    <a:pt x="88" y="28"/>
                  </a:lnTo>
                  <a:lnTo>
                    <a:pt x="88" y="28"/>
                  </a:lnTo>
                  <a:lnTo>
                    <a:pt x="90" y="28"/>
                  </a:lnTo>
                  <a:lnTo>
                    <a:pt x="90" y="26"/>
                  </a:lnTo>
                  <a:lnTo>
                    <a:pt x="92" y="26"/>
                  </a:lnTo>
                  <a:lnTo>
                    <a:pt x="94" y="26"/>
                  </a:lnTo>
                  <a:lnTo>
                    <a:pt x="96" y="26"/>
                  </a:lnTo>
                  <a:lnTo>
                    <a:pt x="98" y="26"/>
                  </a:lnTo>
                  <a:lnTo>
                    <a:pt x="100" y="26"/>
                  </a:lnTo>
                  <a:lnTo>
                    <a:pt x="100" y="24"/>
                  </a:lnTo>
                  <a:lnTo>
                    <a:pt x="102" y="24"/>
                  </a:lnTo>
                  <a:lnTo>
                    <a:pt x="104" y="24"/>
                  </a:lnTo>
                  <a:lnTo>
                    <a:pt x="106" y="24"/>
                  </a:lnTo>
                  <a:lnTo>
                    <a:pt x="108" y="24"/>
                  </a:lnTo>
                  <a:lnTo>
                    <a:pt x="108" y="22"/>
                  </a:lnTo>
                  <a:lnTo>
                    <a:pt x="110" y="22"/>
                  </a:lnTo>
                  <a:lnTo>
                    <a:pt x="112" y="22"/>
                  </a:lnTo>
                  <a:lnTo>
                    <a:pt x="114" y="22"/>
                  </a:lnTo>
                  <a:lnTo>
                    <a:pt x="116" y="22"/>
                  </a:lnTo>
                  <a:lnTo>
                    <a:pt x="120" y="20"/>
                  </a:lnTo>
                  <a:lnTo>
                    <a:pt x="122" y="20"/>
                  </a:lnTo>
                  <a:lnTo>
                    <a:pt x="124" y="20"/>
                  </a:lnTo>
                  <a:lnTo>
                    <a:pt x="126" y="20"/>
                  </a:lnTo>
                  <a:lnTo>
                    <a:pt x="126" y="18"/>
                  </a:lnTo>
                  <a:lnTo>
                    <a:pt x="128" y="18"/>
                  </a:lnTo>
                  <a:lnTo>
                    <a:pt x="130" y="18"/>
                  </a:lnTo>
                  <a:lnTo>
                    <a:pt x="132" y="18"/>
                  </a:lnTo>
                  <a:lnTo>
                    <a:pt x="134" y="18"/>
                  </a:lnTo>
                  <a:lnTo>
                    <a:pt x="134" y="16"/>
                  </a:lnTo>
                  <a:lnTo>
                    <a:pt x="136" y="16"/>
                  </a:lnTo>
                  <a:lnTo>
                    <a:pt x="136" y="16"/>
                  </a:lnTo>
                  <a:lnTo>
                    <a:pt x="138" y="16"/>
                  </a:lnTo>
                  <a:lnTo>
                    <a:pt x="140" y="16"/>
                  </a:lnTo>
                  <a:lnTo>
                    <a:pt x="142" y="14"/>
                  </a:lnTo>
                  <a:lnTo>
                    <a:pt x="144" y="14"/>
                  </a:lnTo>
                  <a:lnTo>
                    <a:pt x="146" y="14"/>
                  </a:lnTo>
                  <a:lnTo>
                    <a:pt x="148" y="14"/>
                  </a:lnTo>
                  <a:lnTo>
                    <a:pt x="148" y="12"/>
                  </a:lnTo>
                  <a:lnTo>
                    <a:pt x="150" y="12"/>
                  </a:lnTo>
                  <a:lnTo>
                    <a:pt x="152" y="12"/>
                  </a:lnTo>
                  <a:lnTo>
                    <a:pt x="154" y="12"/>
                  </a:lnTo>
                  <a:lnTo>
                    <a:pt x="156" y="12"/>
                  </a:lnTo>
                  <a:lnTo>
                    <a:pt x="158" y="12"/>
                  </a:lnTo>
                  <a:lnTo>
                    <a:pt x="158" y="10"/>
                  </a:lnTo>
                  <a:lnTo>
                    <a:pt x="162" y="10"/>
                  </a:lnTo>
                  <a:lnTo>
                    <a:pt x="164" y="10"/>
                  </a:lnTo>
                  <a:lnTo>
                    <a:pt x="166" y="8"/>
                  </a:lnTo>
                  <a:lnTo>
                    <a:pt x="168" y="8"/>
                  </a:lnTo>
                  <a:lnTo>
                    <a:pt x="170" y="8"/>
                  </a:lnTo>
                  <a:lnTo>
                    <a:pt x="172" y="8"/>
                  </a:lnTo>
                  <a:lnTo>
                    <a:pt x="174" y="6"/>
                  </a:lnTo>
                  <a:lnTo>
                    <a:pt x="176" y="6"/>
                  </a:lnTo>
                  <a:lnTo>
                    <a:pt x="178" y="6"/>
                  </a:lnTo>
                  <a:lnTo>
                    <a:pt x="180" y="6"/>
                  </a:lnTo>
                  <a:lnTo>
                    <a:pt x="182" y="6"/>
                  </a:lnTo>
                  <a:lnTo>
                    <a:pt x="182" y="4"/>
                  </a:lnTo>
                  <a:lnTo>
                    <a:pt x="184" y="4"/>
                  </a:lnTo>
                  <a:lnTo>
                    <a:pt x="184" y="4"/>
                  </a:lnTo>
                  <a:lnTo>
                    <a:pt x="186" y="4"/>
                  </a:lnTo>
                  <a:lnTo>
                    <a:pt x="186" y="2"/>
                  </a:lnTo>
                  <a:lnTo>
                    <a:pt x="188" y="2"/>
                  </a:lnTo>
                  <a:lnTo>
                    <a:pt x="190" y="2"/>
                  </a:lnTo>
                  <a:lnTo>
                    <a:pt x="192" y="2"/>
                  </a:lnTo>
                  <a:lnTo>
                    <a:pt x="194" y="2"/>
                  </a:lnTo>
                  <a:lnTo>
                    <a:pt x="194" y="0"/>
                  </a:lnTo>
                  <a:lnTo>
                    <a:pt x="196" y="0"/>
                  </a:lnTo>
                  <a:lnTo>
                    <a:pt x="196" y="2"/>
                  </a:lnTo>
                  <a:lnTo>
                    <a:pt x="198" y="2"/>
                  </a:lnTo>
                  <a:lnTo>
                    <a:pt x="200" y="4"/>
                  </a:lnTo>
                  <a:lnTo>
                    <a:pt x="200" y="6"/>
                  </a:lnTo>
                  <a:lnTo>
                    <a:pt x="202" y="6"/>
                  </a:lnTo>
                  <a:lnTo>
                    <a:pt x="204" y="6"/>
                  </a:lnTo>
                  <a:lnTo>
                    <a:pt x="206" y="6"/>
                  </a:lnTo>
                  <a:lnTo>
                    <a:pt x="208" y="6"/>
                  </a:lnTo>
                  <a:lnTo>
                    <a:pt x="208" y="8"/>
                  </a:lnTo>
                  <a:lnTo>
                    <a:pt x="210" y="8"/>
                  </a:lnTo>
                  <a:lnTo>
                    <a:pt x="208" y="8"/>
                  </a:lnTo>
                  <a:lnTo>
                    <a:pt x="208" y="10"/>
                  </a:lnTo>
                  <a:lnTo>
                    <a:pt x="210" y="10"/>
                  </a:lnTo>
                  <a:lnTo>
                    <a:pt x="210" y="12"/>
                  </a:lnTo>
                  <a:lnTo>
                    <a:pt x="212" y="12"/>
                  </a:lnTo>
                  <a:lnTo>
                    <a:pt x="210" y="12"/>
                  </a:lnTo>
                  <a:lnTo>
                    <a:pt x="210" y="14"/>
                  </a:lnTo>
                  <a:lnTo>
                    <a:pt x="212" y="14"/>
                  </a:lnTo>
                  <a:lnTo>
                    <a:pt x="212" y="16"/>
                  </a:lnTo>
                  <a:lnTo>
                    <a:pt x="212" y="18"/>
                  </a:lnTo>
                  <a:lnTo>
                    <a:pt x="212" y="20"/>
                  </a:lnTo>
                  <a:lnTo>
                    <a:pt x="214" y="20"/>
                  </a:lnTo>
                  <a:lnTo>
                    <a:pt x="216" y="20"/>
                  </a:lnTo>
                  <a:lnTo>
                    <a:pt x="216" y="22"/>
                  </a:lnTo>
                  <a:lnTo>
                    <a:pt x="214" y="22"/>
                  </a:lnTo>
                  <a:lnTo>
                    <a:pt x="216" y="22"/>
                  </a:lnTo>
                  <a:lnTo>
                    <a:pt x="218" y="22"/>
                  </a:lnTo>
                  <a:lnTo>
                    <a:pt x="218" y="24"/>
                  </a:lnTo>
                  <a:lnTo>
                    <a:pt x="220" y="24"/>
                  </a:lnTo>
                  <a:lnTo>
                    <a:pt x="222" y="24"/>
                  </a:lnTo>
                  <a:lnTo>
                    <a:pt x="222" y="26"/>
                  </a:lnTo>
                  <a:lnTo>
                    <a:pt x="222" y="24"/>
                  </a:lnTo>
                  <a:lnTo>
                    <a:pt x="224" y="24"/>
                  </a:lnTo>
                  <a:lnTo>
                    <a:pt x="226" y="24"/>
                  </a:lnTo>
                  <a:lnTo>
                    <a:pt x="228" y="24"/>
                  </a:lnTo>
                  <a:lnTo>
                    <a:pt x="228" y="26"/>
                  </a:lnTo>
                  <a:lnTo>
                    <a:pt x="230" y="26"/>
                  </a:lnTo>
                  <a:lnTo>
                    <a:pt x="230" y="28"/>
                  </a:lnTo>
                  <a:lnTo>
                    <a:pt x="228" y="28"/>
                  </a:lnTo>
                  <a:lnTo>
                    <a:pt x="228" y="30"/>
                  </a:lnTo>
                  <a:lnTo>
                    <a:pt x="228" y="32"/>
                  </a:lnTo>
                  <a:lnTo>
                    <a:pt x="226" y="32"/>
                  </a:lnTo>
                  <a:lnTo>
                    <a:pt x="226" y="34"/>
                  </a:lnTo>
                  <a:lnTo>
                    <a:pt x="226" y="34"/>
                  </a:lnTo>
                  <a:lnTo>
                    <a:pt x="226" y="36"/>
                  </a:lnTo>
                  <a:lnTo>
                    <a:pt x="226" y="38"/>
                  </a:lnTo>
                  <a:lnTo>
                    <a:pt x="224" y="38"/>
                  </a:lnTo>
                  <a:lnTo>
                    <a:pt x="224" y="40"/>
                  </a:lnTo>
                  <a:lnTo>
                    <a:pt x="224" y="42"/>
                  </a:lnTo>
                  <a:lnTo>
                    <a:pt x="222" y="42"/>
                  </a:lnTo>
                  <a:lnTo>
                    <a:pt x="224" y="42"/>
                  </a:lnTo>
                  <a:lnTo>
                    <a:pt x="224" y="44"/>
                  </a:lnTo>
                  <a:lnTo>
                    <a:pt x="222" y="44"/>
                  </a:lnTo>
                  <a:lnTo>
                    <a:pt x="222" y="46"/>
                  </a:lnTo>
                  <a:lnTo>
                    <a:pt x="220" y="46"/>
                  </a:lnTo>
                  <a:lnTo>
                    <a:pt x="220" y="48"/>
                  </a:lnTo>
                  <a:lnTo>
                    <a:pt x="218" y="48"/>
                  </a:lnTo>
                  <a:lnTo>
                    <a:pt x="218" y="50"/>
                  </a:lnTo>
                  <a:lnTo>
                    <a:pt x="220" y="50"/>
                  </a:lnTo>
                  <a:lnTo>
                    <a:pt x="220" y="52"/>
                  </a:lnTo>
                  <a:lnTo>
                    <a:pt x="222" y="52"/>
                  </a:lnTo>
                  <a:lnTo>
                    <a:pt x="222" y="54"/>
                  </a:lnTo>
                  <a:lnTo>
                    <a:pt x="224" y="54"/>
                  </a:lnTo>
                  <a:lnTo>
                    <a:pt x="224" y="56"/>
                  </a:lnTo>
                  <a:lnTo>
                    <a:pt x="222" y="56"/>
                  </a:lnTo>
                  <a:lnTo>
                    <a:pt x="222" y="58"/>
                  </a:lnTo>
                  <a:lnTo>
                    <a:pt x="222" y="60"/>
                  </a:lnTo>
                  <a:lnTo>
                    <a:pt x="220" y="60"/>
                  </a:lnTo>
                  <a:lnTo>
                    <a:pt x="220" y="62"/>
                  </a:lnTo>
                  <a:lnTo>
                    <a:pt x="220" y="64"/>
                  </a:lnTo>
                  <a:lnTo>
                    <a:pt x="220" y="66"/>
                  </a:lnTo>
                  <a:lnTo>
                    <a:pt x="222" y="66"/>
                  </a:lnTo>
                  <a:lnTo>
                    <a:pt x="220" y="66"/>
                  </a:lnTo>
                  <a:lnTo>
                    <a:pt x="220" y="68"/>
                  </a:lnTo>
                  <a:lnTo>
                    <a:pt x="222" y="68"/>
                  </a:lnTo>
                  <a:lnTo>
                    <a:pt x="222" y="70"/>
                  </a:lnTo>
                  <a:lnTo>
                    <a:pt x="220" y="70"/>
                  </a:lnTo>
                  <a:lnTo>
                    <a:pt x="222" y="70"/>
                  </a:lnTo>
                  <a:lnTo>
                    <a:pt x="222" y="72"/>
                  </a:lnTo>
                  <a:lnTo>
                    <a:pt x="224" y="72"/>
                  </a:lnTo>
                  <a:lnTo>
                    <a:pt x="226" y="72"/>
                  </a:lnTo>
                  <a:lnTo>
                    <a:pt x="228" y="72"/>
                  </a:lnTo>
                  <a:lnTo>
                    <a:pt x="228" y="74"/>
                  </a:lnTo>
                  <a:lnTo>
                    <a:pt x="228" y="76"/>
                  </a:lnTo>
                  <a:lnTo>
                    <a:pt x="228" y="78"/>
                  </a:lnTo>
                  <a:lnTo>
                    <a:pt x="230" y="78"/>
                  </a:lnTo>
                  <a:lnTo>
                    <a:pt x="230" y="80"/>
                  </a:lnTo>
                  <a:lnTo>
                    <a:pt x="232" y="80"/>
                  </a:lnTo>
                  <a:lnTo>
                    <a:pt x="232" y="78"/>
                  </a:lnTo>
                  <a:lnTo>
                    <a:pt x="232" y="78"/>
                  </a:lnTo>
                  <a:lnTo>
                    <a:pt x="232" y="80"/>
                  </a:lnTo>
                  <a:lnTo>
                    <a:pt x="234" y="82"/>
                  </a:lnTo>
                  <a:lnTo>
                    <a:pt x="236" y="82"/>
                  </a:lnTo>
                  <a:lnTo>
                    <a:pt x="236" y="82"/>
                  </a:lnTo>
                  <a:lnTo>
                    <a:pt x="238" y="82"/>
                  </a:lnTo>
                  <a:lnTo>
                    <a:pt x="238" y="84"/>
                  </a:lnTo>
                  <a:lnTo>
                    <a:pt x="240" y="84"/>
                  </a:lnTo>
                  <a:lnTo>
                    <a:pt x="242" y="84"/>
                  </a:lnTo>
                  <a:lnTo>
                    <a:pt x="242" y="86"/>
                  </a:lnTo>
                  <a:lnTo>
                    <a:pt x="244" y="86"/>
                  </a:lnTo>
                  <a:lnTo>
                    <a:pt x="244" y="88"/>
                  </a:lnTo>
                  <a:lnTo>
                    <a:pt x="244" y="90"/>
                  </a:lnTo>
                  <a:lnTo>
                    <a:pt x="242" y="90"/>
                  </a:lnTo>
                  <a:lnTo>
                    <a:pt x="240" y="90"/>
                  </a:lnTo>
                  <a:lnTo>
                    <a:pt x="242" y="90"/>
                  </a:lnTo>
                  <a:lnTo>
                    <a:pt x="240" y="92"/>
                  </a:lnTo>
                  <a:lnTo>
                    <a:pt x="238" y="94"/>
                  </a:lnTo>
                  <a:lnTo>
                    <a:pt x="236" y="94"/>
                  </a:lnTo>
                  <a:lnTo>
                    <a:pt x="236" y="96"/>
                  </a:lnTo>
                  <a:lnTo>
                    <a:pt x="236" y="98"/>
                  </a:lnTo>
                  <a:lnTo>
                    <a:pt x="234" y="98"/>
                  </a:lnTo>
                  <a:lnTo>
                    <a:pt x="234" y="100"/>
                  </a:lnTo>
                  <a:lnTo>
                    <a:pt x="232" y="100"/>
                  </a:lnTo>
                  <a:lnTo>
                    <a:pt x="232" y="102"/>
                  </a:lnTo>
                  <a:lnTo>
                    <a:pt x="232" y="104"/>
                  </a:lnTo>
                  <a:lnTo>
                    <a:pt x="232" y="106"/>
                  </a:lnTo>
                  <a:lnTo>
                    <a:pt x="232" y="106"/>
                  </a:lnTo>
                  <a:lnTo>
                    <a:pt x="232" y="108"/>
                  </a:lnTo>
                  <a:lnTo>
                    <a:pt x="230" y="108"/>
                  </a:lnTo>
                  <a:lnTo>
                    <a:pt x="228" y="110"/>
                  </a:lnTo>
                  <a:lnTo>
                    <a:pt x="226" y="110"/>
                  </a:lnTo>
                  <a:lnTo>
                    <a:pt x="226" y="112"/>
                  </a:lnTo>
                  <a:lnTo>
                    <a:pt x="224" y="112"/>
                  </a:lnTo>
                  <a:lnTo>
                    <a:pt x="224" y="114"/>
                  </a:lnTo>
                  <a:lnTo>
                    <a:pt x="224" y="112"/>
                  </a:lnTo>
                  <a:lnTo>
                    <a:pt x="222" y="112"/>
                  </a:lnTo>
                  <a:lnTo>
                    <a:pt x="220" y="112"/>
                  </a:lnTo>
                  <a:lnTo>
                    <a:pt x="218" y="112"/>
                  </a:lnTo>
                  <a:lnTo>
                    <a:pt x="216" y="112"/>
                  </a:lnTo>
                  <a:lnTo>
                    <a:pt x="216" y="114"/>
                  </a:lnTo>
                  <a:lnTo>
                    <a:pt x="214" y="114"/>
                  </a:lnTo>
                  <a:lnTo>
                    <a:pt x="212" y="116"/>
                  </a:lnTo>
                  <a:lnTo>
                    <a:pt x="212" y="118"/>
                  </a:lnTo>
                  <a:lnTo>
                    <a:pt x="210" y="118"/>
                  </a:lnTo>
                  <a:lnTo>
                    <a:pt x="210" y="120"/>
                  </a:lnTo>
                  <a:lnTo>
                    <a:pt x="210" y="122"/>
                  </a:lnTo>
                  <a:lnTo>
                    <a:pt x="208" y="122"/>
                  </a:lnTo>
                  <a:lnTo>
                    <a:pt x="206" y="122"/>
                  </a:lnTo>
                  <a:lnTo>
                    <a:pt x="204" y="122"/>
                  </a:lnTo>
                  <a:lnTo>
                    <a:pt x="204" y="124"/>
                  </a:lnTo>
                  <a:lnTo>
                    <a:pt x="202" y="124"/>
                  </a:lnTo>
                  <a:lnTo>
                    <a:pt x="200" y="124"/>
                  </a:lnTo>
                  <a:lnTo>
                    <a:pt x="198" y="124"/>
                  </a:lnTo>
                  <a:lnTo>
                    <a:pt x="196" y="124"/>
                  </a:lnTo>
                  <a:lnTo>
                    <a:pt x="196" y="126"/>
                  </a:lnTo>
                  <a:lnTo>
                    <a:pt x="194" y="126"/>
                  </a:lnTo>
                  <a:lnTo>
                    <a:pt x="192" y="126"/>
                  </a:lnTo>
                  <a:lnTo>
                    <a:pt x="190" y="126"/>
                  </a:lnTo>
                  <a:lnTo>
                    <a:pt x="184" y="128"/>
                  </a:lnTo>
                  <a:lnTo>
                    <a:pt x="182" y="130"/>
                  </a:lnTo>
                  <a:lnTo>
                    <a:pt x="180" y="130"/>
                  </a:lnTo>
                  <a:lnTo>
                    <a:pt x="178" y="130"/>
                  </a:lnTo>
                  <a:lnTo>
                    <a:pt x="176" y="130"/>
                  </a:lnTo>
                  <a:lnTo>
                    <a:pt x="174" y="130"/>
                  </a:lnTo>
                  <a:lnTo>
                    <a:pt x="174" y="130"/>
                  </a:lnTo>
                  <a:lnTo>
                    <a:pt x="172" y="130"/>
                  </a:lnTo>
                  <a:lnTo>
                    <a:pt x="170" y="130"/>
                  </a:lnTo>
                  <a:lnTo>
                    <a:pt x="168" y="130"/>
                  </a:lnTo>
                  <a:lnTo>
                    <a:pt x="166" y="130"/>
                  </a:lnTo>
                  <a:lnTo>
                    <a:pt x="164" y="132"/>
                  </a:lnTo>
                  <a:lnTo>
                    <a:pt x="162" y="132"/>
                  </a:lnTo>
                  <a:lnTo>
                    <a:pt x="160" y="132"/>
                  </a:lnTo>
                  <a:lnTo>
                    <a:pt x="158" y="132"/>
                  </a:lnTo>
                  <a:lnTo>
                    <a:pt x="156" y="134"/>
                  </a:lnTo>
                  <a:lnTo>
                    <a:pt x="154" y="134"/>
                  </a:lnTo>
                  <a:lnTo>
                    <a:pt x="152" y="134"/>
                  </a:lnTo>
                  <a:lnTo>
                    <a:pt x="150" y="134"/>
                  </a:lnTo>
                  <a:lnTo>
                    <a:pt x="148" y="136"/>
                  </a:lnTo>
                  <a:lnTo>
                    <a:pt x="146" y="136"/>
                  </a:lnTo>
                  <a:lnTo>
                    <a:pt x="142" y="136"/>
                  </a:lnTo>
                  <a:lnTo>
                    <a:pt x="140" y="136"/>
                  </a:lnTo>
                  <a:lnTo>
                    <a:pt x="140" y="138"/>
                  </a:lnTo>
                  <a:lnTo>
                    <a:pt x="138" y="138"/>
                  </a:lnTo>
                  <a:lnTo>
                    <a:pt x="136" y="138"/>
                  </a:lnTo>
                  <a:lnTo>
                    <a:pt x="136" y="138"/>
                  </a:lnTo>
                  <a:lnTo>
                    <a:pt x="134" y="138"/>
                  </a:lnTo>
                  <a:lnTo>
                    <a:pt x="132" y="138"/>
                  </a:lnTo>
                  <a:lnTo>
                    <a:pt x="132" y="140"/>
                  </a:lnTo>
                  <a:lnTo>
                    <a:pt x="130" y="140"/>
                  </a:lnTo>
                  <a:lnTo>
                    <a:pt x="128" y="140"/>
                  </a:lnTo>
                  <a:lnTo>
                    <a:pt x="126" y="140"/>
                  </a:lnTo>
                  <a:lnTo>
                    <a:pt x="124" y="140"/>
                  </a:lnTo>
                  <a:lnTo>
                    <a:pt x="122" y="142"/>
                  </a:lnTo>
                  <a:lnTo>
                    <a:pt x="120" y="142"/>
                  </a:lnTo>
                  <a:lnTo>
                    <a:pt x="118" y="142"/>
                  </a:lnTo>
                  <a:lnTo>
                    <a:pt x="116" y="142"/>
                  </a:lnTo>
                  <a:lnTo>
                    <a:pt x="114" y="144"/>
                  </a:lnTo>
                  <a:lnTo>
                    <a:pt x="112" y="144"/>
                  </a:lnTo>
                  <a:lnTo>
                    <a:pt x="110" y="144"/>
                  </a:lnTo>
                  <a:lnTo>
                    <a:pt x="108" y="144"/>
                  </a:lnTo>
                  <a:lnTo>
                    <a:pt x="106" y="144"/>
                  </a:lnTo>
                  <a:lnTo>
                    <a:pt x="104" y="146"/>
                  </a:lnTo>
                  <a:lnTo>
                    <a:pt x="102" y="146"/>
                  </a:lnTo>
                  <a:lnTo>
                    <a:pt x="100" y="146"/>
                  </a:lnTo>
                  <a:lnTo>
                    <a:pt x="98" y="146"/>
                  </a:lnTo>
                  <a:lnTo>
                    <a:pt x="96" y="146"/>
                  </a:lnTo>
                  <a:lnTo>
                    <a:pt x="96" y="148"/>
                  </a:lnTo>
                  <a:lnTo>
                    <a:pt x="94" y="148"/>
                  </a:lnTo>
                  <a:lnTo>
                    <a:pt x="92" y="148"/>
                  </a:lnTo>
                  <a:lnTo>
                    <a:pt x="90" y="148"/>
                  </a:lnTo>
                  <a:lnTo>
                    <a:pt x="88" y="148"/>
                  </a:lnTo>
                  <a:lnTo>
                    <a:pt x="88" y="148"/>
                  </a:lnTo>
                  <a:lnTo>
                    <a:pt x="88" y="150"/>
                  </a:lnTo>
                  <a:lnTo>
                    <a:pt x="86" y="150"/>
                  </a:lnTo>
                  <a:lnTo>
                    <a:pt x="84" y="150"/>
                  </a:lnTo>
                  <a:lnTo>
                    <a:pt x="82" y="150"/>
                  </a:lnTo>
                  <a:lnTo>
                    <a:pt x="80" y="150"/>
                  </a:lnTo>
                  <a:lnTo>
                    <a:pt x="78" y="152"/>
                  </a:lnTo>
                  <a:lnTo>
                    <a:pt x="76" y="152"/>
                  </a:lnTo>
                  <a:lnTo>
                    <a:pt x="74" y="152"/>
                  </a:lnTo>
                  <a:lnTo>
                    <a:pt x="70" y="152"/>
                  </a:lnTo>
                  <a:lnTo>
                    <a:pt x="68" y="152"/>
                  </a:lnTo>
                  <a:lnTo>
                    <a:pt x="68" y="154"/>
                  </a:lnTo>
                  <a:lnTo>
                    <a:pt x="66" y="154"/>
                  </a:lnTo>
                  <a:lnTo>
                    <a:pt x="64" y="154"/>
                  </a:lnTo>
                  <a:lnTo>
                    <a:pt x="62" y="154"/>
                  </a:lnTo>
                  <a:lnTo>
                    <a:pt x="60" y="154"/>
                  </a:lnTo>
                  <a:lnTo>
                    <a:pt x="58" y="156"/>
                  </a:lnTo>
                  <a:lnTo>
                    <a:pt x="56" y="156"/>
                  </a:lnTo>
                  <a:lnTo>
                    <a:pt x="54" y="156"/>
                  </a:lnTo>
                  <a:lnTo>
                    <a:pt x="52" y="156"/>
                  </a:lnTo>
                  <a:lnTo>
                    <a:pt x="48" y="158"/>
                  </a:lnTo>
                  <a:lnTo>
                    <a:pt x="46" y="158"/>
                  </a:lnTo>
                  <a:lnTo>
                    <a:pt x="44" y="158"/>
                  </a:lnTo>
                  <a:lnTo>
                    <a:pt x="42" y="158"/>
                  </a:lnTo>
                  <a:lnTo>
                    <a:pt x="40" y="158"/>
                  </a:lnTo>
                  <a:lnTo>
                    <a:pt x="40" y="158"/>
                  </a:lnTo>
                  <a:lnTo>
                    <a:pt x="40" y="160"/>
                  </a:lnTo>
                  <a:lnTo>
                    <a:pt x="38" y="160"/>
                  </a:lnTo>
                  <a:lnTo>
                    <a:pt x="36" y="160"/>
                  </a:lnTo>
                  <a:lnTo>
                    <a:pt x="34" y="160"/>
                  </a:lnTo>
                  <a:lnTo>
                    <a:pt x="32" y="160"/>
                  </a:lnTo>
                  <a:lnTo>
                    <a:pt x="30" y="160"/>
                  </a:lnTo>
                  <a:lnTo>
                    <a:pt x="28" y="162"/>
                  </a:lnTo>
                  <a:lnTo>
                    <a:pt x="26" y="162"/>
                  </a:lnTo>
                  <a:lnTo>
                    <a:pt x="24" y="162"/>
                  </a:lnTo>
                  <a:lnTo>
                    <a:pt x="22" y="162"/>
                  </a:lnTo>
                  <a:lnTo>
                    <a:pt x="22" y="160"/>
                  </a:lnTo>
                  <a:lnTo>
                    <a:pt x="20" y="158"/>
                  </a:lnTo>
                  <a:lnTo>
                    <a:pt x="20" y="156"/>
                  </a:lnTo>
                  <a:lnTo>
                    <a:pt x="20" y="154"/>
                  </a:lnTo>
                  <a:lnTo>
                    <a:pt x="20" y="152"/>
                  </a:lnTo>
                  <a:lnTo>
                    <a:pt x="20" y="150"/>
                  </a:lnTo>
                  <a:lnTo>
                    <a:pt x="20" y="148"/>
                  </a:lnTo>
                  <a:lnTo>
                    <a:pt x="18" y="148"/>
                  </a:lnTo>
                  <a:lnTo>
                    <a:pt x="18" y="146"/>
                  </a:lnTo>
                  <a:lnTo>
                    <a:pt x="18" y="144"/>
                  </a:lnTo>
                  <a:lnTo>
                    <a:pt x="18" y="142"/>
                  </a:lnTo>
                  <a:lnTo>
                    <a:pt x="18" y="140"/>
                  </a:lnTo>
                  <a:lnTo>
                    <a:pt x="18" y="138"/>
                  </a:lnTo>
                  <a:lnTo>
                    <a:pt x="18" y="136"/>
                  </a:lnTo>
                  <a:lnTo>
                    <a:pt x="16" y="136"/>
                  </a:lnTo>
                  <a:lnTo>
                    <a:pt x="16" y="134"/>
                  </a:lnTo>
                  <a:lnTo>
                    <a:pt x="16" y="132"/>
                  </a:lnTo>
                  <a:lnTo>
                    <a:pt x="16" y="130"/>
                  </a:lnTo>
                  <a:lnTo>
                    <a:pt x="16" y="128"/>
                  </a:lnTo>
                  <a:lnTo>
                    <a:pt x="14" y="128"/>
                  </a:lnTo>
                  <a:lnTo>
                    <a:pt x="14" y="126"/>
                  </a:lnTo>
                  <a:lnTo>
                    <a:pt x="14" y="124"/>
                  </a:lnTo>
                  <a:lnTo>
                    <a:pt x="14" y="122"/>
                  </a:lnTo>
                  <a:lnTo>
                    <a:pt x="14" y="120"/>
                  </a:lnTo>
                  <a:lnTo>
                    <a:pt x="14" y="118"/>
                  </a:lnTo>
                  <a:lnTo>
                    <a:pt x="14" y="116"/>
                  </a:lnTo>
                  <a:lnTo>
                    <a:pt x="12" y="116"/>
                  </a:lnTo>
                  <a:lnTo>
                    <a:pt x="12" y="114"/>
                  </a:lnTo>
                  <a:lnTo>
                    <a:pt x="12" y="112"/>
                  </a:lnTo>
                  <a:lnTo>
                    <a:pt x="12" y="110"/>
                  </a:lnTo>
                  <a:lnTo>
                    <a:pt x="12" y="108"/>
                  </a:lnTo>
                  <a:lnTo>
                    <a:pt x="12" y="106"/>
                  </a:lnTo>
                  <a:lnTo>
                    <a:pt x="10" y="104"/>
                  </a:lnTo>
                  <a:lnTo>
                    <a:pt x="10" y="102"/>
                  </a:lnTo>
                  <a:lnTo>
                    <a:pt x="10" y="100"/>
                  </a:lnTo>
                  <a:lnTo>
                    <a:pt x="10" y="98"/>
                  </a:lnTo>
                  <a:lnTo>
                    <a:pt x="10" y="96"/>
                  </a:lnTo>
                  <a:lnTo>
                    <a:pt x="10" y="94"/>
                  </a:lnTo>
                  <a:lnTo>
                    <a:pt x="8" y="94"/>
                  </a:lnTo>
                  <a:lnTo>
                    <a:pt x="8" y="92"/>
                  </a:lnTo>
                  <a:lnTo>
                    <a:pt x="8" y="90"/>
                  </a:lnTo>
                  <a:lnTo>
                    <a:pt x="8" y="88"/>
                  </a:lnTo>
                  <a:lnTo>
                    <a:pt x="8" y="86"/>
                  </a:lnTo>
                  <a:lnTo>
                    <a:pt x="8" y="84"/>
                  </a:lnTo>
                  <a:lnTo>
                    <a:pt x="6" y="82"/>
                  </a:lnTo>
                  <a:lnTo>
                    <a:pt x="6" y="82"/>
                  </a:lnTo>
                  <a:lnTo>
                    <a:pt x="6" y="80"/>
                  </a:lnTo>
                  <a:lnTo>
                    <a:pt x="6" y="78"/>
                  </a:lnTo>
                  <a:lnTo>
                    <a:pt x="6" y="76"/>
                  </a:lnTo>
                  <a:lnTo>
                    <a:pt x="6" y="74"/>
                  </a:lnTo>
                  <a:lnTo>
                    <a:pt x="4" y="74"/>
                  </a:lnTo>
                  <a:lnTo>
                    <a:pt x="4" y="72"/>
                  </a:lnTo>
                  <a:lnTo>
                    <a:pt x="4" y="70"/>
                  </a:lnTo>
                  <a:lnTo>
                    <a:pt x="4" y="68"/>
                  </a:lnTo>
                  <a:lnTo>
                    <a:pt x="4" y="66"/>
                  </a:lnTo>
                  <a:lnTo>
                    <a:pt x="4" y="64"/>
                  </a:lnTo>
                  <a:lnTo>
                    <a:pt x="2" y="64"/>
                  </a:lnTo>
                  <a:lnTo>
                    <a:pt x="2" y="60"/>
                  </a:lnTo>
                  <a:lnTo>
                    <a:pt x="2" y="58"/>
                  </a:lnTo>
                  <a:lnTo>
                    <a:pt x="2" y="56"/>
                  </a:lnTo>
                  <a:lnTo>
                    <a:pt x="2" y="54"/>
                  </a:lnTo>
                  <a:lnTo>
                    <a:pt x="2" y="52"/>
                  </a:lnTo>
                  <a:lnTo>
                    <a:pt x="0" y="52"/>
                  </a:lnTo>
                  <a:lnTo>
                    <a:pt x="0" y="50"/>
                  </a:lnTo>
                  <a:lnTo>
                    <a:pt x="0" y="48"/>
                  </a:lnTo>
                  <a:lnTo>
                    <a:pt x="0" y="46"/>
                  </a:lnTo>
                  <a:lnTo>
                    <a:pt x="0" y="44"/>
                  </a:lnTo>
                  <a:lnTo>
                    <a:pt x="2" y="44"/>
                  </a:lnTo>
                  <a:lnTo>
                    <a:pt x="4" y="44"/>
                  </a:lnTo>
                  <a:lnTo>
                    <a:pt x="4" y="42"/>
                  </a:lnTo>
                  <a:lnTo>
                    <a:pt x="6" y="42"/>
                  </a:lnTo>
                  <a:lnTo>
                    <a:pt x="6" y="40"/>
                  </a:lnTo>
                  <a:lnTo>
                    <a:pt x="8" y="40"/>
                  </a:lnTo>
                  <a:lnTo>
                    <a:pt x="8" y="38"/>
                  </a:lnTo>
                  <a:lnTo>
                    <a:pt x="10" y="38"/>
                  </a:lnTo>
                  <a:lnTo>
                    <a:pt x="12" y="38"/>
                  </a:lnTo>
                  <a:lnTo>
                    <a:pt x="12" y="36"/>
                  </a:lnTo>
                  <a:lnTo>
                    <a:pt x="12" y="34"/>
                  </a:lnTo>
                  <a:lnTo>
                    <a:pt x="14" y="34"/>
                  </a:lnTo>
                  <a:lnTo>
                    <a:pt x="14" y="34"/>
                  </a:lnTo>
                  <a:lnTo>
                    <a:pt x="16" y="34"/>
                  </a:lnTo>
                  <a:lnTo>
                    <a:pt x="14" y="34"/>
                  </a:lnTo>
                  <a:lnTo>
                    <a:pt x="16" y="34"/>
                  </a:lnTo>
                  <a:lnTo>
                    <a:pt x="14" y="34"/>
                  </a:lnTo>
                  <a:lnTo>
                    <a:pt x="14" y="34"/>
                  </a:lnTo>
                  <a:lnTo>
                    <a:pt x="14" y="36"/>
                  </a:lnTo>
                  <a:lnTo>
                    <a:pt x="12" y="36"/>
                  </a:lnTo>
                  <a:lnTo>
                    <a:pt x="14" y="36"/>
                  </a:lnTo>
                  <a:lnTo>
                    <a:pt x="14" y="34"/>
                  </a:lnTo>
                  <a:lnTo>
                    <a:pt x="16" y="34"/>
                  </a:lnTo>
                  <a:lnTo>
                    <a:pt x="14" y="34"/>
                  </a:lnTo>
                  <a:lnTo>
                    <a:pt x="16" y="34"/>
                  </a:lnTo>
                  <a:lnTo>
                    <a:pt x="16" y="34"/>
                  </a:lnTo>
                  <a:lnTo>
                    <a:pt x="18" y="34"/>
                  </a:lnTo>
                  <a:lnTo>
                    <a:pt x="18" y="32"/>
                  </a:lnTo>
                  <a:lnTo>
                    <a:pt x="20" y="32"/>
                  </a:lnTo>
                  <a:lnTo>
                    <a:pt x="18" y="32"/>
                  </a:lnTo>
                  <a:lnTo>
                    <a:pt x="20" y="32"/>
                  </a:lnTo>
                  <a:lnTo>
                    <a:pt x="20" y="30"/>
                  </a:lnTo>
                  <a:lnTo>
                    <a:pt x="22" y="30"/>
                  </a:lnTo>
                  <a:lnTo>
                    <a:pt x="22" y="28"/>
                  </a:lnTo>
                  <a:lnTo>
                    <a:pt x="24" y="28"/>
                  </a:lnTo>
                  <a:lnTo>
                    <a:pt x="26" y="28"/>
                  </a:lnTo>
                  <a:lnTo>
                    <a:pt x="26" y="26"/>
                  </a:lnTo>
                  <a:close/>
                </a:path>
              </a:pathLst>
            </a:custGeom>
            <a:gradFill>
              <a:gsLst>
                <a:gs pos="60000">
                  <a:srgbClr val="D9D9D9"/>
                </a:gs>
                <a:gs pos="45000">
                  <a:srgbClr val="EF9F4B"/>
                </a:gs>
              </a:gsLst>
              <a:lin ang="0" scaled="0"/>
            </a:gradFill>
            <a:ln w="3175">
              <a:solidFill>
                <a:sysClr val="window" lastClr="FFFF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black"/>
                </a:solidFill>
                <a:effectLst/>
                <a:uLnTx/>
                <a:uFillTx/>
                <a:ea typeface="宋体" panose="02010600030101010101" pitchFamily="2" charset="-122"/>
              </a:endParaRPr>
            </a:p>
          </p:txBody>
        </p:sp>
        <p:sp>
          <p:nvSpPr>
            <p:cNvPr id="43" name="Freeform 3698">
              <a:extLst>
                <a:ext uri="{FF2B5EF4-FFF2-40B4-BE49-F238E27FC236}">
                  <a16:creationId xmlns:a16="http://schemas.microsoft.com/office/drawing/2014/main" id="{3ED9DF0C-4526-2F56-F062-967A9D78A42B}"/>
                </a:ext>
              </a:extLst>
            </p:cNvPr>
            <p:cNvSpPr>
              <a:spLocks/>
            </p:cNvSpPr>
            <p:nvPr/>
          </p:nvSpPr>
          <p:spPr bwMode="auto">
            <a:xfrm>
              <a:off x="6565901" y="2673351"/>
              <a:ext cx="107950" cy="211138"/>
            </a:xfrm>
            <a:custGeom>
              <a:avLst/>
              <a:gdLst>
                <a:gd name="T0" fmla="*/ 24 w 68"/>
                <a:gd name="T1" fmla="*/ 14 h 133"/>
                <a:gd name="T2" fmla="*/ 32 w 68"/>
                <a:gd name="T3" fmla="*/ 12 h 133"/>
                <a:gd name="T4" fmla="*/ 38 w 68"/>
                <a:gd name="T5" fmla="*/ 8 h 133"/>
                <a:gd name="T6" fmla="*/ 46 w 68"/>
                <a:gd name="T7" fmla="*/ 6 h 133"/>
                <a:gd name="T8" fmla="*/ 52 w 68"/>
                <a:gd name="T9" fmla="*/ 4 h 133"/>
                <a:gd name="T10" fmla="*/ 60 w 68"/>
                <a:gd name="T11" fmla="*/ 0 h 133"/>
                <a:gd name="T12" fmla="*/ 62 w 68"/>
                <a:gd name="T13" fmla="*/ 4 h 133"/>
                <a:gd name="T14" fmla="*/ 62 w 68"/>
                <a:gd name="T15" fmla="*/ 8 h 133"/>
                <a:gd name="T16" fmla="*/ 64 w 68"/>
                <a:gd name="T17" fmla="*/ 16 h 133"/>
                <a:gd name="T18" fmla="*/ 68 w 68"/>
                <a:gd name="T19" fmla="*/ 22 h 133"/>
                <a:gd name="T20" fmla="*/ 66 w 68"/>
                <a:gd name="T21" fmla="*/ 26 h 133"/>
                <a:gd name="T22" fmla="*/ 66 w 68"/>
                <a:gd name="T23" fmla="*/ 28 h 133"/>
                <a:gd name="T24" fmla="*/ 64 w 68"/>
                <a:gd name="T25" fmla="*/ 32 h 133"/>
                <a:gd name="T26" fmla="*/ 62 w 68"/>
                <a:gd name="T27" fmla="*/ 34 h 133"/>
                <a:gd name="T28" fmla="*/ 58 w 68"/>
                <a:gd name="T29" fmla="*/ 36 h 133"/>
                <a:gd name="T30" fmla="*/ 54 w 68"/>
                <a:gd name="T31" fmla="*/ 42 h 133"/>
                <a:gd name="T32" fmla="*/ 56 w 68"/>
                <a:gd name="T33" fmla="*/ 50 h 133"/>
                <a:gd name="T34" fmla="*/ 58 w 68"/>
                <a:gd name="T35" fmla="*/ 54 h 133"/>
                <a:gd name="T36" fmla="*/ 56 w 68"/>
                <a:gd name="T37" fmla="*/ 56 h 133"/>
                <a:gd name="T38" fmla="*/ 58 w 68"/>
                <a:gd name="T39" fmla="*/ 60 h 133"/>
                <a:gd name="T40" fmla="*/ 56 w 68"/>
                <a:gd name="T41" fmla="*/ 68 h 133"/>
                <a:gd name="T42" fmla="*/ 54 w 68"/>
                <a:gd name="T43" fmla="*/ 76 h 133"/>
                <a:gd name="T44" fmla="*/ 54 w 68"/>
                <a:gd name="T45" fmla="*/ 84 h 133"/>
                <a:gd name="T46" fmla="*/ 56 w 68"/>
                <a:gd name="T47" fmla="*/ 92 h 133"/>
                <a:gd name="T48" fmla="*/ 58 w 68"/>
                <a:gd name="T49" fmla="*/ 100 h 133"/>
                <a:gd name="T50" fmla="*/ 58 w 68"/>
                <a:gd name="T51" fmla="*/ 106 h 133"/>
                <a:gd name="T52" fmla="*/ 60 w 68"/>
                <a:gd name="T53" fmla="*/ 110 h 133"/>
                <a:gd name="T54" fmla="*/ 58 w 68"/>
                <a:gd name="T55" fmla="*/ 118 h 133"/>
                <a:gd name="T56" fmla="*/ 62 w 68"/>
                <a:gd name="T57" fmla="*/ 124 h 133"/>
                <a:gd name="T58" fmla="*/ 62 w 68"/>
                <a:gd name="T59" fmla="*/ 126 h 133"/>
                <a:gd name="T60" fmla="*/ 52 w 68"/>
                <a:gd name="T61" fmla="*/ 129 h 133"/>
                <a:gd name="T62" fmla="*/ 46 w 68"/>
                <a:gd name="T63" fmla="*/ 131 h 133"/>
                <a:gd name="T64" fmla="*/ 38 w 68"/>
                <a:gd name="T65" fmla="*/ 131 h 133"/>
                <a:gd name="T66" fmla="*/ 32 w 68"/>
                <a:gd name="T67" fmla="*/ 129 h 133"/>
                <a:gd name="T68" fmla="*/ 32 w 68"/>
                <a:gd name="T69" fmla="*/ 120 h 133"/>
                <a:gd name="T70" fmla="*/ 28 w 68"/>
                <a:gd name="T71" fmla="*/ 112 h 133"/>
                <a:gd name="T72" fmla="*/ 26 w 68"/>
                <a:gd name="T73" fmla="*/ 102 h 133"/>
                <a:gd name="T74" fmla="*/ 24 w 68"/>
                <a:gd name="T75" fmla="*/ 94 h 133"/>
                <a:gd name="T76" fmla="*/ 22 w 68"/>
                <a:gd name="T77" fmla="*/ 90 h 133"/>
                <a:gd name="T78" fmla="*/ 18 w 68"/>
                <a:gd name="T79" fmla="*/ 92 h 133"/>
                <a:gd name="T80" fmla="*/ 16 w 68"/>
                <a:gd name="T81" fmla="*/ 84 h 133"/>
                <a:gd name="T82" fmla="*/ 14 w 68"/>
                <a:gd name="T83" fmla="*/ 78 h 133"/>
                <a:gd name="T84" fmla="*/ 10 w 68"/>
                <a:gd name="T85" fmla="*/ 72 h 133"/>
                <a:gd name="T86" fmla="*/ 8 w 68"/>
                <a:gd name="T87" fmla="*/ 64 h 133"/>
                <a:gd name="T88" fmla="*/ 10 w 68"/>
                <a:gd name="T89" fmla="*/ 56 h 133"/>
                <a:gd name="T90" fmla="*/ 8 w 68"/>
                <a:gd name="T91" fmla="*/ 48 h 133"/>
                <a:gd name="T92" fmla="*/ 4 w 68"/>
                <a:gd name="T93" fmla="*/ 42 h 133"/>
                <a:gd name="T94" fmla="*/ 2 w 68"/>
                <a:gd name="T95" fmla="*/ 36 h 133"/>
                <a:gd name="T96" fmla="*/ 0 w 68"/>
                <a:gd name="T97" fmla="*/ 30 h 133"/>
                <a:gd name="T98" fmla="*/ 0 w 68"/>
                <a:gd name="T99" fmla="*/ 20 h 133"/>
                <a:gd name="T100" fmla="*/ 10 w 68"/>
                <a:gd name="T101" fmla="*/ 18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8" h="133">
                  <a:moveTo>
                    <a:pt x="16" y="16"/>
                  </a:moveTo>
                  <a:lnTo>
                    <a:pt x="18" y="14"/>
                  </a:lnTo>
                  <a:lnTo>
                    <a:pt x="20" y="14"/>
                  </a:lnTo>
                  <a:lnTo>
                    <a:pt x="22" y="14"/>
                  </a:lnTo>
                  <a:lnTo>
                    <a:pt x="24" y="14"/>
                  </a:lnTo>
                  <a:lnTo>
                    <a:pt x="24" y="12"/>
                  </a:lnTo>
                  <a:lnTo>
                    <a:pt x="26" y="12"/>
                  </a:lnTo>
                  <a:lnTo>
                    <a:pt x="28" y="12"/>
                  </a:lnTo>
                  <a:lnTo>
                    <a:pt x="30" y="12"/>
                  </a:lnTo>
                  <a:lnTo>
                    <a:pt x="32" y="12"/>
                  </a:lnTo>
                  <a:lnTo>
                    <a:pt x="32" y="10"/>
                  </a:lnTo>
                  <a:lnTo>
                    <a:pt x="34" y="10"/>
                  </a:lnTo>
                  <a:lnTo>
                    <a:pt x="36" y="10"/>
                  </a:lnTo>
                  <a:lnTo>
                    <a:pt x="38" y="10"/>
                  </a:lnTo>
                  <a:lnTo>
                    <a:pt x="38" y="8"/>
                  </a:lnTo>
                  <a:lnTo>
                    <a:pt x="40" y="8"/>
                  </a:lnTo>
                  <a:lnTo>
                    <a:pt x="42" y="8"/>
                  </a:lnTo>
                  <a:lnTo>
                    <a:pt x="44" y="8"/>
                  </a:lnTo>
                  <a:lnTo>
                    <a:pt x="44" y="6"/>
                  </a:lnTo>
                  <a:lnTo>
                    <a:pt x="46" y="6"/>
                  </a:lnTo>
                  <a:lnTo>
                    <a:pt x="48" y="6"/>
                  </a:lnTo>
                  <a:lnTo>
                    <a:pt x="50" y="6"/>
                  </a:lnTo>
                  <a:lnTo>
                    <a:pt x="50" y="4"/>
                  </a:lnTo>
                  <a:lnTo>
                    <a:pt x="52" y="4"/>
                  </a:lnTo>
                  <a:lnTo>
                    <a:pt x="52" y="4"/>
                  </a:lnTo>
                  <a:lnTo>
                    <a:pt x="54" y="2"/>
                  </a:lnTo>
                  <a:lnTo>
                    <a:pt x="56" y="2"/>
                  </a:lnTo>
                  <a:lnTo>
                    <a:pt x="58" y="2"/>
                  </a:lnTo>
                  <a:lnTo>
                    <a:pt x="60" y="2"/>
                  </a:lnTo>
                  <a:lnTo>
                    <a:pt x="60" y="0"/>
                  </a:lnTo>
                  <a:lnTo>
                    <a:pt x="62" y="0"/>
                  </a:lnTo>
                  <a:lnTo>
                    <a:pt x="62" y="2"/>
                  </a:lnTo>
                  <a:lnTo>
                    <a:pt x="60" y="2"/>
                  </a:lnTo>
                  <a:lnTo>
                    <a:pt x="62" y="2"/>
                  </a:lnTo>
                  <a:lnTo>
                    <a:pt x="62" y="4"/>
                  </a:lnTo>
                  <a:lnTo>
                    <a:pt x="64" y="6"/>
                  </a:lnTo>
                  <a:lnTo>
                    <a:pt x="64" y="8"/>
                  </a:lnTo>
                  <a:lnTo>
                    <a:pt x="62" y="8"/>
                  </a:lnTo>
                  <a:lnTo>
                    <a:pt x="64" y="8"/>
                  </a:lnTo>
                  <a:lnTo>
                    <a:pt x="62" y="8"/>
                  </a:lnTo>
                  <a:lnTo>
                    <a:pt x="62" y="10"/>
                  </a:lnTo>
                  <a:lnTo>
                    <a:pt x="62" y="12"/>
                  </a:lnTo>
                  <a:lnTo>
                    <a:pt x="62" y="14"/>
                  </a:lnTo>
                  <a:lnTo>
                    <a:pt x="62" y="16"/>
                  </a:lnTo>
                  <a:lnTo>
                    <a:pt x="64" y="16"/>
                  </a:lnTo>
                  <a:lnTo>
                    <a:pt x="64" y="18"/>
                  </a:lnTo>
                  <a:lnTo>
                    <a:pt x="64" y="20"/>
                  </a:lnTo>
                  <a:lnTo>
                    <a:pt x="66" y="20"/>
                  </a:lnTo>
                  <a:lnTo>
                    <a:pt x="66" y="22"/>
                  </a:lnTo>
                  <a:lnTo>
                    <a:pt x="68" y="22"/>
                  </a:lnTo>
                  <a:lnTo>
                    <a:pt x="68" y="24"/>
                  </a:lnTo>
                  <a:lnTo>
                    <a:pt x="66" y="24"/>
                  </a:lnTo>
                  <a:lnTo>
                    <a:pt x="66" y="26"/>
                  </a:lnTo>
                  <a:lnTo>
                    <a:pt x="68" y="26"/>
                  </a:lnTo>
                  <a:lnTo>
                    <a:pt x="66" y="26"/>
                  </a:lnTo>
                  <a:lnTo>
                    <a:pt x="68" y="26"/>
                  </a:lnTo>
                  <a:lnTo>
                    <a:pt x="68" y="28"/>
                  </a:lnTo>
                  <a:lnTo>
                    <a:pt x="66" y="28"/>
                  </a:lnTo>
                  <a:lnTo>
                    <a:pt x="66" y="30"/>
                  </a:lnTo>
                  <a:lnTo>
                    <a:pt x="66" y="28"/>
                  </a:lnTo>
                  <a:lnTo>
                    <a:pt x="66" y="30"/>
                  </a:lnTo>
                  <a:lnTo>
                    <a:pt x="66" y="32"/>
                  </a:lnTo>
                  <a:lnTo>
                    <a:pt x="64" y="32"/>
                  </a:lnTo>
                  <a:lnTo>
                    <a:pt x="66" y="32"/>
                  </a:lnTo>
                  <a:lnTo>
                    <a:pt x="64" y="32"/>
                  </a:lnTo>
                  <a:lnTo>
                    <a:pt x="64" y="34"/>
                  </a:lnTo>
                  <a:lnTo>
                    <a:pt x="62" y="34"/>
                  </a:lnTo>
                  <a:lnTo>
                    <a:pt x="62" y="34"/>
                  </a:lnTo>
                  <a:lnTo>
                    <a:pt x="60" y="34"/>
                  </a:lnTo>
                  <a:lnTo>
                    <a:pt x="62" y="34"/>
                  </a:lnTo>
                  <a:lnTo>
                    <a:pt x="62" y="36"/>
                  </a:lnTo>
                  <a:lnTo>
                    <a:pt x="60" y="36"/>
                  </a:lnTo>
                  <a:lnTo>
                    <a:pt x="60" y="38"/>
                  </a:lnTo>
                  <a:lnTo>
                    <a:pt x="60" y="36"/>
                  </a:lnTo>
                  <a:lnTo>
                    <a:pt x="58" y="36"/>
                  </a:lnTo>
                  <a:lnTo>
                    <a:pt x="58" y="38"/>
                  </a:lnTo>
                  <a:lnTo>
                    <a:pt x="56" y="38"/>
                  </a:lnTo>
                  <a:lnTo>
                    <a:pt x="56" y="40"/>
                  </a:lnTo>
                  <a:lnTo>
                    <a:pt x="54" y="40"/>
                  </a:lnTo>
                  <a:lnTo>
                    <a:pt x="54" y="42"/>
                  </a:lnTo>
                  <a:lnTo>
                    <a:pt x="54" y="44"/>
                  </a:lnTo>
                  <a:lnTo>
                    <a:pt x="54" y="46"/>
                  </a:lnTo>
                  <a:lnTo>
                    <a:pt x="56" y="46"/>
                  </a:lnTo>
                  <a:lnTo>
                    <a:pt x="56" y="48"/>
                  </a:lnTo>
                  <a:lnTo>
                    <a:pt x="56" y="50"/>
                  </a:lnTo>
                  <a:lnTo>
                    <a:pt x="56" y="52"/>
                  </a:lnTo>
                  <a:lnTo>
                    <a:pt x="58" y="52"/>
                  </a:lnTo>
                  <a:lnTo>
                    <a:pt x="58" y="50"/>
                  </a:lnTo>
                  <a:lnTo>
                    <a:pt x="58" y="52"/>
                  </a:lnTo>
                  <a:lnTo>
                    <a:pt x="58" y="54"/>
                  </a:lnTo>
                  <a:lnTo>
                    <a:pt x="56" y="54"/>
                  </a:lnTo>
                  <a:lnTo>
                    <a:pt x="58" y="54"/>
                  </a:lnTo>
                  <a:lnTo>
                    <a:pt x="56" y="54"/>
                  </a:lnTo>
                  <a:lnTo>
                    <a:pt x="58" y="54"/>
                  </a:lnTo>
                  <a:lnTo>
                    <a:pt x="56" y="56"/>
                  </a:lnTo>
                  <a:lnTo>
                    <a:pt x="56" y="58"/>
                  </a:lnTo>
                  <a:lnTo>
                    <a:pt x="58" y="58"/>
                  </a:lnTo>
                  <a:lnTo>
                    <a:pt x="58" y="60"/>
                  </a:lnTo>
                  <a:lnTo>
                    <a:pt x="56" y="60"/>
                  </a:lnTo>
                  <a:lnTo>
                    <a:pt x="58" y="60"/>
                  </a:lnTo>
                  <a:lnTo>
                    <a:pt x="58" y="62"/>
                  </a:lnTo>
                  <a:lnTo>
                    <a:pt x="56" y="62"/>
                  </a:lnTo>
                  <a:lnTo>
                    <a:pt x="56" y="64"/>
                  </a:lnTo>
                  <a:lnTo>
                    <a:pt x="56" y="66"/>
                  </a:lnTo>
                  <a:lnTo>
                    <a:pt x="56" y="68"/>
                  </a:lnTo>
                  <a:lnTo>
                    <a:pt x="56" y="70"/>
                  </a:lnTo>
                  <a:lnTo>
                    <a:pt x="56" y="72"/>
                  </a:lnTo>
                  <a:lnTo>
                    <a:pt x="54" y="72"/>
                  </a:lnTo>
                  <a:lnTo>
                    <a:pt x="54" y="74"/>
                  </a:lnTo>
                  <a:lnTo>
                    <a:pt x="54" y="76"/>
                  </a:lnTo>
                  <a:lnTo>
                    <a:pt x="54" y="78"/>
                  </a:lnTo>
                  <a:lnTo>
                    <a:pt x="54" y="80"/>
                  </a:lnTo>
                  <a:lnTo>
                    <a:pt x="54" y="82"/>
                  </a:lnTo>
                  <a:lnTo>
                    <a:pt x="54" y="82"/>
                  </a:lnTo>
                  <a:lnTo>
                    <a:pt x="54" y="84"/>
                  </a:lnTo>
                  <a:lnTo>
                    <a:pt x="54" y="86"/>
                  </a:lnTo>
                  <a:lnTo>
                    <a:pt x="54" y="88"/>
                  </a:lnTo>
                  <a:lnTo>
                    <a:pt x="56" y="88"/>
                  </a:lnTo>
                  <a:lnTo>
                    <a:pt x="56" y="90"/>
                  </a:lnTo>
                  <a:lnTo>
                    <a:pt x="56" y="92"/>
                  </a:lnTo>
                  <a:lnTo>
                    <a:pt x="56" y="94"/>
                  </a:lnTo>
                  <a:lnTo>
                    <a:pt x="56" y="96"/>
                  </a:lnTo>
                  <a:lnTo>
                    <a:pt x="56" y="98"/>
                  </a:lnTo>
                  <a:lnTo>
                    <a:pt x="56" y="100"/>
                  </a:lnTo>
                  <a:lnTo>
                    <a:pt x="58" y="100"/>
                  </a:lnTo>
                  <a:lnTo>
                    <a:pt x="56" y="100"/>
                  </a:lnTo>
                  <a:lnTo>
                    <a:pt x="58" y="100"/>
                  </a:lnTo>
                  <a:lnTo>
                    <a:pt x="58" y="102"/>
                  </a:lnTo>
                  <a:lnTo>
                    <a:pt x="58" y="104"/>
                  </a:lnTo>
                  <a:lnTo>
                    <a:pt x="58" y="106"/>
                  </a:lnTo>
                  <a:lnTo>
                    <a:pt x="60" y="106"/>
                  </a:lnTo>
                  <a:lnTo>
                    <a:pt x="58" y="106"/>
                  </a:lnTo>
                  <a:lnTo>
                    <a:pt x="58" y="108"/>
                  </a:lnTo>
                  <a:lnTo>
                    <a:pt x="58" y="110"/>
                  </a:lnTo>
                  <a:lnTo>
                    <a:pt x="60" y="110"/>
                  </a:lnTo>
                  <a:lnTo>
                    <a:pt x="60" y="112"/>
                  </a:lnTo>
                  <a:lnTo>
                    <a:pt x="58" y="112"/>
                  </a:lnTo>
                  <a:lnTo>
                    <a:pt x="58" y="114"/>
                  </a:lnTo>
                  <a:lnTo>
                    <a:pt x="58" y="116"/>
                  </a:lnTo>
                  <a:lnTo>
                    <a:pt x="58" y="118"/>
                  </a:lnTo>
                  <a:lnTo>
                    <a:pt x="58" y="120"/>
                  </a:lnTo>
                  <a:lnTo>
                    <a:pt x="60" y="120"/>
                  </a:lnTo>
                  <a:lnTo>
                    <a:pt x="60" y="122"/>
                  </a:lnTo>
                  <a:lnTo>
                    <a:pt x="62" y="122"/>
                  </a:lnTo>
                  <a:lnTo>
                    <a:pt x="62" y="124"/>
                  </a:lnTo>
                  <a:lnTo>
                    <a:pt x="62" y="122"/>
                  </a:lnTo>
                  <a:lnTo>
                    <a:pt x="62" y="124"/>
                  </a:lnTo>
                  <a:lnTo>
                    <a:pt x="64" y="124"/>
                  </a:lnTo>
                  <a:lnTo>
                    <a:pt x="62" y="124"/>
                  </a:lnTo>
                  <a:lnTo>
                    <a:pt x="62" y="126"/>
                  </a:lnTo>
                  <a:lnTo>
                    <a:pt x="60" y="126"/>
                  </a:lnTo>
                  <a:lnTo>
                    <a:pt x="58" y="126"/>
                  </a:lnTo>
                  <a:lnTo>
                    <a:pt x="56" y="126"/>
                  </a:lnTo>
                  <a:lnTo>
                    <a:pt x="54" y="129"/>
                  </a:lnTo>
                  <a:lnTo>
                    <a:pt x="52" y="129"/>
                  </a:lnTo>
                  <a:lnTo>
                    <a:pt x="52" y="129"/>
                  </a:lnTo>
                  <a:lnTo>
                    <a:pt x="50" y="129"/>
                  </a:lnTo>
                  <a:lnTo>
                    <a:pt x="50" y="131"/>
                  </a:lnTo>
                  <a:lnTo>
                    <a:pt x="48" y="131"/>
                  </a:lnTo>
                  <a:lnTo>
                    <a:pt x="46" y="131"/>
                  </a:lnTo>
                  <a:lnTo>
                    <a:pt x="44" y="131"/>
                  </a:lnTo>
                  <a:lnTo>
                    <a:pt x="42" y="131"/>
                  </a:lnTo>
                  <a:lnTo>
                    <a:pt x="42" y="131"/>
                  </a:lnTo>
                  <a:lnTo>
                    <a:pt x="40" y="131"/>
                  </a:lnTo>
                  <a:lnTo>
                    <a:pt x="38" y="131"/>
                  </a:lnTo>
                  <a:lnTo>
                    <a:pt x="36" y="131"/>
                  </a:lnTo>
                  <a:lnTo>
                    <a:pt x="34" y="133"/>
                  </a:lnTo>
                  <a:lnTo>
                    <a:pt x="34" y="131"/>
                  </a:lnTo>
                  <a:lnTo>
                    <a:pt x="34" y="131"/>
                  </a:lnTo>
                  <a:lnTo>
                    <a:pt x="32" y="129"/>
                  </a:lnTo>
                  <a:lnTo>
                    <a:pt x="34" y="129"/>
                  </a:lnTo>
                  <a:lnTo>
                    <a:pt x="32" y="126"/>
                  </a:lnTo>
                  <a:lnTo>
                    <a:pt x="32" y="124"/>
                  </a:lnTo>
                  <a:lnTo>
                    <a:pt x="32" y="122"/>
                  </a:lnTo>
                  <a:lnTo>
                    <a:pt x="32" y="120"/>
                  </a:lnTo>
                  <a:lnTo>
                    <a:pt x="30" y="120"/>
                  </a:lnTo>
                  <a:lnTo>
                    <a:pt x="30" y="118"/>
                  </a:lnTo>
                  <a:lnTo>
                    <a:pt x="30" y="116"/>
                  </a:lnTo>
                  <a:lnTo>
                    <a:pt x="30" y="114"/>
                  </a:lnTo>
                  <a:lnTo>
                    <a:pt x="28" y="112"/>
                  </a:lnTo>
                  <a:lnTo>
                    <a:pt x="28" y="110"/>
                  </a:lnTo>
                  <a:lnTo>
                    <a:pt x="28" y="108"/>
                  </a:lnTo>
                  <a:lnTo>
                    <a:pt x="28" y="106"/>
                  </a:lnTo>
                  <a:lnTo>
                    <a:pt x="26" y="104"/>
                  </a:lnTo>
                  <a:lnTo>
                    <a:pt x="26" y="102"/>
                  </a:lnTo>
                  <a:lnTo>
                    <a:pt x="26" y="100"/>
                  </a:lnTo>
                  <a:lnTo>
                    <a:pt x="26" y="98"/>
                  </a:lnTo>
                  <a:lnTo>
                    <a:pt x="24" y="98"/>
                  </a:lnTo>
                  <a:lnTo>
                    <a:pt x="24" y="96"/>
                  </a:lnTo>
                  <a:lnTo>
                    <a:pt x="24" y="94"/>
                  </a:lnTo>
                  <a:lnTo>
                    <a:pt x="24" y="92"/>
                  </a:lnTo>
                  <a:lnTo>
                    <a:pt x="22" y="92"/>
                  </a:lnTo>
                  <a:lnTo>
                    <a:pt x="22" y="90"/>
                  </a:lnTo>
                  <a:lnTo>
                    <a:pt x="20" y="90"/>
                  </a:lnTo>
                  <a:lnTo>
                    <a:pt x="22" y="90"/>
                  </a:lnTo>
                  <a:lnTo>
                    <a:pt x="20" y="90"/>
                  </a:lnTo>
                  <a:lnTo>
                    <a:pt x="20" y="88"/>
                  </a:lnTo>
                  <a:lnTo>
                    <a:pt x="18" y="88"/>
                  </a:lnTo>
                  <a:lnTo>
                    <a:pt x="18" y="90"/>
                  </a:lnTo>
                  <a:lnTo>
                    <a:pt x="18" y="92"/>
                  </a:lnTo>
                  <a:lnTo>
                    <a:pt x="16" y="92"/>
                  </a:lnTo>
                  <a:lnTo>
                    <a:pt x="16" y="90"/>
                  </a:lnTo>
                  <a:lnTo>
                    <a:pt x="16" y="88"/>
                  </a:lnTo>
                  <a:lnTo>
                    <a:pt x="16" y="86"/>
                  </a:lnTo>
                  <a:lnTo>
                    <a:pt x="16" y="84"/>
                  </a:lnTo>
                  <a:lnTo>
                    <a:pt x="16" y="82"/>
                  </a:lnTo>
                  <a:lnTo>
                    <a:pt x="16" y="82"/>
                  </a:lnTo>
                  <a:lnTo>
                    <a:pt x="14" y="82"/>
                  </a:lnTo>
                  <a:lnTo>
                    <a:pt x="14" y="80"/>
                  </a:lnTo>
                  <a:lnTo>
                    <a:pt x="14" y="78"/>
                  </a:lnTo>
                  <a:lnTo>
                    <a:pt x="12" y="78"/>
                  </a:lnTo>
                  <a:lnTo>
                    <a:pt x="12" y="76"/>
                  </a:lnTo>
                  <a:lnTo>
                    <a:pt x="12" y="74"/>
                  </a:lnTo>
                  <a:lnTo>
                    <a:pt x="10" y="74"/>
                  </a:lnTo>
                  <a:lnTo>
                    <a:pt x="10" y="72"/>
                  </a:lnTo>
                  <a:lnTo>
                    <a:pt x="10" y="70"/>
                  </a:lnTo>
                  <a:lnTo>
                    <a:pt x="8" y="70"/>
                  </a:lnTo>
                  <a:lnTo>
                    <a:pt x="8" y="68"/>
                  </a:lnTo>
                  <a:lnTo>
                    <a:pt x="8" y="66"/>
                  </a:lnTo>
                  <a:lnTo>
                    <a:pt x="8" y="64"/>
                  </a:lnTo>
                  <a:lnTo>
                    <a:pt x="8" y="62"/>
                  </a:lnTo>
                  <a:lnTo>
                    <a:pt x="8" y="60"/>
                  </a:lnTo>
                  <a:lnTo>
                    <a:pt x="10" y="60"/>
                  </a:lnTo>
                  <a:lnTo>
                    <a:pt x="10" y="58"/>
                  </a:lnTo>
                  <a:lnTo>
                    <a:pt x="10" y="56"/>
                  </a:lnTo>
                  <a:lnTo>
                    <a:pt x="8" y="56"/>
                  </a:lnTo>
                  <a:lnTo>
                    <a:pt x="8" y="54"/>
                  </a:lnTo>
                  <a:lnTo>
                    <a:pt x="8" y="52"/>
                  </a:lnTo>
                  <a:lnTo>
                    <a:pt x="8" y="50"/>
                  </a:lnTo>
                  <a:lnTo>
                    <a:pt x="8" y="48"/>
                  </a:lnTo>
                  <a:lnTo>
                    <a:pt x="8" y="46"/>
                  </a:lnTo>
                  <a:lnTo>
                    <a:pt x="6" y="46"/>
                  </a:lnTo>
                  <a:lnTo>
                    <a:pt x="6" y="44"/>
                  </a:lnTo>
                  <a:lnTo>
                    <a:pt x="4" y="44"/>
                  </a:lnTo>
                  <a:lnTo>
                    <a:pt x="4" y="42"/>
                  </a:lnTo>
                  <a:lnTo>
                    <a:pt x="4" y="42"/>
                  </a:lnTo>
                  <a:lnTo>
                    <a:pt x="4" y="40"/>
                  </a:lnTo>
                  <a:lnTo>
                    <a:pt x="4" y="38"/>
                  </a:lnTo>
                  <a:lnTo>
                    <a:pt x="4" y="36"/>
                  </a:lnTo>
                  <a:lnTo>
                    <a:pt x="2" y="36"/>
                  </a:lnTo>
                  <a:lnTo>
                    <a:pt x="2" y="34"/>
                  </a:lnTo>
                  <a:lnTo>
                    <a:pt x="2" y="34"/>
                  </a:lnTo>
                  <a:lnTo>
                    <a:pt x="2" y="32"/>
                  </a:lnTo>
                  <a:lnTo>
                    <a:pt x="2" y="30"/>
                  </a:lnTo>
                  <a:lnTo>
                    <a:pt x="0" y="30"/>
                  </a:lnTo>
                  <a:lnTo>
                    <a:pt x="0" y="28"/>
                  </a:lnTo>
                  <a:lnTo>
                    <a:pt x="0" y="26"/>
                  </a:lnTo>
                  <a:lnTo>
                    <a:pt x="0" y="24"/>
                  </a:lnTo>
                  <a:lnTo>
                    <a:pt x="0" y="22"/>
                  </a:lnTo>
                  <a:lnTo>
                    <a:pt x="0" y="20"/>
                  </a:lnTo>
                  <a:lnTo>
                    <a:pt x="2" y="20"/>
                  </a:lnTo>
                  <a:lnTo>
                    <a:pt x="4" y="20"/>
                  </a:lnTo>
                  <a:lnTo>
                    <a:pt x="6" y="18"/>
                  </a:lnTo>
                  <a:lnTo>
                    <a:pt x="8" y="18"/>
                  </a:lnTo>
                  <a:lnTo>
                    <a:pt x="10" y="18"/>
                  </a:lnTo>
                  <a:lnTo>
                    <a:pt x="12" y="16"/>
                  </a:lnTo>
                  <a:lnTo>
                    <a:pt x="14" y="16"/>
                  </a:lnTo>
                  <a:lnTo>
                    <a:pt x="16" y="16"/>
                  </a:lnTo>
                  <a:close/>
                </a:path>
              </a:pathLst>
            </a:custGeom>
            <a:solidFill>
              <a:srgbClr val="0099FF"/>
            </a:solidFill>
            <a:ln w="3175">
              <a:solidFill>
                <a:sysClr val="window" lastClr="FFFF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black"/>
                </a:solidFill>
                <a:effectLst/>
                <a:uLnTx/>
                <a:uFillTx/>
                <a:ea typeface="宋体" panose="02010600030101010101" pitchFamily="2" charset="-122"/>
              </a:endParaRPr>
            </a:p>
          </p:txBody>
        </p:sp>
        <p:sp>
          <p:nvSpPr>
            <p:cNvPr id="44" name="Freeform 1152">
              <a:extLst>
                <a:ext uri="{FF2B5EF4-FFF2-40B4-BE49-F238E27FC236}">
                  <a16:creationId xmlns:a16="http://schemas.microsoft.com/office/drawing/2014/main" id="{349E48AB-AB48-8283-9E8B-8ACA5708080F}"/>
                </a:ext>
              </a:extLst>
            </p:cNvPr>
            <p:cNvSpPr>
              <a:spLocks noEditPoints="1"/>
            </p:cNvSpPr>
            <p:nvPr/>
          </p:nvSpPr>
          <p:spPr bwMode="auto">
            <a:xfrm>
              <a:off x="6626225" y="2913062"/>
              <a:ext cx="114300" cy="117475"/>
            </a:xfrm>
            <a:custGeom>
              <a:avLst/>
              <a:gdLst>
                <a:gd name="T0" fmla="*/ 16 w 72"/>
                <a:gd name="T1" fmla="*/ 68 h 74"/>
                <a:gd name="T2" fmla="*/ 16 w 72"/>
                <a:gd name="T3" fmla="*/ 66 h 74"/>
                <a:gd name="T4" fmla="*/ 36 w 72"/>
                <a:gd name="T5" fmla="*/ 50 h 74"/>
                <a:gd name="T6" fmla="*/ 66 w 72"/>
                <a:gd name="T7" fmla="*/ 36 h 74"/>
                <a:gd name="T8" fmla="*/ 54 w 72"/>
                <a:gd name="T9" fmla="*/ 40 h 74"/>
                <a:gd name="T10" fmla="*/ 50 w 72"/>
                <a:gd name="T11" fmla="*/ 38 h 74"/>
                <a:gd name="T12" fmla="*/ 10 w 72"/>
                <a:gd name="T13" fmla="*/ 16 h 74"/>
                <a:gd name="T14" fmla="*/ 20 w 72"/>
                <a:gd name="T15" fmla="*/ 14 h 74"/>
                <a:gd name="T16" fmla="*/ 28 w 72"/>
                <a:gd name="T17" fmla="*/ 10 h 74"/>
                <a:gd name="T18" fmla="*/ 42 w 72"/>
                <a:gd name="T19" fmla="*/ 8 h 74"/>
                <a:gd name="T20" fmla="*/ 52 w 72"/>
                <a:gd name="T21" fmla="*/ 4 h 74"/>
                <a:gd name="T22" fmla="*/ 62 w 72"/>
                <a:gd name="T23" fmla="*/ 2 h 74"/>
                <a:gd name="T24" fmla="*/ 66 w 72"/>
                <a:gd name="T25" fmla="*/ 12 h 74"/>
                <a:gd name="T26" fmla="*/ 68 w 72"/>
                <a:gd name="T27" fmla="*/ 24 h 74"/>
                <a:gd name="T28" fmla="*/ 70 w 72"/>
                <a:gd name="T29" fmla="*/ 30 h 74"/>
                <a:gd name="T30" fmla="*/ 68 w 72"/>
                <a:gd name="T31" fmla="*/ 34 h 74"/>
                <a:gd name="T32" fmla="*/ 68 w 72"/>
                <a:gd name="T33" fmla="*/ 36 h 74"/>
                <a:gd name="T34" fmla="*/ 64 w 72"/>
                <a:gd name="T35" fmla="*/ 38 h 74"/>
                <a:gd name="T36" fmla="*/ 62 w 72"/>
                <a:gd name="T37" fmla="*/ 38 h 74"/>
                <a:gd name="T38" fmla="*/ 60 w 72"/>
                <a:gd name="T39" fmla="*/ 28 h 74"/>
                <a:gd name="T40" fmla="*/ 62 w 72"/>
                <a:gd name="T41" fmla="*/ 32 h 74"/>
                <a:gd name="T42" fmla="*/ 62 w 72"/>
                <a:gd name="T43" fmla="*/ 40 h 74"/>
                <a:gd name="T44" fmla="*/ 60 w 72"/>
                <a:gd name="T45" fmla="*/ 38 h 74"/>
                <a:gd name="T46" fmla="*/ 60 w 72"/>
                <a:gd name="T47" fmla="*/ 40 h 74"/>
                <a:gd name="T48" fmla="*/ 60 w 72"/>
                <a:gd name="T49" fmla="*/ 38 h 74"/>
                <a:gd name="T50" fmla="*/ 58 w 72"/>
                <a:gd name="T51" fmla="*/ 42 h 74"/>
                <a:gd name="T52" fmla="*/ 54 w 72"/>
                <a:gd name="T53" fmla="*/ 44 h 74"/>
                <a:gd name="T54" fmla="*/ 54 w 72"/>
                <a:gd name="T55" fmla="*/ 42 h 74"/>
                <a:gd name="T56" fmla="*/ 54 w 72"/>
                <a:gd name="T57" fmla="*/ 40 h 74"/>
                <a:gd name="T58" fmla="*/ 52 w 72"/>
                <a:gd name="T59" fmla="*/ 40 h 74"/>
                <a:gd name="T60" fmla="*/ 50 w 72"/>
                <a:gd name="T61" fmla="*/ 40 h 74"/>
                <a:gd name="T62" fmla="*/ 52 w 72"/>
                <a:gd name="T63" fmla="*/ 44 h 74"/>
                <a:gd name="T64" fmla="*/ 50 w 72"/>
                <a:gd name="T65" fmla="*/ 44 h 74"/>
                <a:gd name="T66" fmla="*/ 50 w 72"/>
                <a:gd name="T67" fmla="*/ 46 h 74"/>
                <a:gd name="T68" fmla="*/ 48 w 72"/>
                <a:gd name="T69" fmla="*/ 46 h 74"/>
                <a:gd name="T70" fmla="*/ 48 w 72"/>
                <a:gd name="T71" fmla="*/ 46 h 74"/>
                <a:gd name="T72" fmla="*/ 44 w 72"/>
                <a:gd name="T73" fmla="*/ 48 h 74"/>
                <a:gd name="T74" fmla="*/ 42 w 72"/>
                <a:gd name="T75" fmla="*/ 48 h 74"/>
                <a:gd name="T76" fmla="*/ 36 w 72"/>
                <a:gd name="T77" fmla="*/ 52 h 74"/>
                <a:gd name="T78" fmla="*/ 34 w 72"/>
                <a:gd name="T79" fmla="*/ 52 h 74"/>
                <a:gd name="T80" fmla="*/ 30 w 72"/>
                <a:gd name="T81" fmla="*/ 50 h 74"/>
                <a:gd name="T82" fmla="*/ 28 w 72"/>
                <a:gd name="T83" fmla="*/ 58 h 74"/>
                <a:gd name="T84" fmla="*/ 24 w 72"/>
                <a:gd name="T85" fmla="*/ 60 h 74"/>
                <a:gd name="T86" fmla="*/ 20 w 72"/>
                <a:gd name="T87" fmla="*/ 62 h 74"/>
                <a:gd name="T88" fmla="*/ 16 w 72"/>
                <a:gd name="T89" fmla="*/ 66 h 74"/>
                <a:gd name="T90" fmla="*/ 16 w 72"/>
                <a:gd name="T91" fmla="*/ 66 h 74"/>
                <a:gd name="T92" fmla="*/ 16 w 72"/>
                <a:gd name="T93" fmla="*/ 68 h 74"/>
                <a:gd name="T94" fmla="*/ 14 w 72"/>
                <a:gd name="T95" fmla="*/ 68 h 74"/>
                <a:gd name="T96" fmla="*/ 14 w 72"/>
                <a:gd name="T97" fmla="*/ 70 h 74"/>
                <a:gd name="T98" fmla="*/ 12 w 72"/>
                <a:gd name="T99" fmla="*/ 72 h 74"/>
                <a:gd name="T100" fmla="*/ 10 w 72"/>
                <a:gd name="T101" fmla="*/ 72 h 74"/>
                <a:gd name="T102" fmla="*/ 10 w 72"/>
                <a:gd name="T103" fmla="*/ 74 h 74"/>
                <a:gd name="T104" fmla="*/ 6 w 72"/>
                <a:gd name="T105" fmla="*/ 68 h 74"/>
                <a:gd name="T106" fmla="*/ 8 w 72"/>
                <a:gd name="T107" fmla="*/ 58 h 74"/>
                <a:gd name="T108" fmla="*/ 6 w 72"/>
                <a:gd name="T109" fmla="*/ 44 h 74"/>
                <a:gd name="T110" fmla="*/ 2 w 72"/>
                <a:gd name="T111" fmla="*/ 34 h 74"/>
                <a:gd name="T112" fmla="*/ 0 w 72"/>
                <a:gd name="T113" fmla="*/ 24 h 74"/>
                <a:gd name="T114" fmla="*/ 66 w 72"/>
                <a:gd name="T115" fmla="*/ 34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72" h="74">
                  <a:moveTo>
                    <a:pt x="10" y="74"/>
                  </a:moveTo>
                  <a:lnTo>
                    <a:pt x="10" y="74"/>
                  </a:lnTo>
                  <a:lnTo>
                    <a:pt x="10" y="74"/>
                  </a:lnTo>
                  <a:close/>
                  <a:moveTo>
                    <a:pt x="12" y="74"/>
                  </a:moveTo>
                  <a:lnTo>
                    <a:pt x="10" y="74"/>
                  </a:lnTo>
                  <a:lnTo>
                    <a:pt x="12" y="74"/>
                  </a:lnTo>
                  <a:close/>
                  <a:moveTo>
                    <a:pt x="16" y="68"/>
                  </a:moveTo>
                  <a:lnTo>
                    <a:pt x="16" y="70"/>
                  </a:lnTo>
                  <a:lnTo>
                    <a:pt x="16" y="68"/>
                  </a:lnTo>
                  <a:close/>
                  <a:moveTo>
                    <a:pt x="18" y="68"/>
                  </a:moveTo>
                  <a:lnTo>
                    <a:pt x="16" y="68"/>
                  </a:lnTo>
                  <a:lnTo>
                    <a:pt x="18" y="68"/>
                  </a:lnTo>
                  <a:close/>
                  <a:moveTo>
                    <a:pt x="16" y="68"/>
                  </a:moveTo>
                  <a:lnTo>
                    <a:pt x="16" y="66"/>
                  </a:lnTo>
                  <a:lnTo>
                    <a:pt x="16" y="68"/>
                  </a:lnTo>
                  <a:close/>
                  <a:moveTo>
                    <a:pt x="38" y="52"/>
                  </a:moveTo>
                  <a:lnTo>
                    <a:pt x="38" y="50"/>
                  </a:lnTo>
                  <a:lnTo>
                    <a:pt x="38" y="52"/>
                  </a:lnTo>
                  <a:close/>
                  <a:moveTo>
                    <a:pt x="36" y="50"/>
                  </a:moveTo>
                  <a:lnTo>
                    <a:pt x="36" y="52"/>
                  </a:lnTo>
                  <a:lnTo>
                    <a:pt x="36" y="50"/>
                  </a:lnTo>
                  <a:close/>
                  <a:moveTo>
                    <a:pt x="56" y="44"/>
                  </a:moveTo>
                  <a:lnTo>
                    <a:pt x="54" y="44"/>
                  </a:lnTo>
                  <a:lnTo>
                    <a:pt x="56" y="44"/>
                  </a:lnTo>
                  <a:close/>
                  <a:moveTo>
                    <a:pt x="54" y="44"/>
                  </a:moveTo>
                  <a:lnTo>
                    <a:pt x="54" y="42"/>
                  </a:lnTo>
                  <a:lnTo>
                    <a:pt x="54" y="44"/>
                  </a:lnTo>
                  <a:close/>
                  <a:moveTo>
                    <a:pt x="66" y="36"/>
                  </a:moveTo>
                  <a:lnTo>
                    <a:pt x="66" y="38"/>
                  </a:lnTo>
                  <a:lnTo>
                    <a:pt x="66" y="36"/>
                  </a:lnTo>
                  <a:close/>
                  <a:moveTo>
                    <a:pt x="62" y="38"/>
                  </a:moveTo>
                  <a:lnTo>
                    <a:pt x="62" y="38"/>
                  </a:lnTo>
                  <a:lnTo>
                    <a:pt x="62" y="38"/>
                  </a:lnTo>
                  <a:close/>
                  <a:moveTo>
                    <a:pt x="52" y="40"/>
                  </a:moveTo>
                  <a:lnTo>
                    <a:pt x="54" y="40"/>
                  </a:lnTo>
                  <a:lnTo>
                    <a:pt x="54" y="42"/>
                  </a:lnTo>
                  <a:lnTo>
                    <a:pt x="52" y="42"/>
                  </a:lnTo>
                  <a:lnTo>
                    <a:pt x="52" y="40"/>
                  </a:lnTo>
                  <a:close/>
                  <a:moveTo>
                    <a:pt x="50" y="40"/>
                  </a:moveTo>
                  <a:lnTo>
                    <a:pt x="50" y="38"/>
                  </a:lnTo>
                  <a:lnTo>
                    <a:pt x="50" y="40"/>
                  </a:lnTo>
                  <a:close/>
                  <a:moveTo>
                    <a:pt x="50" y="38"/>
                  </a:moveTo>
                  <a:lnTo>
                    <a:pt x="48" y="38"/>
                  </a:lnTo>
                  <a:lnTo>
                    <a:pt x="50" y="38"/>
                  </a:lnTo>
                  <a:close/>
                  <a:moveTo>
                    <a:pt x="2" y="18"/>
                  </a:moveTo>
                  <a:lnTo>
                    <a:pt x="4" y="18"/>
                  </a:lnTo>
                  <a:lnTo>
                    <a:pt x="6" y="18"/>
                  </a:lnTo>
                  <a:lnTo>
                    <a:pt x="8" y="18"/>
                  </a:lnTo>
                  <a:lnTo>
                    <a:pt x="10" y="16"/>
                  </a:lnTo>
                  <a:lnTo>
                    <a:pt x="12" y="16"/>
                  </a:lnTo>
                  <a:lnTo>
                    <a:pt x="14" y="16"/>
                  </a:lnTo>
                  <a:lnTo>
                    <a:pt x="14" y="16"/>
                  </a:lnTo>
                  <a:lnTo>
                    <a:pt x="14" y="14"/>
                  </a:lnTo>
                  <a:lnTo>
                    <a:pt x="16" y="14"/>
                  </a:lnTo>
                  <a:lnTo>
                    <a:pt x="18" y="14"/>
                  </a:lnTo>
                  <a:lnTo>
                    <a:pt x="20" y="14"/>
                  </a:lnTo>
                  <a:lnTo>
                    <a:pt x="22" y="12"/>
                  </a:lnTo>
                  <a:lnTo>
                    <a:pt x="24" y="12"/>
                  </a:lnTo>
                  <a:lnTo>
                    <a:pt x="24" y="14"/>
                  </a:lnTo>
                  <a:lnTo>
                    <a:pt x="26" y="14"/>
                  </a:lnTo>
                  <a:lnTo>
                    <a:pt x="26" y="12"/>
                  </a:lnTo>
                  <a:lnTo>
                    <a:pt x="28" y="12"/>
                  </a:lnTo>
                  <a:lnTo>
                    <a:pt x="28" y="10"/>
                  </a:lnTo>
                  <a:lnTo>
                    <a:pt x="30" y="10"/>
                  </a:lnTo>
                  <a:lnTo>
                    <a:pt x="32" y="10"/>
                  </a:lnTo>
                  <a:lnTo>
                    <a:pt x="34" y="10"/>
                  </a:lnTo>
                  <a:lnTo>
                    <a:pt x="36" y="8"/>
                  </a:lnTo>
                  <a:lnTo>
                    <a:pt x="38" y="8"/>
                  </a:lnTo>
                  <a:lnTo>
                    <a:pt x="40" y="8"/>
                  </a:lnTo>
                  <a:lnTo>
                    <a:pt x="42" y="8"/>
                  </a:lnTo>
                  <a:lnTo>
                    <a:pt x="42" y="6"/>
                  </a:lnTo>
                  <a:lnTo>
                    <a:pt x="44" y="6"/>
                  </a:lnTo>
                  <a:lnTo>
                    <a:pt x="46" y="6"/>
                  </a:lnTo>
                  <a:lnTo>
                    <a:pt x="48" y="6"/>
                  </a:lnTo>
                  <a:lnTo>
                    <a:pt x="48" y="4"/>
                  </a:lnTo>
                  <a:lnTo>
                    <a:pt x="50" y="4"/>
                  </a:lnTo>
                  <a:lnTo>
                    <a:pt x="52" y="4"/>
                  </a:lnTo>
                  <a:lnTo>
                    <a:pt x="54" y="4"/>
                  </a:lnTo>
                  <a:lnTo>
                    <a:pt x="56" y="2"/>
                  </a:lnTo>
                  <a:lnTo>
                    <a:pt x="58" y="2"/>
                  </a:lnTo>
                  <a:lnTo>
                    <a:pt x="60" y="2"/>
                  </a:lnTo>
                  <a:lnTo>
                    <a:pt x="62" y="2"/>
                  </a:lnTo>
                  <a:lnTo>
                    <a:pt x="62" y="0"/>
                  </a:lnTo>
                  <a:lnTo>
                    <a:pt x="62" y="2"/>
                  </a:lnTo>
                  <a:lnTo>
                    <a:pt x="62" y="2"/>
                  </a:lnTo>
                  <a:lnTo>
                    <a:pt x="62" y="4"/>
                  </a:lnTo>
                  <a:lnTo>
                    <a:pt x="62" y="6"/>
                  </a:lnTo>
                  <a:lnTo>
                    <a:pt x="64" y="8"/>
                  </a:lnTo>
                  <a:lnTo>
                    <a:pt x="64" y="10"/>
                  </a:lnTo>
                  <a:lnTo>
                    <a:pt x="64" y="12"/>
                  </a:lnTo>
                  <a:lnTo>
                    <a:pt x="66" y="12"/>
                  </a:lnTo>
                  <a:lnTo>
                    <a:pt x="66" y="14"/>
                  </a:lnTo>
                  <a:lnTo>
                    <a:pt x="66" y="16"/>
                  </a:lnTo>
                  <a:lnTo>
                    <a:pt x="66" y="18"/>
                  </a:lnTo>
                  <a:lnTo>
                    <a:pt x="68" y="18"/>
                  </a:lnTo>
                  <a:lnTo>
                    <a:pt x="68" y="20"/>
                  </a:lnTo>
                  <a:lnTo>
                    <a:pt x="68" y="22"/>
                  </a:lnTo>
                  <a:lnTo>
                    <a:pt x="68" y="24"/>
                  </a:lnTo>
                  <a:lnTo>
                    <a:pt x="70" y="24"/>
                  </a:lnTo>
                  <a:lnTo>
                    <a:pt x="70" y="26"/>
                  </a:lnTo>
                  <a:lnTo>
                    <a:pt x="70" y="28"/>
                  </a:lnTo>
                  <a:lnTo>
                    <a:pt x="70" y="28"/>
                  </a:lnTo>
                  <a:lnTo>
                    <a:pt x="70" y="30"/>
                  </a:lnTo>
                  <a:lnTo>
                    <a:pt x="72" y="30"/>
                  </a:lnTo>
                  <a:lnTo>
                    <a:pt x="70" y="30"/>
                  </a:lnTo>
                  <a:lnTo>
                    <a:pt x="70" y="32"/>
                  </a:lnTo>
                  <a:lnTo>
                    <a:pt x="70" y="34"/>
                  </a:lnTo>
                  <a:lnTo>
                    <a:pt x="72" y="34"/>
                  </a:lnTo>
                  <a:lnTo>
                    <a:pt x="70" y="34"/>
                  </a:lnTo>
                  <a:lnTo>
                    <a:pt x="70" y="36"/>
                  </a:lnTo>
                  <a:lnTo>
                    <a:pt x="70" y="34"/>
                  </a:lnTo>
                  <a:lnTo>
                    <a:pt x="68" y="34"/>
                  </a:lnTo>
                  <a:lnTo>
                    <a:pt x="70" y="34"/>
                  </a:lnTo>
                  <a:lnTo>
                    <a:pt x="68" y="34"/>
                  </a:lnTo>
                  <a:lnTo>
                    <a:pt x="70" y="34"/>
                  </a:lnTo>
                  <a:lnTo>
                    <a:pt x="68" y="34"/>
                  </a:lnTo>
                  <a:lnTo>
                    <a:pt x="68" y="36"/>
                  </a:lnTo>
                  <a:lnTo>
                    <a:pt x="70" y="36"/>
                  </a:lnTo>
                  <a:lnTo>
                    <a:pt x="68" y="36"/>
                  </a:lnTo>
                  <a:lnTo>
                    <a:pt x="66" y="36"/>
                  </a:lnTo>
                  <a:lnTo>
                    <a:pt x="66" y="38"/>
                  </a:lnTo>
                  <a:lnTo>
                    <a:pt x="66" y="36"/>
                  </a:lnTo>
                  <a:lnTo>
                    <a:pt x="66" y="38"/>
                  </a:lnTo>
                  <a:lnTo>
                    <a:pt x="64" y="38"/>
                  </a:lnTo>
                  <a:lnTo>
                    <a:pt x="64" y="36"/>
                  </a:lnTo>
                  <a:lnTo>
                    <a:pt x="64" y="38"/>
                  </a:lnTo>
                  <a:lnTo>
                    <a:pt x="62" y="38"/>
                  </a:lnTo>
                  <a:lnTo>
                    <a:pt x="64" y="38"/>
                  </a:lnTo>
                  <a:lnTo>
                    <a:pt x="64" y="36"/>
                  </a:lnTo>
                  <a:lnTo>
                    <a:pt x="62" y="36"/>
                  </a:lnTo>
                  <a:lnTo>
                    <a:pt x="64" y="36"/>
                  </a:lnTo>
                  <a:lnTo>
                    <a:pt x="64" y="38"/>
                  </a:lnTo>
                  <a:lnTo>
                    <a:pt x="62" y="38"/>
                  </a:lnTo>
                  <a:lnTo>
                    <a:pt x="62" y="36"/>
                  </a:lnTo>
                  <a:lnTo>
                    <a:pt x="62" y="36"/>
                  </a:lnTo>
                  <a:lnTo>
                    <a:pt x="62" y="34"/>
                  </a:lnTo>
                  <a:lnTo>
                    <a:pt x="62" y="32"/>
                  </a:lnTo>
                  <a:lnTo>
                    <a:pt x="62" y="30"/>
                  </a:lnTo>
                  <a:lnTo>
                    <a:pt x="60" y="30"/>
                  </a:lnTo>
                  <a:lnTo>
                    <a:pt x="60" y="28"/>
                  </a:lnTo>
                  <a:lnTo>
                    <a:pt x="60" y="30"/>
                  </a:lnTo>
                  <a:lnTo>
                    <a:pt x="62" y="30"/>
                  </a:lnTo>
                  <a:lnTo>
                    <a:pt x="62" y="32"/>
                  </a:lnTo>
                  <a:lnTo>
                    <a:pt x="60" y="32"/>
                  </a:lnTo>
                  <a:lnTo>
                    <a:pt x="62" y="32"/>
                  </a:lnTo>
                  <a:lnTo>
                    <a:pt x="60" y="32"/>
                  </a:lnTo>
                  <a:lnTo>
                    <a:pt x="62" y="32"/>
                  </a:lnTo>
                  <a:lnTo>
                    <a:pt x="62" y="34"/>
                  </a:lnTo>
                  <a:lnTo>
                    <a:pt x="62" y="36"/>
                  </a:lnTo>
                  <a:lnTo>
                    <a:pt x="62" y="34"/>
                  </a:lnTo>
                  <a:lnTo>
                    <a:pt x="62" y="36"/>
                  </a:lnTo>
                  <a:lnTo>
                    <a:pt x="62" y="38"/>
                  </a:lnTo>
                  <a:lnTo>
                    <a:pt x="62" y="38"/>
                  </a:lnTo>
                  <a:lnTo>
                    <a:pt x="62" y="40"/>
                  </a:lnTo>
                  <a:lnTo>
                    <a:pt x="62" y="40"/>
                  </a:lnTo>
                  <a:lnTo>
                    <a:pt x="60" y="40"/>
                  </a:lnTo>
                  <a:lnTo>
                    <a:pt x="62" y="40"/>
                  </a:lnTo>
                  <a:lnTo>
                    <a:pt x="62" y="38"/>
                  </a:lnTo>
                  <a:lnTo>
                    <a:pt x="60" y="38"/>
                  </a:lnTo>
                  <a:lnTo>
                    <a:pt x="62" y="38"/>
                  </a:lnTo>
                  <a:lnTo>
                    <a:pt x="60" y="38"/>
                  </a:lnTo>
                  <a:lnTo>
                    <a:pt x="62" y="38"/>
                  </a:lnTo>
                  <a:lnTo>
                    <a:pt x="60" y="38"/>
                  </a:lnTo>
                  <a:lnTo>
                    <a:pt x="60" y="40"/>
                  </a:lnTo>
                  <a:lnTo>
                    <a:pt x="62" y="40"/>
                  </a:lnTo>
                  <a:lnTo>
                    <a:pt x="60" y="40"/>
                  </a:lnTo>
                  <a:lnTo>
                    <a:pt x="62" y="40"/>
                  </a:lnTo>
                  <a:lnTo>
                    <a:pt x="60" y="40"/>
                  </a:lnTo>
                  <a:lnTo>
                    <a:pt x="60" y="38"/>
                  </a:lnTo>
                  <a:lnTo>
                    <a:pt x="58" y="38"/>
                  </a:lnTo>
                  <a:lnTo>
                    <a:pt x="60" y="38"/>
                  </a:lnTo>
                  <a:lnTo>
                    <a:pt x="58" y="38"/>
                  </a:lnTo>
                  <a:lnTo>
                    <a:pt x="60" y="38"/>
                  </a:lnTo>
                  <a:lnTo>
                    <a:pt x="60" y="40"/>
                  </a:lnTo>
                  <a:lnTo>
                    <a:pt x="60" y="38"/>
                  </a:lnTo>
                  <a:lnTo>
                    <a:pt x="60" y="40"/>
                  </a:lnTo>
                  <a:lnTo>
                    <a:pt x="60" y="38"/>
                  </a:lnTo>
                  <a:lnTo>
                    <a:pt x="60" y="40"/>
                  </a:lnTo>
                  <a:lnTo>
                    <a:pt x="60" y="42"/>
                  </a:lnTo>
                  <a:lnTo>
                    <a:pt x="58" y="42"/>
                  </a:lnTo>
                  <a:lnTo>
                    <a:pt x="58" y="40"/>
                  </a:lnTo>
                  <a:lnTo>
                    <a:pt x="58" y="42"/>
                  </a:lnTo>
                  <a:lnTo>
                    <a:pt x="56" y="42"/>
                  </a:lnTo>
                  <a:lnTo>
                    <a:pt x="56" y="44"/>
                  </a:lnTo>
                  <a:lnTo>
                    <a:pt x="54" y="44"/>
                  </a:lnTo>
                  <a:lnTo>
                    <a:pt x="56" y="44"/>
                  </a:lnTo>
                  <a:lnTo>
                    <a:pt x="54" y="44"/>
                  </a:lnTo>
                  <a:lnTo>
                    <a:pt x="56" y="44"/>
                  </a:lnTo>
                  <a:lnTo>
                    <a:pt x="54" y="44"/>
                  </a:lnTo>
                  <a:lnTo>
                    <a:pt x="56" y="44"/>
                  </a:lnTo>
                  <a:lnTo>
                    <a:pt x="54" y="44"/>
                  </a:lnTo>
                  <a:lnTo>
                    <a:pt x="56" y="44"/>
                  </a:lnTo>
                  <a:lnTo>
                    <a:pt x="54" y="44"/>
                  </a:lnTo>
                  <a:lnTo>
                    <a:pt x="54" y="42"/>
                  </a:lnTo>
                  <a:lnTo>
                    <a:pt x="54" y="44"/>
                  </a:lnTo>
                  <a:lnTo>
                    <a:pt x="54" y="42"/>
                  </a:lnTo>
                  <a:lnTo>
                    <a:pt x="54" y="44"/>
                  </a:lnTo>
                  <a:lnTo>
                    <a:pt x="54" y="42"/>
                  </a:lnTo>
                  <a:lnTo>
                    <a:pt x="54" y="44"/>
                  </a:lnTo>
                  <a:lnTo>
                    <a:pt x="54" y="42"/>
                  </a:lnTo>
                  <a:lnTo>
                    <a:pt x="54" y="44"/>
                  </a:lnTo>
                  <a:lnTo>
                    <a:pt x="54" y="42"/>
                  </a:lnTo>
                  <a:lnTo>
                    <a:pt x="54" y="40"/>
                  </a:lnTo>
                  <a:lnTo>
                    <a:pt x="54" y="42"/>
                  </a:lnTo>
                  <a:lnTo>
                    <a:pt x="54" y="40"/>
                  </a:lnTo>
                  <a:lnTo>
                    <a:pt x="52" y="40"/>
                  </a:lnTo>
                  <a:lnTo>
                    <a:pt x="52" y="42"/>
                  </a:lnTo>
                  <a:lnTo>
                    <a:pt x="52" y="40"/>
                  </a:lnTo>
                  <a:lnTo>
                    <a:pt x="52" y="38"/>
                  </a:lnTo>
                  <a:lnTo>
                    <a:pt x="52" y="40"/>
                  </a:lnTo>
                  <a:lnTo>
                    <a:pt x="52" y="38"/>
                  </a:lnTo>
                  <a:lnTo>
                    <a:pt x="50" y="38"/>
                  </a:lnTo>
                  <a:lnTo>
                    <a:pt x="48" y="38"/>
                  </a:lnTo>
                  <a:lnTo>
                    <a:pt x="50" y="38"/>
                  </a:lnTo>
                  <a:lnTo>
                    <a:pt x="50" y="40"/>
                  </a:lnTo>
                  <a:lnTo>
                    <a:pt x="50" y="38"/>
                  </a:lnTo>
                  <a:lnTo>
                    <a:pt x="50" y="40"/>
                  </a:lnTo>
                  <a:lnTo>
                    <a:pt x="52" y="40"/>
                  </a:lnTo>
                  <a:lnTo>
                    <a:pt x="52" y="42"/>
                  </a:lnTo>
                  <a:lnTo>
                    <a:pt x="54" y="42"/>
                  </a:lnTo>
                  <a:lnTo>
                    <a:pt x="54" y="44"/>
                  </a:lnTo>
                  <a:lnTo>
                    <a:pt x="54" y="46"/>
                  </a:lnTo>
                  <a:lnTo>
                    <a:pt x="52" y="46"/>
                  </a:lnTo>
                  <a:lnTo>
                    <a:pt x="52" y="44"/>
                  </a:lnTo>
                  <a:lnTo>
                    <a:pt x="52" y="46"/>
                  </a:lnTo>
                  <a:lnTo>
                    <a:pt x="52" y="44"/>
                  </a:lnTo>
                  <a:lnTo>
                    <a:pt x="52" y="46"/>
                  </a:lnTo>
                  <a:lnTo>
                    <a:pt x="52" y="44"/>
                  </a:lnTo>
                  <a:lnTo>
                    <a:pt x="52" y="46"/>
                  </a:lnTo>
                  <a:lnTo>
                    <a:pt x="50" y="46"/>
                  </a:lnTo>
                  <a:lnTo>
                    <a:pt x="50" y="44"/>
                  </a:lnTo>
                  <a:lnTo>
                    <a:pt x="50" y="46"/>
                  </a:lnTo>
                  <a:lnTo>
                    <a:pt x="48" y="46"/>
                  </a:lnTo>
                  <a:lnTo>
                    <a:pt x="50" y="46"/>
                  </a:lnTo>
                  <a:lnTo>
                    <a:pt x="48" y="46"/>
                  </a:lnTo>
                  <a:lnTo>
                    <a:pt x="50" y="46"/>
                  </a:lnTo>
                  <a:lnTo>
                    <a:pt x="48" y="46"/>
                  </a:lnTo>
                  <a:lnTo>
                    <a:pt x="50" y="46"/>
                  </a:lnTo>
                  <a:lnTo>
                    <a:pt x="48" y="46"/>
                  </a:lnTo>
                  <a:lnTo>
                    <a:pt x="48" y="48"/>
                  </a:lnTo>
                  <a:lnTo>
                    <a:pt x="48" y="46"/>
                  </a:lnTo>
                  <a:lnTo>
                    <a:pt x="46" y="46"/>
                  </a:lnTo>
                  <a:lnTo>
                    <a:pt x="48" y="46"/>
                  </a:lnTo>
                  <a:lnTo>
                    <a:pt x="46" y="46"/>
                  </a:lnTo>
                  <a:lnTo>
                    <a:pt x="48" y="46"/>
                  </a:lnTo>
                  <a:lnTo>
                    <a:pt x="46" y="46"/>
                  </a:lnTo>
                  <a:lnTo>
                    <a:pt x="46" y="48"/>
                  </a:lnTo>
                  <a:lnTo>
                    <a:pt x="46" y="46"/>
                  </a:lnTo>
                  <a:lnTo>
                    <a:pt x="44" y="46"/>
                  </a:lnTo>
                  <a:lnTo>
                    <a:pt x="46" y="46"/>
                  </a:lnTo>
                  <a:lnTo>
                    <a:pt x="46" y="48"/>
                  </a:lnTo>
                  <a:lnTo>
                    <a:pt x="48" y="46"/>
                  </a:lnTo>
                  <a:lnTo>
                    <a:pt x="48" y="48"/>
                  </a:lnTo>
                  <a:lnTo>
                    <a:pt x="46" y="48"/>
                  </a:lnTo>
                  <a:lnTo>
                    <a:pt x="48" y="48"/>
                  </a:lnTo>
                  <a:lnTo>
                    <a:pt x="46" y="48"/>
                  </a:lnTo>
                  <a:lnTo>
                    <a:pt x="48" y="48"/>
                  </a:lnTo>
                  <a:lnTo>
                    <a:pt x="46" y="48"/>
                  </a:lnTo>
                  <a:lnTo>
                    <a:pt x="44" y="48"/>
                  </a:lnTo>
                  <a:lnTo>
                    <a:pt x="42" y="48"/>
                  </a:lnTo>
                  <a:lnTo>
                    <a:pt x="42" y="46"/>
                  </a:lnTo>
                  <a:lnTo>
                    <a:pt x="40" y="46"/>
                  </a:lnTo>
                  <a:lnTo>
                    <a:pt x="42" y="46"/>
                  </a:lnTo>
                  <a:lnTo>
                    <a:pt x="42" y="48"/>
                  </a:lnTo>
                  <a:lnTo>
                    <a:pt x="42" y="46"/>
                  </a:lnTo>
                  <a:lnTo>
                    <a:pt x="42" y="48"/>
                  </a:lnTo>
                  <a:lnTo>
                    <a:pt x="42" y="50"/>
                  </a:lnTo>
                  <a:lnTo>
                    <a:pt x="40" y="50"/>
                  </a:lnTo>
                  <a:lnTo>
                    <a:pt x="38" y="50"/>
                  </a:lnTo>
                  <a:lnTo>
                    <a:pt x="36" y="50"/>
                  </a:lnTo>
                  <a:lnTo>
                    <a:pt x="38" y="50"/>
                  </a:lnTo>
                  <a:lnTo>
                    <a:pt x="36" y="50"/>
                  </a:lnTo>
                  <a:lnTo>
                    <a:pt x="36" y="52"/>
                  </a:lnTo>
                  <a:lnTo>
                    <a:pt x="36" y="50"/>
                  </a:lnTo>
                  <a:lnTo>
                    <a:pt x="36" y="48"/>
                  </a:lnTo>
                  <a:lnTo>
                    <a:pt x="36" y="50"/>
                  </a:lnTo>
                  <a:lnTo>
                    <a:pt x="36" y="52"/>
                  </a:lnTo>
                  <a:lnTo>
                    <a:pt x="34" y="52"/>
                  </a:lnTo>
                  <a:lnTo>
                    <a:pt x="34" y="50"/>
                  </a:lnTo>
                  <a:lnTo>
                    <a:pt x="34" y="52"/>
                  </a:lnTo>
                  <a:lnTo>
                    <a:pt x="34" y="50"/>
                  </a:lnTo>
                  <a:lnTo>
                    <a:pt x="34" y="52"/>
                  </a:lnTo>
                  <a:lnTo>
                    <a:pt x="32" y="52"/>
                  </a:lnTo>
                  <a:lnTo>
                    <a:pt x="32" y="50"/>
                  </a:lnTo>
                  <a:lnTo>
                    <a:pt x="32" y="52"/>
                  </a:lnTo>
                  <a:lnTo>
                    <a:pt x="30" y="52"/>
                  </a:lnTo>
                  <a:lnTo>
                    <a:pt x="30" y="50"/>
                  </a:lnTo>
                  <a:lnTo>
                    <a:pt x="30" y="52"/>
                  </a:lnTo>
                  <a:lnTo>
                    <a:pt x="32" y="52"/>
                  </a:lnTo>
                  <a:lnTo>
                    <a:pt x="30" y="52"/>
                  </a:lnTo>
                  <a:lnTo>
                    <a:pt x="30" y="54"/>
                  </a:lnTo>
                  <a:lnTo>
                    <a:pt x="30" y="56"/>
                  </a:lnTo>
                  <a:lnTo>
                    <a:pt x="28" y="56"/>
                  </a:lnTo>
                  <a:lnTo>
                    <a:pt x="28" y="58"/>
                  </a:lnTo>
                  <a:lnTo>
                    <a:pt x="26" y="58"/>
                  </a:lnTo>
                  <a:lnTo>
                    <a:pt x="26" y="60"/>
                  </a:lnTo>
                  <a:lnTo>
                    <a:pt x="24" y="60"/>
                  </a:lnTo>
                  <a:lnTo>
                    <a:pt x="26" y="60"/>
                  </a:lnTo>
                  <a:lnTo>
                    <a:pt x="24" y="60"/>
                  </a:lnTo>
                  <a:lnTo>
                    <a:pt x="26" y="60"/>
                  </a:lnTo>
                  <a:lnTo>
                    <a:pt x="24" y="60"/>
                  </a:lnTo>
                  <a:lnTo>
                    <a:pt x="22" y="60"/>
                  </a:lnTo>
                  <a:lnTo>
                    <a:pt x="22" y="62"/>
                  </a:lnTo>
                  <a:lnTo>
                    <a:pt x="22" y="60"/>
                  </a:lnTo>
                  <a:lnTo>
                    <a:pt x="22" y="62"/>
                  </a:lnTo>
                  <a:lnTo>
                    <a:pt x="22" y="60"/>
                  </a:lnTo>
                  <a:lnTo>
                    <a:pt x="22" y="62"/>
                  </a:lnTo>
                  <a:lnTo>
                    <a:pt x="20" y="62"/>
                  </a:lnTo>
                  <a:lnTo>
                    <a:pt x="22" y="62"/>
                  </a:lnTo>
                  <a:lnTo>
                    <a:pt x="20" y="64"/>
                  </a:lnTo>
                  <a:lnTo>
                    <a:pt x="20" y="62"/>
                  </a:lnTo>
                  <a:lnTo>
                    <a:pt x="20" y="64"/>
                  </a:lnTo>
                  <a:lnTo>
                    <a:pt x="18" y="64"/>
                  </a:lnTo>
                  <a:lnTo>
                    <a:pt x="18" y="66"/>
                  </a:lnTo>
                  <a:lnTo>
                    <a:pt x="16" y="66"/>
                  </a:lnTo>
                  <a:lnTo>
                    <a:pt x="18" y="66"/>
                  </a:lnTo>
                  <a:lnTo>
                    <a:pt x="16" y="66"/>
                  </a:lnTo>
                  <a:lnTo>
                    <a:pt x="18" y="66"/>
                  </a:lnTo>
                  <a:lnTo>
                    <a:pt x="18" y="64"/>
                  </a:lnTo>
                  <a:lnTo>
                    <a:pt x="18" y="66"/>
                  </a:lnTo>
                  <a:lnTo>
                    <a:pt x="16" y="64"/>
                  </a:lnTo>
                  <a:lnTo>
                    <a:pt x="16" y="66"/>
                  </a:lnTo>
                  <a:lnTo>
                    <a:pt x="14" y="66"/>
                  </a:lnTo>
                  <a:lnTo>
                    <a:pt x="16" y="66"/>
                  </a:lnTo>
                  <a:lnTo>
                    <a:pt x="14" y="66"/>
                  </a:lnTo>
                  <a:lnTo>
                    <a:pt x="16" y="66"/>
                  </a:lnTo>
                  <a:lnTo>
                    <a:pt x="16" y="68"/>
                  </a:lnTo>
                  <a:lnTo>
                    <a:pt x="16" y="66"/>
                  </a:lnTo>
                  <a:lnTo>
                    <a:pt x="16" y="68"/>
                  </a:lnTo>
                  <a:lnTo>
                    <a:pt x="16" y="66"/>
                  </a:lnTo>
                  <a:lnTo>
                    <a:pt x="16" y="68"/>
                  </a:lnTo>
                  <a:lnTo>
                    <a:pt x="14" y="68"/>
                  </a:lnTo>
                  <a:lnTo>
                    <a:pt x="16" y="68"/>
                  </a:lnTo>
                  <a:lnTo>
                    <a:pt x="14" y="68"/>
                  </a:lnTo>
                  <a:lnTo>
                    <a:pt x="16" y="68"/>
                  </a:lnTo>
                  <a:lnTo>
                    <a:pt x="14" y="68"/>
                  </a:lnTo>
                  <a:lnTo>
                    <a:pt x="16" y="68"/>
                  </a:lnTo>
                  <a:lnTo>
                    <a:pt x="14" y="68"/>
                  </a:lnTo>
                  <a:lnTo>
                    <a:pt x="14" y="70"/>
                  </a:lnTo>
                  <a:lnTo>
                    <a:pt x="14" y="68"/>
                  </a:lnTo>
                  <a:lnTo>
                    <a:pt x="14" y="70"/>
                  </a:lnTo>
                  <a:lnTo>
                    <a:pt x="14" y="68"/>
                  </a:lnTo>
                  <a:lnTo>
                    <a:pt x="14" y="70"/>
                  </a:lnTo>
                  <a:lnTo>
                    <a:pt x="14" y="70"/>
                  </a:lnTo>
                  <a:lnTo>
                    <a:pt x="14" y="70"/>
                  </a:lnTo>
                  <a:lnTo>
                    <a:pt x="14" y="70"/>
                  </a:lnTo>
                  <a:lnTo>
                    <a:pt x="14" y="72"/>
                  </a:lnTo>
                  <a:lnTo>
                    <a:pt x="14" y="70"/>
                  </a:lnTo>
                  <a:lnTo>
                    <a:pt x="14" y="72"/>
                  </a:lnTo>
                  <a:lnTo>
                    <a:pt x="12" y="72"/>
                  </a:lnTo>
                  <a:lnTo>
                    <a:pt x="12" y="70"/>
                  </a:lnTo>
                  <a:lnTo>
                    <a:pt x="12" y="72"/>
                  </a:lnTo>
                  <a:lnTo>
                    <a:pt x="12" y="74"/>
                  </a:lnTo>
                  <a:lnTo>
                    <a:pt x="12" y="72"/>
                  </a:lnTo>
                  <a:lnTo>
                    <a:pt x="10" y="72"/>
                  </a:lnTo>
                  <a:lnTo>
                    <a:pt x="10" y="74"/>
                  </a:lnTo>
                  <a:lnTo>
                    <a:pt x="10" y="72"/>
                  </a:lnTo>
                  <a:lnTo>
                    <a:pt x="10" y="74"/>
                  </a:lnTo>
                  <a:lnTo>
                    <a:pt x="10" y="72"/>
                  </a:lnTo>
                  <a:lnTo>
                    <a:pt x="10" y="74"/>
                  </a:lnTo>
                  <a:lnTo>
                    <a:pt x="10" y="72"/>
                  </a:lnTo>
                  <a:lnTo>
                    <a:pt x="10" y="74"/>
                  </a:lnTo>
                  <a:lnTo>
                    <a:pt x="10" y="72"/>
                  </a:lnTo>
                  <a:lnTo>
                    <a:pt x="10" y="74"/>
                  </a:lnTo>
                  <a:lnTo>
                    <a:pt x="8" y="74"/>
                  </a:lnTo>
                  <a:lnTo>
                    <a:pt x="8" y="72"/>
                  </a:lnTo>
                  <a:lnTo>
                    <a:pt x="6" y="72"/>
                  </a:lnTo>
                  <a:lnTo>
                    <a:pt x="6" y="70"/>
                  </a:lnTo>
                  <a:lnTo>
                    <a:pt x="4" y="70"/>
                  </a:lnTo>
                  <a:lnTo>
                    <a:pt x="6" y="70"/>
                  </a:lnTo>
                  <a:lnTo>
                    <a:pt x="6" y="68"/>
                  </a:lnTo>
                  <a:lnTo>
                    <a:pt x="8" y="66"/>
                  </a:lnTo>
                  <a:lnTo>
                    <a:pt x="10" y="64"/>
                  </a:lnTo>
                  <a:lnTo>
                    <a:pt x="12" y="62"/>
                  </a:lnTo>
                  <a:lnTo>
                    <a:pt x="12" y="60"/>
                  </a:lnTo>
                  <a:lnTo>
                    <a:pt x="10" y="60"/>
                  </a:lnTo>
                  <a:lnTo>
                    <a:pt x="10" y="58"/>
                  </a:lnTo>
                  <a:lnTo>
                    <a:pt x="8" y="58"/>
                  </a:lnTo>
                  <a:lnTo>
                    <a:pt x="8" y="56"/>
                  </a:lnTo>
                  <a:lnTo>
                    <a:pt x="8" y="54"/>
                  </a:lnTo>
                  <a:lnTo>
                    <a:pt x="8" y="52"/>
                  </a:lnTo>
                  <a:lnTo>
                    <a:pt x="6" y="50"/>
                  </a:lnTo>
                  <a:lnTo>
                    <a:pt x="6" y="48"/>
                  </a:lnTo>
                  <a:lnTo>
                    <a:pt x="6" y="46"/>
                  </a:lnTo>
                  <a:lnTo>
                    <a:pt x="6" y="44"/>
                  </a:lnTo>
                  <a:lnTo>
                    <a:pt x="6" y="42"/>
                  </a:lnTo>
                  <a:lnTo>
                    <a:pt x="4" y="42"/>
                  </a:lnTo>
                  <a:lnTo>
                    <a:pt x="4" y="40"/>
                  </a:lnTo>
                  <a:lnTo>
                    <a:pt x="4" y="38"/>
                  </a:lnTo>
                  <a:lnTo>
                    <a:pt x="4" y="36"/>
                  </a:lnTo>
                  <a:lnTo>
                    <a:pt x="4" y="34"/>
                  </a:lnTo>
                  <a:lnTo>
                    <a:pt x="2" y="34"/>
                  </a:lnTo>
                  <a:lnTo>
                    <a:pt x="2" y="32"/>
                  </a:lnTo>
                  <a:lnTo>
                    <a:pt x="2" y="30"/>
                  </a:lnTo>
                  <a:lnTo>
                    <a:pt x="2" y="28"/>
                  </a:lnTo>
                  <a:lnTo>
                    <a:pt x="2" y="28"/>
                  </a:lnTo>
                  <a:lnTo>
                    <a:pt x="2" y="26"/>
                  </a:lnTo>
                  <a:lnTo>
                    <a:pt x="0" y="26"/>
                  </a:lnTo>
                  <a:lnTo>
                    <a:pt x="0" y="24"/>
                  </a:lnTo>
                  <a:lnTo>
                    <a:pt x="0" y="22"/>
                  </a:lnTo>
                  <a:lnTo>
                    <a:pt x="0" y="20"/>
                  </a:lnTo>
                  <a:lnTo>
                    <a:pt x="2" y="20"/>
                  </a:lnTo>
                  <a:lnTo>
                    <a:pt x="2" y="18"/>
                  </a:lnTo>
                  <a:close/>
                  <a:moveTo>
                    <a:pt x="66" y="34"/>
                  </a:moveTo>
                  <a:lnTo>
                    <a:pt x="66" y="36"/>
                  </a:lnTo>
                  <a:lnTo>
                    <a:pt x="66" y="34"/>
                  </a:lnTo>
                  <a:close/>
                  <a:moveTo>
                    <a:pt x="66" y="34"/>
                  </a:moveTo>
                  <a:lnTo>
                    <a:pt x="66" y="36"/>
                  </a:lnTo>
                  <a:lnTo>
                    <a:pt x="66" y="34"/>
                  </a:lnTo>
                  <a:close/>
                  <a:moveTo>
                    <a:pt x="66" y="36"/>
                  </a:moveTo>
                  <a:lnTo>
                    <a:pt x="64" y="36"/>
                  </a:lnTo>
                  <a:lnTo>
                    <a:pt x="66" y="36"/>
                  </a:lnTo>
                  <a:close/>
                </a:path>
              </a:pathLst>
            </a:custGeom>
            <a:solidFill>
              <a:srgbClr val="0099FF"/>
            </a:solidFill>
            <a:ln w="3175">
              <a:solidFill>
                <a:sysClr val="window" lastClr="FFFF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black"/>
                </a:solidFill>
                <a:effectLst/>
                <a:uLnTx/>
                <a:uFillTx/>
                <a:ea typeface="宋体" panose="02010600030101010101" pitchFamily="2" charset="-122"/>
              </a:endParaRPr>
            </a:p>
          </p:txBody>
        </p:sp>
        <p:sp>
          <p:nvSpPr>
            <p:cNvPr id="45" name="Freeform 2955">
              <a:extLst>
                <a:ext uri="{FF2B5EF4-FFF2-40B4-BE49-F238E27FC236}">
                  <a16:creationId xmlns:a16="http://schemas.microsoft.com/office/drawing/2014/main" id="{CF6C21DF-99BC-8D83-F51F-077FAC3E487F}"/>
                </a:ext>
              </a:extLst>
            </p:cNvPr>
            <p:cNvSpPr>
              <a:spLocks noEditPoints="1"/>
            </p:cNvSpPr>
            <p:nvPr/>
          </p:nvSpPr>
          <p:spPr bwMode="auto">
            <a:xfrm>
              <a:off x="6550026" y="3021013"/>
              <a:ext cx="92075" cy="196850"/>
            </a:xfrm>
            <a:custGeom>
              <a:avLst/>
              <a:gdLst>
                <a:gd name="T0" fmla="*/ 40 w 58"/>
                <a:gd name="T1" fmla="*/ 120 h 124"/>
                <a:gd name="T2" fmla="*/ 40 w 58"/>
                <a:gd name="T3" fmla="*/ 120 h 124"/>
                <a:gd name="T4" fmla="*/ 40 w 58"/>
                <a:gd name="T5" fmla="*/ 116 h 124"/>
                <a:gd name="T6" fmla="*/ 42 w 58"/>
                <a:gd name="T7" fmla="*/ 114 h 124"/>
                <a:gd name="T8" fmla="*/ 40 w 58"/>
                <a:gd name="T9" fmla="*/ 114 h 124"/>
                <a:gd name="T10" fmla="*/ 40 w 58"/>
                <a:gd name="T11" fmla="*/ 116 h 124"/>
                <a:gd name="T12" fmla="*/ 40 w 58"/>
                <a:gd name="T13" fmla="*/ 110 h 124"/>
                <a:gd name="T14" fmla="*/ 44 w 58"/>
                <a:gd name="T15" fmla="*/ 106 h 124"/>
                <a:gd name="T16" fmla="*/ 46 w 58"/>
                <a:gd name="T17" fmla="*/ 102 h 124"/>
                <a:gd name="T18" fmla="*/ 46 w 58"/>
                <a:gd name="T19" fmla="*/ 102 h 124"/>
                <a:gd name="T20" fmla="*/ 28 w 58"/>
                <a:gd name="T21" fmla="*/ 104 h 124"/>
                <a:gd name="T22" fmla="*/ 48 w 58"/>
                <a:gd name="T23" fmla="*/ 98 h 124"/>
                <a:gd name="T24" fmla="*/ 50 w 58"/>
                <a:gd name="T25" fmla="*/ 96 h 124"/>
                <a:gd name="T26" fmla="*/ 48 w 58"/>
                <a:gd name="T27" fmla="*/ 96 h 124"/>
                <a:gd name="T28" fmla="*/ 50 w 58"/>
                <a:gd name="T29" fmla="*/ 94 h 124"/>
                <a:gd name="T30" fmla="*/ 52 w 58"/>
                <a:gd name="T31" fmla="*/ 92 h 124"/>
                <a:gd name="T32" fmla="*/ 50 w 58"/>
                <a:gd name="T33" fmla="*/ 94 h 124"/>
                <a:gd name="T34" fmla="*/ 52 w 58"/>
                <a:gd name="T35" fmla="*/ 92 h 124"/>
                <a:gd name="T36" fmla="*/ 54 w 58"/>
                <a:gd name="T37" fmla="*/ 90 h 124"/>
                <a:gd name="T38" fmla="*/ 54 w 58"/>
                <a:gd name="T39" fmla="*/ 86 h 124"/>
                <a:gd name="T40" fmla="*/ 4 w 58"/>
                <a:gd name="T41" fmla="*/ 98 h 124"/>
                <a:gd name="T42" fmla="*/ 6 w 58"/>
                <a:gd name="T43" fmla="*/ 96 h 124"/>
                <a:gd name="T44" fmla="*/ 56 w 58"/>
                <a:gd name="T45" fmla="*/ 78 h 124"/>
                <a:gd name="T46" fmla="*/ 58 w 58"/>
                <a:gd name="T47" fmla="*/ 78 h 124"/>
                <a:gd name="T48" fmla="*/ 56 w 58"/>
                <a:gd name="T49" fmla="*/ 78 h 124"/>
                <a:gd name="T50" fmla="*/ 56 w 58"/>
                <a:gd name="T51" fmla="*/ 70 h 124"/>
                <a:gd name="T52" fmla="*/ 56 w 58"/>
                <a:gd name="T53" fmla="*/ 66 h 124"/>
                <a:gd name="T54" fmla="*/ 56 w 58"/>
                <a:gd name="T55" fmla="*/ 54 h 124"/>
                <a:gd name="T56" fmla="*/ 28 w 58"/>
                <a:gd name="T57" fmla="*/ 4 h 124"/>
                <a:gd name="T58" fmla="*/ 46 w 58"/>
                <a:gd name="T59" fmla="*/ 22 h 124"/>
                <a:gd name="T60" fmla="*/ 42 w 58"/>
                <a:gd name="T61" fmla="*/ 28 h 124"/>
                <a:gd name="T62" fmla="*/ 48 w 58"/>
                <a:gd name="T63" fmla="*/ 40 h 124"/>
                <a:gd name="T64" fmla="*/ 54 w 58"/>
                <a:gd name="T65" fmla="*/ 42 h 124"/>
                <a:gd name="T66" fmla="*/ 54 w 58"/>
                <a:gd name="T67" fmla="*/ 40 h 124"/>
                <a:gd name="T68" fmla="*/ 56 w 58"/>
                <a:gd name="T69" fmla="*/ 52 h 124"/>
                <a:gd name="T70" fmla="*/ 56 w 58"/>
                <a:gd name="T71" fmla="*/ 56 h 124"/>
                <a:gd name="T72" fmla="*/ 54 w 58"/>
                <a:gd name="T73" fmla="*/ 60 h 124"/>
                <a:gd name="T74" fmla="*/ 54 w 58"/>
                <a:gd name="T75" fmla="*/ 66 h 124"/>
                <a:gd name="T76" fmla="*/ 54 w 58"/>
                <a:gd name="T77" fmla="*/ 74 h 124"/>
                <a:gd name="T78" fmla="*/ 54 w 58"/>
                <a:gd name="T79" fmla="*/ 80 h 124"/>
                <a:gd name="T80" fmla="*/ 52 w 58"/>
                <a:gd name="T81" fmla="*/ 88 h 124"/>
                <a:gd name="T82" fmla="*/ 46 w 58"/>
                <a:gd name="T83" fmla="*/ 88 h 124"/>
                <a:gd name="T84" fmla="*/ 50 w 58"/>
                <a:gd name="T85" fmla="*/ 94 h 124"/>
                <a:gd name="T86" fmla="*/ 44 w 58"/>
                <a:gd name="T87" fmla="*/ 98 h 124"/>
                <a:gd name="T88" fmla="*/ 38 w 58"/>
                <a:gd name="T89" fmla="*/ 102 h 124"/>
                <a:gd name="T90" fmla="*/ 42 w 58"/>
                <a:gd name="T91" fmla="*/ 102 h 124"/>
                <a:gd name="T92" fmla="*/ 40 w 58"/>
                <a:gd name="T93" fmla="*/ 110 h 124"/>
                <a:gd name="T94" fmla="*/ 40 w 58"/>
                <a:gd name="T95" fmla="*/ 116 h 124"/>
                <a:gd name="T96" fmla="*/ 34 w 58"/>
                <a:gd name="T97" fmla="*/ 116 h 124"/>
                <a:gd name="T98" fmla="*/ 30 w 58"/>
                <a:gd name="T99" fmla="*/ 104 h 124"/>
                <a:gd name="T100" fmla="*/ 28 w 58"/>
                <a:gd name="T101" fmla="*/ 106 h 124"/>
                <a:gd name="T102" fmla="*/ 20 w 58"/>
                <a:gd name="T103" fmla="*/ 108 h 124"/>
                <a:gd name="T104" fmla="*/ 18 w 58"/>
                <a:gd name="T105" fmla="*/ 104 h 124"/>
                <a:gd name="T106" fmla="*/ 14 w 58"/>
                <a:gd name="T107" fmla="*/ 104 h 124"/>
                <a:gd name="T108" fmla="*/ 12 w 58"/>
                <a:gd name="T109" fmla="*/ 104 h 124"/>
                <a:gd name="T110" fmla="*/ 8 w 58"/>
                <a:gd name="T111" fmla="*/ 102 h 124"/>
                <a:gd name="T112" fmla="*/ 8 w 58"/>
                <a:gd name="T113" fmla="*/ 96 h 124"/>
                <a:gd name="T114" fmla="*/ 4 w 58"/>
                <a:gd name="T115" fmla="*/ 98 h 124"/>
                <a:gd name="T116" fmla="*/ 6 w 58"/>
                <a:gd name="T117" fmla="*/ 86 h 124"/>
                <a:gd name="T118" fmla="*/ 24 w 58"/>
                <a:gd name="T119" fmla="*/ 62 h 124"/>
                <a:gd name="T120" fmla="*/ 10 w 58"/>
                <a:gd name="T121" fmla="*/ 44 h 124"/>
                <a:gd name="T122" fmla="*/ 4 w 58"/>
                <a:gd name="T123" fmla="*/ 24 h 124"/>
                <a:gd name="T124" fmla="*/ 10 w 58"/>
                <a:gd name="T125" fmla="*/ 2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8" h="124">
                  <a:moveTo>
                    <a:pt x="36" y="122"/>
                  </a:moveTo>
                  <a:lnTo>
                    <a:pt x="36" y="124"/>
                  </a:lnTo>
                  <a:lnTo>
                    <a:pt x="36" y="122"/>
                  </a:lnTo>
                  <a:lnTo>
                    <a:pt x="38" y="122"/>
                  </a:lnTo>
                  <a:lnTo>
                    <a:pt x="38" y="124"/>
                  </a:lnTo>
                  <a:lnTo>
                    <a:pt x="38" y="122"/>
                  </a:lnTo>
                  <a:lnTo>
                    <a:pt x="38" y="124"/>
                  </a:lnTo>
                  <a:lnTo>
                    <a:pt x="38" y="122"/>
                  </a:lnTo>
                  <a:lnTo>
                    <a:pt x="38" y="124"/>
                  </a:lnTo>
                  <a:lnTo>
                    <a:pt x="38" y="122"/>
                  </a:lnTo>
                  <a:lnTo>
                    <a:pt x="38" y="124"/>
                  </a:lnTo>
                  <a:lnTo>
                    <a:pt x="36" y="124"/>
                  </a:lnTo>
                  <a:lnTo>
                    <a:pt x="34" y="124"/>
                  </a:lnTo>
                  <a:lnTo>
                    <a:pt x="34" y="122"/>
                  </a:lnTo>
                  <a:lnTo>
                    <a:pt x="36" y="122"/>
                  </a:lnTo>
                  <a:close/>
                  <a:moveTo>
                    <a:pt x="40" y="120"/>
                  </a:moveTo>
                  <a:lnTo>
                    <a:pt x="38" y="120"/>
                  </a:lnTo>
                  <a:lnTo>
                    <a:pt x="40" y="120"/>
                  </a:lnTo>
                  <a:close/>
                  <a:moveTo>
                    <a:pt x="40" y="120"/>
                  </a:moveTo>
                  <a:lnTo>
                    <a:pt x="40" y="118"/>
                  </a:lnTo>
                  <a:lnTo>
                    <a:pt x="40" y="120"/>
                  </a:lnTo>
                  <a:close/>
                  <a:moveTo>
                    <a:pt x="38" y="120"/>
                  </a:moveTo>
                  <a:lnTo>
                    <a:pt x="40" y="120"/>
                  </a:lnTo>
                  <a:lnTo>
                    <a:pt x="38" y="120"/>
                  </a:lnTo>
                  <a:close/>
                  <a:moveTo>
                    <a:pt x="40" y="120"/>
                  </a:moveTo>
                  <a:lnTo>
                    <a:pt x="40" y="118"/>
                  </a:lnTo>
                  <a:lnTo>
                    <a:pt x="40" y="120"/>
                  </a:lnTo>
                  <a:close/>
                  <a:moveTo>
                    <a:pt x="40" y="120"/>
                  </a:moveTo>
                  <a:lnTo>
                    <a:pt x="38" y="120"/>
                  </a:lnTo>
                  <a:lnTo>
                    <a:pt x="38" y="118"/>
                  </a:lnTo>
                  <a:lnTo>
                    <a:pt x="40" y="118"/>
                  </a:lnTo>
                  <a:lnTo>
                    <a:pt x="40" y="120"/>
                  </a:lnTo>
                  <a:close/>
                  <a:moveTo>
                    <a:pt x="40" y="118"/>
                  </a:moveTo>
                  <a:lnTo>
                    <a:pt x="42" y="118"/>
                  </a:lnTo>
                  <a:lnTo>
                    <a:pt x="40" y="120"/>
                  </a:lnTo>
                  <a:lnTo>
                    <a:pt x="40" y="122"/>
                  </a:lnTo>
                  <a:lnTo>
                    <a:pt x="38" y="122"/>
                  </a:lnTo>
                  <a:lnTo>
                    <a:pt x="38" y="120"/>
                  </a:lnTo>
                  <a:lnTo>
                    <a:pt x="40" y="122"/>
                  </a:lnTo>
                  <a:lnTo>
                    <a:pt x="40" y="120"/>
                  </a:lnTo>
                  <a:lnTo>
                    <a:pt x="40" y="118"/>
                  </a:lnTo>
                  <a:lnTo>
                    <a:pt x="40" y="120"/>
                  </a:lnTo>
                  <a:lnTo>
                    <a:pt x="40" y="118"/>
                  </a:lnTo>
                  <a:lnTo>
                    <a:pt x="40" y="120"/>
                  </a:lnTo>
                  <a:lnTo>
                    <a:pt x="40" y="118"/>
                  </a:lnTo>
                  <a:lnTo>
                    <a:pt x="40" y="120"/>
                  </a:lnTo>
                  <a:lnTo>
                    <a:pt x="40" y="118"/>
                  </a:lnTo>
                  <a:close/>
                  <a:moveTo>
                    <a:pt x="42" y="118"/>
                  </a:moveTo>
                  <a:lnTo>
                    <a:pt x="40" y="118"/>
                  </a:lnTo>
                  <a:lnTo>
                    <a:pt x="42" y="118"/>
                  </a:lnTo>
                  <a:close/>
                  <a:moveTo>
                    <a:pt x="42" y="118"/>
                  </a:moveTo>
                  <a:lnTo>
                    <a:pt x="40" y="118"/>
                  </a:lnTo>
                  <a:lnTo>
                    <a:pt x="42" y="118"/>
                  </a:lnTo>
                  <a:close/>
                  <a:moveTo>
                    <a:pt x="40" y="118"/>
                  </a:moveTo>
                  <a:lnTo>
                    <a:pt x="38" y="118"/>
                  </a:lnTo>
                  <a:lnTo>
                    <a:pt x="40" y="118"/>
                  </a:lnTo>
                  <a:lnTo>
                    <a:pt x="38" y="118"/>
                  </a:lnTo>
                  <a:lnTo>
                    <a:pt x="40" y="118"/>
                  </a:lnTo>
                  <a:lnTo>
                    <a:pt x="38" y="118"/>
                  </a:lnTo>
                  <a:lnTo>
                    <a:pt x="40" y="118"/>
                  </a:lnTo>
                  <a:close/>
                  <a:moveTo>
                    <a:pt x="40" y="116"/>
                  </a:moveTo>
                  <a:lnTo>
                    <a:pt x="40" y="118"/>
                  </a:lnTo>
                  <a:lnTo>
                    <a:pt x="40" y="116"/>
                  </a:lnTo>
                  <a:close/>
                  <a:moveTo>
                    <a:pt x="40" y="116"/>
                  </a:moveTo>
                  <a:lnTo>
                    <a:pt x="42" y="116"/>
                  </a:lnTo>
                  <a:lnTo>
                    <a:pt x="40" y="116"/>
                  </a:lnTo>
                  <a:close/>
                  <a:moveTo>
                    <a:pt x="40" y="116"/>
                  </a:moveTo>
                  <a:lnTo>
                    <a:pt x="38" y="116"/>
                  </a:lnTo>
                  <a:lnTo>
                    <a:pt x="40" y="116"/>
                  </a:lnTo>
                  <a:close/>
                  <a:moveTo>
                    <a:pt x="40" y="116"/>
                  </a:moveTo>
                  <a:lnTo>
                    <a:pt x="38" y="116"/>
                  </a:lnTo>
                  <a:lnTo>
                    <a:pt x="40" y="116"/>
                  </a:lnTo>
                  <a:close/>
                  <a:moveTo>
                    <a:pt x="42" y="116"/>
                  </a:moveTo>
                  <a:lnTo>
                    <a:pt x="40" y="116"/>
                  </a:lnTo>
                  <a:lnTo>
                    <a:pt x="40" y="114"/>
                  </a:lnTo>
                  <a:lnTo>
                    <a:pt x="42" y="114"/>
                  </a:lnTo>
                  <a:lnTo>
                    <a:pt x="42" y="116"/>
                  </a:lnTo>
                  <a:close/>
                  <a:moveTo>
                    <a:pt x="40" y="116"/>
                  </a:moveTo>
                  <a:lnTo>
                    <a:pt x="40" y="114"/>
                  </a:lnTo>
                  <a:lnTo>
                    <a:pt x="40" y="116"/>
                  </a:lnTo>
                  <a:close/>
                  <a:moveTo>
                    <a:pt x="40" y="114"/>
                  </a:moveTo>
                  <a:lnTo>
                    <a:pt x="40" y="112"/>
                  </a:lnTo>
                  <a:lnTo>
                    <a:pt x="40" y="114"/>
                  </a:lnTo>
                  <a:lnTo>
                    <a:pt x="42" y="114"/>
                  </a:lnTo>
                  <a:lnTo>
                    <a:pt x="40" y="114"/>
                  </a:lnTo>
                  <a:lnTo>
                    <a:pt x="42" y="114"/>
                  </a:lnTo>
                  <a:lnTo>
                    <a:pt x="40" y="114"/>
                  </a:lnTo>
                  <a:lnTo>
                    <a:pt x="42" y="114"/>
                  </a:lnTo>
                  <a:lnTo>
                    <a:pt x="40" y="114"/>
                  </a:lnTo>
                  <a:lnTo>
                    <a:pt x="42" y="114"/>
                  </a:lnTo>
                  <a:lnTo>
                    <a:pt x="40" y="114"/>
                  </a:lnTo>
                  <a:lnTo>
                    <a:pt x="42" y="114"/>
                  </a:lnTo>
                  <a:lnTo>
                    <a:pt x="40" y="114"/>
                  </a:lnTo>
                  <a:close/>
                  <a:moveTo>
                    <a:pt x="42" y="112"/>
                  </a:moveTo>
                  <a:lnTo>
                    <a:pt x="42" y="114"/>
                  </a:lnTo>
                  <a:lnTo>
                    <a:pt x="42" y="112"/>
                  </a:lnTo>
                  <a:lnTo>
                    <a:pt x="42" y="114"/>
                  </a:lnTo>
                  <a:lnTo>
                    <a:pt x="42" y="112"/>
                  </a:lnTo>
                  <a:lnTo>
                    <a:pt x="42" y="114"/>
                  </a:lnTo>
                  <a:lnTo>
                    <a:pt x="42" y="112"/>
                  </a:lnTo>
                  <a:lnTo>
                    <a:pt x="42" y="114"/>
                  </a:lnTo>
                  <a:lnTo>
                    <a:pt x="42" y="112"/>
                  </a:lnTo>
                  <a:close/>
                  <a:moveTo>
                    <a:pt x="40" y="114"/>
                  </a:moveTo>
                  <a:lnTo>
                    <a:pt x="40" y="112"/>
                  </a:lnTo>
                  <a:lnTo>
                    <a:pt x="40" y="114"/>
                  </a:lnTo>
                  <a:close/>
                  <a:moveTo>
                    <a:pt x="42" y="112"/>
                  </a:moveTo>
                  <a:lnTo>
                    <a:pt x="42" y="114"/>
                  </a:lnTo>
                  <a:lnTo>
                    <a:pt x="40" y="114"/>
                  </a:lnTo>
                  <a:lnTo>
                    <a:pt x="42" y="114"/>
                  </a:lnTo>
                  <a:lnTo>
                    <a:pt x="42" y="112"/>
                  </a:lnTo>
                  <a:close/>
                  <a:moveTo>
                    <a:pt x="42" y="112"/>
                  </a:moveTo>
                  <a:lnTo>
                    <a:pt x="42" y="114"/>
                  </a:lnTo>
                  <a:lnTo>
                    <a:pt x="40" y="112"/>
                  </a:lnTo>
                  <a:lnTo>
                    <a:pt x="42" y="112"/>
                  </a:lnTo>
                  <a:close/>
                  <a:moveTo>
                    <a:pt x="42" y="112"/>
                  </a:moveTo>
                  <a:lnTo>
                    <a:pt x="42" y="114"/>
                  </a:lnTo>
                  <a:lnTo>
                    <a:pt x="42" y="116"/>
                  </a:lnTo>
                  <a:lnTo>
                    <a:pt x="42" y="118"/>
                  </a:lnTo>
                  <a:lnTo>
                    <a:pt x="40" y="118"/>
                  </a:lnTo>
                  <a:lnTo>
                    <a:pt x="42" y="118"/>
                  </a:lnTo>
                  <a:lnTo>
                    <a:pt x="42" y="116"/>
                  </a:lnTo>
                  <a:lnTo>
                    <a:pt x="42" y="118"/>
                  </a:lnTo>
                  <a:lnTo>
                    <a:pt x="40" y="118"/>
                  </a:lnTo>
                  <a:lnTo>
                    <a:pt x="40" y="116"/>
                  </a:lnTo>
                  <a:lnTo>
                    <a:pt x="42" y="116"/>
                  </a:lnTo>
                  <a:lnTo>
                    <a:pt x="40" y="116"/>
                  </a:lnTo>
                  <a:lnTo>
                    <a:pt x="42" y="116"/>
                  </a:lnTo>
                  <a:lnTo>
                    <a:pt x="40" y="116"/>
                  </a:lnTo>
                  <a:lnTo>
                    <a:pt x="42" y="116"/>
                  </a:lnTo>
                  <a:lnTo>
                    <a:pt x="42" y="114"/>
                  </a:lnTo>
                  <a:lnTo>
                    <a:pt x="42" y="112"/>
                  </a:lnTo>
                  <a:lnTo>
                    <a:pt x="42" y="114"/>
                  </a:lnTo>
                  <a:lnTo>
                    <a:pt x="42" y="112"/>
                  </a:lnTo>
                  <a:close/>
                  <a:moveTo>
                    <a:pt x="42" y="112"/>
                  </a:moveTo>
                  <a:lnTo>
                    <a:pt x="40" y="112"/>
                  </a:lnTo>
                  <a:lnTo>
                    <a:pt x="42" y="112"/>
                  </a:lnTo>
                  <a:close/>
                  <a:moveTo>
                    <a:pt x="42" y="112"/>
                  </a:moveTo>
                  <a:lnTo>
                    <a:pt x="40" y="112"/>
                  </a:lnTo>
                  <a:lnTo>
                    <a:pt x="42" y="112"/>
                  </a:lnTo>
                  <a:close/>
                  <a:moveTo>
                    <a:pt x="42" y="112"/>
                  </a:moveTo>
                  <a:lnTo>
                    <a:pt x="40" y="112"/>
                  </a:lnTo>
                  <a:lnTo>
                    <a:pt x="42" y="112"/>
                  </a:lnTo>
                  <a:close/>
                  <a:moveTo>
                    <a:pt x="42" y="110"/>
                  </a:moveTo>
                  <a:lnTo>
                    <a:pt x="40" y="110"/>
                  </a:lnTo>
                  <a:lnTo>
                    <a:pt x="42" y="110"/>
                  </a:lnTo>
                  <a:close/>
                  <a:moveTo>
                    <a:pt x="42" y="110"/>
                  </a:moveTo>
                  <a:lnTo>
                    <a:pt x="40" y="110"/>
                  </a:lnTo>
                  <a:lnTo>
                    <a:pt x="42" y="110"/>
                  </a:lnTo>
                  <a:close/>
                  <a:moveTo>
                    <a:pt x="42" y="108"/>
                  </a:moveTo>
                  <a:lnTo>
                    <a:pt x="44" y="108"/>
                  </a:lnTo>
                  <a:lnTo>
                    <a:pt x="42" y="108"/>
                  </a:lnTo>
                  <a:lnTo>
                    <a:pt x="44" y="108"/>
                  </a:lnTo>
                  <a:lnTo>
                    <a:pt x="42" y="108"/>
                  </a:lnTo>
                  <a:close/>
                  <a:moveTo>
                    <a:pt x="42" y="106"/>
                  </a:moveTo>
                  <a:lnTo>
                    <a:pt x="42" y="108"/>
                  </a:lnTo>
                  <a:lnTo>
                    <a:pt x="42" y="106"/>
                  </a:lnTo>
                  <a:close/>
                  <a:moveTo>
                    <a:pt x="44" y="106"/>
                  </a:moveTo>
                  <a:lnTo>
                    <a:pt x="44" y="108"/>
                  </a:lnTo>
                  <a:lnTo>
                    <a:pt x="42" y="108"/>
                  </a:lnTo>
                  <a:lnTo>
                    <a:pt x="42" y="110"/>
                  </a:lnTo>
                  <a:lnTo>
                    <a:pt x="42" y="112"/>
                  </a:lnTo>
                  <a:lnTo>
                    <a:pt x="42" y="110"/>
                  </a:lnTo>
                  <a:lnTo>
                    <a:pt x="42" y="108"/>
                  </a:lnTo>
                  <a:lnTo>
                    <a:pt x="44" y="108"/>
                  </a:lnTo>
                  <a:lnTo>
                    <a:pt x="42" y="108"/>
                  </a:lnTo>
                  <a:lnTo>
                    <a:pt x="44" y="108"/>
                  </a:lnTo>
                  <a:lnTo>
                    <a:pt x="44" y="106"/>
                  </a:lnTo>
                  <a:close/>
                  <a:moveTo>
                    <a:pt x="44" y="106"/>
                  </a:moveTo>
                  <a:lnTo>
                    <a:pt x="42" y="106"/>
                  </a:lnTo>
                  <a:lnTo>
                    <a:pt x="44" y="106"/>
                  </a:lnTo>
                  <a:close/>
                  <a:moveTo>
                    <a:pt x="44" y="106"/>
                  </a:moveTo>
                  <a:lnTo>
                    <a:pt x="42" y="106"/>
                  </a:lnTo>
                  <a:lnTo>
                    <a:pt x="44" y="106"/>
                  </a:lnTo>
                  <a:lnTo>
                    <a:pt x="42" y="106"/>
                  </a:lnTo>
                  <a:lnTo>
                    <a:pt x="44" y="106"/>
                  </a:lnTo>
                  <a:lnTo>
                    <a:pt x="42" y="106"/>
                  </a:lnTo>
                  <a:lnTo>
                    <a:pt x="44" y="106"/>
                  </a:lnTo>
                  <a:close/>
                  <a:moveTo>
                    <a:pt x="46" y="102"/>
                  </a:moveTo>
                  <a:lnTo>
                    <a:pt x="44" y="102"/>
                  </a:lnTo>
                  <a:lnTo>
                    <a:pt x="46" y="102"/>
                  </a:lnTo>
                  <a:close/>
                  <a:moveTo>
                    <a:pt x="30" y="106"/>
                  </a:moveTo>
                  <a:lnTo>
                    <a:pt x="28" y="106"/>
                  </a:lnTo>
                  <a:lnTo>
                    <a:pt x="30" y="106"/>
                  </a:lnTo>
                  <a:close/>
                  <a:moveTo>
                    <a:pt x="46" y="102"/>
                  </a:moveTo>
                  <a:lnTo>
                    <a:pt x="44" y="102"/>
                  </a:lnTo>
                  <a:lnTo>
                    <a:pt x="46" y="102"/>
                  </a:lnTo>
                  <a:close/>
                  <a:moveTo>
                    <a:pt x="46" y="102"/>
                  </a:moveTo>
                  <a:lnTo>
                    <a:pt x="44" y="102"/>
                  </a:lnTo>
                  <a:lnTo>
                    <a:pt x="46" y="102"/>
                  </a:lnTo>
                  <a:close/>
                  <a:moveTo>
                    <a:pt x="46" y="102"/>
                  </a:moveTo>
                  <a:lnTo>
                    <a:pt x="46" y="102"/>
                  </a:lnTo>
                  <a:lnTo>
                    <a:pt x="46" y="104"/>
                  </a:lnTo>
                  <a:lnTo>
                    <a:pt x="44" y="104"/>
                  </a:lnTo>
                  <a:lnTo>
                    <a:pt x="44" y="106"/>
                  </a:lnTo>
                  <a:lnTo>
                    <a:pt x="44" y="104"/>
                  </a:lnTo>
                  <a:lnTo>
                    <a:pt x="44" y="106"/>
                  </a:lnTo>
                  <a:lnTo>
                    <a:pt x="44" y="104"/>
                  </a:lnTo>
                  <a:lnTo>
                    <a:pt x="44" y="102"/>
                  </a:lnTo>
                  <a:lnTo>
                    <a:pt x="44" y="104"/>
                  </a:lnTo>
                  <a:lnTo>
                    <a:pt x="44" y="102"/>
                  </a:lnTo>
                  <a:lnTo>
                    <a:pt x="44" y="104"/>
                  </a:lnTo>
                  <a:lnTo>
                    <a:pt x="44" y="102"/>
                  </a:lnTo>
                  <a:lnTo>
                    <a:pt x="46" y="102"/>
                  </a:lnTo>
                  <a:lnTo>
                    <a:pt x="44" y="102"/>
                  </a:lnTo>
                  <a:lnTo>
                    <a:pt x="46" y="102"/>
                  </a:lnTo>
                  <a:lnTo>
                    <a:pt x="46" y="102"/>
                  </a:lnTo>
                  <a:close/>
                  <a:moveTo>
                    <a:pt x="44" y="102"/>
                  </a:moveTo>
                  <a:lnTo>
                    <a:pt x="44" y="102"/>
                  </a:lnTo>
                  <a:lnTo>
                    <a:pt x="44" y="102"/>
                  </a:lnTo>
                  <a:close/>
                  <a:moveTo>
                    <a:pt x="46" y="102"/>
                  </a:moveTo>
                  <a:lnTo>
                    <a:pt x="44" y="102"/>
                  </a:lnTo>
                  <a:lnTo>
                    <a:pt x="46" y="102"/>
                  </a:lnTo>
                  <a:close/>
                  <a:moveTo>
                    <a:pt x="44" y="102"/>
                  </a:moveTo>
                  <a:lnTo>
                    <a:pt x="46" y="102"/>
                  </a:lnTo>
                  <a:lnTo>
                    <a:pt x="44" y="102"/>
                  </a:lnTo>
                  <a:close/>
                  <a:moveTo>
                    <a:pt x="48" y="102"/>
                  </a:moveTo>
                  <a:lnTo>
                    <a:pt x="46" y="102"/>
                  </a:lnTo>
                  <a:lnTo>
                    <a:pt x="46" y="100"/>
                  </a:lnTo>
                  <a:lnTo>
                    <a:pt x="46" y="102"/>
                  </a:lnTo>
                  <a:lnTo>
                    <a:pt x="48" y="102"/>
                  </a:lnTo>
                  <a:close/>
                  <a:moveTo>
                    <a:pt x="46" y="100"/>
                  </a:moveTo>
                  <a:lnTo>
                    <a:pt x="46" y="102"/>
                  </a:lnTo>
                  <a:lnTo>
                    <a:pt x="46" y="100"/>
                  </a:lnTo>
                  <a:close/>
                  <a:moveTo>
                    <a:pt x="48" y="100"/>
                  </a:moveTo>
                  <a:lnTo>
                    <a:pt x="46" y="100"/>
                  </a:lnTo>
                  <a:lnTo>
                    <a:pt x="48" y="100"/>
                  </a:lnTo>
                  <a:close/>
                  <a:moveTo>
                    <a:pt x="46" y="100"/>
                  </a:moveTo>
                  <a:lnTo>
                    <a:pt x="46" y="102"/>
                  </a:lnTo>
                  <a:lnTo>
                    <a:pt x="46" y="100"/>
                  </a:lnTo>
                  <a:close/>
                  <a:moveTo>
                    <a:pt x="26" y="104"/>
                  </a:moveTo>
                  <a:lnTo>
                    <a:pt x="28" y="104"/>
                  </a:lnTo>
                  <a:lnTo>
                    <a:pt x="26" y="104"/>
                  </a:lnTo>
                  <a:close/>
                  <a:moveTo>
                    <a:pt x="46" y="100"/>
                  </a:moveTo>
                  <a:lnTo>
                    <a:pt x="46" y="102"/>
                  </a:lnTo>
                  <a:lnTo>
                    <a:pt x="46" y="100"/>
                  </a:lnTo>
                  <a:close/>
                  <a:moveTo>
                    <a:pt x="48" y="100"/>
                  </a:moveTo>
                  <a:lnTo>
                    <a:pt x="46" y="100"/>
                  </a:lnTo>
                  <a:lnTo>
                    <a:pt x="48" y="100"/>
                  </a:lnTo>
                  <a:lnTo>
                    <a:pt x="46" y="100"/>
                  </a:lnTo>
                  <a:lnTo>
                    <a:pt x="48" y="100"/>
                  </a:lnTo>
                  <a:lnTo>
                    <a:pt x="46" y="100"/>
                  </a:lnTo>
                  <a:lnTo>
                    <a:pt x="48" y="100"/>
                  </a:lnTo>
                  <a:close/>
                  <a:moveTo>
                    <a:pt x="14" y="106"/>
                  </a:moveTo>
                  <a:lnTo>
                    <a:pt x="14" y="108"/>
                  </a:lnTo>
                  <a:lnTo>
                    <a:pt x="14" y="106"/>
                  </a:lnTo>
                  <a:close/>
                  <a:moveTo>
                    <a:pt x="48" y="98"/>
                  </a:moveTo>
                  <a:lnTo>
                    <a:pt x="48" y="100"/>
                  </a:lnTo>
                  <a:lnTo>
                    <a:pt x="48" y="98"/>
                  </a:lnTo>
                  <a:close/>
                  <a:moveTo>
                    <a:pt x="46" y="100"/>
                  </a:moveTo>
                  <a:lnTo>
                    <a:pt x="48" y="100"/>
                  </a:lnTo>
                  <a:lnTo>
                    <a:pt x="46" y="100"/>
                  </a:lnTo>
                  <a:lnTo>
                    <a:pt x="48" y="98"/>
                  </a:lnTo>
                  <a:lnTo>
                    <a:pt x="46" y="98"/>
                  </a:lnTo>
                  <a:lnTo>
                    <a:pt x="48" y="98"/>
                  </a:lnTo>
                  <a:lnTo>
                    <a:pt x="48" y="100"/>
                  </a:lnTo>
                  <a:lnTo>
                    <a:pt x="46" y="100"/>
                  </a:lnTo>
                  <a:close/>
                  <a:moveTo>
                    <a:pt x="50" y="98"/>
                  </a:moveTo>
                  <a:lnTo>
                    <a:pt x="48" y="98"/>
                  </a:lnTo>
                  <a:lnTo>
                    <a:pt x="48" y="100"/>
                  </a:lnTo>
                  <a:lnTo>
                    <a:pt x="48" y="98"/>
                  </a:lnTo>
                  <a:lnTo>
                    <a:pt x="50" y="98"/>
                  </a:lnTo>
                  <a:close/>
                  <a:moveTo>
                    <a:pt x="48" y="98"/>
                  </a:moveTo>
                  <a:lnTo>
                    <a:pt x="46" y="98"/>
                  </a:lnTo>
                  <a:lnTo>
                    <a:pt x="48" y="98"/>
                  </a:lnTo>
                  <a:close/>
                  <a:moveTo>
                    <a:pt x="48" y="98"/>
                  </a:moveTo>
                  <a:lnTo>
                    <a:pt x="50" y="98"/>
                  </a:lnTo>
                  <a:lnTo>
                    <a:pt x="48" y="98"/>
                  </a:lnTo>
                  <a:close/>
                  <a:moveTo>
                    <a:pt x="50" y="98"/>
                  </a:moveTo>
                  <a:lnTo>
                    <a:pt x="50" y="96"/>
                  </a:lnTo>
                  <a:lnTo>
                    <a:pt x="50" y="98"/>
                  </a:lnTo>
                  <a:close/>
                  <a:moveTo>
                    <a:pt x="50" y="96"/>
                  </a:moveTo>
                  <a:lnTo>
                    <a:pt x="50" y="98"/>
                  </a:lnTo>
                  <a:lnTo>
                    <a:pt x="50" y="96"/>
                  </a:lnTo>
                  <a:close/>
                  <a:moveTo>
                    <a:pt x="50" y="96"/>
                  </a:moveTo>
                  <a:lnTo>
                    <a:pt x="52" y="96"/>
                  </a:lnTo>
                  <a:lnTo>
                    <a:pt x="52" y="98"/>
                  </a:lnTo>
                  <a:lnTo>
                    <a:pt x="50" y="98"/>
                  </a:lnTo>
                  <a:lnTo>
                    <a:pt x="50" y="100"/>
                  </a:lnTo>
                  <a:lnTo>
                    <a:pt x="48" y="100"/>
                  </a:lnTo>
                  <a:lnTo>
                    <a:pt x="48" y="102"/>
                  </a:lnTo>
                  <a:lnTo>
                    <a:pt x="46" y="102"/>
                  </a:lnTo>
                  <a:lnTo>
                    <a:pt x="48" y="102"/>
                  </a:lnTo>
                  <a:lnTo>
                    <a:pt x="48" y="100"/>
                  </a:lnTo>
                  <a:lnTo>
                    <a:pt x="48" y="98"/>
                  </a:lnTo>
                  <a:lnTo>
                    <a:pt x="48" y="100"/>
                  </a:lnTo>
                  <a:lnTo>
                    <a:pt x="48" y="98"/>
                  </a:lnTo>
                  <a:lnTo>
                    <a:pt x="50" y="98"/>
                  </a:lnTo>
                  <a:lnTo>
                    <a:pt x="50" y="96"/>
                  </a:lnTo>
                  <a:close/>
                  <a:moveTo>
                    <a:pt x="50" y="96"/>
                  </a:moveTo>
                  <a:lnTo>
                    <a:pt x="50" y="98"/>
                  </a:lnTo>
                  <a:lnTo>
                    <a:pt x="48" y="98"/>
                  </a:lnTo>
                  <a:lnTo>
                    <a:pt x="48" y="96"/>
                  </a:lnTo>
                  <a:lnTo>
                    <a:pt x="50" y="96"/>
                  </a:lnTo>
                  <a:close/>
                  <a:moveTo>
                    <a:pt x="48" y="96"/>
                  </a:moveTo>
                  <a:lnTo>
                    <a:pt x="50" y="96"/>
                  </a:lnTo>
                  <a:lnTo>
                    <a:pt x="48" y="96"/>
                  </a:lnTo>
                  <a:close/>
                  <a:moveTo>
                    <a:pt x="50" y="96"/>
                  </a:moveTo>
                  <a:lnTo>
                    <a:pt x="48" y="96"/>
                  </a:lnTo>
                  <a:lnTo>
                    <a:pt x="50" y="96"/>
                  </a:lnTo>
                  <a:close/>
                  <a:moveTo>
                    <a:pt x="38" y="100"/>
                  </a:moveTo>
                  <a:lnTo>
                    <a:pt x="38" y="98"/>
                  </a:lnTo>
                  <a:lnTo>
                    <a:pt x="38" y="100"/>
                  </a:lnTo>
                  <a:close/>
                  <a:moveTo>
                    <a:pt x="52" y="94"/>
                  </a:moveTo>
                  <a:lnTo>
                    <a:pt x="52" y="96"/>
                  </a:lnTo>
                  <a:lnTo>
                    <a:pt x="52" y="94"/>
                  </a:lnTo>
                  <a:close/>
                  <a:moveTo>
                    <a:pt x="52" y="94"/>
                  </a:moveTo>
                  <a:lnTo>
                    <a:pt x="52" y="96"/>
                  </a:lnTo>
                  <a:lnTo>
                    <a:pt x="52" y="94"/>
                  </a:lnTo>
                  <a:lnTo>
                    <a:pt x="52" y="96"/>
                  </a:lnTo>
                  <a:lnTo>
                    <a:pt x="50" y="96"/>
                  </a:lnTo>
                  <a:lnTo>
                    <a:pt x="50" y="94"/>
                  </a:lnTo>
                  <a:lnTo>
                    <a:pt x="52" y="94"/>
                  </a:lnTo>
                  <a:close/>
                  <a:moveTo>
                    <a:pt x="50" y="94"/>
                  </a:moveTo>
                  <a:lnTo>
                    <a:pt x="50" y="96"/>
                  </a:lnTo>
                  <a:lnTo>
                    <a:pt x="50" y="94"/>
                  </a:lnTo>
                  <a:close/>
                  <a:moveTo>
                    <a:pt x="48" y="96"/>
                  </a:moveTo>
                  <a:lnTo>
                    <a:pt x="50" y="96"/>
                  </a:lnTo>
                  <a:lnTo>
                    <a:pt x="48" y="96"/>
                  </a:lnTo>
                  <a:close/>
                  <a:moveTo>
                    <a:pt x="50" y="94"/>
                  </a:moveTo>
                  <a:lnTo>
                    <a:pt x="50" y="96"/>
                  </a:lnTo>
                  <a:lnTo>
                    <a:pt x="50" y="94"/>
                  </a:lnTo>
                  <a:close/>
                  <a:moveTo>
                    <a:pt x="50" y="94"/>
                  </a:moveTo>
                  <a:lnTo>
                    <a:pt x="50" y="96"/>
                  </a:lnTo>
                  <a:lnTo>
                    <a:pt x="48" y="96"/>
                  </a:lnTo>
                  <a:lnTo>
                    <a:pt x="48" y="94"/>
                  </a:lnTo>
                  <a:lnTo>
                    <a:pt x="48" y="96"/>
                  </a:lnTo>
                  <a:lnTo>
                    <a:pt x="48" y="94"/>
                  </a:lnTo>
                  <a:lnTo>
                    <a:pt x="50" y="94"/>
                  </a:lnTo>
                  <a:close/>
                  <a:moveTo>
                    <a:pt x="50" y="94"/>
                  </a:moveTo>
                  <a:lnTo>
                    <a:pt x="52" y="94"/>
                  </a:lnTo>
                  <a:lnTo>
                    <a:pt x="50" y="94"/>
                  </a:lnTo>
                  <a:close/>
                  <a:moveTo>
                    <a:pt x="48" y="94"/>
                  </a:moveTo>
                  <a:lnTo>
                    <a:pt x="50" y="94"/>
                  </a:lnTo>
                  <a:lnTo>
                    <a:pt x="48" y="94"/>
                  </a:lnTo>
                  <a:close/>
                  <a:moveTo>
                    <a:pt x="52" y="94"/>
                  </a:moveTo>
                  <a:lnTo>
                    <a:pt x="52" y="92"/>
                  </a:lnTo>
                  <a:lnTo>
                    <a:pt x="52" y="94"/>
                  </a:lnTo>
                  <a:close/>
                  <a:moveTo>
                    <a:pt x="52" y="92"/>
                  </a:moveTo>
                  <a:lnTo>
                    <a:pt x="52" y="94"/>
                  </a:lnTo>
                  <a:lnTo>
                    <a:pt x="52" y="92"/>
                  </a:lnTo>
                  <a:close/>
                  <a:moveTo>
                    <a:pt x="50" y="94"/>
                  </a:moveTo>
                  <a:lnTo>
                    <a:pt x="48" y="94"/>
                  </a:lnTo>
                  <a:lnTo>
                    <a:pt x="50" y="94"/>
                  </a:lnTo>
                  <a:close/>
                  <a:moveTo>
                    <a:pt x="52" y="92"/>
                  </a:moveTo>
                  <a:lnTo>
                    <a:pt x="52" y="94"/>
                  </a:lnTo>
                  <a:lnTo>
                    <a:pt x="52" y="92"/>
                  </a:lnTo>
                  <a:lnTo>
                    <a:pt x="52" y="94"/>
                  </a:lnTo>
                  <a:lnTo>
                    <a:pt x="52" y="92"/>
                  </a:lnTo>
                  <a:close/>
                  <a:moveTo>
                    <a:pt x="50" y="94"/>
                  </a:moveTo>
                  <a:lnTo>
                    <a:pt x="48" y="94"/>
                  </a:lnTo>
                  <a:lnTo>
                    <a:pt x="50" y="94"/>
                  </a:lnTo>
                  <a:close/>
                  <a:moveTo>
                    <a:pt x="52" y="92"/>
                  </a:moveTo>
                  <a:lnTo>
                    <a:pt x="52" y="94"/>
                  </a:lnTo>
                  <a:lnTo>
                    <a:pt x="52" y="92"/>
                  </a:lnTo>
                  <a:close/>
                  <a:moveTo>
                    <a:pt x="50" y="94"/>
                  </a:moveTo>
                  <a:lnTo>
                    <a:pt x="52" y="94"/>
                  </a:lnTo>
                  <a:lnTo>
                    <a:pt x="50" y="94"/>
                  </a:lnTo>
                  <a:lnTo>
                    <a:pt x="52" y="94"/>
                  </a:lnTo>
                  <a:lnTo>
                    <a:pt x="50" y="94"/>
                  </a:lnTo>
                  <a:close/>
                  <a:moveTo>
                    <a:pt x="52" y="92"/>
                  </a:moveTo>
                  <a:lnTo>
                    <a:pt x="52" y="94"/>
                  </a:lnTo>
                  <a:lnTo>
                    <a:pt x="52" y="92"/>
                  </a:lnTo>
                  <a:close/>
                  <a:moveTo>
                    <a:pt x="54" y="92"/>
                  </a:moveTo>
                  <a:lnTo>
                    <a:pt x="54" y="94"/>
                  </a:lnTo>
                  <a:lnTo>
                    <a:pt x="52" y="94"/>
                  </a:lnTo>
                  <a:lnTo>
                    <a:pt x="52" y="96"/>
                  </a:lnTo>
                  <a:lnTo>
                    <a:pt x="50" y="96"/>
                  </a:lnTo>
                  <a:lnTo>
                    <a:pt x="52" y="96"/>
                  </a:lnTo>
                  <a:lnTo>
                    <a:pt x="52" y="94"/>
                  </a:lnTo>
                  <a:lnTo>
                    <a:pt x="52" y="92"/>
                  </a:lnTo>
                  <a:lnTo>
                    <a:pt x="54" y="92"/>
                  </a:lnTo>
                  <a:lnTo>
                    <a:pt x="52" y="92"/>
                  </a:lnTo>
                  <a:lnTo>
                    <a:pt x="54" y="92"/>
                  </a:lnTo>
                  <a:close/>
                  <a:moveTo>
                    <a:pt x="54" y="92"/>
                  </a:moveTo>
                  <a:lnTo>
                    <a:pt x="52" y="92"/>
                  </a:lnTo>
                  <a:lnTo>
                    <a:pt x="54" y="92"/>
                  </a:lnTo>
                  <a:close/>
                  <a:moveTo>
                    <a:pt x="52" y="90"/>
                  </a:moveTo>
                  <a:lnTo>
                    <a:pt x="52" y="92"/>
                  </a:lnTo>
                  <a:lnTo>
                    <a:pt x="52" y="90"/>
                  </a:lnTo>
                  <a:close/>
                  <a:moveTo>
                    <a:pt x="52" y="90"/>
                  </a:moveTo>
                  <a:lnTo>
                    <a:pt x="52" y="92"/>
                  </a:lnTo>
                  <a:lnTo>
                    <a:pt x="52" y="90"/>
                  </a:lnTo>
                  <a:lnTo>
                    <a:pt x="52" y="92"/>
                  </a:lnTo>
                  <a:lnTo>
                    <a:pt x="52" y="90"/>
                  </a:lnTo>
                  <a:lnTo>
                    <a:pt x="52" y="92"/>
                  </a:lnTo>
                  <a:lnTo>
                    <a:pt x="52" y="90"/>
                  </a:lnTo>
                  <a:lnTo>
                    <a:pt x="52" y="92"/>
                  </a:lnTo>
                  <a:lnTo>
                    <a:pt x="52" y="90"/>
                  </a:lnTo>
                  <a:close/>
                  <a:moveTo>
                    <a:pt x="50" y="90"/>
                  </a:moveTo>
                  <a:lnTo>
                    <a:pt x="52" y="90"/>
                  </a:lnTo>
                  <a:lnTo>
                    <a:pt x="52" y="92"/>
                  </a:lnTo>
                  <a:lnTo>
                    <a:pt x="52" y="90"/>
                  </a:lnTo>
                  <a:lnTo>
                    <a:pt x="52" y="92"/>
                  </a:lnTo>
                  <a:lnTo>
                    <a:pt x="50" y="92"/>
                  </a:lnTo>
                  <a:lnTo>
                    <a:pt x="50" y="90"/>
                  </a:lnTo>
                  <a:lnTo>
                    <a:pt x="50" y="92"/>
                  </a:lnTo>
                  <a:lnTo>
                    <a:pt x="50" y="90"/>
                  </a:lnTo>
                  <a:close/>
                  <a:moveTo>
                    <a:pt x="52" y="90"/>
                  </a:moveTo>
                  <a:lnTo>
                    <a:pt x="54" y="90"/>
                  </a:lnTo>
                  <a:lnTo>
                    <a:pt x="54" y="92"/>
                  </a:lnTo>
                  <a:lnTo>
                    <a:pt x="52" y="92"/>
                  </a:lnTo>
                  <a:lnTo>
                    <a:pt x="52" y="90"/>
                  </a:lnTo>
                  <a:lnTo>
                    <a:pt x="54" y="90"/>
                  </a:lnTo>
                  <a:lnTo>
                    <a:pt x="52" y="90"/>
                  </a:lnTo>
                  <a:lnTo>
                    <a:pt x="54" y="90"/>
                  </a:lnTo>
                  <a:lnTo>
                    <a:pt x="54" y="92"/>
                  </a:lnTo>
                  <a:lnTo>
                    <a:pt x="54" y="90"/>
                  </a:lnTo>
                  <a:lnTo>
                    <a:pt x="52" y="90"/>
                  </a:lnTo>
                  <a:close/>
                  <a:moveTo>
                    <a:pt x="8" y="102"/>
                  </a:moveTo>
                  <a:lnTo>
                    <a:pt x="6" y="102"/>
                  </a:lnTo>
                  <a:lnTo>
                    <a:pt x="8" y="102"/>
                  </a:lnTo>
                  <a:close/>
                  <a:moveTo>
                    <a:pt x="54" y="88"/>
                  </a:moveTo>
                  <a:lnTo>
                    <a:pt x="52" y="88"/>
                  </a:lnTo>
                  <a:lnTo>
                    <a:pt x="54" y="88"/>
                  </a:lnTo>
                  <a:close/>
                  <a:moveTo>
                    <a:pt x="52" y="86"/>
                  </a:moveTo>
                  <a:lnTo>
                    <a:pt x="52" y="88"/>
                  </a:lnTo>
                  <a:lnTo>
                    <a:pt x="54" y="88"/>
                  </a:lnTo>
                  <a:lnTo>
                    <a:pt x="52" y="88"/>
                  </a:lnTo>
                  <a:lnTo>
                    <a:pt x="52" y="86"/>
                  </a:lnTo>
                  <a:close/>
                  <a:moveTo>
                    <a:pt x="54" y="86"/>
                  </a:moveTo>
                  <a:lnTo>
                    <a:pt x="52" y="86"/>
                  </a:lnTo>
                  <a:lnTo>
                    <a:pt x="54" y="86"/>
                  </a:lnTo>
                  <a:close/>
                  <a:moveTo>
                    <a:pt x="52" y="86"/>
                  </a:moveTo>
                  <a:lnTo>
                    <a:pt x="54" y="86"/>
                  </a:lnTo>
                  <a:lnTo>
                    <a:pt x="52" y="86"/>
                  </a:lnTo>
                  <a:close/>
                  <a:moveTo>
                    <a:pt x="54" y="86"/>
                  </a:moveTo>
                  <a:lnTo>
                    <a:pt x="52" y="86"/>
                  </a:lnTo>
                  <a:lnTo>
                    <a:pt x="54" y="86"/>
                  </a:lnTo>
                  <a:lnTo>
                    <a:pt x="52" y="86"/>
                  </a:lnTo>
                  <a:lnTo>
                    <a:pt x="54" y="86"/>
                  </a:lnTo>
                  <a:close/>
                  <a:moveTo>
                    <a:pt x="54" y="84"/>
                  </a:moveTo>
                  <a:lnTo>
                    <a:pt x="54" y="86"/>
                  </a:lnTo>
                  <a:lnTo>
                    <a:pt x="54" y="84"/>
                  </a:lnTo>
                  <a:close/>
                  <a:moveTo>
                    <a:pt x="54" y="84"/>
                  </a:moveTo>
                  <a:lnTo>
                    <a:pt x="54" y="86"/>
                  </a:lnTo>
                  <a:lnTo>
                    <a:pt x="54" y="84"/>
                  </a:lnTo>
                  <a:close/>
                  <a:moveTo>
                    <a:pt x="4" y="98"/>
                  </a:moveTo>
                  <a:lnTo>
                    <a:pt x="6" y="98"/>
                  </a:lnTo>
                  <a:lnTo>
                    <a:pt x="4" y="98"/>
                  </a:lnTo>
                  <a:lnTo>
                    <a:pt x="6" y="98"/>
                  </a:lnTo>
                  <a:lnTo>
                    <a:pt x="4" y="98"/>
                  </a:lnTo>
                  <a:close/>
                  <a:moveTo>
                    <a:pt x="56" y="84"/>
                  </a:moveTo>
                  <a:lnTo>
                    <a:pt x="54" y="84"/>
                  </a:lnTo>
                  <a:lnTo>
                    <a:pt x="56" y="84"/>
                  </a:lnTo>
                  <a:close/>
                  <a:moveTo>
                    <a:pt x="6" y="96"/>
                  </a:moveTo>
                  <a:lnTo>
                    <a:pt x="6" y="98"/>
                  </a:lnTo>
                  <a:lnTo>
                    <a:pt x="6" y="96"/>
                  </a:lnTo>
                  <a:close/>
                  <a:moveTo>
                    <a:pt x="54" y="84"/>
                  </a:moveTo>
                  <a:lnTo>
                    <a:pt x="54" y="82"/>
                  </a:lnTo>
                  <a:lnTo>
                    <a:pt x="54" y="84"/>
                  </a:lnTo>
                  <a:close/>
                  <a:moveTo>
                    <a:pt x="8" y="96"/>
                  </a:moveTo>
                  <a:lnTo>
                    <a:pt x="6" y="96"/>
                  </a:lnTo>
                  <a:lnTo>
                    <a:pt x="8" y="96"/>
                  </a:lnTo>
                  <a:close/>
                  <a:moveTo>
                    <a:pt x="54" y="82"/>
                  </a:moveTo>
                  <a:lnTo>
                    <a:pt x="52" y="82"/>
                  </a:lnTo>
                  <a:lnTo>
                    <a:pt x="54" y="82"/>
                  </a:lnTo>
                  <a:close/>
                  <a:moveTo>
                    <a:pt x="56" y="82"/>
                  </a:moveTo>
                  <a:lnTo>
                    <a:pt x="56" y="80"/>
                  </a:lnTo>
                  <a:lnTo>
                    <a:pt x="56" y="82"/>
                  </a:lnTo>
                  <a:close/>
                  <a:moveTo>
                    <a:pt x="6" y="96"/>
                  </a:moveTo>
                  <a:lnTo>
                    <a:pt x="6" y="94"/>
                  </a:lnTo>
                  <a:lnTo>
                    <a:pt x="6" y="96"/>
                  </a:lnTo>
                  <a:close/>
                  <a:moveTo>
                    <a:pt x="56" y="80"/>
                  </a:moveTo>
                  <a:lnTo>
                    <a:pt x="54" y="80"/>
                  </a:lnTo>
                  <a:lnTo>
                    <a:pt x="56" y="80"/>
                  </a:lnTo>
                  <a:close/>
                  <a:moveTo>
                    <a:pt x="6" y="94"/>
                  </a:moveTo>
                  <a:lnTo>
                    <a:pt x="4" y="94"/>
                  </a:lnTo>
                  <a:lnTo>
                    <a:pt x="6" y="94"/>
                  </a:lnTo>
                  <a:close/>
                  <a:moveTo>
                    <a:pt x="56" y="78"/>
                  </a:moveTo>
                  <a:lnTo>
                    <a:pt x="56" y="80"/>
                  </a:lnTo>
                  <a:lnTo>
                    <a:pt x="56" y="78"/>
                  </a:lnTo>
                  <a:close/>
                  <a:moveTo>
                    <a:pt x="56" y="78"/>
                  </a:moveTo>
                  <a:lnTo>
                    <a:pt x="56" y="80"/>
                  </a:lnTo>
                  <a:lnTo>
                    <a:pt x="56" y="78"/>
                  </a:lnTo>
                  <a:lnTo>
                    <a:pt x="56" y="80"/>
                  </a:lnTo>
                  <a:lnTo>
                    <a:pt x="56" y="78"/>
                  </a:lnTo>
                  <a:lnTo>
                    <a:pt x="56" y="80"/>
                  </a:lnTo>
                  <a:lnTo>
                    <a:pt x="56" y="78"/>
                  </a:lnTo>
                  <a:lnTo>
                    <a:pt x="56" y="80"/>
                  </a:lnTo>
                  <a:lnTo>
                    <a:pt x="56" y="78"/>
                  </a:lnTo>
                  <a:close/>
                  <a:moveTo>
                    <a:pt x="56" y="78"/>
                  </a:moveTo>
                  <a:lnTo>
                    <a:pt x="54" y="78"/>
                  </a:lnTo>
                  <a:lnTo>
                    <a:pt x="56" y="78"/>
                  </a:lnTo>
                  <a:close/>
                  <a:moveTo>
                    <a:pt x="58" y="74"/>
                  </a:moveTo>
                  <a:lnTo>
                    <a:pt x="56" y="74"/>
                  </a:lnTo>
                  <a:lnTo>
                    <a:pt x="58" y="74"/>
                  </a:lnTo>
                  <a:close/>
                  <a:moveTo>
                    <a:pt x="58" y="74"/>
                  </a:moveTo>
                  <a:lnTo>
                    <a:pt x="56" y="74"/>
                  </a:lnTo>
                  <a:lnTo>
                    <a:pt x="58" y="74"/>
                  </a:lnTo>
                  <a:close/>
                  <a:moveTo>
                    <a:pt x="56" y="74"/>
                  </a:moveTo>
                  <a:lnTo>
                    <a:pt x="56" y="72"/>
                  </a:lnTo>
                  <a:lnTo>
                    <a:pt x="56" y="74"/>
                  </a:lnTo>
                  <a:close/>
                  <a:moveTo>
                    <a:pt x="56" y="72"/>
                  </a:moveTo>
                  <a:lnTo>
                    <a:pt x="56" y="74"/>
                  </a:lnTo>
                  <a:lnTo>
                    <a:pt x="56" y="72"/>
                  </a:lnTo>
                  <a:close/>
                  <a:moveTo>
                    <a:pt x="56" y="72"/>
                  </a:moveTo>
                  <a:lnTo>
                    <a:pt x="56" y="74"/>
                  </a:lnTo>
                  <a:lnTo>
                    <a:pt x="56" y="72"/>
                  </a:lnTo>
                  <a:close/>
                  <a:moveTo>
                    <a:pt x="58" y="72"/>
                  </a:moveTo>
                  <a:lnTo>
                    <a:pt x="58" y="74"/>
                  </a:lnTo>
                  <a:lnTo>
                    <a:pt x="58" y="72"/>
                  </a:lnTo>
                  <a:lnTo>
                    <a:pt x="58" y="74"/>
                  </a:lnTo>
                  <a:lnTo>
                    <a:pt x="58" y="76"/>
                  </a:lnTo>
                  <a:lnTo>
                    <a:pt x="58" y="78"/>
                  </a:lnTo>
                  <a:lnTo>
                    <a:pt x="56" y="78"/>
                  </a:lnTo>
                  <a:lnTo>
                    <a:pt x="56" y="80"/>
                  </a:lnTo>
                  <a:lnTo>
                    <a:pt x="56" y="82"/>
                  </a:lnTo>
                  <a:lnTo>
                    <a:pt x="56" y="84"/>
                  </a:lnTo>
                  <a:lnTo>
                    <a:pt x="56" y="86"/>
                  </a:lnTo>
                  <a:lnTo>
                    <a:pt x="54" y="86"/>
                  </a:lnTo>
                  <a:lnTo>
                    <a:pt x="54" y="88"/>
                  </a:lnTo>
                  <a:lnTo>
                    <a:pt x="54" y="86"/>
                  </a:lnTo>
                  <a:lnTo>
                    <a:pt x="56" y="86"/>
                  </a:lnTo>
                  <a:lnTo>
                    <a:pt x="56" y="84"/>
                  </a:lnTo>
                  <a:lnTo>
                    <a:pt x="54" y="84"/>
                  </a:lnTo>
                  <a:lnTo>
                    <a:pt x="56" y="84"/>
                  </a:lnTo>
                  <a:lnTo>
                    <a:pt x="54" y="84"/>
                  </a:lnTo>
                  <a:lnTo>
                    <a:pt x="56" y="84"/>
                  </a:lnTo>
                  <a:lnTo>
                    <a:pt x="56" y="82"/>
                  </a:lnTo>
                  <a:lnTo>
                    <a:pt x="56" y="80"/>
                  </a:lnTo>
                  <a:lnTo>
                    <a:pt x="56" y="78"/>
                  </a:lnTo>
                  <a:lnTo>
                    <a:pt x="58" y="78"/>
                  </a:lnTo>
                  <a:lnTo>
                    <a:pt x="56" y="78"/>
                  </a:lnTo>
                  <a:lnTo>
                    <a:pt x="58" y="78"/>
                  </a:lnTo>
                  <a:lnTo>
                    <a:pt x="56" y="78"/>
                  </a:lnTo>
                  <a:lnTo>
                    <a:pt x="58" y="78"/>
                  </a:lnTo>
                  <a:lnTo>
                    <a:pt x="58" y="76"/>
                  </a:lnTo>
                  <a:lnTo>
                    <a:pt x="58" y="74"/>
                  </a:lnTo>
                  <a:lnTo>
                    <a:pt x="58" y="76"/>
                  </a:lnTo>
                  <a:lnTo>
                    <a:pt x="58" y="74"/>
                  </a:lnTo>
                  <a:lnTo>
                    <a:pt x="56" y="74"/>
                  </a:lnTo>
                  <a:lnTo>
                    <a:pt x="58" y="74"/>
                  </a:lnTo>
                  <a:lnTo>
                    <a:pt x="56" y="74"/>
                  </a:lnTo>
                  <a:lnTo>
                    <a:pt x="58" y="72"/>
                  </a:lnTo>
                  <a:lnTo>
                    <a:pt x="56" y="72"/>
                  </a:lnTo>
                  <a:lnTo>
                    <a:pt x="58" y="72"/>
                  </a:lnTo>
                  <a:close/>
                  <a:moveTo>
                    <a:pt x="58" y="72"/>
                  </a:moveTo>
                  <a:lnTo>
                    <a:pt x="56" y="72"/>
                  </a:lnTo>
                  <a:lnTo>
                    <a:pt x="58" y="72"/>
                  </a:lnTo>
                  <a:close/>
                  <a:moveTo>
                    <a:pt x="56" y="72"/>
                  </a:moveTo>
                  <a:lnTo>
                    <a:pt x="58" y="72"/>
                  </a:lnTo>
                  <a:lnTo>
                    <a:pt x="56" y="72"/>
                  </a:lnTo>
                  <a:lnTo>
                    <a:pt x="56" y="70"/>
                  </a:lnTo>
                  <a:lnTo>
                    <a:pt x="56" y="72"/>
                  </a:lnTo>
                  <a:close/>
                  <a:moveTo>
                    <a:pt x="56" y="72"/>
                  </a:moveTo>
                  <a:lnTo>
                    <a:pt x="56" y="70"/>
                  </a:lnTo>
                  <a:lnTo>
                    <a:pt x="56" y="72"/>
                  </a:lnTo>
                  <a:close/>
                  <a:moveTo>
                    <a:pt x="56" y="60"/>
                  </a:moveTo>
                  <a:lnTo>
                    <a:pt x="54" y="60"/>
                  </a:lnTo>
                  <a:lnTo>
                    <a:pt x="56" y="60"/>
                  </a:lnTo>
                  <a:close/>
                  <a:moveTo>
                    <a:pt x="56" y="54"/>
                  </a:moveTo>
                  <a:lnTo>
                    <a:pt x="56" y="56"/>
                  </a:lnTo>
                  <a:lnTo>
                    <a:pt x="56" y="58"/>
                  </a:lnTo>
                  <a:lnTo>
                    <a:pt x="56" y="60"/>
                  </a:lnTo>
                  <a:lnTo>
                    <a:pt x="56" y="62"/>
                  </a:lnTo>
                  <a:lnTo>
                    <a:pt x="56" y="64"/>
                  </a:lnTo>
                  <a:lnTo>
                    <a:pt x="56" y="66"/>
                  </a:lnTo>
                  <a:lnTo>
                    <a:pt x="58" y="66"/>
                  </a:lnTo>
                  <a:lnTo>
                    <a:pt x="58" y="68"/>
                  </a:lnTo>
                  <a:lnTo>
                    <a:pt x="58" y="70"/>
                  </a:lnTo>
                  <a:lnTo>
                    <a:pt x="58" y="72"/>
                  </a:lnTo>
                  <a:lnTo>
                    <a:pt x="56" y="72"/>
                  </a:lnTo>
                  <a:lnTo>
                    <a:pt x="58" y="72"/>
                  </a:lnTo>
                  <a:lnTo>
                    <a:pt x="58" y="70"/>
                  </a:lnTo>
                  <a:lnTo>
                    <a:pt x="58" y="68"/>
                  </a:lnTo>
                  <a:lnTo>
                    <a:pt x="56" y="68"/>
                  </a:lnTo>
                  <a:lnTo>
                    <a:pt x="56" y="66"/>
                  </a:lnTo>
                  <a:lnTo>
                    <a:pt x="56" y="64"/>
                  </a:lnTo>
                  <a:lnTo>
                    <a:pt x="56" y="62"/>
                  </a:lnTo>
                  <a:lnTo>
                    <a:pt x="54" y="62"/>
                  </a:lnTo>
                  <a:lnTo>
                    <a:pt x="56" y="62"/>
                  </a:lnTo>
                  <a:lnTo>
                    <a:pt x="56" y="60"/>
                  </a:lnTo>
                  <a:lnTo>
                    <a:pt x="56" y="58"/>
                  </a:lnTo>
                  <a:lnTo>
                    <a:pt x="56" y="56"/>
                  </a:lnTo>
                  <a:lnTo>
                    <a:pt x="54" y="56"/>
                  </a:lnTo>
                  <a:lnTo>
                    <a:pt x="54" y="54"/>
                  </a:lnTo>
                  <a:lnTo>
                    <a:pt x="56" y="54"/>
                  </a:lnTo>
                  <a:close/>
                  <a:moveTo>
                    <a:pt x="56" y="54"/>
                  </a:moveTo>
                  <a:lnTo>
                    <a:pt x="54" y="54"/>
                  </a:lnTo>
                  <a:lnTo>
                    <a:pt x="56" y="54"/>
                  </a:lnTo>
                  <a:close/>
                  <a:moveTo>
                    <a:pt x="56" y="54"/>
                  </a:moveTo>
                  <a:lnTo>
                    <a:pt x="54" y="54"/>
                  </a:lnTo>
                  <a:lnTo>
                    <a:pt x="56" y="54"/>
                  </a:lnTo>
                  <a:close/>
                  <a:moveTo>
                    <a:pt x="56" y="54"/>
                  </a:moveTo>
                  <a:lnTo>
                    <a:pt x="54" y="54"/>
                  </a:lnTo>
                  <a:lnTo>
                    <a:pt x="56" y="54"/>
                  </a:lnTo>
                  <a:close/>
                  <a:moveTo>
                    <a:pt x="54" y="54"/>
                  </a:moveTo>
                  <a:lnTo>
                    <a:pt x="56" y="54"/>
                  </a:lnTo>
                  <a:lnTo>
                    <a:pt x="54" y="54"/>
                  </a:lnTo>
                  <a:close/>
                  <a:moveTo>
                    <a:pt x="52" y="40"/>
                  </a:moveTo>
                  <a:lnTo>
                    <a:pt x="54" y="40"/>
                  </a:lnTo>
                  <a:lnTo>
                    <a:pt x="52" y="40"/>
                  </a:lnTo>
                  <a:close/>
                  <a:moveTo>
                    <a:pt x="54" y="40"/>
                  </a:moveTo>
                  <a:lnTo>
                    <a:pt x="52" y="40"/>
                  </a:lnTo>
                  <a:lnTo>
                    <a:pt x="54" y="40"/>
                  </a:lnTo>
                  <a:close/>
                  <a:moveTo>
                    <a:pt x="46" y="26"/>
                  </a:moveTo>
                  <a:lnTo>
                    <a:pt x="44" y="26"/>
                  </a:lnTo>
                  <a:lnTo>
                    <a:pt x="46" y="26"/>
                  </a:lnTo>
                  <a:close/>
                  <a:moveTo>
                    <a:pt x="14" y="0"/>
                  </a:moveTo>
                  <a:lnTo>
                    <a:pt x="14" y="0"/>
                  </a:lnTo>
                  <a:lnTo>
                    <a:pt x="16" y="0"/>
                  </a:lnTo>
                  <a:lnTo>
                    <a:pt x="16" y="2"/>
                  </a:lnTo>
                  <a:lnTo>
                    <a:pt x="18" y="2"/>
                  </a:lnTo>
                  <a:lnTo>
                    <a:pt x="20" y="2"/>
                  </a:lnTo>
                  <a:lnTo>
                    <a:pt x="22" y="2"/>
                  </a:lnTo>
                  <a:lnTo>
                    <a:pt x="24" y="2"/>
                  </a:lnTo>
                  <a:lnTo>
                    <a:pt x="24" y="4"/>
                  </a:lnTo>
                  <a:lnTo>
                    <a:pt x="26" y="4"/>
                  </a:lnTo>
                  <a:lnTo>
                    <a:pt x="28" y="4"/>
                  </a:lnTo>
                  <a:lnTo>
                    <a:pt x="30" y="4"/>
                  </a:lnTo>
                  <a:lnTo>
                    <a:pt x="30" y="6"/>
                  </a:lnTo>
                  <a:lnTo>
                    <a:pt x="32" y="6"/>
                  </a:lnTo>
                  <a:lnTo>
                    <a:pt x="34" y="6"/>
                  </a:lnTo>
                  <a:lnTo>
                    <a:pt x="36" y="6"/>
                  </a:lnTo>
                  <a:lnTo>
                    <a:pt x="38" y="6"/>
                  </a:lnTo>
                  <a:lnTo>
                    <a:pt x="38" y="6"/>
                  </a:lnTo>
                  <a:lnTo>
                    <a:pt x="40" y="6"/>
                  </a:lnTo>
                  <a:lnTo>
                    <a:pt x="42" y="6"/>
                  </a:lnTo>
                  <a:lnTo>
                    <a:pt x="44" y="6"/>
                  </a:lnTo>
                  <a:lnTo>
                    <a:pt x="46" y="6"/>
                  </a:lnTo>
                  <a:lnTo>
                    <a:pt x="46" y="8"/>
                  </a:lnTo>
                  <a:lnTo>
                    <a:pt x="48" y="8"/>
                  </a:lnTo>
                  <a:lnTo>
                    <a:pt x="48" y="10"/>
                  </a:lnTo>
                  <a:lnTo>
                    <a:pt x="48" y="12"/>
                  </a:lnTo>
                  <a:lnTo>
                    <a:pt x="48" y="14"/>
                  </a:lnTo>
                  <a:lnTo>
                    <a:pt x="48" y="16"/>
                  </a:lnTo>
                  <a:lnTo>
                    <a:pt x="48" y="18"/>
                  </a:lnTo>
                  <a:lnTo>
                    <a:pt x="46" y="18"/>
                  </a:lnTo>
                  <a:lnTo>
                    <a:pt x="46" y="20"/>
                  </a:lnTo>
                  <a:lnTo>
                    <a:pt x="46" y="22"/>
                  </a:lnTo>
                  <a:lnTo>
                    <a:pt x="46" y="24"/>
                  </a:lnTo>
                  <a:lnTo>
                    <a:pt x="46" y="26"/>
                  </a:lnTo>
                  <a:lnTo>
                    <a:pt x="46" y="24"/>
                  </a:lnTo>
                  <a:lnTo>
                    <a:pt x="46" y="26"/>
                  </a:lnTo>
                  <a:lnTo>
                    <a:pt x="46" y="24"/>
                  </a:lnTo>
                  <a:lnTo>
                    <a:pt x="46" y="26"/>
                  </a:lnTo>
                  <a:lnTo>
                    <a:pt x="44" y="26"/>
                  </a:lnTo>
                  <a:lnTo>
                    <a:pt x="46" y="26"/>
                  </a:lnTo>
                  <a:lnTo>
                    <a:pt x="44" y="26"/>
                  </a:lnTo>
                  <a:lnTo>
                    <a:pt x="46" y="26"/>
                  </a:lnTo>
                  <a:lnTo>
                    <a:pt x="44" y="26"/>
                  </a:lnTo>
                  <a:lnTo>
                    <a:pt x="46" y="26"/>
                  </a:lnTo>
                  <a:lnTo>
                    <a:pt x="44" y="26"/>
                  </a:lnTo>
                  <a:lnTo>
                    <a:pt x="44" y="28"/>
                  </a:lnTo>
                  <a:lnTo>
                    <a:pt x="44" y="26"/>
                  </a:lnTo>
                  <a:lnTo>
                    <a:pt x="44" y="28"/>
                  </a:lnTo>
                  <a:lnTo>
                    <a:pt x="44" y="26"/>
                  </a:lnTo>
                  <a:lnTo>
                    <a:pt x="44" y="28"/>
                  </a:lnTo>
                  <a:lnTo>
                    <a:pt x="46" y="28"/>
                  </a:lnTo>
                  <a:lnTo>
                    <a:pt x="44" y="28"/>
                  </a:lnTo>
                  <a:lnTo>
                    <a:pt x="42" y="28"/>
                  </a:lnTo>
                  <a:lnTo>
                    <a:pt x="42" y="30"/>
                  </a:lnTo>
                  <a:lnTo>
                    <a:pt x="40" y="30"/>
                  </a:lnTo>
                  <a:lnTo>
                    <a:pt x="40" y="32"/>
                  </a:lnTo>
                  <a:lnTo>
                    <a:pt x="42" y="32"/>
                  </a:lnTo>
                  <a:lnTo>
                    <a:pt x="42" y="34"/>
                  </a:lnTo>
                  <a:lnTo>
                    <a:pt x="40" y="34"/>
                  </a:lnTo>
                  <a:lnTo>
                    <a:pt x="40" y="36"/>
                  </a:lnTo>
                  <a:lnTo>
                    <a:pt x="40" y="38"/>
                  </a:lnTo>
                  <a:lnTo>
                    <a:pt x="40" y="40"/>
                  </a:lnTo>
                  <a:lnTo>
                    <a:pt x="42" y="40"/>
                  </a:lnTo>
                  <a:lnTo>
                    <a:pt x="44" y="40"/>
                  </a:lnTo>
                  <a:lnTo>
                    <a:pt x="44" y="38"/>
                  </a:lnTo>
                  <a:lnTo>
                    <a:pt x="44" y="40"/>
                  </a:lnTo>
                  <a:lnTo>
                    <a:pt x="46" y="40"/>
                  </a:lnTo>
                  <a:lnTo>
                    <a:pt x="46" y="38"/>
                  </a:lnTo>
                  <a:lnTo>
                    <a:pt x="46" y="40"/>
                  </a:lnTo>
                  <a:lnTo>
                    <a:pt x="46" y="38"/>
                  </a:lnTo>
                  <a:lnTo>
                    <a:pt x="46" y="40"/>
                  </a:lnTo>
                  <a:lnTo>
                    <a:pt x="46" y="38"/>
                  </a:lnTo>
                  <a:lnTo>
                    <a:pt x="48" y="38"/>
                  </a:lnTo>
                  <a:lnTo>
                    <a:pt x="48" y="40"/>
                  </a:lnTo>
                  <a:lnTo>
                    <a:pt x="50" y="40"/>
                  </a:lnTo>
                  <a:lnTo>
                    <a:pt x="48" y="40"/>
                  </a:lnTo>
                  <a:lnTo>
                    <a:pt x="50" y="38"/>
                  </a:lnTo>
                  <a:lnTo>
                    <a:pt x="50" y="40"/>
                  </a:lnTo>
                  <a:lnTo>
                    <a:pt x="50" y="38"/>
                  </a:lnTo>
                  <a:lnTo>
                    <a:pt x="50" y="40"/>
                  </a:lnTo>
                  <a:lnTo>
                    <a:pt x="52" y="40"/>
                  </a:lnTo>
                  <a:lnTo>
                    <a:pt x="54" y="40"/>
                  </a:lnTo>
                  <a:lnTo>
                    <a:pt x="52" y="40"/>
                  </a:lnTo>
                  <a:lnTo>
                    <a:pt x="52" y="42"/>
                  </a:lnTo>
                  <a:lnTo>
                    <a:pt x="50" y="42"/>
                  </a:lnTo>
                  <a:lnTo>
                    <a:pt x="50" y="44"/>
                  </a:lnTo>
                  <a:lnTo>
                    <a:pt x="50" y="42"/>
                  </a:lnTo>
                  <a:lnTo>
                    <a:pt x="50" y="44"/>
                  </a:lnTo>
                  <a:lnTo>
                    <a:pt x="50" y="42"/>
                  </a:lnTo>
                  <a:lnTo>
                    <a:pt x="52" y="42"/>
                  </a:lnTo>
                  <a:lnTo>
                    <a:pt x="52" y="40"/>
                  </a:lnTo>
                  <a:lnTo>
                    <a:pt x="52" y="42"/>
                  </a:lnTo>
                  <a:lnTo>
                    <a:pt x="52" y="40"/>
                  </a:lnTo>
                  <a:lnTo>
                    <a:pt x="54" y="40"/>
                  </a:lnTo>
                  <a:lnTo>
                    <a:pt x="54" y="42"/>
                  </a:lnTo>
                  <a:lnTo>
                    <a:pt x="54" y="40"/>
                  </a:lnTo>
                  <a:lnTo>
                    <a:pt x="54" y="42"/>
                  </a:lnTo>
                  <a:lnTo>
                    <a:pt x="52" y="42"/>
                  </a:lnTo>
                  <a:lnTo>
                    <a:pt x="54" y="42"/>
                  </a:lnTo>
                  <a:lnTo>
                    <a:pt x="52" y="42"/>
                  </a:lnTo>
                  <a:lnTo>
                    <a:pt x="54" y="42"/>
                  </a:lnTo>
                  <a:lnTo>
                    <a:pt x="52" y="42"/>
                  </a:lnTo>
                  <a:lnTo>
                    <a:pt x="52" y="44"/>
                  </a:lnTo>
                  <a:lnTo>
                    <a:pt x="52" y="42"/>
                  </a:lnTo>
                  <a:lnTo>
                    <a:pt x="52" y="44"/>
                  </a:lnTo>
                  <a:lnTo>
                    <a:pt x="52" y="42"/>
                  </a:lnTo>
                  <a:lnTo>
                    <a:pt x="52" y="44"/>
                  </a:lnTo>
                  <a:lnTo>
                    <a:pt x="54" y="44"/>
                  </a:lnTo>
                  <a:lnTo>
                    <a:pt x="52" y="44"/>
                  </a:lnTo>
                  <a:lnTo>
                    <a:pt x="54" y="44"/>
                  </a:lnTo>
                  <a:lnTo>
                    <a:pt x="54" y="42"/>
                  </a:lnTo>
                  <a:lnTo>
                    <a:pt x="54" y="44"/>
                  </a:lnTo>
                  <a:lnTo>
                    <a:pt x="54" y="42"/>
                  </a:lnTo>
                  <a:lnTo>
                    <a:pt x="54" y="44"/>
                  </a:lnTo>
                  <a:lnTo>
                    <a:pt x="54" y="42"/>
                  </a:lnTo>
                  <a:lnTo>
                    <a:pt x="54" y="40"/>
                  </a:lnTo>
                  <a:lnTo>
                    <a:pt x="52" y="40"/>
                  </a:lnTo>
                  <a:lnTo>
                    <a:pt x="52" y="38"/>
                  </a:lnTo>
                  <a:lnTo>
                    <a:pt x="54" y="40"/>
                  </a:lnTo>
                  <a:lnTo>
                    <a:pt x="54" y="38"/>
                  </a:lnTo>
                  <a:lnTo>
                    <a:pt x="52" y="38"/>
                  </a:lnTo>
                  <a:lnTo>
                    <a:pt x="52" y="36"/>
                  </a:lnTo>
                  <a:lnTo>
                    <a:pt x="50" y="36"/>
                  </a:lnTo>
                  <a:lnTo>
                    <a:pt x="52" y="36"/>
                  </a:lnTo>
                  <a:lnTo>
                    <a:pt x="52" y="38"/>
                  </a:lnTo>
                  <a:lnTo>
                    <a:pt x="54" y="40"/>
                  </a:lnTo>
                  <a:lnTo>
                    <a:pt x="54" y="42"/>
                  </a:lnTo>
                  <a:lnTo>
                    <a:pt x="54" y="44"/>
                  </a:lnTo>
                  <a:lnTo>
                    <a:pt x="54" y="46"/>
                  </a:lnTo>
                  <a:lnTo>
                    <a:pt x="54" y="48"/>
                  </a:lnTo>
                  <a:lnTo>
                    <a:pt x="56" y="48"/>
                  </a:lnTo>
                  <a:lnTo>
                    <a:pt x="54" y="48"/>
                  </a:lnTo>
                  <a:lnTo>
                    <a:pt x="56" y="48"/>
                  </a:lnTo>
                  <a:lnTo>
                    <a:pt x="54" y="48"/>
                  </a:lnTo>
                  <a:lnTo>
                    <a:pt x="56" y="48"/>
                  </a:lnTo>
                  <a:lnTo>
                    <a:pt x="56" y="50"/>
                  </a:lnTo>
                  <a:lnTo>
                    <a:pt x="56" y="52"/>
                  </a:lnTo>
                  <a:lnTo>
                    <a:pt x="54" y="52"/>
                  </a:lnTo>
                  <a:lnTo>
                    <a:pt x="54" y="50"/>
                  </a:lnTo>
                  <a:lnTo>
                    <a:pt x="54" y="52"/>
                  </a:lnTo>
                  <a:lnTo>
                    <a:pt x="56" y="52"/>
                  </a:lnTo>
                  <a:lnTo>
                    <a:pt x="56" y="54"/>
                  </a:lnTo>
                  <a:lnTo>
                    <a:pt x="56" y="54"/>
                  </a:lnTo>
                  <a:lnTo>
                    <a:pt x="54" y="54"/>
                  </a:lnTo>
                  <a:lnTo>
                    <a:pt x="56" y="54"/>
                  </a:lnTo>
                  <a:lnTo>
                    <a:pt x="56" y="54"/>
                  </a:lnTo>
                  <a:lnTo>
                    <a:pt x="54" y="54"/>
                  </a:lnTo>
                  <a:lnTo>
                    <a:pt x="56" y="54"/>
                  </a:lnTo>
                  <a:lnTo>
                    <a:pt x="56" y="54"/>
                  </a:lnTo>
                  <a:lnTo>
                    <a:pt x="56" y="54"/>
                  </a:lnTo>
                  <a:lnTo>
                    <a:pt x="56" y="54"/>
                  </a:lnTo>
                  <a:lnTo>
                    <a:pt x="54" y="54"/>
                  </a:lnTo>
                  <a:lnTo>
                    <a:pt x="52" y="54"/>
                  </a:lnTo>
                  <a:lnTo>
                    <a:pt x="54" y="54"/>
                  </a:lnTo>
                  <a:lnTo>
                    <a:pt x="54" y="56"/>
                  </a:lnTo>
                  <a:lnTo>
                    <a:pt x="56" y="56"/>
                  </a:lnTo>
                  <a:lnTo>
                    <a:pt x="54" y="56"/>
                  </a:lnTo>
                  <a:lnTo>
                    <a:pt x="56" y="56"/>
                  </a:lnTo>
                  <a:lnTo>
                    <a:pt x="54" y="56"/>
                  </a:lnTo>
                  <a:lnTo>
                    <a:pt x="54" y="58"/>
                  </a:lnTo>
                  <a:lnTo>
                    <a:pt x="54" y="56"/>
                  </a:lnTo>
                  <a:lnTo>
                    <a:pt x="54" y="58"/>
                  </a:lnTo>
                  <a:lnTo>
                    <a:pt x="52" y="58"/>
                  </a:lnTo>
                  <a:lnTo>
                    <a:pt x="52" y="56"/>
                  </a:lnTo>
                  <a:lnTo>
                    <a:pt x="52" y="58"/>
                  </a:lnTo>
                  <a:lnTo>
                    <a:pt x="54" y="58"/>
                  </a:lnTo>
                  <a:lnTo>
                    <a:pt x="54" y="56"/>
                  </a:lnTo>
                  <a:lnTo>
                    <a:pt x="54" y="58"/>
                  </a:lnTo>
                  <a:lnTo>
                    <a:pt x="54" y="56"/>
                  </a:lnTo>
                  <a:lnTo>
                    <a:pt x="54" y="58"/>
                  </a:lnTo>
                  <a:lnTo>
                    <a:pt x="54" y="56"/>
                  </a:lnTo>
                  <a:lnTo>
                    <a:pt x="54" y="58"/>
                  </a:lnTo>
                  <a:lnTo>
                    <a:pt x="54" y="56"/>
                  </a:lnTo>
                  <a:lnTo>
                    <a:pt x="56" y="56"/>
                  </a:lnTo>
                  <a:lnTo>
                    <a:pt x="56" y="58"/>
                  </a:lnTo>
                  <a:lnTo>
                    <a:pt x="54" y="58"/>
                  </a:lnTo>
                  <a:lnTo>
                    <a:pt x="56" y="58"/>
                  </a:lnTo>
                  <a:lnTo>
                    <a:pt x="54" y="58"/>
                  </a:lnTo>
                  <a:lnTo>
                    <a:pt x="54" y="60"/>
                  </a:lnTo>
                  <a:lnTo>
                    <a:pt x="54" y="58"/>
                  </a:lnTo>
                  <a:lnTo>
                    <a:pt x="52" y="58"/>
                  </a:lnTo>
                  <a:lnTo>
                    <a:pt x="52" y="60"/>
                  </a:lnTo>
                  <a:lnTo>
                    <a:pt x="54" y="60"/>
                  </a:lnTo>
                  <a:lnTo>
                    <a:pt x="52" y="60"/>
                  </a:lnTo>
                  <a:lnTo>
                    <a:pt x="54" y="60"/>
                  </a:lnTo>
                  <a:lnTo>
                    <a:pt x="52" y="60"/>
                  </a:lnTo>
                  <a:lnTo>
                    <a:pt x="54" y="60"/>
                  </a:lnTo>
                  <a:lnTo>
                    <a:pt x="54" y="62"/>
                  </a:lnTo>
                  <a:lnTo>
                    <a:pt x="54" y="60"/>
                  </a:lnTo>
                  <a:lnTo>
                    <a:pt x="54" y="62"/>
                  </a:lnTo>
                  <a:lnTo>
                    <a:pt x="54" y="64"/>
                  </a:lnTo>
                  <a:lnTo>
                    <a:pt x="54" y="62"/>
                  </a:lnTo>
                  <a:lnTo>
                    <a:pt x="54" y="64"/>
                  </a:lnTo>
                  <a:lnTo>
                    <a:pt x="52" y="64"/>
                  </a:lnTo>
                  <a:lnTo>
                    <a:pt x="54" y="64"/>
                  </a:lnTo>
                  <a:lnTo>
                    <a:pt x="56" y="64"/>
                  </a:lnTo>
                  <a:lnTo>
                    <a:pt x="54" y="64"/>
                  </a:lnTo>
                  <a:lnTo>
                    <a:pt x="54" y="66"/>
                  </a:lnTo>
                  <a:lnTo>
                    <a:pt x="54" y="68"/>
                  </a:lnTo>
                  <a:lnTo>
                    <a:pt x="54" y="66"/>
                  </a:lnTo>
                  <a:lnTo>
                    <a:pt x="54" y="68"/>
                  </a:lnTo>
                  <a:lnTo>
                    <a:pt x="54" y="66"/>
                  </a:lnTo>
                  <a:lnTo>
                    <a:pt x="56" y="66"/>
                  </a:lnTo>
                  <a:lnTo>
                    <a:pt x="56" y="68"/>
                  </a:lnTo>
                  <a:lnTo>
                    <a:pt x="54" y="68"/>
                  </a:lnTo>
                  <a:lnTo>
                    <a:pt x="56" y="68"/>
                  </a:lnTo>
                  <a:lnTo>
                    <a:pt x="54" y="68"/>
                  </a:lnTo>
                  <a:lnTo>
                    <a:pt x="56" y="68"/>
                  </a:lnTo>
                  <a:lnTo>
                    <a:pt x="54" y="68"/>
                  </a:lnTo>
                  <a:lnTo>
                    <a:pt x="56" y="68"/>
                  </a:lnTo>
                  <a:lnTo>
                    <a:pt x="54" y="68"/>
                  </a:lnTo>
                  <a:lnTo>
                    <a:pt x="56" y="68"/>
                  </a:lnTo>
                  <a:lnTo>
                    <a:pt x="54" y="70"/>
                  </a:lnTo>
                  <a:lnTo>
                    <a:pt x="52" y="70"/>
                  </a:lnTo>
                  <a:lnTo>
                    <a:pt x="52" y="72"/>
                  </a:lnTo>
                  <a:lnTo>
                    <a:pt x="54" y="72"/>
                  </a:lnTo>
                  <a:lnTo>
                    <a:pt x="52" y="72"/>
                  </a:lnTo>
                  <a:lnTo>
                    <a:pt x="52" y="70"/>
                  </a:lnTo>
                  <a:lnTo>
                    <a:pt x="54" y="70"/>
                  </a:lnTo>
                  <a:lnTo>
                    <a:pt x="54" y="72"/>
                  </a:lnTo>
                  <a:lnTo>
                    <a:pt x="54" y="74"/>
                  </a:lnTo>
                  <a:lnTo>
                    <a:pt x="56" y="74"/>
                  </a:lnTo>
                  <a:lnTo>
                    <a:pt x="56" y="76"/>
                  </a:lnTo>
                  <a:lnTo>
                    <a:pt x="54" y="76"/>
                  </a:lnTo>
                  <a:lnTo>
                    <a:pt x="56" y="76"/>
                  </a:lnTo>
                  <a:lnTo>
                    <a:pt x="54" y="76"/>
                  </a:lnTo>
                  <a:lnTo>
                    <a:pt x="54" y="74"/>
                  </a:lnTo>
                  <a:lnTo>
                    <a:pt x="54" y="76"/>
                  </a:lnTo>
                  <a:lnTo>
                    <a:pt x="56" y="76"/>
                  </a:lnTo>
                  <a:lnTo>
                    <a:pt x="54" y="76"/>
                  </a:lnTo>
                  <a:lnTo>
                    <a:pt x="56" y="76"/>
                  </a:lnTo>
                  <a:lnTo>
                    <a:pt x="56" y="78"/>
                  </a:lnTo>
                  <a:lnTo>
                    <a:pt x="56" y="76"/>
                  </a:lnTo>
                  <a:lnTo>
                    <a:pt x="56" y="78"/>
                  </a:lnTo>
                  <a:lnTo>
                    <a:pt x="54" y="78"/>
                  </a:lnTo>
                  <a:lnTo>
                    <a:pt x="56" y="78"/>
                  </a:lnTo>
                  <a:lnTo>
                    <a:pt x="54" y="78"/>
                  </a:lnTo>
                  <a:lnTo>
                    <a:pt x="56" y="78"/>
                  </a:lnTo>
                  <a:lnTo>
                    <a:pt x="54" y="78"/>
                  </a:lnTo>
                  <a:lnTo>
                    <a:pt x="54" y="80"/>
                  </a:lnTo>
                  <a:lnTo>
                    <a:pt x="56" y="80"/>
                  </a:lnTo>
                  <a:lnTo>
                    <a:pt x="54" y="80"/>
                  </a:lnTo>
                  <a:lnTo>
                    <a:pt x="54" y="82"/>
                  </a:lnTo>
                  <a:lnTo>
                    <a:pt x="54" y="80"/>
                  </a:lnTo>
                  <a:lnTo>
                    <a:pt x="54" y="82"/>
                  </a:lnTo>
                  <a:lnTo>
                    <a:pt x="54" y="80"/>
                  </a:lnTo>
                  <a:lnTo>
                    <a:pt x="54" y="82"/>
                  </a:lnTo>
                  <a:lnTo>
                    <a:pt x="52" y="82"/>
                  </a:lnTo>
                  <a:lnTo>
                    <a:pt x="52" y="84"/>
                  </a:lnTo>
                  <a:lnTo>
                    <a:pt x="52" y="86"/>
                  </a:lnTo>
                  <a:lnTo>
                    <a:pt x="52" y="84"/>
                  </a:lnTo>
                  <a:lnTo>
                    <a:pt x="50" y="84"/>
                  </a:lnTo>
                  <a:lnTo>
                    <a:pt x="50" y="86"/>
                  </a:lnTo>
                  <a:lnTo>
                    <a:pt x="52" y="86"/>
                  </a:lnTo>
                  <a:lnTo>
                    <a:pt x="50" y="86"/>
                  </a:lnTo>
                  <a:lnTo>
                    <a:pt x="52" y="86"/>
                  </a:lnTo>
                  <a:lnTo>
                    <a:pt x="50" y="86"/>
                  </a:lnTo>
                  <a:lnTo>
                    <a:pt x="52" y="86"/>
                  </a:lnTo>
                  <a:lnTo>
                    <a:pt x="50" y="86"/>
                  </a:lnTo>
                  <a:lnTo>
                    <a:pt x="52" y="86"/>
                  </a:lnTo>
                  <a:lnTo>
                    <a:pt x="54" y="86"/>
                  </a:lnTo>
                  <a:lnTo>
                    <a:pt x="54" y="88"/>
                  </a:lnTo>
                  <a:lnTo>
                    <a:pt x="52" y="88"/>
                  </a:lnTo>
                  <a:lnTo>
                    <a:pt x="52" y="86"/>
                  </a:lnTo>
                  <a:lnTo>
                    <a:pt x="52" y="88"/>
                  </a:lnTo>
                  <a:lnTo>
                    <a:pt x="52" y="86"/>
                  </a:lnTo>
                  <a:lnTo>
                    <a:pt x="52" y="88"/>
                  </a:lnTo>
                  <a:lnTo>
                    <a:pt x="52" y="86"/>
                  </a:lnTo>
                  <a:lnTo>
                    <a:pt x="50" y="86"/>
                  </a:lnTo>
                  <a:lnTo>
                    <a:pt x="50" y="88"/>
                  </a:lnTo>
                  <a:lnTo>
                    <a:pt x="50" y="86"/>
                  </a:lnTo>
                  <a:lnTo>
                    <a:pt x="50" y="88"/>
                  </a:lnTo>
                  <a:lnTo>
                    <a:pt x="50" y="86"/>
                  </a:lnTo>
                  <a:lnTo>
                    <a:pt x="50" y="88"/>
                  </a:lnTo>
                  <a:lnTo>
                    <a:pt x="48" y="88"/>
                  </a:lnTo>
                  <a:lnTo>
                    <a:pt x="48" y="86"/>
                  </a:lnTo>
                  <a:lnTo>
                    <a:pt x="48" y="88"/>
                  </a:lnTo>
                  <a:lnTo>
                    <a:pt x="48" y="86"/>
                  </a:lnTo>
                  <a:lnTo>
                    <a:pt x="48" y="88"/>
                  </a:lnTo>
                  <a:lnTo>
                    <a:pt x="46" y="88"/>
                  </a:lnTo>
                  <a:lnTo>
                    <a:pt x="44" y="88"/>
                  </a:lnTo>
                  <a:lnTo>
                    <a:pt x="42" y="88"/>
                  </a:lnTo>
                  <a:lnTo>
                    <a:pt x="44" y="88"/>
                  </a:lnTo>
                  <a:lnTo>
                    <a:pt x="46" y="88"/>
                  </a:lnTo>
                  <a:lnTo>
                    <a:pt x="48" y="88"/>
                  </a:lnTo>
                  <a:lnTo>
                    <a:pt x="46" y="88"/>
                  </a:lnTo>
                  <a:lnTo>
                    <a:pt x="46" y="90"/>
                  </a:lnTo>
                  <a:lnTo>
                    <a:pt x="46" y="88"/>
                  </a:lnTo>
                  <a:lnTo>
                    <a:pt x="48" y="88"/>
                  </a:lnTo>
                  <a:lnTo>
                    <a:pt x="48" y="90"/>
                  </a:lnTo>
                  <a:lnTo>
                    <a:pt x="48" y="88"/>
                  </a:lnTo>
                  <a:lnTo>
                    <a:pt x="48" y="90"/>
                  </a:lnTo>
                  <a:lnTo>
                    <a:pt x="48" y="88"/>
                  </a:lnTo>
                  <a:lnTo>
                    <a:pt x="48" y="90"/>
                  </a:lnTo>
                  <a:lnTo>
                    <a:pt x="50" y="90"/>
                  </a:lnTo>
                  <a:lnTo>
                    <a:pt x="50" y="92"/>
                  </a:lnTo>
                  <a:lnTo>
                    <a:pt x="50" y="90"/>
                  </a:lnTo>
                  <a:lnTo>
                    <a:pt x="50" y="92"/>
                  </a:lnTo>
                  <a:lnTo>
                    <a:pt x="50" y="90"/>
                  </a:lnTo>
                  <a:lnTo>
                    <a:pt x="50" y="92"/>
                  </a:lnTo>
                  <a:lnTo>
                    <a:pt x="50" y="90"/>
                  </a:lnTo>
                  <a:lnTo>
                    <a:pt x="50" y="92"/>
                  </a:lnTo>
                  <a:lnTo>
                    <a:pt x="50" y="94"/>
                  </a:lnTo>
                  <a:lnTo>
                    <a:pt x="50" y="92"/>
                  </a:lnTo>
                  <a:lnTo>
                    <a:pt x="50" y="94"/>
                  </a:lnTo>
                  <a:lnTo>
                    <a:pt x="50" y="92"/>
                  </a:lnTo>
                  <a:lnTo>
                    <a:pt x="50" y="94"/>
                  </a:lnTo>
                  <a:lnTo>
                    <a:pt x="50" y="92"/>
                  </a:lnTo>
                  <a:lnTo>
                    <a:pt x="48" y="92"/>
                  </a:lnTo>
                  <a:lnTo>
                    <a:pt x="48" y="94"/>
                  </a:lnTo>
                  <a:lnTo>
                    <a:pt x="48" y="96"/>
                  </a:lnTo>
                  <a:lnTo>
                    <a:pt x="48" y="98"/>
                  </a:lnTo>
                  <a:lnTo>
                    <a:pt x="50" y="98"/>
                  </a:lnTo>
                  <a:lnTo>
                    <a:pt x="48" y="98"/>
                  </a:lnTo>
                  <a:lnTo>
                    <a:pt x="46" y="98"/>
                  </a:lnTo>
                  <a:lnTo>
                    <a:pt x="46" y="100"/>
                  </a:lnTo>
                  <a:lnTo>
                    <a:pt x="46" y="102"/>
                  </a:lnTo>
                  <a:lnTo>
                    <a:pt x="46" y="100"/>
                  </a:lnTo>
                  <a:lnTo>
                    <a:pt x="46" y="102"/>
                  </a:lnTo>
                  <a:lnTo>
                    <a:pt x="44" y="102"/>
                  </a:lnTo>
                  <a:lnTo>
                    <a:pt x="46" y="102"/>
                  </a:lnTo>
                  <a:lnTo>
                    <a:pt x="44" y="102"/>
                  </a:lnTo>
                  <a:lnTo>
                    <a:pt x="42" y="102"/>
                  </a:lnTo>
                  <a:lnTo>
                    <a:pt x="44" y="102"/>
                  </a:lnTo>
                  <a:lnTo>
                    <a:pt x="44" y="100"/>
                  </a:lnTo>
                  <a:lnTo>
                    <a:pt x="44" y="98"/>
                  </a:lnTo>
                  <a:lnTo>
                    <a:pt x="44" y="100"/>
                  </a:lnTo>
                  <a:lnTo>
                    <a:pt x="44" y="102"/>
                  </a:lnTo>
                  <a:lnTo>
                    <a:pt x="42" y="102"/>
                  </a:lnTo>
                  <a:lnTo>
                    <a:pt x="44" y="102"/>
                  </a:lnTo>
                  <a:lnTo>
                    <a:pt x="42" y="102"/>
                  </a:lnTo>
                  <a:lnTo>
                    <a:pt x="44" y="102"/>
                  </a:lnTo>
                  <a:lnTo>
                    <a:pt x="42" y="102"/>
                  </a:lnTo>
                  <a:lnTo>
                    <a:pt x="40" y="102"/>
                  </a:lnTo>
                  <a:lnTo>
                    <a:pt x="38" y="102"/>
                  </a:lnTo>
                  <a:lnTo>
                    <a:pt x="38" y="100"/>
                  </a:lnTo>
                  <a:lnTo>
                    <a:pt x="38" y="98"/>
                  </a:lnTo>
                  <a:lnTo>
                    <a:pt x="38" y="96"/>
                  </a:lnTo>
                  <a:lnTo>
                    <a:pt x="36" y="96"/>
                  </a:lnTo>
                  <a:lnTo>
                    <a:pt x="38" y="96"/>
                  </a:lnTo>
                  <a:lnTo>
                    <a:pt x="38" y="98"/>
                  </a:lnTo>
                  <a:lnTo>
                    <a:pt x="36" y="98"/>
                  </a:lnTo>
                  <a:lnTo>
                    <a:pt x="38" y="98"/>
                  </a:lnTo>
                  <a:lnTo>
                    <a:pt x="38" y="100"/>
                  </a:lnTo>
                  <a:lnTo>
                    <a:pt x="38" y="102"/>
                  </a:lnTo>
                  <a:lnTo>
                    <a:pt x="40" y="102"/>
                  </a:lnTo>
                  <a:lnTo>
                    <a:pt x="38" y="102"/>
                  </a:lnTo>
                  <a:lnTo>
                    <a:pt x="38" y="100"/>
                  </a:lnTo>
                  <a:lnTo>
                    <a:pt x="38" y="102"/>
                  </a:lnTo>
                  <a:lnTo>
                    <a:pt x="40" y="102"/>
                  </a:lnTo>
                  <a:lnTo>
                    <a:pt x="42" y="102"/>
                  </a:lnTo>
                  <a:lnTo>
                    <a:pt x="42" y="102"/>
                  </a:lnTo>
                  <a:lnTo>
                    <a:pt x="40" y="102"/>
                  </a:lnTo>
                  <a:lnTo>
                    <a:pt x="38" y="102"/>
                  </a:lnTo>
                  <a:lnTo>
                    <a:pt x="40" y="102"/>
                  </a:lnTo>
                  <a:lnTo>
                    <a:pt x="42" y="102"/>
                  </a:lnTo>
                  <a:lnTo>
                    <a:pt x="40" y="102"/>
                  </a:lnTo>
                  <a:lnTo>
                    <a:pt x="38" y="102"/>
                  </a:lnTo>
                  <a:lnTo>
                    <a:pt x="36" y="102"/>
                  </a:lnTo>
                  <a:lnTo>
                    <a:pt x="38" y="102"/>
                  </a:lnTo>
                  <a:lnTo>
                    <a:pt x="36" y="102"/>
                  </a:lnTo>
                  <a:lnTo>
                    <a:pt x="38" y="102"/>
                  </a:lnTo>
                  <a:lnTo>
                    <a:pt x="40" y="102"/>
                  </a:lnTo>
                  <a:lnTo>
                    <a:pt x="40" y="104"/>
                  </a:lnTo>
                  <a:lnTo>
                    <a:pt x="40" y="106"/>
                  </a:lnTo>
                  <a:lnTo>
                    <a:pt x="40" y="104"/>
                  </a:lnTo>
                  <a:lnTo>
                    <a:pt x="40" y="102"/>
                  </a:lnTo>
                  <a:lnTo>
                    <a:pt x="42" y="102"/>
                  </a:lnTo>
                  <a:lnTo>
                    <a:pt x="44" y="102"/>
                  </a:lnTo>
                  <a:lnTo>
                    <a:pt x="44" y="104"/>
                  </a:lnTo>
                  <a:lnTo>
                    <a:pt x="42" y="104"/>
                  </a:lnTo>
                  <a:lnTo>
                    <a:pt x="44" y="104"/>
                  </a:lnTo>
                  <a:lnTo>
                    <a:pt x="42" y="104"/>
                  </a:lnTo>
                  <a:lnTo>
                    <a:pt x="44" y="104"/>
                  </a:lnTo>
                  <a:lnTo>
                    <a:pt x="44" y="106"/>
                  </a:lnTo>
                  <a:lnTo>
                    <a:pt x="44" y="104"/>
                  </a:lnTo>
                  <a:lnTo>
                    <a:pt x="44" y="106"/>
                  </a:lnTo>
                  <a:lnTo>
                    <a:pt x="42" y="106"/>
                  </a:lnTo>
                  <a:lnTo>
                    <a:pt x="44" y="106"/>
                  </a:lnTo>
                  <a:lnTo>
                    <a:pt x="42" y="106"/>
                  </a:lnTo>
                  <a:lnTo>
                    <a:pt x="42" y="108"/>
                  </a:lnTo>
                  <a:lnTo>
                    <a:pt x="42" y="106"/>
                  </a:lnTo>
                  <a:lnTo>
                    <a:pt x="42" y="108"/>
                  </a:lnTo>
                  <a:lnTo>
                    <a:pt x="42" y="110"/>
                  </a:lnTo>
                  <a:lnTo>
                    <a:pt x="42" y="108"/>
                  </a:lnTo>
                  <a:lnTo>
                    <a:pt x="42" y="110"/>
                  </a:lnTo>
                  <a:lnTo>
                    <a:pt x="42" y="108"/>
                  </a:lnTo>
                  <a:lnTo>
                    <a:pt x="42" y="110"/>
                  </a:lnTo>
                  <a:lnTo>
                    <a:pt x="40" y="110"/>
                  </a:lnTo>
                  <a:lnTo>
                    <a:pt x="42" y="110"/>
                  </a:lnTo>
                  <a:lnTo>
                    <a:pt x="40" y="110"/>
                  </a:lnTo>
                  <a:lnTo>
                    <a:pt x="42" y="110"/>
                  </a:lnTo>
                  <a:lnTo>
                    <a:pt x="42" y="112"/>
                  </a:lnTo>
                  <a:lnTo>
                    <a:pt x="40" y="112"/>
                  </a:lnTo>
                  <a:lnTo>
                    <a:pt x="40" y="114"/>
                  </a:lnTo>
                  <a:lnTo>
                    <a:pt x="40" y="112"/>
                  </a:lnTo>
                  <a:lnTo>
                    <a:pt x="40" y="114"/>
                  </a:lnTo>
                  <a:lnTo>
                    <a:pt x="40" y="116"/>
                  </a:lnTo>
                  <a:lnTo>
                    <a:pt x="40" y="114"/>
                  </a:lnTo>
                  <a:lnTo>
                    <a:pt x="40" y="116"/>
                  </a:lnTo>
                  <a:lnTo>
                    <a:pt x="42" y="116"/>
                  </a:lnTo>
                  <a:lnTo>
                    <a:pt x="40" y="116"/>
                  </a:lnTo>
                  <a:lnTo>
                    <a:pt x="40" y="114"/>
                  </a:lnTo>
                  <a:lnTo>
                    <a:pt x="40" y="116"/>
                  </a:lnTo>
                  <a:lnTo>
                    <a:pt x="38" y="116"/>
                  </a:lnTo>
                  <a:lnTo>
                    <a:pt x="40" y="116"/>
                  </a:lnTo>
                  <a:lnTo>
                    <a:pt x="38" y="116"/>
                  </a:lnTo>
                  <a:lnTo>
                    <a:pt x="38" y="118"/>
                  </a:lnTo>
                  <a:lnTo>
                    <a:pt x="38" y="116"/>
                  </a:lnTo>
                  <a:lnTo>
                    <a:pt x="40" y="116"/>
                  </a:lnTo>
                  <a:lnTo>
                    <a:pt x="40" y="118"/>
                  </a:lnTo>
                  <a:lnTo>
                    <a:pt x="40" y="116"/>
                  </a:lnTo>
                  <a:lnTo>
                    <a:pt x="40" y="118"/>
                  </a:lnTo>
                  <a:lnTo>
                    <a:pt x="40" y="116"/>
                  </a:lnTo>
                  <a:lnTo>
                    <a:pt x="40" y="118"/>
                  </a:lnTo>
                  <a:lnTo>
                    <a:pt x="38" y="118"/>
                  </a:lnTo>
                  <a:lnTo>
                    <a:pt x="40" y="118"/>
                  </a:lnTo>
                  <a:lnTo>
                    <a:pt x="38" y="118"/>
                  </a:lnTo>
                  <a:lnTo>
                    <a:pt x="38" y="120"/>
                  </a:lnTo>
                  <a:lnTo>
                    <a:pt x="36" y="120"/>
                  </a:lnTo>
                  <a:lnTo>
                    <a:pt x="38" y="120"/>
                  </a:lnTo>
                  <a:lnTo>
                    <a:pt x="38" y="122"/>
                  </a:lnTo>
                  <a:lnTo>
                    <a:pt x="38" y="120"/>
                  </a:lnTo>
                  <a:lnTo>
                    <a:pt x="38" y="122"/>
                  </a:lnTo>
                  <a:lnTo>
                    <a:pt x="36" y="122"/>
                  </a:lnTo>
                  <a:lnTo>
                    <a:pt x="38" y="122"/>
                  </a:lnTo>
                  <a:lnTo>
                    <a:pt x="36" y="122"/>
                  </a:lnTo>
                  <a:lnTo>
                    <a:pt x="34" y="122"/>
                  </a:lnTo>
                  <a:lnTo>
                    <a:pt x="34" y="120"/>
                  </a:lnTo>
                  <a:lnTo>
                    <a:pt x="34" y="118"/>
                  </a:lnTo>
                  <a:lnTo>
                    <a:pt x="34" y="116"/>
                  </a:lnTo>
                  <a:lnTo>
                    <a:pt x="36" y="114"/>
                  </a:lnTo>
                  <a:lnTo>
                    <a:pt x="34" y="114"/>
                  </a:lnTo>
                  <a:lnTo>
                    <a:pt x="36" y="114"/>
                  </a:lnTo>
                  <a:lnTo>
                    <a:pt x="34" y="114"/>
                  </a:lnTo>
                  <a:lnTo>
                    <a:pt x="34" y="112"/>
                  </a:lnTo>
                  <a:lnTo>
                    <a:pt x="34" y="110"/>
                  </a:lnTo>
                  <a:lnTo>
                    <a:pt x="32" y="110"/>
                  </a:lnTo>
                  <a:lnTo>
                    <a:pt x="30" y="110"/>
                  </a:lnTo>
                  <a:lnTo>
                    <a:pt x="30" y="112"/>
                  </a:lnTo>
                  <a:lnTo>
                    <a:pt x="28" y="112"/>
                  </a:lnTo>
                  <a:lnTo>
                    <a:pt x="28" y="110"/>
                  </a:lnTo>
                  <a:lnTo>
                    <a:pt x="28" y="108"/>
                  </a:lnTo>
                  <a:lnTo>
                    <a:pt x="28" y="110"/>
                  </a:lnTo>
                  <a:lnTo>
                    <a:pt x="28" y="108"/>
                  </a:lnTo>
                  <a:lnTo>
                    <a:pt x="28" y="106"/>
                  </a:lnTo>
                  <a:lnTo>
                    <a:pt x="28" y="108"/>
                  </a:lnTo>
                  <a:lnTo>
                    <a:pt x="28" y="106"/>
                  </a:lnTo>
                  <a:lnTo>
                    <a:pt x="30" y="106"/>
                  </a:lnTo>
                  <a:lnTo>
                    <a:pt x="28" y="106"/>
                  </a:lnTo>
                  <a:lnTo>
                    <a:pt x="28" y="104"/>
                  </a:lnTo>
                  <a:lnTo>
                    <a:pt x="30" y="104"/>
                  </a:lnTo>
                  <a:lnTo>
                    <a:pt x="28" y="104"/>
                  </a:lnTo>
                  <a:lnTo>
                    <a:pt x="28" y="106"/>
                  </a:lnTo>
                  <a:lnTo>
                    <a:pt x="28" y="104"/>
                  </a:lnTo>
                  <a:lnTo>
                    <a:pt x="28" y="106"/>
                  </a:lnTo>
                  <a:lnTo>
                    <a:pt x="28" y="104"/>
                  </a:lnTo>
                  <a:lnTo>
                    <a:pt x="26" y="104"/>
                  </a:lnTo>
                  <a:lnTo>
                    <a:pt x="26" y="102"/>
                  </a:lnTo>
                  <a:lnTo>
                    <a:pt x="26" y="102"/>
                  </a:lnTo>
                  <a:lnTo>
                    <a:pt x="24" y="102"/>
                  </a:lnTo>
                  <a:lnTo>
                    <a:pt x="26" y="102"/>
                  </a:lnTo>
                  <a:lnTo>
                    <a:pt x="26" y="104"/>
                  </a:lnTo>
                  <a:lnTo>
                    <a:pt x="28" y="104"/>
                  </a:lnTo>
                  <a:lnTo>
                    <a:pt x="26" y="104"/>
                  </a:lnTo>
                  <a:lnTo>
                    <a:pt x="28" y="104"/>
                  </a:lnTo>
                  <a:lnTo>
                    <a:pt x="26" y="104"/>
                  </a:lnTo>
                  <a:lnTo>
                    <a:pt x="28" y="104"/>
                  </a:lnTo>
                  <a:lnTo>
                    <a:pt x="28" y="106"/>
                  </a:lnTo>
                  <a:lnTo>
                    <a:pt x="28" y="104"/>
                  </a:lnTo>
                  <a:lnTo>
                    <a:pt x="28" y="106"/>
                  </a:lnTo>
                  <a:lnTo>
                    <a:pt x="28" y="104"/>
                  </a:lnTo>
                  <a:lnTo>
                    <a:pt x="28" y="106"/>
                  </a:lnTo>
                  <a:lnTo>
                    <a:pt x="28" y="108"/>
                  </a:lnTo>
                  <a:lnTo>
                    <a:pt x="28" y="110"/>
                  </a:lnTo>
                  <a:lnTo>
                    <a:pt x="26" y="110"/>
                  </a:lnTo>
                  <a:lnTo>
                    <a:pt x="26" y="112"/>
                  </a:lnTo>
                  <a:lnTo>
                    <a:pt x="24" y="112"/>
                  </a:lnTo>
                  <a:lnTo>
                    <a:pt x="24" y="110"/>
                  </a:lnTo>
                  <a:lnTo>
                    <a:pt x="24" y="112"/>
                  </a:lnTo>
                  <a:lnTo>
                    <a:pt x="24" y="114"/>
                  </a:lnTo>
                  <a:lnTo>
                    <a:pt x="24" y="112"/>
                  </a:lnTo>
                  <a:lnTo>
                    <a:pt x="22" y="112"/>
                  </a:lnTo>
                  <a:lnTo>
                    <a:pt x="22" y="110"/>
                  </a:lnTo>
                  <a:lnTo>
                    <a:pt x="20" y="110"/>
                  </a:lnTo>
                  <a:lnTo>
                    <a:pt x="18" y="110"/>
                  </a:lnTo>
                  <a:lnTo>
                    <a:pt x="18" y="108"/>
                  </a:lnTo>
                  <a:lnTo>
                    <a:pt x="20" y="108"/>
                  </a:lnTo>
                  <a:lnTo>
                    <a:pt x="18" y="108"/>
                  </a:lnTo>
                  <a:lnTo>
                    <a:pt x="20" y="108"/>
                  </a:lnTo>
                  <a:lnTo>
                    <a:pt x="20" y="106"/>
                  </a:lnTo>
                  <a:lnTo>
                    <a:pt x="20" y="108"/>
                  </a:lnTo>
                  <a:lnTo>
                    <a:pt x="20" y="106"/>
                  </a:lnTo>
                  <a:lnTo>
                    <a:pt x="20" y="108"/>
                  </a:lnTo>
                  <a:lnTo>
                    <a:pt x="18" y="108"/>
                  </a:lnTo>
                  <a:lnTo>
                    <a:pt x="20" y="108"/>
                  </a:lnTo>
                  <a:lnTo>
                    <a:pt x="18" y="108"/>
                  </a:lnTo>
                  <a:lnTo>
                    <a:pt x="18" y="106"/>
                  </a:lnTo>
                  <a:lnTo>
                    <a:pt x="18" y="108"/>
                  </a:lnTo>
                  <a:lnTo>
                    <a:pt x="16" y="108"/>
                  </a:lnTo>
                  <a:lnTo>
                    <a:pt x="16" y="106"/>
                  </a:lnTo>
                  <a:lnTo>
                    <a:pt x="16" y="108"/>
                  </a:lnTo>
                  <a:lnTo>
                    <a:pt x="16" y="110"/>
                  </a:lnTo>
                  <a:lnTo>
                    <a:pt x="16" y="108"/>
                  </a:lnTo>
                  <a:lnTo>
                    <a:pt x="14" y="108"/>
                  </a:lnTo>
                  <a:lnTo>
                    <a:pt x="14" y="106"/>
                  </a:lnTo>
                  <a:lnTo>
                    <a:pt x="14" y="106"/>
                  </a:lnTo>
                  <a:lnTo>
                    <a:pt x="14" y="104"/>
                  </a:lnTo>
                  <a:lnTo>
                    <a:pt x="14" y="104"/>
                  </a:lnTo>
                  <a:lnTo>
                    <a:pt x="14" y="104"/>
                  </a:lnTo>
                  <a:lnTo>
                    <a:pt x="14" y="104"/>
                  </a:lnTo>
                  <a:lnTo>
                    <a:pt x="16" y="104"/>
                  </a:lnTo>
                  <a:lnTo>
                    <a:pt x="14" y="104"/>
                  </a:lnTo>
                  <a:lnTo>
                    <a:pt x="16" y="104"/>
                  </a:lnTo>
                  <a:lnTo>
                    <a:pt x="18" y="104"/>
                  </a:lnTo>
                  <a:lnTo>
                    <a:pt x="18" y="102"/>
                  </a:lnTo>
                  <a:lnTo>
                    <a:pt x="18" y="104"/>
                  </a:lnTo>
                  <a:lnTo>
                    <a:pt x="18" y="102"/>
                  </a:lnTo>
                  <a:lnTo>
                    <a:pt x="16" y="102"/>
                  </a:lnTo>
                  <a:lnTo>
                    <a:pt x="18" y="102"/>
                  </a:lnTo>
                  <a:lnTo>
                    <a:pt x="16" y="102"/>
                  </a:lnTo>
                  <a:lnTo>
                    <a:pt x="18" y="102"/>
                  </a:lnTo>
                  <a:lnTo>
                    <a:pt x="16" y="102"/>
                  </a:lnTo>
                  <a:lnTo>
                    <a:pt x="18" y="102"/>
                  </a:lnTo>
                  <a:lnTo>
                    <a:pt x="18" y="104"/>
                  </a:lnTo>
                  <a:lnTo>
                    <a:pt x="18" y="102"/>
                  </a:lnTo>
                  <a:lnTo>
                    <a:pt x="18" y="104"/>
                  </a:lnTo>
                  <a:lnTo>
                    <a:pt x="16" y="102"/>
                  </a:lnTo>
                  <a:lnTo>
                    <a:pt x="18" y="104"/>
                  </a:lnTo>
                  <a:lnTo>
                    <a:pt x="16" y="104"/>
                  </a:lnTo>
                  <a:lnTo>
                    <a:pt x="14" y="104"/>
                  </a:lnTo>
                  <a:lnTo>
                    <a:pt x="16" y="104"/>
                  </a:lnTo>
                  <a:lnTo>
                    <a:pt x="14" y="104"/>
                  </a:lnTo>
                  <a:lnTo>
                    <a:pt x="14" y="104"/>
                  </a:lnTo>
                  <a:lnTo>
                    <a:pt x="14" y="104"/>
                  </a:lnTo>
                  <a:lnTo>
                    <a:pt x="14" y="104"/>
                  </a:lnTo>
                  <a:lnTo>
                    <a:pt x="14" y="106"/>
                  </a:lnTo>
                  <a:lnTo>
                    <a:pt x="12" y="106"/>
                  </a:lnTo>
                  <a:lnTo>
                    <a:pt x="12" y="104"/>
                  </a:lnTo>
                  <a:lnTo>
                    <a:pt x="10" y="104"/>
                  </a:lnTo>
                  <a:lnTo>
                    <a:pt x="12" y="104"/>
                  </a:lnTo>
                  <a:lnTo>
                    <a:pt x="12" y="102"/>
                  </a:lnTo>
                  <a:lnTo>
                    <a:pt x="10" y="102"/>
                  </a:lnTo>
                  <a:lnTo>
                    <a:pt x="12" y="102"/>
                  </a:lnTo>
                  <a:lnTo>
                    <a:pt x="12" y="104"/>
                  </a:lnTo>
                  <a:lnTo>
                    <a:pt x="12" y="102"/>
                  </a:lnTo>
                  <a:lnTo>
                    <a:pt x="10" y="102"/>
                  </a:lnTo>
                  <a:lnTo>
                    <a:pt x="12" y="102"/>
                  </a:lnTo>
                  <a:lnTo>
                    <a:pt x="10" y="102"/>
                  </a:lnTo>
                  <a:lnTo>
                    <a:pt x="12" y="102"/>
                  </a:lnTo>
                  <a:lnTo>
                    <a:pt x="10" y="102"/>
                  </a:lnTo>
                  <a:lnTo>
                    <a:pt x="10" y="104"/>
                  </a:lnTo>
                  <a:lnTo>
                    <a:pt x="10" y="102"/>
                  </a:lnTo>
                  <a:lnTo>
                    <a:pt x="12" y="102"/>
                  </a:lnTo>
                  <a:lnTo>
                    <a:pt x="12" y="104"/>
                  </a:lnTo>
                  <a:lnTo>
                    <a:pt x="10" y="104"/>
                  </a:lnTo>
                  <a:lnTo>
                    <a:pt x="12" y="104"/>
                  </a:lnTo>
                  <a:lnTo>
                    <a:pt x="12" y="106"/>
                  </a:lnTo>
                  <a:lnTo>
                    <a:pt x="10" y="106"/>
                  </a:lnTo>
                  <a:lnTo>
                    <a:pt x="10" y="104"/>
                  </a:lnTo>
                  <a:lnTo>
                    <a:pt x="10" y="102"/>
                  </a:lnTo>
                  <a:lnTo>
                    <a:pt x="10" y="104"/>
                  </a:lnTo>
                  <a:lnTo>
                    <a:pt x="10" y="102"/>
                  </a:lnTo>
                  <a:lnTo>
                    <a:pt x="10" y="104"/>
                  </a:lnTo>
                  <a:lnTo>
                    <a:pt x="8" y="104"/>
                  </a:lnTo>
                  <a:lnTo>
                    <a:pt x="8" y="102"/>
                  </a:lnTo>
                  <a:lnTo>
                    <a:pt x="8" y="104"/>
                  </a:lnTo>
                  <a:lnTo>
                    <a:pt x="8" y="102"/>
                  </a:lnTo>
                  <a:lnTo>
                    <a:pt x="8" y="104"/>
                  </a:lnTo>
                  <a:lnTo>
                    <a:pt x="8" y="102"/>
                  </a:lnTo>
                  <a:lnTo>
                    <a:pt x="6" y="102"/>
                  </a:lnTo>
                  <a:lnTo>
                    <a:pt x="4" y="102"/>
                  </a:lnTo>
                  <a:lnTo>
                    <a:pt x="4" y="102"/>
                  </a:lnTo>
                  <a:lnTo>
                    <a:pt x="6" y="102"/>
                  </a:lnTo>
                  <a:lnTo>
                    <a:pt x="6" y="102"/>
                  </a:lnTo>
                  <a:lnTo>
                    <a:pt x="6" y="102"/>
                  </a:lnTo>
                  <a:lnTo>
                    <a:pt x="6" y="102"/>
                  </a:lnTo>
                  <a:lnTo>
                    <a:pt x="8" y="102"/>
                  </a:lnTo>
                  <a:lnTo>
                    <a:pt x="8" y="100"/>
                  </a:lnTo>
                  <a:lnTo>
                    <a:pt x="10" y="100"/>
                  </a:lnTo>
                  <a:lnTo>
                    <a:pt x="10" y="98"/>
                  </a:lnTo>
                  <a:lnTo>
                    <a:pt x="8" y="98"/>
                  </a:lnTo>
                  <a:lnTo>
                    <a:pt x="8" y="100"/>
                  </a:lnTo>
                  <a:lnTo>
                    <a:pt x="8" y="102"/>
                  </a:lnTo>
                  <a:lnTo>
                    <a:pt x="6" y="102"/>
                  </a:lnTo>
                  <a:lnTo>
                    <a:pt x="4" y="102"/>
                  </a:lnTo>
                  <a:lnTo>
                    <a:pt x="4" y="100"/>
                  </a:lnTo>
                  <a:lnTo>
                    <a:pt x="6" y="100"/>
                  </a:lnTo>
                  <a:lnTo>
                    <a:pt x="4" y="100"/>
                  </a:lnTo>
                  <a:lnTo>
                    <a:pt x="4" y="98"/>
                  </a:lnTo>
                  <a:lnTo>
                    <a:pt x="6" y="98"/>
                  </a:lnTo>
                  <a:lnTo>
                    <a:pt x="6" y="96"/>
                  </a:lnTo>
                  <a:lnTo>
                    <a:pt x="8" y="96"/>
                  </a:lnTo>
                  <a:lnTo>
                    <a:pt x="6" y="96"/>
                  </a:lnTo>
                  <a:lnTo>
                    <a:pt x="8" y="96"/>
                  </a:lnTo>
                  <a:lnTo>
                    <a:pt x="10" y="96"/>
                  </a:lnTo>
                  <a:lnTo>
                    <a:pt x="8" y="96"/>
                  </a:lnTo>
                  <a:lnTo>
                    <a:pt x="8" y="94"/>
                  </a:lnTo>
                  <a:lnTo>
                    <a:pt x="8" y="96"/>
                  </a:lnTo>
                  <a:lnTo>
                    <a:pt x="6" y="96"/>
                  </a:lnTo>
                  <a:lnTo>
                    <a:pt x="8" y="96"/>
                  </a:lnTo>
                  <a:lnTo>
                    <a:pt x="6" y="96"/>
                  </a:lnTo>
                  <a:lnTo>
                    <a:pt x="8" y="96"/>
                  </a:lnTo>
                  <a:lnTo>
                    <a:pt x="6" y="96"/>
                  </a:lnTo>
                  <a:lnTo>
                    <a:pt x="6" y="94"/>
                  </a:lnTo>
                  <a:lnTo>
                    <a:pt x="6" y="96"/>
                  </a:lnTo>
                  <a:lnTo>
                    <a:pt x="6" y="94"/>
                  </a:lnTo>
                  <a:lnTo>
                    <a:pt x="6" y="96"/>
                  </a:lnTo>
                  <a:lnTo>
                    <a:pt x="6" y="94"/>
                  </a:lnTo>
                  <a:lnTo>
                    <a:pt x="4" y="94"/>
                  </a:lnTo>
                  <a:lnTo>
                    <a:pt x="6" y="94"/>
                  </a:lnTo>
                  <a:lnTo>
                    <a:pt x="4" y="94"/>
                  </a:lnTo>
                  <a:lnTo>
                    <a:pt x="6" y="94"/>
                  </a:lnTo>
                  <a:lnTo>
                    <a:pt x="6" y="96"/>
                  </a:lnTo>
                  <a:lnTo>
                    <a:pt x="6" y="98"/>
                  </a:lnTo>
                  <a:lnTo>
                    <a:pt x="6" y="96"/>
                  </a:lnTo>
                  <a:lnTo>
                    <a:pt x="6" y="98"/>
                  </a:lnTo>
                  <a:lnTo>
                    <a:pt x="4" y="98"/>
                  </a:lnTo>
                  <a:lnTo>
                    <a:pt x="6" y="98"/>
                  </a:lnTo>
                  <a:lnTo>
                    <a:pt x="4" y="98"/>
                  </a:lnTo>
                  <a:lnTo>
                    <a:pt x="6" y="98"/>
                  </a:lnTo>
                  <a:lnTo>
                    <a:pt x="4" y="98"/>
                  </a:lnTo>
                  <a:lnTo>
                    <a:pt x="6" y="98"/>
                  </a:lnTo>
                  <a:lnTo>
                    <a:pt x="4" y="98"/>
                  </a:lnTo>
                  <a:lnTo>
                    <a:pt x="4" y="96"/>
                  </a:lnTo>
                  <a:lnTo>
                    <a:pt x="4" y="98"/>
                  </a:lnTo>
                  <a:lnTo>
                    <a:pt x="4" y="96"/>
                  </a:lnTo>
                  <a:lnTo>
                    <a:pt x="4" y="98"/>
                  </a:lnTo>
                  <a:lnTo>
                    <a:pt x="4" y="96"/>
                  </a:lnTo>
                  <a:lnTo>
                    <a:pt x="4" y="98"/>
                  </a:lnTo>
                  <a:lnTo>
                    <a:pt x="2" y="98"/>
                  </a:lnTo>
                  <a:lnTo>
                    <a:pt x="2" y="96"/>
                  </a:lnTo>
                  <a:lnTo>
                    <a:pt x="2" y="94"/>
                  </a:lnTo>
                  <a:lnTo>
                    <a:pt x="4" y="94"/>
                  </a:lnTo>
                  <a:lnTo>
                    <a:pt x="4" y="92"/>
                  </a:lnTo>
                  <a:lnTo>
                    <a:pt x="4" y="90"/>
                  </a:lnTo>
                  <a:lnTo>
                    <a:pt x="2" y="90"/>
                  </a:lnTo>
                  <a:lnTo>
                    <a:pt x="4" y="90"/>
                  </a:lnTo>
                  <a:lnTo>
                    <a:pt x="4" y="88"/>
                  </a:lnTo>
                  <a:lnTo>
                    <a:pt x="4" y="86"/>
                  </a:lnTo>
                  <a:lnTo>
                    <a:pt x="6" y="86"/>
                  </a:lnTo>
                  <a:lnTo>
                    <a:pt x="6" y="84"/>
                  </a:lnTo>
                  <a:lnTo>
                    <a:pt x="8" y="84"/>
                  </a:lnTo>
                  <a:lnTo>
                    <a:pt x="8" y="82"/>
                  </a:lnTo>
                  <a:lnTo>
                    <a:pt x="10" y="82"/>
                  </a:lnTo>
                  <a:lnTo>
                    <a:pt x="12" y="80"/>
                  </a:lnTo>
                  <a:lnTo>
                    <a:pt x="14" y="80"/>
                  </a:lnTo>
                  <a:lnTo>
                    <a:pt x="14" y="78"/>
                  </a:lnTo>
                  <a:lnTo>
                    <a:pt x="14" y="78"/>
                  </a:lnTo>
                  <a:lnTo>
                    <a:pt x="14" y="76"/>
                  </a:lnTo>
                  <a:lnTo>
                    <a:pt x="14" y="74"/>
                  </a:lnTo>
                  <a:lnTo>
                    <a:pt x="14" y="72"/>
                  </a:lnTo>
                  <a:lnTo>
                    <a:pt x="16" y="72"/>
                  </a:lnTo>
                  <a:lnTo>
                    <a:pt x="16" y="70"/>
                  </a:lnTo>
                  <a:lnTo>
                    <a:pt x="18" y="70"/>
                  </a:lnTo>
                  <a:lnTo>
                    <a:pt x="18" y="68"/>
                  </a:lnTo>
                  <a:lnTo>
                    <a:pt x="18" y="66"/>
                  </a:lnTo>
                  <a:lnTo>
                    <a:pt x="20" y="66"/>
                  </a:lnTo>
                  <a:lnTo>
                    <a:pt x="22" y="64"/>
                  </a:lnTo>
                  <a:lnTo>
                    <a:pt x="24" y="62"/>
                  </a:lnTo>
                  <a:lnTo>
                    <a:pt x="22" y="62"/>
                  </a:lnTo>
                  <a:lnTo>
                    <a:pt x="24" y="62"/>
                  </a:lnTo>
                  <a:lnTo>
                    <a:pt x="26" y="62"/>
                  </a:lnTo>
                  <a:lnTo>
                    <a:pt x="26" y="60"/>
                  </a:lnTo>
                  <a:lnTo>
                    <a:pt x="26" y="58"/>
                  </a:lnTo>
                  <a:lnTo>
                    <a:pt x="24" y="58"/>
                  </a:lnTo>
                  <a:lnTo>
                    <a:pt x="24" y="56"/>
                  </a:lnTo>
                  <a:lnTo>
                    <a:pt x="22" y="56"/>
                  </a:lnTo>
                  <a:lnTo>
                    <a:pt x="20" y="56"/>
                  </a:lnTo>
                  <a:lnTo>
                    <a:pt x="20" y="54"/>
                  </a:lnTo>
                  <a:lnTo>
                    <a:pt x="18" y="54"/>
                  </a:lnTo>
                  <a:lnTo>
                    <a:pt x="18" y="54"/>
                  </a:lnTo>
                  <a:lnTo>
                    <a:pt x="16" y="54"/>
                  </a:lnTo>
                  <a:lnTo>
                    <a:pt x="14" y="52"/>
                  </a:lnTo>
                  <a:lnTo>
                    <a:pt x="14" y="50"/>
                  </a:lnTo>
                  <a:lnTo>
                    <a:pt x="14" y="50"/>
                  </a:lnTo>
                  <a:lnTo>
                    <a:pt x="14" y="52"/>
                  </a:lnTo>
                  <a:lnTo>
                    <a:pt x="12" y="52"/>
                  </a:lnTo>
                  <a:lnTo>
                    <a:pt x="12" y="50"/>
                  </a:lnTo>
                  <a:lnTo>
                    <a:pt x="10" y="50"/>
                  </a:lnTo>
                  <a:lnTo>
                    <a:pt x="10" y="48"/>
                  </a:lnTo>
                  <a:lnTo>
                    <a:pt x="10" y="46"/>
                  </a:lnTo>
                  <a:lnTo>
                    <a:pt x="10" y="44"/>
                  </a:lnTo>
                  <a:lnTo>
                    <a:pt x="8" y="44"/>
                  </a:lnTo>
                  <a:lnTo>
                    <a:pt x="6" y="44"/>
                  </a:lnTo>
                  <a:lnTo>
                    <a:pt x="4" y="44"/>
                  </a:lnTo>
                  <a:lnTo>
                    <a:pt x="4" y="42"/>
                  </a:lnTo>
                  <a:lnTo>
                    <a:pt x="2" y="42"/>
                  </a:lnTo>
                  <a:lnTo>
                    <a:pt x="4" y="42"/>
                  </a:lnTo>
                  <a:lnTo>
                    <a:pt x="4" y="40"/>
                  </a:lnTo>
                  <a:lnTo>
                    <a:pt x="2" y="40"/>
                  </a:lnTo>
                  <a:lnTo>
                    <a:pt x="2" y="38"/>
                  </a:lnTo>
                  <a:lnTo>
                    <a:pt x="4" y="38"/>
                  </a:lnTo>
                  <a:lnTo>
                    <a:pt x="2" y="38"/>
                  </a:lnTo>
                  <a:lnTo>
                    <a:pt x="2" y="36"/>
                  </a:lnTo>
                  <a:lnTo>
                    <a:pt x="2" y="34"/>
                  </a:lnTo>
                  <a:lnTo>
                    <a:pt x="2" y="32"/>
                  </a:lnTo>
                  <a:lnTo>
                    <a:pt x="4" y="32"/>
                  </a:lnTo>
                  <a:lnTo>
                    <a:pt x="4" y="30"/>
                  </a:lnTo>
                  <a:lnTo>
                    <a:pt x="4" y="28"/>
                  </a:lnTo>
                  <a:lnTo>
                    <a:pt x="6" y="28"/>
                  </a:lnTo>
                  <a:lnTo>
                    <a:pt x="6" y="26"/>
                  </a:lnTo>
                  <a:lnTo>
                    <a:pt x="4" y="26"/>
                  </a:lnTo>
                  <a:lnTo>
                    <a:pt x="4" y="24"/>
                  </a:lnTo>
                  <a:lnTo>
                    <a:pt x="2" y="24"/>
                  </a:lnTo>
                  <a:lnTo>
                    <a:pt x="2" y="22"/>
                  </a:lnTo>
                  <a:lnTo>
                    <a:pt x="0" y="22"/>
                  </a:lnTo>
                  <a:lnTo>
                    <a:pt x="0" y="20"/>
                  </a:lnTo>
                  <a:lnTo>
                    <a:pt x="2" y="20"/>
                  </a:lnTo>
                  <a:lnTo>
                    <a:pt x="2" y="18"/>
                  </a:lnTo>
                  <a:lnTo>
                    <a:pt x="4" y="18"/>
                  </a:lnTo>
                  <a:lnTo>
                    <a:pt x="4" y="16"/>
                  </a:lnTo>
                  <a:lnTo>
                    <a:pt x="6" y="16"/>
                  </a:lnTo>
                  <a:lnTo>
                    <a:pt x="6" y="14"/>
                  </a:lnTo>
                  <a:lnTo>
                    <a:pt x="4" y="14"/>
                  </a:lnTo>
                  <a:lnTo>
                    <a:pt x="6" y="14"/>
                  </a:lnTo>
                  <a:lnTo>
                    <a:pt x="6" y="12"/>
                  </a:lnTo>
                  <a:lnTo>
                    <a:pt x="6" y="10"/>
                  </a:lnTo>
                  <a:lnTo>
                    <a:pt x="8" y="10"/>
                  </a:lnTo>
                  <a:lnTo>
                    <a:pt x="8" y="8"/>
                  </a:lnTo>
                  <a:lnTo>
                    <a:pt x="8" y="6"/>
                  </a:lnTo>
                  <a:lnTo>
                    <a:pt x="8" y="6"/>
                  </a:lnTo>
                  <a:lnTo>
                    <a:pt x="8" y="4"/>
                  </a:lnTo>
                  <a:lnTo>
                    <a:pt x="10" y="4"/>
                  </a:lnTo>
                  <a:lnTo>
                    <a:pt x="10" y="2"/>
                  </a:lnTo>
                  <a:lnTo>
                    <a:pt x="10" y="0"/>
                  </a:lnTo>
                  <a:lnTo>
                    <a:pt x="12" y="0"/>
                  </a:lnTo>
                  <a:lnTo>
                    <a:pt x="14" y="0"/>
                  </a:lnTo>
                  <a:close/>
                </a:path>
              </a:pathLst>
            </a:custGeom>
            <a:solidFill>
              <a:srgbClr val="D9D9D9"/>
            </a:solidFill>
            <a:ln w="3175">
              <a:solidFill>
                <a:sysClr val="window" lastClr="FFFF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black"/>
                </a:solidFill>
                <a:effectLst/>
                <a:uLnTx/>
                <a:uFillTx/>
                <a:ea typeface="宋体" panose="02010600030101010101" pitchFamily="2" charset="-122"/>
              </a:endParaRPr>
            </a:p>
          </p:txBody>
        </p:sp>
        <p:sp>
          <p:nvSpPr>
            <p:cNvPr id="46" name="Freeform 3538">
              <a:extLst>
                <a:ext uri="{FF2B5EF4-FFF2-40B4-BE49-F238E27FC236}">
                  <a16:creationId xmlns:a16="http://schemas.microsoft.com/office/drawing/2014/main" id="{268AB908-E720-6269-8AD6-012A798A34D9}"/>
                </a:ext>
              </a:extLst>
            </p:cNvPr>
            <p:cNvSpPr>
              <a:spLocks noEditPoints="1"/>
            </p:cNvSpPr>
            <p:nvPr/>
          </p:nvSpPr>
          <p:spPr bwMode="auto">
            <a:xfrm>
              <a:off x="6070601" y="3227388"/>
              <a:ext cx="536575" cy="298450"/>
            </a:xfrm>
            <a:custGeom>
              <a:avLst/>
              <a:gdLst>
                <a:gd name="T0" fmla="*/ 240 w 338"/>
                <a:gd name="T1" fmla="*/ 12 h 188"/>
                <a:gd name="T2" fmla="*/ 250 w 338"/>
                <a:gd name="T3" fmla="*/ 32 h 188"/>
                <a:gd name="T4" fmla="*/ 262 w 338"/>
                <a:gd name="T5" fmla="*/ 48 h 188"/>
                <a:gd name="T6" fmla="*/ 298 w 338"/>
                <a:gd name="T7" fmla="*/ 66 h 188"/>
                <a:gd name="T8" fmla="*/ 292 w 338"/>
                <a:gd name="T9" fmla="*/ 66 h 188"/>
                <a:gd name="T10" fmla="*/ 298 w 338"/>
                <a:gd name="T11" fmla="*/ 68 h 188"/>
                <a:gd name="T12" fmla="*/ 300 w 338"/>
                <a:gd name="T13" fmla="*/ 76 h 188"/>
                <a:gd name="T14" fmla="*/ 292 w 338"/>
                <a:gd name="T15" fmla="*/ 74 h 188"/>
                <a:gd name="T16" fmla="*/ 296 w 338"/>
                <a:gd name="T17" fmla="*/ 78 h 188"/>
                <a:gd name="T18" fmla="*/ 306 w 338"/>
                <a:gd name="T19" fmla="*/ 90 h 188"/>
                <a:gd name="T20" fmla="*/ 300 w 338"/>
                <a:gd name="T21" fmla="*/ 90 h 188"/>
                <a:gd name="T22" fmla="*/ 294 w 338"/>
                <a:gd name="T23" fmla="*/ 94 h 188"/>
                <a:gd name="T24" fmla="*/ 302 w 338"/>
                <a:gd name="T25" fmla="*/ 98 h 188"/>
                <a:gd name="T26" fmla="*/ 300 w 338"/>
                <a:gd name="T27" fmla="*/ 108 h 188"/>
                <a:gd name="T28" fmla="*/ 286 w 338"/>
                <a:gd name="T29" fmla="*/ 102 h 188"/>
                <a:gd name="T30" fmla="*/ 302 w 338"/>
                <a:gd name="T31" fmla="*/ 116 h 188"/>
                <a:gd name="T32" fmla="*/ 316 w 338"/>
                <a:gd name="T33" fmla="*/ 114 h 188"/>
                <a:gd name="T34" fmla="*/ 318 w 338"/>
                <a:gd name="T35" fmla="*/ 114 h 188"/>
                <a:gd name="T36" fmla="*/ 326 w 338"/>
                <a:gd name="T37" fmla="*/ 118 h 188"/>
                <a:gd name="T38" fmla="*/ 298 w 338"/>
                <a:gd name="T39" fmla="*/ 136 h 188"/>
                <a:gd name="T40" fmla="*/ 238 w 338"/>
                <a:gd name="T41" fmla="*/ 150 h 188"/>
                <a:gd name="T42" fmla="*/ 176 w 338"/>
                <a:gd name="T43" fmla="*/ 164 h 188"/>
                <a:gd name="T44" fmla="*/ 116 w 338"/>
                <a:gd name="T45" fmla="*/ 172 h 188"/>
                <a:gd name="T46" fmla="*/ 60 w 338"/>
                <a:gd name="T47" fmla="*/ 180 h 188"/>
                <a:gd name="T48" fmla="*/ 4 w 338"/>
                <a:gd name="T49" fmla="*/ 186 h 188"/>
                <a:gd name="T50" fmla="*/ 36 w 338"/>
                <a:gd name="T51" fmla="*/ 160 h 188"/>
                <a:gd name="T52" fmla="*/ 68 w 338"/>
                <a:gd name="T53" fmla="*/ 134 h 188"/>
                <a:gd name="T54" fmla="*/ 106 w 338"/>
                <a:gd name="T55" fmla="*/ 134 h 188"/>
                <a:gd name="T56" fmla="*/ 134 w 338"/>
                <a:gd name="T57" fmla="*/ 116 h 188"/>
                <a:gd name="T58" fmla="*/ 148 w 338"/>
                <a:gd name="T59" fmla="*/ 72 h 188"/>
                <a:gd name="T60" fmla="*/ 172 w 338"/>
                <a:gd name="T61" fmla="*/ 50 h 188"/>
                <a:gd name="T62" fmla="*/ 192 w 338"/>
                <a:gd name="T63" fmla="*/ 20 h 188"/>
                <a:gd name="T64" fmla="*/ 320 w 338"/>
                <a:gd name="T65" fmla="*/ 74 h 188"/>
                <a:gd name="T66" fmla="*/ 320 w 338"/>
                <a:gd name="T67" fmla="*/ 68 h 188"/>
                <a:gd name="T68" fmla="*/ 318 w 338"/>
                <a:gd name="T69" fmla="*/ 64 h 188"/>
                <a:gd name="T70" fmla="*/ 320 w 338"/>
                <a:gd name="T71" fmla="*/ 62 h 188"/>
                <a:gd name="T72" fmla="*/ 320 w 338"/>
                <a:gd name="T73" fmla="*/ 56 h 188"/>
                <a:gd name="T74" fmla="*/ 330 w 338"/>
                <a:gd name="T75" fmla="*/ 56 h 188"/>
                <a:gd name="T76" fmla="*/ 326 w 338"/>
                <a:gd name="T77" fmla="*/ 68 h 188"/>
                <a:gd name="T78" fmla="*/ 322 w 338"/>
                <a:gd name="T79" fmla="*/ 76 h 188"/>
                <a:gd name="T80" fmla="*/ 332 w 338"/>
                <a:gd name="T81" fmla="*/ 52 h 188"/>
                <a:gd name="T82" fmla="*/ 332 w 338"/>
                <a:gd name="T83" fmla="*/ 50 h 188"/>
                <a:gd name="T84" fmla="*/ 310 w 338"/>
                <a:gd name="T85" fmla="*/ 62 h 188"/>
                <a:gd name="T86" fmla="*/ 320 w 338"/>
                <a:gd name="T87" fmla="*/ 62 h 188"/>
                <a:gd name="T88" fmla="*/ 328 w 338"/>
                <a:gd name="T89" fmla="*/ 66 h 188"/>
                <a:gd name="T90" fmla="*/ 326 w 338"/>
                <a:gd name="T91" fmla="*/ 68 h 188"/>
                <a:gd name="T92" fmla="*/ 328 w 338"/>
                <a:gd name="T93" fmla="*/ 74 h 188"/>
                <a:gd name="T94" fmla="*/ 320 w 338"/>
                <a:gd name="T95" fmla="*/ 100 h 188"/>
                <a:gd name="T96" fmla="*/ 316 w 338"/>
                <a:gd name="T97" fmla="*/ 86 h 188"/>
                <a:gd name="T98" fmla="*/ 316 w 338"/>
                <a:gd name="T99" fmla="*/ 76 h 188"/>
                <a:gd name="T100" fmla="*/ 326 w 338"/>
                <a:gd name="T101" fmla="*/ 74 h 188"/>
                <a:gd name="T102" fmla="*/ 328 w 338"/>
                <a:gd name="T103" fmla="*/ 76 h 188"/>
                <a:gd name="T104" fmla="*/ 328 w 338"/>
                <a:gd name="T105" fmla="*/ 80 h 188"/>
                <a:gd name="T106" fmla="*/ 320 w 338"/>
                <a:gd name="T107" fmla="*/ 86 h 188"/>
                <a:gd name="T108" fmla="*/ 322 w 338"/>
                <a:gd name="T109" fmla="*/ 86 h 188"/>
                <a:gd name="T110" fmla="*/ 322 w 338"/>
                <a:gd name="T111" fmla="*/ 96 h 188"/>
                <a:gd name="T112" fmla="*/ 322 w 338"/>
                <a:gd name="T113" fmla="*/ 88 h 188"/>
                <a:gd name="T114" fmla="*/ 324 w 338"/>
                <a:gd name="T115" fmla="*/ 92 h 188"/>
                <a:gd name="T116" fmla="*/ 324 w 338"/>
                <a:gd name="T117" fmla="*/ 94 h 188"/>
                <a:gd name="T118" fmla="*/ 324 w 338"/>
                <a:gd name="T119" fmla="*/ 96 h 188"/>
                <a:gd name="T120" fmla="*/ 322 w 338"/>
                <a:gd name="T121" fmla="*/ 100 h 188"/>
                <a:gd name="T122" fmla="*/ 328 w 338"/>
                <a:gd name="T123" fmla="*/ 120 h 188"/>
                <a:gd name="T124" fmla="*/ 328 w 338"/>
                <a:gd name="T125" fmla="*/ 126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38" h="188">
                  <a:moveTo>
                    <a:pt x="216" y="10"/>
                  </a:moveTo>
                  <a:lnTo>
                    <a:pt x="216" y="12"/>
                  </a:lnTo>
                  <a:lnTo>
                    <a:pt x="218" y="12"/>
                  </a:lnTo>
                  <a:lnTo>
                    <a:pt x="220" y="12"/>
                  </a:lnTo>
                  <a:lnTo>
                    <a:pt x="220" y="14"/>
                  </a:lnTo>
                  <a:lnTo>
                    <a:pt x="220" y="12"/>
                  </a:lnTo>
                  <a:lnTo>
                    <a:pt x="220" y="10"/>
                  </a:lnTo>
                  <a:lnTo>
                    <a:pt x="220" y="10"/>
                  </a:lnTo>
                  <a:lnTo>
                    <a:pt x="220" y="10"/>
                  </a:lnTo>
                  <a:lnTo>
                    <a:pt x="220" y="10"/>
                  </a:lnTo>
                  <a:lnTo>
                    <a:pt x="220" y="10"/>
                  </a:lnTo>
                  <a:lnTo>
                    <a:pt x="220" y="8"/>
                  </a:lnTo>
                  <a:lnTo>
                    <a:pt x="220" y="6"/>
                  </a:lnTo>
                  <a:lnTo>
                    <a:pt x="220" y="4"/>
                  </a:lnTo>
                  <a:lnTo>
                    <a:pt x="220" y="2"/>
                  </a:lnTo>
                  <a:lnTo>
                    <a:pt x="222" y="2"/>
                  </a:lnTo>
                  <a:lnTo>
                    <a:pt x="224" y="2"/>
                  </a:lnTo>
                  <a:lnTo>
                    <a:pt x="226" y="2"/>
                  </a:lnTo>
                  <a:lnTo>
                    <a:pt x="228" y="2"/>
                  </a:lnTo>
                  <a:lnTo>
                    <a:pt x="228" y="4"/>
                  </a:lnTo>
                  <a:lnTo>
                    <a:pt x="230" y="4"/>
                  </a:lnTo>
                  <a:lnTo>
                    <a:pt x="232" y="4"/>
                  </a:lnTo>
                  <a:lnTo>
                    <a:pt x="232" y="6"/>
                  </a:lnTo>
                  <a:lnTo>
                    <a:pt x="232" y="8"/>
                  </a:lnTo>
                  <a:lnTo>
                    <a:pt x="232" y="10"/>
                  </a:lnTo>
                  <a:lnTo>
                    <a:pt x="230" y="10"/>
                  </a:lnTo>
                  <a:lnTo>
                    <a:pt x="232" y="10"/>
                  </a:lnTo>
                  <a:lnTo>
                    <a:pt x="232" y="12"/>
                  </a:lnTo>
                  <a:lnTo>
                    <a:pt x="234" y="12"/>
                  </a:lnTo>
                  <a:lnTo>
                    <a:pt x="234" y="14"/>
                  </a:lnTo>
                  <a:lnTo>
                    <a:pt x="236" y="12"/>
                  </a:lnTo>
                  <a:lnTo>
                    <a:pt x="236" y="14"/>
                  </a:lnTo>
                  <a:lnTo>
                    <a:pt x="236" y="12"/>
                  </a:lnTo>
                  <a:lnTo>
                    <a:pt x="238" y="12"/>
                  </a:lnTo>
                  <a:lnTo>
                    <a:pt x="240" y="12"/>
                  </a:lnTo>
                  <a:lnTo>
                    <a:pt x="242" y="12"/>
                  </a:lnTo>
                  <a:lnTo>
                    <a:pt x="242" y="14"/>
                  </a:lnTo>
                  <a:lnTo>
                    <a:pt x="244" y="14"/>
                  </a:lnTo>
                  <a:lnTo>
                    <a:pt x="244" y="16"/>
                  </a:lnTo>
                  <a:lnTo>
                    <a:pt x="246" y="16"/>
                  </a:lnTo>
                  <a:lnTo>
                    <a:pt x="248" y="16"/>
                  </a:lnTo>
                  <a:lnTo>
                    <a:pt x="250" y="16"/>
                  </a:lnTo>
                  <a:lnTo>
                    <a:pt x="250" y="18"/>
                  </a:lnTo>
                  <a:lnTo>
                    <a:pt x="252" y="18"/>
                  </a:lnTo>
                  <a:lnTo>
                    <a:pt x="254" y="18"/>
                  </a:lnTo>
                  <a:lnTo>
                    <a:pt x="254" y="20"/>
                  </a:lnTo>
                  <a:lnTo>
                    <a:pt x="254" y="18"/>
                  </a:lnTo>
                  <a:lnTo>
                    <a:pt x="254" y="20"/>
                  </a:lnTo>
                  <a:lnTo>
                    <a:pt x="256" y="20"/>
                  </a:lnTo>
                  <a:lnTo>
                    <a:pt x="256" y="20"/>
                  </a:lnTo>
                  <a:lnTo>
                    <a:pt x="254" y="20"/>
                  </a:lnTo>
                  <a:lnTo>
                    <a:pt x="256" y="20"/>
                  </a:lnTo>
                  <a:lnTo>
                    <a:pt x="256" y="22"/>
                  </a:lnTo>
                  <a:lnTo>
                    <a:pt x="256" y="24"/>
                  </a:lnTo>
                  <a:lnTo>
                    <a:pt x="256" y="26"/>
                  </a:lnTo>
                  <a:lnTo>
                    <a:pt x="254" y="28"/>
                  </a:lnTo>
                  <a:lnTo>
                    <a:pt x="254" y="30"/>
                  </a:lnTo>
                  <a:lnTo>
                    <a:pt x="252" y="30"/>
                  </a:lnTo>
                  <a:lnTo>
                    <a:pt x="252" y="28"/>
                  </a:lnTo>
                  <a:lnTo>
                    <a:pt x="252" y="30"/>
                  </a:lnTo>
                  <a:lnTo>
                    <a:pt x="252" y="28"/>
                  </a:lnTo>
                  <a:lnTo>
                    <a:pt x="252" y="30"/>
                  </a:lnTo>
                  <a:lnTo>
                    <a:pt x="250" y="30"/>
                  </a:lnTo>
                  <a:lnTo>
                    <a:pt x="252" y="30"/>
                  </a:lnTo>
                  <a:lnTo>
                    <a:pt x="254" y="30"/>
                  </a:lnTo>
                  <a:lnTo>
                    <a:pt x="254" y="32"/>
                  </a:lnTo>
                  <a:lnTo>
                    <a:pt x="252" y="32"/>
                  </a:lnTo>
                  <a:lnTo>
                    <a:pt x="252" y="34"/>
                  </a:lnTo>
                  <a:lnTo>
                    <a:pt x="252" y="32"/>
                  </a:lnTo>
                  <a:lnTo>
                    <a:pt x="250" y="32"/>
                  </a:lnTo>
                  <a:lnTo>
                    <a:pt x="252" y="32"/>
                  </a:lnTo>
                  <a:lnTo>
                    <a:pt x="252" y="30"/>
                  </a:lnTo>
                  <a:lnTo>
                    <a:pt x="252" y="32"/>
                  </a:lnTo>
                  <a:lnTo>
                    <a:pt x="250" y="30"/>
                  </a:lnTo>
                  <a:lnTo>
                    <a:pt x="250" y="32"/>
                  </a:lnTo>
                  <a:lnTo>
                    <a:pt x="250" y="30"/>
                  </a:lnTo>
                  <a:lnTo>
                    <a:pt x="250" y="32"/>
                  </a:lnTo>
                  <a:lnTo>
                    <a:pt x="250" y="30"/>
                  </a:lnTo>
                  <a:lnTo>
                    <a:pt x="250" y="32"/>
                  </a:lnTo>
                  <a:lnTo>
                    <a:pt x="250" y="34"/>
                  </a:lnTo>
                  <a:lnTo>
                    <a:pt x="250" y="36"/>
                  </a:lnTo>
                  <a:lnTo>
                    <a:pt x="248" y="36"/>
                  </a:lnTo>
                  <a:lnTo>
                    <a:pt x="250" y="36"/>
                  </a:lnTo>
                  <a:lnTo>
                    <a:pt x="250" y="38"/>
                  </a:lnTo>
                  <a:lnTo>
                    <a:pt x="248" y="38"/>
                  </a:lnTo>
                  <a:lnTo>
                    <a:pt x="250" y="38"/>
                  </a:lnTo>
                  <a:lnTo>
                    <a:pt x="248" y="38"/>
                  </a:lnTo>
                  <a:lnTo>
                    <a:pt x="250" y="38"/>
                  </a:lnTo>
                  <a:lnTo>
                    <a:pt x="248" y="38"/>
                  </a:lnTo>
                  <a:lnTo>
                    <a:pt x="248" y="40"/>
                  </a:lnTo>
                  <a:lnTo>
                    <a:pt x="248" y="42"/>
                  </a:lnTo>
                  <a:lnTo>
                    <a:pt x="248" y="44"/>
                  </a:lnTo>
                  <a:lnTo>
                    <a:pt x="248" y="46"/>
                  </a:lnTo>
                  <a:lnTo>
                    <a:pt x="250" y="46"/>
                  </a:lnTo>
                  <a:lnTo>
                    <a:pt x="250" y="48"/>
                  </a:lnTo>
                  <a:lnTo>
                    <a:pt x="252" y="48"/>
                  </a:lnTo>
                  <a:lnTo>
                    <a:pt x="254" y="48"/>
                  </a:lnTo>
                  <a:lnTo>
                    <a:pt x="256" y="48"/>
                  </a:lnTo>
                  <a:lnTo>
                    <a:pt x="256" y="46"/>
                  </a:lnTo>
                  <a:lnTo>
                    <a:pt x="258" y="46"/>
                  </a:lnTo>
                  <a:lnTo>
                    <a:pt x="260" y="46"/>
                  </a:lnTo>
                  <a:lnTo>
                    <a:pt x="260" y="44"/>
                  </a:lnTo>
                  <a:lnTo>
                    <a:pt x="262" y="44"/>
                  </a:lnTo>
                  <a:lnTo>
                    <a:pt x="262" y="46"/>
                  </a:lnTo>
                  <a:lnTo>
                    <a:pt x="262" y="48"/>
                  </a:lnTo>
                  <a:lnTo>
                    <a:pt x="264" y="48"/>
                  </a:lnTo>
                  <a:lnTo>
                    <a:pt x="264" y="50"/>
                  </a:lnTo>
                  <a:lnTo>
                    <a:pt x="266" y="50"/>
                  </a:lnTo>
                  <a:lnTo>
                    <a:pt x="266" y="52"/>
                  </a:lnTo>
                  <a:lnTo>
                    <a:pt x="268" y="52"/>
                  </a:lnTo>
                  <a:lnTo>
                    <a:pt x="268" y="52"/>
                  </a:lnTo>
                  <a:lnTo>
                    <a:pt x="268" y="54"/>
                  </a:lnTo>
                  <a:lnTo>
                    <a:pt x="270" y="54"/>
                  </a:lnTo>
                  <a:lnTo>
                    <a:pt x="272" y="54"/>
                  </a:lnTo>
                  <a:lnTo>
                    <a:pt x="272" y="52"/>
                  </a:lnTo>
                  <a:lnTo>
                    <a:pt x="274" y="52"/>
                  </a:lnTo>
                  <a:lnTo>
                    <a:pt x="276" y="52"/>
                  </a:lnTo>
                  <a:lnTo>
                    <a:pt x="278" y="52"/>
                  </a:lnTo>
                  <a:lnTo>
                    <a:pt x="280" y="52"/>
                  </a:lnTo>
                  <a:lnTo>
                    <a:pt x="280" y="54"/>
                  </a:lnTo>
                  <a:lnTo>
                    <a:pt x="282" y="54"/>
                  </a:lnTo>
                  <a:lnTo>
                    <a:pt x="284" y="56"/>
                  </a:lnTo>
                  <a:lnTo>
                    <a:pt x="286" y="56"/>
                  </a:lnTo>
                  <a:lnTo>
                    <a:pt x="286" y="58"/>
                  </a:lnTo>
                  <a:lnTo>
                    <a:pt x="288" y="58"/>
                  </a:lnTo>
                  <a:lnTo>
                    <a:pt x="290" y="58"/>
                  </a:lnTo>
                  <a:lnTo>
                    <a:pt x="290" y="60"/>
                  </a:lnTo>
                  <a:lnTo>
                    <a:pt x="292" y="60"/>
                  </a:lnTo>
                  <a:lnTo>
                    <a:pt x="294" y="60"/>
                  </a:lnTo>
                  <a:lnTo>
                    <a:pt x="296" y="60"/>
                  </a:lnTo>
                  <a:lnTo>
                    <a:pt x="296" y="62"/>
                  </a:lnTo>
                  <a:lnTo>
                    <a:pt x="298" y="62"/>
                  </a:lnTo>
                  <a:lnTo>
                    <a:pt x="300" y="62"/>
                  </a:lnTo>
                  <a:lnTo>
                    <a:pt x="300" y="64"/>
                  </a:lnTo>
                  <a:lnTo>
                    <a:pt x="300" y="66"/>
                  </a:lnTo>
                  <a:lnTo>
                    <a:pt x="298" y="66"/>
                  </a:lnTo>
                  <a:lnTo>
                    <a:pt x="300" y="66"/>
                  </a:lnTo>
                  <a:lnTo>
                    <a:pt x="298" y="66"/>
                  </a:lnTo>
                  <a:lnTo>
                    <a:pt x="300" y="66"/>
                  </a:lnTo>
                  <a:lnTo>
                    <a:pt x="298" y="66"/>
                  </a:lnTo>
                  <a:lnTo>
                    <a:pt x="300" y="66"/>
                  </a:lnTo>
                  <a:lnTo>
                    <a:pt x="298" y="66"/>
                  </a:lnTo>
                  <a:lnTo>
                    <a:pt x="300" y="66"/>
                  </a:lnTo>
                  <a:lnTo>
                    <a:pt x="298" y="66"/>
                  </a:lnTo>
                  <a:lnTo>
                    <a:pt x="298" y="64"/>
                  </a:lnTo>
                  <a:lnTo>
                    <a:pt x="298" y="66"/>
                  </a:lnTo>
                  <a:lnTo>
                    <a:pt x="298" y="64"/>
                  </a:lnTo>
                  <a:lnTo>
                    <a:pt x="298" y="66"/>
                  </a:lnTo>
                  <a:lnTo>
                    <a:pt x="296" y="66"/>
                  </a:lnTo>
                  <a:lnTo>
                    <a:pt x="296" y="64"/>
                  </a:lnTo>
                  <a:lnTo>
                    <a:pt x="296" y="66"/>
                  </a:lnTo>
                  <a:lnTo>
                    <a:pt x="296" y="64"/>
                  </a:lnTo>
                  <a:lnTo>
                    <a:pt x="296" y="66"/>
                  </a:lnTo>
                  <a:lnTo>
                    <a:pt x="296" y="64"/>
                  </a:lnTo>
                  <a:lnTo>
                    <a:pt x="296" y="66"/>
                  </a:lnTo>
                  <a:lnTo>
                    <a:pt x="294" y="66"/>
                  </a:lnTo>
                  <a:lnTo>
                    <a:pt x="296" y="66"/>
                  </a:lnTo>
                  <a:lnTo>
                    <a:pt x="294" y="66"/>
                  </a:lnTo>
                  <a:lnTo>
                    <a:pt x="294" y="64"/>
                  </a:lnTo>
                  <a:lnTo>
                    <a:pt x="294" y="66"/>
                  </a:lnTo>
                  <a:lnTo>
                    <a:pt x="294" y="64"/>
                  </a:lnTo>
                  <a:lnTo>
                    <a:pt x="294" y="66"/>
                  </a:lnTo>
                  <a:lnTo>
                    <a:pt x="294" y="64"/>
                  </a:lnTo>
                  <a:lnTo>
                    <a:pt x="294" y="66"/>
                  </a:lnTo>
                  <a:lnTo>
                    <a:pt x="294" y="64"/>
                  </a:lnTo>
                  <a:lnTo>
                    <a:pt x="292" y="64"/>
                  </a:lnTo>
                  <a:lnTo>
                    <a:pt x="292" y="66"/>
                  </a:lnTo>
                  <a:lnTo>
                    <a:pt x="292" y="64"/>
                  </a:lnTo>
                  <a:lnTo>
                    <a:pt x="292" y="66"/>
                  </a:lnTo>
                  <a:lnTo>
                    <a:pt x="292" y="64"/>
                  </a:lnTo>
                  <a:lnTo>
                    <a:pt x="292" y="66"/>
                  </a:lnTo>
                  <a:lnTo>
                    <a:pt x="292" y="64"/>
                  </a:lnTo>
                  <a:lnTo>
                    <a:pt x="292" y="66"/>
                  </a:lnTo>
                  <a:lnTo>
                    <a:pt x="292" y="64"/>
                  </a:lnTo>
                  <a:lnTo>
                    <a:pt x="292" y="66"/>
                  </a:lnTo>
                  <a:lnTo>
                    <a:pt x="292" y="64"/>
                  </a:lnTo>
                  <a:lnTo>
                    <a:pt x="292" y="66"/>
                  </a:lnTo>
                  <a:lnTo>
                    <a:pt x="290" y="66"/>
                  </a:lnTo>
                  <a:lnTo>
                    <a:pt x="292" y="66"/>
                  </a:lnTo>
                  <a:lnTo>
                    <a:pt x="294" y="66"/>
                  </a:lnTo>
                  <a:lnTo>
                    <a:pt x="296" y="66"/>
                  </a:lnTo>
                  <a:lnTo>
                    <a:pt x="294" y="66"/>
                  </a:lnTo>
                  <a:lnTo>
                    <a:pt x="296" y="66"/>
                  </a:lnTo>
                  <a:lnTo>
                    <a:pt x="294" y="66"/>
                  </a:lnTo>
                  <a:lnTo>
                    <a:pt x="296" y="66"/>
                  </a:lnTo>
                  <a:lnTo>
                    <a:pt x="298" y="66"/>
                  </a:lnTo>
                  <a:lnTo>
                    <a:pt x="298" y="68"/>
                  </a:lnTo>
                  <a:lnTo>
                    <a:pt x="298" y="66"/>
                  </a:lnTo>
                  <a:lnTo>
                    <a:pt x="298" y="68"/>
                  </a:lnTo>
                  <a:lnTo>
                    <a:pt x="296" y="68"/>
                  </a:lnTo>
                  <a:lnTo>
                    <a:pt x="296" y="66"/>
                  </a:lnTo>
                  <a:lnTo>
                    <a:pt x="296" y="68"/>
                  </a:lnTo>
                  <a:lnTo>
                    <a:pt x="296" y="66"/>
                  </a:lnTo>
                  <a:lnTo>
                    <a:pt x="296" y="68"/>
                  </a:lnTo>
                  <a:lnTo>
                    <a:pt x="298" y="68"/>
                  </a:lnTo>
                  <a:lnTo>
                    <a:pt x="296" y="68"/>
                  </a:lnTo>
                  <a:lnTo>
                    <a:pt x="298" y="68"/>
                  </a:lnTo>
                  <a:lnTo>
                    <a:pt x="300" y="68"/>
                  </a:lnTo>
                  <a:lnTo>
                    <a:pt x="298" y="68"/>
                  </a:lnTo>
                  <a:lnTo>
                    <a:pt x="300" y="68"/>
                  </a:lnTo>
                  <a:lnTo>
                    <a:pt x="298" y="68"/>
                  </a:lnTo>
                  <a:lnTo>
                    <a:pt x="298" y="68"/>
                  </a:lnTo>
                  <a:lnTo>
                    <a:pt x="298" y="70"/>
                  </a:lnTo>
                  <a:lnTo>
                    <a:pt x="298" y="68"/>
                  </a:lnTo>
                  <a:lnTo>
                    <a:pt x="298" y="70"/>
                  </a:lnTo>
                  <a:lnTo>
                    <a:pt x="298" y="68"/>
                  </a:lnTo>
                  <a:lnTo>
                    <a:pt x="298" y="70"/>
                  </a:lnTo>
                  <a:lnTo>
                    <a:pt x="298" y="68"/>
                  </a:lnTo>
                  <a:lnTo>
                    <a:pt x="298" y="70"/>
                  </a:lnTo>
                  <a:lnTo>
                    <a:pt x="298" y="68"/>
                  </a:lnTo>
                  <a:lnTo>
                    <a:pt x="296" y="68"/>
                  </a:lnTo>
                  <a:lnTo>
                    <a:pt x="298" y="68"/>
                  </a:lnTo>
                  <a:lnTo>
                    <a:pt x="296" y="68"/>
                  </a:lnTo>
                  <a:lnTo>
                    <a:pt x="298" y="68"/>
                  </a:lnTo>
                  <a:lnTo>
                    <a:pt x="296" y="68"/>
                  </a:lnTo>
                  <a:lnTo>
                    <a:pt x="298" y="68"/>
                  </a:lnTo>
                  <a:lnTo>
                    <a:pt x="296" y="68"/>
                  </a:lnTo>
                  <a:lnTo>
                    <a:pt x="296" y="70"/>
                  </a:lnTo>
                  <a:lnTo>
                    <a:pt x="298" y="68"/>
                  </a:lnTo>
                  <a:lnTo>
                    <a:pt x="298" y="70"/>
                  </a:lnTo>
                  <a:lnTo>
                    <a:pt x="298" y="68"/>
                  </a:lnTo>
                  <a:lnTo>
                    <a:pt x="298" y="70"/>
                  </a:lnTo>
                  <a:lnTo>
                    <a:pt x="298" y="68"/>
                  </a:lnTo>
                  <a:lnTo>
                    <a:pt x="298" y="70"/>
                  </a:lnTo>
                  <a:lnTo>
                    <a:pt x="296" y="70"/>
                  </a:lnTo>
                  <a:lnTo>
                    <a:pt x="298" y="70"/>
                  </a:lnTo>
                  <a:lnTo>
                    <a:pt x="300" y="70"/>
                  </a:lnTo>
                  <a:lnTo>
                    <a:pt x="300" y="72"/>
                  </a:lnTo>
                  <a:lnTo>
                    <a:pt x="298" y="72"/>
                  </a:lnTo>
                  <a:lnTo>
                    <a:pt x="298" y="70"/>
                  </a:lnTo>
                  <a:lnTo>
                    <a:pt x="298" y="72"/>
                  </a:lnTo>
                  <a:lnTo>
                    <a:pt x="298" y="70"/>
                  </a:lnTo>
                  <a:lnTo>
                    <a:pt x="298" y="72"/>
                  </a:lnTo>
                  <a:lnTo>
                    <a:pt x="296" y="72"/>
                  </a:lnTo>
                  <a:lnTo>
                    <a:pt x="298" y="72"/>
                  </a:lnTo>
                  <a:lnTo>
                    <a:pt x="296" y="72"/>
                  </a:lnTo>
                  <a:lnTo>
                    <a:pt x="298" y="72"/>
                  </a:lnTo>
                  <a:lnTo>
                    <a:pt x="296" y="72"/>
                  </a:lnTo>
                  <a:lnTo>
                    <a:pt x="298" y="72"/>
                  </a:lnTo>
                  <a:lnTo>
                    <a:pt x="300" y="74"/>
                  </a:lnTo>
                  <a:lnTo>
                    <a:pt x="302" y="74"/>
                  </a:lnTo>
                  <a:lnTo>
                    <a:pt x="302" y="76"/>
                  </a:lnTo>
                  <a:lnTo>
                    <a:pt x="300" y="76"/>
                  </a:lnTo>
                  <a:lnTo>
                    <a:pt x="302" y="76"/>
                  </a:lnTo>
                  <a:lnTo>
                    <a:pt x="300" y="76"/>
                  </a:lnTo>
                  <a:lnTo>
                    <a:pt x="300" y="74"/>
                  </a:lnTo>
                  <a:lnTo>
                    <a:pt x="300" y="76"/>
                  </a:lnTo>
                  <a:lnTo>
                    <a:pt x="300" y="74"/>
                  </a:lnTo>
                  <a:lnTo>
                    <a:pt x="300" y="76"/>
                  </a:lnTo>
                  <a:lnTo>
                    <a:pt x="300" y="74"/>
                  </a:lnTo>
                  <a:lnTo>
                    <a:pt x="300" y="76"/>
                  </a:lnTo>
                  <a:lnTo>
                    <a:pt x="298" y="76"/>
                  </a:lnTo>
                  <a:lnTo>
                    <a:pt x="296" y="76"/>
                  </a:lnTo>
                  <a:lnTo>
                    <a:pt x="294" y="76"/>
                  </a:lnTo>
                  <a:lnTo>
                    <a:pt x="294" y="74"/>
                  </a:lnTo>
                  <a:lnTo>
                    <a:pt x="296" y="74"/>
                  </a:lnTo>
                  <a:lnTo>
                    <a:pt x="296" y="76"/>
                  </a:lnTo>
                  <a:lnTo>
                    <a:pt x="294" y="76"/>
                  </a:lnTo>
                  <a:lnTo>
                    <a:pt x="296" y="76"/>
                  </a:lnTo>
                  <a:lnTo>
                    <a:pt x="296" y="74"/>
                  </a:lnTo>
                  <a:lnTo>
                    <a:pt x="296" y="76"/>
                  </a:lnTo>
                  <a:lnTo>
                    <a:pt x="296" y="74"/>
                  </a:lnTo>
                  <a:lnTo>
                    <a:pt x="296" y="76"/>
                  </a:lnTo>
                  <a:lnTo>
                    <a:pt x="296" y="74"/>
                  </a:lnTo>
                  <a:lnTo>
                    <a:pt x="294" y="74"/>
                  </a:lnTo>
                  <a:lnTo>
                    <a:pt x="294" y="76"/>
                  </a:lnTo>
                  <a:lnTo>
                    <a:pt x="294" y="74"/>
                  </a:lnTo>
                  <a:lnTo>
                    <a:pt x="292" y="74"/>
                  </a:lnTo>
                  <a:lnTo>
                    <a:pt x="294" y="74"/>
                  </a:lnTo>
                  <a:lnTo>
                    <a:pt x="292" y="74"/>
                  </a:lnTo>
                  <a:lnTo>
                    <a:pt x="292" y="72"/>
                  </a:lnTo>
                  <a:lnTo>
                    <a:pt x="292" y="74"/>
                  </a:lnTo>
                  <a:lnTo>
                    <a:pt x="294" y="74"/>
                  </a:lnTo>
                  <a:lnTo>
                    <a:pt x="294" y="72"/>
                  </a:lnTo>
                  <a:lnTo>
                    <a:pt x="292" y="72"/>
                  </a:lnTo>
                  <a:lnTo>
                    <a:pt x="294" y="72"/>
                  </a:lnTo>
                  <a:lnTo>
                    <a:pt x="292" y="72"/>
                  </a:lnTo>
                  <a:lnTo>
                    <a:pt x="292" y="74"/>
                  </a:lnTo>
                  <a:lnTo>
                    <a:pt x="292" y="72"/>
                  </a:lnTo>
                  <a:lnTo>
                    <a:pt x="292" y="74"/>
                  </a:lnTo>
                  <a:lnTo>
                    <a:pt x="292" y="72"/>
                  </a:lnTo>
                  <a:lnTo>
                    <a:pt x="294" y="72"/>
                  </a:lnTo>
                  <a:lnTo>
                    <a:pt x="294" y="70"/>
                  </a:lnTo>
                  <a:lnTo>
                    <a:pt x="294" y="72"/>
                  </a:lnTo>
                  <a:lnTo>
                    <a:pt x="292" y="72"/>
                  </a:lnTo>
                  <a:lnTo>
                    <a:pt x="290" y="72"/>
                  </a:lnTo>
                  <a:lnTo>
                    <a:pt x="290" y="70"/>
                  </a:lnTo>
                  <a:lnTo>
                    <a:pt x="290" y="72"/>
                  </a:lnTo>
                  <a:lnTo>
                    <a:pt x="290" y="70"/>
                  </a:lnTo>
                  <a:lnTo>
                    <a:pt x="290" y="72"/>
                  </a:lnTo>
                  <a:lnTo>
                    <a:pt x="292" y="72"/>
                  </a:lnTo>
                  <a:lnTo>
                    <a:pt x="292" y="74"/>
                  </a:lnTo>
                  <a:lnTo>
                    <a:pt x="292" y="76"/>
                  </a:lnTo>
                  <a:lnTo>
                    <a:pt x="290" y="76"/>
                  </a:lnTo>
                  <a:lnTo>
                    <a:pt x="292" y="76"/>
                  </a:lnTo>
                  <a:lnTo>
                    <a:pt x="290" y="76"/>
                  </a:lnTo>
                  <a:lnTo>
                    <a:pt x="292" y="76"/>
                  </a:lnTo>
                  <a:lnTo>
                    <a:pt x="290" y="76"/>
                  </a:lnTo>
                  <a:lnTo>
                    <a:pt x="288" y="78"/>
                  </a:lnTo>
                  <a:lnTo>
                    <a:pt x="290" y="78"/>
                  </a:lnTo>
                  <a:lnTo>
                    <a:pt x="292" y="78"/>
                  </a:lnTo>
                  <a:lnTo>
                    <a:pt x="294" y="78"/>
                  </a:lnTo>
                  <a:lnTo>
                    <a:pt x="292" y="78"/>
                  </a:lnTo>
                  <a:lnTo>
                    <a:pt x="294" y="78"/>
                  </a:lnTo>
                  <a:lnTo>
                    <a:pt x="296" y="78"/>
                  </a:lnTo>
                  <a:lnTo>
                    <a:pt x="294" y="78"/>
                  </a:lnTo>
                  <a:lnTo>
                    <a:pt x="296" y="78"/>
                  </a:lnTo>
                  <a:lnTo>
                    <a:pt x="294" y="78"/>
                  </a:lnTo>
                  <a:lnTo>
                    <a:pt x="296" y="78"/>
                  </a:lnTo>
                  <a:lnTo>
                    <a:pt x="294" y="78"/>
                  </a:lnTo>
                  <a:lnTo>
                    <a:pt x="296" y="78"/>
                  </a:lnTo>
                  <a:lnTo>
                    <a:pt x="294" y="78"/>
                  </a:lnTo>
                  <a:lnTo>
                    <a:pt x="294" y="80"/>
                  </a:lnTo>
                  <a:lnTo>
                    <a:pt x="294" y="78"/>
                  </a:lnTo>
                  <a:lnTo>
                    <a:pt x="296" y="78"/>
                  </a:lnTo>
                  <a:lnTo>
                    <a:pt x="298" y="78"/>
                  </a:lnTo>
                  <a:lnTo>
                    <a:pt x="298" y="80"/>
                  </a:lnTo>
                  <a:lnTo>
                    <a:pt x="298" y="78"/>
                  </a:lnTo>
                  <a:lnTo>
                    <a:pt x="300" y="78"/>
                  </a:lnTo>
                  <a:lnTo>
                    <a:pt x="300" y="80"/>
                  </a:lnTo>
                  <a:lnTo>
                    <a:pt x="300" y="78"/>
                  </a:lnTo>
                  <a:lnTo>
                    <a:pt x="300" y="80"/>
                  </a:lnTo>
                  <a:lnTo>
                    <a:pt x="300" y="78"/>
                  </a:lnTo>
                  <a:lnTo>
                    <a:pt x="300" y="80"/>
                  </a:lnTo>
                  <a:lnTo>
                    <a:pt x="300" y="78"/>
                  </a:lnTo>
                  <a:lnTo>
                    <a:pt x="300" y="80"/>
                  </a:lnTo>
                  <a:lnTo>
                    <a:pt x="300" y="78"/>
                  </a:lnTo>
                  <a:lnTo>
                    <a:pt x="302" y="78"/>
                  </a:lnTo>
                  <a:lnTo>
                    <a:pt x="300" y="78"/>
                  </a:lnTo>
                  <a:lnTo>
                    <a:pt x="302" y="78"/>
                  </a:lnTo>
                  <a:lnTo>
                    <a:pt x="302" y="80"/>
                  </a:lnTo>
                  <a:lnTo>
                    <a:pt x="302" y="82"/>
                  </a:lnTo>
                  <a:lnTo>
                    <a:pt x="304" y="82"/>
                  </a:lnTo>
                  <a:lnTo>
                    <a:pt x="304" y="84"/>
                  </a:lnTo>
                  <a:lnTo>
                    <a:pt x="306" y="84"/>
                  </a:lnTo>
                  <a:lnTo>
                    <a:pt x="306" y="86"/>
                  </a:lnTo>
                  <a:lnTo>
                    <a:pt x="306" y="88"/>
                  </a:lnTo>
                  <a:lnTo>
                    <a:pt x="306" y="86"/>
                  </a:lnTo>
                  <a:lnTo>
                    <a:pt x="306" y="88"/>
                  </a:lnTo>
                  <a:lnTo>
                    <a:pt x="306" y="86"/>
                  </a:lnTo>
                  <a:lnTo>
                    <a:pt x="306" y="88"/>
                  </a:lnTo>
                  <a:lnTo>
                    <a:pt x="304" y="88"/>
                  </a:lnTo>
                  <a:lnTo>
                    <a:pt x="306" y="88"/>
                  </a:lnTo>
                  <a:lnTo>
                    <a:pt x="304" y="88"/>
                  </a:lnTo>
                  <a:lnTo>
                    <a:pt x="306" y="88"/>
                  </a:lnTo>
                  <a:lnTo>
                    <a:pt x="304" y="88"/>
                  </a:lnTo>
                  <a:lnTo>
                    <a:pt x="306" y="88"/>
                  </a:lnTo>
                  <a:lnTo>
                    <a:pt x="306" y="90"/>
                  </a:lnTo>
                  <a:lnTo>
                    <a:pt x="306" y="88"/>
                  </a:lnTo>
                  <a:lnTo>
                    <a:pt x="306" y="90"/>
                  </a:lnTo>
                  <a:lnTo>
                    <a:pt x="306" y="88"/>
                  </a:lnTo>
                  <a:lnTo>
                    <a:pt x="306" y="90"/>
                  </a:lnTo>
                  <a:lnTo>
                    <a:pt x="304" y="90"/>
                  </a:lnTo>
                  <a:lnTo>
                    <a:pt x="304" y="88"/>
                  </a:lnTo>
                  <a:lnTo>
                    <a:pt x="304" y="90"/>
                  </a:lnTo>
                  <a:lnTo>
                    <a:pt x="304" y="88"/>
                  </a:lnTo>
                  <a:lnTo>
                    <a:pt x="304" y="90"/>
                  </a:lnTo>
                  <a:lnTo>
                    <a:pt x="304" y="88"/>
                  </a:lnTo>
                  <a:lnTo>
                    <a:pt x="304" y="90"/>
                  </a:lnTo>
                  <a:lnTo>
                    <a:pt x="304" y="88"/>
                  </a:lnTo>
                  <a:lnTo>
                    <a:pt x="304" y="90"/>
                  </a:lnTo>
                  <a:lnTo>
                    <a:pt x="304" y="88"/>
                  </a:lnTo>
                  <a:lnTo>
                    <a:pt x="304" y="90"/>
                  </a:lnTo>
                  <a:lnTo>
                    <a:pt x="304" y="88"/>
                  </a:lnTo>
                  <a:lnTo>
                    <a:pt x="304" y="90"/>
                  </a:lnTo>
                  <a:lnTo>
                    <a:pt x="306" y="90"/>
                  </a:lnTo>
                  <a:lnTo>
                    <a:pt x="306" y="92"/>
                  </a:lnTo>
                  <a:lnTo>
                    <a:pt x="306" y="90"/>
                  </a:lnTo>
                  <a:lnTo>
                    <a:pt x="306" y="92"/>
                  </a:lnTo>
                  <a:lnTo>
                    <a:pt x="304" y="92"/>
                  </a:lnTo>
                  <a:lnTo>
                    <a:pt x="304" y="90"/>
                  </a:lnTo>
                  <a:lnTo>
                    <a:pt x="304" y="92"/>
                  </a:lnTo>
                  <a:lnTo>
                    <a:pt x="304" y="90"/>
                  </a:lnTo>
                  <a:lnTo>
                    <a:pt x="304" y="92"/>
                  </a:lnTo>
                  <a:lnTo>
                    <a:pt x="304" y="90"/>
                  </a:lnTo>
                  <a:lnTo>
                    <a:pt x="304" y="92"/>
                  </a:lnTo>
                  <a:lnTo>
                    <a:pt x="304" y="90"/>
                  </a:lnTo>
                  <a:lnTo>
                    <a:pt x="302" y="90"/>
                  </a:lnTo>
                  <a:lnTo>
                    <a:pt x="304" y="90"/>
                  </a:lnTo>
                  <a:lnTo>
                    <a:pt x="302" y="90"/>
                  </a:lnTo>
                  <a:lnTo>
                    <a:pt x="300" y="90"/>
                  </a:lnTo>
                  <a:lnTo>
                    <a:pt x="302" y="90"/>
                  </a:lnTo>
                  <a:lnTo>
                    <a:pt x="300" y="90"/>
                  </a:lnTo>
                  <a:lnTo>
                    <a:pt x="300" y="88"/>
                  </a:lnTo>
                  <a:lnTo>
                    <a:pt x="300" y="90"/>
                  </a:lnTo>
                  <a:lnTo>
                    <a:pt x="302" y="90"/>
                  </a:lnTo>
                  <a:lnTo>
                    <a:pt x="300" y="90"/>
                  </a:lnTo>
                  <a:lnTo>
                    <a:pt x="298" y="90"/>
                  </a:lnTo>
                  <a:lnTo>
                    <a:pt x="298" y="92"/>
                  </a:lnTo>
                  <a:lnTo>
                    <a:pt x="300" y="92"/>
                  </a:lnTo>
                  <a:lnTo>
                    <a:pt x="298" y="92"/>
                  </a:lnTo>
                  <a:lnTo>
                    <a:pt x="300" y="92"/>
                  </a:lnTo>
                  <a:lnTo>
                    <a:pt x="300" y="94"/>
                  </a:lnTo>
                  <a:lnTo>
                    <a:pt x="302" y="94"/>
                  </a:lnTo>
                  <a:lnTo>
                    <a:pt x="300" y="94"/>
                  </a:lnTo>
                  <a:lnTo>
                    <a:pt x="302" y="94"/>
                  </a:lnTo>
                  <a:lnTo>
                    <a:pt x="302" y="96"/>
                  </a:lnTo>
                  <a:lnTo>
                    <a:pt x="302" y="94"/>
                  </a:lnTo>
                  <a:lnTo>
                    <a:pt x="302" y="96"/>
                  </a:lnTo>
                  <a:lnTo>
                    <a:pt x="300" y="96"/>
                  </a:lnTo>
                  <a:lnTo>
                    <a:pt x="298" y="96"/>
                  </a:lnTo>
                  <a:lnTo>
                    <a:pt x="298" y="98"/>
                  </a:lnTo>
                  <a:lnTo>
                    <a:pt x="296" y="98"/>
                  </a:lnTo>
                  <a:lnTo>
                    <a:pt x="296" y="96"/>
                  </a:lnTo>
                  <a:lnTo>
                    <a:pt x="294" y="96"/>
                  </a:lnTo>
                  <a:lnTo>
                    <a:pt x="296" y="96"/>
                  </a:lnTo>
                  <a:lnTo>
                    <a:pt x="294" y="96"/>
                  </a:lnTo>
                  <a:lnTo>
                    <a:pt x="296" y="96"/>
                  </a:lnTo>
                  <a:lnTo>
                    <a:pt x="294" y="96"/>
                  </a:lnTo>
                  <a:lnTo>
                    <a:pt x="296" y="96"/>
                  </a:lnTo>
                  <a:lnTo>
                    <a:pt x="294" y="96"/>
                  </a:lnTo>
                  <a:lnTo>
                    <a:pt x="296" y="96"/>
                  </a:lnTo>
                  <a:lnTo>
                    <a:pt x="294" y="96"/>
                  </a:lnTo>
                  <a:lnTo>
                    <a:pt x="296" y="96"/>
                  </a:lnTo>
                  <a:lnTo>
                    <a:pt x="294" y="96"/>
                  </a:lnTo>
                  <a:lnTo>
                    <a:pt x="296" y="96"/>
                  </a:lnTo>
                  <a:lnTo>
                    <a:pt x="294" y="96"/>
                  </a:lnTo>
                  <a:lnTo>
                    <a:pt x="296" y="96"/>
                  </a:lnTo>
                  <a:lnTo>
                    <a:pt x="294" y="96"/>
                  </a:lnTo>
                  <a:lnTo>
                    <a:pt x="294" y="94"/>
                  </a:lnTo>
                  <a:lnTo>
                    <a:pt x="294" y="96"/>
                  </a:lnTo>
                  <a:lnTo>
                    <a:pt x="294" y="94"/>
                  </a:lnTo>
                  <a:lnTo>
                    <a:pt x="294" y="96"/>
                  </a:lnTo>
                  <a:lnTo>
                    <a:pt x="294" y="94"/>
                  </a:lnTo>
                  <a:lnTo>
                    <a:pt x="292" y="94"/>
                  </a:lnTo>
                  <a:lnTo>
                    <a:pt x="294" y="94"/>
                  </a:lnTo>
                  <a:lnTo>
                    <a:pt x="292" y="94"/>
                  </a:lnTo>
                  <a:lnTo>
                    <a:pt x="294" y="94"/>
                  </a:lnTo>
                  <a:lnTo>
                    <a:pt x="292" y="94"/>
                  </a:lnTo>
                  <a:lnTo>
                    <a:pt x="290" y="94"/>
                  </a:lnTo>
                  <a:lnTo>
                    <a:pt x="290" y="92"/>
                  </a:lnTo>
                  <a:lnTo>
                    <a:pt x="288" y="92"/>
                  </a:lnTo>
                  <a:lnTo>
                    <a:pt x="288" y="94"/>
                  </a:lnTo>
                  <a:lnTo>
                    <a:pt x="290" y="94"/>
                  </a:lnTo>
                  <a:lnTo>
                    <a:pt x="290" y="96"/>
                  </a:lnTo>
                  <a:lnTo>
                    <a:pt x="292" y="96"/>
                  </a:lnTo>
                  <a:lnTo>
                    <a:pt x="294" y="96"/>
                  </a:lnTo>
                  <a:lnTo>
                    <a:pt x="292" y="96"/>
                  </a:lnTo>
                  <a:lnTo>
                    <a:pt x="294" y="96"/>
                  </a:lnTo>
                  <a:lnTo>
                    <a:pt x="294" y="98"/>
                  </a:lnTo>
                  <a:lnTo>
                    <a:pt x="296" y="98"/>
                  </a:lnTo>
                  <a:lnTo>
                    <a:pt x="298" y="98"/>
                  </a:lnTo>
                  <a:lnTo>
                    <a:pt x="298" y="100"/>
                  </a:lnTo>
                  <a:lnTo>
                    <a:pt x="298" y="98"/>
                  </a:lnTo>
                  <a:lnTo>
                    <a:pt x="300" y="98"/>
                  </a:lnTo>
                  <a:lnTo>
                    <a:pt x="302" y="98"/>
                  </a:lnTo>
                  <a:lnTo>
                    <a:pt x="300" y="98"/>
                  </a:lnTo>
                  <a:lnTo>
                    <a:pt x="302" y="98"/>
                  </a:lnTo>
                  <a:lnTo>
                    <a:pt x="300" y="100"/>
                  </a:lnTo>
                  <a:lnTo>
                    <a:pt x="300" y="98"/>
                  </a:lnTo>
                  <a:lnTo>
                    <a:pt x="300" y="100"/>
                  </a:lnTo>
                  <a:lnTo>
                    <a:pt x="302" y="100"/>
                  </a:lnTo>
                  <a:lnTo>
                    <a:pt x="302" y="98"/>
                  </a:lnTo>
                  <a:lnTo>
                    <a:pt x="302" y="100"/>
                  </a:lnTo>
                  <a:lnTo>
                    <a:pt x="302" y="98"/>
                  </a:lnTo>
                  <a:lnTo>
                    <a:pt x="300" y="98"/>
                  </a:lnTo>
                  <a:lnTo>
                    <a:pt x="302" y="98"/>
                  </a:lnTo>
                  <a:lnTo>
                    <a:pt x="302" y="100"/>
                  </a:lnTo>
                  <a:lnTo>
                    <a:pt x="302" y="102"/>
                  </a:lnTo>
                  <a:lnTo>
                    <a:pt x="304" y="102"/>
                  </a:lnTo>
                  <a:lnTo>
                    <a:pt x="304" y="100"/>
                  </a:lnTo>
                  <a:lnTo>
                    <a:pt x="306" y="100"/>
                  </a:lnTo>
                  <a:lnTo>
                    <a:pt x="304" y="100"/>
                  </a:lnTo>
                  <a:lnTo>
                    <a:pt x="306" y="100"/>
                  </a:lnTo>
                  <a:lnTo>
                    <a:pt x="304" y="100"/>
                  </a:lnTo>
                  <a:lnTo>
                    <a:pt x="306" y="100"/>
                  </a:lnTo>
                  <a:lnTo>
                    <a:pt x="304" y="100"/>
                  </a:lnTo>
                  <a:lnTo>
                    <a:pt x="304" y="102"/>
                  </a:lnTo>
                  <a:lnTo>
                    <a:pt x="306" y="102"/>
                  </a:lnTo>
                  <a:lnTo>
                    <a:pt x="306" y="100"/>
                  </a:lnTo>
                  <a:lnTo>
                    <a:pt x="306" y="102"/>
                  </a:lnTo>
                  <a:lnTo>
                    <a:pt x="308" y="102"/>
                  </a:lnTo>
                  <a:lnTo>
                    <a:pt x="308" y="104"/>
                  </a:lnTo>
                  <a:lnTo>
                    <a:pt x="310" y="104"/>
                  </a:lnTo>
                  <a:lnTo>
                    <a:pt x="308" y="106"/>
                  </a:lnTo>
                  <a:lnTo>
                    <a:pt x="308" y="108"/>
                  </a:lnTo>
                  <a:lnTo>
                    <a:pt x="308" y="110"/>
                  </a:lnTo>
                  <a:lnTo>
                    <a:pt x="308" y="108"/>
                  </a:lnTo>
                  <a:lnTo>
                    <a:pt x="308" y="106"/>
                  </a:lnTo>
                  <a:lnTo>
                    <a:pt x="308" y="108"/>
                  </a:lnTo>
                  <a:lnTo>
                    <a:pt x="306" y="108"/>
                  </a:lnTo>
                  <a:lnTo>
                    <a:pt x="306" y="110"/>
                  </a:lnTo>
                  <a:lnTo>
                    <a:pt x="304" y="112"/>
                  </a:lnTo>
                  <a:lnTo>
                    <a:pt x="302" y="112"/>
                  </a:lnTo>
                  <a:lnTo>
                    <a:pt x="304" y="112"/>
                  </a:lnTo>
                  <a:lnTo>
                    <a:pt x="302" y="112"/>
                  </a:lnTo>
                  <a:lnTo>
                    <a:pt x="304" y="112"/>
                  </a:lnTo>
                  <a:lnTo>
                    <a:pt x="302" y="112"/>
                  </a:lnTo>
                  <a:lnTo>
                    <a:pt x="302" y="110"/>
                  </a:lnTo>
                  <a:lnTo>
                    <a:pt x="300" y="108"/>
                  </a:lnTo>
                  <a:lnTo>
                    <a:pt x="298" y="108"/>
                  </a:lnTo>
                  <a:lnTo>
                    <a:pt x="298" y="106"/>
                  </a:lnTo>
                  <a:lnTo>
                    <a:pt x="298" y="108"/>
                  </a:lnTo>
                  <a:lnTo>
                    <a:pt x="298" y="106"/>
                  </a:lnTo>
                  <a:lnTo>
                    <a:pt x="296" y="106"/>
                  </a:lnTo>
                  <a:lnTo>
                    <a:pt x="296" y="108"/>
                  </a:lnTo>
                  <a:lnTo>
                    <a:pt x="298" y="108"/>
                  </a:lnTo>
                  <a:lnTo>
                    <a:pt x="296" y="108"/>
                  </a:lnTo>
                  <a:lnTo>
                    <a:pt x="298" y="108"/>
                  </a:lnTo>
                  <a:lnTo>
                    <a:pt x="296" y="108"/>
                  </a:lnTo>
                  <a:lnTo>
                    <a:pt x="296" y="106"/>
                  </a:lnTo>
                  <a:lnTo>
                    <a:pt x="294" y="106"/>
                  </a:lnTo>
                  <a:lnTo>
                    <a:pt x="294" y="104"/>
                  </a:lnTo>
                  <a:lnTo>
                    <a:pt x="294" y="102"/>
                  </a:lnTo>
                  <a:lnTo>
                    <a:pt x="292" y="102"/>
                  </a:lnTo>
                  <a:lnTo>
                    <a:pt x="292" y="100"/>
                  </a:lnTo>
                  <a:lnTo>
                    <a:pt x="290" y="100"/>
                  </a:lnTo>
                  <a:lnTo>
                    <a:pt x="290" y="102"/>
                  </a:lnTo>
                  <a:lnTo>
                    <a:pt x="288" y="102"/>
                  </a:lnTo>
                  <a:lnTo>
                    <a:pt x="288" y="100"/>
                  </a:lnTo>
                  <a:lnTo>
                    <a:pt x="288" y="102"/>
                  </a:lnTo>
                  <a:lnTo>
                    <a:pt x="288" y="100"/>
                  </a:lnTo>
                  <a:lnTo>
                    <a:pt x="288" y="102"/>
                  </a:lnTo>
                  <a:lnTo>
                    <a:pt x="288" y="100"/>
                  </a:lnTo>
                  <a:lnTo>
                    <a:pt x="288" y="102"/>
                  </a:lnTo>
                  <a:lnTo>
                    <a:pt x="286" y="102"/>
                  </a:lnTo>
                  <a:lnTo>
                    <a:pt x="288" y="102"/>
                  </a:lnTo>
                  <a:lnTo>
                    <a:pt x="288" y="104"/>
                  </a:lnTo>
                  <a:lnTo>
                    <a:pt x="288" y="102"/>
                  </a:lnTo>
                  <a:lnTo>
                    <a:pt x="286" y="104"/>
                  </a:lnTo>
                  <a:lnTo>
                    <a:pt x="286" y="102"/>
                  </a:lnTo>
                  <a:lnTo>
                    <a:pt x="286" y="104"/>
                  </a:lnTo>
                  <a:lnTo>
                    <a:pt x="286" y="102"/>
                  </a:lnTo>
                  <a:lnTo>
                    <a:pt x="286" y="104"/>
                  </a:lnTo>
                  <a:lnTo>
                    <a:pt x="286" y="102"/>
                  </a:lnTo>
                  <a:lnTo>
                    <a:pt x="286" y="104"/>
                  </a:lnTo>
                  <a:lnTo>
                    <a:pt x="288" y="104"/>
                  </a:lnTo>
                  <a:lnTo>
                    <a:pt x="288" y="102"/>
                  </a:lnTo>
                  <a:lnTo>
                    <a:pt x="288" y="104"/>
                  </a:lnTo>
                  <a:lnTo>
                    <a:pt x="288" y="102"/>
                  </a:lnTo>
                  <a:lnTo>
                    <a:pt x="288" y="104"/>
                  </a:lnTo>
                  <a:lnTo>
                    <a:pt x="286" y="104"/>
                  </a:lnTo>
                  <a:lnTo>
                    <a:pt x="286" y="106"/>
                  </a:lnTo>
                  <a:lnTo>
                    <a:pt x="288" y="106"/>
                  </a:lnTo>
                  <a:lnTo>
                    <a:pt x="290" y="106"/>
                  </a:lnTo>
                  <a:lnTo>
                    <a:pt x="288" y="106"/>
                  </a:lnTo>
                  <a:lnTo>
                    <a:pt x="290" y="106"/>
                  </a:lnTo>
                  <a:lnTo>
                    <a:pt x="290" y="104"/>
                  </a:lnTo>
                  <a:lnTo>
                    <a:pt x="290" y="102"/>
                  </a:lnTo>
                  <a:lnTo>
                    <a:pt x="290" y="104"/>
                  </a:lnTo>
                  <a:lnTo>
                    <a:pt x="290" y="106"/>
                  </a:lnTo>
                  <a:lnTo>
                    <a:pt x="292" y="106"/>
                  </a:lnTo>
                  <a:lnTo>
                    <a:pt x="292" y="108"/>
                  </a:lnTo>
                  <a:lnTo>
                    <a:pt x="292" y="110"/>
                  </a:lnTo>
                  <a:lnTo>
                    <a:pt x="294" y="110"/>
                  </a:lnTo>
                  <a:lnTo>
                    <a:pt x="296" y="110"/>
                  </a:lnTo>
                  <a:lnTo>
                    <a:pt x="296" y="112"/>
                  </a:lnTo>
                  <a:lnTo>
                    <a:pt x="294" y="112"/>
                  </a:lnTo>
                  <a:lnTo>
                    <a:pt x="296" y="112"/>
                  </a:lnTo>
                  <a:lnTo>
                    <a:pt x="296" y="114"/>
                  </a:lnTo>
                  <a:lnTo>
                    <a:pt x="294" y="114"/>
                  </a:lnTo>
                  <a:lnTo>
                    <a:pt x="296" y="114"/>
                  </a:lnTo>
                  <a:lnTo>
                    <a:pt x="296" y="112"/>
                  </a:lnTo>
                  <a:lnTo>
                    <a:pt x="298" y="112"/>
                  </a:lnTo>
                  <a:lnTo>
                    <a:pt x="300" y="112"/>
                  </a:lnTo>
                  <a:lnTo>
                    <a:pt x="302" y="112"/>
                  </a:lnTo>
                  <a:lnTo>
                    <a:pt x="302" y="114"/>
                  </a:lnTo>
                  <a:lnTo>
                    <a:pt x="300" y="114"/>
                  </a:lnTo>
                  <a:lnTo>
                    <a:pt x="302" y="114"/>
                  </a:lnTo>
                  <a:lnTo>
                    <a:pt x="302" y="116"/>
                  </a:lnTo>
                  <a:lnTo>
                    <a:pt x="304" y="116"/>
                  </a:lnTo>
                  <a:lnTo>
                    <a:pt x="306" y="116"/>
                  </a:lnTo>
                  <a:lnTo>
                    <a:pt x="306" y="114"/>
                  </a:lnTo>
                  <a:lnTo>
                    <a:pt x="308" y="114"/>
                  </a:lnTo>
                  <a:lnTo>
                    <a:pt x="308" y="112"/>
                  </a:lnTo>
                  <a:lnTo>
                    <a:pt x="310" y="112"/>
                  </a:lnTo>
                  <a:lnTo>
                    <a:pt x="310" y="110"/>
                  </a:lnTo>
                  <a:lnTo>
                    <a:pt x="312" y="110"/>
                  </a:lnTo>
                  <a:lnTo>
                    <a:pt x="310" y="110"/>
                  </a:lnTo>
                  <a:lnTo>
                    <a:pt x="312" y="110"/>
                  </a:lnTo>
                  <a:lnTo>
                    <a:pt x="312" y="112"/>
                  </a:lnTo>
                  <a:lnTo>
                    <a:pt x="314" y="112"/>
                  </a:lnTo>
                  <a:lnTo>
                    <a:pt x="316" y="112"/>
                  </a:lnTo>
                  <a:lnTo>
                    <a:pt x="314" y="112"/>
                  </a:lnTo>
                  <a:lnTo>
                    <a:pt x="316" y="112"/>
                  </a:lnTo>
                  <a:lnTo>
                    <a:pt x="316" y="112"/>
                  </a:lnTo>
                  <a:lnTo>
                    <a:pt x="318" y="112"/>
                  </a:lnTo>
                  <a:lnTo>
                    <a:pt x="316" y="112"/>
                  </a:lnTo>
                  <a:lnTo>
                    <a:pt x="318" y="112"/>
                  </a:lnTo>
                  <a:lnTo>
                    <a:pt x="316" y="112"/>
                  </a:lnTo>
                  <a:lnTo>
                    <a:pt x="316" y="114"/>
                  </a:lnTo>
                  <a:lnTo>
                    <a:pt x="316" y="112"/>
                  </a:lnTo>
                  <a:lnTo>
                    <a:pt x="316" y="114"/>
                  </a:lnTo>
                  <a:lnTo>
                    <a:pt x="318" y="114"/>
                  </a:lnTo>
                  <a:lnTo>
                    <a:pt x="316" y="114"/>
                  </a:lnTo>
                  <a:lnTo>
                    <a:pt x="316" y="116"/>
                  </a:lnTo>
                  <a:lnTo>
                    <a:pt x="316" y="114"/>
                  </a:lnTo>
                  <a:lnTo>
                    <a:pt x="316" y="116"/>
                  </a:lnTo>
                  <a:lnTo>
                    <a:pt x="316" y="114"/>
                  </a:lnTo>
                  <a:lnTo>
                    <a:pt x="318" y="114"/>
                  </a:lnTo>
                  <a:lnTo>
                    <a:pt x="318" y="116"/>
                  </a:lnTo>
                  <a:lnTo>
                    <a:pt x="318" y="114"/>
                  </a:lnTo>
                  <a:lnTo>
                    <a:pt x="318" y="116"/>
                  </a:lnTo>
                  <a:lnTo>
                    <a:pt x="318" y="114"/>
                  </a:lnTo>
                  <a:lnTo>
                    <a:pt x="316" y="114"/>
                  </a:lnTo>
                  <a:lnTo>
                    <a:pt x="318" y="114"/>
                  </a:lnTo>
                  <a:lnTo>
                    <a:pt x="316" y="114"/>
                  </a:lnTo>
                  <a:lnTo>
                    <a:pt x="318" y="114"/>
                  </a:lnTo>
                  <a:lnTo>
                    <a:pt x="316" y="114"/>
                  </a:lnTo>
                  <a:lnTo>
                    <a:pt x="318" y="114"/>
                  </a:lnTo>
                  <a:lnTo>
                    <a:pt x="316" y="114"/>
                  </a:lnTo>
                  <a:lnTo>
                    <a:pt x="318" y="114"/>
                  </a:lnTo>
                  <a:lnTo>
                    <a:pt x="316" y="114"/>
                  </a:lnTo>
                  <a:lnTo>
                    <a:pt x="318" y="114"/>
                  </a:lnTo>
                  <a:lnTo>
                    <a:pt x="316" y="114"/>
                  </a:lnTo>
                  <a:lnTo>
                    <a:pt x="318" y="114"/>
                  </a:lnTo>
                  <a:lnTo>
                    <a:pt x="316" y="114"/>
                  </a:lnTo>
                  <a:lnTo>
                    <a:pt x="318" y="114"/>
                  </a:lnTo>
                  <a:lnTo>
                    <a:pt x="318" y="112"/>
                  </a:lnTo>
                  <a:lnTo>
                    <a:pt x="318" y="114"/>
                  </a:lnTo>
                  <a:lnTo>
                    <a:pt x="318" y="112"/>
                  </a:lnTo>
                  <a:lnTo>
                    <a:pt x="318" y="114"/>
                  </a:lnTo>
                  <a:lnTo>
                    <a:pt x="318" y="112"/>
                  </a:lnTo>
                  <a:lnTo>
                    <a:pt x="318" y="114"/>
                  </a:lnTo>
                  <a:lnTo>
                    <a:pt x="318" y="112"/>
                  </a:lnTo>
                  <a:lnTo>
                    <a:pt x="318" y="114"/>
                  </a:lnTo>
                  <a:lnTo>
                    <a:pt x="318" y="112"/>
                  </a:lnTo>
                  <a:lnTo>
                    <a:pt x="318" y="114"/>
                  </a:lnTo>
                  <a:lnTo>
                    <a:pt x="318" y="112"/>
                  </a:lnTo>
                  <a:lnTo>
                    <a:pt x="318" y="114"/>
                  </a:lnTo>
                  <a:lnTo>
                    <a:pt x="318" y="112"/>
                  </a:lnTo>
                  <a:lnTo>
                    <a:pt x="318" y="114"/>
                  </a:lnTo>
                  <a:lnTo>
                    <a:pt x="320" y="114"/>
                  </a:lnTo>
                  <a:lnTo>
                    <a:pt x="318" y="114"/>
                  </a:lnTo>
                  <a:lnTo>
                    <a:pt x="320" y="114"/>
                  </a:lnTo>
                  <a:lnTo>
                    <a:pt x="320" y="116"/>
                  </a:lnTo>
                  <a:lnTo>
                    <a:pt x="320" y="114"/>
                  </a:lnTo>
                  <a:lnTo>
                    <a:pt x="320" y="116"/>
                  </a:lnTo>
                  <a:lnTo>
                    <a:pt x="320" y="114"/>
                  </a:lnTo>
                  <a:lnTo>
                    <a:pt x="318" y="114"/>
                  </a:lnTo>
                  <a:lnTo>
                    <a:pt x="320" y="114"/>
                  </a:lnTo>
                  <a:lnTo>
                    <a:pt x="318" y="114"/>
                  </a:lnTo>
                  <a:lnTo>
                    <a:pt x="320" y="114"/>
                  </a:lnTo>
                  <a:lnTo>
                    <a:pt x="318" y="114"/>
                  </a:lnTo>
                  <a:lnTo>
                    <a:pt x="320" y="114"/>
                  </a:lnTo>
                  <a:lnTo>
                    <a:pt x="320" y="112"/>
                  </a:lnTo>
                  <a:lnTo>
                    <a:pt x="320" y="114"/>
                  </a:lnTo>
                  <a:lnTo>
                    <a:pt x="320" y="112"/>
                  </a:lnTo>
                  <a:lnTo>
                    <a:pt x="318" y="112"/>
                  </a:lnTo>
                  <a:lnTo>
                    <a:pt x="318" y="114"/>
                  </a:lnTo>
                  <a:lnTo>
                    <a:pt x="320" y="114"/>
                  </a:lnTo>
                  <a:lnTo>
                    <a:pt x="318" y="114"/>
                  </a:lnTo>
                  <a:lnTo>
                    <a:pt x="318" y="112"/>
                  </a:lnTo>
                  <a:lnTo>
                    <a:pt x="318" y="110"/>
                  </a:lnTo>
                  <a:lnTo>
                    <a:pt x="320" y="110"/>
                  </a:lnTo>
                  <a:lnTo>
                    <a:pt x="322" y="110"/>
                  </a:lnTo>
                  <a:lnTo>
                    <a:pt x="322" y="112"/>
                  </a:lnTo>
                  <a:lnTo>
                    <a:pt x="322" y="114"/>
                  </a:lnTo>
                  <a:lnTo>
                    <a:pt x="324" y="114"/>
                  </a:lnTo>
                  <a:lnTo>
                    <a:pt x="324" y="116"/>
                  </a:lnTo>
                  <a:lnTo>
                    <a:pt x="326" y="116"/>
                  </a:lnTo>
                  <a:lnTo>
                    <a:pt x="326" y="118"/>
                  </a:lnTo>
                  <a:lnTo>
                    <a:pt x="328" y="118"/>
                  </a:lnTo>
                  <a:lnTo>
                    <a:pt x="328" y="120"/>
                  </a:lnTo>
                  <a:lnTo>
                    <a:pt x="328" y="122"/>
                  </a:lnTo>
                  <a:lnTo>
                    <a:pt x="330" y="122"/>
                  </a:lnTo>
                  <a:lnTo>
                    <a:pt x="330" y="124"/>
                  </a:lnTo>
                  <a:lnTo>
                    <a:pt x="332" y="124"/>
                  </a:lnTo>
                  <a:lnTo>
                    <a:pt x="332" y="126"/>
                  </a:lnTo>
                  <a:lnTo>
                    <a:pt x="330" y="126"/>
                  </a:lnTo>
                  <a:lnTo>
                    <a:pt x="330" y="124"/>
                  </a:lnTo>
                  <a:lnTo>
                    <a:pt x="330" y="122"/>
                  </a:lnTo>
                  <a:lnTo>
                    <a:pt x="328" y="122"/>
                  </a:lnTo>
                  <a:lnTo>
                    <a:pt x="328" y="120"/>
                  </a:lnTo>
                  <a:lnTo>
                    <a:pt x="326" y="118"/>
                  </a:lnTo>
                  <a:lnTo>
                    <a:pt x="326" y="120"/>
                  </a:lnTo>
                  <a:lnTo>
                    <a:pt x="324" y="120"/>
                  </a:lnTo>
                  <a:lnTo>
                    <a:pt x="324" y="118"/>
                  </a:lnTo>
                  <a:lnTo>
                    <a:pt x="324" y="120"/>
                  </a:lnTo>
                  <a:lnTo>
                    <a:pt x="324" y="118"/>
                  </a:lnTo>
                  <a:lnTo>
                    <a:pt x="324" y="120"/>
                  </a:lnTo>
                  <a:lnTo>
                    <a:pt x="326" y="120"/>
                  </a:lnTo>
                  <a:lnTo>
                    <a:pt x="326" y="118"/>
                  </a:lnTo>
                  <a:lnTo>
                    <a:pt x="326" y="120"/>
                  </a:lnTo>
                  <a:lnTo>
                    <a:pt x="326" y="122"/>
                  </a:lnTo>
                  <a:lnTo>
                    <a:pt x="326" y="124"/>
                  </a:lnTo>
                  <a:lnTo>
                    <a:pt x="326" y="122"/>
                  </a:lnTo>
                  <a:lnTo>
                    <a:pt x="326" y="124"/>
                  </a:lnTo>
                  <a:lnTo>
                    <a:pt x="326" y="126"/>
                  </a:lnTo>
                  <a:lnTo>
                    <a:pt x="326" y="128"/>
                  </a:lnTo>
                  <a:lnTo>
                    <a:pt x="324" y="128"/>
                  </a:lnTo>
                  <a:lnTo>
                    <a:pt x="324" y="126"/>
                  </a:lnTo>
                  <a:lnTo>
                    <a:pt x="324" y="128"/>
                  </a:lnTo>
                  <a:lnTo>
                    <a:pt x="324" y="126"/>
                  </a:lnTo>
                  <a:lnTo>
                    <a:pt x="322" y="126"/>
                  </a:lnTo>
                  <a:lnTo>
                    <a:pt x="324" y="126"/>
                  </a:lnTo>
                  <a:lnTo>
                    <a:pt x="324" y="128"/>
                  </a:lnTo>
                  <a:lnTo>
                    <a:pt x="322" y="130"/>
                  </a:lnTo>
                  <a:lnTo>
                    <a:pt x="320" y="130"/>
                  </a:lnTo>
                  <a:lnTo>
                    <a:pt x="314" y="132"/>
                  </a:lnTo>
                  <a:lnTo>
                    <a:pt x="312" y="132"/>
                  </a:lnTo>
                  <a:lnTo>
                    <a:pt x="310" y="132"/>
                  </a:lnTo>
                  <a:lnTo>
                    <a:pt x="308" y="132"/>
                  </a:lnTo>
                  <a:lnTo>
                    <a:pt x="308" y="134"/>
                  </a:lnTo>
                  <a:lnTo>
                    <a:pt x="306" y="134"/>
                  </a:lnTo>
                  <a:lnTo>
                    <a:pt x="304" y="134"/>
                  </a:lnTo>
                  <a:lnTo>
                    <a:pt x="302" y="134"/>
                  </a:lnTo>
                  <a:lnTo>
                    <a:pt x="300" y="134"/>
                  </a:lnTo>
                  <a:lnTo>
                    <a:pt x="300" y="136"/>
                  </a:lnTo>
                  <a:lnTo>
                    <a:pt x="298" y="136"/>
                  </a:lnTo>
                  <a:lnTo>
                    <a:pt x="296" y="136"/>
                  </a:lnTo>
                  <a:lnTo>
                    <a:pt x="294" y="136"/>
                  </a:lnTo>
                  <a:lnTo>
                    <a:pt x="292" y="136"/>
                  </a:lnTo>
                  <a:lnTo>
                    <a:pt x="292" y="138"/>
                  </a:lnTo>
                  <a:lnTo>
                    <a:pt x="290" y="138"/>
                  </a:lnTo>
                  <a:lnTo>
                    <a:pt x="288" y="138"/>
                  </a:lnTo>
                  <a:lnTo>
                    <a:pt x="286" y="138"/>
                  </a:lnTo>
                  <a:lnTo>
                    <a:pt x="284" y="140"/>
                  </a:lnTo>
                  <a:lnTo>
                    <a:pt x="282" y="140"/>
                  </a:lnTo>
                  <a:lnTo>
                    <a:pt x="280" y="140"/>
                  </a:lnTo>
                  <a:lnTo>
                    <a:pt x="278" y="140"/>
                  </a:lnTo>
                  <a:lnTo>
                    <a:pt x="276" y="140"/>
                  </a:lnTo>
                  <a:lnTo>
                    <a:pt x="276" y="142"/>
                  </a:lnTo>
                  <a:lnTo>
                    <a:pt x="274" y="142"/>
                  </a:lnTo>
                  <a:lnTo>
                    <a:pt x="272" y="142"/>
                  </a:lnTo>
                  <a:lnTo>
                    <a:pt x="270" y="142"/>
                  </a:lnTo>
                  <a:lnTo>
                    <a:pt x="268" y="142"/>
                  </a:lnTo>
                  <a:lnTo>
                    <a:pt x="268" y="144"/>
                  </a:lnTo>
                  <a:lnTo>
                    <a:pt x="266" y="144"/>
                  </a:lnTo>
                  <a:lnTo>
                    <a:pt x="264" y="144"/>
                  </a:lnTo>
                  <a:lnTo>
                    <a:pt x="262" y="144"/>
                  </a:lnTo>
                  <a:lnTo>
                    <a:pt x="260" y="146"/>
                  </a:lnTo>
                  <a:lnTo>
                    <a:pt x="258" y="146"/>
                  </a:lnTo>
                  <a:lnTo>
                    <a:pt x="256" y="146"/>
                  </a:lnTo>
                  <a:lnTo>
                    <a:pt x="254" y="146"/>
                  </a:lnTo>
                  <a:lnTo>
                    <a:pt x="252" y="146"/>
                  </a:lnTo>
                  <a:lnTo>
                    <a:pt x="252" y="148"/>
                  </a:lnTo>
                  <a:lnTo>
                    <a:pt x="250" y="148"/>
                  </a:lnTo>
                  <a:lnTo>
                    <a:pt x="248" y="148"/>
                  </a:lnTo>
                  <a:lnTo>
                    <a:pt x="246" y="148"/>
                  </a:lnTo>
                  <a:lnTo>
                    <a:pt x="244" y="148"/>
                  </a:lnTo>
                  <a:lnTo>
                    <a:pt x="244" y="150"/>
                  </a:lnTo>
                  <a:lnTo>
                    <a:pt x="242" y="150"/>
                  </a:lnTo>
                  <a:lnTo>
                    <a:pt x="240" y="150"/>
                  </a:lnTo>
                  <a:lnTo>
                    <a:pt x="238" y="150"/>
                  </a:lnTo>
                  <a:lnTo>
                    <a:pt x="236" y="150"/>
                  </a:lnTo>
                  <a:lnTo>
                    <a:pt x="234" y="152"/>
                  </a:lnTo>
                  <a:lnTo>
                    <a:pt x="232" y="152"/>
                  </a:lnTo>
                  <a:lnTo>
                    <a:pt x="230" y="152"/>
                  </a:lnTo>
                  <a:lnTo>
                    <a:pt x="228" y="152"/>
                  </a:lnTo>
                  <a:lnTo>
                    <a:pt x="226" y="152"/>
                  </a:lnTo>
                  <a:lnTo>
                    <a:pt x="226" y="154"/>
                  </a:lnTo>
                  <a:lnTo>
                    <a:pt x="224" y="154"/>
                  </a:lnTo>
                  <a:lnTo>
                    <a:pt x="222" y="154"/>
                  </a:lnTo>
                  <a:lnTo>
                    <a:pt x="220" y="154"/>
                  </a:lnTo>
                  <a:lnTo>
                    <a:pt x="220" y="154"/>
                  </a:lnTo>
                  <a:lnTo>
                    <a:pt x="218" y="154"/>
                  </a:lnTo>
                  <a:lnTo>
                    <a:pt x="218" y="156"/>
                  </a:lnTo>
                  <a:lnTo>
                    <a:pt x="216" y="156"/>
                  </a:lnTo>
                  <a:lnTo>
                    <a:pt x="214" y="156"/>
                  </a:lnTo>
                  <a:lnTo>
                    <a:pt x="212" y="156"/>
                  </a:lnTo>
                  <a:lnTo>
                    <a:pt x="210" y="156"/>
                  </a:lnTo>
                  <a:lnTo>
                    <a:pt x="208" y="158"/>
                  </a:lnTo>
                  <a:lnTo>
                    <a:pt x="206" y="158"/>
                  </a:lnTo>
                  <a:lnTo>
                    <a:pt x="204" y="158"/>
                  </a:lnTo>
                  <a:lnTo>
                    <a:pt x="200" y="158"/>
                  </a:lnTo>
                  <a:lnTo>
                    <a:pt x="198" y="160"/>
                  </a:lnTo>
                  <a:lnTo>
                    <a:pt x="196" y="160"/>
                  </a:lnTo>
                  <a:lnTo>
                    <a:pt x="194" y="160"/>
                  </a:lnTo>
                  <a:lnTo>
                    <a:pt x="192" y="160"/>
                  </a:lnTo>
                  <a:lnTo>
                    <a:pt x="190" y="160"/>
                  </a:lnTo>
                  <a:lnTo>
                    <a:pt x="190" y="162"/>
                  </a:lnTo>
                  <a:lnTo>
                    <a:pt x="188" y="162"/>
                  </a:lnTo>
                  <a:lnTo>
                    <a:pt x="186" y="162"/>
                  </a:lnTo>
                  <a:lnTo>
                    <a:pt x="184" y="162"/>
                  </a:lnTo>
                  <a:lnTo>
                    <a:pt x="182" y="162"/>
                  </a:lnTo>
                  <a:lnTo>
                    <a:pt x="180" y="162"/>
                  </a:lnTo>
                  <a:lnTo>
                    <a:pt x="180" y="164"/>
                  </a:lnTo>
                  <a:lnTo>
                    <a:pt x="178" y="164"/>
                  </a:lnTo>
                  <a:lnTo>
                    <a:pt x="176" y="164"/>
                  </a:lnTo>
                  <a:lnTo>
                    <a:pt x="174" y="164"/>
                  </a:lnTo>
                  <a:lnTo>
                    <a:pt x="172" y="164"/>
                  </a:lnTo>
                  <a:lnTo>
                    <a:pt x="172" y="164"/>
                  </a:lnTo>
                  <a:lnTo>
                    <a:pt x="170" y="164"/>
                  </a:lnTo>
                  <a:lnTo>
                    <a:pt x="168" y="164"/>
                  </a:lnTo>
                  <a:lnTo>
                    <a:pt x="166" y="164"/>
                  </a:lnTo>
                  <a:lnTo>
                    <a:pt x="164" y="164"/>
                  </a:lnTo>
                  <a:lnTo>
                    <a:pt x="162" y="164"/>
                  </a:lnTo>
                  <a:lnTo>
                    <a:pt x="160" y="166"/>
                  </a:lnTo>
                  <a:lnTo>
                    <a:pt x="158" y="166"/>
                  </a:lnTo>
                  <a:lnTo>
                    <a:pt x="156" y="166"/>
                  </a:lnTo>
                  <a:lnTo>
                    <a:pt x="154" y="166"/>
                  </a:lnTo>
                  <a:lnTo>
                    <a:pt x="152" y="166"/>
                  </a:lnTo>
                  <a:lnTo>
                    <a:pt x="150" y="166"/>
                  </a:lnTo>
                  <a:lnTo>
                    <a:pt x="150" y="168"/>
                  </a:lnTo>
                  <a:lnTo>
                    <a:pt x="148" y="168"/>
                  </a:lnTo>
                  <a:lnTo>
                    <a:pt x="146" y="168"/>
                  </a:lnTo>
                  <a:lnTo>
                    <a:pt x="144" y="168"/>
                  </a:lnTo>
                  <a:lnTo>
                    <a:pt x="142" y="168"/>
                  </a:lnTo>
                  <a:lnTo>
                    <a:pt x="140" y="168"/>
                  </a:lnTo>
                  <a:lnTo>
                    <a:pt x="138" y="168"/>
                  </a:lnTo>
                  <a:lnTo>
                    <a:pt x="136" y="168"/>
                  </a:lnTo>
                  <a:lnTo>
                    <a:pt x="136" y="170"/>
                  </a:lnTo>
                  <a:lnTo>
                    <a:pt x="134" y="170"/>
                  </a:lnTo>
                  <a:lnTo>
                    <a:pt x="132" y="170"/>
                  </a:lnTo>
                  <a:lnTo>
                    <a:pt x="130" y="170"/>
                  </a:lnTo>
                  <a:lnTo>
                    <a:pt x="128" y="170"/>
                  </a:lnTo>
                  <a:lnTo>
                    <a:pt x="126" y="170"/>
                  </a:lnTo>
                  <a:lnTo>
                    <a:pt x="124" y="170"/>
                  </a:lnTo>
                  <a:lnTo>
                    <a:pt x="124" y="170"/>
                  </a:lnTo>
                  <a:lnTo>
                    <a:pt x="124" y="172"/>
                  </a:lnTo>
                  <a:lnTo>
                    <a:pt x="122" y="172"/>
                  </a:lnTo>
                  <a:lnTo>
                    <a:pt x="120" y="172"/>
                  </a:lnTo>
                  <a:lnTo>
                    <a:pt x="118" y="172"/>
                  </a:lnTo>
                  <a:lnTo>
                    <a:pt x="116" y="172"/>
                  </a:lnTo>
                  <a:lnTo>
                    <a:pt x="114" y="172"/>
                  </a:lnTo>
                  <a:lnTo>
                    <a:pt x="112" y="172"/>
                  </a:lnTo>
                  <a:lnTo>
                    <a:pt x="110" y="172"/>
                  </a:lnTo>
                  <a:lnTo>
                    <a:pt x="110" y="174"/>
                  </a:lnTo>
                  <a:lnTo>
                    <a:pt x="108" y="174"/>
                  </a:lnTo>
                  <a:lnTo>
                    <a:pt x="106" y="174"/>
                  </a:lnTo>
                  <a:lnTo>
                    <a:pt x="104" y="174"/>
                  </a:lnTo>
                  <a:lnTo>
                    <a:pt x="102" y="174"/>
                  </a:lnTo>
                  <a:lnTo>
                    <a:pt x="100" y="174"/>
                  </a:lnTo>
                  <a:lnTo>
                    <a:pt x="98" y="174"/>
                  </a:lnTo>
                  <a:lnTo>
                    <a:pt x="96" y="174"/>
                  </a:lnTo>
                  <a:lnTo>
                    <a:pt x="94" y="174"/>
                  </a:lnTo>
                  <a:lnTo>
                    <a:pt x="94" y="176"/>
                  </a:lnTo>
                  <a:lnTo>
                    <a:pt x="92" y="176"/>
                  </a:lnTo>
                  <a:lnTo>
                    <a:pt x="90" y="176"/>
                  </a:lnTo>
                  <a:lnTo>
                    <a:pt x="88" y="176"/>
                  </a:lnTo>
                  <a:lnTo>
                    <a:pt x="86" y="176"/>
                  </a:lnTo>
                  <a:lnTo>
                    <a:pt x="84" y="176"/>
                  </a:lnTo>
                  <a:lnTo>
                    <a:pt x="86" y="174"/>
                  </a:lnTo>
                  <a:lnTo>
                    <a:pt x="84" y="174"/>
                  </a:lnTo>
                  <a:lnTo>
                    <a:pt x="82" y="176"/>
                  </a:lnTo>
                  <a:lnTo>
                    <a:pt x="80" y="176"/>
                  </a:lnTo>
                  <a:lnTo>
                    <a:pt x="78" y="176"/>
                  </a:lnTo>
                  <a:lnTo>
                    <a:pt x="76" y="176"/>
                  </a:lnTo>
                  <a:lnTo>
                    <a:pt x="76" y="176"/>
                  </a:lnTo>
                  <a:lnTo>
                    <a:pt x="76" y="178"/>
                  </a:lnTo>
                  <a:lnTo>
                    <a:pt x="74" y="178"/>
                  </a:lnTo>
                  <a:lnTo>
                    <a:pt x="72" y="178"/>
                  </a:lnTo>
                  <a:lnTo>
                    <a:pt x="70" y="178"/>
                  </a:lnTo>
                  <a:lnTo>
                    <a:pt x="68" y="178"/>
                  </a:lnTo>
                  <a:lnTo>
                    <a:pt x="66" y="178"/>
                  </a:lnTo>
                  <a:lnTo>
                    <a:pt x="66" y="180"/>
                  </a:lnTo>
                  <a:lnTo>
                    <a:pt x="64" y="180"/>
                  </a:lnTo>
                  <a:lnTo>
                    <a:pt x="62" y="180"/>
                  </a:lnTo>
                  <a:lnTo>
                    <a:pt x="60" y="180"/>
                  </a:lnTo>
                  <a:lnTo>
                    <a:pt x="58" y="180"/>
                  </a:lnTo>
                  <a:lnTo>
                    <a:pt x="56" y="180"/>
                  </a:lnTo>
                  <a:lnTo>
                    <a:pt x="54" y="180"/>
                  </a:lnTo>
                  <a:lnTo>
                    <a:pt x="52" y="180"/>
                  </a:lnTo>
                  <a:lnTo>
                    <a:pt x="52" y="182"/>
                  </a:lnTo>
                  <a:lnTo>
                    <a:pt x="50" y="182"/>
                  </a:lnTo>
                  <a:lnTo>
                    <a:pt x="48" y="182"/>
                  </a:lnTo>
                  <a:lnTo>
                    <a:pt x="46" y="182"/>
                  </a:lnTo>
                  <a:lnTo>
                    <a:pt x="44" y="182"/>
                  </a:lnTo>
                  <a:lnTo>
                    <a:pt x="42" y="182"/>
                  </a:lnTo>
                  <a:lnTo>
                    <a:pt x="40" y="182"/>
                  </a:lnTo>
                  <a:lnTo>
                    <a:pt x="40" y="184"/>
                  </a:lnTo>
                  <a:lnTo>
                    <a:pt x="38" y="184"/>
                  </a:lnTo>
                  <a:lnTo>
                    <a:pt x="36" y="184"/>
                  </a:lnTo>
                  <a:lnTo>
                    <a:pt x="34" y="184"/>
                  </a:lnTo>
                  <a:lnTo>
                    <a:pt x="32" y="184"/>
                  </a:lnTo>
                  <a:lnTo>
                    <a:pt x="30" y="184"/>
                  </a:lnTo>
                  <a:lnTo>
                    <a:pt x="28" y="184"/>
                  </a:lnTo>
                  <a:lnTo>
                    <a:pt x="26" y="184"/>
                  </a:lnTo>
                  <a:lnTo>
                    <a:pt x="26" y="186"/>
                  </a:lnTo>
                  <a:lnTo>
                    <a:pt x="24" y="186"/>
                  </a:lnTo>
                  <a:lnTo>
                    <a:pt x="22" y="186"/>
                  </a:lnTo>
                  <a:lnTo>
                    <a:pt x="20" y="186"/>
                  </a:lnTo>
                  <a:lnTo>
                    <a:pt x="18" y="186"/>
                  </a:lnTo>
                  <a:lnTo>
                    <a:pt x="16" y="186"/>
                  </a:lnTo>
                  <a:lnTo>
                    <a:pt x="14" y="186"/>
                  </a:lnTo>
                  <a:lnTo>
                    <a:pt x="10" y="188"/>
                  </a:lnTo>
                  <a:lnTo>
                    <a:pt x="8" y="188"/>
                  </a:lnTo>
                  <a:lnTo>
                    <a:pt x="6" y="188"/>
                  </a:lnTo>
                  <a:lnTo>
                    <a:pt x="4" y="188"/>
                  </a:lnTo>
                  <a:lnTo>
                    <a:pt x="2" y="188"/>
                  </a:lnTo>
                  <a:lnTo>
                    <a:pt x="0" y="188"/>
                  </a:lnTo>
                  <a:lnTo>
                    <a:pt x="0" y="186"/>
                  </a:lnTo>
                  <a:lnTo>
                    <a:pt x="2" y="186"/>
                  </a:lnTo>
                  <a:lnTo>
                    <a:pt x="4" y="186"/>
                  </a:lnTo>
                  <a:lnTo>
                    <a:pt x="4" y="184"/>
                  </a:lnTo>
                  <a:lnTo>
                    <a:pt x="6" y="184"/>
                  </a:lnTo>
                  <a:lnTo>
                    <a:pt x="8" y="184"/>
                  </a:lnTo>
                  <a:lnTo>
                    <a:pt x="10" y="184"/>
                  </a:lnTo>
                  <a:lnTo>
                    <a:pt x="10" y="182"/>
                  </a:lnTo>
                  <a:lnTo>
                    <a:pt x="12" y="182"/>
                  </a:lnTo>
                  <a:lnTo>
                    <a:pt x="14" y="182"/>
                  </a:lnTo>
                  <a:lnTo>
                    <a:pt x="14" y="180"/>
                  </a:lnTo>
                  <a:lnTo>
                    <a:pt x="16" y="180"/>
                  </a:lnTo>
                  <a:lnTo>
                    <a:pt x="18" y="180"/>
                  </a:lnTo>
                  <a:lnTo>
                    <a:pt x="18" y="178"/>
                  </a:lnTo>
                  <a:lnTo>
                    <a:pt x="20" y="178"/>
                  </a:lnTo>
                  <a:lnTo>
                    <a:pt x="22" y="178"/>
                  </a:lnTo>
                  <a:lnTo>
                    <a:pt x="22" y="176"/>
                  </a:lnTo>
                  <a:lnTo>
                    <a:pt x="22" y="174"/>
                  </a:lnTo>
                  <a:lnTo>
                    <a:pt x="24" y="174"/>
                  </a:lnTo>
                  <a:lnTo>
                    <a:pt x="24" y="172"/>
                  </a:lnTo>
                  <a:lnTo>
                    <a:pt x="24" y="170"/>
                  </a:lnTo>
                  <a:lnTo>
                    <a:pt x="26" y="170"/>
                  </a:lnTo>
                  <a:lnTo>
                    <a:pt x="26" y="170"/>
                  </a:lnTo>
                  <a:lnTo>
                    <a:pt x="28" y="170"/>
                  </a:lnTo>
                  <a:lnTo>
                    <a:pt x="28" y="168"/>
                  </a:lnTo>
                  <a:lnTo>
                    <a:pt x="30" y="168"/>
                  </a:lnTo>
                  <a:lnTo>
                    <a:pt x="32" y="168"/>
                  </a:lnTo>
                  <a:lnTo>
                    <a:pt x="32" y="166"/>
                  </a:lnTo>
                  <a:lnTo>
                    <a:pt x="30" y="166"/>
                  </a:lnTo>
                  <a:lnTo>
                    <a:pt x="32" y="166"/>
                  </a:lnTo>
                  <a:lnTo>
                    <a:pt x="32" y="164"/>
                  </a:lnTo>
                  <a:lnTo>
                    <a:pt x="30" y="164"/>
                  </a:lnTo>
                  <a:lnTo>
                    <a:pt x="30" y="164"/>
                  </a:lnTo>
                  <a:lnTo>
                    <a:pt x="32" y="164"/>
                  </a:lnTo>
                  <a:lnTo>
                    <a:pt x="32" y="162"/>
                  </a:lnTo>
                  <a:lnTo>
                    <a:pt x="34" y="162"/>
                  </a:lnTo>
                  <a:lnTo>
                    <a:pt x="36" y="162"/>
                  </a:lnTo>
                  <a:lnTo>
                    <a:pt x="36" y="160"/>
                  </a:lnTo>
                  <a:lnTo>
                    <a:pt x="36" y="158"/>
                  </a:lnTo>
                  <a:lnTo>
                    <a:pt x="36" y="156"/>
                  </a:lnTo>
                  <a:lnTo>
                    <a:pt x="38" y="156"/>
                  </a:lnTo>
                  <a:lnTo>
                    <a:pt x="38" y="154"/>
                  </a:lnTo>
                  <a:lnTo>
                    <a:pt x="40" y="154"/>
                  </a:lnTo>
                  <a:lnTo>
                    <a:pt x="40" y="152"/>
                  </a:lnTo>
                  <a:lnTo>
                    <a:pt x="42" y="152"/>
                  </a:lnTo>
                  <a:lnTo>
                    <a:pt x="42" y="150"/>
                  </a:lnTo>
                  <a:lnTo>
                    <a:pt x="44" y="150"/>
                  </a:lnTo>
                  <a:lnTo>
                    <a:pt x="44" y="148"/>
                  </a:lnTo>
                  <a:lnTo>
                    <a:pt x="46" y="148"/>
                  </a:lnTo>
                  <a:lnTo>
                    <a:pt x="48" y="148"/>
                  </a:lnTo>
                  <a:lnTo>
                    <a:pt x="48" y="146"/>
                  </a:lnTo>
                  <a:lnTo>
                    <a:pt x="50" y="146"/>
                  </a:lnTo>
                  <a:lnTo>
                    <a:pt x="52" y="146"/>
                  </a:lnTo>
                  <a:lnTo>
                    <a:pt x="52" y="144"/>
                  </a:lnTo>
                  <a:lnTo>
                    <a:pt x="54" y="142"/>
                  </a:lnTo>
                  <a:lnTo>
                    <a:pt x="54" y="140"/>
                  </a:lnTo>
                  <a:lnTo>
                    <a:pt x="56" y="140"/>
                  </a:lnTo>
                  <a:lnTo>
                    <a:pt x="56" y="138"/>
                  </a:lnTo>
                  <a:lnTo>
                    <a:pt x="58" y="138"/>
                  </a:lnTo>
                  <a:lnTo>
                    <a:pt x="58" y="136"/>
                  </a:lnTo>
                  <a:lnTo>
                    <a:pt x="60" y="136"/>
                  </a:lnTo>
                  <a:lnTo>
                    <a:pt x="60" y="134"/>
                  </a:lnTo>
                  <a:lnTo>
                    <a:pt x="62" y="134"/>
                  </a:lnTo>
                  <a:lnTo>
                    <a:pt x="62" y="132"/>
                  </a:lnTo>
                  <a:lnTo>
                    <a:pt x="64" y="130"/>
                  </a:lnTo>
                  <a:lnTo>
                    <a:pt x="64" y="128"/>
                  </a:lnTo>
                  <a:lnTo>
                    <a:pt x="66" y="128"/>
                  </a:lnTo>
                  <a:lnTo>
                    <a:pt x="68" y="128"/>
                  </a:lnTo>
                  <a:lnTo>
                    <a:pt x="68" y="130"/>
                  </a:lnTo>
                  <a:lnTo>
                    <a:pt x="66" y="130"/>
                  </a:lnTo>
                  <a:lnTo>
                    <a:pt x="66" y="132"/>
                  </a:lnTo>
                  <a:lnTo>
                    <a:pt x="68" y="132"/>
                  </a:lnTo>
                  <a:lnTo>
                    <a:pt x="68" y="134"/>
                  </a:lnTo>
                  <a:lnTo>
                    <a:pt x="68" y="136"/>
                  </a:lnTo>
                  <a:lnTo>
                    <a:pt x="70" y="136"/>
                  </a:lnTo>
                  <a:lnTo>
                    <a:pt x="70" y="138"/>
                  </a:lnTo>
                  <a:lnTo>
                    <a:pt x="72" y="138"/>
                  </a:lnTo>
                  <a:lnTo>
                    <a:pt x="72" y="140"/>
                  </a:lnTo>
                  <a:lnTo>
                    <a:pt x="74" y="140"/>
                  </a:lnTo>
                  <a:lnTo>
                    <a:pt x="76" y="140"/>
                  </a:lnTo>
                  <a:lnTo>
                    <a:pt x="76" y="140"/>
                  </a:lnTo>
                  <a:lnTo>
                    <a:pt x="76" y="142"/>
                  </a:lnTo>
                  <a:lnTo>
                    <a:pt x="78" y="142"/>
                  </a:lnTo>
                  <a:lnTo>
                    <a:pt x="78" y="144"/>
                  </a:lnTo>
                  <a:lnTo>
                    <a:pt x="80" y="144"/>
                  </a:lnTo>
                  <a:lnTo>
                    <a:pt x="82" y="144"/>
                  </a:lnTo>
                  <a:lnTo>
                    <a:pt x="84" y="144"/>
                  </a:lnTo>
                  <a:lnTo>
                    <a:pt x="84" y="142"/>
                  </a:lnTo>
                  <a:lnTo>
                    <a:pt x="86" y="142"/>
                  </a:lnTo>
                  <a:lnTo>
                    <a:pt x="86" y="140"/>
                  </a:lnTo>
                  <a:lnTo>
                    <a:pt x="88" y="140"/>
                  </a:lnTo>
                  <a:lnTo>
                    <a:pt x="88" y="138"/>
                  </a:lnTo>
                  <a:lnTo>
                    <a:pt x="90" y="138"/>
                  </a:lnTo>
                  <a:lnTo>
                    <a:pt x="90" y="136"/>
                  </a:lnTo>
                  <a:lnTo>
                    <a:pt x="92" y="136"/>
                  </a:lnTo>
                  <a:lnTo>
                    <a:pt x="92" y="134"/>
                  </a:lnTo>
                  <a:lnTo>
                    <a:pt x="92" y="136"/>
                  </a:lnTo>
                  <a:lnTo>
                    <a:pt x="94" y="136"/>
                  </a:lnTo>
                  <a:lnTo>
                    <a:pt x="96" y="136"/>
                  </a:lnTo>
                  <a:lnTo>
                    <a:pt x="96" y="138"/>
                  </a:lnTo>
                  <a:lnTo>
                    <a:pt x="98" y="138"/>
                  </a:lnTo>
                  <a:lnTo>
                    <a:pt x="100" y="140"/>
                  </a:lnTo>
                  <a:lnTo>
                    <a:pt x="100" y="138"/>
                  </a:lnTo>
                  <a:lnTo>
                    <a:pt x="102" y="138"/>
                  </a:lnTo>
                  <a:lnTo>
                    <a:pt x="102" y="136"/>
                  </a:lnTo>
                  <a:lnTo>
                    <a:pt x="104" y="136"/>
                  </a:lnTo>
                  <a:lnTo>
                    <a:pt x="106" y="136"/>
                  </a:lnTo>
                  <a:lnTo>
                    <a:pt x="106" y="134"/>
                  </a:lnTo>
                  <a:lnTo>
                    <a:pt x="108" y="134"/>
                  </a:lnTo>
                  <a:lnTo>
                    <a:pt x="110" y="134"/>
                  </a:lnTo>
                  <a:lnTo>
                    <a:pt x="112" y="134"/>
                  </a:lnTo>
                  <a:lnTo>
                    <a:pt x="112" y="132"/>
                  </a:lnTo>
                  <a:lnTo>
                    <a:pt x="114" y="132"/>
                  </a:lnTo>
                  <a:lnTo>
                    <a:pt x="114" y="130"/>
                  </a:lnTo>
                  <a:lnTo>
                    <a:pt x="114" y="128"/>
                  </a:lnTo>
                  <a:lnTo>
                    <a:pt x="112" y="128"/>
                  </a:lnTo>
                  <a:lnTo>
                    <a:pt x="114" y="128"/>
                  </a:lnTo>
                  <a:lnTo>
                    <a:pt x="114" y="126"/>
                  </a:lnTo>
                  <a:lnTo>
                    <a:pt x="116" y="126"/>
                  </a:lnTo>
                  <a:lnTo>
                    <a:pt x="116" y="128"/>
                  </a:lnTo>
                  <a:lnTo>
                    <a:pt x="118" y="128"/>
                  </a:lnTo>
                  <a:lnTo>
                    <a:pt x="120" y="128"/>
                  </a:lnTo>
                  <a:lnTo>
                    <a:pt x="120" y="126"/>
                  </a:lnTo>
                  <a:lnTo>
                    <a:pt x="122" y="126"/>
                  </a:lnTo>
                  <a:lnTo>
                    <a:pt x="122" y="124"/>
                  </a:lnTo>
                  <a:lnTo>
                    <a:pt x="124" y="124"/>
                  </a:lnTo>
                  <a:lnTo>
                    <a:pt x="124" y="122"/>
                  </a:lnTo>
                  <a:lnTo>
                    <a:pt x="124" y="122"/>
                  </a:lnTo>
                  <a:lnTo>
                    <a:pt x="124" y="120"/>
                  </a:lnTo>
                  <a:lnTo>
                    <a:pt x="126" y="120"/>
                  </a:lnTo>
                  <a:lnTo>
                    <a:pt x="126" y="122"/>
                  </a:lnTo>
                  <a:lnTo>
                    <a:pt x="128" y="122"/>
                  </a:lnTo>
                  <a:lnTo>
                    <a:pt x="128" y="124"/>
                  </a:lnTo>
                  <a:lnTo>
                    <a:pt x="128" y="122"/>
                  </a:lnTo>
                  <a:lnTo>
                    <a:pt x="130" y="122"/>
                  </a:lnTo>
                  <a:lnTo>
                    <a:pt x="130" y="120"/>
                  </a:lnTo>
                  <a:lnTo>
                    <a:pt x="132" y="120"/>
                  </a:lnTo>
                  <a:lnTo>
                    <a:pt x="132" y="118"/>
                  </a:lnTo>
                  <a:lnTo>
                    <a:pt x="134" y="118"/>
                  </a:lnTo>
                  <a:lnTo>
                    <a:pt x="134" y="116"/>
                  </a:lnTo>
                  <a:lnTo>
                    <a:pt x="136" y="116"/>
                  </a:lnTo>
                  <a:lnTo>
                    <a:pt x="134" y="116"/>
                  </a:lnTo>
                  <a:lnTo>
                    <a:pt x="134" y="116"/>
                  </a:lnTo>
                  <a:lnTo>
                    <a:pt x="134" y="114"/>
                  </a:lnTo>
                  <a:lnTo>
                    <a:pt x="136" y="114"/>
                  </a:lnTo>
                  <a:lnTo>
                    <a:pt x="136" y="112"/>
                  </a:lnTo>
                  <a:lnTo>
                    <a:pt x="138" y="112"/>
                  </a:lnTo>
                  <a:lnTo>
                    <a:pt x="136" y="112"/>
                  </a:lnTo>
                  <a:lnTo>
                    <a:pt x="134" y="112"/>
                  </a:lnTo>
                  <a:lnTo>
                    <a:pt x="134" y="110"/>
                  </a:lnTo>
                  <a:lnTo>
                    <a:pt x="134" y="108"/>
                  </a:lnTo>
                  <a:lnTo>
                    <a:pt x="134" y="106"/>
                  </a:lnTo>
                  <a:lnTo>
                    <a:pt x="134" y="104"/>
                  </a:lnTo>
                  <a:lnTo>
                    <a:pt x="136" y="104"/>
                  </a:lnTo>
                  <a:lnTo>
                    <a:pt x="136" y="102"/>
                  </a:lnTo>
                  <a:lnTo>
                    <a:pt x="136" y="100"/>
                  </a:lnTo>
                  <a:lnTo>
                    <a:pt x="136" y="98"/>
                  </a:lnTo>
                  <a:lnTo>
                    <a:pt x="138" y="98"/>
                  </a:lnTo>
                  <a:lnTo>
                    <a:pt x="138" y="96"/>
                  </a:lnTo>
                  <a:lnTo>
                    <a:pt x="140" y="96"/>
                  </a:lnTo>
                  <a:lnTo>
                    <a:pt x="140" y="94"/>
                  </a:lnTo>
                  <a:lnTo>
                    <a:pt x="140" y="92"/>
                  </a:lnTo>
                  <a:lnTo>
                    <a:pt x="142" y="92"/>
                  </a:lnTo>
                  <a:lnTo>
                    <a:pt x="142" y="90"/>
                  </a:lnTo>
                  <a:lnTo>
                    <a:pt x="144" y="90"/>
                  </a:lnTo>
                  <a:lnTo>
                    <a:pt x="144" y="88"/>
                  </a:lnTo>
                  <a:lnTo>
                    <a:pt x="144" y="86"/>
                  </a:lnTo>
                  <a:lnTo>
                    <a:pt x="144" y="84"/>
                  </a:lnTo>
                  <a:lnTo>
                    <a:pt x="144" y="82"/>
                  </a:lnTo>
                  <a:lnTo>
                    <a:pt x="144" y="80"/>
                  </a:lnTo>
                  <a:lnTo>
                    <a:pt x="144" y="78"/>
                  </a:lnTo>
                  <a:lnTo>
                    <a:pt x="146" y="78"/>
                  </a:lnTo>
                  <a:lnTo>
                    <a:pt x="146" y="76"/>
                  </a:lnTo>
                  <a:lnTo>
                    <a:pt x="148" y="76"/>
                  </a:lnTo>
                  <a:lnTo>
                    <a:pt x="148" y="74"/>
                  </a:lnTo>
                  <a:lnTo>
                    <a:pt x="150" y="74"/>
                  </a:lnTo>
                  <a:lnTo>
                    <a:pt x="150" y="72"/>
                  </a:lnTo>
                  <a:lnTo>
                    <a:pt x="148" y="72"/>
                  </a:lnTo>
                  <a:lnTo>
                    <a:pt x="148" y="70"/>
                  </a:lnTo>
                  <a:lnTo>
                    <a:pt x="150" y="70"/>
                  </a:lnTo>
                  <a:lnTo>
                    <a:pt x="150" y="68"/>
                  </a:lnTo>
                  <a:lnTo>
                    <a:pt x="150" y="68"/>
                  </a:lnTo>
                  <a:lnTo>
                    <a:pt x="152" y="68"/>
                  </a:lnTo>
                  <a:lnTo>
                    <a:pt x="152" y="66"/>
                  </a:lnTo>
                  <a:lnTo>
                    <a:pt x="152" y="64"/>
                  </a:lnTo>
                  <a:lnTo>
                    <a:pt x="150" y="64"/>
                  </a:lnTo>
                  <a:lnTo>
                    <a:pt x="152" y="64"/>
                  </a:lnTo>
                  <a:lnTo>
                    <a:pt x="150" y="62"/>
                  </a:lnTo>
                  <a:lnTo>
                    <a:pt x="152" y="62"/>
                  </a:lnTo>
                  <a:lnTo>
                    <a:pt x="152" y="60"/>
                  </a:lnTo>
                  <a:lnTo>
                    <a:pt x="152" y="58"/>
                  </a:lnTo>
                  <a:lnTo>
                    <a:pt x="152" y="56"/>
                  </a:lnTo>
                  <a:lnTo>
                    <a:pt x="154" y="58"/>
                  </a:lnTo>
                  <a:lnTo>
                    <a:pt x="156" y="58"/>
                  </a:lnTo>
                  <a:lnTo>
                    <a:pt x="158" y="58"/>
                  </a:lnTo>
                  <a:lnTo>
                    <a:pt x="158" y="60"/>
                  </a:lnTo>
                  <a:lnTo>
                    <a:pt x="160" y="60"/>
                  </a:lnTo>
                  <a:lnTo>
                    <a:pt x="160" y="62"/>
                  </a:lnTo>
                  <a:lnTo>
                    <a:pt x="162" y="62"/>
                  </a:lnTo>
                  <a:lnTo>
                    <a:pt x="164" y="62"/>
                  </a:lnTo>
                  <a:lnTo>
                    <a:pt x="164" y="64"/>
                  </a:lnTo>
                  <a:lnTo>
                    <a:pt x="166" y="64"/>
                  </a:lnTo>
                  <a:lnTo>
                    <a:pt x="168" y="64"/>
                  </a:lnTo>
                  <a:lnTo>
                    <a:pt x="168" y="62"/>
                  </a:lnTo>
                  <a:lnTo>
                    <a:pt x="170" y="62"/>
                  </a:lnTo>
                  <a:lnTo>
                    <a:pt x="170" y="60"/>
                  </a:lnTo>
                  <a:lnTo>
                    <a:pt x="172" y="60"/>
                  </a:lnTo>
                  <a:lnTo>
                    <a:pt x="172" y="58"/>
                  </a:lnTo>
                  <a:lnTo>
                    <a:pt x="172" y="56"/>
                  </a:lnTo>
                  <a:lnTo>
                    <a:pt x="172" y="54"/>
                  </a:lnTo>
                  <a:lnTo>
                    <a:pt x="172" y="52"/>
                  </a:lnTo>
                  <a:lnTo>
                    <a:pt x="172" y="50"/>
                  </a:lnTo>
                  <a:lnTo>
                    <a:pt x="172" y="50"/>
                  </a:lnTo>
                  <a:lnTo>
                    <a:pt x="172" y="48"/>
                  </a:lnTo>
                  <a:lnTo>
                    <a:pt x="172" y="46"/>
                  </a:lnTo>
                  <a:lnTo>
                    <a:pt x="172" y="44"/>
                  </a:lnTo>
                  <a:lnTo>
                    <a:pt x="172" y="42"/>
                  </a:lnTo>
                  <a:lnTo>
                    <a:pt x="174" y="42"/>
                  </a:lnTo>
                  <a:lnTo>
                    <a:pt x="172" y="42"/>
                  </a:lnTo>
                  <a:lnTo>
                    <a:pt x="174" y="40"/>
                  </a:lnTo>
                  <a:lnTo>
                    <a:pt x="174" y="38"/>
                  </a:lnTo>
                  <a:lnTo>
                    <a:pt x="176" y="38"/>
                  </a:lnTo>
                  <a:lnTo>
                    <a:pt x="178" y="38"/>
                  </a:lnTo>
                  <a:lnTo>
                    <a:pt x="178" y="40"/>
                  </a:lnTo>
                  <a:lnTo>
                    <a:pt x="180" y="40"/>
                  </a:lnTo>
                  <a:lnTo>
                    <a:pt x="182" y="40"/>
                  </a:lnTo>
                  <a:lnTo>
                    <a:pt x="182" y="38"/>
                  </a:lnTo>
                  <a:lnTo>
                    <a:pt x="182" y="36"/>
                  </a:lnTo>
                  <a:lnTo>
                    <a:pt x="182" y="34"/>
                  </a:lnTo>
                  <a:lnTo>
                    <a:pt x="184" y="34"/>
                  </a:lnTo>
                  <a:lnTo>
                    <a:pt x="184" y="32"/>
                  </a:lnTo>
                  <a:lnTo>
                    <a:pt x="184" y="30"/>
                  </a:lnTo>
                  <a:lnTo>
                    <a:pt x="186" y="30"/>
                  </a:lnTo>
                  <a:lnTo>
                    <a:pt x="186" y="32"/>
                  </a:lnTo>
                  <a:lnTo>
                    <a:pt x="186" y="30"/>
                  </a:lnTo>
                  <a:lnTo>
                    <a:pt x="188" y="30"/>
                  </a:lnTo>
                  <a:lnTo>
                    <a:pt x="188" y="28"/>
                  </a:lnTo>
                  <a:lnTo>
                    <a:pt x="188" y="26"/>
                  </a:lnTo>
                  <a:lnTo>
                    <a:pt x="190" y="26"/>
                  </a:lnTo>
                  <a:lnTo>
                    <a:pt x="190" y="28"/>
                  </a:lnTo>
                  <a:lnTo>
                    <a:pt x="190" y="26"/>
                  </a:lnTo>
                  <a:lnTo>
                    <a:pt x="190" y="28"/>
                  </a:lnTo>
                  <a:lnTo>
                    <a:pt x="190" y="26"/>
                  </a:lnTo>
                  <a:lnTo>
                    <a:pt x="192" y="24"/>
                  </a:lnTo>
                  <a:lnTo>
                    <a:pt x="190" y="24"/>
                  </a:lnTo>
                  <a:lnTo>
                    <a:pt x="190" y="22"/>
                  </a:lnTo>
                  <a:lnTo>
                    <a:pt x="192" y="22"/>
                  </a:lnTo>
                  <a:lnTo>
                    <a:pt x="192" y="20"/>
                  </a:lnTo>
                  <a:lnTo>
                    <a:pt x="194" y="20"/>
                  </a:lnTo>
                  <a:lnTo>
                    <a:pt x="194" y="18"/>
                  </a:lnTo>
                  <a:lnTo>
                    <a:pt x="196" y="18"/>
                  </a:lnTo>
                  <a:lnTo>
                    <a:pt x="196" y="16"/>
                  </a:lnTo>
                  <a:lnTo>
                    <a:pt x="194" y="16"/>
                  </a:lnTo>
                  <a:lnTo>
                    <a:pt x="194" y="14"/>
                  </a:lnTo>
                  <a:lnTo>
                    <a:pt x="196" y="14"/>
                  </a:lnTo>
                  <a:lnTo>
                    <a:pt x="196" y="12"/>
                  </a:lnTo>
                  <a:lnTo>
                    <a:pt x="194" y="12"/>
                  </a:lnTo>
                  <a:lnTo>
                    <a:pt x="194" y="10"/>
                  </a:lnTo>
                  <a:lnTo>
                    <a:pt x="196" y="10"/>
                  </a:lnTo>
                  <a:lnTo>
                    <a:pt x="196" y="8"/>
                  </a:lnTo>
                  <a:lnTo>
                    <a:pt x="196" y="6"/>
                  </a:lnTo>
                  <a:lnTo>
                    <a:pt x="196" y="4"/>
                  </a:lnTo>
                  <a:lnTo>
                    <a:pt x="196" y="2"/>
                  </a:lnTo>
                  <a:lnTo>
                    <a:pt x="196" y="0"/>
                  </a:lnTo>
                  <a:lnTo>
                    <a:pt x="194" y="0"/>
                  </a:lnTo>
                  <a:lnTo>
                    <a:pt x="196" y="0"/>
                  </a:lnTo>
                  <a:lnTo>
                    <a:pt x="196" y="2"/>
                  </a:lnTo>
                  <a:lnTo>
                    <a:pt x="198" y="2"/>
                  </a:lnTo>
                  <a:lnTo>
                    <a:pt x="200" y="2"/>
                  </a:lnTo>
                  <a:lnTo>
                    <a:pt x="200" y="4"/>
                  </a:lnTo>
                  <a:lnTo>
                    <a:pt x="202" y="4"/>
                  </a:lnTo>
                  <a:lnTo>
                    <a:pt x="204" y="4"/>
                  </a:lnTo>
                  <a:lnTo>
                    <a:pt x="204" y="6"/>
                  </a:lnTo>
                  <a:lnTo>
                    <a:pt x="206" y="6"/>
                  </a:lnTo>
                  <a:lnTo>
                    <a:pt x="208" y="6"/>
                  </a:lnTo>
                  <a:lnTo>
                    <a:pt x="208" y="8"/>
                  </a:lnTo>
                  <a:lnTo>
                    <a:pt x="210" y="8"/>
                  </a:lnTo>
                  <a:lnTo>
                    <a:pt x="212" y="8"/>
                  </a:lnTo>
                  <a:lnTo>
                    <a:pt x="212" y="10"/>
                  </a:lnTo>
                  <a:lnTo>
                    <a:pt x="214" y="10"/>
                  </a:lnTo>
                  <a:lnTo>
                    <a:pt x="216" y="10"/>
                  </a:lnTo>
                  <a:close/>
                  <a:moveTo>
                    <a:pt x="322" y="74"/>
                  </a:moveTo>
                  <a:lnTo>
                    <a:pt x="320" y="74"/>
                  </a:lnTo>
                  <a:lnTo>
                    <a:pt x="318" y="74"/>
                  </a:lnTo>
                  <a:lnTo>
                    <a:pt x="316" y="74"/>
                  </a:lnTo>
                  <a:lnTo>
                    <a:pt x="316" y="74"/>
                  </a:lnTo>
                  <a:lnTo>
                    <a:pt x="316" y="74"/>
                  </a:lnTo>
                  <a:lnTo>
                    <a:pt x="316" y="74"/>
                  </a:lnTo>
                  <a:lnTo>
                    <a:pt x="316" y="74"/>
                  </a:lnTo>
                  <a:lnTo>
                    <a:pt x="318" y="74"/>
                  </a:lnTo>
                  <a:lnTo>
                    <a:pt x="316" y="74"/>
                  </a:lnTo>
                  <a:lnTo>
                    <a:pt x="318" y="74"/>
                  </a:lnTo>
                  <a:lnTo>
                    <a:pt x="316" y="74"/>
                  </a:lnTo>
                  <a:lnTo>
                    <a:pt x="316" y="72"/>
                  </a:lnTo>
                  <a:lnTo>
                    <a:pt x="316" y="72"/>
                  </a:lnTo>
                  <a:lnTo>
                    <a:pt x="316" y="72"/>
                  </a:lnTo>
                  <a:lnTo>
                    <a:pt x="316" y="72"/>
                  </a:lnTo>
                  <a:lnTo>
                    <a:pt x="316" y="72"/>
                  </a:lnTo>
                  <a:lnTo>
                    <a:pt x="316" y="72"/>
                  </a:lnTo>
                  <a:lnTo>
                    <a:pt x="316" y="72"/>
                  </a:lnTo>
                  <a:lnTo>
                    <a:pt x="316" y="70"/>
                  </a:lnTo>
                  <a:lnTo>
                    <a:pt x="316" y="72"/>
                  </a:lnTo>
                  <a:lnTo>
                    <a:pt x="316" y="70"/>
                  </a:lnTo>
                  <a:lnTo>
                    <a:pt x="316" y="72"/>
                  </a:lnTo>
                  <a:lnTo>
                    <a:pt x="318" y="72"/>
                  </a:lnTo>
                  <a:lnTo>
                    <a:pt x="316" y="72"/>
                  </a:lnTo>
                  <a:lnTo>
                    <a:pt x="318" y="72"/>
                  </a:lnTo>
                  <a:lnTo>
                    <a:pt x="318" y="70"/>
                  </a:lnTo>
                  <a:lnTo>
                    <a:pt x="318" y="72"/>
                  </a:lnTo>
                  <a:lnTo>
                    <a:pt x="318" y="70"/>
                  </a:lnTo>
                  <a:lnTo>
                    <a:pt x="316" y="70"/>
                  </a:lnTo>
                  <a:lnTo>
                    <a:pt x="318" y="70"/>
                  </a:lnTo>
                  <a:lnTo>
                    <a:pt x="316" y="70"/>
                  </a:lnTo>
                  <a:lnTo>
                    <a:pt x="316" y="68"/>
                  </a:lnTo>
                  <a:lnTo>
                    <a:pt x="318" y="68"/>
                  </a:lnTo>
                  <a:lnTo>
                    <a:pt x="320" y="68"/>
                  </a:lnTo>
                  <a:lnTo>
                    <a:pt x="318" y="68"/>
                  </a:lnTo>
                  <a:lnTo>
                    <a:pt x="320" y="68"/>
                  </a:lnTo>
                  <a:lnTo>
                    <a:pt x="320" y="68"/>
                  </a:lnTo>
                  <a:lnTo>
                    <a:pt x="320" y="68"/>
                  </a:lnTo>
                  <a:lnTo>
                    <a:pt x="320" y="68"/>
                  </a:lnTo>
                  <a:lnTo>
                    <a:pt x="320" y="68"/>
                  </a:lnTo>
                  <a:lnTo>
                    <a:pt x="318" y="68"/>
                  </a:lnTo>
                  <a:lnTo>
                    <a:pt x="316" y="68"/>
                  </a:lnTo>
                  <a:lnTo>
                    <a:pt x="318" y="68"/>
                  </a:lnTo>
                  <a:lnTo>
                    <a:pt x="316" y="68"/>
                  </a:lnTo>
                  <a:lnTo>
                    <a:pt x="316" y="68"/>
                  </a:lnTo>
                  <a:lnTo>
                    <a:pt x="318" y="68"/>
                  </a:lnTo>
                  <a:lnTo>
                    <a:pt x="318" y="68"/>
                  </a:lnTo>
                  <a:lnTo>
                    <a:pt x="318" y="68"/>
                  </a:lnTo>
                  <a:lnTo>
                    <a:pt x="316" y="68"/>
                  </a:lnTo>
                  <a:lnTo>
                    <a:pt x="318" y="68"/>
                  </a:lnTo>
                  <a:lnTo>
                    <a:pt x="316" y="68"/>
                  </a:lnTo>
                  <a:lnTo>
                    <a:pt x="318" y="68"/>
                  </a:lnTo>
                  <a:lnTo>
                    <a:pt x="318" y="66"/>
                  </a:lnTo>
                  <a:lnTo>
                    <a:pt x="318" y="68"/>
                  </a:lnTo>
                  <a:lnTo>
                    <a:pt x="318" y="66"/>
                  </a:lnTo>
                  <a:lnTo>
                    <a:pt x="318" y="68"/>
                  </a:lnTo>
                  <a:lnTo>
                    <a:pt x="318" y="66"/>
                  </a:lnTo>
                  <a:lnTo>
                    <a:pt x="320" y="68"/>
                  </a:lnTo>
                  <a:lnTo>
                    <a:pt x="320" y="66"/>
                  </a:lnTo>
                  <a:lnTo>
                    <a:pt x="318" y="66"/>
                  </a:lnTo>
                  <a:lnTo>
                    <a:pt x="320" y="66"/>
                  </a:lnTo>
                  <a:lnTo>
                    <a:pt x="320" y="68"/>
                  </a:lnTo>
                  <a:lnTo>
                    <a:pt x="320" y="66"/>
                  </a:lnTo>
                  <a:lnTo>
                    <a:pt x="320" y="68"/>
                  </a:lnTo>
                  <a:lnTo>
                    <a:pt x="320" y="66"/>
                  </a:lnTo>
                  <a:lnTo>
                    <a:pt x="318" y="66"/>
                  </a:lnTo>
                  <a:lnTo>
                    <a:pt x="318" y="64"/>
                  </a:lnTo>
                  <a:lnTo>
                    <a:pt x="320" y="64"/>
                  </a:lnTo>
                  <a:lnTo>
                    <a:pt x="320" y="66"/>
                  </a:lnTo>
                  <a:lnTo>
                    <a:pt x="320" y="64"/>
                  </a:lnTo>
                  <a:lnTo>
                    <a:pt x="318" y="64"/>
                  </a:lnTo>
                  <a:lnTo>
                    <a:pt x="318" y="62"/>
                  </a:lnTo>
                  <a:lnTo>
                    <a:pt x="318" y="64"/>
                  </a:lnTo>
                  <a:lnTo>
                    <a:pt x="318" y="62"/>
                  </a:lnTo>
                  <a:lnTo>
                    <a:pt x="318" y="64"/>
                  </a:lnTo>
                  <a:lnTo>
                    <a:pt x="316" y="62"/>
                  </a:lnTo>
                  <a:lnTo>
                    <a:pt x="318" y="62"/>
                  </a:lnTo>
                  <a:lnTo>
                    <a:pt x="318" y="64"/>
                  </a:lnTo>
                  <a:lnTo>
                    <a:pt x="316" y="64"/>
                  </a:lnTo>
                  <a:lnTo>
                    <a:pt x="318" y="64"/>
                  </a:lnTo>
                  <a:lnTo>
                    <a:pt x="318" y="62"/>
                  </a:lnTo>
                  <a:lnTo>
                    <a:pt x="318" y="64"/>
                  </a:lnTo>
                  <a:lnTo>
                    <a:pt x="318" y="62"/>
                  </a:lnTo>
                  <a:lnTo>
                    <a:pt x="316" y="62"/>
                  </a:lnTo>
                  <a:lnTo>
                    <a:pt x="318" y="62"/>
                  </a:lnTo>
                  <a:lnTo>
                    <a:pt x="320" y="62"/>
                  </a:lnTo>
                  <a:lnTo>
                    <a:pt x="318" y="62"/>
                  </a:lnTo>
                  <a:lnTo>
                    <a:pt x="318" y="64"/>
                  </a:lnTo>
                  <a:lnTo>
                    <a:pt x="318" y="62"/>
                  </a:lnTo>
                  <a:lnTo>
                    <a:pt x="320" y="62"/>
                  </a:lnTo>
                  <a:lnTo>
                    <a:pt x="318" y="62"/>
                  </a:lnTo>
                  <a:lnTo>
                    <a:pt x="320" y="62"/>
                  </a:lnTo>
                  <a:lnTo>
                    <a:pt x="320" y="64"/>
                  </a:lnTo>
                  <a:lnTo>
                    <a:pt x="320" y="62"/>
                  </a:lnTo>
                  <a:lnTo>
                    <a:pt x="322" y="62"/>
                  </a:lnTo>
                  <a:lnTo>
                    <a:pt x="320" y="62"/>
                  </a:lnTo>
                  <a:lnTo>
                    <a:pt x="322" y="62"/>
                  </a:lnTo>
                  <a:lnTo>
                    <a:pt x="320" y="62"/>
                  </a:lnTo>
                  <a:lnTo>
                    <a:pt x="322" y="62"/>
                  </a:lnTo>
                  <a:lnTo>
                    <a:pt x="322" y="60"/>
                  </a:lnTo>
                  <a:lnTo>
                    <a:pt x="322" y="62"/>
                  </a:lnTo>
                  <a:lnTo>
                    <a:pt x="322" y="60"/>
                  </a:lnTo>
                  <a:lnTo>
                    <a:pt x="322" y="62"/>
                  </a:lnTo>
                  <a:lnTo>
                    <a:pt x="322" y="60"/>
                  </a:lnTo>
                  <a:lnTo>
                    <a:pt x="322" y="62"/>
                  </a:lnTo>
                  <a:lnTo>
                    <a:pt x="320" y="62"/>
                  </a:lnTo>
                  <a:lnTo>
                    <a:pt x="322" y="62"/>
                  </a:lnTo>
                  <a:lnTo>
                    <a:pt x="320" y="62"/>
                  </a:lnTo>
                  <a:lnTo>
                    <a:pt x="320" y="60"/>
                  </a:lnTo>
                  <a:lnTo>
                    <a:pt x="320" y="62"/>
                  </a:lnTo>
                  <a:lnTo>
                    <a:pt x="320" y="60"/>
                  </a:lnTo>
                  <a:lnTo>
                    <a:pt x="322" y="60"/>
                  </a:lnTo>
                  <a:lnTo>
                    <a:pt x="320" y="60"/>
                  </a:lnTo>
                  <a:lnTo>
                    <a:pt x="322" y="60"/>
                  </a:lnTo>
                  <a:lnTo>
                    <a:pt x="320" y="60"/>
                  </a:lnTo>
                  <a:lnTo>
                    <a:pt x="322" y="60"/>
                  </a:lnTo>
                  <a:lnTo>
                    <a:pt x="320" y="60"/>
                  </a:lnTo>
                  <a:lnTo>
                    <a:pt x="322" y="60"/>
                  </a:lnTo>
                  <a:lnTo>
                    <a:pt x="320" y="60"/>
                  </a:lnTo>
                  <a:lnTo>
                    <a:pt x="320" y="58"/>
                  </a:lnTo>
                  <a:lnTo>
                    <a:pt x="320" y="60"/>
                  </a:lnTo>
                  <a:lnTo>
                    <a:pt x="320" y="58"/>
                  </a:lnTo>
                  <a:lnTo>
                    <a:pt x="322" y="58"/>
                  </a:lnTo>
                  <a:lnTo>
                    <a:pt x="320" y="58"/>
                  </a:lnTo>
                  <a:lnTo>
                    <a:pt x="322" y="58"/>
                  </a:lnTo>
                  <a:lnTo>
                    <a:pt x="322" y="60"/>
                  </a:lnTo>
                  <a:lnTo>
                    <a:pt x="322" y="58"/>
                  </a:lnTo>
                  <a:lnTo>
                    <a:pt x="322" y="60"/>
                  </a:lnTo>
                  <a:lnTo>
                    <a:pt x="322" y="58"/>
                  </a:lnTo>
                  <a:lnTo>
                    <a:pt x="322" y="60"/>
                  </a:lnTo>
                  <a:lnTo>
                    <a:pt x="324" y="60"/>
                  </a:lnTo>
                  <a:lnTo>
                    <a:pt x="324" y="58"/>
                  </a:lnTo>
                  <a:lnTo>
                    <a:pt x="324" y="60"/>
                  </a:lnTo>
                  <a:lnTo>
                    <a:pt x="324" y="58"/>
                  </a:lnTo>
                  <a:lnTo>
                    <a:pt x="322" y="58"/>
                  </a:lnTo>
                  <a:lnTo>
                    <a:pt x="324" y="58"/>
                  </a:lnTo>
                  <a:lnTo>
                    <a:pt x="322" y="58"/>
                  </a:lnTo>
                  <a:lnTo>
                    <a:pt x="322" y="56"/>
                  </a:lnTo>
                  <a:lnTo>
                    <a:pt x="322" y="58"/>
                  </a:lnTo>
                  <a:lnTo>
                    <a:pt x="322" y="56"/>
                  </a:lnTo>
                  <a:lnTo>
                    <a:pt x="320" y="56"/>
                  </a:lnTo>
                  <a:lnTo>
                    <a:pt x="322" y="56"/>
                  </a:lnTo>
                  <a:lnTo>
                    <a:pt x="320" y="56"/>
                  </a:lnTo>
                  <a:lnTo>
                    <a:pt x="322" y="56"/>
                  </a:lnTo>
                  <a:lnTo>
                    <a:pt x="322" y="54"/>
                  </a:lnTo>
                  <a:lnTo>
                    <a:pt x="322" y="56"/>
                  </a:lnTo>
                  <a:lnTo>
                    <a:pt x="320" y="56"/>
                  </a:lnTo>
                  <a:lnTo>
                    <a:pt x="318" y="56"/>
                  </a:lnTo>
                  <a:lnTo>
                    <a:pt x="320" y="56"/>
                  </a:lnTo>
                  <a:lnTo>
                    <a:pt x="318" y="56"/>
                  </a:lnTo>
                  <a:lnTo>
                    <a:pt x="318" y="54"/>
                  </a:lnTo>
                  <a:lnTo>
                    <a:pt x="320" y="54"/>
                  </a:lnTo>
                  <a:lnTo>
                    <a:pt x="322" y="54"/>
                  </a:lnTo>
                  <a:lnTo>
                    <a:pt x="322" y="52"/>
                  </a:lnTo>
                  <a:lnTo>
                    <a:pt x="322" y="50"/>
                  </a:lnTo>
                  <a:lnTo>
                    <a:pt x="322" y="52"/>
                  </a:lnTo>
                  <a:lnTo>
                    <a:pt x="322" y="50"/>
                  </a:lnTo>
                  <a:lnTo>
                    <a:pt x="324" y="50"/>
                  </a:lnTo>
                  <a:lnTo>
                    <a:pt x="324" y="48"/>
                  </a:lnTo>
                  <a:lnTo>
                    <a:pt x="326" y="48"/>
                  </a:lnTo>
                  <a:lnTo>
                    <a:pt x="328" y="48"/>
                  </a:lnTo>
                  <a:lnTo>
                    <a:pt x="330" y="48"/>
                  </a:lnTo>
                  <a:lnTo>
                    <a:pt x="330" y="46"/>
                  </a:lnTo>
                  <a:lnTo>
                    <a:pt x="332" y="46"/>
                  </a:lnTo>
                  <a:lnTo>
                    <a:pt x="332" y="48"/>
                  </a:lnTo>
                  <a:lnTo>
                    <a:pt x="330" y="48"/>
                  </a:lnTo>
                  <a:lnTo>
                    <a:pt x="330" y="50"/>
                  </a:lnTo>
                  <a:lnTo>
                    <a:pt x="332" y="50"/>
                  </a:lnTo>
                  <a:lnTo>
                    <a:pt x="330" y="50"/>
                  </a:lnTo>
                  <a:lnTo>
                    <a:pt x="332" y="50"/>
                  </a:lnTo>
                  <a:lnTo>
                    <a:pt x="332" y="52"/>
                  </a:lnTo>
                  <a:lnTo>
                    <a:pt x="330" y="52"/>
                  </a:lnTo>
                  <a:lnTo>
                    <a:pt x="332" y="52"/>
                  </a:lnTo>
                  <a:lnTo>
                    <a:pt x="330" y="52"/>
                  </a:lnTo>
                  <a:lnTo>
                    <a:pt x="330" y="54"/>
                  </a:lnTo>
                  <a:lnTo>
                    <a:pt x="330" y="56"/>
                  </a:lnTo>
                  <a:lnTo>
                    <a:pt x="330" y="58"/>
                  </a:lnTo>
                  <a:lnTo>
                    <a:pt x="328" y="58"/>
                  </a:lnTo>
                  <a:lnTo>
                    <a:pt x="328" y="56"/>
                  </a:lnTo>
                  <a:lnTo>
                    <a:pt x="328" y="58"/>
                  </a:lnTo>
                  <a:lnTo>
                    <a:pt x="330" y="58"/>
                  </a:lnTo>
                  <a:lnTo>
                    <a:pt x="330" y="56"/>
                  </a:lnTo>
                  <a:lnTo>
                    <a:pt x="330" y="58"/>
                  </a:lnTo>
                  <a:lnTo>
                    <a:pt x="330" y="56"/>
                  </a:lnTo>
                  <a:lnTo>
                    <a:pt x="330" y="58"/>
                  </a:lnTo>
                  <a:lnTo>
                    <a:pt x="330" y="56"/>
                  </a:lnTo>
                  <a:lnTo>
                    <a:pt x="330" y="54"/>
                  </a:lnTo>
                  <a:lnTo>
                    <a:pt x="332" y="54"/>
                  </a:lnTo>
                  <a:lnTo>
                    <a:pt x="332" y="56"/>
                  </a:lnTo>
                  <a:lnTo>
                    <a:pt x="330" y="56"/>
                  </a:lnTo>
                  <a:lnTo>
                    <a:pt x="330" y="58"/>
                  </a:lnTo>
                  <a:lnTo>
                    <a:pt x="328" y="58"/>
                  </a:lnTo>
                  <a:lnTo>
                    <a:pt x="328" y="60"/>
                  </a:lnTo>
                  <a:lnTo>
                    <a:pt x="330" y="60"/>
                  </a:lnTo>
                  <a:lnTo>
                    <a:pt x="328" y="60"/>
                  </a:lnTo>
                  <a:lnTo>
                    <a:pt x="328" y="62"/>
                  </a:lnTo>
                  <a:lnTo>
                    <a:pt x="328" y="60"/>
                  </a:lnTo>
                  <a:lnTo>
                    <a:pt x="328" y="62"/>
                  </a:lnTo>
                  <a:lnTo>
                    <a:pt x="328" y="64"/>
                  </a:lnTo>
                  <a:lnTo>
                    <a:pt x="328" y="62"/>
                  </a:lnTo>
                  <a:lnTo>
                    <a:pt x="328" y="64"/>
                  </a:lnTo>
                  <a:lnTo>
                    <a:pt x="326" y="64"/>
                  </a:lnTo>
                  <a:lnTo>
                    <a:pt x="328" y="64"/>
                  </a:lnTo>
                  <a:lnTo>
                    <a:pt x="328" y="66"/>
                  </a:lnTo>
                  <a:lnTo>
                    <a:pt x="326" y="66"/>
                  </a:lnTo>
                  <a:lnTo>
                    <a:pt x="328" y="66"/>
                  </a:lnTo>
                  <a:lnTo>
                    <a:pt x="326" y="66"/>
                  </a:lnTo>
                  <a:lnTo>
                    <a:pt x="328" y="66"/>
                  </a:lnTo>
                  <a:lnTo>
                    <a:pt x="328" y="68"/>
                  </a:lnTo>
                  <a:lnTo>
                    <a:pt x="326" y="68"/>
                  </a:lnTo>
                  <a:lnTo>
                    <a:pt x="326" y="68"/>
                  </a:lnTo>
                  <a:lnTo>
                    <a:pt x="324" y="68"/>
                  </a:lnTo>
                  <a:lnTo>
                    <a:pt x="326" y="68"/>
                  </a:lnTo>
                  <a:lnTo>
                    <a:pt x="324" y="68"/>
                  </a:lnTo>
                  <a:lnTo>
                    <a:pt x="326" y="68"/>
                  </a:lnTo>
                  <a:lnTo>
                    <a:pt x="324" y="68"/>
                  </a:lnTo>
                  <a:lnTo>
                    <a:pt x="326" y="68"/>
                  </a:lnTo>
                  <a:lnTo>
                    <a:pt x="326" y="70"/>
                  </a:lnTo>
                  <a:lnTo>
                    <a:pt x="324" y="70"/>
                  </a:lnTo>
                  <a:lnTo>
                    <a:pt x="326" y="70"/>
                  </a:lnTo>
                  <a:lnTo>
                    <a:pt x="324" y="70"/>
                  </a:lnTo>
                  <a:lnTo>
                    <a:pt x="324" y="72"/>
                  </a:lnTo>
                  <a:lnTo>
                    <a:pt x="326" y="72"/>
                  </a:lnTo>
                  <a:lnTo>
                    <a:pt x="326" y="70"/>
                  </a:lnTo>
                  <a:lnTo>
                    <a:pt x="326" y="72"/>
                  </a:lnTo>
                  <a:lnTo>
                    <a:pt x="326" y="74"/>
                  </a:lnTo>
                  <a:lnTo>
                    <a:pt x="324" y="74"/>
                  </a:lnTo>
                  <a:lnTo>
                    <a:pt x="324" y="72"/>
                  </a:lnTo>
                  <a:lnTo>
                    <a:pt x="324" y="74"/>
                  </a:lnTo>
                  <a:lnTo>
                    <a:pt x="326" y="74"/>
                  </a:lnTo>
                  <a:lnTo>
                    <a:pt x="324" y="72"/>
                  </a:lnTo>
                  <a:lnTo>
                    <a:pt x="324" y="74"/>
                  </a:lnTo>
                  <a:lnTo>
                    <a:pt x="324" y="76"/>
                  </a:lnTo>
                  <a:lnTo>
                    <a:pt x="326" y="76"/>
                  </a:lnTo>
                  <a:lnTo>
                    <a:pt x="324" y="76"/>
                  </a:lnTo>
                  <a:lnTo>
                    <a:pt x="322" y="76"/>
                  </a:lnTo>
                  <a:lnTo>
                    <a:pt x="322" y="78"/>
                  </a:lnTo>
                  <a:lnTo>
                    <a:pt x="322" y="76"/>
                  </a:lnTo>
                  <a:lnTo>
                    <a:pt x="322" y="74"/>
                  </a:lnTo>
                  <a:lnTo>
                    <a:pt x="324" y="74"/>
                  </a:lnTo>
                  <a:lnTo>
                    <a:pt x="324" y="72"/>
                  </a:lnTo>
                  <a:lnTo>
                    <a:pt x="322" y="72"/>
                  </a:lnTo>
                  <a:lnTo>
                    <a:pt x="324" y="72"/>
                  </a:lnTo>
                  <a:lnTo>
                    <a:pt x="324" y="74"/>
                  </a:lnTo>
                  <a:lnTo>
                    <a:pt x="322" y="74"/>
                  </a:lnTo>
                  <a:lnTo>
                    <a:pt x="322" y="76"/>
                  </a:lnTo>
                  <a:lnTo>
                    <a:pt x="322" y="74"/>
                  </a:lnTo>
                  <a:close/>
                  <a:moveTo>
                    <a:pt x="336" y="46"/>
                  </a:moveTo>
                  <a:lnTo>
                    <a:pt x="336" y="44"/>
                  </a:lnTo>
                  <a:lnTo>
                    <a:pt x="336" y="46"/>
                  </a:lnTo>
                  <a:close/>
                  <a:moveTo>
                    <a:pt x="336" y="44"/>
                  </a:moveTo>
                  <a:lnTo>
                    <a:pt x="338" y="46"/>
                  </a:lnTo>
                  <a:lnTo>
                    <a:pt x="338" y="48"/>
                  </a:lnTo>
                  <a:lnTo>
                    <a:pt x="336" y="48"/>
                  </a:lnTo>
                  <a:lnTo>
                    <a:pt x="336" y="50"/>
                  </a:lnTo>
                  <a:lnTo>
                    <a:pt x="336" y="52"/>
                  </a:lnTo>
                  <a:lnTo>
                    <a:pt x="336" y="54"/>
                  </a:lnTo>
                  <a:lnTo>
                    <a:pt x="334" y="54"/>
                  </a:lnTo>
                  <a:lnTo>
                    <a:pt x="336" y="54"/>
                  </a:lnTo>
                  <a:lnTo>
                    <a:pt x="336" y="52"/>
                  </a:lnTo>
                  <a:lnTo>
                    <a:pt x="334" y="52"/>
                  </a:lnTo>
                  <a:lnTo>
                    <a:pt x="336" y="52"/>
                  </a:lnTo>
                  <a:lnTo>
                    <a:pt x="336" y="50"/>
                  </a:lnTo>
                  <a:lnTo>
                    <a:pt x="336" y="48"/>
                  </a:lnTo>
                  <a:lnTo>
                    <a:pt x="336" y="46"/>
                  </a:lnTo>
                  <a:lnTo>
                    <a:pt x="336" y="44"/>
                  </a:lnTo>
                  <a:close/>
                  <a:moveTo>
                    <a:pt x="336" y="46"/>
                  </a:moveTo>
                  <a:lnTo>
                    <a:pt x="334" y="46"/>
                  </a:lnTo>
                  <a:lnTo>
                    <a:pt x="336" y="46"/>
                  </a:lnTo>
                  <a:close/>
                  <a:moveTo>
                    <a:pt x="336" y="48"/>
                  </a:moveTo>
                  <a:lnTo>
                    <a:pt x="336" y="46"/>
                  </a:lnTo>
                  <a:lnTo>
                    <a:pt x="336" y="48"/>
                  </a:lnTo>
                  <a:close/>
                  <a:moveTo>
                    <a:pt x="336" y="48"/>
                  </a:moveTo>
                  <a:lnTo>
                    <a:pt x="334" y="48"/>
                  </a:lnTo>
                  <a:lnTo>
                    <a:pt x="334" y="50"/>
                  </a:lnTo>
                  <a:lnTo>
                    <a:pt x="336" y="50"/>
                  </a:lnTo>
                  <a:lnTo>
                    <a:pt x="334" y="50"/>
                  </a:lnTo>
                  <a:lnTo>
                    <a:pt x="334" y="52"/>
                  </a:lnTo>
                  <a:lnTo>
                    <a:pt x="334" y="50"/>
                  </a:lnTo>
                  <a:lnTo>
                    <a:pt x="334" y="52"/>
                  </a:lnTo>
                  <a:lnTo>
                    <a:pt x="332" y="52"/>
                  </a:lnTo>
                  <a:lnTo>
                    <a:pt x="334" y="52"/>
                  </a:lnTo>
                  <a:lnTo>
                    <a:pt x="332" y="52"/>
                  </a:lnTo>
                  <a:lnTo>
                    <a:pt x="334" y="52"/>
                  </a:lnTo>
                  <a:lnTo>
                    <a:pt x="334" y="50"/>
                  </a:lnTo>
                  <a:lnTo>
                    <a:pt x="334" y="48"/>
                  </a:lnTo>
                  <a:lnTo>
                    <a:pt x="336" y="48"/>
                  </a:lnTo>
                  <a:lnTo>
                    <a:pt x="334" y="48"/>
                  </a:lnTo>
                  <a:lnTo>
                    <a:pt x="336" y="48"/>
                  </a:lnTo>
                  <a:close/>
                  <a:moveTo>
                    <a:pt x="336" y="48"/>
                  </a:moveTo>
                  <a:lnTo>
                    <a:pt x="336" y="46"/>
                  </a:lnTo>
                  <a:lnTo>
                    <a:pt x="336" y="48"/>
                  </a:lnTo>
                  <a:close/>
                  <a:moveTo>
                    <a:pt x="332" y="50"/>
                  </a:moveTo>
                  <a:lnTo>
                    <a:pt x="330" y="50"/>
                  </a:lnTo>
                  <a:lnTo>
                    <a:pt x="332" y="50"/>
                  </a:lnTo>
                  <a:close/>
                  <a:moveTo>
                    <a:pt x="308" y="56"/>
                  </a:moveTo>
                  <a:lnTo>
                    <a:pt x="308" y="58"/>
                  </a:lnTo>
                  <a:lnTo>
                    <a:pt x="308" y="56"/>
                  </a:lnTo>
                  <a:close/>
                  <a:moveTo>
                    <a:pt x="336" y="50"/>
                  </a:moveTo>
                  <a:lnTo>
                    <a:pt x="336" y="48"/>
                  </a:lnTo>
                  <a:lnTo>
                    <a:pt x="336" y="50"/>
                  </a:lnTo>
                  <a:close/>
                  <a:moveTo>
                    <a:pt x="332" y="50"/>
                  </a:moveTo>
                  <a:lnTo>
                    <a:pt x="332" y="52"/>
                  </a:lnTo>
                  <a:lnTo>
                    <a:pt x="332" y="50"/>
                  </a:lnTo>
                  <a:lnTo>
                    <a:pt x="330" y="50"/>
                  </a:lnTo>
                  <a:lnTo>
                    <a:pt x="332" y="50"/>
                  </a:lnTo>
                  <a:close/>
                  <a:moveTo>
                    <a:pt x="332" y="50"/>
                  </a:moveTo>
                  <a:lnTo>
                    <a:pt x="332" y="52"/>
                  </a:lnTo>
                  <a:lnTo>
                    <a:pt x="332" y="50"/>
                  </a:lnTo>
                  <a:lnTo>
                    <a:pt x="332" y="52"/>
                  </a:lnTo>
                  <a:lnTo>
                    <a:pt x="332" y="50"/>
                  </a:lnTo>
                  <a:close/>
                  <a:moveTo>
                    <a:pt x="332" y="50"/>
                  </a:moveTo>
                  <a:lnTo>
                    <a:pt x="334" y="50"/>
                  </a:lnTo>
                  <a:lnTo>
                    <a:pt x="332" y="50"/>
                  </a:lnTo>
                  <a:lnTo>
                    <a:pt x="332" y="52"/>
                  </a:lnTo>
                  <a:lnTo>
                    <a:pt x="332" y="50"/>
                  </a:lnTo>
                  <a:close/>
                  <a:moveTo>
                    <a:pt x="334" y="50"/>
                  </a:moveTo>
                  <a:lnTo>
                    <a:pt x="332" y="50"/>
                  </a:lnTo>
                  <a:lnTo>
                    <a:pt x="334" y="50"/>
                  </a:lnTo>
                  <a:close/>
                  <a:moveTo>
                    <a:pt x="332" y="50"/>
                  </a:moveTo>
                  <a:lnTo>
                    <a:pt x="332" y="52"/>
                  </a:lnTo>
                  <a:lnTo>
                    <a:pt x="332" y="50"/>
                  </a:lnTo>
                  <a:close/>
                  <a:moveTo>
                    <a:pt x="310" y="58"/>
                  </a:moveTo>
                  <a:lnTo>
                    <a:pt x="310" y="56"/>
                  </a:lnTo>
                  <a:lnTo>
                    <a:pt x="310" y="58"/>
                  </a:lnTo>
                  <a:close/>
                  <a:moveTo>
                    <a:pt x="336" y="50"/>
                  </a:moveTo>
                  <a:lnTo>
                    <a:pt x="334" y="50"/>
                  </a:lnTo>
                  <a:lnTo>
                    <a:pt x="336" y="50"/>
                  </a:lnTo>
                  <a:close/>
                  <a:moveTo>
                    <a:pt x="332" y="52"/>
                  </a:moveTo>
                  <a:lnTo>
                    <a:pt x="330" y="52"/>
                  </a:lnTo>
                  <a:lnTo>
                    <a:pt x="332" y="52"/>
                  </a:lnTo>
                  <a:close/>
                  <a:moveTo>
                    <a:pt x="308" y="58"/>
                  </a:moveTo>
                  <a:lnTo>
                    <a:pt x="308" y="60"/>
                  </a:lnTo>
                  <a:lnTo>
                    <a:pt x="308" y="58"/>
                  </a:lnTo>
                  <a:close/>
                  <a:moveTo>
                    <a:pt x="318" y="56"/>
                  </a:moveTo>
                  <a:lnTo>
                    <a:pt x="320" y="56"/>
                  </a:lnTo>
                  <a:lnTo>
                    <a:pt x="318" y="56"/>
                  </a:lnTo>
                  <a:close/>
                  <a:moveTo>
                    <a:pt x="330" y="52"/>
                  </a:moveTo>
                  <a:lnTo>
                    <a:pt x="332" y="52"/>
                  </a:lnTo>
                  <a:lnTo>
                    <a:pt x="332" y="54"/>
                  </a:lnTo>
                  <a:lnTo>
                    <a:pt x="330" y="54"/>
                  </a:lnTo>
                  <a:lnTo>
                    <a:pt x="330" y="52"/>
                  </a:lnTo>
                  <a:lnTo>
                    <a:pt x="330" y="54"/>
                  </a:lnTo>
                  <a:lnTo>
                    <a:pt x="330" y="52"/>
                  </a:lnTo>
                  <a:close/>
                  <a:moveTo>
                    <a:pt x="334" y="52"/>
                  </a:moveTo>
                  <a:lnTo>
                    <a:pt x="332" y="52"/>
                  </a:lnTo>
                  <a:lnTo>
                    <a:pt x="334" y="52"/>
                  </a:lnTo>
                  <a:close/>
                  <a:moveTo>
                    <a:pt x="310" y="60"/>
                  </a:moveTo>
                  <a:lnTo>
                    <a:pt x="310" y="62"/>
                  </a:lnTo>
                  <a:lnTo>
                    <a:pt x="310" y="60"/>
                  </a:lnTo>
                  <a:lnTo>
                    <a:pt x="310" y="62"/>
                  </a:lnTo>
                  <a:lnTo>
                    <a:pt x="310" y="60"/>
                  </a:lnTo>
                  <a:close/>
                  <a:moveTo>
                    <a:pt x="330" y="56"/>
                  </a:moveTo>
                  <a:lnTo>
                    <a:pt x="330" y="54"/>
                  </a:lnTo>
                  <a:lnTo>
                    <a:pt x="330" y="56"/>
                  </a:lnTo>
                  <a:close/>
                  <a:moveTo>
                    <a:pt x="310" y="62"/>
                  </a:moveTo>
                  <a:lnTo>
                    <a:pt x="310" y="60"/>
                  </a:lnTo>
                  <a:lnTo>
                    <a:pt x="310" y="62"/>
                  </a:lnTo>
                  <a:close/>
                  <a:moveTo>
                    <a:pt x="310" y="62"/>
                  </a:moveTo>
                  <a:lnTo>
                    <a:pt x="312" y="62"/>
                  </a:lnTo>
                  <a:lnTo>
                    <a:pt x="310" y="62"/>
                  </a:lnTo>
                  <a:lnTo>
                    <a:pt x="312" y="62"/>
                  </a:lnTo>
                  <a:lnTo>
                    <a:pt x="310" y="62"/>
                  </a:lnTo>
                  <a:lnTo>
                    <a:pt x="312" y="62"/>
                  </a:lnTo>
                  <a:lnTo>
                    <a:pt x="310" y="62"/>
                  </a:lnTo>
                  <a:close/>
                  <a:moveTo>
                    <a:pt x="330" y="56"/>
                  </a:moveTo>
                  <a:lnTo>
                    <a:pt x="330" y="58"/>
                  </a:lnTo>
                  <a:lnTo>
                    <a:pt x="330" y="56"/>
                  </a:lnTo>
                  <a:close/>
                  <a:moveTo>
                    <a:pt x="330" y="58"/>
                  </a:moveTo>
                  <a:lnTo>
                    <a:pt x="330" y="56"/>
                  </a:lnTo>
                  <a:lnTo>
                    <a:pt x="330" y="58"/>
                  </a:lnTo>
                  <a:close/>
                  <a:moveTo>
                    <a:pt x="310" y="62"/>
                  </a:moveTo>
                  <a:lnTo>
                    <a:pt x="312" y="62"/>
                  </a:lnTo>
                  <a:lnTo>
                    <a:pt x="312" y="64"/>
                  </a:lnTo>
                  <a:lnTo>
                    <a:pt x="310" y="64"/>
                  </a:lnTo>
                  <a:lnTo>
                    <a:pt x="312" y="64"/>
                  </a:lnTo>
                  <a:lnTo>
                    <a:pt x="310" y="64"/>
                  </a:lnTo>
                  <a:lnTo>
                    <a:pt x="310" y="62"/>
                  </a:lnTo>
                  <a:close/>
                  <a:moveTo>
                    <a:pt x="330" y="58"/>
                  </a:moveTo>
                  <a:lnTo>
                    <a:pt x="330" y="60"/>
                  </a:lnTo>
                  <a:lnTo>
                    <a:pt x="328" y="60"/>
                  </a:lnTo>
                  <a:lnTo>
                    <a:pt x="328" y="58"/>
                  </a:lnTo>
                  <a:lnTo>
                    <a:pt x="330" y="58"/>
                  </a:lnTo>
                  <a:close/>
                  <a:moveTo>
                    <a:pt x="320" y="62"/>
                  </a:moveTo>
                  <a:lnTo>
                    <a:pt x="320" y="60"/>
                  </a:lnTo>
                  <a:lnTo>
                    <a:pt x="320" y="62"/>
                  </a:lnTo>
                  <a:close/>
                  <a:moveTo>
                    <a:pt x="316" y="64"/>
                  </a:moveTo>
                  <a:lnTo>
                    <a:pt x="316" y="62"/>
                  </a:lnTo>
                  <a:lnTo>
                    <a:pt x="316" y="64"/>
                  </a:lnTo>
                  <a:close/>
                  <a:moveTo>
                    <a:pt x="330" y="60"/>
                  </a:moveTo>
                  <a:lnTo>
                    <a:pt x="328" y="60"/>
                  </a:lnTo>
                  <a:lnTo>
                    <a:pt x="330" y="60"/>
                  </a:lnTo>
                  <a:close/>
                  <a:moveTo>
                    <a:pt x="320" y="62"/>
                  </a:moveTo>
                  <a:lnTo>
                    <a:pt x="318" y="62"/>
                  </a:lnTo>
                  <a:lnTo>
                    <a:pt x="320" y="62"/>
                  </a:lnTo>
                  <a:close/>
                  <a:moveTo>
                    <a:pt x="330" y="60"/>
                  </a:moveTo>
                  <a:lnTo>
                    <a:pt x="328" y="62"/>
                  </a:lnTo>
                  <a:lnTo>
                    <a:pt x="328" y="60"/>
                  </a:lnTo>
                  <a:lnTo>
                    <a:pt x="330" y="60"/>
                  </a:lnTo>
                  <a:close/>
                  <a:moveTo>
                    <a:pt x="330" y="60"/>
                  </a:moveTo>
                  <a:lnTo>
                    <a:pt x="330" y="62"/>
                  </a:lnTo>
                  <a:lnTo>
                    <a:pt x="330" y="60"/>
                  </a:lnTo>
                  <a:close/>
                  <a:moveTo>
                    <a:pt x="318" y="64"/>
                  </a:moveTo>
                  <a:lnTo>
                    <a:pt x="320" y="64"/>
                  </a:lnTo>
                  <a:lnTo>
                    <a:pt x="318" y="64"/>
                  </a:lnTo>
                  <a:close/>
                  <a:moveTo>
                    <a:pt x="320" y="64"/>
                  </a:moveTo>
                  <a:lnTo>
                    <a:pt x="318" y="64"/>
                  </a:lnTo>
                  <a:lnTo>
                    <a:pt x="320" y="64"/>
                  </a:lnTo>
                  <a:close/>
                  <a:moveTo>
                    <a:pt x="330" y="62"/>
                  </a:moveTo>
                  <a:lnTo>
                    <a:pt x="328" y="62"/>
                  </a:lnTo>
                  <a:lnTo>
                    <a:pt x="330" y="62"/>
                  </a:lnTo>
                  <a:lnTo>
                    <a:pt x="330" y="60"/>
                  </a:lnTo>
                  <a:lnTo>
                    <a:pt x="330" y="62"/>
                  </a:lnTo>
                  <a:close/>
                  <a:moveTo>
                    <a:pt x="330" y="62"/>
                  </a:moveTo>
                  <a:lnTo>
                    <a:pt x="330" y="64"/>
                  </a:lnTo>
                  <a:lnTo>
                    <a:pt x="328" y="64"/>
                  </a:lnTo>
                  <a:lnTo>
                    <a:pt x="328" y="62"/>
                  </a:lnTo>
                  <a:lnTo>
                    <a:pt x="330" y="62"/>
                  </a:lnTo>
                  <a:close/>
                  <a:moveTo>
                    <a:pt x="328" y="66"/>
                  </a:moveTo>
                  <a:lnTo>
                    <a:pt x="328" y="64"/>
                  </a:lnTo>
                  <a:lnTo>
                    <a:pt x="328" y="66"/>
                  </a:lnTo>
                  <a:close/>
                  <a:moveTo>
                    <a:pt x="328" y="66"/>
                  </a:moveTo>
                  <a:lnTo>
                    <a:pt x="328" y="64"/>
                  </a:lnTo>
                  <a:lnTo>
                    <a:pt x="328" y="66"/>
                  </a:lnTo>
                  <a:close/>
                  <a:moveTo>
                    <a:pt x="300" y="72"/>
                  </a:moveTo>
                  <a:lnTo>
                    <a:pt x="298" y="72"/>
                  </a:lnTo>
                  <a:lnTo>
                    <a:pt x="300" y="72"/>
                  </a:lnTo>
                  <a:lnTo>
                    <a:pt x="298" y="72"/>
                  </a:lnTo>
                  <a:lnTo>
                    <a:pt x="300" y="72"/>
                  </a:lnTo>
                  <a:close/>
                  <a:moveTo>
                    <a:pt x="316" y="68"/>
                  </a:moveTo>
                  <a:lnTo>
                    <a:pt x="316" y="68"/>
                  </a:lnTo>
                  <a:lnTo>
                    <a:pt x="316" y="68"/>
                  </a:lnTo>
                  <a:lnTo>
                    <a:pt x="316" y="68"/>
                  </a:lnTo>
                  <a:lnTo>
                    <a:pt x="316" y="68"/>
                  </a:lnTo>
                  <a:close/>
                  <a:moveTo>
                    <a:pt x="316" y="68"/>
                  </a:moveTo>
                  <a:lnTo>
                    <a:pt x="316" y="68"/>
                  </a:lnTo>
                  <a:lnTo>
                    <a:pt x="316" y="68"/>
                  </a:lnTo>
                  <a:close/>
                  <a:moveTo>
                    <a:pt x="328" y="66"/>
                  </a:moveTo>
                  <a:lnTo>
                    <a:pt x="328" y="68"/>
                  </a:lnTo>
                  <a:lnTo>
                    <a:pt x="328" y="68"/>
                  </a:lnTo>
                  <a:lnTo>
                    <a:pt x="328" y="70"/>
                  </a:lnTo>
                  <a:lnTo>
                    <a:pt x="328" y="68"/>
                  </a:lnTo>
                  <a:lnTo>
                    <a:pt x="326" y="68"/>
                  </a:lnTo>
                  <a:lnTo>
                    <a:pt x="328" y="68"/>
                  </a:lnTo>
                  <a:lnTo>
                    <a:pt x="328" y="68"/>
                  </a:lnTo>
                  <a:lnTo>
                    <a:pt x="328" y="68"/>
                  </a:lnTo>
                  <a:lnTo>
                    <a:pt x="328" y="68"/>
                  </a:lnTo>
                  <a:lnTo>
                    <a:pt x="328" y="68"/>
                  </a:lnTo>
                  <a:lnTo>
                    <a:pt x="326" y="68"/>
                  </a:lnTo>
                  <a:lnTo>
                    <a:pt x="326" y="68"/>
                  </a:lnTo>
                  <a:lnTo>
                    <a:pt x="328" y="68"/>
                  </a:lnTo>
                  <a:lnTo>
                    <a:pt x="328" y="66"/>
                  </a:lnTo>
                  <a:close/>
                  <a:moveTo>
                    <a:pt x="326" y="68"/>
                  </a:moveTo>
                  <a:lnTo>
                    <a:pt x="326" y="70"/>
                  </a:lnTo>
                  <a:lnTo>
                    <a:pt x="326" y="68"/>
                  </a:lnTo>
                  <a:close/>
                  <a:moveTo>
                    <a:pt x="326" y="68"/>
                  </a:moveTo>
                  <a:lnTo>
                    <a:pt x="326" y="70"/>
                  </a:lnTo>
                  <a:lnTo>
                    <a:pt x="326" y="68"/>
                  </a:lnTo>
                  <a:close/>
                  <a:moveTo>
                    <a:pt x="326" y="70"/>
                  </a:moveTo>
                  <a:lnTo>
                    <a:pt x="328" y="70"/>
                  </a:lnTo>
                  <a:lnTo>
                    <a:pt x="326" y="70"/>
                  </a:lnTo>
                  <a:lnTo>
                    <a:pt x="328" y="70"/>
                  </a:lnTo>
                  <a:lnTo>
                    <a:pt x="326" y="70"/>
                  </a:lnTo>
                  <a:lnTo>
                    <a:pt x="328" y="70"/>
                  </a:lnTo>
                  <a:lnTo>
                    <a:pt x="326" y="70"/>
                  </a:lnTo>
                  <a:close/>
                  <a:moveTo>
                    <a:pt x="328" y="68"/>
                  </a:moveTo>
                  <a:lnTo>
                    <a:pt x="326" y="68"/>
                  </a:lnTo>
                  <a:lnTo>
                    <a:pt x="328" y="68"/>
                  </a:lnTo>
                  <a:close/>
                  <a:moveTo>
                    <a:pt x="328" y="70"/>
                  </a:moveTo>
                  <a:lnTo>
                    <a:pt x="328" y="68"/>
                  </a:lnTo>
                  <a:lnTo>
                    <a:pt x="328" y="70"/>
                  </a:lnTo>
                  <a:close/>
                  <a:moveTo>
                    <a:pt x="328" y="70"/>
                  </a:moveTo>
                  <a:lnTo>
                    <a:pt x="328" y="68"/>
                  </a:lnTo>
                  <a:lnTo>
                    <a:pt x="328" y="70"/>
                  </a:lnTo>
                  <a:close/>
                  <a:moveTo>
                    <a:pt x="328" y="68"/>
                  </a:moveTo>
                  <a:lnTo>
                    <a:pt x="328" y="70"/>
                  </a:lnTo>
                  <a:lnTo>
                    <a:pt x="328" y="68"/>
                  </a:lnTo>
                  <a:close/>
                  <a:moveTo>
                    <a:pt x="328" y="70"/>
                  </a:moveTo>
                  <a:lnTo>
                    <a:pt x="328" y="72"/>
                  </a:lnTo>
                  <a:lnTo>
                    <a:pt x="326" y="72"/>
                  </a:lnTo>
                  <a:lnTo>
                    <a:pt x="326" y="70"/>
                  </a:lnTo>
                  <a:lnTo>
                    <a:pt x="328" y="70"/>
                  </a:lnTo>
                  <a:close/>
                  <a:moveTo>
                    <a:pt x="328" y="70"/>
                  </a:moveTo>
                  <a:lnTo>
                    <a:pt x="330" y="70"/>
                  </a:lnTo>
                  <a:lnTo>
                    <a:pt x="330" y="72"/>
                  </a:lnTo>
                  <a:lnTo>
                    <a:pt x="328" y="72"/>
                  </a:lnTo>
                  <a:lnTo>
                    <a:pt x="328" y="74"/>
                  </a:lnTo>
                  <a:lnTo>
                    <a:pt x="328" y="76"/>
                  </a:lnTo>
                  <a:lnTo>
                    <a:pt x="328" y="74"/>
                  </a:lnTo>
                  <a:lnTo>
                    <a:pt x="326" y="74"/>
                  </a:lnTo>
                  <a:lnTo>
                    <a:pt x="328" y="74"/>
                  </a:lnTo>
                  <a:lnTo>
                    <a:pt x="328" y="72"/>
                  </a:lnTo>
                  <a:lnTo>
                    <a:pt x="328" y="70"/>
                  </a:lnTo>
                  <a:close/>
                  <a:moveTo>
                    <a:pt x="326" y="72"/>
                  </a:moveTo>
                  <a:lnTo>
                    <a:pt x="324" y="72"/>
                  </a:lnTo>
                  <a:lnTo>
                    <a:pt x="326" y="72"/>
                  </a:lnTo>
                  <a:close/>
                  <a:moveTo>
                    <a:pt x="328" y="72"/>
                  </a:moveTo>
                  <a:lnTo>
                    <a:pt x="328" y="70"/>
                  </a:lnTo>
                  <a:lnTo>
                    <a:pt x="328" y="72"/>
                  </a:lnTo>
                  <a:lnTo>
                    <a:pt x="326" y="72"/>
                  </a:lnTo>
                  <a:lnTo>
                    <a:pt x="328" y="72"/>
                  </a:lnTo>
                  <a:close/>
                  <a:moveTo>
                    <a:pt x="322" y="74"/>
                  </a:moveTo>
                  <a:lnTo>
                    <a:pt x="322" y="76"/>
                  </a:lnTo>
                  <a:lnTo>
                    <a:pt x="322" y="74"/>
                  </a:lnTo>
                  <a:lnTo>
                    <a:pt x="322" y="76"/>
                  </a:lnTo>
                  <a:lnTo>
                    <a:pt x="322" y="78"/>
                  </a:lnTo>
                  <a:lnTo>
                    <a:pt x="320" y="78"/>
                  </a:lnTo>
                  <a:lnTo>
                    <a:pt x="322" y="78"/>
                  </a:lnTo>
                  <a:lnTo>
                    <a:pt x="322" y="80"/>
                  </a:lnTo>
                  <a:lnTo>
                    <a:pt x="322" y="82"/>
                  </a:lnTo>
                  <a:lnTo>
                    <a:pt x="320" y="82"/>
                  </a:lnTo>
                  <a:lnTo>
                    <a:pt x="322" y="82"/>
                  </a:lnTo>
                  <a:lnTo>
                    <a:pt x="320" y="82"/>
                  </a:lnTo>
                  <a:lnTo>
                    <a:pt x="320" y="84"/>
                  </a:lnTo>
                  <a:lnTo>
                    <a:pt x="320" y="86"/>
                  </a:lnTo>
                  <a:lnTo>
                    <a:pt x="320" y="84"/>
                  </a:lnTo>
                  <a:lnTo>
                    <a:pt x="320" y="86"/>
                  </a:lnTo>
                  <a:lnTo>
                    <a:pt x="318" y="86"/>
                  </a:lnTo>
                  <a:lnTo>
                    <a:pt x="320" y="86"/>
                  </a:lnTo>
                  <a:lnTo>
                    <a:pt x="320" y="88"/>
                  </a:lnTo>
                  <a:lnTo>
                    <a:pt x="320" y="90"/>
                  </a:lnTo>
                  <a:lnTo>
                    <a:pt x="320" y="92"/>
                  </a:lnTo>
                  <a:lnTo>
                    <a:pt x="320" y="94"/>
                  </a:lnTo>
                  <a:lnTo>
                    <a:pt x="320" y="96"/>
                  </a:lnTo>
                  <a:lnTo>
                    <a:pt x="320" y="98"/>
                  </a:lnTo>
                  <a:lnTo>
                    <a:pt x="320" y="100"/>
                  </a:lnTo>
                  <a:lnTo>
                    <a:pt x="320" y="98"/>
                  </a:lnTo>
                  <a:lnTo>
                    <a:pt x="318" y="98"/>
                  </a:lnTo>
                  <a:lnTo>
                    <a:pt x="318" y="96"/>
                  </a:lnTo>
                  <a:lnTo>
                    <a:pt x="316" y="96"/>
                  </a:lnTo>
                  <a:lnTo>
                    <a:pt x="316" y="94"/>
                  </a:lnTo>
                  <a:lnTo>
                    <a:pt x="318" y="94"/>
                  </a:lnTo>
                  <a:lnTo>
                    <a:pt x="316" y="94"/>
                  </a:lnTo>
                  <a:lnTo>
                    <a:pt x="318" y="94"/>
                  </a:lnTo>
                  <a:lnTo>
                    <a:pt x="318" y="92"/>
                  </a:lnTo>
                  <a:lnTo>
                    <a:pt x="316" y="92"/>
                  </a:lnTo>
                  <a:lnTo>
                    <a:pt x="318" y="92"/>
                  </a:lnTo>
                  <a:lnTo>
                    <a:pt x="316" y="92"/>
                  </a:lnTo>
                  <a:lnTo>
                    <a:pt x="318" y="92"/>
                  </a:lnTo>
                  <a:lnTo>
                    <a:pt x="316" y="92"/>
                  </a:lnTo>
                  <a:lnTo>
                    <a:pt x="318" y="92"/>
                  </a:lnTo>
                  <a:lnTo>
                    <a:pt x="316" y="92"/>
                  </a:lnTo>
                  <a:lnTo>
                    <a:pt x="316" y="94"/>
                  </a:lnTo>
                  <a:lnTo>
                    <a:pt x="316" y="92"/>
                  </a:lnTo>
                  <a:lnTo>
                    <a:pt x="316" y="94"/>
                  </a:lnTo>
                  <a:lnTo>
                    <a:pt x="316" y="92"/>
                  </a:lnTo>
                  <a:lnTo>
                    <a:pt x="316" y="90"/>
                  </a:lnTo>
                  <a:lnTo>
                    <a:pt x="316" y="88"/>
                  </a:lnTo>
                  <a:lnTo>
                    <a:pt x="316" y="90"/>
                  </a:lnTo>
                  <a:lnTo>
                    <a:pt x="316" y="88"/>
                  </a:lnTo>
                  <a:lnTo>
                    <a:pt x="316" y="88"/>
                  </a:lnTo>
                  <a:lnTo>
                    <a:pt x="316" y="90"/>
                  </a:lnTo>
                  <a:lnTo>
                    <a:pt x="316" y="90"/>
                  </a:lnTo>
                  <a:lnTo>
                    <a:pt x="316" y="88"/>
                  </a:lnTo>
                  <a:lnTo>
                    <a:pt x="316" y="90"/>
                  </a:lnTo>
                  <a:lnTo>
                    <a:pt x="316" y="90"/>
                  </a:lnTo>
                  <a:lnTo>
                    <a:pt x="316" y="90"/>
                  </a:lnTo>
                  <a:lnTo>
                    <a:pt x="316" y="90"/>
                  </a:lnTo>
                  <a:lnTo>
                    <a:pt x="316" y="88"/>
                  </a:lnTo>
                  <a:lnTo>
                    <a:pt x="316" y="88"/>
                  </a:lnTo>
                  <a:lnTo>
                    <a:pt x="316" y="86"/>
                  </a:lnTo>
                  <a:lnTo>
                    <a:pt x="316" y="84"/>
                  </a:lnTo>
                  <a:lnTo>
                    <a:pt x="318" y="84"/>
                  </a:lnTo>
                  <a:lnTo>
                    <a:pt x="316" y="84"/>
                  </a:lnTo>
                  <a:lnTo>
                    <a:pt x="318" y="84"/>
                  </a:lnTo>
                  <a:lnTo>
                    <a:pt x="316" y="84"/>
                  </a:lnTo>
                  <a:lnTo>
                    <a:pt x="316" y="82"/>
                  </a:lnTo>
                  <a:lnTo>
                    <a:pt x="318" y="82"/>
                  </a:lnTo>
                  <a:lnTo>
                    <a:pt x="316" y="82"/>
                  </a:lnTo>
                  <a:lnTo>
                    <a:pt x="318" y="82"/>
                  </a:lnTo>
                  <a:lnTo>
                    <a:pt x="316" y="82"/>
                  </a:lnTo>
                  <a:lnTo>
                    <a:pt x="316" y="80"/>
                  </a:lnTo>
                  <a:lnTo>
                    <a:pt x="316" y="82"/>
                  </a:lnTo>
                  <a:lnTo>
                    <a:pt x="316" y="84"/>
                  </a:lnTo>
                  <a:lnTo>
                    <a:pt x="316" y="82"/>
                  </a:lnTo>
                  <a:lnTo>
                    <a:pt x="316" y="84"/>
                  </a:lnTo>
                  <a:lnTo>
                    <a:pt x="316" y="82"/>
                  </a:lnTo>
                  <a:lnTo>
                    <a:pt x="316" y="84"/>
                  </a:lnTo>
                  <a:lnTo>
                    <a:pt x="316" y="82"/>
                  </a:lnTo>
                  <a:lnTo>
                    <a:pt x="316" y="82"/>
                  </a:lnTo>
                  <a:lnTo>
                    <a:pt x="316" y="82"/>
                  </a:lnTo>
                  <a:lnTo>
                    <a:pt x="316" y="80"/>
                  </a:lnTo>
                  <a:lnTo>
                    <a:pt x="316" y="82"/>
                  </a:lnTo>
                  <a:lnTo>
                    <a:pt x="316" y="80"/>
                  </a:lnTo>
                  <a:lnTo>
                    <a:pt x="316" y="82"/>
                  </a:lnTo>
                  <a:lnTo>
                    <a:pt x="316" y="80"/>
                  </a:lnTo>
                  <a:lnTo>
                    <a:pt x="316" y="82"/>
                  </a:lnTo>
                  <a:lnTo>
                    <a:pt x="316" y="80"/>
                  </a:lnTo>
                  <a:lnTo>
                    <a:pt x="318" y="80"/>
                  </a:lnTo>
                  <a:lnTo>
                    <a:pt x="316" y="80"/>
                  </a:lnTo>
                  <a:lnTo>
                    <a:pt x="316" y="78"/>
                  </a:lnTo>
                  <a:lnTo>
                    <a:pt x="318" y="78"/>
                  </a:lnTo>
                  <a:lnTo>
                    <a:pt x="316" y="78"/>
                  </a:lnTo>
                  <a:lnTo>
                    <a:pt x="318" y="78"/>
                  </a:lnTo>
                  <a:lnTo>
                    <a:pt x="318" y="76"/>
                  </a:lnTo>
                  <a:lnTo>
                    <a:pt x="316" y="76"/>
                  </a:lnTo>
                  <a:lnTo>
                    <a:pt x="316" y="78"/>
                  </a:lnTo>
                  <a:lnTo>
                    <a:pt x="318" y="78"/>
                  </a:lnTo>
                  <a:lnTo>
                    <a:pt x="316" y="78"/>
                  </a:lnTo>
                  <a:lnTo>
                    <a:pt x="316" y="80"/>
                  </a:lnTo>
                  <a:lnTo>
                    <a:pt x="316" y="80"/>
                  </a:lnTo>
                  <a:lnTo>
                    <a:pt x="316" y="78"/>
                  </a:lnTo>
                  <a:lnTo>
                    <a:pt x="316" y="76"/>
                  </a:lnTo>
                  <a:lnTo>
                    <a:pt x="316" y="76"/>
                  </a:lnTo>
                  <a:lnTo>
                    <a:pt x="316" y="74"/>
                  </a:lnTo>
                  <a:lnTo>
                    <a:pt x="318" y="74"/>
                  </a:lnTo>
                  <a:lnTo>
                    <a:pt x="320" y="74"/>
                  </a:lnTo>
                  <a:lnTo>
                    <a:pt x="318" y="74"/>
                  </a:lnTo>
                  <a:lnTo>
                    <a:pt x="320" y="74"/>
                  </a:lnTo>
                  <a:lnTo>
                    <a:pt x="322" y="74"/>
                  </a:lnTo>
                  <a:close/>
                  <a:moveTo>
                    <a:pt x="326" y="74"/>
                  </a:moveTo>
                  <a:lnTo>
                    <a:pt x="326" y="72"/>
                  </a:lnTo>
                  <a:lnTo>
                    <a:pt x="326" y="74"/>
                  </a:lnTo>
                  <a:close/>
                  <a:moveTo>
                    <a:pt x="324" y="74"/>
                  </a:moveTo>
                  <a:lnTo>
                    <a:pt x="322" y="74"/>
                  </a:lnTo>
                  <a:lnTo>
                    <a:pt x="324" y="74"/>
                  </a:lnTo>
                  <a:close/>
                  <a:moveTo>
                    <a:pt x="326" y="74"/>
                  </a:moveTo>
                  <a:lnTo>
                    <a:pt x="328" y="74"/>
                  </a:lnTo>
                  <a:lnTo>
                    <a:pt x="328" y="76"/>
                  </a:lnTo>
                  <a:lnTo>
                    <a:pt x="326" y="76"/>
                  </a:lnTo>
                  <a:lnTo>
                    <a:pt x="326" y="74"/>
                  </a:lnTo>
                  <a:close/>
                  <a:moveTo>
                    <a:pt x="326" y="74"/>
                  </a:moveTo>
                  <a:lnTo>
                    <a:pt x="324" y="74"/>
                  </a:lnTo>
                  <a:lnTo>
                    <a:pt x="326" y="74"/>
                  </a:lnTo>
                  <a:close/>
                  <a:moveTo>
                    <a:pt x="326" y="74"/>
                  </a:moveTo>
                  <a:lnTo>
                    <a:pt x="326" y="76"/>
                  </a:lnTo>
                  <a:lnTo>
                    <a:pt x="326" y="74"/>
                  </a:lnTo>
                  <a:close/>
                  <a:moveTo>
                    <a:pt x="326" y="76"/>
                  </a:moveTo>
                  <a:lnTo>
                    <a:pt x="324" y="76"/>
                  </a:lnTo>
                  <a:lnTo>
                    <a:pt x="324" y="74"/>
                  </a:lnTo>
                  <a:lnTo>
                    <a:pt x="326" y="74"/>
                  </a:lnTo>
                  <a:lnTo>
                    <a:pt x="326" y="76"/>
                  </a:lnTo>
                  <a:close/>
                  <a:moveTo>
                    <a:pt x="324" y="76"/>
                  </a:moveTo>
                  <a:lnTo>
                    <a:pt x="324" y="74"/>
                  </a:lnTo>
                  <a:lnTo>
                    <a:pt x="324" y="76"/>
                  </a:lnTo>
                  <a:close/>
                  <a:moveTo>
                    <a:pt x="326" y="74"/>
                  </a:moveTo>
                  <a:lnTo>
                    <a:pt x="326" y="76"/>
                  </a:lnTo>
                  <a:lnTo>
                    <a:pt x="326" y="74"/>
                  </a:lnTo>
                  <a:close/>
                  <a:moveTo>
                    <a:pt x="326" y="76"/>
                  </a:moveTo>
                  <a:lnTo>
                    <a:pt x="326" y="74"/>
                  </a:lnTo>
                  <a:lnTo>
                    <a:pt x="326" y="76"/>
                  </a:lnTo>
                  <a:close/>
                  <a:moveTo>
                    <a:pt x="326" y="76"/>
                  </a:moveTo>
                  <a:lnTo>
                    <a:pt x="324" y="76"/>
                  </a:lnTo>
                  <a:lnTo>
                    <a:pt x="326" y="76"/>
                  </a:lnTo>
                  <a:close/>
                  <a:moveTo>
                    <a:pt x="326" y="76"/>
                  </a:moveTo>
                  <a:lnTo>
                    <a:pt x="324" y="76"/>
                  </a:lnTo>
                  <a:lnTo>
                    <a:pt x="326" y="76"/>
                  </a:lnTo>
                  <a:close/>
                  <a:moveTo>
                    <a:pt x="326" y="76"/>
                  </a:moveTo>
                  <a:lnTo>
                    <a:pt x="328" y="76"/>
                  </a:lnTo>
                  <a:lnTo>
                    <a:pt x="326" y="76"/>
                  </a:lnTo>
                  <a:lnTo>
                    <a:pt x="328" y="76"/>
                  </a:lnTo>
                  <a:lnTo>
                    <a:pt x="326" y="76"/>
                  </a:lnTo>
                  <a:close/>
                  <a:moveTo>
                    <a:pt x="326" y="78"/>
                  </a:moveTo>
                  <a:lnTo>
                    <a:pt x="326" y="76"/>
                  </a:lnTo>
                  <a:lnTo>
                    <a:pt x="326" y="78"/>
                  </a:lnTo>
                  <a:close/>
                  <a:moveTo>
                    <a:pt x="326" y="76"/>
                  </a:moveTo>
                  <a:lnTo>
                    <a:pt x="326" y="78"/>
                  </a:lnTo>
                  <a:lnTo>
                    <a:pt x="326" y="76"/>
                  </a:lnTo>
                  <a:lnTo>
                    <a:pt x="326" y="78"/>
                  </a:lnTo>
                  <a:lnTo>
                    <a:pt x="326" y="76"/>
                  </a:lnTo>
                  <a:close/>
                  <a:moveTo>
                    <a:pt x="326" y="76"/>
                  </a:moveTo>
                  <a:lnTo>
                    <a:pt x="328" y="76"/>
                  </a:lnTo>
                  <a:lnTo>
                    <a:pt x="328" y="78"/>
                  </a:lnTo>
                  <a:lnTo>
                    <a:pt x="326" y="78"/>
                  </a:lnTo>
                  <a:lnTo>
                    <a:pt x="328" y="78"/>
                  </a:lnTo>
                  <a:lnTo>
                    <a:pt x="328" y="76"/>
                  </a:lnTo>
                  <a:lnTo>
                    <a:pt x="328" y="78"/>
                  </a:lnTo>
                  <a:lnTo>
                    <a:pt x="326" y="78"/>
                  </a:lnTo>
                  <a:lnTo>
                    <a:pt x="326" y="76"/>
                  </a:lnTo>
                  <a:close/>
                  <a:moveTo>
                    <a:pt x="328" y="78"/>
                  </a:moveTo>
                  <a:lnTo>
                    <a:pt x="328" y="80"/>
                  </a:lnTo>
                  <a:lnTo>
                    <a:pt x="328" y="78"/>
                  </a:lnTo>
                  <a:lnTo>
                    <a:pt x="328" y="80"/>
                  </a:lnTo>
                  <a:lnTo>
                    <a:pt x="328" y="82"/>
                  </a:lnTo>
                  <a:lnTo>
                    <a:pt x="326" y="82"/>
                  </a:lnTo>
                  <a:lnTo>
                    <a:pt x="328" y="82"/>
                  </a:lnTo>
                  <a:lnTo>
                    <a:pt x="326" y="82"/>
                  </a:lnTo>
                  <a:lnTo>
                    <a:pt x="326" y="80"/>
                  </a:lnTo>
                  <a:lnTo>
                    <a:pt x="328" y="80"/>
                  </a:lnTo>
                  <a:lnTo>
                    <a:pt x="326" y="80"/>
                  </a:lnTo>
                  <a:lnTo>
                    <a:pt x="328" y="80"/>
                  </a:lnTo>
                  <a:lnTo>
                    <a:pt x="326" y="80"/>
                  </a:lnTo>
                  <a:lnTo>
                    <a:pt x="328" y="80"/>
                  </a:lnTo>
                  <a:lnTo>
                    <a:pt x="328" y="78"/>
                  </a:lnTo>
                  <a:lnTo>
                    <a:pt x="326" y="78"/>
                  </a:lnTo>
                  <a:lnTo>
                    <a:pt x="328" y="78"/>
                  </a:lnTo>
                  <a:close/>
                  <a:moveTo>
                    <a:pt x="326" y="78"/>
                  </a:moveTo>
                  <a:lnTo>
                    <a:pt x="328" y="78"/>
                  </a:lnTo>
                  <a:lnTo>
                    <a:pt x="326" y="78"/>
                  </a:lnTo>
                  <a:close/>
                  <a:moveTo>
                    <a:pt x="328" y="80"/>
                  </a:moveTo>
                  <a:lnTo>
                    <a:pt x="328" y="78"/>
                  </a:lnTo>
                  <a:lnTo>
                    <a:pt x="328" y="80"/>
                  </a:lnTo>
                  <a:close/>
                  <a:moveTo>
                    <a:pt x="322" y="82"/>
                  </a:moveTo>
                  <a:lnTo>
                    <a:pt x="324" y="82"/>
                  </a:lnTo>
                  <a:lnTo>
                    <a:pt x="322" y="82"/>
                  </a:lnTo>
                  <a:lnTo>
                    <a:pt x="322" y="80"/>
                  </a:lnTo>
                  <a:lnTo>
                    <a:pt x="322" y="82"/>
                  </a:lnTo>
                  <a:close/>
                  <a:moveTo>
                    <a:pt x="324" y="82"/>
                  </a:moveTo>
                  <a:lnTo>
                    <a:pt x="322" y="82"/>
                  </a:lnTo>
                  <a:lnTo>
                    <a:pt x="324" y="82"/>
                  </a:lnTo>
                  <a:close/>
                  <a:moveTo>
                    <a:pt x="328" y="80"/>
                  </a:moveTo>
                  <a:lnTo>
                    <a:pt x="326" y="80"/>
                  </a:lnTo>
                  <a:lnTo>
                    <a:pt x="328" y="80"/>
                  </a:lnTo>
                  <a:close/>
                  <a:moveTo>
                    <a:pt x="324" y="82"/>
                  </a:moveTo>
                  <a:lnTo>
                    <a:pt x="322" y="82"/>
                  </a:lnTo>
                  <a:lnTo>
                    <a:pt x="324" y="82"/>
                  </a:lnTo>
                  <a:close/>
                  <a:moveTo>
                    <a:pt x="324" y="82"/>
                  </a:moveTo>
                  <a:lnTo>
                    <a:pt x="324" y="84"/>
                  </a:lnTo>
                  <a:lnTo>
                    <a:pt x="324" y="82"/>
                  </a:lnTo>
                  <a:close/>
                  <a:moveTo>
                    <a:pt x="324" y="82"/>
                  </a:moveTo>
                  <a:lnTo>
                    <a:pt x="326" y="82"/>
                  </a:lnTo>
                  <a:lnTo>
                    <a:pt x="324" y="82"/>
                  </a:lnTo>
                  <a:lnTo>
                    <a:pt x="324" y="84"/>
                  </a:lnTo>
                  <a:lnTo>
                    <a:pt x="324" y="82"/>
                  </a:lnTo>
                  <a:lnTo>
                    <a:pt x="324" y="84"/>
                  </a:lnTo>
                  <a:lnTo>
                    <a:pt x="324" y="82"/>
                  </a:lnTo>
                  <a:close/>
                  <a:moveTo>
                    <a:pt x="322" y="84"/>
                  </a:moveTo>
                  <a:lnTo>
                    <a:pt x="320" y="84"/>
                  </a:lnTo>
                  <a:lnTo>
                    <a:pt x="322" y="84"/>
                  </a:lnTo>
                  <a:close/>
                  <a:moveTo>
                    <a:pt x="322" y="84"/>
                  </a:moveTo>
                  <a:lnTo>
                    <a:pt x="322" y="86"/>
                  </a:lnTo>
                  <a:lnTo>
                    <a:pt x="320" y="86"/>
                  </a:lnTo>
                  <a:lnTo>
                    <a:pt x="320" y="84"/>
                  </a:lnTo>
                  <a:lnTo>
                    <a:pt x="322" y="84"/>
                  </a:lnTo>
                  <a:lnTo>
                    <a:pt x="320" y="84"/>
                  </a:lnTo>
                  <a:lnTo>
                    <a:pt x="322" y="84"/>
                  </a:lnTo>
                  <a:close/>
                  <a:moveTo>
                    <a:pt x="328" y="84"/>
                  </a:moveTo>
                  <a:lnTo>
                    <a:pt x="326" y="84"/>
                  </a:lnTo>
                  <a:lnTo>
                    <a:pt x="326" y="86"/>
                  </a:lnTo>
                  <a:lnTo>
                    <a:pt x="326" y="88"/>
                  </a:lnTo>
                  <a:lnTo>
                    <a:pt x="326" y="86"/>
                  </a:lnTo>
                  <a:lnTo>
                    <a:pt x="326" y="84"/>
                  </a:lnTo>
                  <a:lnTo>
                    <a:pt x="326" y="86"/>
                  </a:lnTo>
                  <a:lnTo>
                    <a:pt x="326" y="84"/>
                  </a:lnTo>
                  <a:lnTo>
                    <a:pt x="328" y="84"/>
                  </a:lnTo>
                  <a:close/>
                  <a:moveTo>
                    <a:pt x="320" y="86"/>
                  </a:moveTo>
                  <a:lnTo>
                    <a:pt x="320" y="84"/>
                  </a:lnTo>
                  <a:lnTo>
                    <a:pt x="320" y="86"/>
                  </a:lnTo>
                  <a:close/>
                  <a:moveTo>
                    <a:pt x="322" y="86"/>
                  </a:moveTo>
                  <a:lnTo>
                    <a:pt x="320" y="86"/>
                  </a:lnTo>
                  <a:lnTo>
                    <a:pt x="322" y="86"/>
                  </a:lnTo>
                  <a:close/>
                  <a:moveTo>
                    <a:pt x="320" y="86"/>
                  </a:moveTo>
                  <a:lnTo>
                    <a:pt x="322" y="86"/>
                  </a:lnTo>
                  <a:lnTo>
                    <a:pt x="320" y="86"/>
                  </a:lnTo>
                  <a:close/>
                  <a:moveTo>
                    <a:pt x="322" y="86"/>
                  </a:moveTo>
                  <a:lnTo>
                    <a:pt x="320" y="86"/>
                  </a:lnTo>
                  <a:lnTo>
                    <a:pt x="322" y="86"/>
                  </a:lnTo>
                  <a:close/>
                  <a:moveTo>
                    <a:pt x="324" y="84"/>
                  </a:moveTo>
                  <a:lnTo>
                    <a:pt x="324" y="86"/>
                  </a:lnTo>
                  <a:lnTo>
                    <a:pt x="324" y="84"/>
                  </a:lnTo>
                  <a:close/>
                  <a:moveTo>
                    <a:pt x="326" y="84"/>
                  </a:moveTo>
                  <a:lnTo>
                    <a:pt x="326" y="86"/>
                  </a:lnTo>
                  <a:lnTo>
                    <a:pt x="326" y="84"/>
                  </a:lnTo>
                  <a:close/>
                  <a:moveTo>
                    <a:pt x="326" y="84"/>
                  </a:moveTo>
                  <a:lnTo>
                    <a:pt x="326" y="86"/>
                  </a:lnTo>
                  <a:lnTo>
                    <a:pt x="324" y="86"/>
                  </a:lnTo>
                  <a:lnTo>
                    <a:pt x="324" y="84"/>
                  </a:lnTo>
                  <a:lnTo>
                    <a:pt x="326" y="84"/>
                  </a:lnTo>
                  <a:close/>
                  <a:moveTo>
                    <a:pt x="320" y="86"/>
                  </a:moveTo>
                  <a:lnTo>
                    <a:pt x="322" y="86"/>
                  </a:lnTo>
                  <a:lnTo>
                    <a:pt x="320" y="86"/>
                  </a:lnTo>
                  <a:lnTo>
                    <a:pt x="322" y="86"/>
                  </a:lnTo>
                  <a:lnTo>
                    <a:pt x="320" y="86"/>
                  </a:lnTo>
                  <a:close/>
                  <a:moveTo>
                    <a:pt x="326" y="84"/>
                  </a:moveTo>
                  <a:lnTo>
                    <a:pt x="326" y="86"/>
                  </a:lnTo>
                  <a:lnTo>
                    <a:pt x="326" y="84"/>
                  </a:lnTo>
                  <a:close/>
                  <a:moveTo>
                    <a:pt x="322" y="86"/>
                  </a:moveTo>
                  <a:lnTo>
                    <a:pt x="322" y="88"/>
                  </a:lnTo>
                  <a:lnTo>
                    <a:pt x="322" y="86"/>
                  </a:lnTo>
                  <a:lnTo>
                    <a:pt x="322" y="88"/>
                  </a:lnTo>
                  <a:lnTo>
                    <a:pt x="322" y="86"/>
                  </a:lnTo>
                  <a:lnTo>
                    <a:pt x="322" y="88"/>
                  </a:lnTo>
                  <a:lnTo>
                    <a:pt x="322" y="86"/>
                  </a:lnTo>
                  <a:close/>
                  <a:moveTo>
                    <a:pt x="322" y="86"/>
                  </a:moveTo>
                  <a:lnTo>
                    <a:pt x="322" y="88"/>
                  </a:lnTo>
                  <a:lnTo>
                    <a:pt x="322" y="86"/>
                  </a:lnTo>
                  <a:lnTo>
                    <a:pt x="322" y="88"/>
                  </a:lnTo>
                  <a:lnTo>
                    <a:pt x="322" y="86"/>
                  </a:lnTo>
                  <a:close/>
                  <a:moveTo>
                    <a:pt x="322" y="88"/>
                  </a:moveTo>
                  <a:lnTo>
                    <a:pt x="320" y="88"/>
                  </a:lnTo>
                  <a:lnTo>
                    <a:pt x="322" y="88"/>
                  </a:lnTo>
                  <a:lnTo>
                    <a:pt x="320" y="88"/>
                  </a:lnTo>
                  <a:lnTo>
                    <a:pt x="322" y="88"/>
                  </a:lnTo>
                  <a:close/>
                  <a:moveTo>
                    <a:pt x="326" y="86"/>
                  </a:moveTo>
                  <a:lnTo>
                    <a:pt x="326" y="88"/>
                  </a:lnTo>
                  <a:lnTo>
                    <a:pt x="324" y="88"/>
                  </a:lnTo>
                  <a:lnTo>
                    <a:pt x="324" y="86"/>
                  </a:lnTo>
                  <a:lnTo>
                    <a:pt x="326" y="86"/>
                  </a:lnTo>
                  <a:close/>
                  <a:moveTo>
                    <a:pt x="324" y="88"/>
                  </a:moveTo>
                  <a:lnTo>
                    <a:pt x="326" y="88"/>
                  </a:lnTo>
                  <a:lnTo>
                    <a:pt x="326" y="90"/>
                  </a:lnTo>
                  <a:lnTo>
                    <a:pt x="324" y="90"/>
                  </a:lnTo>
                  <a:lnTo>
                    <a:pt x="326" y="90"/>
                  </a:lnTo>
                  <a:lnTo>
                    <a:pt x="324" y="90"/>
                  </a:lnTo>
                  <a:lnTo>
                    <a:pt x="326" y="90"/>
                  </a:lnTo>
                  <a:lnTo>
                    <a:pt x="324" y="90"/>
                  </a:lnTo>
                  <a:lnTo>
                    <a:pt x="324" y="88"/>
                  </a:lnTo>
                  <a:lnTo>
                    <a:pt x="326" y="88"/>
                  </a:lnTo>
                  <a:lnTo>
                    <a:pt x="324" y="88"/>
                  </a:lnTo>
                  <a:close/>
                  <a:moveTo>
                    <a:pt x="322" y="88"/>
                  </a:moveTo>
                  <a:lnTo>
                    <a:pt x="322" y="90"/>
                  </a:lnTo>
                  <a:lnTo>
                    <a:pt x="322" y="92"/>
                  </a:lnTo>
                  <a:lnTo>
                    <a:pt x="322" y="94"/>
                  </a:lnTo>
                  <a:lnTo>
                    <a:pt x="324" y="94"/>
                  </a:lnTo>
                  <a:lnTo>
                    <a:pt x="322" y="94"/>
                  </a:lnTo>
                  <a:lnTo>
                    <a:pt x="322" y="96"/>
                  </a:lnTo>
                  <a:lnTo>
                    <a:pt x="322" y="94"/>
                  </a:lnTo>
                  <a:lnTo>
                    <a:pt x="322" y="96"/>
                  </a:lnTo>
                  <a:lnTo>
                    <a:pt x="322" y="94"/>
                  </a:lnTo>
                  <a:lnTo>
                    <a:pt x="322" y="92"/>
                  </a:lnTo>
                  <a:lnTo>
                    <a:pt x="322" y="94"/>
                  </a:lnTo>
                  <a:lnTo>
                    <a:pt x="322" y="92"/>
                  </a:lnTo>
                  <a:lnTo>
                    <a:pt x="320" y="92"/>
                  </a:lnTo>
                  <a:lnTo>
                    <a:pt x="322" y="92"/>
                  </a:lnTo>
                  <a:lnTo>
                    <a:pt x="320" y="92"/>
                  </a:lnTo>
                  <a:lnTo>
                    <a:pt x="322" y="92"/>
                  </a:lnTo>
                  <a:lnTo>
                    <a:pt x="322" y="90"/>
                  </a:lnTo>
                  <a:lnTo>
                    <a:pt x="320" y="90"/>
                  </a:lnTo>
                  <a:lnTo>
                    <a:pt x="322" y="90"/>
                  </a:lnTo>
                  <a:lnTo>
                    <a:pt x="320" y="90"/>
                  </a:lnTo>
                  <a:lnTo>
                    <a:pt x="320" y="88"/>
                  </a:lnTo>
                  <a:lnTo>
                    <a:pt x="322" y="88"/>
                  </a:lnTo>
                  <a:lnTo>
                    <a:pt x="322" y="90"/>
                  </a:lnTo>
                  <a:lnTo>
                    <a:pt x="322" y="88"/>
                  </a:lnTo>
                  <a:close/>
                  <a:moveTo>
                    <a:pt x="320" y="90"/>
                  </a:moveTo>
                  <a:lnTo>
                    <a:pt x="320" y="88"/>
                  </a:lnTo>
                  <a:lnTo>
                    <a:pt x="320" y="90"/>
                  </a:lnTo>
                  <a:close/>
                  <a:moveTo>
                    <a:pt x="320" y="90"/>
                  </a:moveTo>
                  <a:lnTo>
                    <a:pt x="320" y="88"/>
                  </a:lnTo>
                  <a:lnTo>
                    <a:pt x="320" y="90"/>
                  </a:lnTo>
                  <a:close/>
                  <a:moveTo>
                    <a:pt x="324" y="88"/>
                  </a:moveTo>
                  <a:lnTo>
                    <a:pt x="322" y="90"/>
                  </a:lnTo>
                  <a:lnTo>
                    <a:pt x="322" y="88"/>
                  </a:lnTo>
                  <a:lnTo>
                    <a:pt x="324" y="88"/>
                  </a:lnTo>
                  <a:lnTo>
                    <a:pt x="322" y="88"/>
                  </a:lnTo>
                  <a:lnTo>
                    <a:pt x="324" y="88"/>
                  </a:lnTo>
                  <a:lnTo>
                    <a:pt x="322" y="88"/>
                  </a:lnTo>
                  <a:lnTo>
                    <a:pt x="324" y="88"/>
                  </a:lnTo>
                  <a:close/>
                  <a:moveTo>
                    <a:pt x="322" y="88"/>
                  </a:moveTo>
                  <a:lnTo>
                    <a:pt x="322" y="90"/>
                  </a:lnTo>
                  <a:lnTo>
                    <a:pt x="322" y="88"/>
                  </a:lnTo>
                  <a:lnTo>
                    <a:pt x="322" y="90"/>
                  </a:lnTo>
                  <a:lnTo>
                    <a:pt x="322" y="88"/>
                  </a:lnTo>
                  <a:close/>
                  <a:moveTo>
                    <a:pt x="302" y="94"/>
                  </a:moveTo>
                  <a:lnTo>
                    <a:pt x="304" y="94"/>
                  </a:lnTo>
                  <a:lnTo>
                    <a:pt x="302" y="94"/>
                  </a:lnTo>
                  <a:close/>
                  <a:moveTo>
                    <a:pt x="324" y="90"/>
                  </a:moveTo>
                  <a:lnTo>
                    <a:pt x="324" y="88"/>
                  </a:lnTo>
                  <a:lnTo>
                    <a:pt x="324" y="90"/>
                  </a:lnTo>
                  <a:lnTo>
                    <a:pt x="324" y="88"/>
                  </a:lnTo>
                  <a:lnTo>
                    <a:pt x="324" y="90"/>
                  </a:lnTo>
                  <a:close/>
                  <a:moveTo>
                    <a:pt x="302" y="94"/>
                  </a:moveTo>
                  <a:lnTo>
                    <a:pt x="302" y="96"/>
                  </a:lnTo>
                  <a:lnTo>
                    <a:pt x="302" y="94"/>
                  </a:lnTo>
                  <a:close/>
                  <a:moveTo>
                    <a:pt x="302" y="96"/>
                  </a:moveTo>
                  <a:lnTo>
                    <a:pt x="302" y="94"/>
                  </a:lnTo>
                  <a:lnTo>
                    <a:pt x="302" y="96"/>
                  </a:lnTo>
                  <a:close/>
                  <a:moveTo>
                    <a:pt x="296" y="98"/>
                  </a:moveTo>
                  <a:lnTo>
                    <a:pt x="296" y="96"/>
                  </a:lnTo>
                  <a:lnTo>
                    <a:pt x="296" y="98"/>
                  </a:lnTo>
                  <a:close/>
                  <a:moveTo>
                    <a:pt x="324" y="90"/>
                  </a:moveTo>
                  <a:lnTo>
                    <a:pt x="324" y="92"/>
                  </a:lnTo>
                  <a:lnTo>
                    <a:pt x="324" y="90"/>
                  </a:lnTo>
                  <a:close/>
                  <a:moveTo>
                    <a:pt x="316" y="92"/>
                  </a:moveTo>
                  <a:lnTo>
                    <a:pt x="316" y="94"/>
                  </a:lnTo>
                  <a:lnTo>
                    <a:pt x="316" y="92"/>
                  </a:lnTo>
                  <a:lnTo>
                    <a:pt x="316" y="94"/>
                  </a:lnTo>
                  <a:lnTo>
                    <a:pt x="316" y="92"/>
                  </a:lnTo>
                  <a:close/>
                  <a:moveTo>
                    <a:pt x="326" y="92"/>
                  </a:moveTo>
                  <a:lnTo>
                    <a:pt x="324" y="92"/>
                  </a:lnTo>
                  <a:lnTo>
                    <a:pt x="326" y="92"/>
                  </a:lnTo>
                  <a:lnTo>
                    <a:pt x="326" y="90"/>
                  </a:lnTo>
                  <a:lnTo>
                    <a:pt x="326" y="92"/>
                  </a:lnTo>
                  <a:close/>
                  <a:moveTo>
                    <a:pt x="324" y="92"/>
                  </a:moveTo>
                  <a:lnTo>
                    <a:pt x="324" y="90"/>
                  </a:lnTo>
                  <a:lnTo>
                    <a:pt x="324" y="92"/>
                  </a:lnTo>
                  <a:close/>
                  <a:moveTo>
                    <a:pt x="326" y="90"/>
                  </a:moveTo>
                  <a:lnTo>
                    <a:pt x="324" y="90"/>
                  </a:lnTo>
                  <a:lnTo>
                    <a:pt x="326" y="90"/>
                  </a:lnTo>
                  <a:lnTo>
                    <a:pt x="324" y="90"/>
                  </a:lnTo>
                  <a:lnTo>
                    <a:pt x="326" y="90"/>
                  </a:lnTo>
                  <a:close/>
                  <a:moveTo>
                    <a:pt x="326" y="90"/>
                  </a:moveTo>
                  <a:lnTo>
                    <a:pt x="326" y="92"/>
                  </a:lnTo>
                  <a:lnTo>
                    <a:pt x="326" y="90"/>
                  </a:lnTo>
                  <a:lnTo>
                    <a:pt x="326" y="92"/>
                  </a:lnTo>
                  <a:lnTo>
                    <a:pt x="326" y="90"/>
                  </a:lnTo>
                  <a:close/>
                  <a:moveTo>
                    <a:pt x="326" y="92"/>
                  </a:moveTo>
                  <a:lnTo>
                    <a:pt x="324" y="92"/>
                  </a:lnTo>
                  <a:lnTo>
                    <a:pt x="324" y="90"/>
                  </a:lnTo>
                  <a:lnTo>
                    <a:pt x="326" y="92"/>
                  </a:lnTo>
                  <a:close/>
                  <a:moveTo>
                    <a:pt x="288" y="102"/>
                  </a:moveTo>
                  <a:lnTo>
                    <a:pt x="288" y="100"/>
                  </a:lnTo>
                  <a:lnTo>
                    <a:pt x="288" y="102"/>
                  </a:lnTo>
                  <a:close/>
                  <a:moveTo>
                    <a:pt x="326" y="92"/>
                  </a:moveTo>
                  <a:lnTo>
                    <a:pt x="324" y="92"/>
                  </a:lnTo>
                  <a:lnTo>
                    <a:pt x="326" y="92"/>
                  </a:lnTo>
                  <a:close/>
                  <a:moveTo>
                    <a:pt x="320" y="94"/>
                  </a:moveTo>
                  <a:lnTo>
                    <a:pt x="320" y="92"/>
                  </a:lnTo>
                  <a:lnTo>
                    <a:pt x="320" y="94"/>
                  </a:lnTo>
                  <a:close/>
                  <a:moveTo>
                    <a:pt x="320" y="94"/>
                  </a:moveTo>
                  <a:lnTo>
                    <a:pt x="320" y="92"/>
                  </a:lnTo>
                  <a:lnTo>
                    <a:pt x="320" y="94"/>
                  </a:lnTo>
                  <a:close/>
                  <a:moveTo>
                    <a:pt x="326" y="92"/>
                  </a:moveTo>
                  <a:lnTo>
                    <a:pt x="326" y="94"/>
                  </a:lnTo>
                  <a:lnTo>
                    <a:pt x="326" y="92"/>
                  </a:lnTo>
                  <a:lnTo>
                    <a:pt x="326" y="94"/>
                  </a:lnTo>
                  <a:lnTo>
                    <a:pt x="324" y="94"/>
                  </a:lnTo>
                  <a:lnTo>
                    <a:pt x="324" y="92"/>
                  </a:lnTo>
                  <a:lnTo>
                    <a:pt x="324" y="94"/>
                  </a:lnTo>
                  <a:lnTo>
                    <a:pt x="324" y="92"/>
                  </a:lnTo>
                  <a:lnTo>
                    <a:pt x="324" y="94"/>
                  </a:lnTo>
                  <a:lnTo>
                    <a:pt x="324" y="92"/>
                  </a:lnTo>
                  <a:lnTo>
                    <a:pt x="326" y="92"/>
                  </a:lnTo>
                  <a:lnTo>
                    <a:pt x="324" y="92"/>
                  </a:lnTo>
                  <a:lnTo>
                    <a:pt x="324" y="94"/>
                  </a:lnTo>
                  <a:lnTo>
                    <a:pt x="326" y="94"/>
                  </a:lnTo>
                  <a:lnTo>
                    <a:pt x="324" y="94"/>
                  </a:lnTo>
                  <a:lnTo>
                    <a:pt x="326" y="94"/>
                  </a:lnTo>
                  <a:lnTo>
                    <a:pt x="324" y="94"/>
                  </a:lnTo>
                  <a:lnTo>
                    <a:pt x="324" y="92"/>
                  </a:lnTo>
                  <a:lnTo>
                    <a:pt x="326" y="92"/>
                  </a:lnTo>
                  <a:close/>
                  <a:moveTo>
                    <a:pt x="322" y="92"/>
                  </a:moveTo>
                  <a:lnTo>
                    <a:pt x="322" y="94"/>
                  </a:lnTo>
                  <a:lnTo>
                    <a:pt x="322" y="92"/>
                  </a:lnTo>
                  <a:close/>
                  <a:moveTo>
                    <a:pt x="324" y="92"/>
                  </a:moveTo>
                  <a:lnTo>
                    <a:pt x="324" y="94"/>
                  </a:lnTo>
                  <a:lnTo>
                    <a:pt x="324" y="92"/>
                  </a:lnTo>
                  <a:close/>
                  <a:moveTo>
                    <a:pt x="324" y="94"/>
                  </a:moveTo>
                  <a:lnTo>
                    <a:pt x="324" y="96"/>
                  </a:lnTo>
                  <a:lnTo>
                    <a:pt x="324" y="94"/>
                  </a:lnTo>
                  <a:lnTo>
                    <a:pt x="322" y="94"/>
                  </a:lnTo>
                  <a:lnTo>
                    <a:pt x="324" y="94"/>
                  </a:lnTo>
                  <a:lnTo>
                    <a:pt x="324" y="96"/>
                  </a:lnTo>
                  <a:lnTo>
                    <a:pt x="322" y="96"/>
                  </a:lnTo>
                  <a:lnTo>
                    <a:pt x="322" y="94"/>
                  </a:lnTo>
                  <a:lnTo>
                    <a:pt x="324" y="94"/>
                  </a:lnTo>
                  <a:close/>
                  <a:moveTo>
                    <a:pt x="326" y="94"/>
                  </a:moveTo>
                  <a:lnTo>
                    <a:pt x="324" y="94"/>
                  </a:lnTo>
                  <a:lnTo>
                    <a:pt x="326" y="94"/>
                  </a:lnTo>
                  <a:lnTo>
                    <a:pt x="324" y="94"/>
                  </a:lnTo>
                  <a:lnTo>
                    <a:pt x="326" y="94"/>
                  </a:lnTo>
                  <a:close/>
                  <a:moveTo>
                    <a:pt x="324" y="94"/>
                  </a:moveTo>
                  <a:lnTo>
                    <a:pt x="326" y="94"/>
                  </a:lnTo>
                  <a:lnTo>
                    <a:pt x="324" y="94"/>
                  </a:lnTo>
                  <a:close/>
                  <a:moveTo>
                    <a:pt x="324" y="94"/>
                  </a:moveTo>
                  <a:lnTo>
                    <a:pt x="324" y="96"/>
                  </a:lnTo>
                  <a:lnTo>
                    <a:pt x="324" y="94"/>
                  </a:lnTo>
                  <a:lnTo>
                    <a:pt x="324" y="96"/>
                  </a:lnTo>
                  <a:lnTo>
                    <a:pt x="324" y="94"/>
                  </a:lnTo>
                  <a:close/>
                  <a:moveTo>
                    <a:pt x="324" y="94"/>
                  </a:moveTo>
                  <a:lnTo>
                    <a:pt x="324" y="96"/>
                  </a:lnTo>
                  <a:lnTo>
                    <a:pt x="324" y="94"/>
                  </a:lnTo>
                  <a:close/>
                  <a:moveTo>
                    <a:pt x="324" y="96"/>
                  </a:moveTo>
                  <a:lnTo>
                    <a:pt x="324" y="94"/>
                  </a:lnTo>
                  <a:lnTo>
                    <a:pt x="324" y="96"/>
                  </a:lnTo>
                  <a:close/>
                  <a:moveTo>
                    <a:pt x="324" y="96"/>
                  </a:moveTo>
                  <a:lnTo>
                    <a:pt x="324" y="94"/>
                  </a:lnTo>
                  <a:lnTo>
                    <a:pt x="324" y="96"/>
                  </a:lnTo>
                  <a:close/>
                  <a:moveTo>
                    <a:pt x="324" y="96"/>
                  </a:moveTo>
                  <a:lnTo>
                    <a:pt x="322" y="96"/>
                  </a:lnTo>
                  <a:lnTo>
                    <a:pt x="324" y="96"/>
                  </a:lnTo>
                  <a:lnTo>
                    <a:pt x="322" y="96"/>
                  </a:lnTo>
                  <a:lnTo>
                    <a:pt x="324" y="96"/>
                  </a:lnTo>
                  <a:close/>
                  <a:moveTo>
                    <a:pt x="324" y="96"/>
                  </a:moveTo>
                  <a:lnTo>
                    <a:pt x="322" y="96"/>
                  </a:lnTo>
                  <a:lnTo>
                    <a:pt x="324" y="96"/>
                  </a:lnTo>
                  <a:close/>
                  <a:moveTo>
                    <a:pt x="324" y="96"/>
                  </a:moveTo>
                  <a:lnTo>
                    <a:pt x="324" y="98"/>
                  </a:lnTo>
                  <a:lnTo>
                    <a:pt x="324" y="96"/>
                  </a:lnTo>
                  <a:close/>
                  <a:moveTo>
                    <a:pt x="322" y="96"/>
                  </a:moveTo>
                  <a:lnTo>
                    <a:pt x="322" y="98"/>
                  </a:lnTo>
                  <a:lnTo>
                    <a:pt x="322" y="96"/>
                  </a:lnTo>
                  <a:close/>
                  <a:moveTo>
                    <a:pt x="322" y="98"/>
                  </a:moveTo>
                  <a:lnTo>
                    <a:pt x="324" y="98"/>
                  </a:lnTo>
                  <a:lnTo>
                    <a:pt x="322" y="98"/>
                  </a:lnTo>
                  <a:close/>
                  <a:moveTo>
                    <a:pt x="320" y="98"/>
                  </a:moveTo>
                  <a:lnTo>
                    <a:pt x="322" y="98"/>
                  </a:lnTo>
                  <a:lnTo>
                    <a:pt x="320" y="98"/>
                  </a:lnTo>
                  <a:close/>
                  <a:moveTo>
                    <a:pt x="322" y="100"/>
                  </a:moveTo>
                  <a:lnTo>
                    <a:pt x="320" y="100"/>
                  </a:lnTo>
                  <a:lnTo>
                    <a:pt x="322" y="100"/>
                  </a:lnTo>
                  <a:close/>
                  <a:moveTo>
                    <a:pt x="320" y="100"/>
                  </a:moveTo>
                  <a:lnTo>
                    <a:pt x="322" y="100"/>
                  </a:lnTo>
                  <a:lnTo>
                    <a:pt x="320" y="100"/>
                  </a:lnTo>
                  <a:close/>
                  <a:moveTo>
                    <a:pt x="308" y="108"/>
                  </a:moveTo>
                  <a:lnTo>
                    <a:pt x="308" y="110"/>
                  </a:lnTo>
                  <a:lnTo>
                    <a:pt x="308" y="108"/>
                  </a:lnTo>
                  <a:close/>
                  <a:moveTo>
                    <a:pt x="310" y="110"/>
                  </a:moveTo>
                  <a:lnTo>
                    <a:pt x="308" y="110"/>
                  </a:lnTo>
                  <a:lnTo>
                    <a:pt x="310" y="110"/>
                  </a:lnTo>
                  <a:close/>
                  <a:moveTo>
                    <a:pt x="328" y="120"/>
                  </a:moveTo>
                  <a:lnTo>
                    <a:pt x="328" y="122"/>
                  </a:lnTo>
                  <a:lnTo>
                    <a:pt x="328" y="120"/>
                  </a:lnTo>
                  <a:lnTo>
                    <a:pt x="328" y="122"/>
                  </a:lnTo>
                  <a:lnTo>
                    <a:pt x="328" y="120"/>
                  </a:lnTo>
                  <a:lnTo>
                    <a:pt x="326" y="120"/>
                  </a:lnTo>
                  <a:lnTo>
                    <a:pt x="328" y="120"/>
                  </a:lnTo>
                  <a:lnTo>
                    <a:pt x="326" y="120"/>
                  </a:lnTo>
                  <a:lnTo>
                    <a:pt x="328" y="120"/>
                  </a:lnTo>
                  <a:close/>
                  <a:moveTo>
                    <a:pt x="326" y="120"/>
                  </a:moveTo>
                  <a:lnTo>
                    <a:pt x="326" y="122"/>
                  </a:lnTo>
                  <a:lnTo>
                    <a:pt x="326" y="120"/>
                  </a:lnTo>
                  <a:lnTo>
                    <a:pt x="326" y="122"/>
                  </a:lnTo>
                  <a:lnTo>
                    <a:pt x="326" y="120"/>
                  </a:lnTo>
                  <a:lnTo>
                    <a:pt x="326" y="122"/>
                  </a:lnTo>
                  <a:lnTo>
                    <a:pt x="326" y="120"/>
                  </a:lnTo>
                  <a:close/>
                  <a:moveTo>
                    <a:pt x="328" y="120"/>
                  </a:moveTo>
                  <a:lnTo>
                    <a:pt x="326" y="122"/>
                  </a:lnTo>
                  <a:lnTo>
                    <a:pt x="328" y="122"/>
                  </a:lnTo>
                  <a:lnTo>
                    <a:pt x="326" y="122"/>
                  </a:lnTo>
                  <a:lnTo>
                    <a:pt x="328" y="122"/>
                  </a:lnTo>
                  <a:lnTo>
                    <a:pt x="326" y="122"/>
                  </a:lnTo>
                  <a:lnTo>
                    <a:pt x="328" y="122"/>
                  </a:lnTo>
                  <a:lnTo>
                    <a:pt x="326" y="122"/>
                  </a:lnTo>
                  <a:lnTo>
                    <a:pt x="326" y="120"/>
                  </a:lnTo>
                  <a:lnTo>
                    <a:pt x="328" y="120"/>
                  </a:lnTo>
                  <a:close/>
                  <a:moveTo>
                    <a:pt x="328" y="122"/>
                  </a:moveTo>
                  <a:lnTo>
                    <a:pt x="328" y="124"/>
                  </a:lnTo>
                  <a:lnTo>
                    <a:pt x="328" y="122"/>
                  </a:lnTo>
                  <a:lnTo>
                    <a:pt x="328" y="124"/>
                  </a:lnTo>
                  <a:lnTo>
                    <a:pt x="328" y="122"/>
                  </a:lnTo>
                  <a:lnTo>
                    <a:pt x="328" y="124"/>
                  </a:lnTo>
                  <a:lnTo>
                    <a:pt x="328" y="122"/>
                  </a:lnTo>
                  <a:lnTo>
                    <a:pt x="328" y="124"/>
                  </a:lnTo>
                  <a:lnTo>
                    <a:pt x="328" y="122"/>
                  </a:lnTo>
                  <a:close/>
                  <a:moveTo>
                    <a:pt x="328" y="124"/>
                  </a:moveTo>
                  <a:lnTo>
                    <a:pt x="326" y="124"/>
                  </a:lnTo>
                  <a:lnTo>
                    <a:pt x="328" y="124"/>
                  </a:lnTo>
                  <a:close/>
                  <a:moveTo>
                    <a:pt x="330" y="124"/>
                  </a:moveTo>
                  <a:lnTo>
                    <a:pt x="328" y="124"/>
                  </a:lnTo>
                  <a:lnTo>
                    <a:pt x="330" y="124"/>
                  </a:lnTo>
                  <a:lnTo>
                    <a:pt x="328" y="124"/>
                  </a:lnTo>
                  <a:lnTo>
                    <a:pt x="330" y="124"/>
                  </a:lnTo>
                  <a:close/>
                  <a:moveTo>
                    <a:pt x="330" y="126"/>
                  </a:moveTo>
                  <a:lnTo>
                    <a:pt x="328" y="126"/>
                  </a:lnTo>
                  <a:lnTo>
                    <a:pt x="328" y="124"/>
                  </a:lnTo>
                  <a:lnTo>
                    <a:pt x="330" y="124"/>
                  </a:lnTo>
                  <a:lnTo>
                    <a:pt x="330" y="126"/>
                  </a:lnTo>
                  <a:close/>
                  <a:moveTo>
                    <a:pt x="328" y="126"/>
                  </a:moveTo>
                  <a:lnTo>
                    <a:pt x="328" y="128"/>
                  </a:lnTo>
                  <a:lnTo>
                    <a:pt x="326" y="128"/>
                  </a:lnTo>
                  <a:lnTo>
                    <a:pt x="326" y="126"/>
                  </a:lnTo>
                  <a:lnTo>
                    <a:pt x="326" y="128"/>
                  </a:lnTo>
                  <a:lnTo>
                    <a:pt x="328" y="128"/>
                  </a:lnTo>
                  <a:lnTo>
                    <a:pt x="328" y="126"/>
                  </a:lnTo>
                  <a:lnTo>
                    <a:pt x="328" y="128"/>
                  </a:lnTo>
                  <a:lnTo>
                    <a:pt x="328" y="126"/>
                  </a:lnTo>
                  <a:lnTo>
                    <a:pt x="328" y="128"/>
                  </a:lnTo>
                  <a:lnTo>
                    <a:pt x="328" y="126"/>
                  </a:lnTo>
                  <a:lnTo>
                    <a:pt x="326" y="126"/>
                  </a:lnTo>
                  <a:lnTo>
                    <a:pt x="328" y="126"/>
                  </a:lnTo>
                  <a:close/>
                  <a:moveTo>
                    <a:pt x="330" y="126"/>
                  </a:moveTo>
                  <a:lnTo>
                    <a:pt x="332" y="126"/>
                  </a:lnTo>
                  <a:lnTo>
                    <a:pt x="330" y="126"/>
                  </a:lnTo>
                  <a:close/>
                  <a:moveTo>
                    <a:pt x="330" y="126"/>
                  </a:moveTo>
                  <a:lnTo>
                    <a:pt x="332" y="126"/>
                  </a:lnTo>
                  <a:lnTo>
                    <a:pt x="330" y="126"/>
                  </a:lnTo>
                  <a:lnTo>
                    <a:pt x="332" y="126"/>
                  </a:lnTo>
                  <a:lnTo>
                    <a:pt x="330" y="126"/>
                  </a:lnTo>
                  <a:close/>
                  <a:moveTo>
                    <a:pt x="330" y="126"/>
                  </a:moveTo>
                  <a:lnTo>
                    <a:pt x="330" y="128"/>
                  </a:lnTo>
                  <a:lnTo>
                    <a:pt x="328" y="128"/>
                  </a:lnTo>
                  <a:lnTo>
                    <a:pt x="328" y="126"/>
                  </a:lnTo>
                  <a:lnTo>
                    <a:pt x="330" y="126"/>
                  </a:lnTo>
                  <a:lnTo>
                    <a:pt x="328" y="126"/>
                  </a:lnTo>
                  <a:lnTo>
                    <a:pt x="330" y="126"/>
                  </a:lnTo>
                  <a:close/>
                  <a:moveTo>
                    <a:pt x="328" y="126"/>
                  </a:moveTo>
                  <a:lnTo>
                    <a:pt x="328" y="128"/>
                  </a:lnTo>
                  <a:lnTo>
                    <a:pt x="328" y="126"/>
                  </a:lnTo>
                  <a:close/>
                  <a:moveTo>
                    <a:pt x="328" y="128"/>
                  </a:moveTo>
                  <a:lnTo>
                    <a:pt x="328" y="126"/>
                  </a:lnTo>
                  <a:lnTo>
                    <a:pt x="328" y="128"/>
                  </a:lnTo>
                  <a:close/>
                  <a:moveTo>
                    <a:pt x="328" y="128"/>
                  </a:moveTo>
                  <a:lnTo>
                    <a:pt x="328" y="126"/>
                  </a:lnTo>
                  <a:lnTo>
                    <a:pt x="328" y="128"/>
                  </a:lnTo>
                  <a:close/>
                  <a:moveTo>
                    <a:pt x="332" y="126"/>
                  </a:moveTo>
                  <a:lnTo>
                    <a:pt x="330" y="126"/>
                  </a:lnTo>
                  <a:lnTo>
                    <a:pt x="332" y="126"/>
                  </a:lnTo>
                  <a:close/>
                </a:path>
              </a:pathLst>
            </a:custGeom>
            <a:solidFill>
              <a:srgbClr val="D9D9D9"/>
            </a:solidFill>
            <a:ln w="3175">
              <a:solidFill>
                <a:sysClr val="window" lastClr="FFFF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black"/>
                </a:solidFill>
                <a:effectLst/>
                <a:uLnTx/>
                <a:uFillTx/>
                <a:ea typeface="宋体" panose="02010600030101010101" pitchFamily="2" charset="-122"/>
              </a:endParaRPr>
            </a:p>
          </p:txBody>
        </p:sp>
        <p:sp>
          <p:nvSpPr>
            <p:cNvPr id="47" name="Freeform 3783">
              <a:extLst>
                <a:ext uri="{FF2B5EF4-FFF2-40B4-BE49-F238E27FC236}">
                  <a16:creationId xmlns:a16="http://schemas.microsoft.com/office/drawing/2014/main" id="{87A11AD3-73CC-A4B8-6B92-6E605CF772B8}"/>
                </a:ext>
              </a:extLst>
            </p:cNvPr>
            <p:cNvSpPr>
              <a:spLocks noEditPoints="1"/>
            </p:cNvSpPr>
            <p:nvPr/>
          </p:nvSpPr>
          <p:spPr bwMode="auto">
            <a:xfrm>
              <a:off x="6305551" y="3170238"/>
              <a:ext cx="304800" cy="149225"/>
            </a:xfrm>
            <a:custGeom>
              <a:avLst/>
              <a:gdLst>
                <a:gd name="T0" fmla="*/ 158 w 192"/>
                <a:gd name="T1" fmla="*/ 90 h 94"/>
                <a:gd name="T2" fmla="*/ 158 w 192"/>
                <a:gd name="T3" fmla="*/ 88 h 94"/>
                <a:gd name="T4" fmla="*/ 188 w 192"/>
                <a:gd name="T5" fmla="*/ 80 h 94"/>
                <a:gd name="T6" fmla="*/ 192 w 192"/>
                <a:gd name="T7" fmla="*/ 64 h 94"/>
                <a:gd name="T8" fmla="*/ 136 w 192"/>
                <a:gd name="T9" fmla="*/ 44 h 94"/>
                <a:gd name="T10" fmla="*/ 132 w 192"/>
                <a:gd name="T11" fmla="*/ 44 h 94"/>
                <a:gd name="T12" fmla="*/ 150 w 192"/>
                <a:gd name="T13" fmla="*/ 10 h 94"/>
                <a:gd name="T14" fmla="*/ 166 w 192"/>
                <a:gd name="T15" fmla="*/ 62 h 94"/>
                <a:gd name="T16" fmla="*/ 188 w 192"/>
                <a:gd name="T17" fmla="*/ 60 h 94"/>
                <a:gd name="T18" fmla="*/ 190 w 192"/>
                <a:gd name="T19" fmla="*/ 68 h 94"/>
                <a:gd name="T20" fmla="*/ 186 w 192"/>
                <a:gd name="T21" fmla="*/ 78 h 94"/>
                <a:gd name="T22" fmla="*/ 172 w 192"/>
                <a:gd name="T23" fmla="*/ 84 h 94"/>
                <a:gd name="T24" fmla="*/ 166 w 192"/>
                <a:gd name="T25" fmla="*/ 90 h 94"/>
                <a:gd name="T26" fmla="*/ 166 w 192"/>
                <a:gd name="T27" fmla="*/ 86 h 94"/>
                <a:gd name="T28" fmla="*/ 166 w 192"/>
                <a:gd name="T29" fmla="*/ 80 h 94"/>
                <a:gd name="T30" fmla="*/ 166 w 192"/>
                <a:gd name="T31" fmla="*/ 74 h 94"/>
                <a:gd name="T32" fmla="*/ 154 w 192"/>
                <a:gd name="T33" fmla="*/ 68 h 94"/>
                <a:gd name="T34" fmla="*/ 150 w 192"/>
                <a:gd name="T35" fmla="*/ 74 h 94"/>
                <a:gd name="T36" fmla="*/ 144 w 192"/>
                <a:gd name="T37" fmla="*/ 72 h 94"/>
                <a:gd name="T38" fmla="*/ 146 w 192"/>
                <a:gd name="T39" fmla="*/ 64 h 94"/>
                <a:gd name="T40" fmla="*/ 142 w 192"/>
                <a:gd name="T41" fmla="*/ 62 h 94"/>
                <a:gd name="T42" fmla="*/ 146 w 192"/>
                <a:gd name="T43" fmla="*/ 58 h 94"/>
                <a:gd name="T44" fmla="*/ 152 w 192"/>
                <a:gd name="T45" fmla="*/ 58 h 94"/>
                <a:gd name="T46" fmla="*/ 146 w 192"/>
                <a:gd name="T47" fmla="*/ 56 h 94"/>
                <a:gd name="T48" fmla="*/ 146 w 192"/>
                <a:gd name="T49" fmla="*/ 54 h 94"/>
                <a:gd name="T50" fmla="*/ 140 w 192"/>
                <a:gd name="T51" fmla="*/ 54 h 94"/>
                <a:gd name="T52" fmla="*/ 138 w 192"/>
                <a:gd name="T53" fmla="*/ 54 h 94"/>
                <a:gd name="T54" fmla="*/ 136 w 192"/>
                <a:gd name="T55" fmla="*/ 54 h 94"/>
                <a:gd name="T56" fmla="*/ 146 w 192"/>
                <a:gd name="T57" fmla="*/ 50 h 94"/>
                <a:gd name="T58" fmla="*/ 142 w 192"/>
                <a:gd name="T59" fmla="*/ 44 h 94"/>
                <a:gd name="T60" fmla="*/ 138 w 192"/>
                <a:gd name="T61" fmla="*/ 42 h 94"/>
                <a:gd name="T62" fmla="*/ 140 w 192"/>
                <a:gd name="T63" fmla="*/ 30 h 94"/>
                <a:gd name="T64" fmla="*/ 134 w 192"/>
                <a:gd name="T65" fmla="*/ 34 h 94"/>
                <a:gd name="T66" fmla="*/ 134 w 192"/>
                <a:gd name="T67" fmla="*/ 22 h 94"/>
                <a:gd name="T68" fmla="*/ 148 w 192"/>
                <a:gd name="T69" fmla="*/ 18 h 94"/>
                <a:gd name="T70" fmla="*/ 146 w 192"/>
                <a:gd name="T71" fmla="*/ 8 h 94"/>
                <a:gd name="T72" fmla="*/ 136 w 192"/>
                <a:gd name="T73" fmla="*/ 10 h 94"/>
                <a:gd name="T74" fmla="*/ 70 w 192"/>
                <a:gd name="T75" fmla="*/ 16 h 94"/>
                <a:gd name="T76" fmla="*/ 134 w 192"/>
                <a:gd name="T77" fmla="*/ 10 h 94"/>
                <a:gd name="T78" fmla="*/ 132 w 192"/>
                <a:gd name="T79" fmla="*/ 16 h 94"/>
                <a:gd name="T80" fmla="*/ 128 w 192"/>
                <a:gd name="T81" fmla="*/ 22 h 94"/>
                <a:gd name="T82" fmla="*/ 126 w 192"/>
                <a:gd name="T83" fmla="*/ 30 h 94"/>
                <a:gd name="T84" fmla="*/ 124 w 192"/>
                <a:gd name="T85" fmla="*/ 32 h 94"/>
                <a:gd name="T86" fmla="*/ 122 w 192"/>
                <a:gd name="T87" fmla="*/ 36 h 94"/>
                <a:gd name="T88" fmla="*/ 128 w 192"/>
                <a:gd name="T89" fmla="*/ 42 h 94"/>
                <a:gd name="T90" fmla="*/ 126 w 192"/>
                <a:gd name="T91" fmla="*/ 46 h 94"/>
                <a:gd name="T92" fmla="*/ 124 w 192"/>
                <a:gd name="T93" fmla="*/ 46 h 94"/>
                <a:gd name="T94" fmla="*/ 128 w 192"/>
                <a:gd name="T95" fmla="*/ 52 h 94"/>
                <a:gd name="T96" fmla="*/ 138 w 192"/>
                <a:gd name="T97" fmla="*/ 76 h 94"/>
                <a:gd name="T98" fmla="*/ 130 w 192"/>
                <a:gd name="T99" fmla="*/ 72 h 94"/>
                <a:gd name="T100" fmla="*/ 138 w 192"/>
                <a:gd name="T101" fmla="*/ 80 h 94"/>
                <a:gd name="T102" fmla="*/ 140 w 192"/>
                <a:gd name="T103" fmla="*/ 84 h 94"/>
                <a:gd name="T104" fmla="*/ 134 w 192"/>
                <a:gd name="T105" fmla="*/ 84 h 94"/>
                <a:gd name="T106" fmla="*/ 122 w 192"/>
                <a:gd name="T107" fmla="*/ 82 h 94"/>
                <a:gd name="T108" fmla="*/ 118 w 192"/>
                <a:gd name="T109" fmla="*/ 82 h 94"/>
                <a:gd name="T110" fmla="*/ 110 w 192"/>
                <a:gd name="T111" fmla="*/ 80 h 94"/>
                <a:gd name="T112" fmla="*/ 106 w 192"/>
                <a:gd name="T113" fmla="*/ 66 h 94"/>
                <a:gd name="T114" fmla="*/ 88 w 192"/>
                <a:gd name="T115" fmla="*/ 48 h 94"/>
                <a:gd name="T116" fmla="*/ 66 w 192"/>
                <a:gd name="T117" fmla="*/ 26 h 94"/>
                <a:gd name="T118" fmla="*/ 42 w 192"/>
                <a:gd name="T119" fmla="*/ 34 h 94"/>
                <a:gd name="T120" fmla="*/ 16 w 192"/>
                <a:gd name="T121" fmla="*/ 48 h 94"/>
                <a:gd name="T122" fmla="*/ 18 w 192"/>
                <a:gd name="T123" fmla="*/ 28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92" h="94">
                  <a:moveTo>
                    <a:pt x="166" y="94"/>
                  </a:moveTo>
                  <a:lnTo>
                    <a:pt x="166" y="92"/>
                  </a:lnTo>
                  <a:lnTo>
                    <a:pt x="166" y="94"/>
                  </a:lnTo>
                  <a:close/>
                  <a:moveTo>
                    <a:pt x="162" y="92"/>
                  </a:moveTo>
                  <a:lnTo>
                    <a:pt x="160" y="92"/>
                  </a:lnTo>
                  <a:lnTo>
                    <a:pt x="162" y="92"/>
                  </a:lnTo>
                  <a:close/>
                  <a:moveTo>
                    <a:pt x="158" y="92"/>
                  </a:moveTo>
                  <a:lnTo>
                    <a:pt x="160" y="92"/>
                  </a:lnTo>
                  <a:lnTo>
                    <a:pt x="160" y="94"/>
                  </a:lnTo>
                  <a:lnTo>
                    <a:pt x="158" y="92"/>
                  </a:lnTo>
                  <a:close/>
                  <a:moveTo>
                    <a:pt x="160" y="92"/>
                  </a:moveTo>
                  <a:lnTo>
                    <a:pt x="160" y="90"/>
                  </a:lnTo>
                  <a:lnTo>
                    <a:pt x="160" y="92"/>
                  </a:lnTo>
                  <a:close/>
                  <a:moveTo>
                    <a:pt x="160" y="90"/>
                  </a:moveTo>
                  <a:lnTo>
                    <a:pt x="160" y="92"/>
                  </a:lnTo>
                  <a:lnTo>
                    <a:pt x="160" y="90"/>
                  </a:lnTo>
                  <a:lnTo>
                    <a:pt x="160" y="92"/>
                  </a:lnTo>
                  <a:lnTo>
                    <a:pt x="160" y="90"/>
                  </a:lnTo>
                  <a:close/>
                  <a:moveTo>
                    <a:pt x="160" y="90"/>
                  </a:moveTo>
                  <a:lnTo>
                    <a:pt x="160" y="92"/>
                  </a:lnTo>
                  <a:lnTo>
                    <a:pt x="162" y="92"/>
                  </a:lnTo>
                  <a:lnTo>
                    <a:pt x="160" y="92"/>
                  </a:lnTo>
                  <a:lnTo>
                    <a:pt x="160" y="90"/>
                  </a:lnTo>
                  <a:close/>
                  <a:moveTo>
                    <a:pt x="158" y="90"/>
                  </a:moveTo>
                  <a:lnTo>
                    <a:pt x="160" y="90"/>
                  </a:lnTo>
                  <a:lnTo>
                    <a:pt x="160" y="92"/>
                  </a:lnTo>
                  <a:lnTo>
                    <a:pt x="158" y="92"/>
                  </a:lnTo>
                  <a:lnTo>
                    <a:pt x="160" y="92"/>
                  </a:lnTo>
                  <a:lnTo>
                    <a:pt x="158" y="92"/>
                  </a:lnTo>
                  <a:lnTo>
                    <a:pt x="158" y="90"/>
                  </a:lnTo>
                  <a:close/>
                  <a:moveTo>
                    <a:pt x="158" y="90"/>
                  </a:moveTo>
                  <a:lnTo>
                    <a:pt x="160" y="90"/>
                  </a:lnTo>
                  <a:lnTo>
                    <a:pt x="158" y="90"/>
                  </a:lnTo>
                  <a:lnTo>
                    <a:pt x="160" y="90"/>
                  </a:lnTo>
                  <a:lnTo>
                    <a:pt x="158" y="90"/>
                  </a:lnTo>
                  <a:close/>
                  <a:moveTo>
                    <a:pt x="162" y="90"/>
                  </a:moveTo>
                  <a:lnTo>
                    <a:pt x="162" y="88"/>
                  </a:lnTo>
                  <a:lnTo>
                    <a:pt x="162" y="90"/>
                  </a:lnTo>
                  <a:close/>
                  <a:moveTo>
                    <a:pt x="162" y="88"/>
                  </a:moveTo>
                  <a:lnTo>
                    <a:pt x="160" y="88"/>
                  </a:lnTo>
                  <a:lnTo>
                    <a:pt x="162" y="88"/>
                  </a:lnTo>
                  <a:close/>
                  <a:moveTo>
                    <a:pt x="158" y="88"/>
                  </a:moveTo>
                  <a:lnTo>
                    <a:pt x="160" y="88"/>
                  </a:lnTo>
                  <a:lnTo>
                    <a:pt x="158" y="88"/>
                  </a:lnTo>
                  <a:lnTo>
                    <a:pt x="160" y="88"/>
                  </a:lnTo>
                  <a:lnTo>
                    <a:pt x="160" y="90"/>
                  </a:lnTo>
                  <a:lnTo>
                    <a:pt x="160" y="88"/>
                  </a:lnTo>
                  <a:lnTo>
                    <a:pt x="158" y="88"/>
                  </a:lnTo>
                  <a:lnTo>
                    <a:pt x="160" y="88"/>
                  </a:lnTo>
                  <a:lnTo>
                    <a:pt x="160" y="90"/>
                  </a:lnTo>
                  <a:lnTo>
                    <a:pt x="162" y="90"/>
                  </a:lnTo>
                  <a:lnTo>
                    <a:pt x="160" y="90"/>
                  </a:lnTo>
                  <a:lnTo>
                    <a:pt x="162" y="90"/>
                  </a:lnTo>
                  <a:lnTo>
                    <a:pt x="160" y="90"/>
                  </a:lnTo>
                  <a:lnTo>
                    <a:pt x="162" y="90"/>
                  </a:lnTo>
                  <a:lnTo>
                    <a:pt x="160" y="90"/>
                  </a:lnTo>
                  <a:lnTo>
                    <a:pt x="162" y="90"/>
                  </a:lnTo>
                  <a:lnTo>
                    <a:pt x="160" y="90"/>
                  </a:lnTo>
                  <a:lnTo>
                    <a:pt x="160" y="92"/>
                  </a:lnTo>
                  <a:lnTo>
                    <a:pt x="160" y="90"/>
                  </a:lnTo>
                  <a:lnTo>
                    <a:pt x="160" y="88"/>
                  </a:lnTo>
                  <a:lnTo>
                    <a:pt x="160" y="90"/>
                  </a:lnTo>
                  <a:lnTo>
                    <a:pt x="160" y="88"/>
                  </a:lnTo>
                  <a:lnTo>
                    <a:pt x="158" y="88"/>
                  </a:lnTo>
                  <a:lnTo>
                    <a:pt x="160" y="88"/>
                  </a:lnTo>
                  <a:lnTo>
                    <a:pt x="160" y="90"/>
                  </a:lnTo>
                  <a:lnTo>
                    <a:pt x="158" y="90"/>
                  </a:lnTo>
                  <a:lnTo>
                    <a:pt x="158" y="88"/>
                  </a:lnTo>
                  <a:close/>
                  <a:moveTo>
                    <a:pt x="160" y="88"/>
                  </a:moveTo>
                  <a:lnTo>
                    <a:pt x="158" y="88"/>
                  </a:lnTo>
                  <a:lnTo>
                    <a:pt x="160" y="88"/>
                  </a:lnTo>
                  <a:close/>
                  <a:moveTo>
                    <a:pt x="186" y="78"/>
                  </a:moveTo>
                  <a:lnTo>
                    <a:pt x="186" y="80"/>
                  </a:lnTo>
                  <a:lnTo>
                    <a:pt x="186" y="78"/>
                  </a:lnTo>
                  <a:lnTo>
                    <a:pt x="186" y="80"/>
                  </a:lnTo>
                  <a:lnTo>
                    <a:pt x="186" y="78"/>
                  </a:lnTo>
                  <a:close/>
                  <a:moveTo>
                    <a:pt x="188" y="78"/>
                  </a:moveTo>
                  <a:lnTo>
                    <a:pt x="186" y="78"/>
                  </a:lnTo>
                  <a:lnTo>
                    <a:pt x="188" y="78"/>
                  </a:lnTo>
                  <a:close/>
                  <a:moveTo>
                    <a:pt x="186" y="78"/>
                  </a:moveTo>
                  <a:lnTo>
                    <a:pt x="186" y="76"/>
                  </a:lnTo>
                  <a:lnTo>
                    <a:pt x="186" y="78"/>
                  </a:lnTo>
                  <a:close/>
                  <a:moveTo>
                    <a:pt x="190" y="68"/>
                  </a:moveTo>
                  <a:lnTo>
                    <a:pt x="192" y="68"/>
                  </a:lnTo>
                  <a:lnTo>
                    <a:pt x="190" y="68"/>
                  </a:lnTo>
                  <a:close/>
                  <a:moveTo>
                    <a:pt x="190" y="66"/>
                  </a:moveTo>
                  <a:lnTo>
                    <a:pt x="188" y="66"/>
                  </a:lnTo>
                  <a:lnTo>
                    <a:pt x="190" y="66"/>
                  </a:lnTo>
                  <a:lnTo>
                    <a:pt x="190" y="68"/>
                  </a:lnTo>
                  <a:lnTo>
                    <a:pt x="188" y="68"/>
                  </a:lnTo>
                  <a:lnTo>
                    <a:pt x="188" y="66"/>
                  </a:lnTo>
                  <a:lnTo>
                    <a:pt x="190" y="66"/>
                  </a:lnTo>
                  <a:close/>
                  <a:moveTo>
                    <a:pt x="192" y="62"/>
                  </a:moveTo>
                  <a:lnTo>
                    <a:pt x="192" y="64"/>
                  </a:lnTo>
                  <a:lnTo>
                    <a:pt x="192" y="66"/>
                  </a:lnTo>
                  <a:lnTo>
                    <a:pt x="192" y="68"/>
                  </a:lnTo>
                  <a:lnTo>
                    <a:pt x="192" y="70"/>
                  </a:lnTo>
                  <a:lnTo>
                    <a:pt x="192" y="72"/>
                  </a:lnTo>
                  <a:lnTo>
                    <a:pt x="192" y="74"/>
                  </a:lnTo>
                  <a:lnTo>
                    <a:pt x="192" y="76"/>
                  </a:lnTo>
                  <a:lnTo>
                    <a:pt x="190" y="76"/>
                  </a:lnTo>
                  <a:lnTo>
                    <a:pt x="190" y="78"/>
                  </a:lnTo>
                  <a:lnTo>
                    <a:pt x="190" y="80"/>
                  </a:lnTo>
                  <a:lnTo>
                    <a:pt x="190" y="82"/>
                  </a:lnTo>
                  <a:lnTo>
                    <a:pt x="188" y="80"/>
                  </a:lnTo>
                  <a:lnTo>
                    <a:pt x="190" y="80"/>
                  </a:lnTo>
                  <a:lnTo>
                    <a:pt x="188" y="80"/>
                  </a:lnTo>
                  <a:lnTo>
                    <a:pt x="190" y="80"/>
                  </a:lnTo>
                  <a:lnTo>
                    <a:pt x="188" y="80"/>
                  </a:lnTo>
                  <a:lnTo>
                    <a:pt x="190" y="80"/>
                  </a:lnTo>
                  <a:lnTo>
                    <a:pt x="190" y="78"/>
                  </a:lnTo>
                  <a:lnTo>
                    <a:pt x="188" y="78"/>
                  </a:lnTo>
                  <a:lnTo>
                    <a:pt x="190" y="78"/>
                  </a:lnTo>
                  <a:lnTo>
                    <a:pt x="190" y="76"/>
                  </a:lnTo>
                  <a:lnTo>
                    <a:pt x="190" y="74"/>
                  </a:lnTo>
                  <a:lnTo>
                    <a:pt x="190" y="72"/>
                  </a:lnTo>
                  <a:lnTo>
                    <a:pt x="190" y="70"/>
                  </a:lnTo>
                  <a:lnTo>
                    <a:pt x="190" y="72"/>
                  </a:lnTo>
                  <a:lnTo>
                    <a:pt x="190" y="70"/>
                  </a:lnTo>
                  <a:lnTo>
                    <a:pt x="192" y="70"/>
                  </a:lnTo>
                  <a:lnTo>
                    <a:pt x="190" y="70"/>
                  </a:lnTo>
                  <a:lnTo>
                    <a:pt x="192" y="70"/>
                  </a:lnTo>
                  <a:lnTo>
                    <a:pt x="190" y="70"/>
                  </a:lnTo>
                  <a:lnTo>
                    <a:pt x="192" y="70"/>
                  </a:lnTo>
                  <a:lnTo>
                    <a:pt x="190" y="70"/>
                  </a:lnTo>
                  <a:lnTo>
                    <a:pt x="192" y="70"/>
                  </a:lnTo>
                  <a:lnTo>
                    <a:pt x="190" y="70"/>
                  </a:lnTo>
                  <a:lnTo>
                    <a:pt x="192" y="70"/>
                  </a:lnTo>
                  <a:lnTo>
                    <a:pt x="190" y="70"/>
                  </a:lnTo>
                  <a:lnTo>
                    <a:pt x="190" y="68"/>
                  </a:lnTo>
                  <a:lnTo>
                    <a:pt x="190" y="70"/>
                  </a:lnTo>
                  <a:lnTo>
                    <a:pt x="190" y="68"/>
                  </a:lnTo>
                  <a:lnTo>
                    <a:pt x="192" y="68"/>
                  </a:lnTo>
                  <a:lnTo>
                    <a:pt x="190" y="68"/>
                  </a:lnTo>
                  <a:lnTo>
                    <a:pt x="192" y="68"/>
                  </a:lnTo>
                  <a:lnTo>
                    <a:pt x="190" y="68"/>
                  </a:lnTo>
                  <a:lnTo>
                    <a:pt x="192" y="66"/>
                  </a:lnTo>
                  <a:lnTo>
                    <a:pt x="192" y="64"/>
                  </a:lnTo>
                  <a:lnTo>
                    <a:pt x="192" y="66"/>
                  </a:lnTo>
                  <a:lnTo>
                    <a:pt x="192" y="64"/>
                  </a:lnTo>
                  <a:lnTo>
                    <a:pt x="192" y="62"/>
                  </a:lnTo>
                  <a:close/>
                  <a:moveTo>
                    <a:pt x="192" y="56"/>
                  </a:moveTo>
                  <a:lnTo>
                    <a:pt x="192" y="58"/>
                  </a:lnTo>
                  <a:lnTo>
                    <a:pt x="192" y="60"/>
                  </a:lnTo>
                  <a:lnTo>
                    <a:pt x="192" y="62"/>
                  </a:lnTo>
                  <a:lnTo>
                    <a:pt x="192" y="60"/>
                  </a:lnTo>
                  <a:lnTo>
                    <a:pt x="192" y="58"/>
                  </a:lnTo>
                  <a:lnTo>
                    <a:pt x="192" y="56"/>
                  </a:lnTo>
                  <a:lnTo>
                    <a:pt x="192" y="58"/>
                  </a:lnTo>
                  <a:lnTo>
                    <a:pt x="192" y="56"/>
                  </a:lnTo>
                  <a:lnTo>
                    <a:pt x="192" y="58"/>
                  </a:lnTo>
                  <a:lnTo>
                    <a:pt x="192" y="56"/>
                  </a:lnTo>
                  <a:lnTo>
                    <a:pt x="192" y="56"/>
                  </a:lnTo>
                  <a:lnTo>
                    <a:pt x="192" y="56"/>
                  </a:lnTo>
                  <a:close/>
                  <a:moveTo>
                    <a:pt x="136" y="56"/>
                  </a:moveTo>
                  <a:lnTo>
                    <a:pt x="136" y="56"/>
                  </a:lnTo>
                  <a:lnTo>
                    <a:pt x="138" y="56"/>
                  </a:lnTo>
                  <a:lnTo>
                    <a:pt x="136" y="58"/>
                  </a:lnTo>
                  <a:lnTo>
                    <a:pt x="136" y="56"/>
                  </a:lnTo>
                  <a:lnTo>
                    <a:pt x="136" y="56"/>
                  </a:lnTo>
                  <a:close/>
                  <a:moveTo>
                    <a:pt x="134" y="48"/>
                  </a:moveTo>
                  <a:lnTo>
                    <a:pt x="134" y="46"/>
                  </a:lnTo>
                  <a:lnTo>
                    <a:pt x="134" y="48"/>
                  </a:lnTo>
                  <a:close/>
                  <a:moveTo>
                    <a:pt x="136" y="44"/>
                  </a:moveTo>
                  <a:lnTo>
                    <a:pt x="136" y="46"/>
                  </a:lnTo>
                  <a:lnTo>
                    <a:pt x="136" y="44"/>
                  </a:lnTo>
                  <a:close/>
                  <a:moveTo>
                    <a:pt x="136" y="44"/>
                  </a:moveTo>
                  <a:lnTo>
                    <a:pt x="136" y="42"/>
                  </a:lnTo>
                  <a:lnTo>
                    <a:pt x="136" y="44"/>
                  </a:lnTo>
                  <a:close/>
                  <a:moveTo>
                    <a:pt x="134" y="40"/>
                  </a:moveTo>
                  <a:lnTo>
                    <a:pt x="134" y="42"/>
                  </a:lnTo>
                  <a:lnTo>
                    <a:pt x="136" y="42"/>
                  </a:lnTo>
                  <a:lnTo>
                    <a:pt x="134" y="42"/>
                  </a:lnTo>
                  <a:lnTo>
                    <a:pt x="136" y="42"/>
                  </a:lnTo>
                  <a:lnTo>
                    <a:pt x="136" y="44"/>
                  </a:lnTo>
                  <a:lnTo>
                    <a:pt x="138" y="44"/>
                  </a:lnTo>
                  <a:lnTo>
                    <a:pt x="136" y="44"/>
                  </a:lnTo>
                  <a:lnTo>
                    <a:pt x="138" y="44"/>
                  </a:lnTo>
                  <a:lnTo>
                    <a:pt x="138" y="46"/>
                  </a:lnTo>
                  <a:lnTo>
                    <a:pt x="138" y="44"/>
                  </a:lnTo>
                  <a:lnTo>
                    <a:pt x="136" y="46"/>
                  </a:lnTo>
                  <a:lnTo>
                    <a:pt x="138" y="46"/>
                  </a:lnTo>
                  <a:lnTo>
                    <a:pt x="136" y="46"/>
                  </a:lnTo>
                  <a:lnTo>
                    <a:pt x="136" y="44"/>
                  </a:lnTo>
                  <a:lnTo>
                    <a:pt x="136" y="46"/>
                  </a:lnTo>
                  <a:lnTo>
                    <a:pt x="134" y="46"/>
                  </a:lnTo>
                  <a:lnTo>
                    <a:pt x="134" y="44"/>
                  </a:lnTo>
                  <a:lnTo>
                    <a:pt x="134" y="42"/>
                  </a:lnTo>
                  <a:lnTo>
                    <a:pt x="134" y="44"/>
                  </a:lnTo>
                  <a:lnTo>
                    <a:pt x="134" y="42"/>
                  </a:lnTo>
                  <a:lnTo>
                    <a:pt x="134" y="44"/>
                  </a:lnTo>
                  <a:lnTo>
                    <a:pt x="132" y="44"/>
                  </a:lnTo>
                  <a:lnTo>
                    <a:pt x="134" y="44"/>
                  </a:lnTo>
                  <a:lnTo>
                    <a:pt x="132" y="44"/>
                  </a:lnTo>
                  <a:lnTo>
                    <a:pt x="134" y="44"/>
                  </a:lnTo>
                  <a:lnTo>
                    <a:pt x="134" y="46"/>
                  </a:lnTo>
                  <a:lnTo>
                    <a:pt x="134" y="48"/>
                  </a:lnTo>
                  <a:lnTo>
                    <a:pt x="134" y="50"/>
                  </a:lnTo>
                  <a:lnTo>
                    <a:pt x="134" y="48"/>
                  </a:lnTo>
                  <a:lnTo>
                    <a:pt x="134" y="50"/>
                  </a:lnTo>
                  <a:lnTo>
                    <a:pt x="134" y="48"/>
                  </a:lnTo>
                  <a:lnTo>
                    <a:pt x="134" y="50"/>
                  </a:lnTo>
                  <a:lnTo>
                    <a:pt x="132" y="50"/>
                  </a:lnTo>
                  <a:lnTo>
                    <a:pt x="134" y="50"/>
                  </a:lnTo>
                  <a:lnTo>
                    <a:pt x="134" y="48"/>
                  </a:lnTo>
                  <a:lnTo>
                    <a:pt x="132" y="48"/>
                  </a:lnTo>
                  <a:lnTo>
                    <a:pt x="134" y="48"/>
                  </a:lnTo>
                  <a:lnTo>
                    <a:pt x="132" y="48"/>
                  </a:lnTo>
                  <a:lnTo>
                    <a:pt x="132" y="46"/>
                  </a:lnTo>
                  <a:lnTo>
                    <a:pt x="132" y="44"/>
                  </a:lnTo>
                  <a:lnTo>
                    <a:pt x="134" y="44"/>
                  </a:lnTo>
                  <a:lnTo>
                    <a:pt x="132" y="44"/>
                  </a:lnTo>
                  <a:lnTo>
                    <a:pt x="134" y="42"/>
                  </a:lnTo>
                  <a:lnTo>
                    <a:pt x="134" y="44"/>
                  </a:lnTo>
                  <a:lnTo>
                    <a:pt x="134" y="42"/>
                  </a:lnTo>
                  <a:lnTo>
                    <a:pt x="132" y="42"/>
                  </a:lnTo>
                  <a:lnTo>
                    <a:pt x="132" y="44"/>
                  </a:lnTo>
                  <a:lnTo>
                    <a:pt x="132" y="42"/>
                  </a:lnTo>
                  <a:lnTo>
                    <a:pt x="134" y="42"/>
                  </a:lnTo>
                  <a:lnTo>
                    <a:pt x="132" y="42"/>
                  </a:lnTo>
                  <a:lnTo>
                    <a:pt x="134" y="42"/>
                  </a:lnTo>
                  <a:lnTo>
                    <a:pt x="134" y="40"/>
                  </a:lnTo>
                  <a:lnTo>
                    <a:pt x="132" y="40"/>
                  </a:lnTo>
                  <a:lnTo>
                    <a:pt x="134" y="40"/>
                  </a:lnTo>
                  <a:close/>
                  <a:moveTo>
                    <a:pt x="144" y="8"/>
                  </a:moveTo>
                  <a:lnTo>
                    <a:pt x="146" y="8"/>
                  </a:lnTo>
                  <a:lnTo>
                    <a:pt x="144" y="8"/>
                  </a:lnTo>
                  <a:lnTo>
                    <a:pt x="144" y="6"/>
                  </a:lnTo>
                  <a:lnTo>
                    <a:pt x="144" y="8"/>
                  </a:lnTo>
                  <a:close/>
                  <a:moveTo>
                    <a:pt x="132" y="4"/>
                  </a:moveTo>
                  <a:lnTo>
                    <a:pt x="132" y="2"/>
                  </a:lnTo>
                  <a:lnTo>
                    <a:pt x="134" y="2"/>
                  </a:lnTo>
                  <a:lnTo>
                    <a:pt x="136" y="2"/>
                  </a:lnTo>
                  <a:lnTo>
                    <a:pt x="138" y="2"/>
                  </a:lnTo>
                  <a:lnTo>
                    <a:pt x="140" y="2"/>
                  </a:lnTo>
                  <a:lnTo>
                    <a:pt x="140" y="0"/>
                  </a:lnTo>
                  <a:lnTo>
                    <a:pt x="142" y="0"/>
                  </a:lnTo>
                  <a:lnTo>
                    <a:pt x="144" y="0"/>
                  </a:lnTo>
                  <a:lnTo>
                    <a:pt x="146" y="0"/>
                  </a:lnTo>
                  <a:lnTo>
                    <a:pt x="146" y="2"/>
                  </a:lnTo>
                  <a:lnTo>
                    <a:pt x="146" y="4"/>
                  </a:lnTo>
                  <a:lnTo>
                    <a:pt x="148" y="6"/>
                  </a:lnTo>
                  <a:lnTo>
                    <a:pt x="148" y="8"/>
                  </a:lnTo>
                  <a:lnTo>
                    <a:pt x="148" y="8"/>
                  </a:lnTo>
                  <a:lnTo>
                    <a:pt x="150" y="10"/>
                  </a:lnTo>
                  <a:lnTo>
                    <a:pt x="150" y="12"/>
                  </a:lnTo>
                  <a:lnTo>
                    <a:pt x="150" y="14"/>
                  </a:lnTo>
                  <a:lnTo>
                    <a:pt x="150" y="16"/>
                  </a:lnTo>
                  <a:lnTo>
                    <a:pt x="152" y="16"/>
                  </a:lnTo>
                  <a:lnTo>
                    <a:pt x="152" y="18"/>
                  </a:lnTo>
                  <a:lnTo>
                    <a:pt x="152" y="20"/>
                  </a:lnTo>
                  <a:lnTo>
                    <a:pt x="152" y="22"/>
                  </a:lnTo>
                  <a:lnTo>
                    <a:pt x="154" y="22"/>
                  </a:lnTo>
                  <a:lnTo>
                    <a:pt x="154" y="24"/>
                  </a:lnTo>
                  <a:lnTo>
                    <a:pt x="154" y="26"/>
                  </a:lnTo>
                  <a:lnTo>
                    <a:pt x="154" y="28"/>
                  </a:lnTo>
                  <a:lnTo>
                    <a:pt x="156" y="28"/>
                  </a:lnTo>
                  <a:lnTo>
                    <a:pt x="156" y="30"/>
                  </a:lnTo>
                  <a:lnTo>
                    <a:pt x="156" y="32"/>
                  </a:lnTo>
                  <a:lnTo>
                    <a:pt x="156" y="34"/>
                  </a:lnTo>
                  <a:lnTo>
                    <a:pt x="158" y="34"/>
                  </a:lnTo>
                  <a:lnTo>
                    <a:pt x="158" y="36"/>
                  </a:lnTo>
                  <a:lnTo>
                    <a:pt x="158" y="38"/>
                  </a:lnTo>
                  <a:lnTo>
                    <a:pt x="158" y="40"/>
                  </a:lnTo>
                  <a:lnTo>
                    <a:pt x="160" y="40"/>
                  </a:lnTo>
                  <a:lnTo>
                    <a:pt x="160" y="42"/>
                  </a:lnTo>
                  <a:lnTo>
                    <a:pt x="160" y="44"/>
                  </a:lnTo>
                  <a:lnTo>
                    <a:pt x="160" y="46"/>
                  </a:lnTo>
                  <a:lnTo>
                    <a:pt x="162" y="46"/>
                  </a:lnTo>
                  <a:lnTo>
                    <a:pt x="162" y="48"/>
                  </a:lnTo>
                  <a:lnTo>
                    <a:pt x="162" y="50"/>
                  </a:lnTo>
                  <a:lnTo>
                    <a:pt x="162" y="52"/>
                  </a:lnTo>
                  <a:lnTo>
                    <a:pt x="164" y="52"/>
                  </a:lnTo>
                  <a:lnTo>
                    <a:pt x="164" y="54"/>
                  </a:lnTo>
                  <a:lnTo>
                    <a:pt x="164" y="56"/>
                  </a:lnTo>
                  <a:lnTo>
                    <a:pt x="164" y="56"/>
                  </a:lnTo>
                  <a:lnTo>
                    <a:pt x="166" y="56"/>
                  </a:lnTo>
                  <a:lnTo>
                    <a:pt x="166" y="58"/>
                  </a:lnTo>
                  <a:lnTo>
                    <a:pt x="166" y="60"/>
                  </a:lnTo>
                  <a:lnTo>
                    <a:pt x="166" y="62"/>
                  </a:lnTo>
                  <a:lnTo>
                    <a:pt x="168" y="62"/>
                  </a:lnTo>
                  <a:lnTo>
                    <a:pt x="168" y="62"/>
                  </a:lnTo>
                  <a:lnTo>
                    <a:pt x="168" y="60"/>
                  </a:lnTo>
                  <a:lnTo>
                    <a:pt x="170" y="60"/>
                  </a:lnTo>
                  <a:lnTo>
                    <a:pt x="172" y="60"/>
                  </a:lnTo>
                  <a:lnTo>
                    <a:pt x="174" y="60"/>
                  </a:lnTo>
                  <a:lnTo>
                    <a:pt x="176" y="60"/>
                  </a:lnTo>
                  <a:lnTo>
                    <a:pt x="176" y="58"/>
                  </a:lnTo>
                  <a:lnTo>
                    <a:pt x="178" y="58"/>
                  </a:lnTo>
                  <a:lnTo>
                    <a:pt x="180" y="58"/>
                  </a:lnTo>
                  <a:lnTo>
                    <a:pt x="182" y="58"/>
                  </a:lnTo>
                  <a:lnTo>
                    <a:pt x="184" y="58"/>
                  </a:lnTo>
                  <a:lnTo>
                    <a:pt x="186" y="56"/>
                  </a:lnTo>
                  <a:lnTo>
                    <a:pt x="188" y="56"/>
                  </a:lnTo>
                  <a:lnTo>
                    <a:pt x="190" y="56"/>
                  </a:lnTo>
                  <a:lnTo>
                    <a:pt x="188" y="56"/>
                  </a:lnTo>
                  <a:lnTo>
                    <a:pt x="190" y="56"/>
                  </a:lnTo>
                  <a:lnTo>
                    <a:pt x="190" y="58"/>
                  </a:lnTo>
                  <a:lnTo>
                    <a:pt x="188" y="58"/>
                  </a:lnTo>
                  <a:lnTo>
                    <a:pt x="190" y="58"/>
                  </a:lnTo>
                  <a:lnTo>
                    <a:pt x="190" y="56"/>
                  </a:lnTo>
                  <a:lnTo>
                    <a:pt x="190" y="58"/>
                  </a:lnTo>
                  <a:lnTo>
                    <a:pt x="190" y="56"/>
                  </a:lnTo>
                  <a:lnTo>
                    <a:pt x="190" y="58"/>
                  </a:lnTo>
                  <a:lnTo>
                    <a:pt x="190" y="60"/>
                  </a:lnTo>
                  <a:lnTo>
                    <a:pt x="190" y="58"/>
                  </a:lnTo>
                  <a:lnTo>
                    <a:pt x="188" y="58"/>
                  </a:lnTo>
                  <a:lnTo>
                    <a:pt x="186" y="58"/>
                  </a:lnTo>
                  <a:lnTo>
                    <a:pt x="188" y="58"/>
                  </a:lnTo>
                  <a:lnTo>
                    <a:pt x="186" y="58"/>
                  </a:lnTo>
                  <a:lnTo>
                    <a:pt x="186" y="60"/>
                  </a:lnTo>
                  <a:lnTo>
                    <a:pt x="188" y="58"/>
                  </a:lnTo>
                  <a:lnTo>
                    <a:pt x="188" y="60"/>
                  </a:lnTo>
                  <a:lnTo>
                    <a:pt x="188" y="58"/>
                  </a:lnTo>
                  <a:lnTo>
                    <a:pt x="188" y="60"/>
                  </a:lnTo>
                  <a:lnTo>
                    <a:pt x="188" y="58"/>
                  </a:lnTo>
                  <a:lnTo>
                    <a:pt x="188" y="60"/>
                  </a:lnTo>
                  <a:lnTo>
                    <a:pt x="188" y="58"/>
                  </a:lnTo>
                  <a:lnTo>
                    <a:pt x="188" y="60"/>
                  </a:lnTo>
                  <a:lnTo>
                    <a:pt x="188" y="58"/>
                  </a:lnTo>
                  <a:lnTo>
                    <a:pt x="188" y="60"/>
                  </a:lnTo>
                  <a:lnTo>
                    <a:pt x="190" y="60"/>
                  </a:lnTo>
                  <a:lnTo>
                    <a:pt x="190" y="58"/>
                  </a:lnTo>
                  <a:lnTo>
                    <a:pt x="190" y="60"/>
                  </a:lnTo>
                  <a:lnTo>
                    <a:pt x="188" y="60"/>
                  </a:lnTo>
                  <a:lnTo>
                    <a:pt x="190" y="60"/>
                  </a:lnTo>
                  <a:lnTo>
                    <a:pt x="190" y="62"/>
                  </a:lnTo>
                  <a:lnTo>
                    <a:pt x="188" y="62"/>
                  </a:lnTo>
                  <a:lnTo>
                    <a:pt x="190" y="62"/>
                  </a:lnTo>
                  <a:lnTo>
                    <a:pt x="190" y="60"/>
                  </a:lnTo>
                  <a:lnTo>
                    <a:pt x="192" y="60"/>
                  </a:lnTo>
                  <a:lnTo>
                    <a:pt x="190" y="60"/>
                  </a:lnTo>
                  <a:lnTo>
                    <a:pt x="192" y="60"/>
                  </a:lnTo>
                  <a:lnTo>
                    <a:pt x="192" y="62"/>
                  </a:lnTo>
                  <a:lnTo>
                    <a:pt x="192" y="64"/>
                  </a:lnTo>
                  <a:lnTo>
                    <a:pt x="190" y="64"/>
                  </a:lnTo>
                  <a:lnTo>
                    <a:pt x="192" y="64"/>
                  </a:lnTo>
                  <a:lnTo>
                    <a:pt x="190" y="64"/>
                  </a:lnTo>
                  <a:lnTo>
                    <a:pt x="192" y="64"/>
                  </a:lnTo>
                  <a:lnTo>
                    <a:pt x="190" y="64"/>
                  </a:lnTo>
                  <a:lnTo>
                    <a:pt x="192" y="64"/>
                  </a:lnTo>
                  <a:lnTo>
                    <a:pt x="190" y="64"/>
                  </a:lnTo>
                  <a:lnTo>
                    <a:pt x="190" y="66"/>
                  </a:lnTo>
                  <a:lnTo>
                    <a:pt x="190" y="68"/>
                  </a:lnTo>
                  <a:lnTo>
                    <a:pt x="190" y="70"/>
                  </a:lnTo>
                  <a:lnTo>
                    <a:pt x="190" y="68"/>
                  </a:lnTo>
                  <a:lnTo>
                    <a:pt x="188" y="68"/>
                  </a:lnTo>
                  <a:lnTo>
                    <a:pt x="190" y="68"/>
                  </a:lnTo>
                  <a:lnTo>
                    <a:pt x="188" y="68"/>
                  </a:lnTo>
                  <a:lnTo>
                    <a:pt x="190" y="68"/>
                  </a:lnTo>
                  <a:lnTo>
                    <a:pt x="190" y="66"/>
                  </a:lnTo>
                  <a:lnTo>
                    <a:pt x="188" y="66"/>
                  </a:lnTo>
                  <a:lnTo>
                    <a:pt x="190" y="66"/>
                  </a:lnTo>
                  <a:lnTo>
                    <a:pt x="188" y="66"/>
                  </a:lnTo>
                  <a:lnTo>
                    <a:pt x="188" y="64"/>
                  </a:lnTo>
                  <a:lnTo>
                    <a:pt x="188" y="66"/>
                  </a:lnTo>
                  <a:lnTo>
                    <a:pt x="190" y="66"/>
                  </a:lnTo>
                  <a:lnTo>
                    <a:pt x="188" y="66"/>
                  </a:lnTo>
                  <a:lnTo>
                    <a:pt x="190" y="66"/>
                  </a:lnTo>
                  <a:lnTo>
                    <a:pt x="188" y="66"/>
                  </a:lnTo>
                  <a:lnTo>
                    <a:pt x="190" y="66"/>
                  </a:lnTo>
                  <a:lnTo>
                    <a:pt x="188" y="66"/>
                  </a:lnTo>
                  <a:lnTo>
                    <a:pt x="188" y="68"/>
                  </a:lnTo>
                  <a:lnTo>
                    <a:pt x="188" y="66"/>
                  </a:lnTo>
                  <a:lnTo>
                    <a:pt x="188" y="68"/>
                  </a:lnTo>
                  <a:lnTo>
                    <a:pt x="186" y="68"/>
                  </a:lnTo>
                  <a:lnTo>
                    <a:pt x="186" y="70"/>
                  </a:lnTo>
                  <a:lnTo>
                    <a:pt x="186" y="68"/>
                  </a:lnTo>
                  <a:lnTo>
                    <a:pt x="186" y="70"/>
                  </a:lnTo>
                  <a:lnTo>
                    <a:pt x="188" y="70"/>
                  </a:lnTo>
                  <a:lnTo>
                    <a:pt x="186" y="70"/>
                  </a:lnTo>
                  <a:lnTo>
                    <a:pt x="186" y="72"/>
                  </a:lnTo>
                  <a:lnTo>
                    <a:pt x="188" y="72"/>
                  </a:lnTo>
                  <a:lnTo>
                    <a:pt x="186" y="72"/>
                  </a:lnTo>
                  <a:lnTo>
                    <a:pt x="188" y="72"/>
                  </a:lnTo>
                  <a:lnTo>
                    <a:pt x="186" y="72"/>
                  </a:lnTo>
                  <a:lnTo>
                    <a:pt x="188" y="72"/>
                  </a:lnTo>
                  <a:lnTo>
                    <a:pt x="186" y="72"/>
                  </a:lnTo>
                  <a:lnTo>
                    <a:pt x="186" y="74"/>
                  </a:lnTo>
                  <a:lnTo>
                    <a:pt x="188" y="74"/>
                  </a:lnTo>
                  <a:lnTo>
                    <a:pt x="186" y="74"/>
                  </a:lnTo>
                  <a:lnTo>
                    <a:pt x="188" y="74"/>
                  </a:lnTo>
                  <a:lnTo>
                    <a:pt x="186" y="74"/>
                  </a:lnTo>
                  <a:lnTo>
                    <a:pt x="186" y="76"/>
                  </a:lnTo>
                  <a:lnTo>
                    <a:pt x="186" y="78"/>
                  </a:lnTo>
                  <a:lnTo>
                    <a:pt x="186" y="76"/>
                  </a:lnTo>
                  <a:lnTo>
                    <a:pt x="186" y="78"/>
                  </a:lnTo>
                  <a:lnTo>
                    <a:pt x="184" y="78"/>
                  </a:lnTo>
                  <a:lnTo>
                    <a:pt x="186" y="78"/>
                  </a:lnTo>
                  <a:lnTo>
                    <a:pt x="184" y="78"/>
                  </a:lnTo>
                  <a:lnTo>
                    <a:pt x="186" y="78"/>
                  </a:lnTo>
                  <a:lnTo>
                    <a:pt x="184" y="78"/>
                  </a:lnTo>
                  <a:lnTo>
                    <a:pt x="184" y="80"/>
                  </a:lnTo>
                  <a:lnTo>
                    <a:pt x="184" y="78"/>
                  </a:lnTo>
                  <a:lnTo>
                    <a:pt x="184" y="80"/>
                  </a:lnTo>
                  <a:lnTo>
                    <a:pt x="186" y="80"/>
                  </a:lnTo>
                  <a:lnTo>
                    <a:pt x="186" y="82"/>
                  </a:lnTo>
                  <a:lnTo>
                    <a:pt x="184" y="82"/>
                  </a:lnTo>
                  <a:lnTo>
                    <a:pt x="184" y="80"/>
                  </a:lnTo>
                  <a:lnTo>
                    <a:pt x="184" y="82"/>
                  </a:lnTo>
                  <a:lnTo>
                    <a:pt x="182" y="82"/>
                  </a:lnTo>
                  <a:lnTo>
                    <a:pt x="182" y="84"/>
                  </a:lnTo>
                  <a:lnTo>
                    <a:pt x="180" y="84"/>
                  </a:lnTo>
                  <a:lnTo>
                    <a:pt x="178" y="84"/>
                  </a:lnTo>
                  <a:lnTo>
                    <a:pt x="176" y="84"/>
                  </a:lnTo>
                  <a:lnTo>
                    <a:pt x="176" y="86"/>
                  </a:lnTo>
                  <a:lnTo>
                    <a:pt x="174" y="86"/>
                  </a:lnTo>
                  <a:lnTo>
                    <a:pt x="174" y="84"/>
                  </a:lnTo>
                  <a:lnTo>
                    <a:pt x="172" y="84"/>
                  </a:lnTo>
                  <a:lnTo>
                    <a:pt x="174" y="84"/>
                  </a:lnTo>
                  <a:lnTo>
                    <a:pt x="172" y="84"/>
                  </a:lnTo>
                  <a:lnTo>
                    <a:pt x="174" y="82"/>
                  </a:lnTo>
                  <a:lnTo>
                    <a:pt x="176" y="82"/>
                  </a:lnTo>
                  <a:lnTo>
                    <a:pt x="176" y="80"/>
                  </a:lnTo>
                  <a:lnTo>
                    <a:pt x="176" y="82"/>
                  </a:lnTo>
                  <a:lnTo>
                    <a:pt x="174" y="82"/>
                  </a:lnTo>
                  <a:lnTo>
                    <a:pt x="172" y="82"/>
                  </a:lnTo>
                  <a:lnTo>
                    <a:pt x="172" y="84"/>
                  </a:lnTo>
                  <a:lnTo>
                    <a:pt x="174" y="84"/>
                  </a:lnTo>
                  <a:lnTo>
                    <a:pt x="172" y="84"/>
                  </a:lnTo>
                  <a:lnTo>
                    <a:pt x="174" y="84"/>
                  </a:lnTo>
                  <a:lnTo>
                    <a:pt x="174" y="86"/>
                  </a:lnTo>
                  <a:lnTo>
                    <a:pt x="174" y="88"/>
                  </a:lnTo>
                  <a:lnTo>
                    <a:pt x="172" y="88"/>
                  </a:lnTo>
                  <a:lnTo>
                    <a:pt x="170" y="88"/>
                  </a:lnTo>
                  <a:lnTo>
                    <a:pt x="172" y="88"/>
                  </a:lnTo>
                  <a:lnTo>
                    <a:pt x="170" y="88"/>
                  </a:lnTo>
                  <a:lnTo>
                    <a:pt x="168" y="88"/>
                  </a:lnTo>
                  <a:lnTo>
                    <a:pt x="168" y="90"/>
                  </a:lnTo>
                  <a:lnTo>
                    <a:pt x="168" y="90"/>
                  </a:lnTo>
                  <a:lnTo>
                    <a:pt x="168" y="92"/>
                  </a:lnTo>
                  <a:lnTo>
                    <a:pt x="168" y="90"/>
                  </a:lnTo>
                  <a:lnTo>
                    <a:pt x="168" y="92"/>
                  </a:lnTo>
                  <a:lnTo>
                    <a:pt x="166" y="92"/>
                  </a:lnTo>
                  <a:lnTo>
                    <a:pt x="168" y="92"/>
                  </a:lnTo>
                  <a:lnTo>
                    <a:pt x="166" y="92"/>
                  </a:lnTo>
                  <a:lnTo>
                    <a:pt x="168" y="92"/>
                  </a:lnTo>
                  <a:lnTo>
                    <a:pt x="166" y="92"/>
                  </a:lnTo>
                  <a:lnTo>
                    <a:pt x="168" y="92"/>
                  </a:lnTo>
                  <a:lnTo>
                    <a:pt x="166" y="92"/>
                  </a:lnTo>
                  <a:lnTo>
                    <a:pt x="168" y="92"/>
                  </a:lnTo>
                  <a:lnTo>
                    <a:pt x="166" y="92"/>
                  </a:lnTo>
                  <a:lnTo>
                    <a:pt x="168" y="92"/>
                  </a:lnTo>
                  <a:lnTo>
                    <a:pt x="166" y="92"/>
                  </a:lnTo>
                  <a:lnTo>
                    <a:pt x="166" y="94"/>
                  </a:lnTo>
                  <a:lnTo>
                    <a:pt x="166" y="92"/>
                  </a:lnTo>
                  <a:lnTo>
                    <a:pt x="166" y="94"/>
                  </a:lnTo>
                  <a:lnTo>
                    <a:pt x="166" y="92"/>
                  </a:lnTo>
                  <a:lnTo>
                    <a:pt x="166" y="90"/>
                  </a:lnTo>
                  <a:lnTo>
                    <a:pt x="166" y="92"/>
                  </a:lnTo>
                  <a:lnTo>
                    <a:pt x="166" y="90"/>
                  </a:lnTo>
                  <a:lnTo>
                    <a:pt x="168" y="90"/>
                  </a:lnTo>
                  <a:lnTo>
                    <a:pt x="166" y="90"/>
                  </a:lnTo>
                  <a:lnTo>
                    <a:pt x="166" y="88"/>
                  </a:lnTo>
                  <a:lnTo>
                    <a:pt x="166" y="90"/>
                  </a:lnTo>
                  <a:lnTo>
                    <a:pt x="164" y="90"/>
                  </a:lnTo>
                  <a:lnTo>
                    <a:pt x="166" y="90"/>
                  </a:lnTo>
                  <a:lnTo>
                    <a:pt x="164" y="90"/>
                  </a:lnTo>
                  <a:lnTo>
                    <a:pt x="166" y="90"/>
                  </a:lnTo>
                  <a:lnTo>
                    <a:pt x="166" y="88"/>
                  </a:lnTo>
                  <a:lnTo>
                    <a:pt x="166" y="86"/>
                  </a:lnTo>
                  <a:lnTo>
                    <a:pt x="166" y="88"/>
                  </a:lnTo>
                  <a:lnTo>
                    <a:pt x="166" y="86"/>
                  </a:lnTo>
                  <a:lnTo>
                    <a:pt x="168" y="86"/>
                  </a:lnTo>
                  <a:lnTo>
                    <a:pt x="166" y="86"/>
                  </a:lnTo>
                  <a:lnTo>
                    <a:pt x="168" y="86"/>
                  </a:lnTo>
                  <a:lnTo>
                    <a:pt x="166" y="86"/>
                  </a:lnTo>
                  <a:lnTo>
                    <a:pt x="168" y="86"/>
                  </a:lnTo>
                  <a:lnTo>
                    <a:pt x="168" y="84"/>
                  </a:lnTo>
                  <a:lnTo>
                    <a:pt x="168" y="86"/>
                  </a:lnTo>
                  <a:lnTo>
                    <a:pt x="168" y="86"/>
                  </a:lnTo>
                  <a:lnTo>
                    <a:pt x="168" y="86"/>
                  </a:lnTo>
                  <a:lnTo>
                    <a:pt x="168" y="84"/>
                  </a:lnTo>
                  <a:lnTo>
                    <a:pt x="168" y="86"/>
                  </a:lnTo>
                  <a:lnTo>
                    <a:pt x="168" y="84"/>
                  </a:lnTo>
                  <a:lnTo>
                    <a:pt x="168" y="86"/>
                  </a:lnTo>
                  <a:lnTo>
                    <a:pt x="168" y="84"/>
                  </a:lnTo>
                  <a:lnTo>
                    <a:pt x="168" y="84"/>
                  </a:lnTo>
                  <a:lnTo>
                    <a:pt x="168" y="82"/>
                  </a:lnTo>
                  <a:lnTo>
                    <a:pt x="168" y="84"/>
                  </a:lnTo>
                  <a:lnTo>
                    <a:pt x="168" y="82"/>
                  </a:lnTo>
                  <a:lnTo>
                    <a:pt x="168" y="84"/>
                  </a:lnTo>
                  <a:lnTo>
                    <a:pt x="168" y="82"/>
                  </a:lnTo>
                  <a:lnTo>
                    <a:pt x="168" y="82"/>
                  </a:lnTo>
                  <a:lnTo>
                    <a:pt x="168" y="82"/>
                  </a:lnTo>
                  <a:lnTo>
                    <a:pt x="168" y="84"/>
                  </a:lnTo>
                  <a:lnTo>
                    <a:pt x="166" y="84"/>
                  </a:lnTo>
                  <a:lnTo>
                    <a:pt x="166" y="86"/>
                  </a:lnTo>
                  <a:lnTo>
                    <a:pt x="166" y="84"/>
                  </a:lnTo>
                  <a:lnTo>
                    <a:pt x="166" y="86"/>
                  </a:lnTo>
                  <a:lnTo>
                    <a:pt x="164" y="86"/>
                  </a:lnTo>
                  <a:lnTo>
                    <a:pt x="164" y="84"/>
                  </a:lnTo>
                  <a:lnTo>
                    <a:pt x="164" y="86"/>
                  </a:lnTo>
                  <a:lnTo>
                    <a:pt x="164" y="84"/>
                  </a:lnTo>
                  <a:lnTo>
                    <a:pt x="164" y="86"/>
                  </a:lnTo>
                  <a:lnTo>
                    <a:pt x="164" y="84"/>
                  </a:lnTo>
                  <a:lnTo>
                    <a:pt x="166" y="84"/>
                  </a:lnTo>
                  <a:lnTo>
                    <a:pt x="164" y="84"/>
                  </a:lnTo>
                  <a:lnTo>
                    <a:pt x="166" y="84"/>
                  </a:lnTo>
                  <a:lnTo>
                    <a:pt x="164" y="84"/>
                  </a:lnTo>
                  <a:lnTo>
                    <a:pt x="166" y="84"/>
                  </a:lnTo>
                  <a:lnTo>
                    <a:pt x="164" y="84"/>
                  </a:lnTo>
                  <a:lnTo>
                    <a:pt x="166" y="84"/>
                  </a:lnTo>
                  <a:lnTo>
                    <a:pt x="164" y="84"/>
                  </a:lnTo>
                  <a:lnTo>
                    <a:pt x="166" y="84"/>
                  </a:lnTo>
                  <a:lnTo>
                    <a:pt x="164" y="84"/>
                  </a:lnTo>
                  <a:lnTo>
                    <a:pt x="164" y="82"/>
                  </a:lnTo>
                  <a:lnTo>
                    <a:pt x="164" y="84"/>
                  </a:lnTo>
                  <a:lnTo>
                    <a:pt x="164" y="82"/>
                  </a:lnTo>
                  <a:lnTo>
                    <a:pt x="166" y="82"/>
                  </a:lnTo>
                  <a:lnTo>
                    <a:pt x="166" y="84"/>
                  </a:lnTo>
                  <a:lnTo>
                    <a:pt x="166" y="82"/>
                  </a:lnTo>
                  <a:lnTo>
                    <a:pt x="166" y="84"/>
                  </a:lnTo>
                  <a:lnTo>
                    <a:pt x="166" y="82"/>
                  </a:lnTo>
                  <a:lnTo>
                    <a:pt x="166" y="80"/>
                  </a:lnTo>
                  <a:lnTo>
                    <a:pt x="166" y="82"/>
                  </a:lnTo>
                  <a:lnTo>
                    <a:pt x="166" y="80"/>
                  </a:lnTo>
                  <a:lnTo>
                    <a:pt x="168" y="80"/>
                  </a:lnTo>
                  <a:lnTo>
                    <a:pt x="168" y="78"/>
                  </a:lnTo>
                  <a:lnTo>
                    <a:pt x="168" y="80"/>
                  </a:lnTo>
                  <a:lnTo>
                    <a:pt x="166" y="80"/>
                  </a:lnTo>
                  <a:lnTo>
                    <a:pt x="166" y="78"/>
                  </a:lnTo>
                  <a:lnTo>
                    <a:pt x="166" y="80"/>
                  </a:lnTo>
                  <a:lnTo>
                    <a:pt x="164" y="80"/>
                  </a:lnTo>
                  <a:lnTo>
                    <a:pt x="166" y="80"/>
                  </a:lnTo>
                  <a:lnTo>
                    <a:pt x="164" y="80"/>
                  </a:lnTo>
                  <a:lnTo>
                    <a:pt x="164" y="82"/>
                  </a:lnTo>
                  <a:lnTo>
                    <a:pt x="164" y="80"/>
                  </a:lnTo>
                  <a:lnTo>
                    <a:pt x="164" y="82"/>
                  </a:lnTo>
                  <a:lnTo>
                    <a:pt x="164" y="80"/>
                  </a:lnTo>
                  <a:lnTo>
                    <a:pt x="164" y="82"/>
                  </a:lnTo>
                  <a:lnTo>
                    <a:pt x="164" y="80"/>
                  </a:lnTo>
                  <a:lnTo>
                    <a:pt x="162" y="80"/>
                  </a:lnTo>
                  <a:lnTo>
                    <a:pt x="164" y="80"/>
                  </a:lnTo>
                  <a:lnTo>
                    <a:pt x="162" y="80"/>
                  </a:lnTo>
                  <a:lnTo>
                    <a:pt x="164" y="80"/>
                  </a:lnTo>
                  <a:lnTo>
                    <a:pt x="162" y="80"/>
                  </a:lnTo>
                  <a:lnTo>
                    <a:pt x="162" y="82"/>
                  </a:lnTo>
                  <a:lnTo>
                    <a:pt x="162" y="80"/>
                  </a:lnTo>
                  <a:lnTo>
                    <a:pt x="162" y="82"/>
                  </a:lnTo>
                  <a:lnTo>
                    <a:pt x="162" y="80"/>
                  </a:lnTo>
                  <a:lnTo>
                    <a:pt x="160" y="80"/>
                  </a:lnTo>
                  <a:lnTo>
                    <a:pt x="162" y="80"/>
                  </a:lnTo>
                  <a:lnTo>
                    <a:pt x="160" y="80"/>
                  </a:lnTo>
                  <a:lnTo>
                    <a:pt x="162" y="80"/>
                  </a:lnTo>
                  <a:lnTo>
                    <a:pt x="160" y="80"/>
                  </a:lnTo>
                  <a:lnTo>
                    <a:pt x="160" y="78"/>
                  </a:lnTo>
                  <a:lnTo>
                    <a:pt x="162" y="78"/>
                  </a:lnTo>
                  <a:lnTo>
                    <a:pt x="160" y="78"/>
                  </a:lnTo>
                  <a:lnTo>
                    <a:pt x="162" y="78"/>
                  </a:lnTo>
                  <a:lnTo>
                    <a:pt x="164" y="78"/>
                  </a:lnTo>
                  <a:lnTo>
                    <a:pt x="164" y="76"/>
                  </a:lnTo>
                  <a:lnTo>
                    <a:pt x="166" y="76"/>
                  </a:lnTo>
                  <a:lnTo>
                    <a:pt x="164" y="76"/>
                  </a:lnTo>
                  <a:lnTo>
                    <a:pt x="166" y="76"/>
                  </a:lnTo>
                  <a:lnTo>
                    <a:pt x="164" y="76"/>
                  </a:lnTo>
                  <a:lnTo>
                    <a:pt x="166" y="76"/>
                  </a:lnTo>
                  <a:lnTo>
                    <a:pt x="166" y="74"/>
                  </a:lnTo>
                  <a:lnTo>
                    <a:pt x="166" y="76"/>
                  </a:lnTo>
                  <a:lnTo>
                    <a:pt x="166" y="74"/>
                  </a:lnTo>
                  <a:lnTo>
                    <a:pt x="166" y="76"/>
                  </a:lnTo>
                  <a:lnTo>
                    <a:pt x="164" y="76"/>
                  </a:lnTo>
                  <a:lnTo>
                    <a:pt x="162" y="76"/>
                  </a:lnTo>
                  <a:lnTo>
                    <a:pt x="160" y="76"/>
                  </a:lnTo>
                  <a:lnTo>
                    <a:pt x="160" y="74"/>
                  </a:lnTo>
                  <a:lnTo>
                    <a:pt x="160" y="72"/>
                  </a:lnTo>
                  <a:lnTo>
                    <a:pt x="160" y="70"/>
                  </a:lnTo>
                  <a:lnTo>
                    <a:pt x="162" y="70"/>
                  </a:lnTo>
                  <a:lnTo>
                    <a:pt x="160" y="70"/>
                  </a:lnTo>
                  <a:lnTo>
                    <a:pt x="162" y="70"/>
                  </a:lnTo>
                  <a:lnTo>
                    <a:pt x="160" y="70"/>
                  </a:lnTo>
                  <a:lnTo>
                    <a:pt x="162" y="70"/>
                  </a:lnTo>
                  <a:lnTo>
                    <a:pt x="162" y="68"/>
                  </a:lnTo>
                  <a:lnTo>
                    <a:pt x="162" y="70"/>
                  </a:lnTo>
                  <a:lnTo>
                    <a:pt x="160" y="70"/>
                  </a:lnTo>
                  <a:lnTo>
                    <a:pt x="160" y="72"/>
                  </a:lnTo>
                  <a:lnTo>
                    <a:pt x="158" y="72"/>
                  </a:lnTo>
                  <a:lnTo>
                    <a:pt x="158" y="74"/>
                  </a:lnTo>
                  <a:lnTo>
                    <a:pt x="160" y="74"/>
                  </a:lnTo>
                  <a:lnTo>
                    <a:pt x="158" y="74"/>
                  </a:lnTo>
                  <a:lnTo>
                    <a:pt x="160" y="74"/>
                  </a:lnTo>
                  <a:lnTo>
                    <a:pt x="158" y="74"/>
                  </a:lnTo>
                  <a:lnTo>
                    <a:pt x="158" y="76"/>
                  </a:lnTo>
                  <a:lnTo>
                    <a:pt x="160" y="76"/>
                  </a:lnTo>
                  <a:lnTo>
                    <a:pt x="158" y="76"/>
                  </a:lnTo>
                  <a:lnTo>
                    <a:pt x="158" y="74"/>
                  </a:lnTo>
                  <a:lnTo>
                    <a:pt x="156" y="74"/>
                  </a:lnTo>
                  <a:lnTo>
                    <a:pt x="156" y="72"/>
                  </a:lnTo>
                  <a:lnTo>
                    <a:pt x="158" y="72"/>
                  </a:lnTo>
                  <a:lnTo>
                    <a:pt x="158" y="70"/>
                  </a:lnTo>
                  <a:lnTo>
                    <a:pt x="156" y="70"/>
                  </a:lnTo>
                  <a:lnTo>
                    <a:pt x="154" y="70"/>
                  </a:lnTo>
                  <a:lnTo>
                    <a:pt x="156" y="70"/>
                  </a:lnTo>
                  <a:lnTo>
                    <a:pt x="156" y="68"/>
                  </a:lnTo>
                  <a:lnTo>
                    <a:pt x="154" y="68"/>
                  </a:lnTo>
                  <a:lnTo>
                    <a:pt x="156" y="68"/>
                  </a:lnTo>
                  <a:lnTo>
                    <a:pt x="156" y="70"/>
                  </a:lnTo>
                  <a:lnTo>
                    <a:pt x="154" y="70"/>
                  </a:lnTo>
                  <a:lnTo>
                    <a:pt x="156" y="70"/>
                  </a:lnTo>
                  <a:lnTo>
                    <a:pt x="154" y="70"/>
                  </a:lnTo>
                  <a:lnTo>
                    <a:pt x="156" y="70"/>
                  </a:lnTo>
                  <a:lnTo>
                    <a:pt x="154" y="70"/>
                  </a:lnTo>
                  <a:lnTo>
                    <a:pt x="156" y="70"/>
                  </a:lnTo>
                  <a:lnTo>
                    <a:pt x="154" y="70"/>
                  </a:lnTo>
                  <a:lnTo>
                    <a:pt x="154" y="72"/>
                  </a:lnTo>
                  <a:lnTo>
                    <a:pt x="156" y="72"/>
                  </a:lnTo>
                  <a:lnTo>
                    <a:pt x="154" y="72"/>
                  </a:lnTo>
                  <a:lnTo>
                    <a:pt x="156" y="72"/>
                  </a:lnTo>
                  <a:lnTo>
                    <a:pt x="154" y="72"/>
                  </a:lnTo>
                  <a:lnTo>
                    <a:pt x="156" y="72"/>
                  </a:lnTo>
                  <a:lnTo>
                    <a:pt x="154" y="72"/>
                  </a:lnTo>
                  <a:lnTo>
                    <a:pt x="154" y="74"/>
                  </a:lnTo>
                  <a:lnTo>
                    <a:pt x="156" y="74"/>
                  </a:lnTo>
                  <a:lnTo>
                    <a:pt x="156" y="76"/>
                  </a:lnTo>
                  <a:lnTo>
                    <a:pt x="154" y="76"/>
                  </a:lnTo>
                  <a:lnTo>
                    <a:pt x="156" y="78"/>
                  </a:lnTo>
                  <a:lnTo>
                    <a:pt x="154" y="78"/>
                  </a:lnTo>
                  <a:lnTo>
                    <a:pt x="154" y="76"/>
                  </a:lnTo>
                  <a:lnTo>
                    <a:pt x="154" y="78"/>
                  </a:lnTo>
                  <a:lnTo>
                    <a:pt x="154" y="76"/>
                  </a:lnTo>
                  <a:lnTo>
                    <a:pt x="154" y="78"/>
                  </a:lnTo>
                  <a:lnTo>
                    <a:pt x="152" y="78"/>
                  </a:lnTo>
                  <a:lnTo>
                    <a:pt x="152" y="76"/>
                  </a:lnTo>
                  <a:lnTo>
                    <a:pt x="154" y="76"/>
                  </a:lnTo>
                  <a:lnTo>
                    <a:pt x="152" y="76"/>
                  </a:lnTo>
                  <a:lnTo>
                    <a:pt x="154" y="76"/>
                  </a:lnTo>
                  <a:lnTo>
                    <a:pt x="152" y="76"/>
                  </a:lnTo>
                  <a:lnTo>
                    <a:pt x="152" y="74"/>
                  </a:lnTo>
                  <a:lnTo>
                    <a:pt x="152" y="76"/>
                  </a:lnTo>
                  <a:lnTo>
                    <a:pt x="150" y="74"/>
                  </a:lnTo>
                  <a:lnTo>
                    <a:pt x="150" y="76"/>
                  </a:lnTo>
                  <a:lnTo>
                    <a:pt x="152" y="76"/>
                  </a:lnTo>
                  <a:lnTo>
                    <a:pt x="150" y="76"/>
                  </a:lnTo>
                  <a:lnTo>
                    <a:pt x="150" y="74"/>
                  </a:lnTo>
                  <a:lnTo>
                    <a:pt x="148" y="74"/>
                  </a:lnTo>
                  <a:lnTo>
                    <a:pt x="150" y="74"/>
                  </a:lnTo>
                  <a:lnTo>
                    <a:pt x="148" y="74"/>
                  </a:lnTo>
                  <a:lnTo>
                    <a:pt x="150" y="74"/>
                  </a:lnTo>
                  <a:lnTo>
                    <a:pt x="148" y="74"/>
                  </a:lnTo>
                  <a:lnTo>
                    <a:pt x="148" y="72"/>
                  </a:lnTo>
                  <a:lnTo>
                    <a:pt x="148" y="74"/>
                  </a:lnTo>
                  <a:lnTo>
                    <a:pt x="148" y="72"/>
                  </a:lnTo>
                  <a:lnTo>
                    <a:pt x="146" y="72"/>
                  </a:lnTo>
                  <a:lnTo>
                    <a:pt x="148" y="72"/>
                  </a:lnTo>
                  <a:lnTo>
                    <a:pt x="146" y="72"/>
                  </a:lnTo>
                  <a:lnTo>
                    <a:pt x="146" y="70"/>
                  </a:lnTo>
                  <a:lnTo>
                    <a:pt x="146" y="72"/>
                  </a:lnTo>
                  <a:lnTo>
                    <a:pt x="146" y="74"/>
                  </a:lnTo>
                  <a:lnTo>
                    <a:pt x="146" y="76"/>
                  </a:lnTo>
                  <a:lnTo>
                    <a:pt x="148" y="76"/>
                  </a:lnTo>
                  <a:lnTo>
                    <a:pt x="150" y="76"/>
                  </a:lnTo>
                  <a:lnTo>
                    <a:pt x="148" y="76"/>
                  </a:lnTo>
                  <a:lnTo>
                    <a:pt x="150" y="76"/>
                  </a:lnTo>
                  <a:lnTo>
                    <a:pt x="148" y="76"/>
                  </a:lnTo>
                  <a:lnTo>
                    <a:pt x="150" y="78"/>
                  </a:lnTo>
                  <a:lnTo>
                    <a:pt x="148" y="78"/>
                  </a:lnTo>
                  <a:lnTo>
                    <a:pt x="150" y="78"/>
                  </a:lnTo>
                  <a:lnTo>
                    <a:pt x="152" y="78"/>
                  </a:lnTo>
                  <a:lnTo>
                    <a:pt x="150" y="78"/>
                  </a:lnTo>
                  <a:lnTo>
                    <a:pt x="148" y="78"/>
                  </a:lnTo>
                  <a:lnTo>
                    <a:pt x="148" y="76"/>
                  </a:lnTo>
                  <a:lnTo>
                    <a:pt x="146" y="76"/>
                  </a:lnTo>
                  <a:lnTo>
                    <a:pt x="146" y="74"/>
                  </a:lnTo>
                  <a:lnTo>
                    <a:pt x="144" y="74"/>
                  </a:lnTo>
                  <a:lnTo>
                    <a:pt x="144" y="72"/>
                  </a:lnTo>
                  <a:lnTo>
                    <a:pt x="144" y="74"/>
                  </a:lnTo>
                  <a:lnTo>
                    <a:pt x="144" y="72"/>
                  </a:lnTo>
                  <a:lnTo>
                    <a:pt x="144" y="74"/>
                  </a:lnTo>
                  <a:lnTo>
                    <a:pt x="144" y="72"/>
                  </a:lnTo>
                  <a:lnTo>
                    <a:pt x="144" y="74"/>
                  </a:lnTo>
                  <a:lnTo>
                    <a:pt x="144" y="72"/>
                  </a:lnTo>
                  <a:lnTo>
                    <a:pt x="142" y="72"/>
                  </a:lnTo>
                  <a:lnTo>
                    <a:pt x="142" y="70"/>
                  </a:lnTo>
                  <a:lnTo>
                    <a:pt x="144" y="70"/>
                  </a:lnTo>
                  <a:lnTo>
                    <a:pt x="144" y="68"/>
                  </a:lnTo>
                  <a:lnTo>
                    <a:pt x="142" y="68"/>
                  </a:lnTo>
                  <a:lnTo>
                    <a:pt x="144" y="68"/>
                  </a:lnTo>
                  <a:lnTo>
                    <a:pt x="142" y="68"/>
                  </a:lnTo>
                  <a:lnTo>
                    <a:pt x="144" y="68"/>
                  </a:lnTo>
                  <a:lnTo>
                    <a:pt x="142" y="68"/>
                  </a:lnTo>
                  <a:lnTo>
                    <a:pt x="142" y="66"/>
                  </a:lnTo>
                  <a:lnTo>
                    <a:pt x="142" y="64"/>
                  </a:lnTo>
                  <a:lnTo>
                    <a:pt x="144" y="64"/>
                  </a:lnTo>
                  <a:lnTo>
                    <a:pt x="144" y="66"/>
                  </a:lnTo>
                  <a:lnTo>
                    <a:pt x="144" y="64"/>
                  </a:lnTo>
                  <a:lnTo>
                    <a:pt x="146" y="64"/>
                  </a:lnTo>
                  <a:lnTo>
                    <a:pt x="146" y="62"/>
                  </a:lnTo>
                  <a:lnTo>
                    <a:pt x="146" y="64"/>
                  </a:lnTo>
                  <a:lnTo>
                    <a:pt x="146" y="62"/>
                  </a:lnTo>
                  <a:lnTo>
                    <a:pt x="146" y="64"/>
                  </a:lnTo>
                  <a:lnTo>
                    <a:pt x="146" y="62"/>
                  </a:lnTo>
                  <a:lnTo>
                    <a:pt x="146" y="64"/>
                  </a:lnTo>
                  <a:lnTo>
                    <a:pt x="148" y="64"/>
                  </a:lnTo>
                  <a:lnTo>
                    <a:pt x="148" y="62"/>
                  </a:lnTo>
                  <a:lnTo>
                    <a:pt x="146" y="62"/>
                  </a:lnTo>
                  <a:lnTo>
                    <a:pt x="148" y="62"/>
                  </a:lnTo>
                  <a:lnTo>
                    <a:pt x="146" y="62"/>
                  </a:lnTo>
                  <a:lnTo>
                    <a:pt x="146" y="64"/>
                  </a:lnTo>
                  <a:lnTo>
                    <a:pt x="146" y="62"/>
                  </a:lnTo>
                  <a:lnTo>
                    <a:pt x="146" y="64"/>
                  </a:lnTo>
                  <a:lnTo>
                    <a:pt x="146" y="62"/>
                  </a:lnTo>
                  <a:lnTo>
                    <a:pt x="146" y="64"/>
                  </a:lnTo>
                  <a:lnTo>
                    <a:pt x="146" y="62"/>
                  </a:lnTo>
                  <a:lnTo>
                    <a:pt x="146" y="64"/>
                  </a:lnTo>
                  <a:lnTo>
                    <a:pt x="146" y="62"/>
                  </a:lnTo>
                  <a:lnTo>
                    <a:pt x="146" y="64"/>
                  </a:lnTo>
                  <a:lnTo>
                    <a:pt x="144" y="64"/>
                  </a:lnTo>
                  <a:lnTo>
                    <a:pt x="144" y="62"/>
                  </a:lnTo>
                  <a:lnTo>
                    <a:pt x="144" y="64"/>
                  </a:lnTo>
                  <a:lnTo>
                    <a:pt x="144" y="62"/>
                  </a:lnTo>
                  <a:lnTo>
                    <a:pt x="146" y="62"/>
                  </a:lnTo>
                  <a:lnTo>
                    <a:pt x="146" y="60"/>
                  </a:lnTo>
                  <a:lnTo>
                    <a:pt x="144" y="60"/>
                  </a:lnTo>
                  <a:lnTo>
                    <a:pt x="144" y="62"/>
                  </a:lnTo>
                  <a:lnTo>
                    <a:pt x="144" y="60"/>
                  </a:lnTo>
                  <a:lnTo>
                    <a:pt x="144" y="62"/>
                  </a:lnTo>
                  <a:lnTo>
                    <a:pt x="142" y="62"/>
                  </a:lnTo>
                  <a:lnTo>
                    <a:pt x="142" y="60"/>
                  </a:lnTo>
                  <a:lnTo>
                    <a:pt x="144" y="60"/>
                  </a:lnTo>
                  <a:lnTo>
                    <a:pt x="142" y="60"/>
                  </a:lnTo>
                  <a:lnTo>
                    <a:pt x="144" y="60"/>
                  </a:lnTo>
                  <a:lnTo>
                    <a:pt x="142" y="60"/>
                  </a:lnTo>
                  <a:lnTo>
                    <a:pt x="142" y="62"/>
                  </a:lnTo>
                  <a:lnTo>
                    <a:pt x="144" y="62"/>
                  </a:lnTo>
                  <a:lnTo>
                    <a:pt x="142" y="62"/>
                  </a:lnTo>
                  <a:lnTo>
                    <a:pt x="142" y="64"/>
                  </a:lnTo>
                  <a:lnTo>
                    <a:pt x="144" y="64"/>
                  </a:lnTo>
                  <a:lnTo>
                    <a:pt x="142" y="64"/>
                  </a:lnTo>
                  <a:lnTo>
                    <a:pt x="142" y="62"/>
                  </a:lnTo>
                  <a:lnTo>
                    <a:pt x="142" y="60"/>
                  </a:lnTo>
                  <a:lnTo>
                    <a:pt x="142" y="62"/>
                  </a:lnTo>
                  <a:lnTo>
                    <a:pt x="142" y="64"/>
                  </a:lnTo>
                  <a:lnTo>
                    <a:pt x="142" y="62"/>
                  </a:lnTo>
                  <a:lnTo>
                    <a:pt x="140" y="62"/>
                  </a:lnTo>
                  <a:lnTo>
                    <a:pt x="142" y="62"/>
                  </a:lnTo>
                  <a:lnTo>
                    <a:pt x="140" y="62"/>
                  </a:lnTo>
                  <a:lnTo>
                    <a:pt x="142" y="62"/>
                  </a:lnTo>
                  <a:lnTo>
                    <a:pt x="142" y="64"/>
                  </a:lnTo>
                  <a:lnTo>
                    <a:pt x="142" y="62"/>
                  </a:lnTo>
                  <a:lnTo>
                    <a:pt x="142" y="64"/>
                  </a:lnTo>
                  <a:lnTo>
                    <a:pt x="142" y="62"/>
                  </a:lnTo>
                  <a:lnTo>
                    <a:pt x="140" y="62"/>
                  </a:lnTo>
                  <a:lnTo>
                    <a:pt x="142" y="62"/>
                  </a:lnTo>
                  <a:lnTo>
                    <a:pt x="140" y="60"/>
                  </a:lnTo>
                  <a:lnTo>
                    <a:pt x="142" y="60"/>
                  </a:lnTo>
                  <a:lnTo>
                    <a:pt x="140" y="60"/>
                  </a:lnTo>
                  <a:lnTo>
                    <a:pt x="142" y="60"/>
                  </a:lnTo>
                  <a:lnTo>
                    <a:pt x="140" y="60"/>
                  </a:lnTo>
                  <a:lnTo>
                    <a:pt x="142" y="60"/>
                  </a:lnTo>
                  <a:lnTo>
                    <a:pt x="140" y="60"/>
                  </a:lnTo>
                  <a:lnTo>
                    <a:pt x="142" y="60"/>
                  </a:lnTo>
                  <a:lnTo>
                    <a:pt x="140" y="60"/>
                  </a:lnTo>
                  <a:lnTo>
                    <a:pt x="142" y="60"/>
                  </a:lnTo>
                  <a:lnTo>
                    <a:pt x="140" y="60"/>
                  </a:lnTo>
                  <a:lnTo>
                    <a:pt x="142" y="60"/>
                  </a:lnTo>
                  <a:lnTo>
                    <a:pt x="140" y="60"/>
                  </a:lnTo>
                  <a:lnTo>
                    <a:pt x="142" y="60"/>
                  </a:lnTo>
                  <a:lnTo>
                    <a:pt x="142" y="58"/>
                  </a:lnTo>
                  <a:lnTo>
                    <a:pt x="142" y="60"/>
                  </a:lnTo>
                  <a:lnTo>
                    <a:pt x="144" y="60"/>
                  </a:lnTo>
                  <a:lnTo>
                    <a:pt x="142" y="60"/>
                  </a:lnTo>
                  <a:lnTo>
                    <a:pt x="144" y="60"/>
                  </a:lnTo>
                  <a:lnTo>
                    <a:pt x="144" y="58"/>
                  </a:lnTo>
                  <a:lnTo>
                    <a:pt x="146" y="58"/>
                  </a:lnTo>
                  <a:lnTo>
                    <a:pt x="144" y="58"/>
                  </a:lnTo>
                  <a:lnTo>
                    <a:pt x="144" y="60"/>
                  </a:lnTo>
                  <a:lnTo>
                    <a:pt x="144" y="58"/>
                  </a:lnTo>
                  <a:lnTo>
                    <a:pt x="144" y="60"/>
                  </a:lnTo>
                  <a:lnTo>
                    <a:pt x="146" y="60"/>
                  </a:lnTo>
                  <a:lnTo>
                    <a:pt x="146" y="58"/>
                  </a:lnTo>
                  <a:lnTo>
                    <a:pt x="146" y="60"/>
                  </a:lnTo>
                  <a:lnTo>
                    <a:pt x="148" y="60"/>
                  </a:lnTo>
                  <a:lnTo>
                    <a:pt x="148" y="58"/>
                  </a:lnTo>
                  <a:lnTo>
                    <a:pt x="148" y="60"/>
                  </a:lnTo>
                  <a:lnTo>
                    <a:pt x="150" y="60"/>
                  </a:lnTo>
                  <a:lnTo>
                    <a:pt x="148" y="60"/>
                  </a:lnTo>
                  <a:lnTo>
                    <a:pt x="150" y="60"/>
                  </a:lnTo>
                  <a:lnTo>
                    <a:pt x="152" y="60"/>
                  </a:lnTo>
                  <a:lnTo>
                    <a:pt x="152" y="58"/>
                  </a:lnTo>
                  <a:lnTo>
                    <a:pt x="154" y="58"/>
                  </a:lnTo>
                  <a:lnTo>
                    <a:pt x="154" y="56"/>
                  </a:lnTo>
                  <a:lnTo>
                    <a:pt x="152" y="56"/>
                  </a:lnTo>
                  <a:lnTo>
                    <a:pt x="154" y="56"/>
                  </a:lnTo>
                  <a:lnTo>
                    <a:pt x="152" y="56"/>
                  </a:lnTo>
                  <a:lnTo>
                    <a:pt x="154" y="56"/>
                  </a:lnTo>
                  <a:lnTo>
                    <a:pt x="154" y="56"/>
                  </a:lnTo>
                  <a:lnTo>
                    <a:pt x="154" y="54"/>
                  </a:lnTo>
                  <a:lnTo>
                    <a:pt x="154" y="56"/>
                  </a:lnTo>
                  <a:lnTo>
                    <a:pt x="154" y="54"/>
                  </a:lnTo>
                  <a:lnTo>
                    <a:pt x="152" y="54"/>
                  </a:lnTo>
                  <a:lnTo>
                    <a:pt x="150" y="54"/>
                  </a:lnTo>
                  <a:lnTo>
                    <a:pt x="150" y="52"/>
                  </a:lnTo>
                  <a:lnTo>
                    <a:pt x="150" y="54"/>
                  </a:lnTo>
                  <a:lnTo>
                    <a:pt x="152" y="54"/>
                  </a:lnTo>
                  <a:lnTo>
                    <a:pt x="152" y="56"/>
                  </a:lnTo>
                  <a:lnTo>
                    <a:pt x="154" y="56"/>
                  </a:lnTo>
                  <a:lnTo>
                    <a:pt x="152" y="56"/>
                  </a:lnTo>
                  <a:lnTo>
                    <a:pt x="154" y="56"/>
                  </a:lnTo>
                  <a:lnTo>
                    <a:pt x="152" y="56"/>
                  </a:lnTo>
                  <a:lnTo>
                    <a:pt x="152" y="56"/>
                  </a:lnTo>
                  <a:lnTo>
                    <a:pt x="152" y="58"/>
                  </a:lnTo>
                  <a:lnTo>
                    <a:pt x="152" y="60"/>
                  </a:lnTo>
                  <a:lnTo>
                    <a:pt x="152" y="58"/>
                  </a:lnTo>
                  <a:lnTo>
                    <a:pt x="150" y="58"/>
                  </a:lnTo>
                  <a:lnTo>
                    <a:pt x="152" y="58"/>
                  </a:lnTo>
                  <a:lnTo>
                    <a:pt x="150" y="58"/>
                  </a:lnTo>
                  <a:lnTo>
                    <a:pt x="152" y="58"/>
                  </a:lnTo>
                  <a:lnTo>
                    <a:pt x="150" y="58"/>
                  </a:lnTo>
                  <a:lnTo>
                    <a:pt x="152" y="58"/>
                  </a:lnTo>
                  <a:lnTo>
                    <a:pt x="150" y="58"/>
                  </a:lnTo>
                  <a:lnTo>
                    <a:pt x="150" y="56"/>
                  </a:lnTo>
                  <a:lnTo>
                    <a:pt x="150" y="58"/>
                  </a:lnTo>
                  <a:lnTo>
                    <a:pt x="150" y="56"/>
                  </a:lnTo>
                  <a:lnTo>
                    <a:pt x="150" y="58"/>
                  </a:lnTo>
                  <a:lnTo>
                    <a:pt x="150" y="56"/>
                  </a:lnTo>
                  <a:lnTo>
                    <a:pt x="150" y="58"/>
                  </a:lnTo>
                  <a:lnTo>
                    <a:pt x="152" y="58"/>
                  </a:lnTo>
                  <a:lnTo>
                    <a:pt x="150" y="58"/>
                  </a:lnTo>
                  <a:lnTo>
                    <a:pt x="148" y="58"/>
                  </a:lnTo>
                  <a:lnTo>
                    <a:pt x="148" y="56"/>
                  </a:lnTo>
                  <a:lnTo>
                    <a:pt x="148" y="58"/>
                  </a:lnTo>
                  <a:lnTo>
                    <a:pt x="146" y="58"/>
                  </a:lnTo>
                  <a:lnTo>
                    <a:pt x="146" y="56"/>
                  </a:lnTo>
                  <a:lnTo>
                    <a:pt x="148" y="56"/>
                  </a:lnTo>
                  <a:lnTo>
                    <a:pt x="146" y="56"/>
                  </a:lnTo>
                  <a:lnTo>
                    <a:pt x="148" y="56"/>
                  </a:lnTo>
                  <a:lnTo>
                    <a:pt x="146" y="56"/>
                  </a:lnTo>
                  <a:lnTo>
                    <a:pt x="146" y="58"/>
                  </a:lnTo>
                  <a:lnTo>
                    <a:pt x="146" y="56"/>
                  </a:lnTo>
                  <a:lnTo>
                    <a:pt x="146" y="58"/>
                  </a:lnTo>
                  <a:lnTo>
                    <a:pt x="146" y="56"/>
                  </a:lnTo>
                  <a:lnTo>
                    <a:pt x="146" y="58"/>
                  </a:lnTo>
                  <a:lnTo>
                    <a:pt x="146" y="56"/>
                  </a:lnTo>
                  <a:lnTo>
                    <a:pt x="144" y="56"/>
                  </a:lnTo>
                  <a:lnTo>
                    <a:pt x="146" y="56"/>
                  </a:lnTo>
                  <a:lnTo>
                    <a:pt x="146" y="56"/>
                  </a:lnTo>
                  <a:lnTo>
                    <a:pt x="146" y="56"/>
                  </a:lnTo>
                  <a:lnTo>
                    <a:pt x="146" y="56"/>
                  </a:lnTo>
                  <a:lnTo>
                    <a:pt x="146" y="56"/>
                  </a:lnTo>
                  <a:lnTo>
                    <a:pt x="146" y="56"/>
                  </a:lnTo>
                  <a:lnTo>
                    <a:pt x="148" y="56"/>
                  </a:lnTo>
                  <a:lnTo>
                    <a:pt x="146" y="56"/>
                  </a:lnTo>
                  <a:lnTo>
                    <a:pt x="148" y="56"/>
                  </a:lnTo>
                  <a:lnTo>
                    <a:pt x="146" y="56"/>
                  </a:lnTo>
                  <a:lnTo>
                    <a:pt x="148" y="56"/>
                  </a:lnTo>
                  <a:lnTo>
                    <a:pt x="146" y="56"/>
                  </a:lnTo>
                  <a:lnTo>
                    <a:pt x="146" y="56"/>
                  </a:lnTo>
                  <a:lnTo>
                    <a:pt x="146" y="56"/>
                  </a:lnTo>
                  <a:lnTo>
                    <a:pt x="146" y="56"/>
                  </a:lnTo>
                  <a:lnTo>
                    <a:pt x="144" y="56"/>
                  </a:lnTo>
                  <a:lnTo>
                    <a:pt x="146" y="56"/>
                  </a:lnTo>
                  <a:lnTo>
                    <a:pt x="144" y="56"/>
                  </a:lnTo>
                  <a:lnTo>
                    <a:pt x="144" y="56"/>
                  </a:lnTo>
                  <a:lnTo>
                    <a:pt x="144" y="56"/>
                  </a:lnTo>
                  <a:lnTo>
                    <a:pt x="144" y="56"/>
                  </a:lnTo>
                  <a:lnTo>
                    <a:pt x="146" y="56"/>
                  </a:lnTo>
                  <a:lnTo>
                    <a:pt x="144" y="56"/>
                  </a:lnTo>
                  <a:lnTo>
                    <a:pt x="146" y="56"/>
                  </a:lnTo>
                  <a:lnTo>
                    <a:pt x="146" y="54"/>
                  </a:lnTo>
                  <a:lnTo>
                    <a:pt x="146" y="56"/>
                  </a:lnTo>
                  <a:lnTo>
                    <a:pt x="146" y="54"/>
                  </a:lnTo>
                  <a:lnTo>
                    <a:pt x="146" y="56"/>
                  </a:lnTo>
                  <a:lnTo>
                    <a:pt x="146" y="54"/>
                  </a:lnTo>
                  <a:lnTo>
                    <a:pt x="146" y="56"/>
                  </a:lnTo>
                  <a:lnTo>
                    <a:pt x="146" y="54"/>
                  </a:lnTo>
                  <a:lnTo>
                    <a:pt x="146" y="56"/>
                  </a:lnTo>
                  <a:lnTo>
                    <a:pt x="146" y="54"/>
                  </a:lnTo>
                  <a:lnTo>
                    <a:pt x="144" y="54"/>
                  </a:lnTo>
                  <a:lnTo>
                    <a:pt x="146" y="54"/>
                  </a:lnTo>
                  <a:lnTo>
                    <a:pt x="144" y="54"/>
                  </a:lnTo>
                  <a:lnTo>
                    <a:pt x="144" y="56"/>
                  </a:lnTo>
                  <a:lnTo>
                    <a:pt x="144" y="54"/>
                  </a:lnTo>
                  <a:lnTo>
                    <a:pt x="146" y="54"/>
                  </a:lnTo>
                  <a:lnTo>
                    <a:pt x="144" y="54"/>
                  </a:lnTo>
                  <a:lnTo>
                    <a:pt x="146" y="54"/>
                  </a:lnTo>
                  <a:lnTo>
                    <a:pt x="148" y="54"/>
                  </a:lnTo>
                  <a:lnTo>
                    <a:pt x="146" y="54"/>
                  </a:lnTo>
                  <a:lnTo>
                    <a:pt x="146" y="52"/>
                  </a:lnTo>
                  <a:lnTo>
                    <a:pt x="146" y="54"/>
                  </a:lnTo>
                  <a:lnTo>
                    <a:pt x="146" y="52"/>
                  </a:lnTo>
                  <a:lnTo>
                    <a:pt x="144" y="52"/>
                  </a:lnTo>
                  <a:lnTo>
                    <a:pt x="146" y="52"/>
                  </a:lnTo>
                  <a:lnTo>
                    <a:pt x="144" y="52"/>
                  </a:lnTo>
                  <a:lnTo>
                    <a:pt x="144" y="54"/>
                  </a:lnTo>
                  <a:lnTo>
                    <a:pt x="146" y="54"/>
                  </a:lnTo>
                  <a:lnTo>
                    <a:pt x="144" y="54"/>
                  </a:lnTo>
                  <a:lnTo>
                    <a:pt x="144" y="56"/>
                  </a:lnTo>
                  <a:lnTo>
                    <a:pt x="144" y="54"/>
                  </a:lnTo>
                  <a:lnTo>
                    <a:pt x="144" y="56"/>
                  </a:lnTo>
                  <a:lnTo>
                    <a:pt x="144" y="54"/>
                  </a:lnTo>
                  <a:lnTo>
                    <a:pt x="144" y="56"/>
                  </a:lnTo>
                  <a:lnTo>
                    <a:pt x="144" y="54"/>
                  </a:lnTo>
                  <a:lnTo>
                    <a:pt x="142" y="54"/>
                  </a:lnTo>
                  <a:lnTo>
                    <a:pt x="144" y="54"/>
                  </a:lnTo>
                  <a:lnTo>
                    <a:pt x="144" y="56"/>
                  </a:lnTo>
                  <a:lnTo>
                    <a:pt x="142" y="56"/>
                  </a:lnTo>
                  <a:lnTo>
                    <a:pt x="144" y="56"/>
                  </a:lnTo>
                  <a:lnTo>
                    <a:pt x="142" y="56"/>
                  </a:lnTo>
                  <a:lnTo>
                    <a:pt x="144" y="56"/>
                  </a:lnTo>
                  <a:lnTo>
                    <a:pt x="142" y="56"/>
                  </a:lnTo>
                  <a:lnTo>
                    <a:pt x="144" y="56"/>
                  </a:lnTo>
                  <a:lnTo>
                    <a:pt x="142" y="56"/>
                  </a:lnTo>
                  <a:lnTo>
                    <a:pt x="144" y="56"/>
                  </a:lnTo>
                  <a:lnTo>
                    <a:pt x="142" y="56"/>
                  </a:lnTo>
                  <a:lnTo>
                    <a:pt x="142" y="56"/>
                  </a:lnTo>
                  <a:lnTo>
                    <a:pt x="142" y="56"/>
                  </a:lnTo>
                  <a:lnTo>
                    <a:pt x="140" y="56"/>
                  </a:lnTo>
                  <a:lnTo>
                    <a:pt x="142" y="56"/>
                  </a:lnTo>
                  <a:lnTo>
                    <a:pt x="140" y="56"/>
                  </a:lnTo>
                  <a:lnTo>
                    <a:pt x="140" y="54"/>
                  </a:lnTo>
                  <a:lnTo>
                    <a:pt x="142" y="54"/>
                  </a:lnTo>
                  <a:lnTo>
                    <a:pt x="140" y="54"/>
                  </a:lnTo>
                  <a:lnTo>
                    <a:pt x="142" y="54"/>
                  </a:lnTo>
                  <a:lnTo>
                    <a:pt x="142" y="56"/>
                  </a:lnTo>
                  <a:lnTo>
                    <a:pt x="142" y="54"/>
                  </a:lnTo>
                  <a:lnTo>
                    <a:pt x="142" y="56"/>
                  </a:lnTo>
                  <a:lnTo>
                    <a:pt x="142" y="54"/>
                  </a:lnTo>
                  <a:lnTo>
                    <a:pt x="140" y="54"/>
                  </a:lnTo>
                  <a:lnTo>
                    <a:pt x="140" y="52"/>
                  </a:lnTo>
                  <a:lnTo>
                    <a:pt x="140" y="54"/>
                  </a:lnTo>
                  <a:lnTo>
                    <a:pt x="140" y="52"/>
                  </a:lnTo>
                  <a:lnTo>
                    <a:pt x="140" y="54"/>
                  </a:lnTo>
                  <a:lnTo>
                    <a:pt x="140" y="52"/>
                  </a:lnTo>
                  <a:lnTo>
                    <a:pt x="140" y="54"/>
                  </a:lnTo>
                  <a:lnTo>
                    <a:pt x="140" y="52"/>
                  </a:lnTo>
                  <a:lnTo>
                    <a:pt x="138" y="52"/>
                  </a:lnTo>
                  <a:lnTo>
                    <a:pt x="140" y="52"/>
                  </a:lnTo>
                  <a:lnTo>
                    <a:pt x="138" y="52"/>
                  </a:lnTo>
                  <a:lnTo>
                    <a:pt x="140" y="52"/>
                  </a:lnTo>
                  <a:lnTo>
                    <a:pt x="138" y="52"/>
                  </a:lnTo>
                  <a:lnTo>
                    <a:pt x="140" y="52"/>
                  </a:lnTo>
                  <a:lnTo>
                    <a:pt x="138" y="52"/>
                  </a:lnTo>
                  <a:lnTo>
                    <a:pt x="140" y="52"/>
                  </a:lnTo>
                  <a:lnTo>
                    <a:pt x="138" y="52"/>
                  </a:lnTo>
                  <a:lnTo>
                    <a:pt x="138" y="54"/>
                  </a:lnTo>
                  <a:lnTo>
                    <a:pt x="140" y="54"/>
                  </a:lnTo>
                  <a:lnTo>
                    <a:pt x="138" y="54"/>
                  </a:lnTo>
                  <a:lnTo>
                    <a:pt x="140" y="54"/>
                  </a:lnTo>
                  <a:lnTo>
                    <a:pt x="138" y="54"/>
                  </a:lnTo>
                  <a:lnTo>
                    <a:pt x="140" y="54"/>
                  </a:lnTo>
                  <a:lnTo>
                    <a:pt x="138" y="54"/>
                  </a:lnTo>
                  <a:lnTo>
                    <a:pt x="140" y="54"/>
                  </a:lnTo>
                  <a:lnTo>
                    <a:pt x="138" y="54"/>
                  </a:lnTo>
                  <a:lnTo>
                    <a:pt x="140" y="54"/>
                  </a:lnTo>
                  <a:lnTo>
                    <a:pt x="138" y="54"/>
                  </a:lnTo>
                  <a:lnTo>
                    <a:pt x="140" y="54"/>
                  </a:lnTo>
                  <a:lnTo>
                    <a:pt x="138" y="54"/>
                  </a:lnTo>
                  <a:lnTo>
                    <a:pt x="138" y="56"/>
                  </a:lnTo>
                  <a:lnTo>
                    <a:pt x="138" y="54"/>
                  </a:lnTo>
                  <a:lnTo>
                    <a:pt x="138" y="56"/>
                  </a:lnTo>
                  <a:lnTo>
                    <a:pt x="138" y="54"/>
                  </a:lnTo>
                  <a:lnTo>
                    <a:pt x="138" y="56"/>
                  </a:lnTo>
                  <a:lnTo>
                    <a:pt x="138" y="54"/>
                  </a:lnTo>
                  <a:lnTo>
                    <a:pt x="140" y="54"/>
                  </a:lnTo>
                  <a:lnTo>
                    <a:pt x="140" y="56"/>
                  </a:lnTo>
                  <a:lnTo>
                    <a:pt x="140" y="54"/>
                  </a:lnTo>
                  <a:lnTo>
                    <a:pt x="140" y="56"/>
                  </a:lnTo>
                  <a:lnTo>
                    <a:pt x="138" y="56"/>
                  </a:lnTo>
                  <a:lnTo>
                    <a:pt x="140" y="56"/>
                  </a:lnTo>
                  <a:lnTo>
                    <a:pt x="138" y="56"/>
                  </a:lnTo>
                  <a:lnTo>
                    <a:pt x="140" y="56"/>
                  </a:lnTo>
                  <a:lnTo>
                    <a:pt x="138" y="56"/>
                  </a:lnTo>
                  <a:lnTo>
                    <a:pt x="138" y="54"/>
                  </a:lnTo>
                  <a:lnTo>
                    <a:pt x="138" y="52"/>
                  </a:lnTo>
                  <a:lnTo>
                    <a:pt x="138" y="50"/>
                  </a:lnTo>
                  <a:lnTo>
                    <a:pt x="138" y="52"/>
                  </a:lnTo>
                  <a:lnTo>
                    <a:pt x="136" y="52"/>
                  </a:lnTo>
                  <a:lnTo>
                    <a:pt x="138" y="52"/>
                  </a:lnTo>
                  <a:lnTo>
                    <a:pt x="138" y="54"/>
                  </a:lnTo>
                  <a:lnTo>
                    <a:pt x="138" y="52"/>
                  </a:lnTo>
                  <a:lnTo>
                    <a:pt x="138" y="54"/>
                  </a:lnTo>
                  <a:lnTo>
                    <a:pt x="138" y="52"/>
                  </a:lnTo>
                  <a:lnTo>
                    <a:pt x="138" y="54"/>
                  </a:lnTo>
                  <a:lnTo>
                    <a:pt x="138" y="52"/>
                  </a:lnTo>
                  <a:lnTo>
                    <a:pt x="136" y="52"/>
                  </a:lnTo>
                  <a:lnTo>
                    <a:pt x="138" y="52"/>
                  </a:lnTo>
                  <a:lnTo>
                    <a:pt x="138" y="54"/>
                  </a:lnTo>
                  <a:lnTo>
                    <a:pt x="136" y="54"/>
                  </a:lnTo>
                  <a:lnTo>
                    <a:pt x="138" y="54"/>
                  </a:lnTo>
                  <a:lnTo>
                    <a:pt x="136" y="54"/>
                  </a:lnTo>
                  <a:lnTo>
                    <a:pt x="136" y="56"/>
                  </a:lnTo>
                  <a:lnTo>
                    <a:pt x="136" y="54"/>
                  </a:lnTo>
                  <a:lnTo>
                    <a:pt x="136" y="56"/>
                  </a:lnTo>
                  <a:lnTo>
                    <a:pt x="138" y="56"/>
                  </a:lnTo>
                  <a:lnTo>
                    <a:pt x="136" y="56"/>
                  </a:lnTo>
                  <a:lnTo>
                    <a:pt x="136" y="54"/>
                  </a:lnTo>
                  <a:lnTo>
                    <a:pt x="136" y="52"/>
                  </a:lnTo>
                  <a:lnTo>
                    <a:pt x="136" y="50"/>
                  </a:lnTo>
                  <a:lnTo>
                    <a:pt x="138" y="50"/>
                  </a:lnTo>
                  <a:lnTo>
                    <a:pt x="136" y="50"/>
                  </a:lnTo>
                  <a:lnTo>
                    <a:pt x="138" y="50"/>
                  </a:lnTo>
                  <a:lnTo>
                    <a:pt x="136" y="50"/>
                  </a:lnTo>
                  <a:lnTo>
                    <a:pt x="138" y="50"/>
                  </a:lnTo>
                  <a:lnTo>
                    <a:pt x="136" y="50"/>
                  </a:lnTo>
                  <a:lnTo>
                    <a:pt x="138" y="50"/>
                  </a:lnTo>
                  <a:lnTo>
                    <a:pt x="138" y="48"/>
                  </a:lnTo>
                  <a:lnTo>
                    <a:pt x="138" y="50"/>
                  </a:lnTo>
                  <a:lnTo>
                    <a:pt x="140" y="50"/>
                  </a:lnTo>
                  <a:lnTo>
                    <a:pt x="138" y="50"/>
                  </a:lnTo>
                  <a:lnTo>
                    <a:pt x="140" y="50"/>
                  </a:lnTo>
                  <a:lnTo>
                    <a:pt x="140" y="52"/>
                  </a:lnTo>
                  <a:lnTo>
                    <a:pt x="140" y="50"/>
                  </a:lnTo>
                  <a:lnTo>
                    <a:pt x="140" y="52"/>
                  </a:lnTo>
                  <a:lnTo>
                    <a:pt x="140" y="50"/>
                  </a:lnTo>
                  <a:lnTo>
                    <a:pt x="140" y="52"/>
                  </a:lnTo>
                  <a:lnTo>
                    <a:pt x="142" y="52"/>
                  </a:lnTo>
                  <a:lnTo>
                    <a:pt x="142" y="54"/>
                  </a:lnTo>
                  <a:lnTo>
                    <a:pt x="142" y="52"/>
                  </a:lnTo>
                  <a:lnTo>
                    <a:pt x="144" y="52"/>
                  </a:lnTo>
                  <a:lnTo>
                    <a:pt x="144" y="50"/>
                  </a:lnTo>
                  <a:lnTo>
                    <a:pt x="144" y="52"/>
                  </a:lnTo>
                  <a:lnTo>
                    <a:pt x="144" y="50"/>
                  </a:lnTo>
                  <a:lnTo>
                    <a:pt x="146" y="50"/>
                  </a:lnTo>
                  <a:lnTo>
                    <a:pt x="144" y="50"/>
                  </a:lnTo>
                  <a:lnTo>
                    <a:pt x="146" y="50"/>
                  </a:lnTo>
                  <a:lnTo>
                    <a:pt x="144" y="50"/>
                  </a:lnTo>
                  <a:lnTo>
                    <a:pt x="146" y="50"/>
                  </a:lnTo>
                  <a:lnTo>
                    <a:pt x="144" y="50"/>
                  </a:lnTo>
                  <a:lnTo>
                    <a:pt x="144" y="48"/>
                  </a:lnTo>
                  <a:lnTo>
                    <a:pt x="144" y="50"/>
                  </a:lnTo>
                  <a:lnTo>
                    <a:pt x="144" y="52"/>
                  </a:lnTo>
                  <a:lnTo>
                    <a:pt x="142" y="52"/>
                  </a:lnTo>
                  <a:lnTo>
                    <a:pt x="142" y="50"/>
                  </a:lnTo>
                  <a:lnTo>
                    <a:pt x="144" y="50"/>
                  </a:lnTo>
                  <a:lnTo>
                    <a:pt x="142" y="50"/>
                  </a:lnTo>
                  <a:lnTo>
                    <a:pt x="142" y="52"/>
                  </a:lnTo>
                  <a:lnTo>
                    <a:pt x="142" y="50"/>
                  </a:lnTo>
                  <a:lnTo>
                    <a:pt x="142" y="52"/>
                  </a:lnTo>
                  <a:lnTo>
                    <a:pt x="142" y="50"/>
                  </a:lnTo>
                  <a:lnTo>
                    <a:pt x="140" y="50"/>
                  </a:lnTo>
                  <a:lnTo>
                    <a:pt x="142" y="50"/>
                  </a:lnTo>
                  <a:lnTo>
                    <a:pt x="140" y="50"/>
                  </a:lnTo>
                  <a:lnTo>
                    <a:pt x="142" y="50"/>
                  </a:lnTo>
                  <a:lnTo>
                    <a:pt x="140" y="50"/>
                  </a:lnTo>
                  <a:lnTo>
                    <a:pt x="140" y="48"/>
                  </a:lnTo>
                  <a:lnTo>
                    <a:pt x="142" y="48"/>
                  </a:lnTo>
                  <a:lnTo>
                    <a:pt x="140" y="48"/>
                  </a:lnTo>
                  <a:lnTo>
                    <a:pt x="140" y="50"/>
                  </a:lnTo>
                  <a:lnTo>
                    <a:pt x="140" y="48"/>
                  </a:lnTo>
                  <a:lnTo>
                    <a:pt x="142" y="48"/>
                  </a:lnTo>
                  <a:lnTo>
                    <a:pt x="142" y="46"/>
                  </a:lnTo>
                  <a:lnTo>
                    <a:pt x="144" y="46"/>
                  </a:lnTo>
                  <a:lnTo>
                    <a:pt x="144" y="44"/>
                  </a:lnTo>
                  <a:lnTo>
                    <a:pt x="142" y="44"/>
                  </a:lnTo>
                  <a:lnTo>
                    <a:pt x="144" y="44"/>
                  </a:lnTo>
                  <a:lnTo>
                    <a:pt x="142" y="44"/>
                  </a:lnTo>
                  <a:lnTo>
                    <a:pt x="144" y="44"/>
                  </a:lnTo>
                  <a:lnTo>
                    <a:pt x="144" y="42"/>
                  </a:lnTo>
                  <a:lnTo>
                    <a:pt x="144" y="44"/>
                  </a:lnTo>
                  <a:lnTo>
                    <a:pt x="142" y="44"/>
                  </a:lnTo>
                  <a:lnTo>
                    <a:pt x="144" y="44"/>
                  </a:lnTo>
                  <a:lnTo>
                    <a:pt x="142" y="44"/>
                  </a:lnTo>
                  <a:lnTo>
                    <a:pt x="144" y="44"/>
                  </a:lnTo>
                  <a:lnTo>
                    <a:pt x="144" y="46"/>
                  </a:lnTo>
                  <a:lnTo>
                    <a:pt x="144" y="44"/>
                  </a:lnTo>
                  <a:lnTo>
                    <a:pt x="144" y="46"/>
                  </a:lnTo>
                  <a:lnTo>
                    <a:pt x="144" y="44"/>
                  </a:lnTo>
                  <a:lnTo>
                    <a:pt x="142" y="44"/>
                  </a:lnTo>
                  <a:lnTo>
                    <a:pt x="140" y="44"/>
                  </a:lnTo>
                  <a:lnTo>
                    <a:pt x="142" y="44"/>
                  </a:lnTo>
                  <a:lnTo>
                    <a:pt x="140" y="44"/>
                  </a:lnTo>
                  <a:lnTo>
                    <a:pt x="142" y="44"/>
                  </a:lnTo>
                  <a:lnTo>
                    <a:pt x="142" y="42"/>
                  </a:lnTo>
                  <a:lnTo>
                    <a:pt x="142" y="44"/>
                  </a:lnTo>
                  <a:lnTo>
                    <a:pt x="140" y="44"/>
                  </a:lnTo>
                  <a:lnTo>
                    <a:pt x="140" y="42"/>
                  </a:lnTo>
                  <a:lnTo>
                    <a:pt x="142" y="42"/>
                  </a:lnTo>
                  <a:lnTo>
                    <a:pt x="140" y="42"/>
                  </a:lnTo>
                  <a:lnTo>
                    <a:pt x="142" y="42"/>
                  </a:lnTo>
                  <a:lnTo>
                    <a:pt x="140" y="42"/>
                  </a:lnTo>
                  <a:lnTo>
                    <a:pt x="140" y="44"/>
                  </a:lnTo>
                  <a:lnTo>
                    <a:pt x="140" y="42"/>
                  </a:lnTo>
                  <a:lnTo>
                    <a:pt x="140" y="44"/>
                  </a:lnTo>
                  <a:lnTo>
                    <a:pt x="140" y="46"/>
                  </a:lnTo>
                  <a:lnTo>
                    <a:pt x="140" y="48"/>
                  </a:lnTo>
                  <a:lnTo>
                    <a:pt x="140" y="46"/>
                  </a:lnTo>
                  <a:lnTo>
                    <a:pt x="140" y="44"/>
                  </a:lnTo>
                  <a:lnTo>
                    <a:pt x="140" y="46"/>
                  </a:lnTo>
                  <a:lnTo>
                    <a:pt x="140" y="44"/>
                  </a:lnTo>
                  <a:lnTo>
                    <a:pt x="138" y="44"/>
                  </a:lnTo>
                  <a:lnTo>
                    <a:pt x="140" y="44"/>
                  </a:lnTo>
                  <a:lnTo>
                    <a:pt x="138" y="44"/>
                  </a:lnTo>
                  <a:lnTo>
                    <a:pt x="140" y="44"/>
                  </a:lnTo>
                  <a:lnTo>
                    <a:pt x="138" y="44"/>
                  </a:lnTo>
                  <a:lnTo>
                    <a:pt x="138" y="42"/>
                  </a:lnTo>
                  <a:lnTo>
                    <a:pt x="138" y="44"/>
                  </a:lnTo>
                  <a:lnTo>
                    <a:pt x="138" y="42"/>
                  </a:lnTo>
                  <a:lnTo>
                    <a:pt x="136" y="42"/>
                  </a:lnTo>
                  <a:lnTo>
                    <a:pt x="138" y="42"/>
                  </a:lnTo>
                  <a:lnTo>
                    <a:pt x="136" y="42"/>
                  </a:lnTo>
                  <a:lnTo>
                    <a:pt x="138" y="42"/>
                  </a:lnTo>
                  <a:lnTo>
                    <a:pt x="140" y="42"/>
                  </a:lnTo>
                  <a:lnTo>
                    <a:pt x="140" y="40"/>
                  </a:lnTo>
                  <a:lnTo>
                    <a:pt x="140" y="38"/>
                  </a:lnTo>
                  <a:lnTo>
                    <a:pt x="140" y="40"/>
                  </a:lnTo>
                  <a:lnTo>
                    <a:pt x="140" y="38"/>
                  </a:lnTo>
                  <a:lnTo>
                    <a:pt x="138" y="38"/>
                  </a:lnTo>
                  <a:lnTo>
                    <a:pt x="138" y="36"/>
                  </a:lnTo>
                  <a:lnTo>
                    <a:pt x="138" y="38"/>
                  </a:lnTo>
                  <a:lnTo>
                    <a:pt x="140" y="38"/>
                  </a:lnTo>
                  <a:lnTo>
                    <a:pt x="140" y="36"/>
                  </a:lnTo>
                  <a:lnTo>
                    <a:pt x="140" y="38"/>
                  </a:lnTo>
                  <a:lnTo>
                    <a:pt x="140" y="36"/>
                  </a:lnTo>
                  <a:lnTo>
                    <a:pt x="138" y="36"/>
                  </a:lnTo>
                  <a:lnTo>
                    <a:pt x="140" y="36"/>
                  </a:lnTo>
                  <a:lnTo>
                    <a:pt x="142" y="36"/>
                  </a:lnTo>
                  <a:lnTo>
                    <a:pt x="142" y="34"/>
                  </a:lnTo>
                  <a:lnTo>
                    <a:pt x="142" y="36"/>
                  </a:lnTo>
                  <a:lnTo>
                    <a:pt x="142" y="34"/>
                  </a:lnTo>
                  <a:lnTo>
                    <a:pt x="140" y="34"/>
                  </a:lnTo>
                  <a:lnTo>
                    <a:pt x="140" y="36"/>
                  </a:lnTo>
                  <a:lnTo>
                    <a:pt x="140" y="34"/>
                  </a:lnTo>
                  <a:lnTo>
                    <a:pt x="140" y="36"/>
                  </a:lnTo>
                  <a:lnTo>
                    <a:pt x="140" y="34"/>
                  </a:lnTo>
                  <a:lnTo>
                    <a:pt x="138" y="34"/>
                  </a:lnTo>
                  <a:lnTo>
                    <a:pt x="138" y="32"/>
                  </a:lnTo>
                  <a:lnTo>
                    <a:pt x="140" y="32"/>
                  </a:lnTo>
                  <a:lnTo>
                    <a:pt x="138" y="32"/>
                  </a:lnTo>
                  <a:lnTo>
                    <a:pt x="138" y="30"/>
                  </a:lnTo>
                  <a:lnTo>
                    <a:pt x="140" y="30"/>
                  </a:lnTo>
                  <a:lnTo>
                    <a:pt x="138" y="30"/>
                  </a:lnTo>
                  <a:lnTo>
                    <a:pt x="138" y="32"/>
                  </a:lnTo>
                  <a:lnTo>
                    <a:pt x="138" y="34"/>
                  </a:lnTo>
                  <a:lnTo>
                    <a:pt x="138" y="32"/>
                  </a:lnTo>
                  <a:lnTo>
                    <a:pt x="136" y="32"/>
                  </a:lnTo>
                  <a:lnTo>
                    <a:pt x="138" y="32"/>
                  </a:lnTo>
                  <a:lnTo>
                    <a:pt x="138" y="30"/>
                  </a:lnTo>
                  <a:lnTo>
                    <a:pt x="136" y="30"/>
                  </a:lnTo>
                  <a:lnTo>
                    <a:pt x="136" y="32"/>
                  </a:lnTo>
                  <a:lnTo>
                    <a:pt x="138" y="32"/>
                  </a:lnTo>
                  <a:lnTo>
                    <a:pt x="136" y="32"/>
                  </a:lnTo>
                  <a:lnTo>
                    <a:pt x="138" y="32"/>
                  </a:lnTo>
                  <a:lnTo>
                    <a:pt x="138" y="34"/>
                  </a:lnTo>
                  <a:lnTo>
                    <a:pt x="138" y="32"/>
                  </a:lnTo>
                  <a:lnTo>
                    <a:pt x="138" y="34"/>
                  </a:lnTo>
                  <a:lnTo>
                    <a:pt x="138" y="36"/>
                  </a:lnTo>
                  <a:lnTo>
                    <a:pt x="136" y="36"/>
                  </a:lnTo>
                  <a:lnTo>
                    <a:pt x="136" y="34"/>
                  </a:lnTo>
                  <a:lnTo>
                    <a:pt x="136" y="36"/>
                  </a:lnTo>
                  <a:lnTo>
                    <a:pt x="136" y="34"/>
                  </a:lnTo>
                  <a:lnTo>
                    <a:pt x="136" y="36"/>
                  </a:lnTo>
                  <a:lnTo>
                    <a:pt x="138" y="36"/>
                  </a:lnTo>
                  <a:lnTo>
                    <a:pt x="136" y="36"/>
                  </a:lnTo>
                  <a:lnTo>
                    <a:pt x="138" y="36"/>
                  </a:lnTo>
                  <a:lnTo>
                    <a:pt x="138" y="38"/>
                  </a:lnTo>
                  <a:lnTo>
                    <a:pt x="138" y="40"/>
                  </a:lnTo>
                  <a:lnTo>
                    <a:pt x="136" y="40"/>
                  </a:lnTo>
                  <a:lnTo>
                    <a:pt x="138" y="40"/>
                  </a:lnTo>
                  <a:lnTo>
                    <a:pt x="136" y="40"/>
                  </a:lnTo>
                  <a:lnTo>
                    <a:pt x="136" y="38"/>
                  </a:lnTo>
                  <a:lnTo>
                    <a:pt x="136" y="36"/>
                  </a:lnTo>
                  <a:lnTo>
                    <a:pt x="136" y="34"/>
                  </a:lnTo>
                  <a:lnTo>
                    <a:pt x="134" y="34"/>
                  </a:lnTo>
                  <a:lnTo>
                    <a:pt x="136" y="34"/>
                  </a:lnTo>
                  <a:lnTo>
                    <a:pt x="134" y="34"/>
                  </a:lnTo>
                  <a:lnTo>
                    <a:pt x="134" y="32"/>
                  </a:lnTo>
                  <a:lnTo>
                    <a:pt x="134" y="34"/>
                  </a:lnTo>
                  <a:lnTo>
                    <a:pt x="134" y="32"/>
                  </a:lnTo>
                  <a:lnTo>
                    <a:pt x="134" y="34"/>
                  </a:lnTo>
                  <a:lnTo>
                    <a:pt x="132" y="32"/>
                  </a:lnTo>
                  <a:lnTo>
                    <a:pt x="134" y="32"/>
                  </a:lnTo>
                  <a:lnTo>
                    <a:pt x="132" y="32"/>
                  </a:lnTo>
                  <a:lnTo>
                    <a:pt x="134" y="32"/>
                  </a:lnTo>
                  <a:lnTo>
                    <a:pt x="134" y="30"/>
                  </a:lnTo>
                  <a:lnTo>
                    <a:pt x="134" y="28"/>
                  </a:lnTo>
                  <a:lnTo>
                    <a:pt x="134" y="26"/>
                  </a:lnTo>
                  <a:lnTo>
                    <a:pt x="134" y="28"/>
                  </a:lnTo>
                  <a:lnTo>
                    <a:pt x="134" y="26"/>
                  </a:lnTo>
                  <a:lnTo>
                    <a:pt x="136" y="26"/>
                  </a:lnTo>
                  <a:lnTo>
                    <a:pt x="136" y="28"/>
                  </a:lnTo>
                  <a:lnTo>
                    <a:pt x="136" y="26"/>
                  </a:lnTo>
                  <a:lnTo>
                    <a:pt x="134" y="26"/>
                  </a:lnTo>
                  <a:lnTo>
                    <a:pt x="134" y="24"/>
                  </a:lnTo>
                  <a:lnTo>
                    <a:pt x="136" y="24"/>
                  </a:lnTo>
                  <a:lnTo>
                    <a:pt x="136" y="26"/>
                  </a:lnTo>
                  <a:lnTo>
                    <a:pt x="136" y="24"/>
                  </a:lnTo>
                  <a:lnTo>
                    <a:pt x="136" y="26"/>
                  </a:lnTo>
                  <a:lnTo>
                    <a:pt x="136" y="24"/>
                  </a:lnTo>
                  <a:lnTo>
                    <a:pt x="136" y="26"/>
                  </a:lnTo>
                  <a:lnTo>
                    <a:pt x="136" y="24"/>
                  </a:lnTo>
                  <a:lnTo>
                    <a:pt x="136" y="26"/>
                  </a:lnTo>
                  <a:lnTo>
                    <a:pt x="136" y="24"/>
                  </a:lnTo>
                  <a:lnTo>
                    <a:pt x="136" y="26"/>
                  </a:lnTo>
                  <a:lnTo>
                    <a:pt x="136" y="24"/>
                  </a:lnTo>
                  <a:lnTo>
                    <a:pt x="136" y="26"/>
                  </a:lnTo>
                  <a:lnTo>
                    <a:pt x="136" y="24"/>
                  </a:lnTo>
                  <a:lnTo>
                    <a:pt x="136" y="26"/>
                  </a:lnTo>
                  <a:lnTo>
                    <a:pt x="136" y="24"/>
                  </a:lnTo>
                  <a:lnTo>
                    <a:pt x="134" y="24"/>
                  </a:lnTo>
                  <a:lnTo>
                    <a:pt x="134" y="22"/>
                  </a:lnTo>
                  <a:lnTo>
                    <a:pt x="136" y="22"/>
                  </a:lnTo>
                  <a:lnTo>
                    <a:pt x="138" y="22"/>
                  </a:lnTo>
                  <a:lnTo>
                    <a:pt x="136" y="22"/>
                  </a:lnTo>
                  <a:lnTo>
                    <a:pt x="138" y="22"/>
                  </a:lnTo>
                  <a:lnTo>
                    <a:pt x="136" y="22"/>
                  </a:lnTo>
                  <a:lnTo>
                    <a:pt x="138" y="22"/>
                  </a:lnTo>
                  <a:lnTo>
                    <a:pt x="136" y="22"/>
                  </a:lnTo>
                  <a:lnTo>
                    <a:pt x="136" y="20"/>
                  </a:lnTo>
                  <a:lnTo>
                    <a:pt x="138" y="20"/>
                  </a:lnTo>
                  <a:lnTo>
                    <a:pt x="140" y="18"/>
                  </a:lnTo>
                  <a:lnTo>
                    <a:pt x="140" y="20"/>
                  </a:lnTo>
                  <a:lnTo>
                    <a:pt x="142" y="20"/>
                  </a:lnTo>
                  <a:lnTo>
                    <a:pt x="140" y="20"/>
                  </a:lnTo>
                  <a:lnTo>
                    <a:pt x="140" y="18"/>
                  </a:lnTo>
                  <a:lnTo>
                    <a:pt x="142" y="18"/>
                  </a:lnTo>
                  <a:lnTo>
                    <a:pt x="142" y="20"/>
                  </a:lnTo>
                  <a:lnTo>
                    <a:pt x="142" y="18"/>
                  </a:lnTo>
                  <a:lnTo>
                    <a:pt x="142" y="20"/>
                  </a:lnTo>
                  <a:lnTo>
                    <a:pt x="144" y="20"/>
                  </a:lnTo>
                  <a:lnTo>
                    <a:pt x="142" y="20"/>
                  </a:lnTo>
                  <a:lnTo>
                    <a:pt x="142" y="18"/>
                  </a:lnTo>
                  <a:lnTo>
                    <a:pt x="144" y="18"/>
                  </a:lnTo>
                  <a:lnTo>
                    <a:pt x="146" y="18"/>
                  </a:lnTo>
                  <a:lnTo>
                    <a:pt x="148" y="18"/>
                  </a:lnTo>
                  <a:lnTo>
                    <a:pt x="148" y="16"/>
                  </a:lnTo>
                  <a:lnTo>
                    <a:pt x="148" y="18"/>
                  </a:lnTo>
                  <a:lnTo>
                    <a:pt x="148" y="16"/>
                  </a:lnTo>
                  <a:lnTo>
                    <a:pt x="150" y="16"/>
                  </a:lnTo>
                  <a:lnTo>
                    <a:pt x="148" y="16"/>
                  </a:lnTo>
                  <a:lnTo>
                    <a:pt x="148" y="18"/>
                  </a:lnTo>
                  <a:lnTo>
                    <a:pt x="148" y="16"/>
                  </a:lnTo>
                  <a:lnTo>
                    <a:pt x="148" y="18"/>
                  </a:lnTo>
                  <a:lnTo>
                    <a:pt x="148" y="16"/>
                  </a:lnTo>
                  <a:lnTo>
                    <a:pt x="146" y="18"/>
                  </a:lnTo>
                  <a:lnTo>
                    <a:pt x="148" y="18"/>
                  </a:lnTo>
                  <a:lnTo>
                    <a:pt x="146" y="18"/>
                  </a:lnTo>
                  <a:lnTo>
                    <a:pt x="144" y="18"/>
                  </a:lnTo>
                  <a:lnTo>
                    <a:pt x="144" y="16"/>
                  </a:lnTo>
                  <a:lnTo>
                    <a:pt x="146" y="16"/>
                  </a:lnTo>
                  <a:lnTo>
                    <a:pt x="144" y="16"/>
                  </a:lnTo>
                  <a:lnTo>
                    <a:pt x="144" y="18"/>
                  </a:lnTo>
                  <a:lnTo>
                    <a:pt x="144" y="16"/>
                  </a:lnTo>
                  <a:lnTo>
                    <a:pt x="144" y="18"/>
                  </a:lnTo>
                  <a:lnTo>
                    <a:pt x="142" y="18"/>
                  </a:lnTo>
                  <a:lnTo>
                    <a:pt x="140" y="18"/>
                  </a:lnTo>
                  <a:lnTo>
                    <a:pt x="140" y="16"/>
                  </a:lnTo>
                  <a:lnTo>
                    <a:pt x="142" y="16"/>
                  </a:lnTo>
                  <a:lnTo>
                    <a:pt x="140" y="16"/>
                  </a:lnTo>
                  <a:lnTo>
                    <a:pt x="142" y="16"/>
                  </a:lnTo>
                  <a:lnTo>
                    <a:pt x="140" y="16"/>
                  </a:lnTo>
                  <a:lnTo>
                    <a:pt x="142" y="16"/>
                  </a:lnTo>
                  <a:lnTo>
                    <a:pt x="142" y="14"/>
                  </a:lnTo>
                  <a:lnTo>
                    <a:pt x="142" y="12"/>
                  </a:lnTo>
                  <a:lnTo>
                    <a:pt x="144" y="12"/>
                  </a:lnTo>
                  <a:lnTo>
                    <a:pt x="146" y="12"/>
                  </a:lnTo>
                  <a:lnTo>
                    <a:pt x="148" y="12"/>
                  </a:lnTo>
                  <a:lnTo>
                    <a:pt x="146" y="12"/>
                  </a:lnTo>
                  <a:lnTo>
                    <a:pt x="148" y="12"/>
                  </a:lnTo>
                  <a:lnTo>
                    <a:pt x="150" y="12"/>
                  </a:lnTo>
                  <a:lnTo>
                    <a:pt x="148" y="12"/>
                  </a:lnTo>
                  <a:lnTo>
                    <a:pt x="146" y="12"/>
                  </a:lnTo>
                  <a:lnTo>
                    <a:pt x="144" y="12"/>
                  </a:lnTo>
                  <a:lnTo>
                    <a:pt x="144" y="10"/>
                  </a:lnTo>
                  <a:lnTo>
                    <a:pt x="144" y="8"/>
                  </a:lnTo>
                  <a:lnTo>
                    <a:pt x="144" y="10"/>
                  </a:lnTo>
                  <a:lnTo>
                    <a:pt x="144" y="8"/>
                  </a:lnTo>
                  <a:lnTo>
                    <a:pt x="146" y="8"/>
                  </a:lnTo>
                  <a:lnTo>
                    <a:pt x="144" y="8"/>
                  </a:lnTo>
                  <a:lnTo>
                    <a:pt x="146" y="8"/>
                  </a:lnTo>
                  <a:lnTo>
                    <a:pt x="146" y="8"/>
                  </a:lnTo>
                  <a:lnTo>
                    <a:pt x="144" y="8"/>
                  </a:lnTo>
                  <a:lnTo>
                    <a:pt x="146" y="8"/>
                  </a:lnTo>
                  <a:lnTo>
                    <a:pt x="144" y="8"/>
                  </a:lnTo>
                  <a:lnTo>
                    <a:pt x="146" y="8"/>
                  </a:lnTo>
                  <a:lnTo>
                    <a:pt x="146" y="6"/>
                  </a:lnTo>
                  <a:lnTo>
                    <a:pt x="144" y="6"/>
                  </a:lnTo>
                  <a:lnTo>
                    <a:pt x="146" y="6"/>
                  </a:lnTo>
                  <a:lnTo>
                    <a:pt x="144" y="6"/>
                  </a:lnTo>
                  <a:lnTo>
                    <a:pt x="144" y="8"/>
                  </a:lnTo>
                  <a:lnTo>
                    <a:pt x="146" y="8"/>
                  </a:lnTo>
                  <a:lnTo>
                    <a:pt x="144" y="8"/>
                  </a:lnTo>
                  <a:lnTo>
                    <a:pt x="144" y="8"/>
                  </a:lnTo>
                  <a:lnTo>
                    <a:pt x="144" y="10"/>
                  </a:lnTo>
                  <a:lnTo>
                    <a:pt x="142" y="10"/>
                  </a:lnTo>
                  <a:lnTo>
                    <a:pt x="142" y="12"/>
                  </a:lnTo>
                  <a:lnTo>
                    <a:pt x="140" y="12"/>
                  </a:lnTo>
                  <a:lnTo>
                    <a:pt x="140" y="14"/>
                  </a:lnTo>
                  <a:lnTo>
                    <a:pt x="140" y="12"/>
                  </a:lnTo>
                  <a:lnTo>
                    <a:pt x="140" y="10"/>
                  </a:lnTo>
                  <a:lnTo>
                    <a:pt x="140" y="8"/>
                  </a:lnTo>
                  <a:lnTo>
                    <a:pt x="140" y="8"/>
                  </a:lnTo>
                  <a:lnTo>
                    <a:pt x="140" y="8"/>
                  </a:lnTo>
                  <a:lnTo>
                    <a:pt x="138" y="8"/>
                  </a:lnTo>
                  <a:lnTo>
                    <a:pt x="140" y="8"/>
                  </a:lnTo>
                  <a:lnTo>
                    <a:pt x="138" y="8"/>
                  </a:lnTo>
                  <a:lnTo>
                    <a:pt x="138" y="10"/>
                  </a:lnTo>
                  <a:lnTo>
                    <a:pt x="140" y="10"/>
                  </a:lnTo>
                  <a:lnTo>
                    <a:pt x="138" y="10"/>
                  </a:lnTo>
                  <a:lnTo>
                    <a:pt x="138" y="8"/>
                  </a:lnTo>
                  <a:lnTo>
                    <a:pt x="138" y="10"/>
                  </a:lnTo>
                  <a:lnTo>
                    <a:pt x="138" y="8"/>
                  </a:lnTo>
                  <a:lnTo>
                    <a:pt x="138" y="10"/>
                  </a:lnTo>
                  <a:lnTo>
                    <a:pt x="136" y="10"/>
                  </a:lnTo>
                  <a:lnTo>
                    <a:pt x="138" y="10"/>
                  </a:lnTo>
                  <a:lnTo>
                    <a:pt x="136" y="10"/>
                  </a:lnTo>
                  <a:lnTo>
                    <a:pt x="136" y="8"/>
                  </a:lnTo>
                  <a:lnTo>
                    <a:pt x="134" y="8"/>
                  </a:lnTo>
                  <a:lnTo>
                    <a:pt x="134" y="8"/>
                  </a:lnTo>
                  <a:lnTo>
                    <a:pt x="132" y="8"/>
                  </a:lnTo>
                  <a:lnTo>
                    <a:pt x="132" y="6"/>
                  </a:lnTo>
                  <a:lnTo>
                    <a:pt x="130" y="6"/>
                  </a:lnTo>
                  <a:lnTo>
                    <a:pt x="128" y="6"/>
                  </a:lnTo>
                  <a:lnTo>
                    <a:pt x="128" y="4"/>
                  </a:lnTo>
                  <a:lnTo>
                    <a:pt x="130" y="4"/>
                  </a:lnTo>
                  <a:lnTo>
                    <a:pt x="132" y="4"/>
                  </a:lnTo>
                  <a:close/>
                  <a:moveTo>
                    <a:pt x="26" y="26"/>
                  </a:moveTo>
                  <a:lnTo>
                    <a:pt x="28" y="26"/>
                  </a:lnTo>
                  <a:lnTo>
                    <a:pt x="30" y="26"/>
                  </a:lnTo>
                  <a:lnTo>
                    <a:pt x="32" y="26"/>
                  </a:lnTo>
                  <a:lnTo>
                    <a:pt x="32" y="24"/>
                  </a:lnTo>
                  <a:lnTo>
                    <a:pt x="34" y="24"/>
                  </a:lnTo>
                  <a:lnTo>
                    <a:pt x="36" y="24"/>
                  </a:lnTo>
                  <a:lnTo>
                    <a:pt x="38" y="24"/>
                  </a:lnTo>
                  <a:lnTo>
                    <a:pt x="40" y="24"/>
                  </a:lnTo>
                  <a:lnTo>
                    <a:pt x="42" y="22"/>
                  </a:lnTo>
                  <a:lnTo>
                    <a:pt x="44" y="22"/>
                  </a:lnTo>
                  <a:lnTo>
                    <a:pt x="46" y="22"/>
                  </a:lnTo>
                  <a:lnTo>
                    <a:pt x="48" y="22"/>
                  </a:lnTo>
                  <a:lnTo>
                    <a:pt x="50" y="22"/>
                  </a:lnTo>
                  <a:lnTo>
                    <a:pt x="52" y="20"/>
                  </a:lnTo>
                  <a:lnTo>
                    <a:pt x="54" y="20"/>
                  </a:lnTo>
                  <a:lnTo>
                    <a:pt x="56" y="20"/>
                  </a:lnTo>
                  <a:lnTo>
                    <a:pt x="58" y="20"/>
                  </a:lnTo>
                  <a:lnTo>
                    <a:pt x="60" y="18"/>
                  </a:lnTo>
                  <a:lnTo>
                    <a:pt x="62" y="18"/>
                  </a:lnTo>
                  <a:lnTo>
                    <a:pt x="64" y="18"/>
                  </a:lnTo>
                  <a:lnTo>
                    <a:pt x="66" y="18"/>
                  </a:lnTo>
                  <a:lnTo>
                    <a:pt x="68" y="18"/>
                  </a:lnTo>
                  <a:lnTo>
                    <a:pt x="68" y="16"/>
                  </a:lnTo>
                  <a:lnTo>
                    <a:pt x="70" y="16"/>
                  </a:lnTo>
                  <a:lnTo>
                    <a:pt x="72" y="16"/>
                  </a:lnTo>
                  <a:lnTo>
                    <a:pt x="72" y="16"/>
                  </a:lnTo>
                  <a:lnTo>
                    <a:pt x="74" y="16"/>
                  </a:lnTo>
                  <a:lnTo>
                    <a:pt x="76" y="16"/>
                  </a:lnTo>
                  <a:lnTo>
                    <a:pt x="76" y="14"/>
                  </a:lnTo>
                  <a:lnTo>
                    <a:pt x="78" y="14"/>
                  </a:lnTo>
                  <a:lnTo>
                    <a:pt x="82" y="14"/>
                  </a:lnTo>
                  <a:lnTo>
                    <a:pt x="84" y="14"/>
                  </a:lnTo>
                  <a:lnTo>
                    <a:pt x="86" y="12"/>
                  </a:lnTo>
                  <a:lnTo>
                    <a:pt x="88" y="12"/>
                  </a:lnTo>
                  <a:lnTo>
                    <a:pt x="90" y="12"/>
                  </a:lnTo>
                  <a:lnTo>
                    <a:pt x="92" y="12"/>
                  </a:lnTo>
                  <a:lnTo>
                    <a:pt x="94" y="10"/>
                  </a:lnTo>
                  <a:lnTo>
                    <a:pt x="96" y="10"/>
                  </a:lnTo>
                  <a:lnTo>
                    <a:pt x="98" y="10"/>
                  </a:lnTo>
                  <a:lnTo>
                    <a:pt x="100" y="10"/>
                  </a:lnTo>
                  <a:lnTo>
                    <a:pt x="102" y="8"/>
                  </a:lnTo>
                  <a:lnTo>
                    <a:pt x="104" y="8"/>
                  </a:lnTo>
                  <a:lnTo>
                    <a:pt x="106" y="8"/>
                  </a:lnTo>
                  <a:lnTo>
                    <a:pt x="108" y="8"/>
                  </a:lnTo>
                  <a:lnTo>
                    <a:pt x="110" y="8"/>
                  </a:lnTo>
                  <a:lnTo>
                    <a:pt x="110" y="8"/>
                  </a:lnTo>
                  <a:lnTo>
                    <a:pt x="112" y="8"/>
                  </a:lnTo>
                  <a:lnTo>
                    <a:pt x="114" y="8"/>
                  </a:lnTo>
                  <a:lnTo>
                    <a:pt x="116" y="8"/>
                  </a:lnTo>
                  <a:lnTo>
                    <a:pt x="118" y="8"/>
                  </a:lnTo>
                  <a:lnTo>
                    <a:pt x="120" y="6"/>
                  </a:lnTo>
                  <a:lnTo>
                    <a:pt x="126" y="4"/>
                  </a:lnTo>
                  <a:lnTo>
                    <a:pt x="128" y="6"/>
                  </a:lnTo>
                  <a:lnTo>
                    <a:pt x="130" y="6"/>
                  </a:lnTo>
                  <a:lnTo>
                    <a:pt x="130" y="8"/>
                  </a:lnTo>
                  <a:lnTo>
                    <a:pt x="132" y="8"/>
                  </a:lnTo>
                  <a:lnTo>
                    <a:pt x="132" y="8"/>
                  </a:lnTo>
                  <a:lnTo>
                    <a:pt x="134" y="8"/>
                  </a:lnTo>
                  <a:lnTo>
                    <a:pt x="134" y="10"/>
                  </a:lnTo>
                  <a:lnTo>
                    <a:pt x="136" y="10"/>
                  </a:lnTo>
                  <a:lnTo>
                    <a:pt x="136" y="12"/>
                  </a:lnTo>
                  <a:lnTo>
                    <a:pt x="134" y="14"/>
                  </a:lnTo>
                  <a:lnTo>
                    <a:pt x="134" y="12"/>
                  </a:lnTo>
                  <a:lnTo>
                    <a:pt x="134" y="14"/>
                  </a:lnTo>
                  <a:lnTo>
                    <a:pt x="136" y="14"/>
                  </a:lnTo>
                  <a:lnTo>
                    <a:pt x="138" y="14"/>
                  </a:lnTo>
                  <a:lnTo>
                    <a:pt x="138" y="16"/>
                  </a:lnTo>
                  <a:lnTo>
                    <a:pt x="136" y="16"/>
                  </a:lnTo>
                  <a:lnTo>
                    <a:pt x="136" y="18"/>
                  </a:lnTo>
                  <a:lnTo>
                    <a:pt x="134" y="18"/>
                  </a:lnTo>
                  <a:lnTo>
                    <a:pt x="134" y="20"/>
                  </a:lnTo>
                  <a:lnTo>
                    <a:pt x="132" y="20"/>
                  </a:lnTo>
                  <a:lnTo>
                    <a:pt x="132" y="18"/>
                  </a:lnTo>
                  <a:lnTo>
                    <a:pt x="132" y="20"/>
                  </a:lnTo>
                  <a:lnTo>
                    <a:pt x="132" y="18"/>
                  </a:lnTo>
                  <a:lnTo>
                    <a:pt x="132" y="20"/>
                  </a:lnTo>
                  <a:lnTo>
                    <a:pt x="134" y="20"/>
                  </a:lnTo>
                  <a:lnTo>
                    <a:pt x="134" y="22"/>
                  </a:lnTo>
                  <a:lnTo>
                    <a:pt x="132" y="22"/>
                  </a:lnTo>
                  <a:lnTo>
                    <a:pt x="132" y="20"/>
                  </a:lnTo>
                  <a:lnTo>
                    <a:pt x="130" y="20"/>
                  </a:lnTo>
                  <a:lnTo>
                    <a:pt x="132" y="20"/>
                  </a:lnTo>
                  <a:lnTo>
                    <a:pt x="130" y="20"/>
                  </a:lnTo>
                  <a:lnTo>
                    <a:pt x="132" y="20"/>
                  </a:lnTo>
                  <a:lnTo>
                    <a:pt x="132" y="18"/>
                  </a:lnTo>
                  <a:lnTo>
                    <a:pt x="130" y="18"/>
                  </a:lnTo>
                  <a:lnTo>
                    <a:pt x="130" y="16"/>
                  </a:lnTo>
                  <a:lnTo>
                    <a:pt x="132" y="16"/>
                  </a:lnTo>
                  <a:lnTo>
                    <a:pt x="130" y="16"/>
                  </a:lnTo>
                  <a:lnTo>
                    <a:pt x="132" y="16"/>
                  </a:lnTo>
                  <a:lnTo>
                    <a:pt x="130" y="16"/>
                  </a:lnTo>
                  <a:lnTo>
                    <a:pt x="132" y="16"/>
                  </a:lnTo>
                  <a:lnTo>
                    <a:pt x="130" y="16"/>
                  </a:lnTo>
                  <a:lnTo>
                    <a:pt x="132" y="16"/>
                  </a:lnTo>
                  <a:lnTo>
                    <a:pt x="130" y="16"/>
                  </a:lnTo>
                  <a:lnTo>
                    <a:pt x="130" y="18"/>
                  </a:lnTo>
                  <a:lnTo>
                    <a:pt x="130" y="16"/>
                  </a:lnTo>
                  <a:lnTo>
                    <a:pt x="130" y="18"/>
                  </a:lnTo>
                  <a:lnTo>
                    <a:pt x="128" y="18"/>
                  </a:lnTo>
                  <a:lnTo>
                    <a:pt x="130" y="18"/>
                  </a:lnTo>
                  <a:lnTo>
                    <a:pt x="130" y="20"/>
                  </a:lnTo>
                  <a:lnTo>
                    <a:pt x="130" y="18"/>
                  </a:lnTo>
                  <a:lnTo>
                    <a:pt x="130" y="20"/>
                  </a:lnTo>
                  <a:lnTo>
                    <a:pt x="130" y="18"/>
                  </a:lnTo>
                  <a:lnTo>
                    <a:pt x="130" y="20"/>
                  </a:lnTo>
                  <a:lnTo>
                    <a:pt x="130" y="22"/>
                  </a:lnTo>
                  <a:lnTo>
                    <a:pt x="132" y="22"/>
                  </a:lnTo>
                  <a:lnTo>
                    <a:pt x="132" y="24"/>
                  </a:lnTo>
                  <a:lnTo>
                    <a:pt x="130" y="24"/>
                  </a:lnTo>
                  <a:lnTo>
                    <a:pt x="132" y="24"/>
                  </a:lnTo>
                  <a:lnTo>
                    <a:pt x="130" y="24"/>
                  </a:lnTo>
                  <a:lnTo>
                    <a:pt x="130" y="26"/>
                  </a:lnTo>
                  <a:lnTo>
                    <a:pt x="130" y="24"/>
                  </a:lnTo>
                  <a:lnTo>
                    <a:pt x="130" y="22"/>
                  </a:lnTo>
                  <a:lnTo>
                    <a:pt x="128" y="22"/>
                  </a:lnTo>
                  <a:lnTo>
                    <a:pt x="130" y="22"/>
                  </a:lnTo>
                  <a:lnTo>
                    <a:pt x="128" y="22"/>
                  </a:lnTo>
                  <a:lnTo>
                    <a:pt x="130" y="22"/>
                  </a:lnTo>
                  <a:lnTo>
                    <a:pt x="128" y="22"/>
                  </a:lnTo>
                  <a:lnTo>
                    <a:pt x="128" y="20"/>
                  </a:lnTo>
                  <a:lnTo>
                    <a:pt x="126" y="20"/>
                  </a:lnTo>
                  <a:lnTo>
                    <a:pt x="126" y="22"/>
                  </a:lnTo>
                  <a:lnTo>
                    <a:pt x="126" y="20"/>
                  </a:lnTo>
                  <a:lnTo>
                    <a:pt x="126" y="22"/>
                  </a:lnTo>
                  <a:lnTo>
                    <a:pt x="126" y="20"/>
                  </a:lnTo>
                  <a:lnTo>
                    <a:pt x="126" y="22"/>
                  </a:lnTo>
                  <a:lnTo>
                    <a:pt x="124" y="22"/>
                  </a:lnTo>
                  <a:lnTo>
                    <a:pt x="126" y="22"/>
                  </a:lnTo>
                  <a:lnTo>
                    <a:pt x="128" y="22"/>
                  </a:lnTo>
                  <a:lnTo>
                    <a:pt x="128" y="24"/>
                  </a:lnTo>
                  <a:lnTo>
                    <a:pt x="126" y="24"/>
                  </a:lnTo>
                  <a:lnTo>
                    <a:pt x="126" y="22"/>
                  </a:lnTo>
                  <a:lnTo>
                    <a:pt x="126" y="24"/>
                  </a:lnTo>
                  <a:lnTo>
                    <a:pt x="128" y="24"/>
                  </a:lnTo>
                  <a:lnTo>
                    <a:pt x="126" y="24"/>
                  </a:lnTo>
                  <a:lnTo>
                    <a:pt x="128" y="24"/>
                  </a:lnTo>
                  <a:lnTo>
                    <a:pt x="126" y="24"/>
                  </a:lnTo>
                  <a:lnTo>
                    <a:pt x="126" y="26"/>
                  </a:lnTo>
                  <a:lnTo>
                    <a:pt x="128" y="26"/>
                  </a:lnTo>
                  <a:lnTo>
                    <a:pt x="126" y="26"/>
                  </a:lnTo>
                  <a:lnTo>
                    <a:pt x="128" y="26"/>
                  </a:lnTo>
                  <a:lnTo>
                    <a:pt x="126" y="26"/>
                  </a:lnTo>
                  <a:lnTo>
                    <a:pt x="128" y="26"/>
                  </a:lnTo>
                  <a:lnTo>
                    <a:pt x="126" y="26"/>
                  </a:lnTo>
                  <a:lnTo>
                    <a:pt x="126" y="24"/>
                  </a:lnTo>
                  <a:lnTo>
                    <a:pt x="126" y="26"/>
                  </a:lnTo>
                  <a:lnTo>
                    <a:pt x="124" y="26"/>
                  </a:lnTo>
                  <a:lnTo>
                    <a:pt x="126" y="26"/>
                  </a:lnTo>
                  <a:lnTo>
                    <a:pt x="124" y="26"/>
                  </a:lnTo>
                  <a:lnTo>
                    <a:pt x="126" y="26"/>
                  </a:lnTo>
                  <a:lnTo>
                    <a:pt x="124" y="26"/>
                  </a:lnTo>
                  <a:lnTo>
                    <a:pt x="126" y="26"/>
                  </a:lnTo>
                  <a:lnTo>
                    <a:pt x="124" y="26"/>
                  </a:lnTo>
                  <a:lnTo>
                    <a:pt x="126" y="26"/>
                  </a:lnTo>
                  <a:lnTo>
                    <a:pt x="126" y="28"/>
                  </a:lnTo>
                  <a:lnTo>
                    <a:pt x="126" y="26"/>
                  </a:lnTo>
                  <a:lnTo>
                    <a:pt x="126" y="28"/>
                  </a:lnTo>
                  <a:lnTo>
                    <a:pt x="126" y="26"/>
                  </a:lnTo>
                  <a:lnTo>
                    <a:pt x="126" y="28"/>
                  </a:lnTo>
                  <a:lnTo>
                    <a:pt x="126" y="30"/>
                  </a:lnTo>
                  <a:lnTo>
                    <a:pt x="126" y="28"/>
                  </a:lnTo>
                  <a:lnTo>
                    <a:pt x="126" y="30"/>
                  </a:lnTo>
                  <a:lnTo>
                    <a:pt x="126" y="28"/>
                  </a:lnTo>
                  <a:lnTo>
                    <a:pt x="126" y="30"/>
                  </a:lnTo>
                  <a:lnTo>
                    <a:pt x="124" y="28"/>
                  </a:lnTo>
                  <a:lnTo>
                    <a:pt x="124" y="26"/>
                  </a:lnTo>
                  <a:lnTo>
                    <a:pt x="122" y="26"/>
                  </a:lnTo>
                  <a:lnTo>
                    <a:pt x="124" y="26"/>
                  </a:lnTo>
                  <a:lnTo>
                    <a:pt x="124" y="28"/>
                  </a:lnTo>
                  <a:lnTo>
                    <a:pt x="122" y="28"/>
                  </a:lnTo>
                  <a:lnTo>
                    <a:pt x="122" y="26"/>
                  </a:lnTo>
                  <a:lnTo>
                    <a:pt x="122" y="28"/>
                  </a:lnTo>
                  <a:lnTo>
                    <a:pt x="122" y="26"/>
                  </a:lnTo>
                  <a:lnTo>
                    <a:pt x="122" y="28"/>
                  </a:lnTo>
                  <a:lnTo>
                    <a:pt x="124" y="28"/>
                  </a:lnTo>
                  <a:lnTo>
                    <a:pt x="122" y="28"/>
                  </a:lnTo>
                  <a:lnTo>
                    <a:pt x="124" y="28"/>
                  </a:lnTo>
                  <a:lnTo>
                    <a:pt x="124" y="30"/>
                  </a:lnTo>
                  <a:lnTo>
                    <a:pt x="124" y="28"/>
                  </a:lnTo>
                  <a:lnTo>
                    <a:pt x="124" y="30"/>
                  </a:lnTo>
                  <a:lnTo>
                    <a:pt x="126" y="30"/>
                  </a:lnTo>
                  <a:lnTo>
                    <a:pt x="124" y="30"/>
                  </a:lnTo>
                  <a:lnTo>
                    <a:pt x="126" y="30"/>
                  </a:lnTo>
                  <a:lnTo>
                    <a:pt x="126" y="32"/>
                  </a:lnTo>
                  <a:lnTo>
                    <a:pt x="126" y="30"/>
                  </a:lnTo>
                  <a:lnTo>
                    <a:pt x="126" y="32"/>
                  </a:lnTo>
                  <a:lnTo>
                    <a:pt x="126" y="30"/>
                  </a:lnTo>
                  <a:lnTo>
                    <a:pt x="126" y="32"/>
                  </a:lnTo>
                  <a:lnTo>
                    <a:pt x="124" y="32"/>
                  </a:lnTo>
                  <a:lnTo>
                    <a:pt x="124" y="30"/>
                  </a:lnTo>
                  <a:lnTo>
                    <a:pt x="124" y="32"/>
                  </a:lnTo>
                  <a:lnTo>
                    <a:pt x="124" y="30"/>
                  </a:lnTo>
                  <a:lnTo>
                    <a:pt x="124" y="32"/>
                  </a:lnTo>
                  <a:lnTo>
                    <a:pt x="122" y="32"/>
                  </a:lnTo>
                  <a:lnTo>
                    <a:pt x="124" y="32"/>
                  </a:lnTo>
                  <a:lnTo>
                    <a:pt x="122" y="32"/>
                  </a:lnTo>
                  <a:lnTo>
                    <a:pt x="124" y="32"/>
                  </a:lnTo>
                  <a:lnTo>
                    <a:pt x="122" y="32"/>
                  </a:lnTo>
                  <a:lnTo>
                    <a:pt x="124" y="32"/>
                  </a:lnTo>
                  <a:lnTo>
                    <a:pt x="122" y="32"/>
                  </a:lnTo>
                  <a:lnTo>
                    <a:pt x="124" y="32"/>
                  </a:lnTo>
                  <a:lnTo>
                    <a:pt x="122" y="32"/>
                  </a:lnTo>
                  <a:lnTo>
                    <a:pt x="124" y="32"/>
                  </a:lnTo>
                  <a:lnTo>
                    <a:pt x="122" y="32"/>
                  </a:lnTo>
                  <a:lnTo>
                    <a:pt x="124" y="32"/>
                  </a:lnTo>
                  <a:lnTo>
                    <a:pt x="122" y="32"/>
                  </a:lnTo>
                  <a:lnTo>
                    <a:pt x="124" y="32"/>
                  </a:lnTo>
                  <a:lnTo>
                    <a:pt x="122" y="32"/>
                  </a:lnTo>
                  <a:lnTo>
                    <a:pt x="122" y="30"/>
                  </a:lnTo>
                  <a:lnTo>
                    <a:pt x="120" y="30"/>
                  </a:lnTo>
                  <a:lnTo>
                    <a:pt x="120" y="30"/>
                  </a:lnTo>
                  <a:lnTo>
                    <a:pt x="120" y="30"/>
                  </a:lnTo>
                  <a:lnTo>
                    <a:pt x="120" y="30"/>
                  </a:lnTo>
                  <a:lnTo>
                    <a:pt x="118" y="30"/>
                  </a:lnTo>
                  <a:lnTo>
                    <a:pt x="120" y="30"/>
                  </a:lnTo>
                  <a:lnTo>
                    <a:pt x="120" y="32"/>
                  </a:lnTo>
                  <a:lnTo>
                    <a:pt x="120" y="30"/>
                  </a:lnTo>
                  <a:lnTo>
                    <a:pt x="120" y="32"/>
                  </a:lnTo>
                  <a:lnTo>
                    <a:pt x="120" y="30"/>
                  </a:lnTo>
                  <a:lnTo>
                    <a:pt x="120" y="32"/>
                  </a:lnTo>
                  <a:lnTo>
                    <a:pt x="120" y="32"/>
                  </a:lnTo>
                  <a:lnTo>
                    <a:pt x="120" y="32"/>
                  </a:lnTo>
                  <a:lnTo>
                    <a:pt x="120" y="30"/>
                  </a:lnTo>
                  <a:lnTo>
                    <a:pt x="120" y="30"/>
                  </a:lnTo>
                  <a:lnTo>
                    <a:pt x="120" y="32"/>
                  </a:lnTo>
                  <a:lnTo>
                    <a:pt x="120" y="34"/>
                  </a:lnTo>
                  <a:lnTo>
                    <a:pt x="120" y="34"/>
                  </a:lnTo>
                  <a:lnTo>
                    <a:pt x="120" y="34"/>
                  </a:lnTo>
                  <a:lnTo>
                    <a:pt x="120" y="36"/>
                  </a:lnTo>
                  <a:lnTo>
                    <a:pt x="120" y="34"/>
                  </a:lnTo>
                  <a:lnTo>
                    <a:pt x="120" y="32"/>
                  </a:lnTo>
                  <a:lnTo>
                    <a:pt x="122" y="32"/>
                  </a:lnTo>
                  <a:lnTo>
                    <a:pt x="122" y="34"/>
                  </a:lnTo>
                  <a:lnTo>
                    <a:pt x="122" y="36"/>
                  </a:lnTo>
                  <a:lnTo>
                    <a:pt x="122" y="34"/>
                  </a:lnTo>
                  <a:lnTo>
                    <a:pt x="122" y="36"/>
                  </a:lnTo>
                  <a:lnTo>
                    <a:pt x="122" y="34"/>
                  </a:lnTo>
                  <a:lnTo>
                    <a:pt x="122" y="36"/>
                  </a:lnTo>
                  <a:lnTo>
                    <a:pt x="122" y="34"/>
                  </a:lnTo>
                  <a:lnTo>
                    <a:pt x="124" y="34"/>
                  </a:lnTo>
                  <a:lnTo>
                    <a:pt x="122" y="34"/>
                  </a:lnTo>
                  <a:lnTo>
                    <a:pt x="124" y="34"/>
                  </a:lnTo>
                  <a:lnTo>
                    <a:pt x="124" y="36"/>
                  </a:lnTo>
                  <a:lnTo>
                    <a:pt x="122" y="36"/>
                  </a:lnTo>
                  <a:lnTo>
                    <a:pt x="124" y="36"/>
                  </a:lnTo>
                  <a:lnTo>
                    <a:pt x="124" y="34"/>
                  </a:lnTo>
                  <a:lnTo>
                    <a:pt x="126" y="34"/>
                  </a:lnTo>
                  <a:lnTo>
                    <a:pt x="126" y="36"/>
                  </a:lnTo>
                  <a:lnTo>
                    <a:pt x="124" y="36"/>
                  </a:lnTo>
                  <a:lnTo>
                    <a:pt x="126" y="36"/>
                  </a:lnTo>
                  <a:lnTo>
                    <a:pt x="128" y="36"/>
                  </a:lnTo>
                  <a:lnTo>
                    <a:pt x="128" y="38"/>
                  </a:lnTo>
                  <a:lnTo>
                    <a:pt x="128" y="40"/>
                  </a:lnTo>
                  <a:lnTo>
                    <a:pt x="130" y="40"/>
                  </a:lnTo>
                  <a:lnTo>
                    <a:pt x="130" y="42"/>
                  </a:lnTo>
                  <a:lnTo>
                    <a:pt x="130" y="44"/>
                  </a:lnTo>
                  <a:lnTo>
                    <a:pt x="128" y="44"/>
                  </a:lnTo>
                  <a:lnTo>
                    <a:pt x="130" y="42"/>
                  </a:lnTo>
                  <a:lnTo>
                    <a:pt x="128" y="42"/>
                  </a:lnTo>
                  <a:lnTo>
                    <a:pt x="130" y="42"/>
                  </a:lnTo>
                  <a:lnTo>
                    <a:pt x="128" y="42"/>
                  </a:lnTo>
                  <a:lnTo>
                    <a:pt x="130" y="42"/>
                  </a:lnTo>
                  <a:lnTo>
                    <a:pt x="128" y="42"/>
                  </a:lnTo>
                  <a:lnTo>
                    <a:pt x="130" y="42"/>
                  </a:lnTo>
                  <a:lnTo>
                    <a:pt x="128" y="42"/>
                  </a:lnTo>
                  <a:lnTo>
                    <a:pt x="128" y="44"/>
                  </a:lnTo>
                  <a:lnTo>
                    <a:pt x="128" y="42"/>
                  </a:lnTo>
                  <a:lnTo>
                    <a:pt x="128" y="44"/>
                  </a:lnTo>
                  <a:lnTo>
                    <a:pt x="128" y="42"/>
                  </a:lnTo>
                  <a:lnTo>
                    <a:pt x="128" y="44"/>
                  </a:lnTo>
                  <a:lnTo>
                    <a:pt x="128" y="42"/>
                  </a:lnTo>
                  <a:lnTo>
                    <a:pt x="126" y="42"/>
                  </a:lnTo>
                  <a:lnTo>
                    <a:pt x="128" y="42"/>
                  </a:lnTo>
                  <a:lnTo>
                    <a:pt x="128" y="44"/>
                  </a:lnTo>
                  <a:lnTo>
                    <a:pt x="126" y="44"/>
                  </a:lnTo>
                  <a:lnTo>
                    <a:pt x="126" y="42"/>
                  </a:lnTo>
                  <a:lnTo>
                    <a:pt x="126" y="44"/>
                  </a:lnTo>
                  <a:lnTo>
                    <a:pt x="126" y="42"/>
                  </a:lnTo>
                  <a:lnTo>
                    <a:pt x="124" y="42"/>
                  </a:lnTo>
                  <a:lnTo>
                    <a:pt x="126" y="42"/>
                  </a:lnTo>
                  <a:lnTo>
                    <a:pt x="124" y="42"/>
                  </a:lnTo>
                  <a:lnTo>
                    <a:pt x="124" y="40"/>
                  </a:lnTo>
                  <a:lnTo>
                    <a:pt x="122" y="40"/>
                  </a:lnTo>
                  <a:lnTo>
                    <a:pt x="120" y="40"/>
                  </a:lnTo>
                  <a:lnTo>
                    <a:pt x="122" y="40"/>
                  </a:lnTo>
                  <a:lnTo>
                    <a:pt x="122" y="42"/>
                  </a:lnTo>
                  <a:lnTo>
                    <a:pt x="122" y="40"/>
                  </a:lnTo>
                  <a:lnTo>
                    <a:pt x="122" y="42"/>
                  </a:lnTo>
                  <a:lnTo>
                    <a:pt x="122" y="40"/>
                  </a:lnTo>
                  <a:lnTo>
                    <a:pt x="122" y="42"/>
                  </a:lnTo>
                  <a:lnTo>
                    <a:pt x="124" y="42"/>
                  </a:lnTo>
                  <a:lnTo>
                    <a:pt x="124" y="44"/>
                  </a:lnTo>
                  <a:lnTo>
                    <a:pt x="124" y="42"/>
                  </a:lnTo>
                  <a:lnTo>
                    <a:pt x="124" y="44"/>
                  </a:lnTo>
                  <a:lnTo>
                    <a:pt x="126" y="44"/>
                  </a:lnTo>
                  <a:lnTo>
                    <a:pt x="124" y="44"/>
                  </a:lnTo>
                  <a:lnTo>
                    <a:pt x="126" y="44"/>
                  </a:lnTo>
                  <a:lnTo>
                    <a:pt x="124" y="44"/>
                  </a:lnTo>
                  <a:lnTo>
                    <a:pt x="126" y="44"/>
                  </a:lnTo>
                  <a:lnTo>
                    <a:pt x="128" y="44"/>
                  </a:lnTo>
                  <a:lnTo>
                    <a:pt x="126" y="44"/>
                  </a:lnTo>
                  <a:lnTo>
                    <a:pt x="126" y="46"/>
                  </a:lnTo>
                  <a:lnTo>
                    <a:pt x="126" y="44"/>
                  </a:lnTo>
                  <a:lnTo>
                    <a:pt x="126" y="46"/>
                  </a:lnTo>
                  <a:lnTo>
                    <a:pt x="126" y="44"/>
                  </a:lnTo>
                  <a:lnTo>
                    <a:pt x="128" y="44"/>
                  </a:lnTo>
                  <a:lnTo>
                    <a:pt x="126" y="44"/>
                  </a:lnTo>
                  <a:lnTo>
                    <a:pt x="126" y="46"/>
                  </a:lnTo>
                  <a:lnTo>
                    <a:pt x="128" y="46"/>
                  </a:lnTo>
                  <a:lnTo>
                    <a:pt x="126" y="46"/>
                  </a:lnTo>
                  <a:lnTo>
                    <a:pt x="128" y="46"/>
                  </a:lnTo>
                  <a:lnTo>
                    <a:pt x="126" y="46"/>
                  </a:lnTo>
                  <a:lnTo>
                    <a:pt x="128" y="46"/>
                  </a:lnTo>
                  <a:lnTo>
                    <a:pt x="128" y="44"/>
                  </a:lnTo>
                  <a:lnTo>
                    <a:pt x="128" y="46"/>
                  </a:lnTo>
                  <a:lnTo>
                    <a:pt x="128" y="48"/>
                  </a:lnTo>
                  <a:lnTo>
                    <a:pt x="128" y="46"/>
                  </a:lnTo>
                  <a:lnTo>
                    <a:pt x="128" y="48"/>
                  </a:lnTo>
                  <a:lnTo>
                    <a:pt x="128" y="46"/>
                  </a:lnTo>
                  <a:lnTo>
                    <a:pt x="128" y="48"/>
                  </a:lnTo>
                  <a:lnTo>
                    <a:pt x="128" y="46"/>
                  </a:lnTo>
                  <a:lnTo>
                    <a:pt x="128" y="48"/>
                  </a:lnTo>
                  <a:lnTo>
                    <a:pt x="126" y="48"/>
                  </a:lnTo>
                  <a:lnTo>
                    <a:pt x="126" y="46"/>
                  </a:lnTo>
                  <a:lnTo>
                    <a:pt x="126" y="48"/>
                  </a:lnTo>
                  <a:lnTo>
                    <a:pt x="126" y="46"/>
                  </a:lnTo>
                  <a:lnTo>
                    <a:pt x="126" y="48"/>
                  </a:lnTo>
                  <a:lnTo>
                    <a:pt x="126" y="46"/>
                  </a:lnTo>
                  <a:lnTo>
                    <a:pt x="124" y="46"/>
                  </a:lnTo>
                  <a:lnTo>
                    <a:pt x="126" y="46"/>
                  </a:lnTo>
                  <a:lnTo>
                    <a:pt x="124" y="46"/>
                  </a:lnTo>
                  <a:lnTo>
                    <a:pt x="126" y="46"/>
                  </a:lnTo>
                  <a:lnTo>
                    <a:pt x="124" y="46"/>
                  </a:lnTo>
                  <a:lnTo>
                    <a:pt x="122" y="46"/>
                  </a:lnTo>
                  <a:lnTo>
                    <a:pt x="124" y="46"/>
                  </a:lnTo>
                  <a:lnTo>
                    <a:pt x="122" y="46"/>
                  </a:lnTo>
                  <a:lnTo>
                    <a:pt x="124" y="46"/>
                  </a:lnTo>
                  <a:lnTo>
                    <a:pt x="122" y="46"/>
                  </a:lnTo>
                  <a:lnTo>
                    <a:pt x="124" y="46"/>
                  </a:lnTo>
                  <a:lnTo>
                    <a:pt x="124" y="48"/>
                  </a:lnTo>
                  <a:lnTo>
                    <a:pt x="122" y="48"/>
                  </a:lnTo>
                  <a:lnTo>
                    <a:pt x="124" y="48"/>
                  </a:lnTo>
                  <a:lnTo>
                    <a:pt x="124" y="46"/>
                  </a:lnTo>
                  <a:lnTo>
                    <a:pt x="124" y="48"/>
                  </a:lnTo>
                  <a:lnTo>
                    <a:pt x="124" y="46"/>
                  </a:lnTo>
                  <a:lnTo>
                    <a:pt x="124" y="48"/>
                  </a:lnTo>
                  <a:lnTo>
                    <a:pt x="124" y="46"/>
                  </a:lnTo>
                  <a:lnTo>
                    <a:pt x="126" y="46"/>
                  </a:lnTo>
                  <a:lnTo>
                    <a:pt x="126" y="48"/>
                  </a:lnTo>
                  <a:lnTo>
                    <a:pt x="124" y="48"/>
                  </a:lnTo>
                  <a:lnTo>
                    <a:pt x="126" y="48"/>
                  </a:lnTo>
                  <a:lnTo>
                    <a:pt x="124" y="48"/>
                  </a:lnTo>
                  <a:lnTo>
                    <a:pt x="126" y="48"/>
                  </a:lnTo>
                  <a:lnTo>
                    <a:pt x="126" y="50"/>
                  </a:lnTo>
                  <a:lnTo>
                    <a:pt x="126" y="48"/>
                  </a:lnTo>
                  <a:lnTo>
                    <a:pt x="128" y="48"/>
                  </a:lnTo>
                  <a:lnTo>
                    <a:pt x="126" y="48"/>
                  </a:lnTo>
                  <a:lnTo>
                    <a:pt x="128" y="48"/>
                  </a:lnTo>
                  <a:lnTo>
                    <a:pt x="126" y="48"/>
                  </a:lnTo>
                  <a:lnTo>
                    <a:pt x="128" y="48"/>
                  </a:lnTo>
                  <a:lnTo>
                    <a:pt x="128" y="50"/>
                  </a:lnTo>
                  <a:lnTo>
                    <a:pt x="126" y="50"/>
                  </a:lnTo>
                  <a:lnTo>
                    <a:pt x="126" y="48"/>
                  </a:lnTo>
                  <a:lnTo>
                    <a:pt x="126" y="50"/>
                  </a:lnTo>
                  <a:lnTo>
                    <a:pt x="126" y="48"/>
                  </a:lnTo>
                  <a:lnTo>
                    <a:pt x="126" y="50"/>
                  </a:lnTo>
                  <a:lnTo>
                    <a:pt x="126" y="52"/>
                  </a:lnTo>
                  <a:lnTo>
                    <a:pt x="126" y="50"/>
                  </a:lnTo>
                  <a:lnTo>
                    <a:pt x="126" y="52"/>
                  </a:lnTo>
                  <a:lnTo>
                    <a:pt x="126" y="54"/>
                  </a:lnTo>
                  <a:lnTo>
                    <a:pt x="126" y="52"/>
                  </a:lnTo>
                  <a:lnTo>
                    <a:pt x="126" y="54"/>
                  </a:lnTo>
                  <a:lnTo>
                    <a:pt x="128" y="54"/>
                  </a:lnTo>
                  <a:lnTo>
                    <a:pt x="128" y="52"/>
                  </a:lnTo>
                  <a:lnTo>
                    <a:pt x="126" y="52"/>
                  </a:lnTo>
                  <a:lnTo>
                    <a:pt x="128" y="52"/>
                  </a:lnTo>
                  <a:lnTo>
                    <a:pt x="126" y="52"/>
                  </a:lnTo>
                  <a:lnTo>
                    <a:pt x="128" y="52"/>
                  </a:lnTo>
                  <a:lnTo>
                    <a:pt x="128" y="54"/>
                  </a:lnTo>
                  <a:lnTo>
                    <a:pt x="126" y="54"/>
                  </a:lnTo>
                  <a:lnTo>
                    <a:pt x="128" y="54"/>
                  </a:lnTo>
                  <a:lnTo>
                    <a:pt x="128" y="56"/>
                  </a:lnTo>
                  <a:lnTo>
                    <a:pt x="126" y="54"/>
                  </a:lnTo>
                  <a:lnTo>
                    <a:pt x="126" y="56"/>
                  </a:lnTo>
                  <a:lnTo>
                    <a:pt x="128" y="56"/>
                  </a:lnTo>
                  <a:lnTo>
                    <a:pt x="126" y="56"/>
                  </a:lnTo>
                  <a:lnTo>
                    <a:pt x="128" y="56"/>
                  </a:lnTo>
                  <a:lnTo>
                    <a:pt x="126" y="56"/>
                  </a:lnTo>
                  <a:lnTo>
                    <a:pt x="126" y="54"/>
                  </a:lnTo>
                  <a:lnTo>
                    <a:pt x="126" y="56"/>
                  </a:lnTo>
                  <a:lnTo>
                    <a:pt x="126" y="56"/>
                  </a:lnTo>
                  <a:lnTo>
                    <a:pt x="128" y="56"/>
                  </a:lnTo>
                  <a:lnTo>
                    <a:pt x="128" y="58"/>
                  </a:lnTo>
                  <a:lnTo>
                    <a:pt x="128" y="60"/>
                  </a:lnTo>
                  <a:lnTo>
                    <a:pt x="130" y="60"/>
                  </a:lnTo>
                  <a:lnTo>
                    <a:pt x="130" y="62"/>
                  </a:lnTo>
                  <a:lnTo>
                    <a:pt x="130" y="64"/>
                  </a:lnTo>
                  <a:lnTo>
                    <a:pt x="130" y="66"/>
                  </a:lnTo>
                  <a:lnTo>
                    <a:pt x="132" y="66"/>
                  </a:lnTo>
                  <a:lnTo>
                    <a:pt x="132" y="68"/>
                  </a:lnTo>
                  <a:lnTo>
                    <a:pt x="132" y="70"/>
                  </a:lnTo>
                  <a:lnTo>
                    <a:pt x="134" y="70"/>
                  </a:lnTo>
                  <a:lnTo>
                    <a:pt x="136" y="70"/>
                  </a:lnTo>
                  <a:lnTo>
                    <a:pt x="136" y="72"/>
                  </a:lnTo>
                  <a:lnTo>
                    <a:pt x="138" y="72"/>
                  </a:lnTo>
                  <a:lnTo>
                    <a:pt x="138" y="74"/>
                  </a:lnTo>
                  <a:lnTo>
                    <a:pt x="138" y="76"/>
                  </a:lnTo>
                  <a:lnTo>
                    <a:pt x="138" y="78"/>
                  </a:lnTo>
                  <a:lnTo>
                    <a:pt x="138" y="76"/>
                  </a:lnTo>
                  <a:lnTo>
                    <a:pt x="138" y="78"/>
                  </a:lnTo>
                  <a:lnTo>
                    <a:pt x="136" y="78"/>
                  </a:lnTo>
                  <a:lnTo>
                    <a:pt x="136" y="76"/>
                  </a:lnTo>
                  <a:lnTo>
                    <a:pt x="138" y="76"/>
                  </a:lnTo>
                  <a:lnTo>
                    <a:pt x="136" y="76"/>
                  </a:lnTo>
                  <a:lnTo>
                    <a:pt x="136" y="78"/>
                  </a:lnTo>
                  <a:lnTo>
                    <a:pt x="136" y="76"/>
                  </a:lnTo>
                  <a:lnTo>
                    <a:pt x="136" y="78"/>
                  </a:lnTo>
                  <a:lnTo>
                    <a:pt x="136" y="76"/>
                  </a:lnTo>
                  <a:lnTo>
                    <a:pt x="136" y="78"/>
                  </a:lnTo>
                  <a:lnTo>
                    <a:pt x="136" y="76"/>
                  </a:lnTo>
                  <a:lnTo>
                    <a:pt x="136" y="74"/>
                  </a:lnTo>
                  <a:lnTo>
                    <a:pt x="136" y="76"/>
                  </a:lnTo>
                  <a:lnTo>
                    <a:pt x="136" y="74"/>
                  </a:lnTo>
                  <a:lnTo>
                    <a:pt x="134" y="74"/>
                  </a:lnTo>
                  <a:lnTo>
                    <a:pt x="136" y="76"/>
                  </a:lnTo>
                  <a:lnTo>
                    <a:pt x="134" y="76"/>
                  </a:lnTo>
                  <a:lnTo>
                    <a:pt x="136" y="76"/>
                  </a:lnTo>
                  <a:lnTo>
                    <a:pt x="134" y="76"/>
                  </a:lnTo>
                  <a:lnTo>
                    <a:pt x="134" y="74"/>
                  </a:lnTo>
                  <a:lnTo>
                    <a:pt x="134" y="72"/>
                  </a:lnTo>
                  <a:lnTo>
                    <a:pt x="134" y="74"/>
                  </a:lnTo>
                  <a:lnTo>
                    <a:pt x="134" y="72"/>
                  </a:lnTo>
                  <a:lnTo>
                    <a:pt x="134" y="74"/>
                  </a:lnTo>
                  <a:lnTo>
                    <a:pt x="132" y="74"/>
                  </a:lnTo>
                  <a:lnTo>
                    <a:pt x="132" y="72"/>
                  </a:lnTo>
                  <a:lnTo>
                    <a:pt x="132" y="74"/>
                  </a:lnTo>
                  <a:lnTo>
                    <a:pt x="132" y="72"/>
                  </a:lnTo>
                  <a:lnTo>
                    <a:pt x="132" y="74"/>
                  </a:lnTo>
                  <a:lnTo>
                    <a:pt x="130" y="74"/>
                  </a:lnTo>
                  <a:lnTo>
                    <a:pt x="130" y="72"/>
                  </a:lnTo>
                  <a:lnTo>
                    <a:pt x="130" y="74"/>
                  </a:lnTo>
                  <a:lnTo>
                    <a:pt x="130" y="72"/>
                  </a:lnTo>
                  <a:lnTo>
                    <a:pt x="128" y="72"/>
                  </a:lnTo>
                  <a:lnTo>
                    <a:pt x="130" y="72"/>
                  </a:lnTo>
                  <a:lnTo>
                    <a:pt x="128" y="72"/>
                  </a:lnTo>
                  <a:lnTo>
                    <a:pt x="130" y="72"/>
                  </a:lnTo>
                  <a:lnTo>
                    <a:pt x="130" y="70"/>
                  </a:lnTo>
                  <a:lnTo>
                    <a:pt x="128" y="72"/>
                  </a:lnTo>
                  <a:lnTo>
                    <a:pt x="128" y="70"/>
                  </a:lnTo>
                  <a:lnTo>
                    <a:pt x="128" y="72"/>
                  </a:lnTo>
                  <a:lnTo>
                    <a:pt x="126" y="72"/>
                  </a:lnTo>
                  <a:lnTo>
                    <a:pt x="126" y="70"/>
                  </a:lnTo>
                  <a:lnTo>
                    <a:pt x="124" y="70"/>
                  </a:lnTo>
                  <a:lnTo>
                    <a:pt x="126" y="70"/>
                  </a:lnTo>
                  <a:lnTo>
                    <a:pt x="126" y="72"/>
                  </a:lnTo>
                  <a:lnTo>
                    <a:pt x="128" y="72"/>
                  </a:lnTo>
                  <a:lnTo>
                    <a:pt x="128" y="74"/>
                  </a:lnTo>
                  <a:lnTo>
                    <a:pt x="130" y="74"/>
                  </a:lnTo>
                  <a:lnTo>
                    <a:pt x="128" y="74"/>
                  </a:lnTo>
                  <a:lnTo>
                    <a:pt x="130" y="74"/>
                  </a:lnTo>
                  <a:lnTo>
                    <a:pt x="130" y="76"/>
                  </a:lnTo>
                  <a:lnTo>
                    <a:pt x="132" y="76"/>
                  </a:lnTo>
                  <a:lnTo>
                    <a:pt x="132" y="74"/>
                  </a:lnTo>
                  <a:lnTo>
                    <a:pt x="132" y="76"/>
                  </a:lnTo>
                  <a:lnTo>
                    <a:pt x="134" y="76"/>
                  </a:lnTo>
                  <a:lnTo>
                    <a:pt x="132" y="76"/>
                  </a:lnTo>
                  <a:lnTo>
                    <a:pt x="134" y="76"/>
                  </a:lnTo>
                  <a:lnTo>
                    <a:pt x="132" y="76"/>
                  </a:lnTo>
                  <a:lnTo>
                    <a:pt x="134" y="76"/>
                  </a:lnTo>
                  <a:lnTo>
                    <a:pt x="134" y="78"/>
                  </a:lnTo>
                  <a:lnTo>
                    <a:pt x="134" y="76"/>
                  </a:lnTo>
                  <a:lnTo>
                    <a:pt x="134" y="78"/>
                  </a:lnTo>
                  <a:lnTo>
                    <a:pt x="134" y="76"/>
                  </a:lnTo>
                  <a:lnTo>
                    <a:pt x="134" y="78"/>
                  </a:lnTo>
                  <a:lnTo>
                    <a:pt x="136" y="78"/>
                  </a:lnTo>
                  <a:lnTo>
                    <a:pt x="134" y="78"/>
                  </a:lnTo>
                  <a:lnTo>
                    <a:pt x="136" y="78"/>
                  </a:lnTo>
                  <a:lnTo>
                    <a:pt x="138" y="78"/>
                  </a:lnTo>
                  <a:lnTo>
                    <a:pt x="138" y="80"/>
                  </a:lnTo>
                  <a:lnTo>
                    <a:pt x="138" y="78"/>
                  </a:lnTo>
                  <a:lnTo>
                    <a:pt x="140" y="78"/>
                  </a:lnTo>
                  <a:lnTo>
                    <a:pt x="138" y="78"/>
                  </a:lnTo>
                  <a:lnTo>
                    <a:pt x="140" y="78"/>
                  </a:lnTo>
                  <a:lnTo>
                    <a:pt x="138" y="78"/>
                  </a:lnTo>
                  <a:lnTo>
                    <a:pt x="140" y="78"/>
                  </a:lnTo>
                  <a:lnTo>
                    <a:pt x="140" y="80"/>
                  </a:lnTo>
                  <a:lnTo>
                    <a:pt x="140" y="82"/>
                  </a:lnTo>
                  <a:lnTo>
                    <a:pt x="142" y="82"/>
                  </a:lnTo>
                  <a:lnTo>
                    <a:pt x="142" y="84"/>
                  </a:lnTo>
                  <a:lnTo>
                    <a:pt x="144" y="84"/>
                  </a:lnTo>
                  <a:lnTo>
                    <a:pt x="144" y="86"/>
                  </a:lnTo>
                  <a:lnTo>
                    <a:pt x="144" y="88"/>
                  </a:lnTo>
                  <a:lnTo>
                    <a:pt x="146" y="88"/>
                  </a:lnTo>
                  <a:lnTo>
                    <a:pt x="144" y="88"/>
                  </a:lnTo>
                  <a:lnTo>
                    <a:pt x="146" y="88"/>
                  </a:lnTo>
                  <a:lnTo>
                    <a:pt x="146" y="90"/>
                  </a:lnTo>
                  <a:lnTo>
                    <a:pt x="146" y="92"/>
                  </a:lnTo>
                  <a:lnTo>
                    <a:pt x="146" y="90"/>
                  </a:lnTo>
                  <a:lnTo>
                    <a:pt x="144" y="90"/>
                  </a:lnTo>
                  <a:lnTo>
                    <a:pt x="142" y="90"/>
                  </a:lnTo>
                  <a:lnTo>
                    <a:pt x="142" y="88"/>
                  </a:lnTo>
                  <a:lnTo>
                    <a:pt x="142" y="86"/>
                  </a:lnTo>
                  <a:lnTo>
                    <a:pt x="142" y="88"/>
                  </a:lnTo>
                  <a:lnTo>
                    <a:pt x="142" y="86"/>
                  </a:lnTo>
                  <a:lnTo>
                    <a:pt x="142" y="88"/>
                  </a:lnTo>
                  <a:lnTo>
                    <a:pt x="140" y="88"/>
                  </a:lnTo>
                  <a:lnTo>
                    <a:pt x="140" y="86"/>
                  </a:lnTo>
                  <a:lnTo>
                    <a:pt x="140" y="88"/>
                  </a:lnTo>
                  <a:lnTo>
                    <a:pt x="142" y="88"/>
                  </a:lnTo>
                  <a:lnTo>
                    <a:pt x="140" y="88"/>
                  </a:lnTo>
                  <a:lnTo>
                    <a:pt x="140" y="86"/>
                  </a:lnTo>
                  <a:lnTo>
                    <a:pt x="140" y="84"/>
                  </a:lnTo>
                  <a:lnTo>
                    <a:pt x="140" y="86"/>
                  </a:lnTo>
                  <a:lnTo>
                    <a:pt x="140" y="84"/>
                  </a:lnTo>
                  <a:lnTo>
                    <a:pt x="138" y="84"/>
                  </a:lnTo>
                  <a:lnTo>
                    <a:pt x="138" y="82"/>
                  </a:lnTo>
                  <a:lnTo>
                    <a:pt x="136" y="82"/>
                  </a:lnTo>
                  <a:lnTo>
                    <a:pt x="138" y="82"/>
                  </a:lnTo>
                  <a:lnTo>
                    <a:pt x="136" y="82"/>
                  </a:lnTo>
                  <a:lnTo>
                    <a:pt x="138" y="82"/>
                  </a:lnTo>
                  <a:lnTo>
                    <a:pt x="136" y="82"/>
                  </a:lnTo>
                  <a:lnTo>
                    <a:pt x="136" y="84"/>
                  </a:lnTo>
                  <a:lnTo>
                    <a:pt x="138" y="84"/>
                  </a:lnTo>
                  <a:lnTo>
                    <a:pt x="138" y="86"/>
                  </a:lnTo>
                  <a:lnTo>
                    <a:pt x="138" y="84"/>
                  </a:lnTo>
                  <a:lnTo>
                    <a:pt x="138" y="86"/>
                  </a:lnTo>
                  <a:lnTo>
                    <a:pt x="140" y="86"/>
                  </a:lnTo>
                  <a:lnTo>
                    <a:pt x="138" y="86"/>
                  </a:lnTo>
                  <a:lnTo>
                    <a:pt x="138" y="88"/>
                  </a:lnTo>
                  <a:lnTo>
                    <a:pt x="138" y="86"/>
                  </a:lnTo>
                  <a:lnTo>
                    <a:pt x="138" y="88"/>
                  </a:lnTo>
                  <a:lnTo>
                    <a:pt x="138" y="86"/>
                  </a:lnTo>
                  <a:lnTo>
                    <a:pt x="136" y="86"/>
                  </a:lnTo>
                  <a:lnTo>
                    <a:pt x="138" y="86"/>
                  </a:lnTo>
                  <a:lnTo>
                    <a:pt x="136" y="86"/>
                  </a:lnTo>
                  <a:lnTo>
                    <a:pt x="138" y="86"/>
                  </a:lnTo>
                  <a:lnTo>
                    <a:pt x="136" y="86"/>
                  </a:lnTo>
                  <a:lnTo>
                    <a:pt x="136" y="88"/>
                  </a:lnTo>
                  <a:lnTo>
                    <a:pt x="136" y="86"/>
                  </a:lnTo>
                  <a:lnTo>
                    <a:pt x="136" y="88"/>
                  </a:lnTo>
                  <a:lnTo>
                    <a:pt x="138" y="88"/>
                  </a:lnTo>
                  <a:lnTo>
                    <a:pt x="140" y="88"/>
                  </a:lnTo>
                  <a:lnTo>
                    <a:pt x="140" y="90"/>
                  </a:lnTo>
                  <a:lnTo>
                    <a:pt x="138" y="90"/>
                  </a:lnTo>
                  <a:lnTo>
                    <a:pt x="138" y="88"/>
                  </a:lnTo>
                  <a:lnTo>
                    <a:pt x="136" y="88"/>
                  </a:lnTo>
                  <a:lnTo>
                    <a:pt x="136" y="86"/>
                  </a:lnTo>
                  <a:lnTo>
                    <a:pt x="134" y="86"/>
                  </a:lnTo>
                  <a:lnTo>
                    <a:pt x="134" y="84"/>
                  </a:lnTo>
                  <a:lnTo>
                    <a:pt x="132" y="84"/>
                  </a:lnTo>
                  <a:lnTo>
                    <a:pt x="130" y="84"/>
                  </a:lnTo>
                  <a:lnTo>
                    <a:pt x="128" y="84"/>
                  </a:lnTo>
                  <a:lnTo>
                    <a:pt x="130" y="84"/>
                  </a:lnTo>
                  <a:lnTo>
                    <a:pt x="130" y="82"/>
                  </a:lnTo>
                  <a:lnTo>
                    <a:pt x="128" y="82"/>
                  </a:lnTo>
                  <a:lnTo>
                    <a:pt x="128" y="80"/>
                  </a:lnTo>
                  <a:lnTo>
                    <a:pt x="128" y="82"/>
                  </a:lnTo>
                  <a:lnTo>
                    <a:pt x="128" y="80"/>
                  </a:lnTo>
                  <a:lnTo>
                    <a:pt x="128" y="82"/>
                  </a:lnTo>
                  <a:lnTo>
                    <a:pt x="130" y="82"/>
                  </a:lnTo>
                  <a:lnTo>
                    <a:pt x="128" y="82"/>
                  </a:lnTo>
                  <a:lnTo>
                    <a:pt x="128" y="84"/>
                  </a:lnTo>
                  <a:lnTo>
                    <a:pt x="128" y="82"/>
                  </a:lnTo>
                  <a:lnTo>
                    <a:pt x="128" y="84"/>
                  </a:lnTo>
                  <a:lnTo>
                    <a:pt x="126" y="84"/>
                  </a:lnTo>
                  <a:lnTo>
                    <a:pt x="126" y="82"/>
                  </a:lnTo>
                  <a:lnTo>
                    <a:pt x="126" y="80"/>
                  </a:lnTo>
                  <a:lnTo>
                    <a:pt x="126" y="82"/>
                  </a:lnTo>
                  <a:lnTo>
                    <a:pt x="126" y="84"/>
                  </a:lnTo>
                  <a:lnTo>
                    <a:pt x="126" y="86"/>
                  </a:lnTo>
                  <a:lnTo>
                    <a:pt x="124" y="86"/>
                  </a:lnTo>
                  <a:lnTo>
                    <a:pt x="124" y="84"/>
                  </a:lnTo>
                  <a:lnTo>
                    <a:pt x="124" y="86"/>
                  </a:lnTo>
                  <a:lnTo>
                    <a:pt x="124" y="84"/>
                  </a:lnTo>
                  <a:lnTo>
                    <a:pt x="124" y="86"/>
                  </a:lnTo>
                  <a:lnTo>
                    <a:pt x="126" y="86"/>
                  </a:lnTo>
                  <a:lnTo>
                    <a:pt x="124" y="86"/>
                  </a:lnTo>
                  <a:lnTo>
                    <a:pt x="124" y="84"/>
                  </a:lnTo>
                  <a:lnTo>
                    <a:pt x="122" y="84"/>
                  </a:lnTo>
                  <a:lnTo>
                    <a:pt x="122" y="82"/>
                  </a:lnTo>
                  <a:lnTo>
                    <a:pt x="122" y="84"/>
                  </a:lnTo>
                  <a:lnTo>
                    <a:pt x="122" y="82"/>
                  </a:lnTo>
                  <a:lnTo>
                    <a:pt x="120" y="82"/>
                  </a:lnTo>
                  <a:lnTo>
                    <a:pt x="122" y="82"/>
                  </a:lnTo>
                  <a:lnTo>
                    <a:pt x="120" y="82"/>
                  </a:lnTo>
                  <a:lnTo>
                    <a:pt x="120" y="80"/>
                  </a:lnTo>
                  <a:lnTo>
                    <a:pt x="122" y="80"/>
                  </a:lnTo>
                  <a:lnTo>
                    <a:pt x="122" y="78"/>
                  </a:lnTo>
                  <a:lnTo>
                    <a:pt x="122" y="80"/>
                  </a:lnTo>
                  <a:lnTo>
                    <a:pt x="122" y="78"/>
                  </a:lnTo>
                  <a:lnTo>
                    <a:pt x="122" y="80"/>
                  </a:lnTo>
                  <a:lnTo>
                    <a:pt x="120" y="80"/>
                  </a:lnTo>
                  <a:lnTo>
                    <a:pt x="120" y="78"/>
                  </a:lnTo>
                  <a:lnTo>
                    <a:pt x="120" y="78"/>
                  </a:lnTo>
                  <a:lnTo>
                    <a:pt x="118" y="78"/>
                  </a:lnTo>
                  <a:lnTo>
                    <a:pt x="116" y="78"/>
                  </a:lnTo>
                  <a:lnTo>
                    <a:pt x="118" y="78"/>
                  </a:lnTo>
                  <a:lnTo>
                    <a:pt x="120" y="78"/>
                  </a:lnTo>
                  <a:lnTo>
                    <a:pt x="120" y="80"/>
                  </a:lnTo>
                  <a:lnTo>
                    <a:pt x="120" y="78"/>
                  </a:lnTo>
                  <a:lnTo>
                    <a:pt x="120" y="80"/>
                  </a:lnTo>
                  <a:lnTo>
                    <a:pt x="120" y="80"/>
                  </a:lnTo>
                  <a:lnTo>
                    <a:pt x="120" y="80"/>
                  </a:lnTo>
                  <a:lnTo>
                    <a:pt x="120" y="82"/>
                  </a:lnTo>
                  <a:lnTo>
                    <a:pt x="120" y="82"/>
                  </a:lnTo>
                  <a:lnTo>
                    <a:pt x="120" y="84"/>
                  </a:lnTo>
                  <a:lnTo>
                    <a:pt x="120" y="82"/>
                  </a:lnTo>
                  <a:lnTo>
                    <a:pt x="120" y="84"/>
                  </a:lnTo>
                  <a:lnTo>
                    <a:pt x="122" y="84"/>
                  </a:lnTo>
                  <a:lnTo>
                    <a:pt x="120" y="84"/>
                  </a:lnTo>
                  <a:lnTo>
                    <a:pt x="122" y="84"/>
                  </a:lnTo>
                  <a:lnTo>
                    <a:pt x="120" y="84"/>
                  </a:lnTo>
                  <a:lnTo>
                    <a:pt x="120" y="84"/>
                  </a:lnTo>
                  <a:lnTo>
                    <a:pt x="120" y="84"/>
                  </a:lnTo>
                  <a:lnTo>
                    <a:pt x="120" y="84"/>
                  </a:lnTo>
                  <a:lnTo>
                    <a:pt x="118" y="84"/>
                  </a:lnTo>
                  <a:lnTo>
                    <a:pt x="120" y="84"/>
                  </a:lnTo>
                  <a:lnTo>
                    <a:pt x="118" y="84"/>
                  </a:lnTo>
                  <a:lnTo>
                    <a:pt x="118" y="82"/>
                  </a:lnTo>
                  <a:lnTo>
                    <a:pt x="120" y="82"/>
                  </a:lnTo>
                  <a:lnTo>
                    <a:pt x="120" y="84"/>
                  </a:lnTo>
                  <a:lnTo>
                    <a:pt x="120" y="82"/>
                  </a:lnTo>
                  <a:lnTo>
                    <a:pt x="118" y="82"/>
                  </a:lnTo>
                  <a:lnTo>
                    <a:pt x="120" y="82"/>
                  </a:lnTo>
                  <a:lnTo>
                    <a:pt x="118" y="82"/>
                  </a:lnTo>
                  <a:lnTo>
                    <a:pt x="116" y="82"/>
                  </a:lnTo>
                  <a:lnTo>
                    <a:pt x="116" y="80"/>
                  </a:lnTo>
                  <a:lnTo>
                    <a:pt x="116" y="82"/>
                  </a:lnTo>
                  <a:lnTo>
                    <a:pt x="116" y="80"/>
                  </a:lnTo>
                  <a:lnTo>
                    <a:pt x="116" y="78"/>
                  </a:lnTo>
                  <a:lnTo>
                    <a:pt x="114" y="78"/>
                  </a:lnTo>
                  <a:lnTo>
                    <a:pt x="114" y="76"/>
                  </a:lnTo>
                  <a:lnTo>
                    <a:pt x="112" y="76"/>
                  </a:lnTo>
                  <a:lnTo>
                    <a:pt x="112" y="74"/>
                  </a:lnTo>
                  <a:lnTo>
                    <a:pt x="112" y="76"/>
                  </a:lnTo>
                  <a:lnTo>
                    <a:pt x="112" y="78"/>
                  </a:lnTo>
                  <a:lnTo>
                    <a:pt x="110" y="78"/>
                  </a:lnTo>
                  <a:lnTo>
                    <a:pt x="110" y="80"/>
                  </a:lnTo>
                  <a:lnTo>
                    <a:pt x="110" y="78"/>
                  </a:lnTo>
                  <a:lnTo>
                    <a:pt x="110" y="76"/>
                  </a:lnTo>
                  <a:lnTo>
                    <a:pt x="110" y="78"/>
                  </a:lnTo>
                  <a:lnTo>
                    <a:pt x="108" y="78"/>
                  </a:lnTo>
                  <a:lnTo>
                    <a:pt x="108" y="76"/>
                  </a:lnTo>
                  <a:lnTo>
                    <a:pt x="108" y="78"/>
                  </a:lnTo>
                  <a:lnTo>
                    <a:pt x="106" y="78"/>
                  </a:lnTo>
                  <a:lnTo>
                    <a:pt x="108" y="78"/>
                  </a:lnTo>
                  <a:lnTo>
                    <a:pt x="110" y="78"/>
                  </a:lnTo>
                  <a:lnTo>
                    <a:pt x="108" y="78"/>
                  </a:lnTo>
                  <a:lnTo>
                    <a:pt x="110" y="78"/>
                  </a:lnTo>
                  <a:lnTo>
                    <a:pt x="108" y="78"/>
                  </a:lnTo>
                  <a:lnTo>
                    <a:pt x="108" y="80"/>
                  </a:lnTo>
                  <a:lnTo>
                    <a:pt x="110" y="80"/>
                  </a:lnTo>
                  <a:lnTo>
                    <a:pt x="108" y="80"/>
                  </a:lnTo>
                  <a:lnTo>
                    <a:pt x="110" y="80"/>
                  </a:lnTo>
                  <a:lnTo>
                    <a:pt x="108" y="80"/>
                  </a:lnTo>
                  <a:lnTo>
                    <a:pt x="108" y="82"/>
                  </a:lnTo>
                  <a:lnTo>
                    <a:pt x="106" y="82"/>
                  </a:lnTo>
                  <a:lnTo>
                    <a:pt x="104" y="82"/>
                  </a:lnTo>
                  <a:lnTo>
                    <a:pt x="104" y="80"/>
                  </a:lnTo>
                  <a:lnTo>
                    <a:pt x="102" y="80"/>
                  </a:lnTo>
                  <a:lnTo>
                    <a:pt x="102" y="78"/>
                  </a:lnTo>
                  <a:lnTo>
                    <a:pt x="102" y="76"/>
                  </a:lnTo>
                  <a:lnTo>
                    <a:pt x="102" y="74"/>
                  </a:lnTo>
                  <a:lnTo>
                    <a:pt x="104" y="74"/>
                  </a:lnTo>
                  <a:lnTo>
                    <a:pt x="102" y="74"/>
                  </a:lnTo>
                  <a:lnTo>
                    <a:pt x="104" y="74"/>
                  </a:lnTo>
                  <a:lnTo>
                    <a:pt x="104" y="72"/>
                  </a:lnTo>
                  <a:lnTo>
                    <a:pt x="102" y="72"/>
                  </a:lnTo>
                  <a:lnTo>
                    <a:pt x="102" y="74"/>
                  </a:lnTo>
                  <a:lnTo>
                    <a:pt x="104" y="74"/>
                  </a:lnTo>
                  <a:lnTo>
                    <a:pt x="102" y="74"/>
                  </a:lnTo>
                  <a:lnTo>
                    <a:pt x="102" y="72"/>
                  </a:lnTo>
                  <a:lnTo>
                    <a:pt x="104" y="72"/>
                  </a:lnTo>
                  <a:lnTo>
                    <a:pt x="106" y="72"/>
                  </a:lnTo>
                  <a:lnTo>
                    <a:pt x="106" y="70"/>
                  </a:lnTo>
                  <a:lnTo>
                    <a:pt x="104" y="70"/>
                  </a:lnTo>
                  <a:lnTo>
                    <a:pt x="104" y="72"/>
                  </a:lnTo>
                  <a:lnTo>
                    <a:pt x="104" y="70"/>
                  </a:lnTo>
                  <a:lnTo>
                    <a:pt x="104" y="72"/>
                  </a:lnTo>
                  <a:lnTo>
                    <a:pt x="104" y="70"/>
                  </a:lnTo>
                  <a:lnTo>
                    <a:pt x="104" y="72"/>
                  </a:lnTo>
                  <a:lnTo>
                    <a:pt x="104" y="70"/>
                  </a:lnTo>
                  <a:lnTo>
                    <a:pt x="106" y="70"/>
                  </a:lnTo>
                  <a:lnTo>
                    <a:pt x="106" y="68"/>
                  </a:lnTo>
                  <a:lnTo>
                    <a:pt x="108" y="68"/>
                  </a:lnTo>
                  <a:lnTo>
                    <a:pt x="108" y="66"/>
                  </a:lnTo>
                  <a:lnTo>
                    <a:pt x="108" y="68"/>
                  </a:lnTo>
                  <a:lnTo>
                    <a:pt x="106" y="68"/>
                  </a:lnTo>
                  <a:lnTo>
                    <a:pt x="106" y="66"/>
                  </a:lnTo>
                  <a:lnTo>
                    <a:pt x="106" y="64"/>
                  </a:lnTo>
                  <a:lnTo>
                    <a:pt x="108" y="64"/>
                  </a:lnTo>
                  <a:lnTo>
                    <a:pt x="108" y="62"/>
                  </a:lnTo>
                  <a:lnTo>
                    <a:pt x="108" y="64"/>
                  </a:lnTo>
                  <a:lnTo>
                    <a:pt x="110" y="64"/>
                  </a:lnTo>
                  <a:lnTo>
                    <a:pt x="110" y="62"/>
                  </a:lnTo>
                  <a:lnTo>
                    <a:pt x="108" y="62"/>
                  </a:lnTo>
                  <a:lnTo>
                    <a:pt x="110" y="62"/>
                  </a:lnTo>
                  <a:lnTo>
                    <a:pt x="108" y="60"/>
                  </a:lnTo>
                  <a:lnTo>
                    <a:pt x="110" y="60"/>
                  </a:lnTo>
                  <a:lnTo>
                    <a:pt x="108" y="60"/>
                  </a:lnTo>
                  <a:lnTo>
                    <a:pt x="108" y="58"/>
                  </a:lnTo>
                  <a:lnTo>
                    <a:pt x="108" y="56"/>
                  </a:lnTo>
                  <a:lnTo>
                    <a:pt x="110" y="56"/>
                  </a:lnTo>
                  <a:lnTo>
                    <a:pt x="110" y="56"/>
                  </a:lnTo>
                  <a:lnTo>
                    <a:pt x="112" y="54"/>
                  </a:lnTo>
                  <a:lnTo>
                    <a:pt x="112" y="52"/>
                  </a:lnTo>
                  <a:lnTo>
                    <a:pt x="110" y="52"/>
                  </a:lnTo>
                  <a:lnTo>
                    <a:pt x="108" y="52"/>
                  </a:lnTo>
                  <a:lnTo>
                    <a:pt x="108" y="50"/>
                  </a:lnTo>
                  <a:lnTo>
                    <a:pt x="106" y="50"/>
                  </a:lnTo>
                  <a:lnTo>
                    <a:pt x="104" y="50"/>
                  </a:lnTo>
                  <a:lnTo>
                    <a:pt x="104" y="52"/>
                  </a:lnTo>
                  <a:lnTo>
                    <a:pt x="102" y="52"/>
                  </a:lnTo>
                  <a:lnTo>
                    <a:pt x="102" y="54"/>
                  </a:lnTo>
                  <a:lnTo>
                    <a:pt x="102" y="52"/>
                  </a:lnTo>
                  <a:lnTo>
                    <a:pt x="100" y="52"/>
                  </a:lnTo>
                  <a:lnTo>
                    <a:pt x="98" y="52"/>
                  </a:lnTo>
                  <a:lnTo>
                    <a:pt x="96" y="52"/>
                  </a:lnTo>
                  <a:lnTo>
                    <a:pt x="96" y="50"/>
                  </a:lnTo>
                  <a:lnTo>
                    <a:pt x="94" y="50"/>
                  </a:lnTo>
                  <a:lnTo>
                    <a:pt x="94" y="48"/>
                  </a:lnTo>
                  <a:lnTo>
                    <a:pt x="92" y="48"/>
                  </a:lnTo>
                  <a:lnTo>
                    <a:pt x="90" y="48"/>
                  </a:lnTo>
                  <a:lnTo>
                    <a:pt x="88" y="48"/>
                  </a:lnTo>
                  <a:lnTo>
                    <a:pt x="88" y="50"/>
                  </a:lnTo>
                  <a:lnTo>
                    <a:pt x="88" y="48"/>
                  </a:lnTo>
                  <a:lnTo>
                    <a:pt x="86" y="50"/>
                  </a:lnTo>
                  <a:lnTo>
                    <a:pt x="86" y="48"/>
                  </a:lnTo>
                  <a:lnTo>
                    <a:pt x="84" y="48"/>
                  </a:lnTo>
                  <a:lnTo>
                    <a:pt x="84" y="46"/>
                  </a:lnTo>
                  <a:lnTo>
                    <a:pt x="82" y="46"/>
                  </a:lnTo>
                  <a:lnTo>
                    <a:pt x="84" y="46"/>
                  </a:lnTo>
                  <a:lnTo>
                    <a:pt x="84" y="44"/>
                  </a:lnTo>
                  <a:lnTo>
                    <a:pt x="84" y="42"/>
                  </a:lnTo>
                  <a:lnTo>
                    <a:pt x="84" y="40"/>
                  </a:lnTo>
                  <a:lnTo>
                    <a:pt x="82" y="40"/>
                  </a:lnTo>
                  <a:lnTo>
                    <a:pt x="80" y="40"/>
                  </a:lnTo>
                  <a:lnTo>
                    <a:pt x="80" y="38"/>
                  </a:lnTo>
                  <a:lnTo>
                    <a:pt x="78" y="38"/>
                  </a:lnTo>
                  <a:lnTo>
                    <a:pt x="76" y="38"/>
                  </a:lnTo>
                  <a:lnTo>
                    <a:pt x="74" y="38"/>
                  </a:lnTo>
                  <a:lnTo>
                    <a:pt x="72" y="38"/>
                  </a:lnTo>
                  <a:lnTo>
                    <a:pt x="72" y="38"/>
                  </a:lnTo>
                  <a:lnTo>
                    <a:pt x="72" y="36"/>
                  </a:lnTo>
                  <a:lnTo>
                    <a:pt x="72" y="36"/>
                  </a:lnTo>
                  <a:lnTo>
                    <a:pt x="72" y="34"/>
                  </a:lnTo>
                  <a:lnTo>
                    <a:pt x="72" y="34"/>
                  </a:lnTo>
                  <a:lnTo>
                    <a:pt x="72" y="32"/>
                  </a:lnTo>
                  <a:lnTo>
                    <a:pt x="70" y="32"/>
                  </a:lnTo>
                  <a:lnTo>
                    <a:pt x="70" y="34"/>
                  </a:lnTo>
                  <a:lnTo>
                    <a:pt x="70" y="32"/>
                  </a:lnTo>
                  <a:lnTo>
                    <a:pt x="70" y="30"/>
                  </a:lnTo>
                  <a:lnTo>
                    <a:pt x="68" y="30"/>
                  </a:lnTo>
                  <a:lnTo>
                    <a:pt x="68" y="28"/>
                  </a:lnTo>
                  <a:lnTo>
                    <a:pt x="66" y="30"/>
                  </a:lnTo>
                  <a:lnTo>
                    <a:pt x="66" y="28"/>
                  </a:lnTo>
                  <a:lnTo>
                    <a:pt x="64" y="28"/>
                  </a:lnTo>
                  <a:lnTo>
                    <a:pt x="64" y="26"/>
                  </a:lnTo>
                  <a:lnTo>
                    <a:pt x="66" y="26"/>
                  </a:lnTo>
                  <a:lnTo>
                    <a:pt x="68" y="26"/>
                  </a:lnTo>
                  <a:lnTo>
                    <a:pt x="66" y="24"/>
                  </a:lnTo>
                  <a:lnTo>
                    <a:pt x="64" y="24"/>
                  </a:lnTo>
                  <a:lnTo>
                    <a:pt x="62" y="24"/>
                  </a:lnTo>
                  <a:lnTo>
                    <a:pt x="62" y="26"/>
                  </a:lnTo>
                  <a:lnTo>
                    <a:pt x="62" y="24"/>
                  </a:lnTo>
                  <a:lnTo>
                    <a:pt x="62" y="26"/>
                  </a:lnTo>
                  <a:lnTo>
                    <a:pt x="60" y="26"/>
                  </a:lnTo>
                  <a:lnTo>
                    <a:pt x="58" y="26"/>
                  </a:lnTo>
                  <a:lnTo>
                    <a:pt x="58" y="24"/>
                  </a:lnTo>
                  <a:lnTo>
                    <a:pt x="56" y="24"/>
                  </a:lnTo>
                  <a:lnTo>
                    <a:pt x="56" y="22"/>
                  </a:lnTo>
                  <a:lnTo>
                    <a:pt x="54" y="22"/>
                  </a:lnTo>
                  <a:lnTo>
                    <a:pt x="52" y="22"/>
                  </a:lnTo>
                  <a:lnTo>
                    <a:pt x="50" y="22"/>
                  </a:lnTo>
                  <a:lnTo>
                    <a:pt x="50" y="24"/>
                  </a:lnTo>
                  <a:lnTo>
                    <a:pt x="50" y="26"/>
                  </a:lnTo>
                  <a:lnTo>
                    <a:pt x="48" y="26"/>
                  </a:lnTo>
                  <a:lnTo>
                    <a:pt x="48" y="28"/>
                  </a:lnTo>
                  <a:lnTo>
                    <a:pt x="46" y="28"/>
                  </a:lnTo>
                  <a:lnTo>
                    <a:pt x="46" y="26"/>
                  </a:lnTo>
                  <a:lnTo>
                    <a:pt x="44" y="26"/>
                  </a:lnTo>
                  <a:lnTo>
                    <a:pt x="44" y="28"/>
                  </a:lnTo>
                  <a:lnTo>
                    <a:pt x="42" y="28"/>
                  </a:lnTo>
                  <a:lnTo>
                    <a:pt x="42" y="30"/>
                  </a:lnTo>
                  <a:lnTo>
                    <a:pt x="44" y="30"/>
                  </a:lnTo>
                  <a:lnTo>
                    <a:pt x="42" y="30"/>
                  </a:lnTo>
                  <a:lnTo>
                    <a:pt x="40" y="30"/>
                  </a:lnTo>
                  <a:lnTo>
                    <a:pt x="40" y="32"/>
                  </a:lnTo>
                  <a:lnTo>
                    <a:pt x="42" y="32"/>
                  </a:lnTo>
                  <a:lnTo>
                    <a:pt x="44" y="32"/>
                  </a:lnTo>
                  <a:lnTo>
                    <a:pt x="42" y="32"/>
                  </a:lnTo>
                  <a:lnTo>
                    <a:pt x="42" y="34"/>
                  </a:lnTo>
                  <a:lnTo>
                    <a:pt x="42" y="32"/>
                  </a:lnTo>
                  <a:lnTo>
                    <a:pt x="42" y="34"/>
                  </a:lnTo>
                  <a:lnTo>
                    <a:pt x="40" y="34"/>
                  </a:lnTo>
                  <a:lnTo>
                    <a:pt x="38" y="34"/>
                  </a:lnTo>
                  <a:lnTo>
                    <a:pt x="38" y="36"/>
                  </a:lnTo>
                  <a:lnTo>
                    <a:pt x="36" y="36"/>
                  </a:lnTo>
                  <a:lnTo>
                    <a:pt x="36" y="34"/>
                  </a:lnTo>
                  <a:lnTo>
                    <a:pt x="34" y="34"/>
                  </a:lnTo>
                  <a:lnTo>
                    <a:pt x="34" y="36"/>
                  </a:lnTo>
                  <a:lnTo>
                    <a:pt x="32" y="36"/>
                  </a:lnTo>
                  <a:lnTo>
                    <a:pt x="32" y="34"/>
                  </a:lnTo>
                  <a:lnTo>
                    <a:pt x="30" y="34"/>
                  </a:lnTo>
                  <a:lnTo>
                    <a:pt x="28" y="34"/>
                  </a:lnTo>
                  <a:lnTo>
                    <a:pt x="28" y="32"/>
                  </a:lnTo>
                  <a:lnTo>
                    <a:pt x="30" y="32"/>
                  </a:lnTo>
                  <a:lnTo>
                    <a:pt x="28" y="32"/>
                  </a:lnTo>
                  <a:lnTo>
                    <a:pt x="28" y="30"/>
                  </a:lnTo>
                  <a:lnTo>
                    <a:pt x="26" y="30"/>
                  </a:lnTo>
                  <a:lnTo>
                    <a:pt x="26" y="32"/>
                  </a:lnTo>
                  <a:lnTo>
                    <a:pt x="26" y="34"/>
                  </a:lnTo>
                  <a:lnTo>
                    <a:pt x="26" y="36"/>
                  </a:lnTo>
                  <a:lnTo>
                    <a:pt x="24" y="36"/>
                  </a:lnTo>
                  <a:lnTo>
                    <a:pt x="24" y="38"/>
                  </a:lnTo>
                  <a:lnTo>
                    <a:pt x="24" y="40"/>
                  </a:lnTo>
                  <a:lnTo>
                    <a:pt x="24" y="40"/>
                  </a:lnTo>
                  <a:lnTo>
                    <a:pt x="24" y="42"/>
                  </a:lnTo>
                  <a:lnTo>
                    <a:pt x="24" y="44"/>
                  </a:lnTo>
                  <a:lnTo>
                    <a:pt x="24" y="42"/>
                  </a:lnTo>
                  <a:lnTo>
                    <a:pt x="22" y="42"/>
                  </a:lnTo>
                  <a:lnTo>
                    <a:pt x="20" y="42"/>
                  </a:lnTo>
                  <a:lnTo>
                    <a:pt x="18" y="42"/>
                  </a:lnTo>
                  <a:lnTo>
                    <a:pt x="18" y="44"/>
                  </a:lnTo>
                  <a:lnTo>
                    <a:pt x="16" y="44"/>
                  </a:lnTo>
                  <a:lnTo>
                    <a:pt x="16" y="46"/>
                  </a:lnTo>
                  <a:lnTo>
                    <a:pt x="16" y="48"/>
                  </a:lnTo>
                  <a:lnTo>
                    <a:pt x="14" y="48"/>
                  </a:lnTo>
                  <a:lnTo>
                    <a:pt x="16" y="48"/>
                  </a:lnTo>
                  <a:lnTo>
                    <a:pt x="14" y="48"/>
                  </a:lnTo>
                  <a:lnTo>
                    <a:pt x="14" y="50"/>
                  </a:lnTo>
                  <a:lnTo>
                    <a:pt x="12" y="50"/>
                  </a:lnTo>
                  <a:lnTo>
                    <a:pt x="12" y="52"/>
                  </a:lnTo>
                  <a:lnTo>
                    <a:pt x="12" y="54"/>
                  </a:lnTo>
                  <a:lnTo>
                    <a:pt x="10" y="54"/>
                  </a:lnTo>
                  <a:lnTo>
                    <a:pt x="8" y="54"/>
                  </a:lnTo>
                  <a:lnTo>
                    <a:pt x="8" y="56"/>
                  </a:lnTo>
                  <a:lnTo>
                    <a:pt x="8" y="56"/>
                  </a:lnTo>
                  <a:lnTo>
                    <a:pt x="6" y="56"/>
                  </a:lnTo>
                  <a:lnTo>
                    <a:pt x="6" y="58"/>
                  </a:lnTo>
                  <a:lnTo>
                    <a:pt x="4" y="58"/>
                  </a:lnTo>
                  <a:lnTo>
                    <a:pt x="4" y="56"/>
                  </a:lnTo>
                  <a:lnTo>
                    <a:pt x="4" y="56"/>
                  </a:lnTo>
                  <a:lnTo>
                    <a:pt x="2" y="54"/>
                  </a:lnTo>
                  <a:lnTo>
                    <a:pt x="2" y="52"/>
                  </a:lnTo>
                  <a:lnTo>
                    <a:pt x="2" y="50"/>
                  </a:lnTo>
                  <a:lnTo>
                    <a:pt x="2" y="48"/>
                  </a:lnTo>
                  <a:lnTo>
                    <a:pt x="2" y="46"/>
                  </a:lnTo>
                  <a:lnTo>
                    <a:pt x="2" y="44"/>
                  </a:lnTo>
                  <a:lnTo>
                    <a:pt x="0" y="42"/>
                  </a:lnTo>
                  <a:lnTo>
                    <a:pt x="0" y="40"/>
                  </a:lnTo>
                  <a:lnTo>
                    <a:pt x="0" y="38"/>
                  </a:lnTo>
                  <a:lnTo>
                    <a:pt x="0" y="36"/>
                  </a:lnTo>
                  <a:lnTo>
                    <a:pt x="0" y="34"/>
                  </a:lnTo>
                  <a:lnTo>
                    <a:pt x="0" y="32"/>
                  </a:lnTo>
                  <a:lnTo>
                    <a:pt x="2" y="32"/>
                  </a:lnTo>
                  <a:lnTo>
                    <a:pt x="4" y="32"/>
                  </a:lnTo>
                  <a:lnTo>
                    <a:pt x="4" y="30"/>
                  </a:lnTo>
                  <a:lnTo>
                    <a:pt x="6" y="30"/>
                  </a:lnTo>
                  <a:lnTo>
                    <a:pt x="10" y="30"/>
                  </a:lnTo>
                  <a:lnTo>
                    <a:pt x="12" y="30"/>
                  </a:lnTo>
                  <a:lnTo>
                    <a:pt x="14" y="30"/>
                  </a:lnTo>
                  <a:lnTo>
                    <a:pt x="16" y="28"/>
                  </a:lnTo>
                  <a:lnTo>
                    <a:pt x="18" y="28"/>
                  </a:lnTo>
                  <a:lnTo>
                    <a:pt x="20" y="28"/>
                  </a:lnTo>
                  <a:lnTo>
                    <a:pt x="22" y="28"/>
                  </a:lnTo>
                  <a:lnTo>
                    <a:pt x="24" y="28"/>
                  </a:lnTo>
                  <a:lnTo>
                    <a:pt x="24" y="26"/>
                  </a:lnTo>
                  <a:lnTo>
                    <a:pt x="24" y="26"/>
                  </a:lnTo>
                  <a:lnTo>
                    <a:pt x="26" y="26"/>
                  </a:lnTo>
                  <a:close/>
                </a:path>
              </a:pathLst>
            </a:custGeom>
            <a:solidFill>
              <a:srgbClr val="D9D9D9"/>
            </a:solidFill>
            <a:ln w="3175">
              <a:solidFill>
                <a:sysClr val="window" lastClr="FFFF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black"/>
                </a:solidFill>
                <a:effectLst/>
                <a:uLnTx/>
                <a:uFillTx/>
                <a:ea typeface="宋体" panose="02010600030101010101" pitchFamily="2" charset="-122"/>
              </a:endParaRPr>
            </a:p>
          </p:txBody>
        </p:sp>
        <p:sp>
          <p:nvSpPr>
            <p:cNvPr id="48" name="Freeform 2380">
              <a:extLst>
                <a:ext uri="{FF2B5EF4-FFF2-40B4-BE49-F238E27FC236}">
                  <a16:creationId xmlns:a16="http://schemas.microsoft.com/office/drawing/2014/main" id="{586FDDF4-0066-B3ED-1B43-1354BDA5D8F1}"/>
                </a:ext>
              </a:extLst>
            </p:cNvPr>
            <p:cNvSpPr>
              <a:spLocks noEditPoints="1"/>
            </p:cNvSpPr>
            <p:nvPr/>
          </p:nvSpPr>
          <p:spPr bwMode="auto">
            <a:xfrm>
              <a:off x="6623051" y="2825750"/>
              <a:ext cx="231775" cy="131763"/>
            </a:xfrm>
            <a:custGeom>
              <a:avLst/>
              <a:gdLst>
                <a:gd name="T0" fmla="*/ 144 w 146"/>
                <a:gd name="T1" fmla="*/ 69 h 83"/>
                <a:gd name="T2" fmla="*/ 142 w 146"/>
                <a:gd name="T3" fmla="*/ 67 h 83"/>
                <a:gd name="T4" fmla="*/ 106 w 146"/>
                <a:gd name="T5" fmla="*/ 75 h 83"/>
                <a:gd name="T6" fmla="*/ 110 w 146"/>
                <a:gd name="T7" fmla="*/ 73 h 83"/>
                <a:gd name="T8" fmla="*/ 118 w 146"/>
                <a:gd name="T9" fmla="*/ 71 h 83"/>
                <a:gd name="T10" fmla="*/ 122 w 146"/>
                <a:gd name="T11" fmla="*/ 69 h 83"/>
                <a:gd name="T12" fmla="*/ 114 w 146"/>
                <a:gd name="T13" fmla="*/ 79 h 83"/>
                <a:gd name="T14" fmla="*/ 114 w 146"/>
                <a:gd name="T15" fmla="*/ 71 h 83"/>
                <a:gd name="T16" fmla="*/ 110 w 146"/>
                <a:gd name="T17" fmla="*/ 73 h 83"/>
                <a:gd name="T18" fmla="*/ 120 w 146"/>
                <a:gd name="T19" fmla="*/ 59 h 83"/>
                <a:gd name="T20" fmla="*/ 138 w 146"/>
                <a:gd name="T21" fmla="*/ 51 h 83"/>
                <a:gd name="T22" fmla="*/ 136 w 146"/>
                <a:gd name="T23" fmla="*/ 47 h 83"/>
                <a:gd name="T24" fmla="*/ 90 w 146"/>
                <a:gd name="T25" fmla="*/ 33 h 83"/>
                <a:gd name="T26" fmla="*/ 92 w 146"/>
                <a:gd name="T27" fmla="*/ 18 h 83"/>
                <a:gd name="T28" fmla="*/ 92 w 146"/>
                <a:gd name="T29" fmla="*/ 10 h 83"/>
                <a:gd name="T30" fmla="*/ 96 w 146"/>
                <a:gd name="T31" fmla="*/ 12 h 83"/>
                <a:gd name="T32" fmla="*/ 90 w 146"/>
                <a:gd name="T33" fmla="*/ 18 h 83"/>
                <a:gd name="T34" fmla="*/ 86 w 146"/>
                <a:gd name="T35" fmla="*/ 28 h 83"/>
                <a:gd name="T36" fmla="*/ 88 w 146"/>
                <a:gd name="T37" fmla="*/ 35 h 83"/>
                <a:gd name="T38" fmla="*/ 92 w 146"/>
                <a:gd name="T39" fmla="*/ 33 h 83"/>
                <a:gd name="T40" fmla="*/ 92 w 146"/>
                <a:gd name="T41" fmla="*/ 30 h 83"/>
                <a:gd name="T42" fmla="*/ 100 w 146"/>
                <a:gd name="T43" fmla="*/ 35 h 83"/>
                <a:gd name="T44" fmla="*/ 106 w 146"/>
                <a:gd name="T45" fmla="*/ 39 h 83"/>
                <a:gd name="T46" fmla="*/ 106 w 146"/>
                <a:gd name="T47" fmla="*/ 41 h 83"/>
                <a:gd name="T48" fmla="*/ 110 w 146"/>
                <a:gd name="T49" fmla="*/ 43 h 83"/>
                <a:gd name="T50" fmla="*/ 118 w 146"/>
                <a:gd name="T51" fmla="*/ 51 h 83"/>
                <a:gd name="T52" fmla="*/ 134 w 146"/>
                <a:gd name="T53" fmla="*/ 45 h 83"/>
                <a:gd name="T54" fmla="*/ 126 w 146"/>
                <a:gd name="T55" fmla="*/ 35 h 83"/>
                <a:gd name="T56" fmla="*/ 130 w 146"/>
                <a:gd name="T57" fmla="*/ 35 h 83"/>
                <a:gd name="T58" fmla="*/ 136 w 146"/>
                <a:gd name="T59" fmla="*/ 47 h 83"/>
                <a:gd name="T60" fmla="*/ 130 w 146"/>
                <a:gd name="T61" fmla="*/ 55 h 83"/>
                <a:gd name="T62" fmla="*/ 128 w 146"/>
                <a:gd name="T63" fmla="*/ 55 h 83"/>
                <a:gd name="T64" fmla="*/ 120 w 146"/>
                <a:gd name="T65" fmla="*/ 57 h 83"/>
                <a:gd name="T66" fmla="*/ 116 w 146"/>
                <a:gd name="T67" fmla="*/ 65 h 83"/>
                <a:gd name="T68" fmla="*/ 112 w 146"/>
                <a:gd name="T69" fmla="*/ 61 h 83"/>
                <a:gd name="T70" fmla="*/ 112 w 146"/>
                <a:gd name="T71" fmla="*/ 57 h 83"/>
                <a:gd name="T72" fmla="*/ 112 w 146"/>
                <a:gd name="T73" fmla="*/ 55 h 83"/>
                <a:gd name="T74" fmla="*/ 108 w 146"/>
                <a:gd name="T75" fmla="*/ 57 h 83"/>
                <a:gd name="T76" fmla="*/ 106 w 146"/>
                <a:gd name="T77" fmla="*/ 63 h 83"/>
                <a:gd name="T78" fmla="*/ 104 w 146"/>
                <a:gd name="T79" fmla="*/ 67 h 83"/>
                <a:gd name="T80" fmla="*/ 102 w 146"/>
                <a:gd name="T81" fmla="*/ 71 h 83"/>
                <a:gd name="T82" fmla="*/ 98 w 146"/>
                <a:gd name="T83" fmla="*/ 73 h 83"/>
                <a:gd name="T84" fmla="*/ 98 w 146"/>
                <a:gd name="T85" fmla="*/ 71 h 83"/>
                <a:gd name="T86" fmla="*/ 96 w 146"/>
                <a:gd name="T87" fmla="*/ 67 h 83"/>
                <a:gd name="T88" fmla="*/ 94 w 146"/>
                <a:gd name="T89" fmla="*/ 59 h 83"/>
                <a:gd name="T90" fmla="*/ 94 w 146"/>
                <a:gd name="T91" fmla="*/ 61 h 83"/>
                <a:gd name="T92" fmla="*/ 80 w 146"/>
                <a:gd name="T93" fmla="*/ 55 h 83"/>
                <a:gd name="T94" fmla="*/ 62 w 146"/>
                <a:gd name="T95" fmla="*/ 57 h 83"/>
                <a:gd name="T96" fmla="*/ 32 w 146"/>
                <a:gd name="T97" fmla="*/ 65 h 83"/>
                <a:gd name="T98" fmla="*/ 8 w 146"/>
                <a:gd name="T99" fmla="*/ 73 h 83"/>
                <a:gd name="T100" fmla="*/ 0 w 146"/>
                <a:gd name="T101" fmla="*/ 51 h 83"/>
                <a:gd name="T102" fmla="*/ 14 w 146"/>
                <a:gd name="T103" fmla="*/ 33 h 83"/>
                <a:gd name="T104" fmla="*/ 40 w 146"/>
                <a:gd name="T105" fmla="*/ 24 h 83"/>
                <a:gd name="T106" fmla="*/ 66 w 146"/>
                <a:gd name="T107" fmla="*/ 18 h 83"/>
                <a:gd name="T108" fmla="*/ 84 w 146"/>
                <a:gd name="T109" fmla="*/ 2 h 83"/>
                <a:gd name="T110" fmla="*/ 86 w 146"/>
                <a:gd name="T111" fmla="*/ 6 h 83"/>
                <a:gd name="T112" fmla="*/ 90 w 146"/>
                <a:gd name="T113" fmla="*/ 8 h 83"/>
                <a:gd name="T114" fmla="*/ 90 w 146"/>
                <a:gd name="T115" fmla="*/ 10 h 83"/>
                <a:gd name="T116" fmla="*/ 94 w 146"/>
                <a:gd name="T117" fmla="*/ 10 h 83"/>
                <a:gd name="T118" fmla="*/ 124 w 146"/>
                <a:gd name="T119" fmla="*/ 35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46" h="83">
                  <a:moveTo>
                    <a:pt x="112" y="83"/>
                  </a:moveTo>
                  <a:lnTo>
                    <a:pt x="112" y="81"/>
                  </a:lnTo>
                  <a:lnTo>
                    <a:pt x="112" y="83"/>
                  </a:lnTo>
                  <a:close/>
                  <a:moveTo>
                    <a:pt x="132" y="73"/>
                  </a:moveTo>
                  <a:lnTo>
                    <a:pt x="134" y="73"/>
                  </a:lnTo>
                  <a:lnTo>
                    <a:pt x="132" y="73"/>
                  </a:lnTo>
                  <a:lnTo>
                    <a:pt x="134" y="73"/>
                  </a:lnTo>
                  <a:lnTo>
                    <a:pt x="132" y="73"/>
                  </a:lnTo>
                  <a:close/>
                  <a:moveTo>
                    <a:pt x="130" y="71"/>
                  </a:moveTo>
                  <a:lnTo>
                    <a:pt x="132" y="71"/>
                  </a:lnTo>
                  <a:lnTo>
                    <a:pt x="130" y="71"/>
                  </a:lnTo>
                  <a:close/>
                  <a:moveTo>
                    <a:pt x="130" y="71"/>
                  </a:moveTo>
                  <a:lnTo>
                    <a:pt x="132" y="71"/>
                  </a:lnTo>
                  <a:lnTo>
                    <a:pt x="130" y="71"/>
                  </a:lnTo>
                  <a:close/>
                  <a:moveTo>
                    <a:pt x="142" y="67"/>
                  </a:moveTo>
                  <a:lnTo>
                    <a:pt x="144" y="67"/>
                  </a:lnTo>
                  <a:lnTo>
                    <a:pt x="144" y="69"/>
                  </a:lnTo>
                  <a:lnTo>
                    <a:pt x="146" y="71"/>
                  </a:lnTo>
                  <a:lnTo>
                    <a:pt x="144" y="71"/>
                  </a:lnTo>
                  <a:lnTo>
                    <a:pt x="144" y="73"/>
                  </a:lnTo>
                  <a:lnTo>
                    <a:pt x="142" y="73"/>
                  </a:lnTo>
                  <a:lnTo>
                    <a:pt x="140" y="73"/>
                  </a:lnTo>
                  <a:lnTo>
                    <a:pt x="138" y="73"/>
                  </a:lnTo>
                  <a:lnTo>
                    <a:pt x="136" y="73"/>
                  </a:lnTo>
                  <a:lnTo>
                    <a:pt x="134" y="73"/>
                  </a:lnTo>
                  <a:lnTo>
                    <a:pt x="136" y="73"/>
                  </a:lnTo>
                  <a:lnTo>
                    <a:pt x="134" y="73"/>
                  </a:lnTo>
                  <a:lnTo>
                    <a:pt x="136" y="73"/>
                  </a:lnTo>
                  <a:lnTo>
                    <a:pt x="136" y="71"/>
                  </a:lnTo>
                  <a:lnTo>
                    <a:pt x="138" y="71"/>
                  </a:lnTo>
                  <a:lnTo>
                    <a:pt x="140" y="71"/>
                  </a:lnTo>
                  <a:lnTo>
                    <a:pt x="142" y="71"/>
                  </a:lnTo>
                  <a:lnTo>
                    <a:pt x="142" y="69"/>
                  </a:lnTo>
                  <a:lnTo>
                    <a:pt x="142" y="67"/>
                  </a:lnTo>
                  <a:lnTo>
                    <a:pt x="142" y="69"/>
                  </a:lnTo>
                  <a:lnTo>
                    <a:pt x="140" y="69"/>
                  </a:lnTo>
                  <a:lnTo>
                    <a:pt x="142" y="69"/>
                  </a:lnTo>
                  <a:lnTo>
                    <a:pt x="140" y="69"/>
                  </a:lnTo>
                  <a:lnTo>
                    <a:pt x="140" y="71"/>
                  </a:lnTo>
                  <a:lnTo>
                    <a:pt x="140" y="69"/>
                  </a:lnTo>
                  <a:lnTo>
                    <a:pt x="140" y="67"/>
                  </a:lnTo>
                  <a:lnTo>
                    <a:pt x="140" y="65"/>
                  </a:lnTo>
                  <a:lnTo>
                    <a:pt x="140" y="67"/>
                  </a:lnTo>
                  <a:lnTo>
                    <a:pt x="142" y="67"/>
                  </a:lnTo>
                  <a:close/>
                  <a:moveTo>
                    <a:pt x="106" y="75"/>
                  </a:moveTo>
                  <a:lnTo>
                    <a:pt x="108" y="75"/>
                  </a:lnTo>
                  <a:lnTo>
                    <a:pt x="106" y="75"/>
                  </a:lnTo>
                  <a:lnTo>
                    <a:pt x="108" y="75"/>
                  </a:lnTo>
                  <a:lnTo>
                    <a:pt x="106" y="75"/>
                  </a:lnTo>
                  <a:lnTo>
                    <a:pt x="106" y="77"/>
                  </a:lnTo>
                  <a:lnTo>
                    <a:pt x="106" y="75"/>
                  </a:lnTo>
                  <a:close/>
                  <a:moveTo>
                    <a:pt x="120" y="71"/>
                  </a:moveTo>
                  <a:lnTo>
                    <a:pt x="118" y="69"/>
                  </a:lnTo>
                  <a:lnTo>
                    <a:pt x="120" y="69"/>
                  </a:lnTo>
                  <a:lnTo>
                    <a:pt x="120" y="71"/>
                  </a:lnTo>
                  <a:close/>
                  <a:moveTo>
                    <a:pt x="110" y="73"/>
                  </a:moveTo>
                  <a:lnTo>
                    <a:pt x="110" y="75"/>
                  </a:lnTo>
                  <a:lnTo>
                    <a:pt x="108" y="75"/>
                  </a:lnTo>
                  <a:lnTo>
                    <a:pt x="108" y="73"/>
                  </a:lnTo>
                  <a:lnTo>
                    <a:pt x="108" y="75"/>
                  </a:lnTo>
                  <a:lnTo>
                    <a:pt x="108" y="73"/>
                  </a:lnTo>
                  <a:lnTo>
                    <a:pt x="110" y="73"/>
                  </a:lnTo>
                  <a:lnTo>
                    <a:pt x="108" y="73"/>
                  </a:lnTo>
                  <a:lnTo>
                    <a:pt x="110" y="73"/>
                  </a:lnTo>
                  <a:close/>
                  <a:moveTo>
                    <a:pt x="106" y="73"/>
                  </a:moveTo>
                  <a:lnTo>
                    <a:pt x="106" y="75"/>
                  </a:lnTo>
                  <a:lnTo>
                    <a:pt x="106" y="73"/>
                  </a:lnTo>
                  <a:close/>
                  <a:moveTo>
                    <a:pt x="110" y="73"/>
                  </a:moveTo>
                  <a:lnTo>
                    <a:pt x="112" y="73"/>
                  </a:lnTo>
                  <a:lnTo>
                    <a:pt x="110" y="73"/>
                  </a:lnTo>
                  <a:lnTo>
                    <a:pt x="112" y="73"/>
                  </a:lnTo>
                  <a:lnTo>
                    <a:pt x="110" y="73"/>
                  </a:lnTo>
                  <a:close/>
                  <a:moveTo>
                    <a:pt x="116" y="69"/>
                  </a:moveTo>
                  <a:lnTo>
                    <a:pt x="116" y="67"/>
                  </a:lnTo>
                  <a:lnTo>
                    <a:pt x="116" y="69"/>
                  </a:lnTo>
                  <a:lnTo>
                    <a:pt x="118" y="69"/>
                  </a:lnTo>
                  <a:lnTo>
                    <a:pt x="118" y="71"/>
                  </a:lnTo>
                  <a:lnTo>
                    <a:pt x="118" y="69"/>
                  </a:lnTo>
                  <a:lnTo>
                    <a:pt x="120" y="69"/>
                  </a:lnTo>
                  <a:lnTo>
                    <a:pt x="118" y="69"/>
                  </a:lnTo>
                  <a:lnTo>
                    <a:pt x="120" y="69"/>
                  </a:lnTo>
                  <a:lnTo>
                    <a:pt x="118" y="69"/>
                  </a:lnTo>
                  <a:lnTo>
                    <a:pt x="120" y="69"/>
                  </a:lnTo>
                  <a:lnTo>
                    <a:pt x="118" y="69"/>
                  </a:lnTo>
                  <a:lnTo>
                    <a:pt x="118" y="71"/>
                  </a:lnTo>
                  <a:lnTo>
                    <a:pt x="120" y="71"/>
                  </a:lnTo>
                  <a:lnTo>
                    <a:pt x="118" y="71"/>
                  </a:lnTo>
                  <a:lnTo>
                    <a:pt x="120" y="71"/>
                  </a:lnTo>
                  <a:lnTo>
                    <a:pt x="122" y="71"/>
                  </a:lnTo>
                  <a:lnTo>
                    <a:pt x="122" y="73"/>
                  </a:lnTo>
                  <a:lnTo>
                    <a:pt x="124" y="73"/>
                  </a:lnTo>
                  <a:lnTo>
                    <a:pt x="122" y="73"/>
                  </a:lnTo>
                  <a:lnTo>
                    <a:pt x="122" y="71"/>
                  </a:lnTo>
                  <a:lnTo>
                    <a:pt x="122" y="73"/>
                  </a:lnTo>
                  <a:lnTo>
                    <a:pt x="122" y="71"/>
                  </a:lnTo>
                  <a:lnTo>
                    <a:pt x="124" y="71"/>
                  </a:lnTo>
                  <a:lnTo>
                    <a:pt x="124" y="73"/>
                  </a:lnTo>
                  <a:lnTo>
                    <a:pt x="124" y="71"/>
                  </a:lnTo>
                  <a:lnTo>
                    <a:pt x="124" y="73"/>
                  </a:lnTo>
                  <a:lnTo>
                    <a:pt x="124" y="71"/>
                  </a:lnTo>
                  <a:lnTo>
                    <a:pt x="124" y="69"/>
                  </a:lnTo>
                  <a:lnTo>
                    <a:pt x="122" y="69"/>
                  </a:lnTo>
                  <a:lnTo>
                    <a:pt x="122" y="71"/>
                  </a:lnTo>
                  <a:lnTo>
                    <a:pt x="122" y="69"/>
                  </a:lnTo>
                  <a:lnTo>
                    <a:pt x="124" y="69"/>
                  </a:lnTo>
                  <a:lnTo>
                    <a:pt x="124" y="71"/>
                  </a:lnTo>
                  <a:lnTo>
                    <a:pt x="124" y="73"/>
                  </a:lnTo>
                  <a:lnTo>
                    <a:pt x="122" y="73"/>
                  </a:lnTo>
                  <a:lnTo>
                    <a:pt x="122" y="75"/>
                  </a:lnTo>
                  <a:lnTo>
                    <a:pt x="120" y="75"/>
                  </a:lnTo>
                  <a:lnTo>
                    <a:pt x="118" y="75"/>
                  </a:lnTo>
                  <a:lnTo>
                    <a:pt x="116" y="75"/>
                  </a:lnTo>
                  <a:lnTo>
                    <a:pt x="116" y="77"/>
                  </a:lnTo>
                  <a:lnTo>
                    <a:pt x="114" y="77"/>
                  </a:lnTo>
                  <a:lnTo>
                    <a:pt x="114" y="79"/>
                  </a:lnTo>
                  <a:lnTo>
                    <a:pt x="112" y="79"/>
                  </a:lnTo>
                  <a:lnTo>
                    <a:pt x="114" y="79"/>
                  </a:lnTo>
                  <a:lnTo>
                    <a:pt x="112" y="79"/>
                  </a:lnTo>
                  <a:lnTo>
                    <a:pt x="114" y="79"/>
                  </a:lnTo>
                  <a:lnTo>
                    <a:pt x="112" y="79"/>
                  </a:lnTo>
                  <a:lnTo>
                    <a:pt x="112" y="79"/>
                  </a:lnTo>
                  <a:lnTo>
                    <a:pt x="112" y="77"/>
                  </a:lnTo>
                  <a:lnTo>
                    <a:pt x="112" y="77"/>
                  </a:lnTo>
                  <a:lnTo>
                    <a:pt x="112" y="79"/>
                  </a:lnTo>
                  <a:lnTo>
                    <a:pt x="112" y="77"/>
                  </a:lnTo>
                  <a:lnTo>
                    <a:pt x="112" y="79"/>
                  </a:lnTo>
                  <a:lnTo>
                    <a:pt x="114" y="79"/>
                  </a:lnTo>
                  <a:lnTo>
                    <a:pt x="114" y="77"/>
                  </a:lnTo>
                  <a:lnTo>
                    <a:pt x="112" y="77"/>
                  </a:lnTo>
                  <a:lnTo>
                    <a:pt x="112" y="79"/>
                  </a:lnTo>
                  <a:lnTo>
                    <a:pt x="112" y="77"/>
                  </a:lnTo>
                  <a:lnTo>
                    <a:pt x="112" y="79"/>
                  </a:lnTo>
                  <a:lnTo>
                    <a:pt x="112" y="77"/>
                  </a:lnTo>
                  <a:lnTo>
                    <a:pt x="112" y="75"/>
                  </a:lnTo>
                  <a:lnTo>
                    <a:pt x="114" y="73"/>
                  </a:lnTo>
                  <a:lnTo>
                    <a:pt x="114" y="71"/>
                  </a:lnTo>
                  <a:lnTo>
                    <a:pt x="114" y="69"/>
                  </a:lnTo>
                  <a:lnTo>
                    <a:pt x="116" y="69"/>
                  </a:lnTo>
                  <a:lnTo>
                    <a:pt x="116" y="71"/>
                  </a:lnTo>
                  <a:lnTo>
                    <a:pt x="116" y="69"/>
                  </a:lnTo>
                  <a:lnTo>
                    <a:pt x="116" y="67"/>
                  </a:lnTo>
                  <a:lnTo>
                    <a:pt x="116" y="69"/>
                  </a:lnTo>
                  <a:close/>
                  <a:moveTo>
                    <a:pt x="112" y="69"/>
                  </a:moveTo>
                  <a:lnTo>
                    <a:pt x="112" y="67"/>
                  </a:lnTo>
                  <a:lnTo>
                    <a:pt x="112" y="69"/>
                  </a:lnTo>
                  <a:close/>
                  <a:moveTo>
                    <a:pt x="112" y="67"/>
                  </a:moveTo>
                  <a:lnTo>
                    <a:pt x="112" y="69"/>
                  </a:lnTo>
                  <a:lnTo>
                    <a:pt x="112" y="67"/>
                  </a:lnTo>
                  <a:lnTo>
                    <a:pt x="112" y="69"/>
                  </a:lnTo>
                  <a:lnTo>
                    <a:pt x="112" y="69"/>
                  </a:lnTo>
                  <a:lnTo>
                    <a:pt x="112" y="71"/>
                  </a:lnTo>
                  <a:lnTo>
                    <a:pt x="112" y="73"/>
                  </a:lnTo>
                  <a:lnTo>
                    <a:pt x="110" y="73"/>
                  </a:lnTo>
                  <a:lnTo>
                    <a:pt x="110" y="71"/>
                  </a:lnTo>
                  <a:lnTo>
                    <a:pt x="112" y="71"/>
                  </a:lnTo>
                  <a:lnTo>
                    <a:pt x="110" y="71"/>
                  </a:lnTo>
                  <a:lnTo>
                    <a:pt x="112" y="71"/>
                  </a:lnTo>
                  <a:lnTo>
                    <a:pt x="112" y="69"/>
                  </a:lnTo>
                  <a:lnTo>
                    <a:pt x="112" y="69"/>
                  </a:lnTo>
                  <a:lnTo>
                    <a:pt x="112" y="67"/>
                  </a:lnTo>
                  <a:close/>
                  <a:moveTo>
                    <a:pt x="112" y="67"/>
                  </a:moveTo>
                  <a:lnTo>
                    <a:pt x="112" y="69"/>
                  </a:lnTo>
                  <a:lnTo>
                    <a:pt x="112" y="67"/>
                  </a:lnTo>
                  <a:lnTo>
                    <a:pt x="112" y="69"/>
                  </a:lnTo>
                  <a:lnTo>
                    <a:pt x="112" y="67"/>
                  </a:lnTo>
                  <a:close/>
                  <a:moveTo>
                    <a:pt x="102" y="69"/>
                  </a:moveTo>
                  <a:lnTo>
                    <a:pt x="102" y="71"/>
                  </a:lnTo>
                  <a:lnTo>
                    <a:pt x="102" y="69"/>
                  </a:lnTo>
                  <a:close/>
                  <a:moveTo>
                    <a:pt x="122" y="59"/>
                  </a:moveTo>
                  <a:lnTo>
                    <a:pt x="120" y="59"/>
                  </a:lnTo>
                  <a:lnTo>
                    <a:pt x="122" y="59"/>
                  </a:lnTo>
                  <a:lnTo>
                    <a:pt x="120" y="59"/>
                  </a:lnTo>
                  <a:lnTo>
                    <a:pt x="122" y="59"/>
                  </a:lnTo>
                  <a:close/>
                  <a:moveTo>
                    <a:pt x="106" y="65"/>
                  </a:moveTo>
                  <a:lnTo>
                    <a:pt x="106" y="63"/>
                  </a:lnTo>
                  <a:lnTo>
                    <a:pt x="106" y="65"/>
                  </a:lnTo>
                  <a:close/>
                  <a:moveTo>
                    <a:pt x="122" y="59"/>
                  </a:moveTo>
                  <a:lnTo>
                    <a:pt x="122" y="57"/>
                  </a:lnTo>
                  <a:lnTo>
                    <a:pt x="122" y="59"/>
                  </a:lnTo>
                  <a:lnTo>
                    <a:pt x="120" y="59"/>
                  </a:lnTo>
                  <a:lnTo>
                    <a:pt x="122" y="59"/>
                  </a:lnTo>
                  <a:lnTo>
                    <a:pt x="122" y="57"/>
                  </a:lnTo>
                  <a:lnTo>
                    <a:pt x="122" y="59"/>
                  </a:lnTo>
                  <a:close/>
                  <a:moveTo>
                    <a:pt x="104" y="63"/>
                  </a:moveTo>
                  <a:lnTo>
                    <a:pt x="104" y="65"/>
                  </a:lnTo>
                  <a:lnTo>
                    <a:pt x="104" y="63"/>
                  </a:lnTo>
                  <a:close/>
                  <a:moveTo>
                    <a:pt x="138" y="51"/>
                  </a:moveTo>
                  <a:lnTo>
                    <a:pt x="138" y="53"/>
                  </a:lnTo>
                  <a:lnTo>
                    <a:pt x="138" y="55"/>
                  </a:lnTo>
                  <a:lnTo>
                    <a:pt x="138" y="57"/>
                  </a:lnTo>
                  <a:lnTo>
                    <a:pt x="138" y="55"/>
                  </a:lnTo>
                  <a:lnTo>
                    <a:pt x="138" y="53"/>
                  </a:lnTo>
                  <a:lnTo>
                    <a:pt x="138" y="51"/>
                  </a:lnTo>
                  <a:close/>
                  <a:moveTo>
                    <a:pt x="130" y="53"/>
                  </a:moveTo>
                  <a:lnTo>
                    <a:pt x="128" y="53"/>
                  </a:lnTo>
                  <a:lnTo>
                    <a:pt x="130" y="53"/>
                  </a:lnTo>
                  <a:close/>
                  <a:moveTo>
                    <a:pt x="112" y="59"/>
                  </a:moveTo>
                  <a:lnTo>
                    <a:pt x="112" y="57"/>
                  </a:lnTo>
                  <a:lnTo>
                    <a:pt x="112" y="59"/>
                  </a:lnTo>
                  <a:close/>
                  <a:moveTo>
                    <a:pt x="124" y="53"/>
                  </a:moveTo>
                  <a:lnTo>
                    <a:pt x="122" y="53"/>
                  </a:lnTo>
                  <a:lnTo>
                    <a:pt x="124" y="53"/>
                  </a:lnTo>
                  <a:close/>
                  <a:moveTo>
                    <a:pt x="138" y="47"/>
                  </a:moveTo>
                  <a:lnTo>
                    <a:pt x="136" y="47"/>
                  </a:lnTo>
                  <a:lnTo>
                    <a:pt x="138" y="47"/>
                  </a:lnTo>
                  <a:close/>
                  <a:moveTo>
                    <a:pt x="94" y="33"/>
                  </a:moveTo>
                  <a:lnTo>
                    <a:pt x="92" y="33"/>
                  </a:lnTo>
                  <a:lnTo>
                    <a:pt x="94" y="33"/>
                  </a:lnTo>
                  <a:close/>
                  <a:moveTo>
                    <a:pt x="92" y="33"/>
                  </a:moveTo>
                  <a:lnTo>
                    <a:pt x="90" y="33"/>
                  </a:lnTo>
                  <a:lnTo>
                    <a:pt x="92" y="33"/>
                  </a:lnTo>
                  <a:close/>
                  <a:moveTo>
                    <a:pt x="90" y="33"/>
                  </a:moveTo>
                  <a:lnTo>
                    <a:pt x="90" y="30"/>
                  </a:lnTo>
                  <a:lnTo>
                    <a:pt x="90" y="33"/>
                  </a:lnTo>
                  <a:close/>
                  <a:moveTo>
                    <a:pt x="92" y="30"/>
                  </a:moveTo>
                  <a:lnTo>
                    <a:pt x="90" y="30"/>
                  </a:lnTo>
                  <a:lnTo>
                    <a:pt x="92" y="30"/>
                  </a:lnTo>
                  <a:close/>
                  <a:moveTo>
                    <a:pt x="88" y="33"/>
                  </a:moveTo>
                  <a:lnTo>
                    <a:pt x="88" y="30"/>
                  </a:lnTo>
                  <a:lnTo>
                    <a:pt x="88" y="33"/>
                  </a:lnTo>
                  <a:close/>
                  <a:moveTo>
                    <a:pt x="90" y="33"/>
                  </a:moveTo>
                  <a:lnTo>
                    <a:pt x="90" y="30"/>
                  </a:lnTo>
                  <a:lnTo>
                    <a:pt x="90" y="33"/>
                  </a:lnTo>
                  <a:close/>
                  <a:moveTo>
                    <a:pt x="92" y="30"/>
                  </a:moveTo>
                  <a:lnTo>
                    <a:pt x="90" y="30"/>
                  </a:lnTo>
                  <a:lnTo>
                    <a:pt x="92" y="30"/>
                  </a:lnTo>
                  <a:close/>
                  <a:moveTo>
                    <a:pt x="90" y="30"/>
                  </a:moveTo>
                  <a:lnTo>
                    <a:pt x="88" y="28"/>
                  </a:lnTo>
                  <a:lnTo>
                    <a:pt x="90" y="28"/>
                  </a:lnTo>
                  <a:lnTo>
                    <a:pt x="90" y="30"/>
                  </a:lnTo>
                  <a:close/>
                  <a:moveTo>
                    <a:pt x="88" y="24"/>
                  </a:moveTo>
                  <a:lnTo>
                    <a:pt x="90" y="24"/>
                  </a:lnTo>
                  <a:lnTo>
                    <a:pt x="90" y="26"/>
                  </a:lnTo>
                  <a:lnTo>
                    <a:pt x="90" y="24"/>
                  </a:lnTo>
                  <a:lnTo>
                    <a:pt x="90" y="26"/>
                  </a:lnTo>
                  <a:lnTo>
                    <a:pt x="88" y="26"/>
                  </a:lnTo>
                  <a:lnTo>
                    <a:pt x="88" y="24"/>
                  </a:lnTo>
                  <a:close/>
                  <a:moveTo>
                    <a:pt x="92" y="18"/>
                  </a:moveTo>
                  <a:lnTo>
                    <a:pt x="92" y="20"/>
                  </a:lnTo>
                  <a:lnTo>
                    <a:pt x="92" y="18"/>
                  </a:lnTo>
                  <a:close/>
                  <a:moveTo>
                    <a:pt x="92" y="16"/>
                  </a:moveTo>
                  <a:lnTo>
                    <a:pt x="92" y="18"/>
                  </a:lnTo>
                  <a:lnTo>
                    <a:pt x="92" y="16"/>
                  </a:lnTo>
                  <a:close/>
                  <a:moveTo>
                    <a:pt x="94" y="16"/>
                  </a:moveTo>
                  <a:lnTo>
                    <a:pt x="94" y="14"/>
                  </a:lnTo>
                  <a:lnTo>
                    <a:pt x="94" y="16"/>
                  </a:lnTo>
                  <a:close/>
                  <a:moveTo>
                    <a:pt x="98" y="12"/>
                  </a:moveTo>
                  <a:lnTo>
                    <a:pt x="98" y="10"/>
                  </a:lnTo>
                  <a:lnTo>
                    <a:pt x="98" y="12"/>
                  </a:lnTo>
                  <a:close/>
                  <a:moveTo>
                    <a:pt x="94" y="10"/>
                  </a:moveTo>
                  <a:lnTo>
                    <a:pt x="94" y="12"/>
                  </a:lnTo>
                  <a:lnTo>
                    <a:pt x="94" y="10"/>
                  </a:lnTo>
                  <a:lnTo>
                    <a:pt x="94" y="12"/>
                  </a:lnTo>
                  <a:lnTo>
                    <a:pt x="94" y="10"/>
                  </a:lnTo>
                  <a:close/>
                  <a:moveTo>
                    <a:pt x="92" y="10"/>
                  </a:moveTo>
                  <a:lnTo>
                    <a:pt x="92" y="12"/>
                  </a:lnTo>
                  <a:lnTo>
                    <a:pt x="92" y="10"/>
                  </a:lnTo>
                  <a:close/>
                  <a:moveTo>
                    <a:pt x="88" y="8"/>
                  </a:moveTo>
                  <a:lnTo>
                    <a:pt x="88" y="10"/>
                  </a:lnTo>
                  <a:lnTo>
                    <a:pt x="88" y="8"/>
                  </a:lnTo>
                  <a:close/>
                  <a:moveTo>
                    <a:pt x="88" y="6"/>
                  </a:moveTo>
                  <a:lnTo>
                    <a:pt x="88" y="4"/>
                  </a:lnTo>
                  <a:lnTo>
                    <a:pt x="88" y="6"/>
                  </a:lnTo>
                  <a:close/>
                  <a:moveTo>
                    <a:pt x="96" y="8"/>
                  </a:moveTo>
                  <a:lnTo>
                    <a:pt x="98" y="8"/>
                  </a:lnTo>
                  <a:lnTo>
                    <a:pt x="98" y="10"/>
                  </a:lnTo>
                  <a:lnTo>
                    <a:pt x="98" y="12"/>
                  </a:lnTo>
                  <a:lnTo>
                    <a:pt x="96" y="12"/>
                  </a:lnTo>
                  <a:lnTo>
                    <a:pt x="98" y="12"/>
                  </a:lnTo>
                  <a:lnTo>
                    <a:pt x="96" y="12"/>
                  </a:lnTo>
                  <a:lnTo>
                    <a:pt x="96" y="14"/>
                  </a:lnTo>
                  <a:lnTo>
                    <a:pt x="96" y="12"/>
                  </a:lnTo>
                  <a:lnTo>
                    <a:pt x="96" y="14"/>
                  </a:lnTo>
                  <a:lnTo>
                    <a:pt x="96" y="12"/>
                  </a:lnTo>
                  <a:lnTo>
                    <a:pt x="96" y="14"/>
                  </a:lnTo>
                  <a:lnTo>
                    <a:pt x="94" y="14"/>
                  </a:lnTo>
                  <a:lnTo>
                    <a:pt x="94" y="16"/>
                  </a:lnTo>
                  <a:lnTo>
                    <a:pt x="92" y="16"/>
                  </a:lnTo>
                  <a:lnTo>
                    <a:pt x="94" y="16"/>
                  </a:lnTo>
                  <a:lnTo>
                    <a:pt x="92" y="16"/>
                  </a:lnTo>
                  <a:lnTo>
                    <a:pt x="90" y="18"/>
                  </a:lnTo>
                  <a:lnTo>
                    <a:pt x="88" y="18"/>
                  </a:lnTo>
                  <a:lnTo>
                    <a:pt x="88" y="20"/>
                  </a:lnTo>
                  <a:lnTo>
                    <a:pt x="88" y="18"/>
                  </a:lnTo>
                  <a:lnTo>
                    <a:pt x="90" y="18"/>
                  </a:lnTo>
                  <a:lnTo>
                    <a:pt x="88" y="18"/>
                  </a:lnTo>
                  <a:lnTo>
                    <a:pt x="88" y="20"/>
                  </a:lnTo>
                  <a:lnTo>
                    <a:pt x="90" y="20"/>
                  </a:lnTo>
                  <a:lnTo>
                    <a:pt x="90" y="18"/>
                  </a:lnTo>
                  <a:lnTo>
                    <a:pt x="90" y="20"/>
                  </a:lnTo>
                  <a:lnTo>
                    <a:pt x="90" y="22"/>
                  </a:lnTo>
                  <a:lnTo>
                    <a:pt x="88" y="22"/>
                  </a:lnTo>
                  <a:lnTo>
                    <a:pt x="88" y="24"/>
                  </a:lnTo>
                  <a:lnTo>
                    <a:pt x="88" y="26"/>
                  </a:lnTo>
                  <a:lnTo>
                    <a:pt x="88" y="28"/>
                  </a:lnTo>
                  <a:lnTo>
                    <a:pt x="86" y="28"/>
                  </a:lnTo>
                  <a:lnTo>
                    <a:pt x="88" y="28"/>
                  </a:lnTo>
                  <a:lnTo>
                    <a:pt x="88" y="30"/>
                  </a:lnTo>
                  <a:lnTo>
                    <a:pt x="88" y="28"/>
                  </a:lnTo>
                  <a:lnTo>
                    <a:pt x="88" y="30"/>
                  </a:lnTo>
                  <a:lnTo>
                    <a:pt x="86" y="30"/>
                  </a:lnTo>
                  <a:lnTo>
                    <a:pt x="86" y="28"/>
                  </a:lnTo>
                  <a:lnTo>
                    <a:pt x="84" y="28"/>
                  </a:lnTo>
                  <a:lnTo>
                    <a:pt x="86" y="28"/>
                  </a:lnTo>
                  <a:lnTo>
                    <a:pt x="84" y="28"/>
                  </a:lnTo>
                  <a:lnTo>
                    <a:pt x="86" y="28"/>
                  </a:lnTo>
                  <a:lnTo>
                    <a:pt x="86" y="30"/>
                  </a:lnTo>
                  <a:lnTo>
                    <a:pt x="86" y="28"/>
                  </a:lnTo>
                  <a:lnTo>
                    <a:pt x="86" y="30"/>
                  </a:lnTo>
                  <a:lnTo>
                    <a:pt x="88" y="30"/>
                  </a:lnTo>
                  <a:lnTo>
                    <a:pt x="86" y="30"/>
                  </a:lnTo>
                  <a:lnTo>
                    <a:pt x="88" y="30"/>
                  </a:lnTo>
                  <a:lnTo>
                    <a:pt x="86" y="33"/>
                  </a:lnTo>
                  <a:lnTo>
                    <a:pt x="88" y="33"/>
                  </a:lnTo>
                  <a:lnTo>
                    <a:pt x="86" y="33"/>
                  </a:lnTo>
                  <a:lnTo>
                    <a:pt x="88" y="33"/>
                  </a:lnTo>
                  <a:lnTo>
                    <a:pt x="86" y="33"/>
                  </a:lnTo>
                  <a:lnTo>
                    <a:pt x="88" y="33"/>
                  </a:lnTo>
                  <a:lnTo>
                    <a:pt x="90" y="33"/>
                  </a:lnTo>
                  <a:lnTo>
                    <a:pt x="88" y="33"/>
                  </a:lnTo>
                  <a:lnTo>
                    <a:pt x="88" y="35"/>
                  </a:lnTo>
                  <a:lnTo>
                    <a:pt x="88" y="33"/>
                  </a:lnTo>
                  <a:lnTo>
                    <a:pt x="88" y="35"/>
                  </a:lnTo>
                  <a:lnTo>
                    <a:pt x="90" y="35"/>
                  </a:lnTo>
                  <a:lnTo>
                    <a:pt x="90" y="33"/>
                  </a:lnTo>
                  <a:lnTo>
                    <a:pt x="92" y="33"/>
                  </a:lnTo>
                  <a:lnTo>
                    <a:pt x="92" y="35"/>
                  </a:lnTo>
                  <a:lnTo>
                    <a:pt x="90" y="35"/>
                  </a:lnTo>
                  <a:lnTo>
                    <a:pt x="92" y="35"/>
                  </a:lnTo>
                  <a:lnTo>
                    <a:pt x="90" y="35"/>
                  </a:lnTo>
                  <a:lnTo>
                    <a:pt x="90" y="35"/>
                  </a:lnTo>
                  <a:lnTo>
                    <a:pt x="92" y="35"/>
                  </a:lnTo>
                  <a:lnTo>
                    <a:pt x="92" y="35"/>
                  </a:lnTo>
                  <a:lnTo>
                    <a:pt x="90" y="35"/>
                  </a:lnTo>
                  <a:lnTo>
                    <a:pt x="92" y="35"/>
                  </a:lnTo>
                  <a:lnTo>
                    <a:pt x="92" y="35"/>
                  </a:lnTo>
                  <a:lnTo>
                    <a:pt x="94" y="35"/>
                  </a:lnTo>
                  <a:lnTo>
                    <a:pt x="92" y="35"/>
                  </a:lnTo>
                  <a:lnTo>
                    <a:pt x="92" y="35"/>
                  </a:lnTo>
                  <a:lnTo>
                    <a:pt x="92" y="33"/>
                  </a:lnTo>
                  <a:lnTo>
                    <a:pt x="94" y="33"/>
                  </a:lnTo>
                  <a:lnTo>
                    <a:pt x="94" y="35"/>
                  </a:lnTo>
                  <a:lnTo>
                    <a:pt x="94" y="33"/>
                  </a:lnTo>
                  <a:lnTo>
                    <a:pt x="94" y="35"/>
                  </a:lnTo>
                  <a:lnTo>
                    <a:pt x="94" y="33"/>
                  </a:lnTo>
                  <a:lnTo>
                    <a:pt x="96" y="33"/>
                  </a:lnTo>
                  <a:lnTo>
                    <a:pt x="94" y="33"/>
                  </a:lnTo>
                  <a:lnTo>
                    <a:pt x="96" y="33"/>
                  </a:lnTo>
                  <a:lnTo>
                    <a:pt x="94" y="33"/>
                  </a:lnTo>
                  <a:lnTo>
                    <a:pt x="94" y="30"/>
                  </a:lnTo>
                  <a:lnTo>
                    <a:pt x="92" y="30"/>
                  </a:lnTo>
                  <a:lnTo>
                    <a:pt x="94" y="30"/>
                  </a:lnTo>
                  <a:lnTo>
                    <a:pt x="92" y="30"/>
                  </a:lnTo>
                  <a:lnTo>
                    <a:pt x="92" y="33"/>
                  </a:lnTo>
                  <a:lnTo>
                    <a:pt x="92" y="30"/>
                  </a:lnTo>
                  <a:lnTo>
                    <a:pt x="92" y="33"/>
                  </a:lnTo>
                  <a:lnTo>
                    <a:pt x="92" y="30"/>
                  </a:lnTo>
                  <a:lnTo>
                    <a:pt x="92" y="33"/>
                  </a:lnTo>
                  <a:lnTo>
                    <a:pt x="92" y="30"/>
                  </a:lnTo>
                  <a:lnTo>
                    <a:pt x="94" y="30"/>
                  </a:lnTo>
                  <a:lnTo>
                    <a:pt x="92" y="30"/>
                  </a:lnTo>
                  <a:lnTo>
                    <a:pt x="94" y="30"/>
                  </a:lnTo>
                  <a:lnTo>
                    <a:pt x="94" y="33"/>
                  </a:lnTo>
                  <a:lnTo>
                    <a:pt x="96" y="33"/>
                  </a:lnTo>
                  <a:lnTo>
                    <a:pt x="94" y="33"/>
                  </a:lnTo>
                  <a:lnTo>
                    <a:pt x="96" y="33"/>
                  </a:lnTo>
                  <a:lnTo>
                    <a:pt x="98" y="33"/>
                  </a:lnTo>
                  <a:lnTo>
                    <a:pt x="100" y="33"/>
                  </a:lnTo>
                  <a:lnTo>
                    <a:pt x="100" y="35"/>
                  </a:lnTo>
                  <a:lnTo>
                    <a:pt x="102" y="35"/>
                  </a:lnTo>
                  <a:lnTo>
                    <a:pt x="100" y="35"/>
                  </a:lnTo>
                  <a:lnTo>
                    <a:pt x="102" y="35"/>
                  </a:lnTo>
                  <a:lnTo>
                    <a:pt x="102" y="35"/>
                  </a:lnTo>
                  <a:lnTo>
                    <a:pt x="100" y="35"/>
                  </a:lnTo>
                  <a:lnTo>
                    <a:pt x="102" y="35"/>
                  </a:lnTo>
                  <a:lnTo>
                    <a:pt x="104" y="35"/>
                  </a:lnTo>
                  <a:lnTo>
                    <a:pt x="102" y="35"/>
                  </a:lnTo>
                  <a:lnTo>
                    <a:pt x="104" y="35"/>
                  </a:lnTo>
                  <a:lnTo>
                    <a:pt x="104" y="37"/>
                  </a:lnTo>
                  <a:lnTo>
                    <a:pt x="106" y="37"/>
                  </a:lnTo>
                  <a:lnTo>
                    <a:pt x="104" y="37"/>
                  </a:lnTo>
                  <a:lnTo>
                    <a:pt x="106" y="37"/>
                  </a:lnTo>
                  <a:lnTo>
                    <a:pt x="104" y="37"/>
                  </a:lnTo>
                  <a:lnTo>
                    <a:pt x="106" y="37"/>
                  </a:lnTo>
                  <a:lnTo>
                    <a:pt x="104" y="37"/>
                  </a:lnTo>
                  <a:lnTo>
                    <a:pt x="106" y="37"/>
                  </a:lnTo>
                  <a:lnTo>
                    <a:pt x="104" y="37"/>
                  </a:lnTo>
                  <a:lnTo>
                    <a:pt x="106" y="37"/>
                  </a:lnTo>
                  <a:lnTo>
                    <a:pt x="106" y="39"/>
                  </a:lnTo>
                  <a:lnTo>
                    <a:pt x="106" y="37"/>
                  </a:lnTo>
                  <a:lnTo>
                    <a:pt x="106" y="39"/>
                  </a:lnTo>
                  <a:lnTo>
                    <a:pt x="106" y="37"/>
                  </a:lnTo>
                  <a:lnTo>
                    <a:pt x="106" y="39"/>
                  </a:lnTo>
                  <a:lnTo>
                    <a:pt x="108" y="39"/>
                  </a:lnTo>
                  <a:lnTo>
                    <a:pt x="108" y="41"/>
                  </a:lnTo>
                  <a:lnTo>
                    <a:pt x="110" y="41"/>
                  </a:lnTo>
                  <a:lnTo>
                    <a:pt x="108" y="41"/>
                  </a:lnTo>
                  <a:lnTo>
                    <a:pt x="108" y="43"/>
                  </a:lnTo>
                  <a:lnTo>
                    <a:pt x="108" y="41"/>
                  </a:lnTo>
                  <a:lnTo>
                    <a:pt x="108" y="43"/>
                  </a:lnTo>
                  <a:lnTo>
                    <a:pt x="108" y="41"/>
                  </a:lnTo>
                  <a:lnTo>
                    <a:pt x="108" y="39"/>
                  </a:lnTo>
                  <a:lnTo>
                    <a:pt x="106" y="39"/>
                  </a:lnTo>
                  <a:lnTo>
                    <a:pt x="106" y="41"/>
                  </a:lnTo>
                  <a:lnTo>
                    <a:pt x="106" y="39"/>
                  </a:lnTo>
                  <a:lnTo>
                    <a:pt x="106" y="41"/>
                  </a:lnTo>
                  <a:lnTo>
                    <a:pt x="106" y="43"/>
                  </a:lnTo>
                  <a:lnTo>
                    <a:pt x="106" y="41"/>
                  </a:lnTo>
                  <a:lnTo>
                    <a:pt x="106" y="43"/>
                  </a:lnTo>
                  <a:lnTo>
                    <a:pt x="104" y="43"/>
                  </a:lnTo>
                  <a:lnTo>
                    <a:pt x="106" y="43"/>
                  </a:lnTo>
                  <a:lnTo>
                    <a:pt x="108" y="43"/>
                  </a:lnTo>
                  <a:lnTo>
                    <a:pt x="106" y="43"/>
                  </a:lnTo>
                  <a:lnTo>
                    <a:pt x="106" y="45"/>
                  </a:lnTo>
                  <a:lnTo>
                    <a:pt x="108" y="45"/>
                  </a:lnTo>
                  <a:lnTo>
                    <a:pt x="108" y="43"/>
                  </a:lnTo>
                  <a:lnTo>
                    <a:pt x="108" y="45"/>
                  </a:lnTo>
                  <a:lnTo>
                    <a:pt x="110" y="45"/>
                  </a:lnTo>
                  <a:lnTo>
                    <a:pt x="108" y="45"/>
                  </a:lnTo>
                  <a:lnTo>
                    <a:pt x="108" y="43"/>
                  </a:lnTo>
                  <a:lnTo>
                    <a:pt x="108" y="45"/>
                  </a:lnTo>
                  <a:lnTo>
                    <a:pt x="110" y="45"/>
                  </a:lnTo>
                  <a:lnTo>
                    <a:pt x="110" y="43"/>
                  </a:lnTo>
                  <a:lnTo>
                    <a:pt x="112" y="43"/>
                  </a:lnTo>
                  <a:lnTo>
                    <a:pt x="110" y="43"/>
                  </a:lnTo>
                  <a:lnTo>
                    <a:pt x="112" y="43"/>
                  </a:lnTo>
                  <a:lnTo>
                    <a:pt x="112" y="45"/>
                  </a:lnTo>
                  <a:lnTo>
                    <a:pt x="112" y="45"/>
                  </a:lnTo>
                  <a:lnTo>
                    <a:pt x="112" y="45"/>
                  </a:lnTo>
                  <a:lnTo>
                    <a:pt x="112" y="45"/>
                  </a:lnTo>
                  <a:lnTo>
                    <a:pt x="112" y="47"/>
                  </a:lnTo>
                  <a:lnTo>
                    <a:pt x="112" y="49"/>
                  </a:lnTo>
                  <a:lnTo>
                    <a:pt x="112" y="51"/>
                  </a:lnTo>
                  <a:lnTo>
                    <a:pt x="114" y="51"/>
                  </a:lnTo>
                  <a:lnTo>
                    <a:pt x="116" y="51"/>
                  </a:lnTo>
                  <a:lnTo>
                    <a:pt x="116" y="53"/>
                  </a:lnTo>
                  <a:lnTo>
                    <a:pt x="116" y="51"/>
                  </a:lnTo>
                  <a:lnTo>
                    <a:pt x="116" y="53"/>
                  </a:lnTo>
                  <a:lnTo>
                    <a:pt x="116" y="51"/>
                  </a:lnTo>
                  <a:lnTo>
                    <a:pt x="118" y="51"/>
                  </a:lnTo>
                  <a:lnTo>
                    <a:pt x="118" y="53"/>
                  </a:lnTo>
                  <a:lnTo>
                    <a:pt x="118" y="51"/>
                  </a:lnTo>
                  <a:lnTo>
                    <a:pt x="120" y="51"/>
                  </a:lnTo>
                  <a:lnTo>
                    <a:pt x="122" y="51"/>
                  </a:lnTo>
                  <a:lnTo>
                    <a:pt x="124" y="51"/>
                  </a:lnTo>
                  <a:lnTo>
                    <a:pt x="122" y="51"/>
                  </a:lnTo>
                  <a:lnTo>
                    <a:pt x="122" y="53"/>
                  </a:lnTo>
                  <a:lnTo>
                    <a:pt x="124" y="53"/>
                  </a:lnTo>
                  <a:lnTo>
                    <a:pt x="124" y="51"/>
                  </a:lnTo>
                  <a:lnTo>
                    <a:pt x="126" y="51"/>
                  </a:lnTo>
                  <a:lnTo>
                    <a:pt x="126" y="49"/>
                  </a:lnTo>
                  <a:lnTo>
                    <a:pt x="128" y="49"/>
                  </a:lnTo>
                  <a:lnTo>
                    <a:pt x="128" y="47"/>
                  </a:lnTo>
                  <a:lnTo>
                    <a:pt x="128" y="49"/>
                  </a:lnTo>
                  <a:lnTo>
                    <a:pt x="128" y="47"/>
                  </a:lnTo>
                  <a:lnTo>
                    <a:pt x="130" y="47"/>
                  </a:lnTo>
                  <a:lnTo>
                    <a:pt x="132" y="47"/>
                  </a:lnTo>
                  <a:lnTo>
                    <a:pt x="132" y="45"/>
                  </a:lnTo>
                  <a:lnTo>
                    <a:pt x="134" y="45"/>
                  </a:lnTo>
                  <a:lnTo>
                    <a:pt x="134" y="43"/>
                  </a:lnTo>
                  <a:lnTo>
                    <a:pt x="132" y="41"/>
                  </a:lnTo>
                  <a:lnTo>
                    <a:pt x="132" y="39"/>
                  </a:lnTo>
                  <a:lnTo>
                    <a:pt x="132" y="37"/>
                  </a:lnTo>
                  <a:lnTo>
                    <a:pt x="132" y="39"/>
                  </a:lnTo>
                  <a:lnTo>
                    <a:pt x="130" y="39"/>
                  </a:lnTo>
                  <a:lnTo>
                    <a:pt x="130" y="37"/>
                  </a:lnTo>
                  <a:lnTo>
                    <a:pt x="128" y="37"/>
                  </a:lnTo>
                  <a:lnTo>
                    <a:pt x="128" y="39"/>
                  </a:lnTo>
                  <a:lnTo>
                    <a:pt x="130" y="39"/>
                  </a:lnTo>
                  <a:lnTo>
                    <a:pt x="130" y="41"/>
                  </a:lnTo>
                  <a:lnTo>
                    <a:pt x="130" y="39"/>
                  </a:lnTo>
                  <a:lnTo>
                    <a:pt x="128" y="39"/>
                  </a:lnTo>
                  <a:lnTo>
                    <a:pt x="128" y="37"/>
                  </a:lnTo>
                  <a:lnTo>
                    <a:pt x="128" y="35"/>
                  </a:lnTo>
                  <a:lnTo>
                    <a:pt x="126" y="35"/>
                  </a:lnTo>
                  <a:lnTo>
                    <a:pt x="126" y="35"/>
                  </a:lnTo>
                  <a:lnTo>
                    <a:pt x="124" y="35"/>
                  </a:lnTo>
                  <a:lnTo>
                    <a:pt x="122" y="35"/>
                  </a:lnTo>
                  <a:lnTo>
                    <a:pt x="122" y="35"/>
                  </a:lnTo>
                  <a:lnTo>
                    <a:pt x="124" y="35"/>
                  </a:lnTo>
                  <a:lnTo>
                    <a:pt x="122" y="35"/>
                  </a:lnTo>
                  <a:lnTo>
                    <a:pt x="124" y="35"/>
                  </a:lnTo>
                  <a:lnTo>
                    <a:pt x="124" y="35"/>
                  </a:lnTo>
                  <a:lnTo>
                    <a:pt x="124" y="35"/>
                  </a:lnTo>
                  <a:lnTo>
                    <a:pt x="122" y="35"/>
                  </a:lnTo>
                  <a:lnTo>
                    <a:pt x="120" y="35"/>
                  </a:lnTo>
                  <a:lnTo>
                    <a:pt x="120" y="33"/>
                  </a:lnTo>
                  <a:lnTo>
                    <a:pt x="122" y="33"/>
                  </a:lnTo>
                  <a:lnTo>
                    <a:pt x="124" y="33"/>
                  </a:lnTo>
                  <a:lnTo>
                    <a:pt x="126" y="33"/>
                  </a:lnTo>
                  <a:lnTo>
                    <a:pt x="128" y="35"/>
                  </a:lnTo>
                  <a:lnTo>
                    <a:pt x="130" y="35"/>
                  </a:lnTo>
                  <a:lnTo>
                    <a:pt x="130" y="35"/>
                  </a:lnTo>
                  <a:lnTo>
                    <a:pt x="132" y="35"/>
                  </a:lnTo>
                  <a:lnTo>
                    <a:pt x="132" y="37"/>
                  </a:lnTo>
                  <a:lnTo>
                    <a:pt x="134" y="37"/>
                  </a:lnTo>
                  <a:lnTo>
                    <a:pt x="134" y="39"/>
                  </a:lnTo>
                  <a:lnTo>
                    <a:pt x="134" y="41"/>
                  </a:lnTo>
                  <a:lnTo>
                    <a:pt x="136" y="41"/>
                  </a:lnTo>
                  <a:lnTo>
                    <a:pt x="136" y="43"/>
                  </a:lnTo>
                  <a:lnTo>
                    <a:pt x="136" y="45"/>
                  </a:lnTo>
                  <a:lnTo>
                    <a:pt x="138" y="45"/>
                  </a:lnTo>
                  <a:lnTo>
                    <a:pt x="138" y="47"/>
                  </a:lnTo>
                  <a:lnTo>
                    <a:pt x="138" y="49"/>
                  </a:lnTo>
                  <a:lnTo>
                    <a:pt x="138" y="47"/>
                  </a:lnTo>
                  <a:lnTo>
                    <a:pt x="138" y="45"/>
                  </a:lnTo>
                  <a:lnTo>
                    <a:pt x="136" y="45"/>
                  </a:lnTo>
                  <a:lnTo>
                    <a:pt x="136" y="43"/>
                  </a:lnTo>
                  <a:lnTo>
                    <a:pt x="136" y="45"/>
                  </a:lnTo>
                  <a:lnTo>
                    <a:pt x="136" y="47"/>
                  </a:lnTo>
                  <a:lnTo>
                    <a:pt x="138" y="47"/>
                  </a:lnTo>
                  <a:lnTo>
                    <a:pt x="138" y="49"/>
                  </a:lnTo>
                  <a:lnTo>
                    <a:pt x="138" y="51"/>
                  </a:lnTo>
                  <a:lnTo>
                    <a:pt x="138" y="49"/>
                  </a:lnTo>
                  <a:lnTo>
                    <a:pt x="138" y="51"/>
                  </a:lnTo>
                  <a:lnTo>
                    <a:pt x="136" y="51"/>
                  </a:lnTo>
                  <a:lnTo>
                    <a:pt x="136" y="49"/>
                  </a:lnTo>
                  <a:lnTo>
                    <a:pt x="138" y="49"/>
                  </a:lnTo>
                  <a:lnTo>
                    <a:pt x="136" y="49"/>
                  </a:lnTo>
                  <a:lnTo>
                    <a:pt x="136" y="51"/>
                  </a:lnTo>
                  <a:lnTo>
                    <a:pt x="138" y="51"/>
                  </a:lnTo>
                  <a:lnTo>
                    <a:pt x="136" y="51"/>
                  </a:lnTo>
                  <a:lnTo>
                    <a:pt x="134" y="51"/>
                  </a:lnTo>
                  <a:lnTo>
                    <a:pt x="132" y="51"/>
                  </a:lnTo>
                  <a:lnTo>
                    <a:pt x="132" y="53"/>
                  </a:lnTo>
                  <a:lnTo>
                    <a:pt x="130" y="53"/>
                  </a:lnTo>
                  <a:lnTo>
                    <a:pt x="130" y="55"/>
                  </a:lnTo>
                  <a:lnTo>
                    <a:pt x="130" y="53"/>
                  </a:lnTo>
                  <a:lnTo>
                    <a:pt x="130" y="51"/>
                  </a:lnTo>
                  <a:lnTo>
                    <a:pt x="130" y="53"/>
                  </a:lnTo>
                  <a:lnTo>
                    <a:pt x="130" y="51"/>
                  </a:lnTo>
                  <a:lnTo>
                    <a:pt x="130" y="53"/>
                  </a:lnTo>
                  <a:lnTo>
                    <a:pt x="128" y="53"/>
                  </a:lnTo>
                  <a:lnTo>
                    <a:pt x="128" y="55"/>
                  </a:lnTo>
                  <a:lnTo>
                    <a:pt x="130" y="55"/>
                  </a:lnTo>
                  <a:lnTo>
                    <a:pt x="128" y="55"/>
                  </a:lnTo>
                  <a:lnTo>
                    <a:pt x="128" y="57"/>
                  </a:lnTo>
                  <a:lnTo>
                    <a:pt x="126" y="57"/>
                  </a:lnTo>
                  <a:lnTo>
                    <a:pt x="126" y="55"/>
                  </a:lnTo>
                  <a:lnTo>
                    <a:pt x="126" y="57"/>
                  </a:lnTo>
                  <a:lnTo>
                    <a:pt x="128" y="57"/>
                  </a:lnTo>
                  <a:lnTo>
                    <a:pt x="126" y="57"/>
                  </a:lnTo>
                  <a:lnTo>
                    <a:pt x="128" y="57"/>
                  </a:lnTo>
                  <a:lnTo>
                    <a:pt x="128" y="55"/>
                  </a:lnTo>
                  <a:lnTo>
                    <a:pt x="126" y="55"/>
                  </a:lnTo>
                  <a:lnTo>
                    <a:pt x="126" y="57"/>
                  </a:lnTo>
                  <a:lnTo>
                    <a:pt x="124" y="57"/>
                  </a:lnTo>
                  <a:lnTo>
                    <a:pt x="126" y="57"/>
                  </a:lnTo>
                  <a:lnTo>
                    <a:pt x="124" y="57"/>
                  </a:lnTo>
                  <a:lnTo>
                    <a:pt x="122" y="57"/>
                  </a:lnTo>
                  <a:lnTo>
                    <a:pt x="124" y="57"/>
                  </a:lnTo>
                  <a:lnTo>
                    <a:pt x="122" y="57"/>
                  </a:lnTo>
                  <a:lnTo>
                    <a:pt x="124" y="57"/>
                  </a:lnTo>
                  <a:lnTo>
                    <a:pt x="122" y="57"/>
                  </a:lnTo>
                  <a:lnTo>
                    <a:pt x="122" y="59"/>
                  </a:lnTo>
                  <a:lnTo>
                    <a:pt x="122" y="57"/>
                  </a:lnTo>
                  <a:lnTo>
                    <a:pt x="120" y="57"/>
                  </a:lnTo>
                  <a:lnTo>
                    <a:pt x="122" y="57"/>
                  </a:lnTo>
                  <a:lnTo>
                    <a:pt x="120" y="57"/>
                  </a:lnTo>
                  <a:lnTo>
                    <a:pt x="122" y="57"/>
                  </a:lnTo>
                  <a:lnTo>
                    <a:pt x="120" y="57"/>
                  </a:lnTo>
                  <a:lnTo>
                    <a:pt x="122" y="57"/>
                  </a:lnTo>
                  <a:lnTo>
                    <a:pt x="120" y="59"/>
                  </a:lnTo>
                  <a:lnTo>
                    <a:pt x="120" y="61"/>
                  </a:lnTo>
                  <a:lnTo>
                    <a:pt x="120" y="59"/>
                  </a:lnTo>
                  <a:lnTo>
                    <a:pt x="120" y="61"/>
                  </a:lnTo>
                  <a:lnTo>
                    <a:pt x="120" y="59"/>
                  </a:lnTo>
                  <a:lnTo>
                    <a:pt x="120" y="61"/>
                  </a:lnTo>
                  <a:lnTo>
                    <a:pt x="120" y="59"/>
                  </a:lnTo>
                  <a:lnTo>
                    <a:pt x="118" y="59"/>
                  </a:lnTo>
                  <a:lnTo>
                    <a:pt x="120" y="59"/>
                  </a:lnTo>
                  <a:lnTo>
                    <a:pt x="120" y="61"/>
                  </a:lnTo>
                  <a:lnTo>
                    <a:pt x="120" y="63"/>
                  </a:lnTo>
                  <a:lnTo>
                    <a:pt x="118" y="63"/>
                  </a:lnTo>
                  <a:lnTo>
                    <a:pt x="116" y="63"/>
                  </a:lnTo>
                  <a:lnTo>
                    <a:pt x="116" y="65"/>
                  </a:lnTo>
                  <a:lnTo>
                    <a:pt x="116" y="63"/>
                  </a:lnTo>
                  <a:lnTo>
                    <a:pt x="116" y="65"/>
                  </a:lnTo>
                  <a:lnTo>
                    <a:pt x="114" y="65"/>
                  </a:lnTo>
                  <a:lnTo>
                    <a:pt x="114" y="67"/>
                  </a:lnTo>
                  <a:lnTo>
                    <a:pt x="112" y="67"/>
                  </a:lnTo>
                  <a:lnTo>
                    <a:pt x="112" y="65"/>
                  </a:lnTo>
                  <a:lnTo>
                    <a:pt x="112" y="67"/>
                  </a:lnTo>
                  <a:lnTo>
                    <a:pt x="114" y="65"/>
                  </a:lnTo>
                  <a:lnTo>
                    <a:pt x="112" y="65"/>
                  </a:lnTo>
                  <a:lnTo>
                    <a:pt x="114" y="65"/>
                  </a:lnTo>
                  <a:lnTo>
                    <a:pt x="112" y="65"/>
                  </a:lnTo>
                  <a:lnTo>
                    <a:pt x="114" y="65"/>
                  </a:lnTo>
                  <a:lnTo>
                    <a:pt x="114" y="63"/>
                  </a:lnTo>
                  <a:lnTo>
                    <a:pt x="112" y="63"/>
                  </a:lnTo>
                  <a:lnTo>
                    <a:pt x="112" y="61"/>
                  </a:lnTo>
                  <a:lnTo>
                    <a:pt x="112" y="63"/>
                  </a:lnTo>
                  <a:lnTo>
                    <a:pt x="112" y="61"/>
                  </a:lnTo>
                  <a:lnTo>
                    <a:pt x="112" y="63"/>
                  </a:lnTo>
                  <a:lnTo>
                    <a:pt x="112" y="61"/>
                  </a:lnTo>
                  <a:lnTo>
                    <a:pt x="112" y="59"/>
                  </a:lnTo>
                  <a:lnTo>
                    <a:pt x="112" y="61"/>
                  </a:lnTo>
                  <a:lnTo>
                    <a:pt x="112" y="59"/>
                  </a:lnTo>
                  <a:lnTo>
                    <a:pt x="112" y="57"/>
                  </a:lnTo>
                  <a:lnTo>
                    <a:pt x="112" y="59"/>
                  </a:lnTo>
                  <a:lnTo>
                    <a:pt x="112" y="57"/>
                  </a:lnTo>
                  <a:lnTo>
                    <a:pt x="112" y="59"/>
                  </a:lnTo>
                  <a:lnTo>
                    <a:pt x="112" y="59"/>
                  </a:lnTo>
                  <a:lnTo>
                    <a:pt x="112" y="57"/>
                  </a:lnTo>
                  <a:lnTo>
                    <a:pt x="112" y="57"/>
                  </a:lnTo>
                  <a:lnTo>
                    <a:pt x="112" y="55"/>
                  </a:lnTo>
                  <a:lnTo>
                    <a:pt x="112" y="55"/>
                  </a:lnTo>
                  <a:lnTo>
                    <a:pt x="112" y="57"/>
                  </a:lnTo>
                  <a:lnTo>
                    <a:pt x="112" y="57"/>
                  </a:lnTo>
                  <a:lnTo>
                    <a:pt x="112" y="57"/>
                  </a:lnTo>
                  <a:lnTo>
                    <a:pt x="112" y="57"/>
                  </a:lnTo>
                  <a:lnTo>
                    <a:pt x="112" y="57"/>
                  </a:lnTo>
                  <a:lnTo>
                    <a:pt x="112" y="55"/>
                  </a:lnTo>
                  <a:lnTo>
                    <a:pt x="112" y="55"/>
                  </a:lnTo>
                  <a:lnTo>
                    <a:pt x="112" y="55"/>
                  </a:lnTo>
                  <a:lnTo>
                    <a:pt x="112" y="55"/>
                  </a:lnTo>
                  <a:lnTo>
                    <a:pt x="112" y="55"/>
                  </a:lnTo>
                  <a:lnTo>
                    <a:pt x="112" y="55"/>
                  </a:lnTo>
                  <a:lnTo>
                    <a:pt x="112" y="55"/>
                  </a:lnTo>
                  <a:lnTo>
                    <a:pt x="112" y="55"/>
                  </a:lnTo>
                  <a:lnTo>
                    <a:pt x="112" y="53"/>
                  </a:lnTo>
                  <a:lnTo>
                    <a:pt x="112" y="53"/>
                  </a:lnTo>
                  <a:lnTo>
                    <a:pt x="112" y="53"/>
                  </a:lnTo>
                  <a:lnTo>
                    <a:pt x="112" y="53"/>
                  </a:lnTo>
                  <a:lnTo>
                    <a:pt x="112" y="53"/>
                  </a:lnTo>
                  <a:lnTo>
                    <a:pt x="112" y="53"/>
                  </a:lnTo>
                  <a:lnTo>
                    <a:pt x="112" y="55"/>
                  </a:lnTo>
                  <a:lnTo>
                    <a:pt x="110" y="55"/>
                  </a:lnTo>
                  <a:lnTo>
                    <a:pt x="112" y="55"/>
                  </a:lnTo>
                  <a:lnTo>
                    <a:pt x="112" y="57"/>
                  </a:lnTo>
                  <a:lnTo>
                    <a:pt x="112" y="59"/>
                  </a:lnTo>
                  <a:lnTo>
                    <a:pt x="112" y="57"/>
                  </a:lnTo>
                  <a:lnTo>
                    <a:pt x="110" y="57"/>
                  </a:lnTo>
                  <a:lnTo>
                    <a:pt x="112" y="57"/>
                  </a:lnTo>
                  <a:lnTo>
                    <a:pt x="110" y="57"/>
                  </a:lnTo>
                  <a:lnTo>
                    <a:pt x="110" y="55"/>
                  </a:lnTo>
                  <a:lnTo>
                    <a:pt x="110" y="57"/>
                  </a:lnTo>
                  <a:lnTo>
                    <a:pt x="110" y="55"/>
                  </a:lnTo>
                  <a:lnTo>
                    <a:pt x="110" y="57"/>
                  </a:lnTo>
                  <a:lnTo>
                    <a:pt x="108" y="57"/>
                  </a:lnTo>
                  <a:lnTo>
                    <a:pt x="110" y="57"/>
                  </a:lnTo>
                  <a:lnTo>
                    <a:pt x="108" y="57"/>
                  </a:lnTo>
                  <a:lnTo>
                    <a:pt x="110" y="57"/>
                  </a:lnTo>
                  <a:lnTo>
                    <a:pt x="110" y="59"/>
                  </a:lnTo>
                  <a:lnTo>
                    <a:pt x="108" y="59"/>
                  </a:lnTo>
                  <a:lnTo>
                    <a:pt x="108" y="57"/>
                  </a:lnTo>
                  <a:lnTo>
                    <a:pt x="108" y="59"/>
                  </a:lnTo>
                  <a:lnTo>
                    <a:pt x="110" y="59"/>
                  </a:lnTo>
                  <a:lnTo>
                    <a:pt x="110" y="61"/>
                  </a:lnTo>
                  <a:lnTo>
                    <a:pt x="110" y="59"/>
                  </a:lnTo>
                  <a:lnTo>
                    <a:pt x="108" y="59"/>
                  </a:lnTo>
                  <a:lnTo>
                    <a:pt x="108" y="61"/>
                  </a:lnTo>
                  <a:lnTo>
                    <a:pt x="108" y="59"/>
                  </a:lnTo>
                  <a:lnTo>
                    <a:pt x="108" y="61"/>
                  </a:lnTo>
                  <a:lnTo>
                    <a:pt x="110" y="61"/>
                  </a:lnTo>
                  <a:lnTo>
                    <a:pt x="108" y="61"/>
                  </a:lnTo>
                  <a:lnTo>
                    <a:pt x="110" y="61"/>
                  </a:lnTo>
                  <a:lnTo>
                    <a:pt x="110" y="63"/>
                  </a:lnTo>
                  <a:lnTo>
                    <a:pt x="108" y="61"/>
                  </a:lnTo>
                  <a:lnTo>
                    <a:pt x="106" y="61"/>
                  </a:lnTo>
                  <a:lnTo>
                    <a:pt x="106" y="63"/>
                  </a:lnTo>
                  <a:lnTo>
                    <a:pt x="108" y="63"/>
                  </a:lnTo>
                  <a:lnTo>
                    <a:pt x="106" y="63"/>
                  </a:lnTo>
                  <a:lnTo>
                    <a:pt x="106" y="65"/>
                  </a:lnTo>
                  <a:lnTo>
                    <a:pt x="106" y="63"/>
                  </a:lnTo>
                  <a:lnTo>
                    <a:pt x="106" y="65"/>
                  </a:lnTo>
                  <a:lnTo>
                    <a:pt x="108" y="65"/>
                  </a:lnTo>
                  <a:lnTo>
                    <a:pt x="106" y="65"/>
                  </a:lnTo>
                  <a:lnTo>
                    <a:pt x="106" y="67"/>
                  </a:lnTo>
                  <a:lnTo>
                    <a:pt x="106" y="65"/>
                  </a:lnTo>
                  <a:lnTo>
                    <a:pt x="104" y="65"/>
                  </a:lnTo>
                  <a:lnTo>
                    <a:pt x="104" y="63"/>
                  </a:lnTo>
                  <a:lnTo>
                    <a:pt x="102" y="63"/>
                  </a:lnTo>
                  <a:lnTo>
                    <a:pt x="104" y="63"/>
                  </a:lnTo>
                  <a:lnTo>
                    <a:pt x="102" y="63"/>
                  </a:lnTo>
                  <a:lnTo>
                    <a:pt x="102" y="61"/>
                  </a:lnTo>
                  <a:lnTo>
                    <a:pt x="102" y="63"/>
                  </a:lnTo>
                  <a:lnTo>
                    <a:pt x="104" y="63"/>
                  </a:lnTo>
                  <a:lnTo>
                    <a:pt x="104" y="65"/>
                  </a:lnTo>
                  <a:lnTo>
                    <a:pt x="104" y="67"/>
                  </a:lnTo>
                  <a:lnTo>
                    <a:pt x="104" y="65"/>
                  </a:lnTo>
                  <a:lnTo>
                    <a:pt x="104" y="67"/>
                  </a:lnTo>
                  <a:lnTo>
                    <a:pt x="102" y="67"/>
                  </a:lnTo>
                  <a:lnTo>
                    <a:pt x="104" y="67"/>
                  </a:lnTo>
                  <a:lnTo>
                    <a:pt x="104" y="69"/>
                  </a:lnTo>
                  <a:lnTo>
                    <a:pt x="104" y="71"/>
                  </a:lnTo>
                  <a:lnTo>
                    <a:pt x="104" y="69"/>
                  </a:lnTo>
                  <a:lnTo>
                    <a:pt x="102" y="69"/>
                  </a:lnTo>
                  <a:lnTo>
                    <a:pt x="104" y="69"/>
                  </a:lnTo>
                  <a:lnTo>
                    <a:pt x="104" y="71"/>
                  </a:lnTo>
                  <a:lnTo>
                    <a:pt x="104" y="69"/>
                  </a:lnTo>
                  <a:lnTo>
                    <a:pt x="104" y="71"/>
                  </a:lnTo>
                  <a:lnTo>
                    <a:pt x="102" y="71"/>
                  </a:lnTo>
                  <a:lnTo>
                    <a:pt x="104" y="71"/>
                  </a:lnTo>
                  <a:lnTo>
                    <a:pt x="102" y="71"/>
                  </a:lnTo>
                  <a:lnTo>
                    <a:pt x="104" y="71"/>
                  </a:lnTo>
                  <a:lnTo>
                    <a:pt x="102" y="71"/>
                  </a:lnTo>
                  <a:lnTo>
                    <a:pt x="104" y="71"/>
                  </a:lnTo>
                  <a:lnTo>
                    <a:pt x="104" y="69"/>
                  </a:lnTo>
                  <a:lnTo>
                    <a:pt x="102" y="69"/>
                  </a:lnTo>
                  <a:lnTo>
                    <a:pt x="102" y="71"/>
                  </a:lnTo>
                  <a:lnTo>
                    <a:pt x="104" y="71"/>
                  </a:lnTo>
                  <a:lnTo>
                    <a:pt x="102" y="71"/>
                  </a:lnTo>
                  <a:lnTo>
                    <a:pt x="102" y="69"/>
                  </a:lnTo>
                  <a:lnTo>
                    <a:pt x="102" y="71"/>
                  </a:lnTo>
                  <a:lnTo>
                    <a:pt x="102" y="69"/>
                  </a:lnTo>
                  <a:lnTo>
                    <a:pt x="102" y="71"/>
                  </a:lnTo>
                  <a:lnTo>
                    <a:pt x="104" y="71"/>
                  </a:lnTo>
                  <a:lnTo>
                    <a:pt x="102" y="71"/>
                  </a:lnTo>
                  <a:lnTo>
                    <a:pt x="104" y="71"/>
                  </a:lnTo>
                  <a:lnTo>
                    <a:pt x="102" y="71"/>
                  </a:lnTo>
                  <a:lnTo>
                    <a:pt x="102" y="73"/>
                  </a:lnTo>
                  <a:lnTo>
                    <a:pt x="100" y="73"/>
                  </a:lnTo>
                  <a:lnTo>
                    <a:pt x="98" y="73"/>
                  </a:lnTo>
                  <a:lnTo>
                    <a:pt x="100" y="73"/>
                  </a:lnTo>
                  <a:lnTo>
                    <a:pt x="102" y="73"/>
                  </a:lnTo>
                  <a:lnTo>
                    <a:pt x="100" y="73"/>
                  </a:lnTo>
                  <a:lnTo>
                    <a:pt x="100" y="71"/>
                  </a:lnTo>
                  <a:lnTo>
                    <a:pt x="100" y="69"/>
                  </a:lnTo>
                  <a:lnTo>
                    <a:pt x="100" y="71"/>
                  </a:lnTo>
                  <a:lnTo>
                    <a:pt x="100" y="69"/>
                  </a:lnTo>
                  <a:lnTo>
                    <a:pt x="100" y="71"/>
                  </a:lnTo>
                  <a:lnTo>
                    <a:pt x="98" y="71"/>
                  </a:lnTo>
                  <a:lnTo>
                    <a:pt x="98" y="69"/>
                  </a:lnTo>
                  <a:lnTo>
                    <a:pt x="98" y="67"/>
                  </a:lnTo>
                  <a:lnTo>
                    <a:pt x="98" y="69"/>
                  </a:lnTo>
                  <a:lnTo>
                    <a:pt x="98" y="71"/>
                  </a:lnTo>
                  <a:lnTo>
                    <a:pt x="100" y="71"/>
                  </a:lnTo>
                  <a:lnTo>
                    <a:pt x="100" y="73"/>
                  </a:lnTo>
                  <a:lnTo>
                    <a:pt x="98" y="73"/>
                  </a:lnTo>
                  <a:lnTo>
                    <a:pt x="98" y="71"/>
                  </a:lnTo>
                  <a:lnTo>
                    <a:pt x="96" y="71"/>
                  </a:lnTo>
                  <a:lnTo>
                    <a:pt x="98" y="71"/>
                  </a:lnTo>
                  <a:lnTo>
                    <a:pt x="96" y="71"/>
                  </a:lnTo>
                  <a:lnTo>
                    <a:pt x="98" y="71"/>
                  </a:lnTo>
                  <a:lnTo>
                    <a:pt x="98" y="73"/>
                  </a:lnTo>
                  <a:lnTo>
                    <a:pt x="98" y="71"/>
                  </a:lnTo>
                  <a:lnTo>
                    <a:pt x="98" y="73"/>
                  </a:lnTo>
                  <a:lnTo>
                    <a:pt x="98" y="71"/>
                  </a:lnTo>
                  <a:lnTo>
                    <a:pt x="98" y="73"/>
                  </a:lnTo>
                  <a:lnTo>
                    <a:pt x="100" y="73"/>
                  </a:lnTo>
                  <a:lnTo>
                    <a:pt x="98" y="73"/>
                  </a:lnTo>
                  <a:lnTo>
                    <a:pt x="98" y="75"/>
                  </a:lnTo>
                  <a:lnTo>
                    <a:pt x="98" y="73"/>
                  </a:lnTo>
                  <a:lnTo>
                    <a:pt x="98" y="71"/>
                  </a:lnTo>
                  <a:lnTo>
                    <a:pt x="96" y="71"/>
                  </a:lnTo>
                  <a:lnTo>
                    <a:pt x="96" y="69"/>
                  </a:lnTo>
                  <a:lnTo>
                    <a:pt x="96" y="67"/>
                  </a:lnTo>
                  <a:lnTo>
                    <a:pt x="94" y="67"/>
                  </a:lnTo>
                  <a:lnTo>
                    <a:pt x="94" y="65"/>
                  </a:lnTo>
                  <a:lnTo>
                    <a:pt x="94" y="67"/>
                  </a:lnTo>
                  <a:lnTo>
                    <a:pt x="92" y="67"/>
                  </a:lnTo>
                  <a:lnTo>
                    <a:pt x="92" y="65"/>
                  </a:lnTo>
                  <a:lnTo>
                    <a:pt x="92" y="63"/>
                  </a:lnTo>
                  <a:lnTo>
                    <a:pt x="94" y="63"/>
                  </a:lnTo>
                  <a:lnTo>
                    <a:pt x="92" y="63"/>
                  </a:lnTo>
                  <a:lnTo>
                    <a:pt x="94" y="63"/>
                  </a:lnTo>
                  <a:lnTo>
                    <a:pt x="94" y="61"/>
                  </a:lnTo>
                  <a:lnTo>
                    <a:pt x="94" y="59"/>
                  </a:lnTo>
                  <a:lnTo>
                    <a:pt x="94" y="61"/>
                  </a:lnTo>
                  <a:lnTo>
                    <a:pt x="94" y="59"/>
                  </a:lnTo>
                  <a:lnTo>
                    <a:pt x="94" y="57"/>
                  </a:lnTo>
                  <a:lnTo>
                    <a:pt x="94" y="59"/>
                  </a:lnTo>
                  <a:lnTo>
                    <a:pt x="92" y="59"/>
                  </a:lnTo>
                  <a:lnTo>
                    <a:pt x="94" y="59"/>
                  </a:lnTo>
                  <a:lnTo>
                    <a:pt x="92" y="59"/>
                  </a:lnTo>
                  <a:lnTo>
                    <a:pt x="94" y="59"/>
                  </a:lnTo>
                  <a:lnTo>
                    <a:pt x="92" y="59"/>
                  </a:lnTo>
                  <a:lnTo>
                    <a:pt x="92" y="57"/>
                  </a:lnTo>
                  <a:lnTo>
                    <a:pt x="94" y="57"/>
                  </a:lnTo>
                  <a:lnTo>
                    <a:pt x="92" y="57"/>
                  </a:lnTo>
                  <a:lnTo>
                    <a:pt x="94" y="57"/>
                  </a:lnTo>
                  <a:lnTo>
                    <a:pt x="92" y="57"/>
                  </a:lnTo>
                  <a:lnTo>
                    <a:pt x="94" y="57"/>
                  </a:lnTo>
                  <a:lnTo>
                    <a:pt x="92" y="57"/>
                  </a:lnTo>
                  <a:lnTo>
                    <a:pt x="92" y="59"/>
                  </a:lnTo>
                  <a:lnTo>
                    <a:pt x="94" y="59"/>
                  </a:lnTo>
                  <a:lnTo>
                    <a:pt x="94" y="61"/>
                  </a:lnTo>
                  <a:lnTo>
                    <a:pt x="92" y="61"/>
                  </a:lnTo>
                  <a:lnTo>
                    <a:pt x="94" y="61"/>
                  </a:lnTo>
                  <a:lnTo>
                    <a:pt x="92" y="61"/>
                  </a:lnTo>
                  <a:lnTo>
                    <a:pt x="94" y="61"/>
                  </a:lnTo>
                  <a:lnTo>
                    <a:pt x="92" y="61"/>
                  </a:lnTo>
                  <a:lnTo>
                    <a:pt x="92" y="63"/>
                  </a:lnTo>
                  <a:lnTo>
                    <a:pt x="92" y="65"/>
                  </a:lnTo>
                  <a:lnTo>
                    <a:pt x="92" y="63"/>
                  </a:lnTo>
                  <a:lnTo>
                    <a:pt x="92" y="65"/>
                  </a:lnTo>
                  <a:lnTo>
                    <a:pt x="90" y="65"/>
                  </a:lnTo>
                  <a:lnTo>
                    <a:pt x="90" y="63"/>
                  </a:lnTo>
                  <a:lnTo>
                    <a:pt x="90" y="65"/>
                  </a:lnTo>
                  <a:lnTo>
                    <a:pt x="90" y="63"/>
                  </a:lnTo>
                  <a:lnTo>
                    <a:pt x="88" y="63"/>
                  </a:lnTo>
                  <a:lnTo>
                    <a:pt x="86" y="63"/>
                  </a:lnTo>
                  <a:lnTo>
                    <a:pt x="84" y="61"/>
                  </a:lnTo>
                  <a:lnTo>
                    <a:pt x="84" y="59"/>
                  </a:lnTo>
                  <a:lnTo>
                    <a:pt x="84" y="57"/>
                  </a:lnTo>
                  <a:lnTo>
                    <a:pt x="82" y="57"/>
                  </a:lnTo>
                  <a:lnTo>
                    <a:pt x="80" y="57"/>
                  </a:lnTo>
                  <a:lnTo>
                    <a:pt x="80" y="55"/>
                  </a:lnTo>
                  <a:lnTo>
                    <a:pt x="80" y="53"/>
                  </a:lnTo>
                  <a:lnTo>
                    <a:pt x="80" y="51"/>
                  </a:lnTo>
                  <a:lnTo>
                    <a:pt x="78" y="51"/>
                  </a:lnTo>
                  <a:lnTo>
                    <a:pt x="76" y="51"/>
                  </a:lnTo>
                  <a:lnTo>
                    <a:pt x="76" y="53"/>
                  </a:lnTo>
                  <a:lnTo>
                    <a:pt x="74" y="53"/>
                  </a:lnTo>
                  <a:lnTo>
                    <a:pt x="72" y="53"/>
                  </a:lnTo>
                  <a:lnTo>
                    <a:pt x="70" y="53"/>
                  </a:lnTo>
                  <a:lnTo>
                    <a:pt x="70" y="55"/>
                  </a:lnTo>
                  <a:lnTo>
                    <a:pt x="68" y="55"/>
                  </a:lnTo>
                  <a:lnTo>
                    <a:pt x="66" y="55"/>
                  </a:lnTo>
                  <a:lnTo>
                    <a:pt x="64" y="55"/>
                  </a:lnTo>
                  <a:lnTo>
                    <a:pt x="64" y="57"/>
                  </a:lnTo>
                  <a:lnTo>
                    <a:pt x="64" y="57"/>
                  </a:lnTo>
                  <a:lnTo>
                    <a:pt x="64" y="55"/>
                  </a:lnTo>
                  <a:lnTo>
                    <a:pt x="64" y="57"/>
                  </a:lnTo>
                  <a:lnTo>
                    <a:pt x="62" y="57"/>
                  </a:lnTo>
                  <a:lnTo>
                    <a:pt x="60" y="57"/>
                  </a:lnTo>
                  <a:lnTo>
                    <a:pt x="58" y="57"/>
                  </a:lnTo>
                  <a:lnTo>
                    <a:pt x="56" y="59"/>
                  </a:lnTo>
                  <a:lnTo>
                    <a:pt x="54" y="59"/>
                  </a:lnTo>
                  <a:lnTo>
                    <a:pt x="52" y="59"/>
                  </a:lnTo>
                  <a:lnTo>
                    <a:pt x="50" y="59"/>
                  </a:lnTo>
                  <a:lnTo>
                    <a:pt x="50" y="61"/>
                  </a:lnTo>
                  <a:lnTo>
                    <a:pt x="48" y="61"/>
                  </a:lnTo>
                  <a:lnTo>
                    <a:pt x="46" y="61"/>
                  </a:lnTo>
                  <a:lnTo>
                    <a:pt x="44" y="61"/>
                  </a:lnTo>
                  <a:lnTo>
                    <a:pt x="44" y="63"/>
                  </a:lnTo>
                  <a:lnTo>
                    <a:pt x="42" y="63"/>
                  </a:lnTo>
                  <a:lnTo>
                    <a:pt x="40" y="63"/>
                  </a:lnTo>
                  <a:lnTo>
                    <a:pt x="38" y="63"/>
                  </a:lnTo>
                  <a:lnTo>
                    <a:pt x="36" y="65"/>
                  </a:lnTo>
                  <a:lnTo>
                    <a:pt x="34" y="65"/>
                  </a:lnTo>
                  <a:lnTo>
                    <a:pt x="32" y="65"/>
                  </a:lnTo>
                  <a:lnTo>
                    <a:pt x="30" y="65"/>
                  </a:lnTo>
                  <a:lnTo>
                    <a:pt x="30" y="67"/>
                  </a:lnTo>
                  <a:lnTo>
                    <a:pt x="28" y="67"/>
                  </a:lnTo>
                  <a:lnTo>
                    <a:pt x="28" y="69"/>
                  </a:lnTo>
                  <a:lnTo>
                    <a:pt x="26" y="69"/>
                  </a:lnTo>
                  <a:lnTo>
                    <a:pt x="26" y="67"/>
                  </a:lnTo>
                  <a:lnTo>
                    <a:pt x="24" y="67"/>
                  </a:lnTo>
                  <a:lnTo>
                    <a:pt x="22" y="69"/>
                  </a:lnTo>
                  <a:lnTo>
                    <a:pt x="20" y="69"/>
                  </a:lnTo>
                  <a:lnTo>
                    <a:pt x="18" y="69"/>
                  </a:lnTo>
                  <a:lnTo>
                    <a:pt x="16" y="69"/>
                  </a:lnTo>
                  <a:lnTo>
                    <a:pt x="16" y="71"/>
                  </a:lnTo>
                  <a:lnTo>
                    <a:pt x="16" y="71"/>
                  </a:lnTo>
                  <a:lnTo>
                    <a:pt x="14" y="71"/>
                  </a:lnTo>
                  <a:lnTo>
                    <a:pt x="12" y="71"/>
                  </a:lnTo>
                  <a:lnTo>
                    <a:pt x="10" y="73"/>
                  </a:lnTo>
                  <a:lnTo>
                    <a:pt x="8" y="73"/>
                  </a:lnTo>
                  <a:lnTo>
                    <a:pt x="6" y="73"/>
                  </a:lnTo>
                  <a:lnTo>
                    <a:pt x="4" y="73"/>
                  </a:lnTo>
                  <a:lnTo>
                    <a:pt x="4" y="75"/>
                  </a:lnTo>
                  <a:lnTo>
                    <a:pt x="2" y="75"/>
                  </a:lnTo>
                  <a:lnTo>
                    <a:pt x="0" y="75"/>
                  </a:lnTo>
                  <a:lnTo>
                    <a:pt x="0" y="73"/>
                  </a:lnTo>
                  <a:lnTo>
                    <a:pt x="0" y="71"/>
                  </a:lnTo>
                  <a:lnTo>
                    <a:pt x="0" y="69"/>
                  </a:lnTo>
                  <a:lnTo>
                    <a:pt x="0" y="67"/>
                  </a:lnTo>
                  <a:lnTo>
                    <a:pt x="0" y="65"/>
                  </a:lnTo>
                  <a:lnTo>
                    <a:pt x="0" y="63"/>
                  </a:lnTo>
                  <a:lnTo>
                    <a:pt x="0" y="61"/>
                  </a:lnTo>
                  <a:lnTo>
                    <a:pt x="0" y="59"/>
                  </a:lnTo>
                  <a:lnTo>
                    <a:pt x="0" y="57"/>
                  </a:lnTo>
                  <a:lnTo>
                    <a:pt x="0" y="55"/>
                  </a:lnTo>
                  <a:lnTo>
                    <a:pt x="0" y="53"/>
                  </a:lnTo>
                  <a:lnTo>
                    <a:pt x="0" y="51"/>
                  </a:lnTo>
                  <a:lnTo>
                    <a:pt x="0" y="49"/>
                  </a:lnTo>
                  <a:lnTo>
                    <a:pt x="0" y="47"/>
                  </a:lnTo>
                  <a:lnTo>
                    <a:pt x="0" y="45"/>
                  </a:lnTo>
                  <a:lnTo>
                    <a:pt x="0" y="43"/>
                  </a:lnTo>
                  <a:lnTo>
                    <a:pt x="0" y="41"/>
                  </a:lnTo>
                  <a:lnTo>
                    <a:pt x="0" y="39"/>
                  </a:lnTo>
                  <a:lnTo>
                    <a:pt x="0" y="37"/>
                  </a:lnTo>
                  <a:lnTo>
                    <a:pt x="0" y="35"/>
                  </a:lnTo>
                  <a:lnTo>
                    <a:pt x="2" y="35"/>
                  </a:lnTo>
                  <a:lnTo>
                    <a:pt x="4" y="35"/>
                  </a:lnTo>
                  <a:lnTo>
                    <a:pt x="6" y="35"/>
                  </a:lnTo>
                  <a:lnTo>
                    <a:pt x="6" y="35"/>
                  </a:lnTo>
                  <a:lnTo>
                    <a:pt x="8" y="35"/>
                  </a:lnTo>
                  <a:lnTo>
                    <a:pt x="10" y="35"/>
                  </a:lnTo>
                  <a:lnTo>
                    <a:pt x="12" y="35"/>
                  </a:lnTo>
                  <a:lnTo>
                    <a:pt x="14" y="35"/>
                  </a:lnTo>
                  <a:lnTo>
                    <a:pt x="14" y="33"/>
                  </a:lnTo>
                  <a:lnTo>
                    <a:pt x="16" y="33"/>
                  </a:lnTo>
                  <a:lnTo>
                    <a:pt x="16" y="33"/>
                  </a:lnTo>
                  <a:lnTo>
                    <a:pt x="18" y="33"/>
                  </a:lnTo>
                  <a:lnTo>
                    <a:pt x="20" y="30"/>
                  </a:lnTo>
                  <a:lnTo>
                    <a:pt x="22" y="30"/>
                  </a:lnTo>
                  <a:lnTo>
                    <a:pt x="24" y="30"/>
                  </a:lnTo>
                  <a:lnTo>
                    <a:pt x="26" y="30"/>
                  </a:lnTo>
                  <a:lnTo>
                    <a:pt x="26" y="28"/>
                  </a:lnTo>
                  <a:lnTo>
                    <a:pt x="28" y="28"/>
                  </a:lnTo>
                  <a:lnTo>
                    <a:pt x="30" y="28"/>
                  </a:lnTo>
                  <a:lnTo>
                    <a:pt x="32" y="28"/>
                  </a:lnTo>
                  <a:lnTo>
                    <a:pt x="34" y="28"/>
                  </a:lnTo>
                  <a:lnTo>
                    <a:pt x="34" y="26"/>
                  </a:lnTo>
                  <a:lnTo>
                    <a:pt x="36" y="26"/>
                  </a:lnTo>
                  <a:lnTo>
                    <a:pt x="38" y="26"/>
                  </a:lnTo>
                  <a:lnTo>
                    <a:pt x="40" y="26"/>
                  </a:lnTo>
                  <a:lnTo>
                    <a:pt x="40" y="24"/>
                  </a:lnTo>
                  <a:lnTo>
                    <a:pt x="42" y="24"/>
                  </a:lnTo>
                  <a:lnTo>
                    <a:pt x="44" y="24"/>
                  </a:lnTo>
                  <a:lnTo>
                    <a:pt x="46" y="24"/>
                  </a:lnTo>
                  <a:lnTo>
                    <a:pt x="48" y="24"/>
                  </a:lnTo>
                  <a:lnTo>
                    <a:pt x="48" y="22"/>
                  </a:lnTo>
                  <a:lnTo>
                    <a:pt x="50" y="22"/>
                  </a:lnTo>
                  <a:lnTo>
                    <a:pt x="52" y="22"/>
                  </a:lnTo>
                  <a:lnTo>
                    <a:pt x="54" y="22"/>
                  </a:lnTo>
                  <a:lnTo>
                    <a:pt x="54" y="20"/>
                  </a:lnTo>
                  <a:lnTo>
                    <a:pt x="56" y="20"/>
                  </a:lnTo>
                  <a:lnTo>
                    <a:pt x="58" y="20"/>
                  </a:lnTo>
                  <a:lnTo>
                    <a:pt x="60" y="20"/>
                  </a:lnTo>
                  <a:lnTo>
                    <a:pt x="62" y="20"/>
                  </a:lnTo>
                  <a:lnTo>
                    <a:pt x="62" y="18"/>
                  </a:lnTo>
                  <a:lnTo>
                    <a:pt x="64" y="18"/>
                  </a:lnTo>
                  <a:lnTo>
                    <a:pt x="64" y="18"/>
                  </a:lnTo>
                  <a:lnTo>
                    <a:pt x="66" y="18"/>
                  </a:lnTo>
                  <a:lnTo>
                    <a:pt x="66" y="16"/>
                  </a:lnTo>
                  <a:lnTo>
                    <a:pt x="68" y="16"/>
                  </a:lnTo>
                  <a:lnTo>
                    <a:pt x="70" y="16"/>
                  </a:lnTo>
                  <a:lnTo>
                    <a:pt x="70" y="14"/>
                  </a:lnTo>
                  <a:lnTo>
                    <a:pt x="72" y="14"/>
                  </a:lnTo>
                  <a:lnTo>
                    <a:pt x="72" y="12"/>
                  </a:lnTo>
                  <a:lnTo>
                    <a:pt x="74" y="12"/>
                  </a:lnTo>
                  <a:lnTo>
                    <a:pt x="74" y="10"/>
                  </a:lnTo>
                  <a:lnTo>
                    <a:pt x="74" y="8"/>
                  </a:lnTo>
                  <a:lnTo>
                    <a:pt x="76" y="8"/>
                  </a:lnTo>
                  <a:lnTo>
                    <a:pt x="78" y="8"/>
                  </a:lnTo>
                  <a:lnTo>
                    <a:pt x="78" y="6"/>
                  </a:lnTo>
                  <a:lnTo>
                    <a:pt x="78" y="4"/>
                  </a:lnTo>
                  <a:lnTo>
                    <a:pt x="80" y="4"/>
                  </a:lnTo>
                  <a:lnTo>
                    <a:pt x="80" y="2"/>
                  </a:lnTo>
                  <a:lnTo>
                    <a:pt x="82" y="2"/>
                  </a:lnTo>
                  <a:lnTo>
                    <a:pt x="84" y="2"/>
                  </a:lnTo>
                  <a:lnTo>
                    <a:pt x="86" y="2"/>
                  </a:lnTo>
                  <a:lnTo>
                    <a:pt x="86" y="0"/>
                  </a:lnTo>
                  <a:lnTo>
                    <a:pt x="86" y="2"/>
                  </a:lnTo>
                  <a:lnTo>
                    <a:pt x="86" y="4"/>
                  </a:lnTo>
                  <a:lnTo>
                    <a:pt x="84" y="4"/>
                  </a:lnTo>
                  <a:lnTo>
                    <a:pt x="86" y="4"/>
                  </a:lnTo>
                  <a:lnTo>
                    <a:pt x="88" y="4"/>
                  </a:lnTo>
                  <a:lnTo>
                    <a:pt x="88" y="6"/>
                  </a:lnTo>
                  <a:lnTo>
                    <a:pt x="88" y="8"/>
                  </a:lnTo>
                  <a:lnTo>
                    <a:pt x="90" y="8"/>
                  </a:lnTo>
                  <a:lnTo>
                    <a:pt x="88" y="8"/>
                  </a:lnTo>
                  <a:lnTo>
                    <a:pt x="88" y="6"/>
                  </a:lnTo>
                  <a:lnTo>
                    <a:pt x="88" y="4"/>
                  </a:lnTo>
                  <a:lnTo>
                    <a:pt x="88" y="6"/>
                  </a:lnTo>
                  <a:lnTo>
                    <a:pt x="86" y="6"/>
                  </a:lnTo>
                  <a:lnTo>
                    <a:pt x="86" y="8"/>
                  </a:lnTo>
                  <a:lnTo>
                    <a:pt x="86" y="6"/>
                  </a:lnTo>
                  <a:lnTo>
                    <a:pt x="88" y="6"/>
                  </a:lnTo>
                  <a:lnTo>
                    <a:pt x="88" y="8"/>
                  </a:lnTo>
                  <a:lnTo>
                    <a:pt x="88" y="6"/>
                  </a:lnTo>
                  <a:lnTo>
                    <a:pt x="86" y="6"/>
                  </a:lnTo>
                  <a:lnTo>
                    <a:pt x="86" y="8"/>
                  </a:lnTo>
                  <a:lnTo>
                    <a:pt x="88" y="8"/>
                  </a:lnTo>
                  <a:lnTo>
                    <a:pt x="88" y="6"/>
                  </a:lnTo>
                  <a:lnTo>
                    <a:pt x="88" y="8"/>
                  </a:lnTo>
                  <a:lnTo>
                    <a:pt x="88" y="6"/>
                  </a:lnTo>
                  <a:lnTo>
                    <a:pt x="88" y="8"/>
                  </a:lnTo>
                  <a:lnTo>
                    <a:pt x="86" y="8"/>
                  </a:lnTo>
                  <a:lnTo>
                    <a:pt x="88" y="8"/>
                  </a:lnTo>
                  <a:lnTo>
                    <a:pt x="86" y="8"/>
                  </a:lnTo>
                  <a:lnTo>
                    <a:pt x="88" y="8"/>
                  </a:lnTo>
                  <a:lnTo>
                    <a:pt x="88" y="10"/>
                  </a:lnTo>
                  <a:lnTo>
                    <a:pt x="88" y="8"/>
                  </a:lnTo>
                  <a:lnTo>
                    <a:pt x="90" y="8"/>
                  </a:lnTo>
                  <a:lnTo>
                    <a:pt x="90" y="10"/>
                  </a:lnTo>
                  <a:lnTo>
                    <a:pt x="88" y="10"/>
                  </a:lnTo>
                  <a:lnTo>
                    <a:pt x="90" y="10"/>
                  </a:lnTo>
                  <a:lnTo>
                    <a:pt x="88" y="10"/>
                  </a:lnTo>
                  <a:lnTo>
                    <a:pt x="90" y="10"/>
                  </a:lnTo>
                  <a:lnTo>
                    <a:pt x="88" y="10"/>
                  </a:lnTo>
                  <a:lnTo>
                    <a:pt x="90" y="10"/>
                  </a:lnTo>
                  <a:lnTo>
                    <a:pt x="88" y="10"/>
                  </a:lnTo>
                  <a:lnTo>
                    <a:pt x="88" y="12"/>
                  </a:lnTo>
                  <a:lnTo>
                    <a:pt x="88" y="10"/>
                  </a:lnTo>
                  <a:lnTo>
                    <a:pt x="90" y="10"/>
                  </a:lnTo>
                  <a:lnTo>
                    <a:pt x="92" y="10"/>
                  </a:lnTo>
                  <a:lnTo>
                    <a:pt x="90" y="10"/>
                  </a:lnTo>
                  <a:lnTo>
                    <a:pt x="90" y="12"/>
                  </a:lnTo>
                  <a:lnTo>
                    <a:pt x="90" y="10"/>
                  </a:lnTo>
                  <a:lnTo>
                    <a:pt x="90" y="12"/>
                  </a:lnTo>
                  <a:lnTo>
                    <a:pt x="90" y="10"/>
                  </a:lnTo>
                  <a:lnTo>
                    <a:pt x="92" y="10"/>
                  </a:lnTo>
                  <a:lnTo>
                    <a:pt x="90" y="10"/>
                  </a:lnTo>
                  <a:lnTo>
                    <a:pt x="92" y="10"/>
                  </a:lnTo>
                  <a:lnTo>
                    <a:pt x="90" y="10"/>
                  </a:lnTo>
                  <a:lnTo>
                    <a:pt x="90" y="12"/>
                  </a:lnTo>
                  <a:lnTo>
                    <a:pt x="92" y="12"/>
                  </a:lnTo>
                  <a:lnTo>
                    <a:pt x="90" y="12"/>
                  </a:lnTo>
                  <a:lnTo>
                    <a:pt x="90" y="10"/>
                  </a:lnTo>
                  <a:lnTo>
                    <a:pt x="92" y="10"/>
                  </a:lnTo>
                  <a:lnTo>
                    <a:pt x="92" y="12"/>
                  </a:lnTo>
                  <a:lnTo>
                    <a:pt x="92" y="10"/>
                  </a:lnTo>
                  <a:lnTo>
                    <a:pt x="92" y="12"/>
                  </a:lnTo>
                  <a:lnTo>
                    <a:pt x="92" y="10"/>
                  </a:lnTo>
                  <a:lnTo>
                    <a:pt x="92" y="12"/>
                  </a:lnTo>
                  <a:lnTo>
                    <a:pt x="94" y="12"/>
                  </a:lnTo>
                  <a:lnTo>
                    <a:pt x="92" y="12"/>
                  </a:lnTo>
                  <a:lnTo>
                    <a:pt x="94" y="10"/>
                  </a:lnTo>
                  <a:lnTo>
                    <a:pt x="92" y="10"/>
                  </a:lnTo>
                  <a:lnTo>
                    <a:pt x="94" y="10"/>
                  </a:lnTo>
                  <a:lnTo>
                    <a:pt x="94" y="12"/>
                  </a:lnTo>
                  <a:lnTo>
                    <a:pt x="94" y="10"/>
                  </a:lnTo>
                  <a:lnTo>
                    <a:pt x="96" y="10"/>
                  </a:lnTo>
                  <a:lnTo>
                    <a:pt x="96" y="12"/>
                  </a:lnTo>
                  <a:lnTo>
                    <a:pt x="96" y="10"/>
                  </a:lnTo>
                  <a:lnTo>
                    <a:pt x="94" y="10"/>
                  </a:lnTo>
                  <a:lnTo>
                    <a:pt x="96" y="10"/>
                  </a:lnTo>
                  <a:lnTo>
                    <a:pt x="94" y="10"/>
                  </a:lnTo>
                  <a:lnTo>
                    <a:pt x="94" y="8"/>
                  </a:lnTo>
                  <a:lnTo>
                    <a:pt x="96" y="8"/>
                  </a:lnTo>
                  <a:close/>
                  <a:moveTo>
                    <a:pt x="124" y="35"/>
                  </a:moveTo>
                  <a:lnTo>
                    <a:pt x="124" y="33"/>
                  </a:lnTo>
                  <a:lnTo>
                    <a:pt x="124" y="35"/>
                  </a:lnTo>
                  <a:lnTo>
                    <a:pt x="124" y="33"/>
                  </a:lnTo>
                  <a:lnTo>
                    <a:pt x="124" y="35"/>
                  </a:lnTo>
                  <a:lnTo>
                    <a:pt x="124" y="33"/>
                  </a:lnTo>
                  <a:lnTo>
                    <a:pt x="124" y="35"/>
                  </a:lnTo>
                  <a:lnTo>
                    <a:pt x="124" y="33"/>
                  </a:lnTo>
                  <a:lnTo>
                    <a:pt x="124" y="35"/>
                  </a:lnTo>
                  <a:lnTo>
                    <a:pt x="124" y="33"/>
                  </a:lnTo>
                  <a:lnTo>
                    <a:pt x="124" y="35"/>
                  </a:lnTo>
                  <a:close/>
                </a:path>
              </a:pathLst>
            </a:custGeom>
            <a:solidFill>
              <a:srgbClr val="0099FF"/>
            </a:solidFill>
            <a:ln w="3175">
              <a:solidFill>
                <a:sysClr val="window" lastClr="FFFF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black"/>
                </a:solidFill>
                <a:effectLst/>
                <a:uLnTx/>
                <a:uFillTx/>
                <a:ea typeface="宋体" panose="02010600030101010101" pitchFamily="2" charset="-122"/>
              </a:endParaRPr>
            </a:p>
          </p:txBody>
        </p:sp>
        <p:sp>
          <p:nvSpPr>
            <p:cNvPr id="49" name="Freeform 1155">
              <a:extLst>
                <a:ext uri="{FF2B5EF4-FFF2-40B4-BE49-F238E27FC236}">
                  <a16:creationId xmlns:a16="http://schemas.microsoft.com/office/drawing/2014/main" id="{F1194FD0-B5B9-5AA9-A2FA-2059EB84678C}"/>
                </a:ext>
              </a:extLst>
            </p:cNvPr>
            <p:cNvSpPr>
              <a:spLocks noEditPoints="1"/>
            </p:cNvSpPr>
            <p:nvPr/>
          </p:nvSpPr>
          <p:spPr bwMode="auto">
            <a:xfrm>
              <a:off x="6537325" y="3154362"/>
              <a:ext cx="73025" cy="114300"/>
            </a:xfrm>
            <a:custGeom>
              <a:avLst/>
              <a:gdLst>
                <a:gd name="T0" fmla="*/ 22 w 46"/>
                <a:gd name="T1" fmla="*/ 28 h 72"/>
                <a:gd name="T2" fmla="*/ 18 w 46"/>
                <a:gd name="T3" fmla="*/ 26 h 72"/>
                <a:gd name="T4" fmla="*/ 18 w 46"/>
                <a:gd name="T5" fmla="*/ 26 h 72"/>
                <a:gd name="T6" fmla="*/ 6 w 46"/>
                <a:gd name="T7" fmla="*/ 0 h 72"/>
                <a:gd name="T8" fmla="*/ 14 w 46"/>
                <a:gd name="T9" fmla="*/ 2 h 72"/>
                <a:gd name="T10" fmla="*/ 10 w 46"/>
                <a:gd name="T11" fmla="*/ 8 h 72"/>
                <a:gd name="T12" fmla="*/ 10 w 46"/>
                <a:gd name="T13" fmla="*/ 14 h 72"/>
                <a:gd name="T14" fmla="*/ 12 w 46"/>
                <a:gd name="T15" fmla="*/ 18 h 72"/>
                <a:gd name="T16" fmla="*/ 10 w 46"/>
                <a:gd name="T17" fmla="*/ 20 h 72"/>
                <a:gd name="T18" fmla="*/ 16 w 46"/>
                <a:gd name="T19" fmla="*/ 24 h 72"/>
                <a:gd name="T20" fmla="*/ 18 w 46"/>
                <a:gd name="T21" fmla="*/ 24 h 72"/>
                <a:gd name="T22" fmla="*/ 20 w 46"/>
                <a:gd name="T23" fmla="*/ 28 h 72"/>
                <a:gd name="T24" fmla="*/ 20 w 46"/>
                <a:gd name="T25" fmla="*/ 30 h 72"/>
                <a:gd name="T26" fmla="*/ 20 w 46"/>
                <a:gd name="T27" fmla="*/ 28 h 72"/>
                <a:gd name="T28" fmla="*/ 20 w 46"/>
                <a:gd name="T29" fmla="*/ 30 h 72"/>
                <a:gd name="T30" fmla="*/ 22 w 46"/>
                <a:gd name="T31" fmla="*/ 30 h 72"/>
                <a:gd name="T32" fmla="*/ 22 w 46"/>
                <a:gd name="T33" fmla="*/ 32 h 72"/>
                <a:gd name="T34" fmla="*/ 22 w 46"/>
                <a:gd name="T35" fmla="*/ 34 h 72"/>
                <a:gd name="T36" fmla="*/ 24 w 46"/>
                <a:gd name="T37" fmla="*/ 40 h 72"/>
                <a:gd name="T38" fmla="*/ 24 w 46"/>
                <a:gd name="T39" fmla="*/ 38 h 72"/>
                <a:gd name="T40" fmla="*/ 28 w 46"/>
                <a:gd name="T41" fmla="*/ 44 h 72"/>
                <a:gd name="T42" fmla="*/ 32 w 46"/>
                <a:gd name="T43" fmla="*/ 46 h 72"/>
                <a:gd name="T44" fmla="*/ 34 w 46"/>
                <a:gd name="T45" fmla="*/ 50 h 72"/>
                <a:gd name="T46" fmla="*/ 36 w 46"/>
                <a:gd name="T47" fmla="*/ 50 h 72"/>
                <a:gd name="T48" fmla="*/ 40 w 46"/>
                <a:gd name="T49" fmla="*/ 48 h 72"/>
                <a:gd name="T50" fmla="*/ 42 w 46"/>
                <a:gd name="T51" fmla="*/ 56 h 72"/>
                <a:gd name="T52" fmla="*/ 42 w 46"/>
                <a:gd name="T53" fmla="*/ 58 h 72"/>
                <a:gd name="T54" fmla="*/ 40 w 46"/>
                <a:gd name="T55" fmla="*/ 54 h 72"/>
                <a:gd name="T56" fmla="*/ 40 w 46"/>
                <a:gd name="T57" fmla="*/ 56 h 72"/>
                <a:gd name="T58" fmla="*/ 38 w 46"/>
                <a:gd name="T59" fmla="*/ 56 h 72"/>
                <a:gd name="T60" fmla="*/ 40 w 46"/>
                <a:gd name="T61" fmla="*/ 56 h 72"/>
                <a:gd name="T62" fmla="*/ 38 w 46"/>
                <a:gd name="T63" fmla="*/ 56 h 72"/>
                <a:gd name="T64" fmla="*/ 38 w 46"/>
                <a:gd name="T65" fmla="*/ 58 h 72"/>
                <a:gd name="T66" fmla="*/ 40 w 46"/>
                <a:gd name="T67" fmla="*/ 58 h 72"/>
                <a:gd name="T68" fmla="*/ 40 w 46"/>
                <a:gd name="T69" fmla="*/ 60 h 72"/>
                <a:gd name="T70" fmla="*/ 36 w 46"/>
                <a:gd name="T71" fmla="*/ 62 h 72"/>
                <a:gd name="T72" fmla="*/ 38 w 46"/>
                <a:gd name="T73" fmla="*/ 62 h 72"/>
                <a:gd name="T74" fmla="*/ 38 w 46"/>
                <a:gd name="T75" fmla="*/ 64 h 72"/>
                <a:gd name="T76" fmla="*/ 40 w 46"/>
                <a:gd name="T77" fmla="*/ 60 h 72"/>
                <a:gd name="T78" fmla="*/ 42 w 46"/>
                <a:gd name="T79" fmla="*/ 60 h 72"/>
                <a:gd name="T80" fmla="*/ 44 w 46"/>
                <a:gd name="T81" fmla="*/ 58 h 72"/>
                <a:gd name="T82" fmla="*/ 46 w 46"/>
                <a:gd name="T83" fmla="*/ 66 h 72"/>
                <a:gd name="T84" fmla="*/ 38 w 46"/>
                <a:gd name="T85" fmla="*/ 68 h 72"/>
                <a:gd name="T86" fmla="*/ 30 w 46"/>
                <a:gd name="T87" fmla="*/ 70 h 72"/>
                <a:gd name="T88" fmla="*/ 22 w 46"/>
                <a:gd name="T89" fmla="*/ 72 h 72"/>
                <a:gd name="T90" fmla="*/ 20 w 46"/>
                <a:gd name="T91" fmla="*/ 66 h 72"/>
                <a:gd name="T92" fmla="*/ 16 w 46"/>
                <a:gd name="T93" fmla="*/ 62 h 72"/>
                <a:gd name="T94" fmla="*/ 14 w 46"/>
                <a:gd name="T95" fmla="*/ 54 h 72"/>
                <a:gd name="T96" fmla="*/ 12 w 46"/>
                <a:gd name="T97" fmla="*/ 46 h 72"/>
                <a:gd name="T98" fmla="*/ 10 w 46"/>
                <a:gd name="T99" fmla="*/ 38 h 72"/>
                <a:gd name="T100" fmla="*/ 6 w 46"/>
                <a:gd name="T101" fmla="*/ 32 h 72"/>
                <a:gd name="T102" fmla="*/ 4 w 46"/>
                <a:gd name="T103" fmla="*/ 24 h 72"/>
                <a:gd name="T104" fmla="*/ 2 w 46"/>
                <a:gd name="T105" fmla="*/ 16 h 72"/>
                <a:gd name="T106" fmla="*/ 0 w 46"/>
                <a:gd name="T107" fmla="*/ 6 h 72"/>
                <a:gd name="T108" fmla="*/ 6 w 46"/>
                <a:gd name="T109" fmla="*/ 0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6" h="72">
                  <a:moveTo>
                    <a:pt x="20" y="26"/>
                  </a:moveTo>
                  <a:lnTo>
                    <a:pt x="20" y="28"/>
                  </a:lnTo>
                  <a:lnTo>
                    <a:pt x="22" y="28"/>
                  </a:lnTo>
                  <a:lnTo>
                    <a:pt x="22" y="30"/>
                  </a:lnTo>
                  <a:lnTo>
                    <a:pt x="22" y="28"/>
                  </a:lnTo>
                  <a:lnTo>
                    <a:pt x="20" y="28"/>
                  </a:lnTo>
                  <a:lnTo>
                    <a:pt x="20" y="26"/>
                  </a:lnTo>
                  <a:lnTo>
                    <a:pt x="20" y="28"/>
                  </a:lnTo>
                  <a:lnTo>
                    <a:pt x="18" y="28"/>
                  </a:lnTo>
                  <a:lnTo>
                    <a:pt x="18" y="26"/>
                  </a:lnTo>
                  <a:lnTo>
                    <a:pt x="20" y="26"/>
                  </a:lnTo>
                  <a:close/>
                  <a:moveTo>
                    <a:pt x="18" y="24"/>
                  </a:moveTo>
                  <a:lnTo>
                    <a:pt x="18" y="26"/>
                  </a:lnTo>
                  <a:lnTo>
                    <a:pt x="20" y="26"/>
                  </a:lnTo>
                  <a:lnTo>
                    <a:pt x="18" y="26"/>
                  </a:lnTo>
                  <a:lnTo>
                    <a:pt x="18" y="24"/>
                  </a:lnTo>
                  <a:close/>
                  <a:moveTo>
                    <a:pt x="10" y="14"/>
                  </a:moveTo>
                  <a:lnTo>
                    <a:pt x="10" y="12"/>
                  </a:lnTo>
                  <a:lnTo>
                    <a:pt x="10" y="14"/>
                  </a:lnTo>
                  <a:close/>
                  <a:moveTo>
                    <a:pt x="6" y="0"/>
                  </a:moveTo>
                  <a:lnTo>
                    <a:pt x="8" y="0"/>
                  </a:lnTo>
                  <a:lnTo>
                    <a:pt x="10" y="0"/>
                  </a:lnTo>
                  <a:lnTo>
                    <a:pt x="12" y="0"/>
                  </a:lnTo>
                  <a:lnTo>
                    <a:pt x="14" y="0"/>
                  </a:lnTo>
                  <a:lnTo>
                    <a:pt x="14" y="2"/>
                  </a:lnTo>
                  <a:lnTo>
                    <a:pt x="12" y="2"/>
                  </a:lnTo>
                  <a:lnTo>
                    <a:pt x="12" y="4"/>
                  </a:lnTo>
                  <a:lnTo>
                    <a:pt x="12" y="6"/>
                  </a:lnTo>
                  <a:lnTo>
                    <a:pt x="10" y="6"/>
                  </a:lnTo>
                  <a:lnTo>
                    <a:pt x="10" y="8"/>
                  </a:lnTo>
                  <a:lnTo>
                    <a:pt x="10" y="10"/>
                  </a:lnTo>
                  <a:lnTo>
                    <a:pt x="8" y="10"/>
                  </a:lnTo>
                  <a:lnTo>
                    <a:pt x="8" y="12"/>
                  </a:lnTo>
                  <a:lnTo>
                    <a:pt x="8" y="14"/>
                  </a:lnTo>
                  <a:lnTo>
                    <a:pt x="10" y="14"/>
                  </a:lnTo>
                  <a:lnTo>
                    <a:pt x="10" y="16"/>
                  </a:lnTo>
                  <a:lnTo>
                    <a:pt x="12" y="16"/>
                  </a:lnTo>
                  <a:lnTo>
                    <a:pt x="10" y="16"/>
                  </a:lnTo>
                  <a:lnTo>
                    <a:pt x="12" y="16"/>
                  </a:lnTo>
                  <a:lnTo>
                    <a:pt x="12" y="18"/>
                  </a:lnTo>
                  <a:lnTo>
                    <a:pt x="10" y="18"/>
                  </a:lnTo>
                  <a:lnTo>
                    <a:pt x="10" y="18"/>
                  </a:lnTo>
                  <a:lnTo>
                    <a:pt x="12" y="18"/>
                  </a:lnTo>
                  <a:lnTo>
                    <a:pt x="12" y="20"/>
                  </a:lnTo>
                  <a:lnTo>
                    <a:pt x="10" y="20"/>
                  </a:lnTo>
                  <a:lnTo>
                    <a:pt x="12" y="20"/>
                  </a:lnTo>
                  <a:lnTo>
                    <a:pt x="14" y="20"/>
                  </a:lnTo>
                  <a:lnTo>
                    <a:pt x="14" y="22"/>
                  </a:lnTo>
                  <a:lnTo>
                    <a:pt x="16" y="22"/>
                  </a:lnTo>
                  <a:lnTo>
                    <a:pt x="16" y="24"/>
                  </a:lnTo>
                  <a:lnTo>
                    <a:pt x="16" y="26"/>
                  </a:lnTo>
                  <a:lnTo>
                    <a:pt x="16" y="24"/>
                  </a:lnTo>
                  <a:lnTo>
                    <a:pt x="16" y="26"/>
                  </a:lnTo>
                  <a:lnTo>
                    <a:pt x="16" y="24"/>
                  </a:lnTo>
                  <a:lnTo>
                    <a:pt x="18" y="24"/>
                  </a:lnTo>
                  <a:lnTo>
                    <a:pt x="18" y="26"/>
                  </a:lnTo>
                  <a:lnTo>
                    <a:pt x="20" y="26"/>
                  </a:lnTo>
                  <a:lnTo>
                    <a:pt x="18" y="26"/>
                  </a:lnTo>
                  <a:lnTo>
                    <a:pt x="18" y="28"/>
                  </a:lnTo>
                  <a:lnTo>
                    <a:pt x="20" y="28"/>
                  </a:lnTo>
                  <a:lnTo>
                    <a:pt x="20" y="26"/>
                  </a:lnTo>
                  <a:lnTo>
                    <a:pt x="20" y="28"/>
                  </a:lnTo>
                  <a:lnTo>
                    <a:pt x="22" y="28"/>
                  </a:lnTo>
                  <a:lnTo>
                    <a:pt x="20" y="28"/>
                  </a:lnTo>
                  <a:lnTo>
                    <a:pt x="20" y="30"/>
                  </a:lnTo>
                  <a:lnTo>
                    <a:pt x="18" y="30"/>
                  </a:lnTo>
                  <a:lnTo>
                    <a:pt x="16" y="30"/>
                  </a:lnTo>
                  <a:lnTo>
                    <a:pt x="18" y="30"/>
                  </a:lnTo>
                  <a:lnTo>
                    <a:pt x="20" y="30"/>
                  </a:lnTo>
                  <a:lnTo>
                    <a:pt x="20" y="28"/>
                  </a:lnTo>
                  <a:lnTo>
                    <a:pt x="22" y="28"/>
                  </a:lnTo>
                  <a:lnTo>
                    <a:pt x="22" y="30"/>
                  </a:lnTo>
                  <a:lnTo>
                    <a:pt x="22" y="28"/>
                  </a:lnTo>
                  <a:lnTo>
                    <a:pt x="22" y="30"/>
                  </a:lnTo>
                  <a:lnTo>
                    <a:pt x="20" y="30"/>
                  </a:lnTo>
                  <a:lnTo>
                    <a:pt x="22" y="30"/>
                  </a:lnTo>
                  <a:lnTo>
                    <a:pt x="22" y="30"/>
                  </a:lnTo>
                  <a:lnTo>
                    <a:pt x="22" y="32"/>
                  </a:lnTo>
                  <a:lnTo>
                    <a:pt x="22" y="32"/>
                  </a:lnTo>
                  <a:lnTo>
                    <a:pt x="22" y="30"/>
                  </a:lnTo>
                  <a:lnTo>
                    <a:pt x="22" y="32"/>
                  </a:lnTo>
                  <a:lnTo>
                    <a:pt x="22" y="30"/>
                  </a:lnTo>
                  <a:lnTo>
                    <a:pt x="22" y="32"/>
                  </a:lnTo>
                  <a:lnTo>
                    <a:pt x="22" y="32"/>
                  </a:lnTo>
                  <a:lnTo>
                    <a:pt x="22" y="32"/>
                  </a:lnTo>
                  <a:lnTo>
                    <a:pt x="22" y="34"/>
                  </a:lnTo>
                  <a:lnTo>
                    <a:pt x="22" y="34"/>
                  </a:lnTo>
                  <a:lnTo>
                    <a:pt x="22" y="34"/>
                  </a:lnTo>
                  <a:lnTo>
                    <a:pt x="22" y="34"/>
                  </a:lnTo>
                  <a:lnTo>
                    <a:pt x="22" y="34"/>
                  </a:lnTo>
                  <a:lnTo>
                    <a:pt x="22" y="34"/>
                  </a:lnTo>
                  <a:lnTo>
                    <a:pt x="22" y="36"/>
                  </a:lnTo>
                  <a:lnTo>
                    <a:pt x="22" y="38"/>
                  </a:lnTo>
                  <a:lnTo>
                    <a:pt x="24" y="38"/>
                  </a:lnTo>
                  <a:lnTo>
                    <a:pt x="24" y="40"/>
                  </a:lnTo>
                  <a:lnTo>
                    <a:pt x="22" y="40"/>
                  </a:lnTo>
                  <a:lnTo>
                    <a:pt x="24" y="40"/>
                  </a:lnTo>
                  <a:lnTo>
                    <a:pt x="24" y="38"/>
                  </a:lnTo>
                  <a:lnTo>
                    <a:pt x="22" y="38"/>
                  </a:lnTo>
                  <a:lnTo>
                    <a:pt x="24" y="38"/>
                  </a:lnTo>
                  <a:lnTo>
                    <a:pt x="24" y="40"/>
                  </a:lnTo>
                  <a:lnTo>
                    <a:pt x="26" y="40"/>
                  </a:lnTo>
                  <a:lnTo>
                    <a:pt x="26" y="42"/>
                  </a:lnTo>
                  <a:lnTo>
                    <a:pt x="28" y="42"/>
                  </a:lnTo>
                  <a:lnTo>
                    <a:pt x="28" y="44"/>
                  </a:lnTo>
                  <a:lnTo>
                    <a:pt x="26" y="44"/>
                  </a:lnTo>
                  <a:lnTo>
                    <a:pt x="28" y="44"/>
                  </a:lnTo>
                  <a:lnTo>
                    <a:pt x="28" y="46"/>
                  </a:lnTo>
                  <a:lnTo>
                    <a:pt x="30" y="46"/>
                  </a:lnTo>
                  <a:lnTo>
                    <a:pt x="32" y="46"/>
                  </a:lnTo>
                  <a:lnTo>
                    <a:pt x="32" y="48"/>
                  </a:lnTo>
                  <a:lnTo>
                    <a:pt x="34" y="48"/>
                  </a:lnTo>
                  <a:lnTo>
                    <a:pt x="34" y="50"/>
                  </a:lnTo>
                  <a:lnTo>
                    <a:pt x="36" y="50"/>
                  </a:lnTo>
                  <a:lnTo>
                    <a:pt x="34" y="50"/>
                  </a:lnTo>
                  <a:lnTo>
                    <a:pt x="32" y="50"/>
                  </a:lnTo>
                  <a:lnTo>
                    <a:pt x="32" y="52"/>
                  </a:lnTo>
                  <a:lnTo>
                    <a:pt x="32" y="50"/>
                  </a:lnTo>
                  <a:lnTo>
                    <a:pt x="34" y="50"/>
                  </a:lnTo>
                  <a:lnTo>
                    <a:pt x="36" y="50"/>
                  </a:lnTo>
                  <a:lnTo>
                    <a:pt x="38" y="50"/>
                  </a:lnTo>
                  <a:lnTo>
                    <a:pt x="36" y="50"/>
                  </a:lnTo>
                  <a:lnTo>
                    <a:pt x="38" y="50"/>
                  </a:lnTo>
                  <a:lnTo>
                    <a:pt x="40" y="50"/>
                  </a:lnTo>
                  <a:lnTo>
                    <a:pt x="40" y="48"/>
                  </a:lnTo>
                  <a:lnTo>
                    <a:pt x="40" y="50"/>
                  </a:lnTo>
                  <a:lnTo>
                    <a:pt x="40" y="52"/>
                  </a:lnTo>
                  <a:lnTo>
                    <a:pt x="42" y="52"/>
                  </a:lnTo>
                  <a:lnTo>
                    <a:pt x="42" y="54"/>
                  </a:lnTo>
                  <a:lnTo>
                    <a:pt x="42" y="56"/>
                  </a:lnTo>
                  <a:lnTo>
                    <a:pt x="42" y="58"/>
                  </a:lnTo>
                  <a:lnTo>
                    <a:pt x="44" y="58"/>
                  </a:lnTo>
                  <a:lnTo>
                    <a:pt x="42" y="58"/>
                  </a:lnTo>
                  <a:lnTo>
                    <a:pt x="44" y="58"/>
                  </a:lnTo>
                  <a:lnTo>
                    <a:pt x="42" y="58"/>
                  </a:lnTo>
                  <a:lnTo>
                    <a:pt x="44" y="58"/>
                  </a:lnTo>
                  <a:lnTo>
                    <a:pt x="42" y="58"/>
                  </a:lnTo>
                  <a:lnTo>
                    <a:pt x="42" y="56"/>
                  </a:lnTo>
                  <a:lnTo>
                    <a:pt x="42" y="54"/>
                  </a:lnTo>
                  <a:lnTo>
                    <a:pt x="40" y="54"/>
                  </a:lnTo>
                  <a:lnTo>
                    <a:pt x="42" y="54"/>
                  </a:lnTo>
                  <a:lnTo>
                    <a:pt x="40" y="54"/>
                  </a:lnTo>
                  <a:lnTo>
                    <a:pt x="40" y="56"/>
                  </a:lnTo>
                  <a:lnTo>
                    <a:pt x="40" y="54"/>
                  </a:lnTo>
                  <a:lnTo>
                    <a:pt x="40" y="56"/>
                  </a:lnTo>
                  <a:lnTo>
                    <a:pt x="38" y="56"/>
                  </a:lnTo>
                  <a:lnTo>
                    <a:pt x="38" y="54"/>
                  </a:lnTo>
                  <a:lnTo>
                    <a:pt x="38" y="56"/>
                  </a:lnTo>
                  <a:lnTo>
                    <a:pt x="40" y="56"/>
                  </a:lnTo>
                  <a:lnTo>
                    <a:pt x="38" y="56"/>
                  </a:lnTo>
                  <a:lnTo>
                    <a:pt x="38" y="54"/>
                  </a:lnTo>
                  <a:lnTo>
                    <a:pt x="36" y="54"/>
                  </a:lnTo>
                  <a:lnTo>
                    <a:pt x="38" y="54"/>
                  </a:lnTo>
                  <a:lnTo>
                    <a:pt x="38" y="56"/>
                  </a:lnTo>
                  <a:lnTo>
                    <a:pt x="40" y="56"/>
                  </a:lnTo>
                  <a:lnTo>
                    <a:pt x="40" y="58"/>
                  </a:lnTo>
                  <a:lnTo>
                    <a:pt x="38" y="58"/>
                  </a:lnTo>
                  <a:lnTo>
                    <a:pt x="40" y="58"/>
                  </a:lnTo>
                  <a:lnTo>
                    <a:pt x="38" y="58"/>
                  </a:lnTo>
                  <a:lnTo>
                    <a:pt x="38" y="56"/>
                  </a:lnTo>
                  <a:lnTo>
                    <a:pt x="38" y="58"/>
                  </a:lnTo>
                  <a:lnTo>
                    <a:pt x="40" y="58"/>
                  </a:lnTo>
                  <a:lnTo>
                    <a:pt x="38" y="58"/>
                  </a:lnTo>
                  <a:lnTo>
                    <a:pt x="40" y="58"/>
                  </a:lnTo>
                  <a:lnTo>
                    <a:pt x="38" y="58"/>
                  </a:lnTo>
                  <a:lnTo>
                    <a:pt x="40" y="58"/>
                  </a:lnTo>
                  <a:lnTo>
                    <a:pt x="42" y="58"/>
                  </a:lnTo>
                  <a:lnTo>
                    <a:pt x="40" y="58"/>
                  </a:lnTo>
                  <a:lnTo>
                    <a:pt x="42" y="58"/>
                  </a:lnTo>
                  <a:lnTo>
                    <a:pt x="40" y="58"/>
                  </a:lnTo>
                  <a:lnTo>
                    <a:pt x="42" y="58"/>
                  </a:lnTo>
                  <a:lnTo>
                    <a:pt x="40" y="58"/>
                  </a:lnTo>
                  <a:lnTo>
                    <a:pt x="40" y="60"/>
                  </a:lnTo>
                  <a:lnTo>
                    <a:pt x="40" y="58"/>
                  </a:lnTo>
                  <a:lnTo>
                    <a:pt x="40" y="60"/>
                  </a:lnTo>
                  <a:lnTo>
                    <a:pt x="38" y="60"/>
                  </a:lnTo>
                  <a:lnTo>
                    <a:pt x="40" y="60"/>
                  </a:lnTo>
                  <a:lnTo>
                    <a:pt x="38" y="60"/>
                  </a:lnTo>
                  <a:lnTo>
                    <a:pt x="38" y="62"/>
                  </a:lnTo>
                  <a:lnTo>
                    <a:pt x="36" y="62"/>
                  </a:lnTo>
                  <a:lnTo>
                    <a:pt x="34" y="62"/>
                  </a:lnTo>
                  <a:lnTo>
                    <a:pt x="36" y="62"/>
                  </a:lnTo>
                  <a:lnTo>
                    <a:pt x="34" y="62"/>
                  </a:lnTo>
                  <a:lnTo>
                    <a:pt x="36" y="62"/>
                  </a:lnTo>
                  <a:lnTo>
                    <a:pt x="38" y="62"/>
                  </a:lnTo>
                  <a:lnTo>
                    <a:pt x="36" y="62"/>
                  </a:lnTo>
                  <a:lnTo>
                    <a:pt x="38" y="62"/>
                  </a:lnTo>
                  <a:lnTo>
                    <a:pt x="36" y="62"/>
                  </a:lnTo>
                  <a:lnTo>
                    <a:pt x="38" y="62"/>
                  </a:lnTo>
                  <a:lnTo>
                    <a:pt x="38" y="64"/>
                  </a:lnTo>
                  <a:lnTo>
                    <a:pt x="38" y="62"/>
                  </a:lnTo>
                  <a:lnTo>
                    <a:pt x="38" y="64"/>
                  </a:lnTo>
                  <a:lnTo>
                    <a:pt x="38" y="62"/>
                  </a:lnTo>
                  <a:lnTo>
                    <a:pt x="40" y="62"/>
                  </a:lnTo>
                  <a:lnTo>
                    <a:pt x="40" y="60"/>
                  </a:lnTo>
                  <a:lnTo>
                    <a:pt x="42" y="60"/>
                  </a:lnTo>
                  <a:lnTo>
                    <a:pt x="42" y="62"/>
                  </a:lnTo>
                  <a:lnTo>
                    <a:pt x="42" y="60"/>
                  </a:lnTo>
                  <a:lnTo>
                    <a:pt x="42" y="62"/>
                  </a:lnTo>
                  <a:lnTo>
                    <a:pt x="42" y="60"/>
                  </a:lnTo>
                  <a:lnTo>
                    <a:pt x="44" y="60"/>
                  </a:lnTo>
                  <a:lnTo>
                    <a:pt x="42" y="60"/>
                  </a:lnTo>
                  <a:lnTo>
                    <a:pt x="44" y="60"/>
                  </a:lnTo>
                  <a:lnTo>
                    <a:pt x="42" y="60"/>
                  </a:lnTo>
                  <a:lnTo>
                    <a:pt x="44" y="58"/>
                  </a:lnTo>
                  <a:lnTo>
                    <a:pt x="44" y="60"/>
                  </a:lnTo>
                  <a:lnTo>
                    <a:pt x="44" y="62"/>
                  </a:lnTo>
                  <a:lnTo>
                    <a:pt x="44" y="64"/>
                  </a:lnTo>
                  <a:lnTo>
                    <a:pt x="46" y="64"/>
                  </a:lnTo>
                  <a:lnTo>
                    <a:pt x="46" y="66"/>
                  </a:lnTo>
                  <a:lnTo>
                    <a:pt x="46" y="66"/>
                  </a:lnTo>
                  <a:lnTo>
                    <a:pt x="44" y="66"/>
                  </a:lnTo>
                  <a:lnTo>
                    <a:pt x="42" y="66"/>
                  </a:lnTo>
                  <a:lnTo>
                    <a:pt x="40" y="66"/>
                  </a:lnTo>
                  <a:lnTo>
                    <a:pt x="38" y="68"/>
                  </a:lnTo>
                  <a:lnTo>
                    <a:pt x="36" y="68"/>
                  </a:lnTo>
                  <a:lnTo>
                    <a:pt x="34" y="68"/>
                  </a:lnTo>
                  <a:lnTo>
                    <a:pt x="32" y="68"/>
                  </a:lnTo>
                  <a:lnTo>
                    <a:pt x="30" y="68"/>
                  </a:lnTo>
                  <a:lnTo>
                    <a:pt x="30" y="70"/>
                  </a:lnTo>
                  <a:lnTo>
                    <a:pt x="28" y="70"/>
                  </a:lnTo>
                  <a:lnTo>
                    <a:pt x="26" y="70"/>
                  </a:lnTo>
                  <a:lnTo>
                    <a:pt x="24" y="70"/>
                  </a:lnTo>
                  <a:lnTo>
                    <a:pt x="22" y="70"/>
                  </a:lnTo>
                  <a:lnTo>
                    <a:pt x="22" y="72"/>
                  </a:lnTo>
                  <a:lnTo>
                    <a:pt x="22" y="72"/>
                  </a:lnTo>
                  <a:lnTo>
                    <a:pt x="20" y="72"/>
                  </a:lnTo>
                  <a:lnTo>
                    <a:pt x="20" y="70"/>
                  </a:lnTo>
                  <a:lnTo>
                    <a:pt x="20" y="68"/>
                  </a:lnTo>
                  <a:lnTo>
                    <a:pt x="20" y="66"/>
                  </a:lnTo>
                  <a:lnTo>
                    <a:pt x="18" y="66"/>
                  </a:lnTo>
                  <a:lnTo>
                    <a:pt x="18" y="66"/>
                  </a:lnTo>
                  <a:lnTo>
                    <a:pt x="18" y="64"/>
                  </a:lnTo>
                  <a:lnTo>
                    <a:pt x="18" y="62"/>
                  </a:lnTo>
                  <a:lnTo>
                    <a:pt x="16" y="62"/>
                  </a:lnTo>
                  <a:lnTo>
                    <a:pt x="16" y="60"/>
                  </a:lnTo>
                  <a:lnTo>
                    <a:pt x="16" y="58"/>
                  </a:lnTo>
                  <a:lnTo>
                    <a:pt x="16" y="56"/>
                  </a:lnTo>
                  <a:lnTo>
                    <a:pt x="14" y="56"/>
                  </a:lnTo>
                  <a:lnTo>
                    <a:pt x="14" y="54"/>
                  </a:lnTo>
                  <a:lnTo>
                    <a:pt x="14" y="52"/>
                  </a:lnTo>
                  <a:lnTo>
                    <a:pt x="14" y="50"/>
                  </a:lnTo>
                  <a:lnTo>
                    <a:pt x="12" y="50"/>
                  </a:lnTo>
                  <a:lnTo>
                    <a:pt x="12" y="48"/>
                  </a:lnTo>
                  <a:lnTo>
                    <a:pt x="12" y="46"/>
                  </a:lnTo>
                  <a:lnTo>
                    <a:pt x="12" y="44"/>
                  </a:lnTo>
                  <a:lnTo>
                    <a:pt x="10" y="44"/>
                  </a:lnTo>
                  <a:lnTo>
                    <a:pt x="10" y="42"/>
                  </a:lnTo>
                  <a:lnTo>
                    <a:pt x="10" y="40"/>
                  </a:lnTo>
                  <a:lnTo>
                    <a:pt x="10" y="38"/>
                  </a:lnTo>
                  <a:lnTo>
                    <a:pt x="8" y="38"/>
                  </a:lnTo>
                  <a:lnTo>
                    <a:pt x="8" y="36"/>
                  </a:lnTo>
                  <a:lnTo>
                    <a:pt x="8" y="34"/>
                  </a:lnTo>
                  <a:lnTo>
                    <a:pt x="8" y="32"/>
                  </a:lnTo>
                  <a:lnTo>
                    <a:pt x="6" y="32"/>
                  </a:lnTo>
                  <a:lnTo>
                    <a:pt x="6" y="30"/>
                  </a:lnTo>
                  <a:lnTo>
                    <a:pt x="6" y="28"/>
                  </a:lnTo>
                  <a:lnTo>
                    <a:pt x="6" y="26"/>
                  </a:lnTo>
                  <a:lnTo>
                    <a:pt x="4" y="26"/>
                  </a:lnTo>
                  <a:lnTo>
                    <a:pt x="4" y="24"/>
                  </a:lnTo>
                  <a:lnTo>
                    <a:pt x="4" y="22"/>
                  </a:lnTo>
                  <a:lnTo>
                    <a:pt x="4" y="20"/>
                  </a:lnTo>
                  <a:lnTo>
                    <a:pt x="2" y="18"/>
                  </a:lnTo>
                  <a:lnTo>
                    <a:pt x="2" y="18"/>
                  </a:lnTo>
                  <a:lnTo>
                    <a:pt x="2" y="16"/>
                  </a:lnTo>
                  <a:lnTo>
                    <a:pt x="0" y="14"/>
                  </a:lnTo>
                  <a:lnTo>
                    <a:pt x="0" y="12"/>
                  </a:lnTo>
                  <a:lnTo>
                    <a:pt x="0" y="10"/>
                  </a:lnTo>
                  <a:lnTo>
                    <a:pt x="0" y="8"/>
                  </a:lnTo>
                  <a:lnTo>
                    <a:pt x="0" y="6"/>
                  </a:lnTo>
                  <a:lnTo>
                    <a:pt x="2" y="6"/>
                  </a:lnTo>
                  <a:lnTo>
                    <a:pt x="2" y="4"/>
                  </a:lnTo>
                  <a:lnTo>
                    <a:pt x="4" y="2"/>
                  </a:lnTo>
                  <a:lnTo>
                    <a:pt x="6" y="2"/>
                  </a:lnTo>
                  <a:lnTo>
                    <a:pt x="6" y="0"/>
                  </a:lnTo>
                  <a:close/>
                </a:path>
              </a:pathLst>
            </a:custGeom>
            <a:solidFill>
              <a:srgbClr val="D9D9D9"/>
            </a:solidFill>
            <a:ln w="3175">
              <a:solidFill>
                <a:sysClr val="window" lastClr="FFFF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black"/>
                </a:solidFill>
                <a:effectLst/>
                <a:uLnTx/>
                <a:uFillTx/>
                <a:ea typeface="宋体" panose="02010600030101010101" pitchFamily="2" charset="-122"/>
              </a:endParaRPr>
            </a:p>
          </p:txBody>
        </p:sp>
        <p:sp>
          <p:nvSpPr>
            <p:cNvPr id="50" name="Freeform 3183">
              <a:extLst>
                <a:ext uri="{FF2B5EF4-FFF2-40B4-BE49-F238E27FC236}">
                  <a16:creationId xmlns:a16="http://schemas.microsoft.com/office/drawing/2014/main" id="{B434C561-AFBF-F833-303C-4C7FD10094C1}"/>
                </a:ext>
              </a:extLst>
            </p:cNvPr>
            <p:cNvSpPr>
              <a:spLocks noEditPoints="1"/>
            </p:cNvSpPr>
            <p:nvPr/>
          </p:nvSpPr>
          <p:spPr bwMode="auto">
            <a:xfrm>
              <a:off x="6724650" y="2906713"/>
              <a:ext cx="53975" cy="73025"/>
            </a:xfrm>
            <a:custGeom>
              <a:avLst/>
              <a:gdLst>
                <a:gd name="T0" fmla="*/ 24 w 34"/>
                <a:gd name="T1" fmla="*/ 44 h 46"/>
                <a:gd name="T2" fmla="*/ 20 w 34"/>
                <a:gd name="T3" fmla="*/ 44 h 46"/>
                <a:gd name="T4" fmla="*/ 20 w 34"/>
                <a:gd name="T5" fmla="*/ 40 h 46"/>
                <a:gd name="T6" fmla="*/ 24 w 34"/>
                <a:gd name="T7" fmla="*/ 26 h 46"/>
                <a:gd name="T8" fmla="*/ 24 w 34"/>
                <a:gd name="T9" fmla="*/ 26 h 46"/>
                <a:gd name="T10" fmla="*/ 24 w 34"/>
                <a:gd name="T11" fmla="*/ 26 h 46"/>
                <a:gd name="T12" fmla="*/ 24 w 34"/>
                <a:gd name="T13" fmla="*/ 26 h 46"/>
                <a:gd name="T14" fmla="*/ 22 w 34"/>
                <a:gd name="T15" fmla="*/ 24 h 46"/>
                <a:gd name="T16" fmla="*/ 20 w 34"/>
                <a:gd name="T17" fmla="*/ 24 h 46"/>
                <a:gd name="T18" fmla="*/ 26 w 34"/>
                <a:gd name="T19" fmla="*/ 20 h 46"/>
                <a:gd name="T20" fmla="*/ 22 w 34"/>
                <a:gd name="T21" fmla="*/ 22 h 46"/>
                <a:gd name="T22" fmla="*/ 28 w 34"/>
                <a:gd name="T23" fmla="*/ 22 h 46"/>
                <a:gd name="T24" fmla="*/ 28 w 34"/>
                <a:gd name="T25" fmla="*/ 26 h 46"/>
                <a:gd name="T26" fmla="*/ 26 w 34"/>
                <a:gd name="T27" fmla="*/ 28 h 46"/>
                <a:gd name="T28" fmla="*/ 26 w 34"/>
                <a:gd name="T29" fmla="*/ 24 h 46"/>
                <a:gd name="T30" fmla="*/ 28 w 34"/>
                <a:gd name="T31" fmla="*/ 18 h 46"/>
                <a:gd name="T32" fmla="*/ 22 w 34"/>
                <a:gd name="T33" fmla="*/ 18 h 46"/>
                <a:gd name="T34" fmla="*/ 24 w 34"/>
                <a:gd name="T35" fmla="*/ 20 h 46"/>
                <a:gd name="T36" fmla="*/ 22 w 34"/>
                <a:gd name="T37" fmla="*/ 18 h 46"/>
                <a:gd name="T38" fmla="*/ 32 w 34"/>
                <a:gd name="T39" fmla="*/ 20 h 46"/>
                <a:gd name="T40" fmla="*/ 32 w 34"/>
                <a:gd name="T41" fmla="*/ 24 h 46"/>
                <a:gd name="T42" fmla="*/ 30 w 34"/>
                <a:gd name="T43" fmla="*/ 22 h 46"/>
                <a:gd name="T44" fmla="*/ 28 w 34"/>
                <a:gd name="T45" fmla="*/ 20 h 46"/>
                <a:gd name="T46" fmla="*/ 30 w 34"/>
                <a:gd name="T47" fmla="*/ 18 h 46"/>
                <a:gd name="T48" fmla="*/ 28 w 34"/>
                <a:gd name="T49" fmla="*/ 16 h 46"/>
                <a:gd name="T50" fmla="*/ 30 w 34"/>
                <a:gd name="T51" fmla="*/ 14 h 46"/>
                <a:gd name="T52" fmla="*/ 26 w 34"/>
                <a:gd name="T53" fmla="*/ 14 h 46"/>
                <a:gd name="T54" fmla="*/ 26 w 34"/>
                <a:gd name="T55" fmla="*/ 14 h 46"/>
                <a:gd name="T56" fmla="*/ 24 w 34"/>
                <a:gd name="T57" fmla="*/ 16 h 46"/>
                <a:gd name="T58" fmla="*/ 24 w 34"/>
                <a:gd name="T59" fmla="*/ 12 h 46"/>
                <a:gd name="T60" fmla="*/ 24 w 34"/>
                <a:gd name="T61" fmla="*/ 12 h 46"/>
                <a:gd name="T62" fmla="*/ 14 w 34"/>
                <a:gd name="T63" fmla="*/ 0 h 46"/>
                <a:gd name="T64" fmla="*/ 16 w 34"/>
                <a:gd name="T65" fmla="*/ 6 h 46"/>
                <a:gd name="T66" fmla="*/ 20 w 34"/>
                <a:gd name="T67" fmla="*/ 10 h 46"/>
                <a:gd name="T68" fmla="*/ 20 w 34"/>
                <a:gd name="T69" fmla="*/ 14 h 46"/>
                <a:gd name="T70" fmla="*/ 18 w 34"/>
                <a:gd name="T71" fmla="*/ 12 h 46"/>
                <a:gd name="T72" fmla="*/ 18 w 34"/>
                <a:gd name="T73" fmla="*/ 12 h 46"/>
                <a:gd name="T74" fmla="*/ 18 w 34"/>
                <a:gd name="T75" fmla="*/ 12 h 46"/>
                <a:gd name="T76" fmla="*/ 20 w 34"/>
                <a:gd name="T77" fmla="*/ 14 h 46"/>
                <a:gd name="T78" fmla="*/ 20 w 34"/>
                <a:gd name="T79" fmla="*/ 16 h 46"/>
                <a:gd name="T80" fmla="*/ 20 w 34"/>
                <a:gd name="T81" fmla="*/ 16 h 46"/>
                <a:gd name="T82" fmla="*/ 20 w 34"/>
                <a:gd name="T83" fmla="*/ 16 h 46"/>
                <a:gd name="T84" fmla="*/ 18 w 34"/>
                <a:gd name="T85" fmla="*/ 18 h 46"/>
                <a:gd name="T86" fmla="*/ 20 w 34"/>
                <a:gd name="T87" fmla="*/ 20 h 46"/>
                <a:gd name="T88" fmla="*/ 20 w 34"/>
                <a:gd name="T89" fmla="*/ 20 h 46"/>
                <a:gd name="T90" fmla="*/ 22 w 34"/>
                <a:gd name="T91" fmla="*/ 22 h 46"/>
                <a:gd name="T92" fmla="*/ 20 w 34"/>
                <a:gd name="T93" fmla="*/ 24 h 46"/>
                <a:gd name="T94" fmla="*/ 20 w 34"/>
                <a:gd name="T95" fmla="*/ 24 h 46"/>
                <a:gd name="T96" fmla="*/ 22 w 34"/>
                <a:gd name="T97" fmla="*/ 26 h 46"/>
                <a:gd name="T98" fmla="*/ 22 w 34"/>
                <a:gd name="T99" fmla="*/ 32 h 46"/>
                <a:gd name="T100" fmla="*/ 20 w 34"/>
                <a:gd name="T101" fmla="*/ 34 h 46"/>
                <a:gd name="T102" fmla="*/ 14 w 34"/>
                <a:gd name="T103" fmla="*/ 36 h 46"/>
                <a:gd name="T104" fmla="*/ 10 w 34"/>
                <a:gd name="T105" fmla="*/ 40 h 46"/>
                <a:gd name="T106" fmla="*/ 8 w 34"/>
                <a:gd name="T107" fmla="*/ 38 h 46"/>
                <a:gd name="T108" fmla="*/ 8 w 34"/>
                <a:gd name="T109" fmla="*/ 34 h 46"/>
                <a:gd name="T110" fmla="*/ 8 w 34"/>
                <a:gd name="T111" fmla="*/ 32 h 46"/>
                <a:gd name="T112" fmla="*/ 6 w 34"/>
                <a:gd name="T113" fmla="*/ 26 h 46"/>
                <a:gd name="T114" fmla="*/ 4 w 34"/>
                <a:gd name="T115" fmla="*/ 20 h 46"/>
                <a:gd name="T116" fmla="*/ 2 w 34"/>
                <a:gd name="T117" fmla="*/ 14 h 46"/>
                <a:gd name="T118" fmla="*/ 0 w 34"/>
                <a:gd name="T119" fmla="*/ 6 h 46"/>
                <a:gd name="T120" fmla="*/ 6 w 34"/>
                <a:gd name="T121" fmla="*/ 4 h 46"/>
                <a:gd name="T122" fmla="*/ 12 w 34"/>
                <a:gd name="T123" fmla="*/ 2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4" h="46">
                  <a:moveTo>
                    <a:pt x="22" y="40"/>
                  </a:moveTo>
                  <a:lnTo>
                    <a:pt x="22" y="42"/>
                  </a:lnTo>
                  <a:lnTo>
                    <a:pt x="22" y="44"/>
                  </a:lnTo>
                  <a:lnTo>
                    <a:pt x="24" y="44"/>
                  </a:lnTo>
                  <a:lnTo>
                    <a:pt x="22" y="44"/>
                  </a:lnTo>
                  <a:lnTo>
                    <a:pt x="22" y="46"/>
                  </a:lnTo>
                  <a:lnTo>
                    <a:pt x="20" y="46"/>
                  </a:lnTo>
                  <a:lnTo>
                    <a:pt x="20" y="44"/>
                  </a:lnTo>
                  <a:lnTo>
                    <a:pt x="20" y="42"/>
                  </a:lnTo>
                  <a:lnTo>
                    <a:pt x="22" y="42"/>
                  </a:lnTo>
                  <a:lnTo>
                    <a:pt x="20" y="42"/>
                  </a:lnTo>
                  <a:lnTo>
                    <a:pt x="20" y="40"/>
                  </a:lnTo>
                  <a:lnTo>
                    <a:pt x="22" y="40"/>
                  </a:lnTo>
                  <a:close/>
                  <a:moveTo>
                    <a:pt x="24" y="26"/>
                  </a:moveTo>
                  <a:lnTo>
                    <a:pt x="22" y="26"/>
                  </a:lnTo>
                  <a:lnTo>
                    <a:pt x="24" y="26"/>
                  </a:lnTo>
                  <a:close/>
                  <a:moveTo>
                    <a:pt x="24" y="24"/>
                  </a:moveTo>
                  <a:lnTo>
                    <a:pt x="24" y="26"/>
                  </a:lnTo>
                  <a:lnTo>
                    <a:pt x="26" y="26"/>
                  </a:lnTo>
                  <a:lnTo>
                    <a:pt x="24" y="26"/>
                  </a:lnTo>
                  <a:lnTo>
                    <a:pt x="26" y="26"/>
                  </a:lnTo>
                  <a:lnTo>
                    <a:pt x="26" y="28"/>
                  </a:lnTo>
                  <a:lnTo>
                    <a:pt x="24" y="28"/>
                  </a:lnTo>
                  <a:lnTo>
                    <a:pt x="24" y="26"/>
                  </a:lnTo>
                  <a:lnTo>
                    <a:pt x="24" y="28"/>
                  </a:lnTo>
                  <a:lnTo>
                    <a:pt x="24" y="30"/>
                  </a:lnTo>
                  <a:lnTo>
                    <a:pt x="24" y="28"/>
                  </a:lnTo>
                  <a:lnTo>
                    <a:pt x="24" y="26"/>
                  </a:lnTo>
                  <a:lnTo>
                    <a:pt x="24" y="28"/>
                  </a:lnTo>
                  <a:lnTo>
                    <a:pt x="24" y="26"/>
                  </a:lnTo>
                  <a:lnTo>
                    <a:pt x="24" y="24"/>
                  </a:lnTo>
                  <a:lnTo>
                    <a:pt x="22" y="24"/>
                  </a:lnTo>
                  <a:lnTo>
                    <a:pt x="22" y="22"/>
                  </a:lnTo>
                  <a:lnTo>
                    <a:pt x="24" y="22"/>
                  </a:lnTo>
                  <a:lnTo>
                    <a:pt x="24" y="24"/>
                  </a:lnTo>
                  <a:close/>
                  <a:moveTo>
                    <a:pt x="20" y="24"/>
                  </a:moveTo>
                  <a:lnTo>
                    <a:pt x="20" y="22"/>
                  </a:lnTo>
                  <a:lnTo>
                    <a:pt x="20" y="24"/>
                  </a:lnTo>
                  <a:close/>
                  <a:moveTo>
                    <a:pt x="26" y="22"/>
                  </a:moveTo>
                  <a:lnTo>
                    <a:pt x="26" y="20"/>
                  </a:lnTo>
                  <a:lnTo>
                    <a:pt x="26" y="22"/>
                  </a:lnTo>
                  <a:close/>
                  <a:moveTo>
                    <a:pt x="22" y="22"/>
                  </a:moveTo>
                  <a:lnTo>
                    <a:pt x="22" y="20"/>
                  </a:lnTo>
                  <a:lnTo>
                    <a:pt x="22" y="22"/>
                  </a:lnTo>
                  <a:close/>
                  <a:moveTo>
                    <a:pt x="28" y="16"/>
                  </a:moveTo>
                  <a:lnTo>
                    <a:pt x="28" y="18"/>
                  </a:lnTo>
                  <a:lnTo>
                    <a:pt x="28" y="20"/>
                  </a:lnTo>
                  <a:lnTo>
                    <a:pt x="28" y="22"/>
                  </a:lnTo>
                  <a:lnTo>
                    <a:pt x="30" y="22"/>
                  </a:lnTo>
                  <a:lnTo>
                    <a:pt x="30" y="24"/>
                  </a:lnTo>
                  <a:lnTo>
                    <a:pt x="30" y="26"/>
                  </a:lnTo>
                  <a:lnTo>
                    <a:pt x="28" y="26"/>
                  </a:lnTo>
                  <a:lnTo>
                    <a:pt x="28" y="28"/>
                  </a:lnTo>
                  <a:lnTo>
                    <a:pt x="26" y="28"/>
                  </a:lnTo>
                  <a:lnTo>
                    <a:pt x="26" y="26"/>
                  </a:lnTo>
                  <a:lnTo>
                    <a:pt x="26" y="28"/>
                  </a:lnTo>
                  <a:lnTo>
                    <a:pt x="26" y="26"/>
                  </a:lnTo>
                  <a:lnTo>
                    <a:pt x="26" y="24"/>
                  </a:lnTo>
                  <a:lnTo>
                    <a:pt x="26" y="26"/>
                  </a:lnTo>
                  <a:lnTo>
                    <a:pt x="26" y="24"/>
                  </a:lnTo>
                  <a:lnTo>
                    <a:pt x="26" y="22"/>
                  </a:lnTo>
                  <a:lnTo>
                    <a:pt x="26" y="20"/>
                  </a:lnTo>
                  <a:lnTo>
                    <a:pt x="26" y="18"/>
                  </a:lnTo>
                  <a:lnTo>
                    <a:pt x="28" y="18"/>
                  </a:lnTo>
                  <a:lnTo>
                    <a:pt x="28" y="16"/>
                  </a:lnTo>
                  <a:close/>
                  <a:moveTo>
                    <a:pt x="22" y="18"/>
                  </a:moveTo>
                  <a:lnTo>
                    <a:pt x="24" y="18"/>
                  </a:lnTo>
                  <a:lnTo>
                    <a:pt x="22" y="18"/>
                  </a:lnTo>
                  <a:lnTo>
                    <a:pt x="24" y="18"/>
                  </a:lnTo>
                  <a:lnTo>
                    <a:pt x="24" y="20"/>
                  </a:lnTo>
                  <a:lnTo>
                    <a:pt x="26" y="20"/>
                  </a:lnTo>
                  <a:lnTo>
                    <a:pt x="24" y="20"/>
                  </a:lnTo>
                  <a:lnTo>
                    <a:pt x="24" y="22"/>
                  </a:lnTo>
                  <a:lnTo>
                    <a:pt x="24" y="20"/>
                  </a:lnTo>
                  <a:lnTo>
                    <a:pt x="22" y="20"/>
                  </a:lnTo>
                  <a:lnTo>
                    <a:pt x="22" y="18"/>
                  </a:lnTo>
                  <a:close/>
                  <a:moveTo>
                    <a:pt x="30" y="16"/>
                  </a:moveTo>
                  <a:lnTo>
                    <a:pt x="32" y="16"/>
                  </a:lnTo>
                  <a:lnTo>
                    <a:pt x="32" y="18"/>
                  </a:lnTo>
                  <a:lnTo>
                    <a:pt x="32" y="20"/>
                  </a:lnTo>
                  <a:lnTo>
                    <a:pt x="34" y="20"/>
                  </a:lnTo>
                  <a:lnTo>
                    <a:pt x="34" y="22"/>
                  </a:lnTo>
                  <a:lnTo>
                    <a:pt x="34" y="24"/>
                  </a:lnTo>
                  <a:lnTo>
                    <a:pt x="32" y="24"/>
                  </a:lnTo>
                  <a:lnTo>
                    <a:pt x="32" y="26"/>
                  </a:lnTo>
                  <a:lnTo>
                    <a:pt x="32" y="24"/>
                  </a:lnTo>
                  <a:lnTo>
                    <a:pt x="30" y="24"/>
                  </a:lnTo>
                  <a:lnTo>
                    <a:pt x="30" y="22"/>
                  </a:lnTo>
                  <a:lnTo>
                    <a:pt x="30" y="20"/>
                  </a:lnTo>
                  <a:lnTo>
                    <a:pt x="30" y="22"/>
                  </a:lnTo>
                  <a:lnTo>
                    <a:pt x="30" y="20"/>
                  </a:lnTo>
                  <a:lnTo>
                    <a:pt x="28" y="20"/>
                  </a:lnTo>
                  <a:lnTo>
                    <a:pt x="30" y="20"/>
                  </a:lnTo>
                  <a:lnTo>
                    <a:pt x="28" y="20"/>
                  </a:lnTo>
                  <a:lnTo>
                    <a:pt x="30" y="20"/>
                  </a:lnTo>
                  <a:lnTo>
                    <a:pt x="30" y="18"/>
                  </a:lnTo>
                  <a:lnTo>
                    <a:pt x="28" y="18"/>
                  </a:lnTo>
                  <a:lnTo>
                    <a:pt x="28" y="16"/>
                  </a:lnTo>
                  <a:lnTo>
                    <a:pt x="28" y="18"/>
                  </a:lnTo>
                  <a:lnTo>
                    <a:pt x="28" y="16"/>
                  </a:lnTo>
                  <a:lnTo>
                    <a:pt x="28" y="14"/>
                  </a:lnTo>
                  <a:lnTo>
                    <a:pt x="28" y="16"/>
                  </a:lnTo>
                  <a:lnTo>
                    <a:pt x="30" y="16"/>
                  </a:lnTo>
                  <a:lnTo>
                    <a:pt x="30" y="14"/>
                  </a:lnTo>
                  <a:lnTo>
                    <a:pt x="30" y="16"/>
                  </a:lnTo>
                  <a:close/>
                  <a:moveTo>
                    <a:pt x="24" y="12"/>
                  </a:moveTo>
                  <a:lnTo>
                    <a:pt x="26" y="12"/>
                  </a:lnTo>
                  <a:lnTo>
                    <a:pt x="26" y="14"/>
                  </a:lnTo>
                  <a:lnTo>
                    <a:pt x="24" y="14"/>
                  </a:lnTo>
                  <a:lnTo>
                    <a:pt x="24" y="12"/>
                  </a:lnTo>
                  <a:lnTo>
                    <a:pt x="24" y="14"/>
                  </a:lnTo>
                  <a:lnTo>
                    <a:pt x="26" y="14"/>
                  </a:lnTo>
                  <a:lnTo>
                    <a:pt x="26" y="16"/>
                  </a:lnTo>
                  <a:lnTo>
                    <a:pt x="26" y="18"/>
                  </a:lnTo>
                  <a:lnTo>
                    <a:pt x="26" y="16"/>
                  </a:lnTo>
                  <a:lnTo>
                    <a:pt x="24" y="16"/>
                  </a:lnTo>
                  <a:lnTo>
                    <a:pt x="24" y="18"/>
                  </a:lnTo>
                  <a:lnTo>
                    <a:pt x="24" y="16"/>
                  </a:lnTo>
                  <a:lnTo>
                    <a:pt x="24" y="14"/>
                  </a:lnTo>
                  <a:lnTo>
                    <a:pt x="24" y="12"/>
                  </a:lnTo>
                  <a:lnTo>
                    <a:pt x="24" y="14"/>
                  </a:lnTo>
                  <a:lnTo>
                    <a:pt x="24" y="12"/>
                  </a:lnTo>
                  <a:close/>
                  <a:moveTo>
                    <a:pt x="22" y="12"/>
                  </a:moveTo>
                  <a:lnTo>
                    <a:pt x="24" y="12"/>
                  </a:lnTo>
                  <a:lnTo>
                    <a:pt x="24" y="14"/>
                  </a:lnTo>
                  <a:lnTo>
                    <a:pt x="24" y="12"/>
                  </a:lnTo>
                  <a:lnTo>
                    <a:pt x="22" y="12"/>
                  </a:lnTo>
                  <a:close/>
                  <a:moveTo>
                    <a:pt x="14" y="0"/>
                  </a:moveTo>
                  <a:lnTo>
                    <a:pt x="16" y="0"/>
                  </a:lnTo>
                  <a:lnTo>
                    <a:pt x="16" y="2"/>
                  </a:lnTo>
                  <a:lnTo>
                    <a:pt x="16" y="4"/>
                  </a:lnTo>
                  <a:lnTo>
                    <a:pt x="16" y="6"/>
                  </a:lnTo>
                  <a:lnTo>
                    <a:pt x="18" y="6"/>
                  </a:lnTo>
                  <a:lnTo>
                    <a:pt x="20" y="6"/>
                  </a:lnTo>
                  <a:lnTo>
                    <a:pt x="20" y="8"/>
                  </a:lnTo>
                  <a:lnTo>
                    <a:pt x="20" y="10"/>
                  </a:lnTo>
                  <a:lnTo>
                    <a:pt x="22" y="12"/>
                  </a:lnTo>
                  <a:lnTo>
                    <a:pt x="24" y="14"/>
                  </a:lnTo>
                  <a:lnTo>
                    <a:pt x="22" y="14"/>
                  </a:lnTo>
                  <a:lnTo>
                    <a:pt x="20" y="14"/>
                  </a:lnTo>
                  <a:lnTo>
                    <a:pt x="20" y="12"/>
                  </a:lnTo>
                  <a:lnTo>
                    <a:pt x="20" y="14"/>
                  </a:lnTo>
                  <a:lnTo>
                    <a:pt x="20" y="12"/>
                  </a:lnTo>
                  <a:lnTo>
                    <a:pt x="18" y="12"/>
                  </a:lnTo>
                  <a:lnTo>
                    <a:pt x="18" y="10"/>
                  </a:lnTo>
                  <a:lnTo>
                    <a:pt x="18" y="8"/>
                  </a:lnTo>
                  <a:lnTo>
                    <a:pt x="18" y="10"/>
                  </a:lnTo>
                  <a:lnTo>
                    <a:pt x="18" y="12"/>
                  </a:lnTo>
                  <a:lnTo>
                    <a:pt x="18" y="10"/>
                  </a:lnTo>
                  <a:lnTo>
                    <a:pt x="18" y="12"/>
                  </a:lnTo>
                  <a:lnTo>
                    <a:pt x="18" y="10"/>
                  </a:lnTo>
                  <a:lnTo>
                    <a:pt x="18" y="12"/>
                  </a:lnTo>
                  <a:lnTo>
                    <a:pt x="20" y="12"/>
                  </a:lnTo>
                  <a:lnTo>
                    <a:pt x="18" y="12"/>
                  </a:lnTo>
                  <a:lnTo>
                    <a:pt x="20" y="12"/>
                  </a:lnTo>
                  <a:lnTo>
                    <a:pt x="20" y="14"/>
                  </a:lnTo>
                  <a:lnTo>
                    <a:pt x="22" y="14"/>
                  </a:lnTo>
                  <a:lnTo>
                    <a:pt x="20" y="16"/>
                  </a:lnTo>
                  <a:lnTo>
                    <a:pt x="20" y="14"/>
                  </a:lnTo>
                  <a:lnTo>
                    <a:pt x="20" y="16"/>
                  </a:lnTo>
                  <a:lnTo>
                    <a:pt x="22" y="16"/>
                  </a:lnTo>
                  <a:lnTo>
                    <a:pt x="22" y="18"/>
                  </a:lnTo>
                  <a:lnTo>
                    <a:pt x="20" y="18"/>
                  </a:lnTo>
                  <a:lnTo>
                    <a:pt x="20" y="16"/>
                  </a:lnTo>
                  <a:lnTo>
                    <a:pt x="20" y="18"/>
                  </a:lnTo>
                  <a:lnTo>
                    <a:pt x="20" y="16"/>
                  </a:lnTo>
                  <a:lnTo>
                    <a:pt x="18" y="16"/>
                  </a:lnTo>
                  <a:lnTo>
                    <a:pt x="20" y="16"/>
                  </a:lnTo>
                  <a:lnTo>
                    <a:pt x="20" y="18"/>
                  </a:lnTo>
                  <a:lnTo>
                    <a:pt x="20" y="16"/>
                  </a:lnTo>
                  <a:lnTo>
                    <a:pt x="20" y="18"/>
                  </a:lnTo>
                  <a:lnTo>
                    <a:pt x="18" y="18"/>
                  </a:lnTo>
                  <a:lnTo>
                    <a:pt x="18" y="20"/>
                  </a:lnTo>
                  <a:lnTo>
                    <a:pt x="18" y="18"/>
                  </a:lnTo>
                  <a:lnTo>
                    <a:pt x="20" y="18"/>
                  </a:lnTo>
                  <a:lnTo>
                    <a:pt x="20" y="20"/>
                  </a:lnTo>
                  <a:lnTo>
                    <a:pt x="20" y="18"/>
                  </a:lnTo>
                  <a:lnTo>
                    <a:pt x="20" y="20"/>
                  </a:lnTo>
                  <a:lnTo>
                    <a:pt x="22" y="20"/>
                  </a:lnTo>
                  <a:lnTo>
                    <a:pt x="20" y="20"/>
                  </a:lnTo>
                  <a:lnTo>
                    <a:pt x="22" y="20"/>
                  </a:lnTo>
                  <a:lnTo>
                    <a:pt x="20" y="20"/>
                  </a:lnTo>
                  <a:lnTo>
                    <a:pt x="20" y="22"/>
                  </a:lnTo>
                  <a:lnTo>
                    <a:pt x="22" y="22"/>
                  </a:lnTo>
                  <a:lnTo>
                    <a:pt x="20" y="22"/>
                  </a:lnTo>
                  <a:lnTo>
                    <a:pt x="20" y="24"/>
                  </a:lnTo>
                  <a:lnTo>
                    <a:pt x="20" y="22"/>
                  </a:lnTo>
                  <a:lnTo>
                    <a:pt x="20" y="24"/>
                  </a:lnTo>
                  <a:lnTo>
                    <a:pt x="20" y="22"/>
                  </a:lnTo>
                  <a:lnTo>
                    <a:pt x="20" y="24"/>
                  </a:lnTo>
                  <a:lnTo>
                    <a:pt x="22" y="24"/>
                  </a:lnTo>
                  <a:lnTo>
                    <a:pt x="20" y="24"/>
                  </a:lnTo>
                  <a:lnTo>
                    <a:pt x="22" y="24"/>
                  </a:lnTo>
                  <a:lnTo>
                    <a:pt x="20" y="24"/>
                  </a:lnTo>
                  <a:lnTo>
                    <a:pt x="22" y="24"/>
                  </a:lnTo>
                  <a:lnTo>
                    <a:pt x="22" y="26"/>
                  </a:lnTo>
                  <a:lnTo>
                    <a:pt x="22" y="28"/>
                  </a:lnTo>
                  <a:lnTo>
                    <a:pt x="22" y="30"/>
                  </a:lnTo>
                  <a:lnTo>
                    <a:pt x="22" y="32"/>
                  </a:lnTo>
                  <a:lnTo>
                    <a:pt x="22" y="32"/>
                  </a:lnTo>
                  <a:lnTo>
                    <a:pt x="20" y="32"/>
                  </a:lnTo>
                  <a:lnTo>
                    <a:pt x="20" y="34"/>
                  </a:lnTo>
                  <a:lnTo>
                    <a:pt x="20" y="32"/>
                  </a:lnTo>
                  <a:lnTo>
                    <a:pt x="20" y="34"/>
                  </a:lnTo>
                  <a:lnTo>
                    <a:pt x="18" y="34"/>
                  </a:lnTo>
                  <a:lnTo>
                    <a:pt x="16" y="34"/>
                  </a:lnTo>
                  <a:lnTo>
                    <a:pt x="16" y="36"/>
                  </a:lnTo>
                  <a:lnTo>
                    <a:pt x="14" y="36"/>
                  </a:lnTo>
                  <a:lnTo>
                    <a:pt x="14" y="38"/>
                  </a:lnTo>
                  <a:lnTo>
                    <a:pt x="12" y="38"/>
                  </a:lnTo>
                  <a:lnTo>
                    <a:pt x="10" y="38"/>
                  </a:lnTo>
                  <a:lnTo>
                    <a:pt x="10" y="40"/>
                  </a:lnTo>
                  <a:lnTo>
                    <a:pt x="8" y="40"/>
                  </a:lnTo>
                  <a:lnTo>
                    <a:pt x="6" y="40"/>
                  </a:lnTo>
                  <a:lnTo>
                    <a:pt x="8" y="40"/>
                  </a:lnTo>
                  <a:lnTo>
                    <a:pt x="8" y="38"/>
                  </a:lnTo>
                  <a:lnTo>
                    <a:pt x="10" y="38"/>
                  </a:lnTo>
                  <a:lnTo>
                    <a:pt x="8" y="38"/>
                  </a:lnTo>
                  <a:lnTo>
                    <a:pt x="8" y="36"/>
                  </a:lnTo>
                  <a:lnTo>
                    <a:pt x="8" y="34"/>
                  </a:lnTo>
                  <a:lnTo>
                    <a:pt x="10" y="34"/>
                  </a:lnTo>
                  <a:lnTo>
                    <a:pt x="8" y="34"/>
                  </a:lnTo>
                  <a:lnTo>
                    <a:pt x="8" y="32"/>
                  </a:lnTo>
                  <a:lnTo>
                    <a:pt x="8" y="32"/>
                  </a:lnTo>
                  <a:lnTo>
                    <a:pt x="8" y="30"/>
                  </a:lnTo>
                  <a:lnTo>
                    <a:pt x="8" y="28"/>
                  </a:lnTo>
                  <a:lnTo>
                    <a:pt x="6" y="28"/>
                  </a:lnTo>
                  <a:lnTo>
                    <a:pt x="6" y="26"/>
                  </a:lnTo>
                  <a:lnTo>
                    <a:pt x="6" y="24"/>
                  </a:lnTo>
                  <a:lnTo>
                    <a:pt x="6" y="22"/>
                  </a:lnTo>
                  <a:lnTo>
                    <a:pt x="4" y="22"/>
                  </a:lnTo>
                  <a:lnTo>
                    <a:pt x="4" y="20"/>
                  </a:lnTo>
                  <a:lnTo>
                    <a:pt x="4" y="18"/>
                  </a:lnTo>
                  <a:lnTo>
                    <a:pt x="4" y="16"/>
                  </a:lnTo>
                  <a:lnTo>
                    <a:pt x="2" y="16"/>
                  </a:lnTo>
                  <a:lnTo>
                    <a:pt x="2" y="14"/>
                  </a:lnTo>
                  <a:lnTo>
                    <a:pt x="2" y="12"/>
                  </a:lnTo>
                  <a:lnTo>
                    <a:pt x="0" y="10"/>
                  </a:lnTo>
                  <a:lnTo>
                    <a:pt x="0" y="8"/>
                  </a:lnTo>
                  <a:lnTo>
                    <a:pt x="0" y="6"/>
                  </a:lnTo>
                  <a:lnTo>
                    <a:pt x="0" y="4"/>
                  </a:lnTo>
                  <a:lnTo>
                    <a:pt x="2" y="4"/>
                  </a:lnTo>
                  <a:lnTo>
                    <a:pt x="4" y="4"/>
                  </a:lnTo>
                  <a:lnTo>
                    <a:pt x="6" y="4"/>
                  </a:lnTo>
                  <a:lnTo>
                    <a:pt x="6" y="2"/>
                  </a:lnTo>
                  <a:lnTo>
                    <a:pt x="8" y="2"/>
                  </a:lnTo>
                  <a:lnTo>
                    <a:pt x="10" y="2"/>
                  </a:lnTo>
                  <a:lnTo>
                    <a:pt x="12" y="2"/>
                  </a:lnTo>
                  <a:lnTo>
                    <a:pt x="12" y="0"/>
                  </a:lnTo>
                  <a:lnTo>
                    <a:pt x="14" y="0"/>
                  </a:lnTo>
                  <a:close/>
                </a:path>
              </a:pathLst>
            </a:custGeom>
            <a:solidFill>
              <a:srgbClr val="0099FF"/>
            </a:solidFill>
            <a:ln w="3175">
              <a:solidFill>
                <a:sysClr val="window" lastClr="FFFF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black"/>
                </a:solidFill>
                <a:effectLst/>
                <a:uLnTx/>
                <a:uFillTx/>
                <a:ea typeface="宋体" panose="02010600030101010101" pitchFamily="2" charset="-122"/>
              </a:endParaRPr>
            </a:p>
          </p:txBody>
        </p:sp>
        <p:sp>
          <p:nvSpPr>
            <p:cNvPr id="51" name="Freeform 1153">
              <a:extLst>
                <a:ext uri="{FF2B5EF4-FFF2-40B4-BE49-F238E27FC236}">
                  <a16:creationId xmlns:a16="http://schemas.microsoft.com/office/drawing/2014/main" id="{B2878E97-F645-A809-93D9-97B18132AE1F}"/>
                </a:ext>
              </a:extLst>
            </p:cNvPr>
            <p:cNvSpPr>
              <a:spLocks noEditPoints="1"/>
            </p:cNvSpPr>
            <p:nvPr/>
          </p:nvSpPr>
          <p:spPr bwMode="auto">
            <a:xfrm>
              <a:off x="6467475" y="3249612"/>
              <a:ext cx="15875" cy="12700"/>
            </a:xfrm>
            <a:custGeom>
              <a:avLst/>
              <a:gdLst>
                <a:gd name="T0" fmla="*/ 6 w 10"/>
                <a:gd name="T1" fmla="*/ 8 h 8"/>
                <a:gd name="T2" fmla="*/ 6 w 10"/>
                <a:gd name="T3" fmla="*/ 6 h 8"/>
                <a:gd name="T4" fmla="*/ 6 w 10"/>
                <a:gd name="T5" fmla="*/ 8 h 8"/>
                <a:gd name="T6" fmla="*/ 6 w 10"/>
                <a:gd name="T7" fmla="*/ 8 h 8"/>
                <a:gd name="T8" fmla="*/ 4 w 10"/>
                <a:gd name="T9" fmla="*/ 4 h 8"/>
                <a:gd name="T10" fmla="*/ 4 w 10"/>
                <a:gd name="T11" fmla="*/ 4 h 8"/>
                <a:gd name="T12" fmla="*/ 10 w 10"/>
                <a:gd name="T13" fmla="*/ 2 h 8"/>
                <a:gd name="T14" fmla="*/ 10 w 10"/>
                <a:gd name="T15" fmla="*/ 4 h 8"/>
                <a:gd name="T16" fmla="*/ 8 w 10"/>
                <a:gd name="T17" fmla="*/ 6 h 8"/>
                <a:gd name="T18" fmla="*/ 8 w 10"/>
                <a:gd name="T19" fmla="*/ 6 h 8"/>
                <a:gd name="T20" fmla="*/ 6 w 10"/>
                <a:gd name="T21" fmla="*/ 6 h 8"/>
                <a:gd name="T22" fmla="*/ 6 w 10"/>
                <a:gd name="T23" fmla="*/ 6 h 8"/>
                <a:gd name="T24" fmla="*/ 4 w 10"/>
                <a:gd name="T25" fmla="*/ 6 h 8"/>
                <a:gd name="T26" fmla="*/ 4 w 10"/>
                <a:gd name="T27" fmla="*/ 4 h 8"/>
                <a:gd name="T28" fmla="*/ 4 w 10"/>
                <a:gd name="T29" fmla="*/ 6 h 8"/>
                <a:gd name="T30" fmla="*/ 4 w 10"/>
                <a:gd name="T31" fmla="*/ 4 h 8"/>
                <a:gd name="T32" fmla="*/ 2 w 10"/>
                <a:gd name="T33" fmla="*/ 4 h 8"/>
                <a:gd name="T34" fmla="*/ 0 w 10"/>
                <a:gd name="T35" fmla="*/ 4 h 8"/>
                <a:gd name="T36" fmla="*/ 0 w 10"/>
                <a:gd name="T37" fmla="*/ 2 h 8"/>
                <a:gd name="T38" fmla="*/ 2 w 10"/>
                <a:gd name="T39" fmla="*/ 2 h 8"/>
                <a:gd name="T40" fmla="*/ 2 w 10"/>
                <a:gd name="T41" fmla="*/ 0 h 8"/>
                <a:gd name="T42" fmla="*/ 4 w 10"/>
                <a:gd name="T43" fmla="*/ 0 h 8"/>
                <a:gd name="T44" fmla="*/ 6 w 10"/>
                <a:gd name="T45" fmla="*/ 0 h 8"/>
                <a:gd name="T46" fmla="*/ 6 w 10"/>
                <a:gd name="T47" fmla="*/ 2 h 8"/>
                <a:gd name="T48" fmla="*/ 8 w 10"/>
                <a:gd name="T49" fmla="*/ 2 h 8"/>
                <a:gd name="T50" fmla="*/ 10 w 10"/>
                <a:gd name="T51" fmla="*/ 2 h 8"/>
                <a:gd name="T52" fmla="*/ 10 w 10"/>
                <a:gd name="T53" fmla="*/ 2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0" h="8">
                  <a:moveTo>
                    <a:pt x="6" y="8"/>
                  </a:moveTo>
                  <a:lnTo>
                    <a:pt x="6" y="6"/>
                  </a:lnTo>
                  <a:lnTo>
                    <a:pt x="6" y="8"/>
                  </a:lnTo>
                  <a:lnTo>
                    <a:pt x="6" y="8"/>
                  </a:lnTo>
                  <a:close/>
                  <a:moveTo>
                    <a:pt x="4" y="4"/>
                  </a:moveTo>
                  <a:lnTo>
                    <a:pt x="4" y="4"/>
                  </a:lnTo>
                  <a:close/>
                  <a:moveTo>
                    <a:pt x="10" y="2"/>
                  </a:moveTo>
                  <a:lnTo>
                    <a:pt x="10" y="4"/>
                  </a:lnTo>
                  <a:lnTo>
                    <a:pt x="8" y="6"/>
                  </a:lnTo>
                  <a:lnTo>
                    <a:pt x="8" y="6"/>
                  </a:lnTo>
                  <a:lnTo>
                    <a:pt x="6" y="6"/>
                  </a:lnTo>
                  <a:lnTo>
                    <a:pt x="6" y="6"/>
                  </a:lnTo>
                  <a:lnTo>
                    <a:pt x="4" y="6"/>
                  </a:lnTo>
                  <a:lnTo>
                    <a:pt x="4" y="4"/>
                  </a:lnTo>
                  <a:lnTo>
                    <a:pt x="4" y="6"/>
                  </a:lnTo>
                  <a:lnTo>
                    <a:pt x="4" y="4"/>
                  </a:lnTo>
                  <a:lnTo>
                    <a:pt x="2" y="4"/>
                  </a:lnTo>
                  <a:lnTo>
                    <a:pt x="0" y="4"/>
                  </a:lnTo>
                  <a:lnTo>
                    <a:pt x="0" y="2"/>
                  </a:lnTo>
                  <a:lnTo>
                    <a:pt x="2" y="2"/>
                  </a:lnTo>
                  <a:lnTo>
                    <a:pt x="2" y="0"/>
                  </a:lnTo>
                  <a:lnTo>
                    <a:pt x="4" y="0"/>
                  </a:lnTo>
                  <a:lnTo>
                    <a:pt x="6" y="0"/>
                  </a:lnTo>
                  <a:lnTo>
                    <a:pt x="6" y="2"/>
                  </a:lnTo>
                  <a:lnTo>
                    <a:pt x="8" y="2"/>
                  </a:lnTo>
                  <a:lnTo>
                    <a:pt x="10" y="2"/>
                  </a:lnTo>
                  <a:lnTo>
                    <a:pt x="10" y="2"/>
                  </a:lnTo>
                  <a:close/>
                </a:path>
              </a:pathLst>
            </a:custGeom>
            <a:grpFill/>
            <a:ln w="3175">
              <a:solidFill>
                <a:sysClr val="window" lastClr="FFFF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black"/>
                </a:solidFill>
                <a:effectLst/>
                <a:uLnTx/>
                <a:uFillTx/>
                <a:ea typeface="宋体" panose="02010600030101010101" pitchFamily="2" charset="-122"/>
              </a:endParaRPr>
            </a:p>
          </p:txBody>
        </p:sp>
        <p:sp>
          <p:nvSpPr>
            <p:cNvPr id="52" name="Freeform 1154">
              <a:extLst>
                <a:ext uri="{FF2B5EF4-FFF2-40B4-BE49-F238E27FC236}">
                  <a16:creationId xmlns:a16="http://schemas.microsoft.com/office/drawing/2014/main" id="{C3FCE53C-22B6-AE97-9F87-9B184BCD7F93}"/>
                </a:ext>
              </a:extLst>
            </p:cNvPr>
            <p:cNvSpPr>
              <a:spLocks noEditPoints="1"/>
            </p:cNvSpPr>
            <p:nvPr/>
          </p:nvSpPr>
          <p:spPr bwMode="auto">
            <a:xfrm>
              <a:off x="6467475" y="3249612"/>
              <a:ext cx="15875" cy="12700"/>
            </a:xfrm>
            <a:custGeom>
              <a:avLst/>
              <a:gdLst>
                <a:gd name="T0" fmla="*/ 6 w 10"/>
                <a:gd name="T1" fmla="*/ 8 h 8"/>
                <a:gd name="T2" fmla="*/ 6 w 10"/>
                <a:gd name="T3" fmla="*/ 6 h 8"/>
                <a:gd name="T4" fmla="*/ 6 w 10"/>
                <a:gd name="T5" fmla="*/ 8 h 8"/>
                <a:gd name="T6" fmla="*/ 6 w 10"/>
                <a:gd name="T7" fmla="*/ 8 h 8"/>
                <a:gd name="T8" fmla="*/ 4 w 10"/>
                <a:gd name="T9" fmla="*/ 4 h 8"/>
                <a:gd name="T10" fmla="*/ 4 w 10"/>
                <a:gd name="T11" fmla="*/ 4 h 8"/>
                <a:gd name="T12" fmla="*/ 10 w 10"/>
                <a:gd name="T13" fmla="*/ 2 h 8"/>
                <a:gd name="T14" fmla="*/ 10 w 10"/>
                <a:gd name="T15" fmla="*/ 4 h 8"/>
                <a:gd name="T16" fmla="*/ 8 w 10"/>
                <a:gd name="T17" fmla="*/ 6 h 8"/>
                <a:gd name="T18" fmla="*/ 8 w 10"/>
                <a:gd name="T19" fmla="*/ 6 h 8"/>
                <a:gd name="T20" fmla="*/ 6 w 10"/>
                <a:gd name="T21" fmla="*/ 6 h 8"/>
                <a:gd name="T22" fmla="*/ 6 w 10"/>
                <a:gd name="T23" fmla="*/ 6 h 8"/>
                <a:gd name="T24" fmla="*/ 4 w 10"/>
                <a:gd name="T25" fmla="*/ 6 h 8"/>
                <a:gd name="T26" fmla="*/ 4 w 10"/>
                <a:gd name="T27" fmla="*/ 4 h 8"/>
                <a:gd name="T28" fmla="*/ 4 w 10"/>
                <a:gd name="T29" fmla="*/ 6 h 8"/>
                <a:gd name="T30" fmla="*/ 4 w 10"/>
                <a:gd name="T31" fmla="*/ 4 h 8"/>
                <a:gd name="T32" fmla="*/ 2 w 10"/>
                <a:gd name="T33" fmla="*/ 4 h 8"/>
                <a:gd name="T34" fmla="*/ 0 w 10"/>
                <a:gd name="T35" fmla="*/ 4 h 8"/>
                <a:gd name="T36" fmla="*/ 0 w 10"/>
                <a:gd name="T37" fmla="*/ 2 h 8"/>
                <a:gd name="T38" fmla="*/ 2 w 10"/>
                <a:gd name="T39" fmla="*/ 2 h 8"/>
                <a:gd name="T40" fmla="*/ 2 w 10"/>
                <a:gd name="T41" fmla="*/ 0 h 8"/>
                <a:gd name="T42" fmla="*/ 4 w 10"/>
                <a:gd name="T43" fmla="*/ 0 h 8"/>
                <a:gd name="T44" fmla="*/ 6 w 10"/>
                <a:gd name="T45" fmla="*/ 0 h 8"/>
                <a:gd name="T46" fmla="*/ 6 w 10"/>
                <a:gd name="T47" fmla="*/ 2 h 8"/>
                <a:gd name="T48" fmla="*/ 8 w 10"/>
                <a:gd name="T49" fmla="*/ 2 h 8"/>
                <a:gd name="T50" fmla="*/ 10 w 10"/>
                <a:gd name="T51" fmla="*/ 2 h 8"/>
                <a:gd name="T52" fmla="*/ 10 w 10"/>
                <a:gd name="T53" fmla="*/ 2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0" h="8">
                  <a:moveTo>
                    <a:pt x="6" y="8"/>
                  </a:moveTo>
                  <a:lnTo>
                    <a:pt x="6" y="6"/>
                  </a:lnTo>
                  <a:lnTo>
                    <a:pt x="6" y="8"/>
                  </a:lnTo>
                  <a:lnTo>
                    <a:pt x="6" y="8"/>
                  </a:lnTo>
                  <a:moveTo>
                    <a:pt x="4" y="4"/>
                  </a:moveTo>
                  <a:lnTo>
                    <a:pt x="4" y="4"/>
                  </a:lnTo>
                  <a:moveTo>
                    <a:pt x="10" y="2"/>
                  </a:moveTo>
                  <a:lnTo>
                    <a:pt x="10" y="4"/>
                  </a:lnTo>
                  <a:lnTo>
                    <a:pt x="8" y="6"/>
                  </a:lnTo>
                  <a:lnTo>
                    <a:pt x="8" y="6"/>
                  </a:lnTo>
                  <a:lnTo>
                    <a:pt x="6" y="6"/>
                  </a:lnTo>
                  <a:lnTo>
                    <a:pt x="6" y="6"/>
                  </a:lnTo>
                  <a:lnTo>
                    <a:pt x="4" y="6"/>
                  </a:lnTo>
                  <a:lnTo>
                    <a:pt x="4" y="4"/>
                  </a:lnTo>
                  <a:lnTo>
                    <a:pt x="4" y="6"/>
                  </a:lnTo>
                  <a:lnTo>
                    <a:pt x="4" y="4"/>
                  </a:lnTo>
                  <a:lnTo>
                    <a:pt x="2" y="4"/>
                  </a:lnTo>
                  <a:lnTo>
                    <a:pt x="0" y="4"/>
                  </a:lnTo>
                  <a:lnTo>
                    <a:pt x="0" y="2"/>
                  </a:lnTo>
                  <a:lnTo>
                    <a:pt x="2" y="2"/>
                  </a:lnTo>
                  <a:lnTo>
                    <a:pt x="2" y="0"/>
                  </a:lnTo>
                  <a:lnTo>
                    <a:pt x="4" y="0"/>
                  </a:lnTo>
                  <a:lnTo>
                    <a:pt x="6" y="0"/>
                  </a:lnTo>
                  <a:lnTo>
                    <a:pt x="6" y="2"/>
                  </a:lnTo>
                  <a:lnTo>
                    <a:pt x="8" y="2"/>
                  </a:lnTo>
                  <a:lnTo>
                    <a:pt x="10" y="2"/>
                  </a:lnTo>
                  <a:lnTo>
                    <a:pt x="10" y="2"/>
                  </a:lnTo>
                </a:path>
              </a:pathLst>
            </a:custGeom>
            <a:grpFill/>
            <a:ln w="3175">
              <a:solidFill>
                <a:sysClr val="window" lastClr="FFFF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black"/>
                </a:solidFill>
                <a:effectLst/>
                <a:uLnTx/>
                <a:uFillTx/>
                <a:ea typeface="宋体" panose="02010600030101010101" pitchFamily="2" charset="-122"/>
              </a:endParaRPr>
            </a:p>
          </p:txBody>
        </p:sp>
        <p:sp>
          <p:nvSpPr>
            <p:cNvPr id="53" name="Freeform 3697">
              <a:extLst>
                <a:ext uri="{FF2B5EF4-FFF2-40B4-BE49-F238E27FC236}">
                  <a16:creationId xmlns:a16="http://schemas.microsoft.com/office/drawing/2014/main" id="{2ED10A5E-3F8C-2304-2585-E7F0B661CACB}"/>
                </a:ext>
              </a:extLst>
            </p:cNvPr>
            <p:cNvSpPr>
              <a:spLocks noEditPoints="1"/>
            </p:cNvSpPr>
            <p:nvPr/>
          </p:nvSpPr>
          <p:spPr bwMode="auto">
            <a:xfrm>
              <a:off x="7980363" y="4694238"/>
              <a:ext cx="69850" cy="69850"/>
            </a:xfrm>
            <a:custGeom>
              <a:avLst/>
              <a:gdLst>
                <a:gd name="T0" fmla="*/ 36 w 44"/>
                <a:gd name="T1" fmla="*/ 34 h 44"/>
                <a:gd name="T2" fmla="*/ 38 w 44"/>
                <a:gd name="T3" fmla="*/ 32 h 44"/>
                <a:gd name="T4" fmla="*/ 32 w 44"/>
                <a:gd name="T5" fmla="*/ 36 h 44"/>
                <a:gd name="T6" fmla="*/ 36 w 44"/>
                <a:gd name="T7" fmla="*/ 36 h 44"/>
                <a:gd name="T8" fmla="*/ 40 w 44"/>
                <a:gd name="T9" fmla="*/ 32 h 44"/>
                <a:gd name="T10" fmla="*/ 44 w 44"/>
                <a:gd name="T11" fmla="*/ 32 h 44"/>
                <a:gd name="T12" fmla="*/ 40 w 44"/>
                <a:gd name="T13" fmla="*/ 36 h 44"/>
                <a:gd name="T14" fmla="*/ 36 w 44"/>
                <a:gd name="T15" fmla="*/ 40 h 44"/>
                <a:gd name="T16" fmla="*/ 30 w 44"/>
                <a:gd name="T17" fmla="*/ 42 h 44"/>
                <a:gd name="T18" fmla="*/ 30 w 44"/>
                <a:gd name="T19" fmla="*/ 44 h 44"/>
                <a:gd name="T20" fmla="*/ 28 w 44"/>
                <a:gd name="T21" fmla="*/ 42 h 44"/>
                <a:gd name="T22" fmla="*/ 30 w 44"/>
                <a:gd name="T23" fmla="*/ 38 h 44"/>
                <a:gd name="T24" fmla="*/ 30 w 44"/>
                <a:gd name="T25" fmla="*/ 42 h 44"/>
                <a:gd name="T26" fmla="*/ 38 w 44"/>
                <a:gd name="T27" fmla="*/ 34 h 44"/>
                <a:gd name="T28" fmla="*/ 16 w 44"/>
                <a:gd name="T29" fmla="*/ 8 h 44"/>
                <a:gd name="T30" fmla="*/ 8 w 44"/>
                <a:gd name="T31" fmla="*/ 8 h 44"/>
                <a:gd name="T32" fmla="*/ 10 w 44"/>
                <a:gd name="T33" fmla="*/ 8 h 44"/>
                <a:gd name="T34" fmla="*/ 2 w 44"/>
                <a:gd name="T35" fmla="*/ 8 h 44"/>
                <a:gd name="T36" fmla="*/ 2 w 44"/>
                <a:gd name="T37" fmla="*/ 8 h 44"/>
                <a:gd name="T38" fmla="*/ 16 w 44"/>
                <a:gd name="T39" fmla="*/ 4 h 44"/>
                <a:gd name="T40" fmla="*/ 14 w 44"/>
                <a:gd name="T41" fmla="*/ 4 h 44"/>
                <a:gd name="T42" fmla="*/ 16 w 44"/>
                <a:gd name="T43" fmla="*/ 2 h 44"/>
                <a:gd name="T44" fmla="*/ 20 w 44"/>
                <a:gd name="T45" fmla="*/ 2 h 44"/>
                <a:gd name="T46" fmla="*/ 22 w 44"/>
                <a:gd name="T47" fmla="*/ 0 h 44"/>
                <a:gd name="T48" fmla="*/ 24 w 44"/>
                <a:gd name="T49" fmla="*/ 2 h 44"/>
                <a:gd name="T50" fmla="*/ 24 w 44"/>
                <a:gd name="T51" fmla="*/ 2 h 44"/>
                <a:gd name="T52" fmla="*/ 24 w 44"/>
                <a:gd name="T53" fmla="*/ 0 h 44"/>
                <a:gd name="T54" fmla="*/ 22 w 44"/>
                <a:gd name="T55" fmla="*/ 2 h 44"/>
                <a:gd name="T56" fmla="*/ 24 w 44"/>
                <a:gd name="T57" fmla="*/ 4 h 44"/>
                <a:gd name="T58" fmla="*/ 20 w 44"/>
                <a:gd name="T59" fmla="*/ 4 h 44"/>
                <a:gd name="T60" fmla="*/ 18 w 44"/>
                <a:gd name="T61" fmla="*/ 6 h 44"/>
                <a:gd name="T62" fmla="*/ 18 w 44"/>
                <a:gd name="T63" fmla="*/ 6 h 44"/>
                <a:gd name="T64" fmla="*/ 18 w 44"/>
                <a:gd name="T65" fmla="*/ 2 h 44"/>
                <a:gd name="T66" fmla="*/ 20 w 44"/>
                <a:gd name="T67" fmla="*/ 0 h 44"/>
                <a:gd name="T68" fmla="*/ 2 w 44"/>
                <a:gd name="T69" fmla="*/ 8 h 44"/>
                <a:gd name="T70" fmla="*/ 10 w 44"/>
                <a:gd name="T71" fmla="*/ 6 h 44"/>
                <a:gd name="T72" fmla="*/ 14 w 44"/>
                <a:gd name="T73" fmla="*/ 6 h 44"/>
                <a:gd name="T74" fmla="*/ 14 w 44"/>
                <a:gd name="T75" fmla="*/ 6 h 44"/>
                <a:gd name="T76" fmla="*/ 14 w 44"/>
                <a:gd name="T77" fmla="*/ 6 h 44"/>
                <a:gd name="T78" fmla="*/ 12 w 44"/>
                <a:gd name="T79" fmla="*/ 8 h 44"/>
                <a:gd name="T80" fmla="*/ 8 w 44"/>
                <a:gd name="T81" fmla="*/ 8 h 44"/>
                <a:gd name="T82" fmla="*/ 8 w 44"/>
                <a:gd name="T83" fmla="*/ 8 h 44"/>
                <a:gd name="T84" fmla="*/ 6 w 44"/>
                <a:gd name="T85" fmla="*/ 8 h 44"/>
                <a:gd name="T86" fmla="*/ 6 w 44"/>
                <a:gd name="T87" fmla="*/ 8 h 44"/>
                <a:gd name="T88" fmla="*/ 4 w 44"/>
                <a:gd name="T89" fmla="*/ 8 h 44"/>
                <a:gd name="T90" fmla="*/ 10 w 44"/>
                <a:gd name="T91" fmla="*/ 6 h 44"/>
                <a:gd name="T92" fmla="*/ 8 w 44"/>
                <a:gd name="T93" fmla="*/ 4 h 44"/>
                <a:gd name="T94" fmla="*/ 8 w 44"/>
                <a:gd name="T95" fmla="*/ 2 h 44"/>
                <a:gd name="T96" fmla="*/ 8 w 44"/>
                <a:gd name="T97" fmla="*/ 2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44" h="44">
                  <a:moveTo>
                    <a:pt x="34" y="40"/>
                  </a:moveTo>
                  <a:lnTo>
                    <a:pt x="36" y="40"/>
                  </a:lnTo>
                  <a:lnTo>
                    <a:pt x="34" y="40"/>
                  </a:lnTo>
                  <a:close/>
                  <a:moveTo>
                    <a:pt x="36" y="34"/>
                  </a:moveTo>
                  <a:lnTo>
                    <a:pt x="36" y="36"/>
                  </a:lnTo>
                  <a:lnTo>
                    <a:pt x="36" y="34"/>
                  </a:lnTo>
                  <a:close/>
                  <a:moveTo>
                    <a:pt x="38" y="34"/>
                  </a:moveTo>
                  <a:lnTo>
                    <a:pt x="38" y="32"/>
                  </a:lnTo>
                  <a:lnTo>
                    <a:pt x="38" y="34"/>
                  </a:lnTo>
                  <a:close/>
                  <a:moveTo>
                    <a:pt x="32" y="36"/>
                  </a:moveTo>
                  <a:lnTo>
                    <a:pt x="32" y="34"/>
                  </a:lnTo>
                  <a:lnTo>
                    <a:pt x="32" y="36"/>
                  </a:lnTo>
                  <a:lnTo>
                    <a:pt x="32" y="34"/>
                  </a:lnTo>
                  <a:lnTo>
                    <a:pt x="34" y="34"/>
                  </a:lnTo>
                  <a:lnTo>
                    <a:pt x="34" y="36"/>
                  </a:lnTo>
                  <a:lnTo>
                    <a:pt x="36" y="36"/>
                  </a:lnTo>
                  <a:lnTo>
                    <a:pt x="36" y="34"/>
                  </a:lnTo>
                  <a:lnTo>
                    <a:pt x="38" y="34"/>
                  </a:lnTo>
                  <a:lnTo>
                    <a:pt x="38" y="32"/>
                  </a:lnTo>
                  <a:lnTo>
                    <a:pt x="40" y="32"/>
                  </a:lnTo>
                  <a:lnTo>
                    <a:pt x="42" y="32"/>
                  </a:lnTo>
                  <a:lnTo>
                    <a:pt x="44" y="32"/>
                  </a:lnTo>
                  <a:lnTo>
                    <a:pt x="42" y="32"/>
                  </a:lnTo>
                  <a:lnTo>
                    <a:pt x="44" y="32"/>
                  </a:lnTo>
                  <a:lnTo>
                    <a:pt x="42" y="32"/>
                  </a:lnTo>
                  <a:lnTo>
                    <a:pt x="42" y="34"/>
                  </a:lnTo>
                  <a:lnTo>
                    <a:pt x="40" y="34"/>
                  </a:lnTo>
                  <a:lnTo>
                    <a:pt x="40" y="36"/>
                  </a:lnTo>
                  <a:lnTo>
                    <a:pt x="38" y="36"/>
                  </a:lnTo>
                  <a:lnTo>
                    <a:pt x="38" y="38"/>
                  </a:lnTo>
                  <a:lnTo>
                    <a:pt x="36" y="38"/>
                  </a:lnTo>
                  <a:lnTo>
                    <a:pt x="36" y="40"/>
                  </a:lnTo>
                  <a:lnTo>
                    <a:pt x="34" y="40"/>
                  </a:lnTo>
                  <a:lnTo>
                    <a:pt x="32" y="40"/>
                  </a:lnTo>
                  <a:lnTo>
                    <a:pt x="32" y="42"/>
                  </a:lnTo>
                  <a:lnTo>
                    <a:pt x="30" y="42"/>
                  </a:lnTo>
                  <a:lnTo>
                    <a:pt x="30" y="44"/>
                  </a:lnTo>
                  <a:lnTo>
                    <a:pt x="30" y="44"/>
                  </a:lnTo>
                  <a:lnTo>
                    <a:pt x="28" y="44"/>
                  </a:lnTo>
                  <a:lnTo>
                    <a:pt x="30" y="44"/>
                  </a:lnTo>
                  <a:lnTo>
                    <a:pt x="30" y="42"/>
                  </a:lnTo>
                  <a:lnTo>
                    <a:pt x="28" y="42"/>
                  </a:lnTo>
                  <a:lnTo>
                    <a:pt x="30" y="42"/>
                  </a:lnTo>
                  <a:lnTo>
                    <a:pt x="28" y="42"/>
                  </a:lnTo>
                  <a:lnTo>
                    <a:pt x="28" y="40"/>
                  </a:lnTo>
                  <a:lnTo>
                    <a:pt x="28" y="38"/>
                  </a:lnTo>
                  <a:lnTo>
                    <a:pt x="30" y="38"/>
                  </a:lnTo>
                  <a:lnTo>
                    <a:pt x="30" y="38"/>
                  </a:lnTo>
                  <a:lnTo>
                    <a:pt x="30" y="36"/>
                  </a:lnTo>
                  <a:lnTo>
                    <a:pt x="32" y="36"/>
                  </a:lnTo>
                  <a:close/>
                  <a:moveTo>
                    <a:pt x="30" y="44"/>
                  </a:moveTo>
                  <a:lnTo>
                    <a:pt x="30" y="42"/>
                  </a:lnTo>
                  <a:lnTo>
                    <a:pt x="30" y="44"/>
                  </a:lnTo>
                  <a:close/>
                  <a:moveTo>
                    <a:pt x="38" y="34"/>
                  </a:moveTo>
                  <a:lnTo>
                    <a:pt x="36" y="34"/>
                  </a:lnTo>
                  <a:lnTo>
                    <a:pt x="38" y="34"/>
                  </a:lnTo>
                  <a:lnTo>
                    <a:pt x="36" y="34"/>
                  </a:lnTo>
                  <a:lnTo>
                    <a:pt x="38" y="34"/>
                  </a:lnTo>
                  <a:close/>
                  <a:moveTo>
                    <a:pt x="16" y="6"/>
                  </a:moveTo>
                  <a:lnTo>
                    <a:pt x="16" y="8"/>
                  </a:lnTo>
                  <a:lnTo>
                    <a:pt x="16" y="6"/>
                  </a:lnTo>
                  <a:close/>
                  <a:moveTo>
                    <a:pt x="10" y="8"/>
                  </a:moveTo>
                  <a:lnTo>
                    <a:pt x="10" y="8"/>
                  </a:lnTo>
                  <a:lnTo>
                    <a:pt x="8" y="8"/>
                  </a:lnTo>
                  <a:lnTo>
                    <a:pt x="10" y="8"/>
                  </a:lnTo>
                  <a:lnTo>
                    <a:pt x="8" y="8"/>
                  </a:lnTo>
                  <a:lnTo>
                    <a:pt x="8" y="8"/>
                  </a:lnTo>
                  <a:lnTo>
                    <a:pt x="10" y="8"/>
                  </a:lnTo>
                  <a:close/>
                  <a:moveTo>
                    <a:pt x="10" y="8"/>
                  </a:moveTo>
                  <a:lnTo>
                    <a:pt x="10" y="8"/>
                  </a:lnTo>
                  <a:lnTo>
                    <a:pt x="10" y="8"/>
                  </a:lnTo>
                  <a:close/>
                  <a:moveTo>
                    <a:pt x="2" y="8"/>
                  </a:moveTo>
                  <a:lnTo>
                    <a:pt x="2" y="10"/>
                  </a:lnTo>
                  <a:lnTo>
                    <a:pt x="0" y="10"/>
                  </a:lnTo>
                  <a:lnTo>
                    <a:pt x="2" y="10"/>
                  </a:lnTo>
                  <a:lnTo>
                    <a:pt x="2" y="8"/>
                  </a:lnTo>
                  <a:close/>
                  <a:moveTo>
                    <a:pt x="18" y="4"/>
                  </a:moveTo>
                  <a:lnTo>
                    <a:pt x="16" y="4"/>
                  </a:lnTo>
                  <a:lnTo>
                    <a:pt x="18" y="4"/>
                  </a:lnTo>
                  <a:close/>
                  <a:moveTo>
                    <a:pt x="16" y="4"/>
                  </a:moveTo>
                  <a:lnTo>
                    <a:pt x="14" y="4"/>
                  </a:lnTo>
                  <a:lnTo>
                    <a:pt x="16" y="4"/>
                  </a:lnTo>
                  <a:close/>
                  <a:moveTo>
                    <a:pt x="12" y="4"/>
                  </a:moveTo>
                  <a:lnTo>
                    <a:pt x="14" y="4"/>
                  </a:lnTo>
                  <a:lnTo>
                    <a:pt x="12" y="4"/>
                  </a:lnTo>
                  <a:lnTo>
                    <a:pt x="12" y="6"/>
                  </a:lnTo>
                  <a:lnTo>
                    <a:pt x="12" y="4"/>
                  </a:lnTo>
                  <a:close/>
                  <a:moveTo>
                    <a:pt x="16" y="2"/>
                  </a:moveTo>
                  <a:lnTo>
                    <a:pt x="16" y="4"/>
                  </a:lnTo>
                  <a:lnTo>
                    <a:pt x="16" y="2"/>
                  </a:lnTo>
                  <a:close/>
                  <a:moveTo>
                    <a:pt x="20" y="0"/>
                  </a:moveTo>
                  <a:lnTo>
                    <a:pt x="20" y="2"/>
                  </a:lnTo>
                  <a:lnTo>
                    <a:pt x="20" y="0"/>
                  </a:lnTo>
                  <a:lnTo>
                    <a:pt x="20" y="2"/>
                  </a:lnTo>
                  <a:lnTo>
                    <a:pt x="20" y="0"/>
                  </a:lnTo>
                  <a:lnTo>
                    <a:pt x="22" y="0"/>
                  </a:lnTo>
                  <a:lnTo>
                    <a:pt x="24" y="0"/>
                  </a:lnTo>
                  <a:lnTo>
                    <a:pt x="24" y="2"/>
                  </a:lnTo>
                  <a:lnTo>
                    <a:pt x="24" y="0"/>
                  </a:lnTo>
                  <a:lnTo>
                    <a:pt x="24" y="2"/>
                  </a:lnTo>
                  <a:lnTo>
                    <a:pt x="24" y="0"/>
                  </a:lnTo>
                  <a:lnTo>
                    <a:pt x="24" y="2"/>
                  </a:lnTo>
                  <a:lnTo>
                    <a:pt x="24" y="0"/>
                  </a:lnTo>
                  <a:lnTo>
                    <a:pt x="24" y="2"/>
                  </a:lnTo>
                  <a:lnTo>
                    <a:pt x="22" y="2"/>
                  </a:lnTo>
                  <a:lnTo>
                    <a:pt x="24" y="2"/>
                  </a:lnTo>
                  <a:lnTo>
                    <a:pt x="22" y="2"/>
                  </a:lnTo>
                  <a:lnTo>
                    <a:pt x="24" y="0"/>
                  </a:lnTo>
                  <a:lnTo>
                    <a:pt x="22" y="0"/>
                  </a:lnTo>
                  <a:lnTo>
                    <a:pt x="22" y="2"/>
                  </a:lnTo>
                  <a:lnTo>
                    <a:pt x="22" y="0"/>
                  </a:lnTo>
                  <a:lnTo>
                    <a:pt x="22" y="2"/>
                  </a:lnTo>
                  <a:lnTo>
                    <a:pt x="22" y="0"/>
                  </a:lnTo>
                  <a:lnTo>
                    <a:pt x="22" y="2"/>
                  </a:lnTo>
                  <a:lnTo>
                    <a:pt x="24" y="2"/>
                  </a:lnTo>
                  <a:lnTo>
                    <a:pt x="24" y="4"/>
                  </a:lnTo>
                  <a:lnTo>
                    <a:pt x="22" y="4"/>
                  </a:lnTo>
                  <a:lnTo>
                    <a:pt x="20" y="4"/>
                  </a:lnTo>
                  <a:lnTo>
                    <a:pt x="20" y="6"/>
                  </a:lnTo>
                  <a:lnTo>
                    <a:pt x="20" y="4"/>
                  </a:lnTo>
                  <a:lnTo>
                    <a:pt x="18" y="4"/>
                  </a:lnTo>
                  <a:lnTo>
                    <a:pt x="20" y="4"/>
                  </a:lnTo>
                  <a:lnTo>
                    <a:pt x="20" y="6"/>
                  </a:lnTo>
                  <a:lnTo>
                    <a:pt x="18" y="6"/>
                  </a:lnTo>
                  <a:lnTo>
                    <a:pt x="18" y="4"/>
                  </a:lnTo>
                  <a:lnTo>
                    <a:pt x="18" y="6"/>
                  </a:lnTo>
                  <a:lnTo>
                    <a:pt x="18" y="4"/>
                  </a:lnTo>
                  <a:lnTo>
                    <a:pt x="18" y="6"/>
                  </a:lnTo>
                  <a:lnTo>
                    <a:pt x="18" y="4"/>
                  </a:lnTo>
                  <a:lnTo>
                    <a:pt x="18" y="6"/>
                  </a:lnTo>
                  <a:lnTo>
                    <a:pt x="18" y="4"/>
                  </a:lnTo>
                  <a:lnTo>
                    <a:pt x="18" y="2"/>
                  </a:lnTo>
                  <a:lnTo>
                    <a:pt x="20" y="2"/>
                  </a:lnTo>
                  <a:lnTo>
                    <a:pt x="18" y="2"/>
                  </a:lnTo>
                  <a:lnTo>
                    <a:pt x="20" y="2"/>
                  </a:lnTo>
                  <a:lnTo>
                    <a:pt x="20" y="0"/>
                  </a:lnTo>
                  <a:close/>
                  <a:moveTo>
                    <a:pt x="18" y="4"/>
                  </a:moveTo>
                  <a:lnTo>
                    <a:pt x="18" y="6"/>
                  </a:lnTo>
                  <a:lnTo>
                    <a:pt x="18" y="4"/>
                  </a:lnTo>
                  <a:close/>
                  <a:moveTo>
                    <a:pt x="2" y="8"/>
                  </a:moveTo>
                  <a:lnTo>
                    <a:pt x="0" y="8"/>
                  </a:lnTo>
                  <a:lnTo>
                    <a:pt x="2" y="8"/>
                  </a:lnTo>
                  <a:close/>
                  <a:moveTo>
                    <a:pt x="8" y="6"/>
                  </a:moveTo>
                  <a:lnTo>
                    <a:pt x="10" y="6"/>
                  </a:lnTo>
                  <a:lnTo>
                    <a:pt x="12" y="6"/>
                  </a:lnTo>
                  <a:lnTo>
                    <a:pt x="10" y="6"/>
                  </a:lnTo>
                  <a:lnTo>
                    <a:pt x="12" y="6"/>
                  </a:lnTo>
                  <a:lnTo>
                    <a:pt x="14" y="6"/>
                  </a:lnTo>
                  <a:lnTo>
                    <a:pt x="12" y="6"/>
                  </a:lnTo>
                  <a:lnTo>
                    <a:pt x="14" y="6"/>
                  </a:lnTo>
                  <a:lnTo>
                    <a:pt x="16" y="6"/>
                  </a:lnTo>
                  <a:lnTo>
                    <a:pt x="14" y="6"/>
                  </a:lnTo>
                  <a:lnTo>
                    <a:pt x="16" y="6"/>
                  </a:lnTo>
                  <a:lnTo>
                    <a:pt x="16" y="8"/>
                  </a:lnTo>
                  <a:lnTo>
                    <a:pt x="14" y="8"/>
                  </a:lnTo>
                  <a:lnTo>
                    <a:pt x="14" y="6"/>
                  </a:lnTo>
                  <a:lnTo>
                    <a:pt x="14" y="8"/>
                  </a:lnTo>
                  <a:lnTo>
                    <a:pt x="14" y="6"/>
                  </a:lnTo>
                  <a:lnTo>
                    <a:pt x="14" y="8"/>
                  </a:lnTo>
                  <a:lnTo>
                    <a:pt x="12" y="8"/>
                  </a:lnTo>
                  <a:lnTo>
                    <a:pt x="14" y="8"/>
                  </a:lnTo>
                  <a:lnTo>
                    <a:pt x="12" y="8"/>
                  </a:lnTo>
                  <a:lnTo>
                    <a:pt x="10" y="8"/>
                  </a:lnTo>
                  <a:lnTo>
                    <a:pt x="8" y="8"/>
                  </a:lnTo>
                  <a:lnTo>
                    <a:pt x="8" y="8"/>
                  </a:lnTo>
                  <a:lnTo>
                    <a:pt x="8" y="8"/>
                  </a:lnTo>
                  <a:lnTo>
                    <a:pt x="8" y="8"/>
                  </a:lnTo>
                  <a:lnTo>
                    <a:pt x="8" y="8"/>
                  </a:lnTo>
                  <a:lnTo>
                    <a:pt x="8" y="8"/>
                  </a:lnTo>
                  <a:lnTo>
                    <a:pt x="8" y="8"/>
                  </a:lnTo>
                  <a:lnTo>
                    <a:pt x="6" y="8"/>
                  </a:lnTo>
                  <a:lnTo>
                    <a:pt x="6" y="8"/>
                  </a:lnTo>
                  <a:lnTo>
                    <a:pt x="6" y="8"/>
                  </a:lnTo>
                  <a:lnTo>
                    <a:pt x="8" y="8"/>
                  </a:lnTo>
                  <a:lnTo>
                    <a:pt x="6" y="8"/>
                  </a:lnTo>
                  <a:lnTo>
                    <a:pt x="6" y="8"/>
                  </a:lnTo>
                  <a:lnTo>
                    <a:pt x="4" y="8"/>
                  </a:lnTo>
                  <a:lnTo>
                    <a:pt x="2" y="8"/>
                  </a:lnTo>
                  <a:lnTo>
                    <a:pt x="4" y="8"/>
                  </a:lnTo>
                  <a:lnTo>
                    <a:pt x="4" y="8"/>
                  </a:lnTo>
                  <a:lnTo>
                    <a:pt x="6" y="8"/>
                  </a:lnTo>
                  <a:lnTo>
                    <a:pt x="6" y="6"/>
                  </a:lnTo>
                  <a:lnTo>
                    <a:pt x="8" y="6"/>
                  </a:lnTo>
                  <a:lnTo>
                    <a:pt x="10" y="6"/>
                  </a:lnTo>
                  <a:lnTo>
                    <a:pt x="8" y="6"/>
                  </a:lnTo>
                  <a:close/>
                  <a:moveTo>
                    <a:pt x="8" y="4"/>
                  </a:moveTo>
                  <a:lnTo>
                    <a:pt x="10" y="4"/>
                  </a:lnTo>
                  <a:lnTo>
                    <a:pt x="8" y="4"/>
                  </a:lnTo>
                  <a:close/>
                  <a:moveTo>
                    <a:pt x="0" y="6"/>
                  </a:moveTo>
                  <a:lnTo>
                    <a:pt x="2" y="6"/>
                  </a:lnTo>
                  <a:lnTo>
                    <a:pt x="0" y="6"/>
                  </a:lnTo>
                  <a:close/>
                  <a:moveTo>
                    <a:pt x="8" y="2"/>
                  </a:moveTo>
                  <a:lnTo>
                    <a:pt x="10" y="2"/>
                  </a:lnTo>
                  <a:lnTo>
                    <a:pt x="10" y="4"/>
                  </a:lnTo>
                  <a:lnTo>
                    <a:pt x="8" y="4"/>
                  </a:lnTo>
                  <a:lnTo>
                    <a:pt x="8" y="2"/>
                  </a:lnTo>
                  <a:close/>
                </a:path>
              </a:pathLst>
            </a:custGeom>
            <a:grpFill/>
            <a:ln w="3175">
              <a:solidFill>
                <a:sysClr val="window" lastClr="FFFF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black"/>
                </a:solidFill>
                <a:effectLst/>
                <a:uLnTx/>
                <a:uFillTx/>
                <a:ea typeface="宋体" panose="02010600030101010101" pitchFamily="2" charset="-122"/>
              </a:endParaRPr>
            </a:p>
          </p:txBody>
        </p:sp>
      </p:grpSp>
      <p:sp>
        <p:nvSpPr>
          <p:cNvPr id="54" name="Freeform 6">
            <a:extLst>
              <a:ext uri="{FF2B5EF4-FFF2-40B4-BE49-F238E27FC236}">
                <a16:creationId xmlns:a16="http://schemas.microsoft.com/office/drawing/2014/main" id="{96A5E739-D3D8-D78E-19A3-0636B2B8A536}"/>
              </a:ext>
            </a:extLst>
          </p:cNvPr>
          <p:cNvSpPr>
            <a:spLocks noEditPoints="1"/>
          </p:cNvSpPr>
          <p:nvPr/>
        </p:nvSpPr>
        <p:spPr bwMode="auto">
          <a:xfrm rot="295519">
            <a:off x="2371049" y="370594"/>
            <a:ext cx="1943650" cy="2123304"/>
          </a:xfrm>
          <a:custGeom>
            <a:avLst/>
            <a:gdLst>
              <a:gd name="T0" fmla="*/ 83 w 2003"/>
              <a:gd name="T1" fmla="*/ 563 h 2281"/>
              <a:gd name="T2" fmla="*/ 123 w 2003"/>
              <a:gd name="T3" fmla="*/ 657 h 2281"/>
              <a:gd name="T4" fmla="*/ 280 w 2003"/>
              <a:gd name="T5" fmla="*/ 908 h 2281"/>
              <a:gd name="T6" fmla="*/ 342 w 2003"/>
              <a:gd name="T7" fmla="*/ 952 h 2281"/>
              <a:gd name="T8" fmla="*/ 1529 w 2003"/>
              <a:gd name="T9" fmla="*/ 2279 h 2281"/>
              <a:gd name="T10" fmla="*/ 511 w 2003"/>
              <a:gd name="T11" fmla="*/ 1046 h 2281"/>
              <a:gd name="T12" fmla="*/ 649 w 2003"/>
              <a:gd name="T13" fmla="*/ 1244 h 2281"/>
              <a:gd name="T14" fmla="*/ 645 w 2003"/>
              <a:gd name="T15" fmla="*/ 1227 h 2281"/>
              <a:gd name="T16" fmla="*/ 647 w 2003"/>
              <a:gd name="T17" fmla="*/ 1204 h 2281"/>
              <a:gd name="T18" fmla="*/ 1454 w 2003"/>
              <a:gd name="T19" fmla="*/ 2104 h 2281"/>
              <a:gd name="T20" fmla="*/ 1556 w 2003"/>
              <a:gd name="T21" fmla="*/ 2173 h 2281"/>
              <a:gd name="T22" fmla="*/ 1527 w 2003"/>
              <a:gd name="T23" fmla="*/ 2125 h 2281"/>
              <a:gd name="T24" fmla="*/ 1488 w 2003"/>
              <a:gd name="T25" fmla="*/ 2221 h 2281"/>
              <a:gd name="T26" fmla="*/ 1488 w 2003"/>
              <a:gd name="T27" fmla="*/ 2125 h 2281"/>
              <a:gd name="T28" fmla="*/ 874 w 2003"/>
              <a:gd name="T29" fmla="*/ 1403 h 2281"/>
              <a:gd name="T30" fmla="*/ 899 w 2003"/>
              <a:gd name="T31" fmla="*/ 1380 h 2281"/>
              <a:gd name="T32" fmla="*/ 1469 w 2003"/>
              <a:gd name="T33" fmla="*/ 2075 h 2281"/>
              <a:gd name="T34" fmla="*/ 1473 w 2003"/>
              <a:gd name="T35" fmla="*/ 1981 h 2281"/>
              <a:gd name="T36" fmla="*/ 1467 w 2003"/>
              <a:gd name="T37" fmla="*/ 2054 h 2281"/>
              <a:gd name="T38" fmla="*/ 1473 w 2003"/>
              <a:gd name="T39" fmla="*/ 1931 h 2281"/>
              <a:gd name="T40" fmla="*/ 931 w 2003"/>
              <a:gd name="T41" fmla="*/ 1400 h 2281"/>
              <a:gd name="T42" fmla="*/ 974 w 2003"/>
              <a:gd name="T43" fmla="*/ 1355 h 2281"/>
              <a:gd name="T44" fmla="*/ 1525 w 2003"/>
              <a:gd name="T45" fmla="*/ 1951 h 2281"/>
              <a:gd name="T46" fmla="*/ 1567 w 2003"/>
              <a:gd name="T47" fmla="*/ 1943 h 2281"/>
              <a:gd name="T48" fmla="*/ 1521 w 2003"/>
              <a:gd name="T49" fmla="*/ 2004 h 2281"/>
              <a:gd name="T50" fmla="*/ 1561 w 2003"/>
              <a:gd name="T51" fmla="*/ 1918 h 2281"/>
              <a:gd name="T52" fmla="*/ 1573 w 2003"/>
              <a:gd name="T53" fmla="*/ 1874 h 2281"/>
              <a:gd name="T54" fmla="*/ 1246 w 2003"/>
              <a:gd name="T55" fmla="*/ 1440 h 2281"/>
              <a:gd name="T56" fmla="*/ 1339 w 2003"/>
              <a:gd name="T57" fmla="*/ 1494 h 2281"/>
              <a:gd name="T58" fmla="*/ 1314 w 2003"/>
              <a:gd name="T59" fmla="*/ 1476 h 2281"/>
              <a:gd name="T60" fmla="*/ 1306 w 2003"/>
              <a:gd name="T61" fmla="*/ 1417 h 2281"/>
              <a:gd name="T62" fmla="*/ 1024 w 2003"/>
              <a:gd name="T63" fmla="*/ 754 h 2281"/>
              <a:gd name="T64" fmla="*/ 1062 w 2003"/>
              <a:gd name="T65" fmla="*/ 597 h 2281"/>
              <a:gd name="T66" fmla="*/ 1406 w 2003"/>
              <a:gd name="T67" fmla="*/ 766 h 2281"/>
              <a:gd name="T68" fmla="*/ 1917 w 2003"/>
              <a:gd name="T69" fmla="*/ 931 h 2281"/>
              <a:gd name="T70" fmla="*/ 857 w 2003"/>
              <a:gd name="T71" fmla="*/ 1231 h 2281"/>
              <a:gd name="T72" fmla="*/ 908 w 2003"/>
              <a:gd name="T73" fmla="*/ 1060 h 2281"/>
              <a:gd name="T74" fmla="*/ 956 w 2003"/>
              <a:gd name="T75" fmla="*/ 877 h 2281"/>
              <a:gd name="T76" fmla="*/ 1125 w 2003"/>
              <a:gd name="T77" fmla="*/ 770 h 2281"/>
              <a:gd name="T78" fmla="*/ 1292 w 2003"/>
              <a:gd name="T79" fmla="*/ 793 h 2281"/>
              <a:gd name="T80" fmla="*/ 1273 w 2003"/>
              <a:gd name="T81" fmla="*/ 574 h 2281"/>
              <a:gd name="T82" fmla="*/ 1406 w 2003"/>
              <a:gd name="T83" fmla="*/ 735 h 2281"/>
              <a:gd name="T84" fmla="*/ 1465 w 2003"/>
              <a:gd name="T85" fmla="*/ 635 h 2281"/>
              <a:gd name="T86" fmla="*/ 1738 w 2003"/>
              <a:gd name="T87" fmla="*/ 626 h 2281"/>
              <a:gd name="T88" fmla="*/ 1821 w 2003"/>
              <a:gd name="T89" fmla="*/ 716 h 2281"/>
              <a:gd name="T90" fmla="*/ 1911 w 2003"/>
              <a:gd name="T91" fmla="*/ 916 h 2281"/>
              <a:gd name="T92" fmla="*/ 1527 w 2003"/>
              <a:gd name="T93" fmla="*/ 1689 h 2281"/>
              <a:gd name="T94" fmla="*/ 1563 w 2003"/>
              <a:gd name="T95" fmla="*/ 2246 h 2281"/>
              <a:gd name="T96" fmla="*/ 1557 w 2003"/>
              <a:gd name="T97" fmla="*/ 2135 h 2281"/>
              <a:gd name="T98" fmla="*/ 1577 w 2003"/>
              <a:gd name="T99" fmla="*/ 1981 h 2281"/>
              <a:gd name="T100" fmla="*/ 1544 w 2003"/>
              <a:gd name="T101" fmla="*/ 1926 h 2281"/>
              <a:gd name="T102" fmla="*/ 1490 w 2003"/>
              <a:gd name="T103" fmla="*/ 1881 h 2281"/>
              <a:gd name="T104" fmla="*/ 1438 w 2003"/>
              <a:gd name="T105" fmla="*/ 1668 h 2281"/>
              <a:gd name="T106" fmla="*/ 1352 w 2003"/>
              <a:gd name="T107" fmla="*/ 1471 h 2281"/>
              <a:gd name="T108" fmla="*/ 1325 w 2003"/>
              <a:gd name="T109" fmla="*/ 1388 h 2281"/>
              <a:gd name="T110" fmla="*/ 1204 w 2003"/>
              <a:gd name="T111" fmla="*/ 1407 h 2281"/>
              <a:gd name="T112" fmla="*/ 1135 w 2003"/>
              <a:gd name="T113" fmla="*/ 1359 h 2281"/>
              <a:gd name="T114" fmla="*/ 1202 w 2003"/>
              <a:gd name="T115" fmla="*/ 1281 h 2281"/>
              <a:gd name="T116" fmla="*/ 972 w 2003"/>
              <a:gd name="T117" fmla="*/ 1315 h 2281"/>
              <a:gd name="T118" fmla="*/ 747 w 2003"/>
              <a:gd name="T119" fmla="*/ 1254 h 2281"/>
              <a:gd name="T120" fmla="*/ 599 w 2003"/>
              <a:gd name="T121" fmla="*/ 1146 h 2281"/>
              <a:gd name="T122" fmla="*/ 661 w 2003"/>
              <a:gd name="T123" fmla="*/ 1177 h 2281"/>
              <a:gd name="T124" fmla="*/ 14 w 2003"/>
              <a:gd name="T125" fmla="*/ 340 h 2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03" h="2281">
                <a:moveTo>
                  <a:pt x="12" y="445"/>
                </a:moveTo>
                <a:lnTo>
                  <a:pt x="12" y="447"/>
                </a:lnTo>
                <a:lnTo>
                  <a:pt x="10" y="447"/>
                </a:lnTo>
                <a:lnTo>
                  <a:pt x="10" y="449"/>
                </a:lnTo>
                <a:lnTo>
                  <a:pt x="8" y="447"/>
                </a:lnTo>
                <a:lnTo>
                  <a:pt x="8" y="449"/>
                </a:lnTo>
                <a:lnTo>
                  <a:pt x="8" y="447"/>
                </a:lnTo>
                <a:lnTo>
                  <a:pt x="6" y="447"/>
                </a:lnTo>
                <a:lnTo>
                  <a:pt x="4" y="447"/>
                </a:lnTo>
                <a:lnTo>
                  <a:pt x="4" y="445"/>
                </a:lnTo>
                <a:lnTo>
                  <a:pt x="6" y="445"/>
                </a:lnTo>
                <a:lnTo>
                  <a:pt x="8" y="445"/>
                </a:lnTo>
                <a:lnTo>
                  <a:pt x="8" y="443"/>
                </a:lnTo>
                <a:lnTo>
                  <a:pt x="10" y="443"/>
                </a:lnTo>
                <a:lnTo>
                  <a:pt x="10" y="445"/>
                </a:lnTo>
                <a:lnTo>
                  <a:pt x="12" y="445"/>
                </a:lnTo>
                <a:close/>
                <a:moveTo>
                  <a:pt x="21" y="453"/>
                </a:moveTo>
                <a:lnTo>
                  <a:pt x="19" y="453"/>
                </a:lnTo>
                <a:lnTo>
                  <a:pt x="19" y="455"/>
                </a:lnTo>
                <a:lnTo>
                  <a:pt x="17" y="455"/>
                </a:lnTo>
                <a:lnTo>
                  <a:pt x="17" y="453"/>
                </a:lnTo>
                <a:lnTo>
                  <a:pt x="15" y="453"/>
                </a:lnTo>
                <a:lnTo>
                  <a:pt x="14" y="453"/>
                </a:lnTo>
                <a:lnTo>
                  <a:pt x="14" y="451"/>
                </a:lnTo>
                <a:lnTo>
                  <a:pt x="15" y="451"/>
                </a:lnTo>
                <a:lnTo>
                  <a:pt x="17" y="451"/>
                </a:lnTo>
                <a:lnTo>
                  <a:pt x="19" y="451"/>
                </a:lnTo>
                <a:lnTo>
                  <a:pt x="21" y="451"/>
                </a:lnTo>
                <a:lnTo>
                  <a:pt x="21" y="453"/>
                </a:lnTo>
                <a:close/>
                <a:moveTo>
                  <a:pt x="35" y="486"/>
                </a:moveTo>
                <a:lnTo>
                  <a:pt x="35" y="484"/>
                </a:lnTo>
                <a:lnTo>
                  <a:pt x="35" y="486"/>
                </a:lnTo>
                <a:close/>
                <a:moveTo>
                  <a:pt x="37" y="455"/>
                </a:moveTo>
                <a:lnTo>
                  <a:pt x="37" y="457"/>
                </a:lnTo>
                <a:lnTo>
                  <a:pt x="37" y="459"/>
                </a:lnTo>
                <a:lnTo>
                  <a:pt x="37" y="461"/>
                </a:lnTo>
                <a:lnTo>
                  <a:pt x="35" y="461"/>
                </a:lnTo>
                <a:lnTo>
                  <a:pt x="35" y="459"/>
                </a:lnTo>
                <a:lnTo>
                  <a:pt x="35" y="457"/>
                </a:lnTo>
                <a:lnTo>
                  <a:pt x="35" y="455"/>
                </a:lnTo>
                <a:lnTo>
                  <a:pt x="37" y="455"/>
                </a:lnTo>
                <a:lnTo>
                  <a:pt x="37" y="453"/>
                </a:lnTo>
                <a:lnTo>
                  <a:pt x="37" y="455"/>
                </a:lnTo>
                <a:close/>
                <a:moveTo>
                  <a:pt x="35" y="443"/>
                </a:moveTo>
                <a:lnTo>
                  <a:pt x="35" y="445"/>
                </a:lnTo>
                <a:lnTo>
                  <a:pt x="35" y="443"/>
                </a:lnTo>
                <a:close/>
                <a:moveTo>
                  <a:pt x="42" y="468"/>
                </a:moveTo>
                <a:lnTo>
                  <a:pt x="40" y="468"/>
                </a:lnTo>
                <a:lnTo>
                  <a:pt x="40" y="467"/>
                </a:lnTo>
                <a:lnTo>
                  <a:pt x="42" y="467"/>
                </a:lnTo>
                <a:lnTo>
                  <a:pt x="40" y="467"/>
                </a:lnTo>
                <a:lnTo>
                  <a:pt x="42" y="467"/>
                </a:lnTo>
                <a:lnTo>
                  <a:pt x="42" y="468"/>
                </a:lnTo>
                <a:close/>
                <a:moveTo>
                  <a:pt x="42" y="465"/>
                </a:moveTo>
                <a:lnTo>
                  <a:pt x="42" y="467"/>
                </a:lnTo>
                <a:lnTo>
                  <a:pt x="42" y="465"/>
                </a:lnTo>
                <a:lnTo>
                  <a:pt x="42" y="467"/>
                </a:lnTo>
                <a:lnTo>
                  <a:pt x="40" y="467"/>
                </a:lnTo>
                <a:lnTo>
                  <a:pt x="40" y="465"/>
                </a:lnTo>
                <a:lnTo>
                  <a:pt x="40" y="467"/>
                </a:lnTo>
                <a:lnTo>
                  <a:pt x="40" y="465"/>
                </a:lnTo>
                <a:lnTo>
                  <a:pt x="40" y="463"/>
                </a:lnTo>
                <a:lnTo>
                  <a:pt x="42" y="463"/>
                </a:lnTo>
                <a:lnTo>
                  <a:pt x="42" y="465"/>
                </a:lnTo>
                <a:lnTo>
                  <a:pt x="42" y="463"/>
                </a:lnTo>
                <a:lnTo>
                  <a:pt x="42" y="465"/>
                </a:lnTo>
                <a:close/>
                <a:moveTo>
                  <a:pt x="85" y="587"/>
                </a:moveTo>
                <a:lnTo>
                  <a:pt x="86" y="587"/>
                </a:lnTo>
                <a:lnTo>
                  <a:pt x="85" y="587"/>
                </a:lnTo>
                <a:close/>
                <a:moveTo>
                  <a:pt x="79" y="555"/>
                </a:moveTo>
                <a:lnTo>
                  <a:pt x="77" y="555"/>
                </a:lnTo>
                <a:lnTo>
                  <a:pt x="79" y="555"/>
                </a:lnTo>
                <a:close/>
                <a:moveTo>
                  <a:pt x="79" y="553"/>
                </a:moveTo>
                <a:lnTo>
                  <a:pt x="77" y="553"/>
                </a:lnTo>
                <a:lnTo>
                  <a:pt x="79" y="553"/>
                </a:lnTo>
                <a:lnTo>
                  <a:pt x="79" y="551"/>
                </a:lnTo>
                <a:lnTo>
                  <a:pt x="79" y="553"/>
                </a:lnTo>
                <a:close/>
                <a:moveTo>
                  <a:pt x="79" y="555"/>
                </a:moveTo>
                <a:lnTo>
                  <a:pt x="79" y="553"/>
                </a:lnTo>
                <a:lnTo>
                  <a:pt x="79" y="555"/>
                </a:lnTo>
                <a:lnTo>
                  <a:pt x="79" y="553"/>
                </a:lnTo>
                <a:lnTo>
                  <a:pt x="79" y="555"/>
                </a:lnTo>
                <a:close/>
                <a:moveTo>
                  <a:pt x="58" y="453"/>
                </a:moveTo>
                <a:lnTo>
                  <a:pt x="58" y="455"/>
                </a:lnTo>
                <a:lnTo>
                  <a:pt x="56" y="455"/>
                </a:lnTo>
                <a:lnTo>
                  <a:pt x="56" y="457"/>
                </a:lnTo>
                <a:lnTo>
                  <a:pt x="54" y="457"/>
                </a:lnTo>
                <a:lnTo>
                  <a:pt x="52" y="457"/>
                </a:lnTo>
                <a:lnTo>
                  <a:pt x="52" y="455"/>
                </a:lnTo>
                <a:lnTo>
                  <a:pt x="52" y="453"/>
                </a:lnTo>
                <a:lnTo>
                  <a:pt x="52" y="451"/>
                </a:lnTo>
                <a:lnTo>
                  <a:pt x="54" y="451"/>
                </a:lnTo>
                <a:lnTo>
                  <a:pt x="54" y="449"/>
                </a:lnTo>
                <a:lnTo>
                  <a:pt x="56" y="449"/>
                </a:lnTo>
                <a:lnTo>
                  <a:pt x="58" y="449"/>
                </a:lnTo>
                <a:lnTo>
                  <a:pt x="58" y="451"/>
                </a:lnTo>
                <a:lnTo>
                  <a:pt x="58" y="453"/>
                </a:lnTo>
                <a:close/>
                <a:moveTo>
                  <a:pt x="92" y="597"/>
                </a:moveTo>
                <a:lnTo>
                  <a:pt x="92" y="599"/>
                </a:lnTo>
                <a:lnTo>
                  <a:pt x="92" y="597"/>
                </a:lnTo>
                <a:close/>
                <a:moveTo>
                  <a:pt x="90" y="578"/>
                </a:moveTo>
                <a:lnTo>
                  <a:pt x="88" y="578"/>
                </a:lnTo>
                <a:lnTo>
                  <a:pt x="86" y="578"/>
                </a:lnTo>
                <a:lnTo>
                  <a:pt x="86" y="576"/>
                </a:lnTo>
                <a:lnTo>
                  <a:pt x="86" y="578"/>
                </a:lnTo>
                <a:lnTo>
                  <a:pt x="85" y="578"/>
                </a:lnTo>
                <a:lnTo>
                  <a:pt x="86" y="578"/>
                </a:lnTo>
                <a:lnTo>
                  <a:pt x="86" y="580"/>
                </a:lnTo>
                <a:lnTo>
                  <a:pt x="85" y="580"/>
                </a:lnTo>
                <a:lnTo>
                  <a:pt x="83" y="580"/>
                </a:lnTo>
                <a:lnTo>
                  <a:pt x="83" y="582"/>
                </a:lnTo>
                <a:lnTo>
                  <a:pt x="83" y="580"/>
                </a:lnTo>
                <a:lnTo>
                  <a:pt x="81" y="580"/>
                </a:lnTo>
                <a:lnTo>
                  <a:pt x="79" y="580"/>
                </a:lnTo>
                <a:lnTo>
                  <a:pt x="81" y="580"/>
                </a:lnTo>
                <a:lnTo>
                  <a:pt x="81" y="578"/>
                </a:lnTo>
                <a:lnTo>
                  <a:pt x="79" y="580"/>
                </a:lnTo>
                <a:lnTo>
                  <a:pt x="79" y="578"/>
                </a:lnTo>
                <a:lnTo>
                  <a:pt x="77" y="578"/>
                </a:lnTo>
                <a:lnTo>
                  <a:pt x="79" y="578"/>
                </a:lnTo>
                <a:lnTo>
                  <a:pt x="79" y="576"/>
                </a:lnTo>
                <a:lnTo>
                  <a:pt x="77" y="576"/>
                </a:lnTo>
                <a:lnTo>
                  <a:pt x="79" y="576"/>
                </a:lnTo>
                <a:lnTo>
                  <a:pt x="77" y="576"/>
                </a:lnTo>
                <a:lnTo>
                  <a:pt x="79" y="576"/>
                </a:lnTo>
                <a:lnTo>
                  <a:pt x="79" y="574"/>
                </a:lnTo>
                <a:lnTo>
                  <a:pt x="81" y="574"/>
                </a:lnTo>
                <a:lnTo>
                  <a:pt x="83" y="574"/>
                </a:lnTo>
                <a:lnTo>
                  <a:pt x="85" y="572"/>
                </a:lnTo>
                <a:lnTo>
                  <a:pt x="85" y="574"/>
                </a:lnTo>
                <a:lnTo>
                  <a:pt x="85" y="572"/>
                </a:lnTo>
                <a:lnTo>
                  <a:pt x="86" y="572"/>
                </a:lnTo>
                <a:lnTo>
                  <a:pt x="88" y="572"/>
                </a:lnTo>
                <a:lnTo>
                  <a:pt x="88" y="574"/>
                </a:lnTo>
                <a:lnTo>
                  <a:pt x="88" y="576"/>
                </a:lnTo>
                <a:lnTo>
                  <a:pt x="90" y="576"/>
                </a:lnTo>
                <a:lnTo>
                  <a:pt x="90" y="578"/>
                </a:lnTo>
                <a:close/>
                <a:moveTo>
                  <a:pt x="92" y="584"/>
                </a:moveTo>
                <a:lnTo>
                  <a:pt x="90" y="584"/>
                </a:lnTo>
                <a:lnTo>
                  <a:pt x="90" y="586"/>
                </a:lnTo>
                <a:lnTo>
                  <a:pt x="88" y="586"/>
                </a:lnTo>
                <a:lnTo>
                  <a:pt x="88" y="587"/>
                </a:lnTo>
                <a:lnTo>
                  <a:pt x="90" y="587"/>
                </a:lnTo>
                <a:lnTo>
                  <a:pt x="90" y="589"/>
                </a:lnTo>
                <a:lnTo>
                  <a:pt x="90" y="591"/>
                </a:lnTo>
                <a:lnTo>
                  <a:pt x="90" y="593"/>
                </a:lnTo>
                <a:lnTo>
                  <a:pt x="88" y="593"/>
                </a:lnTo>
                <a:lnTo>
                  <a:pt x="90" y="593"/>
                </a:lnTo>
                <a:lnTo>
                  <a:pt x="90" y="591"/>
                </a:lnTo>
                <a:lnTo>
                  <a:pt x="88" y="591"/>
                </a:lnTo>
                <a:lnTo>
                  <a:pt x="88" y="589"/>
                </a:lnTo>
                <a:lnTo>
                  <a:pt x="88" y="587"/>
                </a:lnTo>
                <a:lnTo>
                  <a:pt x="88" y="589"/>
                </a:lnTo>
                <a:lnTo>
                  <a:pt x="86" y="589"/>
                </a:lnTo>
                <a:lnTo>
                  <a:pt x="86" y="587"/>
                </a:lnTo>
                <a:lnTo>
                  <a:pt x="88" y="587"/>
                </a:lnTo>
                <a:lnTo>
                  <a:pt x="86" y="586"/>
                </a:lnTo>
                <a:lnTo>
                  <a:pt x="88" y="587"/>
                </a:lnTo>
                <a:lnTo>
                  <a:pt x="88" y="586"/>
                </a:lnTo>
                <a:lnTo>
                  <a:pt x="86" y="586"/>
                </a:lnTo>
                <a:lnTo>
                  <a:pt x="85" y="586"/>
                </a:lnTo>
                <a:lnTo>
                  <a:pt x="85" y="587"/>
                </a:lnTo>
                <a:lnTo>
                  <a:pt x="83" y="587"/>
                </a:lnTo>
                <a:lnTo>
                  <a:pt x="85" y="586"/>
                </a:lnTo>
                <a:lnTo>
                  <a:pt x="86" y="586"/>
                </a:lnTo>
                <a:lnTo>
                  <a:pt x="86" y="584"/>
                </a:lnTo>
                <a:lnTo>
                  <a:pt x="86" y="582"/>
                </a:lnTo>
                <a:lnTo>
                  <a:pt x="88" y="582"/>
                </a:lnTo>
                <a:lnTo>
                  <a:pt x="88" y="584"/>
                </a:lnTo>
                <a:lnTo>
                  <a:pt x="90" y="582"/>
                </a:lnTo>
                <a:lnTo>
                  <a:pt x="92" y="582"/>
                </a:lnTo>
                <a:lnTo>
                  <a:pt x="92" y="584"/>
                </a:lnTo>
                <a:close/>
                <a:moveTo>
                  <a:pt x="96" y="591"/>
                </a:moveTo>
                <a:lnTo>
                  <a:pt x="96" y="593"/>
                </a:lnTo>
                <a:lnTo>
                  <a:pt x="96" y="591"/>
                </a:lnTo>
                <a:lnTo>
                  <a:pt x="94" y="591"/>
                </a:lnTo>
                <a:lnTo>
                  <a:pt x="94" y="593"/>
                </a:lnTo>
                <a:lnTo>
                  <a:pt x="96" y="593"/>
                </a:lnTo>
                <a:lnTo>
                  <a:pt x="94" y="593"/>
                </a:lnTo>
                <a:lnTo>
                  <a:pt x="96" y="593"/>
                </a:lnTo>
                <a:lnTo>
                  <a:pt x="96" y="595"/>
                </a:lnTo>
                <a:lnTo>
                  <a:pt x="94" y="595"/>
                </a:lnTo>
                <a:lnTo>
                  <a:pt x="92" y="595"/>
                </a:lnTo>
                <a:lnTo>
                  <a:pt x="92" y="593"/>
                </a:lnTo>
                <a:lnTo>
                  <a:pt x="92" y="591"/>
                </a:lnTo>
                <a:lnTo>
                  <a:pt x="92" y="589"/>
                </a:lnTo>
                <a:lnTo>
                  <a:pt x="92" y="587"/>
                </a:lnTo>
                <a:lnTo>
                  <a:pt x="94" y="587"/>
                </a:lnTo>
                <a:lnTo>
                  <a:pt x="94" y="586"/>
                </a:lnTo>
                <a:lnTo>
                  <a:pt x="94" y="587"/>
                </a:lnTo>
                <a:lnTo>
                  <a:pt x="96" y="589"/>
                </a:lnTo>
                <a:lnTo>
                  <a:pt x="96" y="591"/>
                </a:lnTo>
                <a:close/>
                <a:moveTo>
                  <a:pt x="73" y="488"/>
                </a:moveTo>
                <a:lnTo>
                  <a:pt x="73" y="490"/>
                </a:lnTo>
                <a:lnTo>
                  <a:pt x="73" y="491"/>
                </a:lnTo>
                <a:lnTo>
                  <a:pt x="73" y="493"/>
                </a:lnTo>
                <a:lnTo>
                  <a:pt x="75" y="493"/>
                </a:lnTo>
                <a:lnTo>
                  <a:pt x="73" y="493"/>
                </a:lnTo>
                <a:lnTo>
                  <a:pt x="73" y="495"/>
                </a:lnTo>
                <a:lnTo>
                  <a:pt x="71" y="495"/>
                </a:lnTo>
                <a:lnTo>
                  <a:pt x="71" y="497"/>
                </a:lnTo>
                <a:lnTo>
                  <a:pt x="69" y="497"/>
                </a:lnTo>
                <a:lnTo>
                  <a:pt x="69" y="495"/>
                </a:lnTo>
                <a:lnTo>
                  <a:pt x="69" y="497"/>
                </a:lnTo>
                <a:lnTo>
                  <a:pt x="69" y="499"/>
                </a:lnTo>
                <a:lnTo>
                  <a:pt x="67" y="499"/>
                </a:lnTo>
                <a:lnTo>
                  <a:pt x="67" y="501"/>
                </a:lnTo>
                <a:lnTo>
                  <a:pt x="69" y="501"/>
                </a:lnTo>
                <a:lnTo>
                  <a:pt x="69" y="503"/>
                </a:lnTo>
                <a:lnTo>
                  <a:pt x="69" y="505"/>
                </a:lnTo>
                <a:lnTo>
                  <a:pt x="69" y="507"/>
                </a:lnTo>
                <a:lnTo>
                  <a:pt x="71" y="507"/>
                </a:lnTo>
                <a:lnTo>
                  <a:pt x="71" y="509"/>
                </a:lnTo>
                <a:lnTo>
                  <a:pt x="71" y="511"/>
                </a:lnTo>
                <a:lnTo>
                  <a:pt x="73" y="511"/>
                </a:lnTo>
                <a:lnTo>
                  <a:pt x="73" y="513"/>
                </a:lnTo>
                <a:lnTo>
                  <a:pt x="71" y="513"/>
                </a:lnTo>
                <a:lnTo>
                  <a:pt x="71" y="511"/>
                </a:lnTo>
                <a:lnTo>
                  <a:pt x="69" y="511"/>
                </a:lnTo>
                <a:lnTo>
                  <a:pt x="69" y="509"/>
                </a:lnTo>
                <a:lnTo>
                  <a:pt x="69" y="507"/>
                </a:lnTo>
                <a:lnTo>
                  <a:pt x="67" y="507"/>
                </a:lnTo>
                <a:lnTo>
                  <a:pt x="67" y="505"/>
                </a:lnTo>
                <a:lnTo>
                  <a:pt x="65" y="505"/>
                </a:lnTo>
                <a:lnTo>
                  <a:pt x="65" y="503"/>
                </a:lnTo>
                <a:lnTo>
                  <a:pt x="63" y="505"/>
                </a:lnTo>
                <a:lnTo>
                  <a:pt x="63" y="503"/>
                </a:lnTo>
                <a:lnTo>
                  <a:pt x="62" y="503"/>
                </a:lnTo>
                <a:lnTo>
                  <a:pt x="60" y="503"/>
                </a:lnTo>
                <a:lnTo>
                  <a:pt x="60" y="505"/>
                </a:lnTo>
                <a:lnTo>
                  <a:pt x="58" y="505"/>
                </a:lnTo>
                <a:lnTo>
                  <a:pt x="58" y="503"/>
                </a:lnTo>
                <a:lnTo>
                  <a:pt x="56" y="503"/>
                </a:lnTo>
                <a:lnTo>
                  <a:pt x="56" y="501"/>
                </a:lnTo>
                <a:lnTo>
                  <a:pt x="56" y="499"/>
                </a:lnTo>
                <a:lnTo>
                  <a:pt x="54" y="499"/>
                </a:lnTo>
                <a:lnTo>
                  <a:pt x="52" y="499"/>
                </a:lnTo>
                <a:lnTo>
                  <a:pt x="52" y="501"/>
                </a:lnTo>
                <a:lnTo>
                  <a:pt x="50" y="501"/>
                </a:lnTo>
                <a:lnTo>
                  <a:pt x="48" y="501"/>
                </a:lnTo>
                <a:lnTo>
                  <a:pt x="50" y="501"/>
                </a:lnTo>
                <a:lnTo>
                  <a:pt x="50" y="499"/>
                </a:lnTo>
                <a:lnTo>
                  <a:pt x="52" y="499"/>
                </a:lnTo>
                <a:lnTo>
                  <a:pt x="52" y="497"/>
                </a:lnTo>
                <a:lnTo>
                  <a:pt x="50" y="497"/>
                </a:lnTo>
                <a:lnTo>
                  <a:pt x="52" y="495"/>
                </a:lnTo>
                <a:lnTo>
                  <a:pt x="52" y="493"/>
                </a:lnTo>
                <a:lnTo>
                  <a:pt x="54" y="493"/>
                </a:lnTo>
                <a:lnTo>
                  <a:pt x="52" y="493"/>
                </a:lnTo>
                <a:lnTo>
                  <a:pt x="52" y="491"/>
                </a:lnTo>
                <a:lnTo>
                  <a:pt x="52" y="490"/>
                </a:lnTo>
                <a:lnTo>
                  <a:pt x="54" y="490"/>
                </a:lnTo>
                <a:lnTo>
                  <a:pt x="56" y="490"/>
                </a:lnTo>
                <a:lnTo>
                  <a:pt x="56" y="491"/>
                </a:lnTo>
                <a:lnTo>
                  <a:pt x="56" y="493"/>
                </a:lnTo>
                <a:lnTo>
                  <a:pt x="58" y="493"/>
                </a:lnTo>
                <a:lnTo>
                  <a:pt x="58" y="495"/>
                </a:lnTo>
                <a:lnTo>
                  <a:pt x="58" y="497"/>
                </a:lnTo>
                <a:lnTo>
                  <a:pt x="60" y="497"/>
                </a:lnTo>
                <a:lnTo>
                  <a:pt x="62" y="497"/>
                </a:lnTo>
                <a:lnTo>
                  <a:pt x="62" y="495"/>
                </a:lnTo>
                <a:lnTo>
                  <a:pt x="63" y="495"/>
                </a:lnTo>
                <a:lnTo>
                  <a:pt x="62" y="495"/>
                </a:lnTo>
                <a:lnTo>
                  <a:pt x="63" y="493"/>
                </a:lnTo>
                <a:lnTo>
                  <a:pt x="63" y="491"/>
                </a:lnTo>
                <a:lnTo>
                  <a:pt x="62" y="491"/>
                </a:lnTo>
                <a:lnTo>
                  <a:pt x="62" y="490"/>
                </a:lnTo>
                <a:lnTo>
                  <a:pt x="63" y="490"/>
                </a:lnTo>
                <a:lnTo>
                  <a:pt x="65" y="488"/>
                </a:lnTo>
                <a:lnTo>
                  <a:pt x="65" y="486"/>
                </a:lnTo>
                <a:lnTo>
                  <a:pt x="65" y="484"/>
                </a:lnTo>
                <a:lnTo>
                  <a:pt x="65" y="482"/>
                </a:lnTo>
                <a:lnTo>
                  <a:pt x="67" y="482"/>
                </a:lnTo>
                <a:lnTo>
                  <a:pt x="67" y="480"/>
                </a:lnTo>
                <a:lnTo>
                  <a:pt x="69" y="480"/>
                </a:lnTo>
                <a:lnTo>
                  <a:pt x="69" y="482"/>
                </a:lnTo>
                <a:lnTo>
                  <a:pt x="71" y="482"/>
                </a:lnTo>
                <a:lnTo>
                  <a:pt x="71" y="484"/>
                </a:lnTo>
                <a:lnTo>
                  <a:pt x="73" y="486"/>
                </a:lnTo>
                <a:lnTo>
                  <a:pt x="73" y="488"/>
                </a:lnTo>
                <a:close/>
                <a:moveTo>
                  <a:pt x="56" y="491"/>
                </a:moveTo>
                <a:lnTo>
                  <a:pt x="54" y="491"/>
                </a:lnTo>
                <a:lnTo>
                  <a:pt x="54" y="493"/>
                </a:lnTo>
                <a:lnTo>
                  <a:pt x="56" y="493"/>
                </a:lnTo>
                <a:lnTo>
                  <a:pt x="56" y="491"/>
                </a:lnTo>
                <a:close/>
                <a:moveTo>
                  <a:pt x="81" y="520"/>
                </a:moveTo>
                <a:lnTo>
                  <a:pt x="79" y="520"/>
                </a:lnTo>
                <a:lnTo>
                  <a:pt x="77" y="520"/>
                </a:lnTo>
                <a:lnTo>
                  <a:pt x="77" y="518"/>
                </a:lnTo>
                <a:lnTo>
                  <a:pt x="79" y="518"/>
                </a:lnTo>
                <a:lnTo>
                  <a:pt x="81" y="518"/>
                </a:lnTo>
                <a:lnTo>
                  <a:pt x="81" y="520"/>
                </a:lnTo>
                <a:close/>
                <a:moveTo>
                  <a:pt x="98" y="586"/>
                </a:moveTo>
                <a:lnTo>
                  <a:pt x="98" y="587"/>
                </a:lnTo>
                <a:lnTo>
                  <a:pt x="98" y="586"/>
                </a:lnTo>
                <a:lnTo>
                  <a:pt x="98" y="587"/>
                </a:lnTo>
                <a:lnTo>
                  <a:pt x="98" y="586"/>
                </a:lnTo>
                <a:lnTo>
                  <a:pt x="96" y="586"/>
                </a:lnTo>
                <a:lnTo>
                  <a:pt x="98" y="586"/>
                </a:lnTo>
                <a:close/>
                <a:moveTo>
                  <a:pt x="85" y="534"/>
                </a:moveTo>
                <a:lnTo>
                  <a:pt x="85" y="536"/>
                </a:lnTo>
                <a:lnTo>
                  <a:pt x="85" y="538"/>
                </a:lnTo>
                <a:lnTo>
                  <a:pt x="85" y="539"/>
                </a:lnTo>
                <a:lnTo>
                  <a:pt x="83" y="539"/>
                </a:lnTo>
                <a:lnTo>
                  <a:pt x="81" y="538"/>
                </a:lnTo>
                <a:lnTo>
                  <a:pt x="81" y="539"/>
                </a:lnTo>
                <a:lnTo>
                  <a:pt x="79" y="539"/>
                </a:lnTo>
                <a:lnTo>
                  <a:pt x="79" y="538"/>
                </a:lnTo>
                <a:lnTo>
                  <a:pt x="77" y="538"/>
                </a:lnTo>
                <a:lnTo>
                  <a:pt x="75" y="538"/>
                </a:lnTo>
                <a:lnTo>
                  <a:pt x="73" y="538"/>
                </a:lnTo>
                <a:lnTo>
                  <a:pt x="71" y="539"/>
                </a:lnTo>
                <a:lnTo>
                  <a:pt x="71" y="538"/>
                </a:lnTo>
                <a:lnTo>
                  <a:pt x="69" y="538"/>
                </a:lnTo>
                <a:lnTo>
                  <a:pt x="69" y="539"/>
                </a:lnTo>
                <a:lnTo>
                  <a:pt x="67" y="539"/>
                </a:lnTo>
                <a:lnTo>
                  <a:pt x="67" y="538"/>
                </a:lnTo>
                <a:lnTo>
                  <a:pt x="65" y="538"/>
                </a:lnTo>
                <a:lnTo>
                  <a:pt x="65" y="536"/>
                </a:lnTo>
                <a:lnTo>
                  <a:pt x="67" y="536"/>
                </a:lnTo>
                <a:lnTo>
                  <a:pt x="65" y="536"/>
                </a:lnTo>
                <a:lnTo>
                  <a:pt x="65" y="534"/>
                </a:lnTo>
                <a:lnTo>
                  <a:pt x="63" y="534"/>
                </a:lnTo>
                <a:lnTo>
                  <a:pt x="63" y="532"/>
                </a:lnTo>
                <a:lnTo>
                  <a:pt x="62" y="532"/>
                </a:lnTo>
                <a:lnTo>
                  <a:pt x="63" y="532"/>
                </a:lnTo>
                <a:lnTo>
                  <a:pt x="63" y="530"/>
                </a:lnTo>
                <a:lnTo>
                  <a:pt x="65" y="530"/>
                </a:lnTo>
                <a:lnTo>
                  <a:pt x="65" y="528"/>
                </a:lnTo>
                <a:lnTo>
                  <a:pt x="65" y="526"/>
                </a:lnTo>
                <a:lnTo>
                  <a:pt x="65" y="524"/>
                </a:lnTo>
                <a:lnTo>
                  <a:pt x="63" y="524"/>
                </a:lnTo>
                <a:lnTo>
                  <a:pt x="63" y="522"/>
                </a:lnTo>
                <a:lnTo>
                  <a:pt x="62" y="522"/>
                </a:lnTo>
                <a:lnTo>
                  <a:pt x="62" y="520"/>
                </a:lnTo>
                <a:lnTo>
                  <a:pt x="62" y="518"/>
                </a:lnTo>
                <a:lnTo>
                  <a:pt x="62" y="516"/>
                </a:lnTo>
                <a:lnTo>
                  <a:pt x="60" y="516"/>
                </a:lnTo>
                <a:lnTo>
                  <a:pt x="62" y="516"/>
                </a:lnTo>
                <a:lnTo>
                  <a:pt x="62" y="515"/>
                </a:lnTo>
                <a:lnTo>
                  <a:pt x="60" y="515"/>
                </a:lnTo>
                <a:lnTo>
                  <a:pt x="60" y="513"/>
                </a:lnTo>
                <a:lnTo>
                  <a:pt x="60" y="515"/>
                </a:lnTo>
                <a:lnTo>
                  <a:pt x="58" y="515"/>
                </a:lnTo>
                <a:lnTo>
                  <a:pt x="56" y="515"/>
                </a:lnTo>
                <a:lnTo>
                  <a:pt x="58" y="515"/>
                </a:lnTo>
                <a:lnTo>
                  <a:pt x="56" y="515"/>
                </a:lnTo>
                <a:lnTo>
                  <a:pt x="56" y="513"/>
                </a:lnTo>
                <a:lnTo>
                  <a:pt x="58" y="513"/>
                </a:lnTo>
                <a:lnTo>
                  <a:pt x="58" y="511"/>
                </a:lnTo>
                <a:lnTo>
                  <a:pt x="60" y="511"/>
                </a:lnTo>
                <a:lnTo>
                  <a:pt x="62" y="511"/>
                </a:lnTo>
                <a:lnTo>
                  <a:pt x="62" y="513"/>
                </a:lnTo>
                <a:lnTo>
                  <a:pt x="63" y="513"/>
                </a:lnTo>
                <a:lnTo>
                  <a:pt x="63" y="515"/>
                </a:lnTo>
                <a:lnTo>
                  <a:pt x="63" y="516"/>
                </a:lnTo>
                <a:lnTo>
                  <a:pt x="63" y="518"/>
                </a:lnTo>
                <a:lnTo>
                  <a:pt x="63" y="520"/>
                </a:lnTo>
                <a:lnTo>
                  <a:pt x="63" y="518"/>
                </a:lnTo>
                <a:lnTo>
                  <a:pt x="65" y="518"/>
                </a:lnTo>
                <a:lnTo>
                  <a:pt x="65" y="520"/>
                </a:lnTo>
                <a:lnTo>
                  <a:pt x="65" y="522"/>
                </a:lnTo>
                <a:lnTo>
                  <a:pt x="67" y="522"/>
                </a:lnTo>
                <a:lnTo>
                  <a:pt x="67" y="524"/>
                </a:lnTo>
                <a:lnTo>
                  <a:pt x="69" y="524"/>
                </a:lnTo>
                <a:lnTo>
                  <a:pt x="69" y="526"/>
                </a:lnTo>
                <a:lnTo>
                  <a:pt x="69" y="528"/>
                </a:lnTo>
                <a:lnTo>
                  <a:pt x="71" y="528"/>
                </a:lnTo>
                <a:lnTo>
                  <a:pt x="71" y="530"/>
                </a:lnTo>
                <a:lnTo>
                  <a:pt x="71" y="532"/>
                </a:lnTo>
                <a:lnTo>
                  <a:pt x="73" y="532"/>
                </a:lnTo>
                <a:lnTo>
                  <a:pt x="75" y="534"/>
                </a:lnTo>
                <a:lnTo>
                  <a:pt x="75" y="532"/>
                </a:lnTo>
                <a:lnTo>
                  <a:pt x="77" y="532"/>
                </a:lnTo>
                <a:lnTo>
                  <a:pt x="77" y="534"/>
                </a:lnTo>
                <a:lnTo>
                  <a:pt x="77" y="532"/>
                </a:lnTo>
                <a:lnTo>
                  <a:pt x="79" y="532"/>
                </a:lnTo>
                <a:lnTo>
                  <a:pt x="81" y="532"/>
                </a:lnTo>
                <a:lnTo>
                  <a:pt x="83" y="532"/>
                </a:lnTo>
                <a:lnTo>
                  <a:pt x="85" y="532"/>
                </a:lnTo>
                <a:lnTo>
                  <a:pt x="85" y="534"/>
                </a:lnTo>
                <a:close/>
                <a:moveTo>
                  <a:pt x="98" y="589"/>
                </a:moveTo>
                <a:lnTo>
                  <a:pt x="98" y="587"/>
                </a:lnTo>
                <a:lnTo>
                  <a:pt x="100" y="589"/>
                </a:lnTo>
                <a:lnTo>
                  <a:pt x="98" y="589"/>
                </a:lnTo>
                <a:close/>
                <a:moveTo>
                  <a:pt x="98" y="582"/>
                </a:moveTo>
                <a:lnTo>
                  <a:pt x="98" y="584"/>
                </a:lnTo>
                <a:lnTo>
                  <a:pt x="98" y="582"/>
                </a:lnTo>
                <a:close/>
                <a:moveTo>
                  <a:pt x="104" y="601"/>
                </a:moveTo>
                <a:lnTo>
                  <a:pt x="102" y="601"/>
                </a:lnTo>
                <a:lnTo>
                  <a:pt x="102" y="603"/>
                </a:lnTo>
                <a:lnTo>
                  <a:pt x="100" y="603"/>
                </a:lnTo>
                <a:lnTo>
                  <a:pt x="102" y="603"/>
                </a:lnTo>
                <a:lnTo>
                  <a:pt x="100" y="603"/>
                </a:lnTo>
                <a:lnTo>
                  <a:pt x="100" y="601"/>
                </a:lnTo>
                <a:lnTo>
                  <a:pt x="100" y="599"/>
                </a:lnTo>
                <a:lnTo>
                  <a:pt x="102" y="599"/>
                </a:lnTo>
                <a:lnTo>
                  <a:pt x="102" y="597"/>
                </a:lnTo>
                <a:lnTo>
                  <a:pt x="100" y="597"/>
                </a:lnTo>
                <a:lnTo>
                  <a:pt x="102" y="597"/>
                </a:lnTo>
                <a:lnTo>
                  <a:pt x="102" y="599"/>
                </a:lnTo>
                <a:lnTo>
                  <a:pt x="104" y="599"/>
                </a:lnTo>
                <a:lnTo>
                  <a:pt x="104" y="601"/>
                </a:lnTo>
                <a:close/>
                <a:moveTo>
                  <a:pt x="100" y="586"/>
                </a:moveTo>
                <a:lnTo>
                  <a:pt x="98" y="586"/>
                </a:lnTo>
                <a:lnTo>
                  <a:pt x="98" y="584"/>
                </a:lnTo>
                <a:lnTo>
                  <a:pt x="100" y="584"/>
                </a:lnTo>
                <a:lnTo>
                  <a:pt x="100" y="586"/>
                </a:lnTo>
                <a:close/>
                <a:moveTo>
                  <a:pt x="100" y="591"/>
                </a:moveTo>
                <a:lnTo>
                  <a:pt x="100" y="589"/>
                </a:lnTo>
                <a:lnTo>
                  <a:pt x="102" y="589"/>
                </a:lnTo>
                <a:lnTo>
                  <a:pt x="102" y="591"/>
                </a:lnTo>
                <a:lnTo>
                  <a:pt x="100" y="591"/>
                </a:lnTo>
                <a:close/>
                <a:moveTo>
                  <a:pt x="106" y="605"/>
                </a:moveTo>
                <a:lnTo>
                  <a:pt x="106" y="607"/>
                </a:lnTo>
                <a:lnTo>
                  <a:pt x="106" y="609"/>
                </a:lnTo>
                <a:lnTo>
                  <a:pt x="106" y="607"/>
                </a:lnTo>
                <a:lnTo>
                  <a:pt x="104" y="607"/>
                </a:lnTo>
                <a:lnTo>
                  <a:pt x="104" y="605"/>
                </a:lnTo>
                <a:lnTo>
                  <a:pt x="102" y="605"/>
                </a:lnTo>
                <a:lnTo>
                  <a:pt x="104" y="603"/>
                </a:lnTo>
                <a:lnTo>
                  <a:pt x="106" y="603"/>
                </a:lnTo>
                <a:lnTo>
                  <a:pt x="106" y="605"/>
                </a:lnTo>
                <a:close/>
                <a:moveTo>
                  <a:pt x="110" y="616"/>
                </a:moveTo>
                <a:lnTo>
                  <a:pt x="108" y="616"/>
                </a:lnTo>
                <a:lnTo>
                  <a:pt x="110" y="616"/>
                </a:lnTo>
                <a:close/>
                <a:moveTo>
                  <a:pt x="110" y="618"/>
                </a:moveTo>
                <a:lnTo>
                  <a:pt x="110" y="616"/>
                </a:lnTo>
                <a:lnTo>
                  <a:pt x="110" y="618"/>
                </a:lnTo>
                <a:close/>
                <a:moveTo>
                  <a:pt x="104" y="595"/>
                </a:moveTo>
                <a:lnTo>
                  <a:pt x="106" y="595"/>
                </a:lnTo>
                <a:lnTo>
                  <a:pt x="106" y="597"/>
                </a:lnTo>
                <a:lnTo>
                  <a:pt x="106" y="599"/>
                </a:lnTo>
                <a:lnTo>
                  <a:pt x="104" y="599"/>
                </a:lnTo>
                <a:lnTo>
                  <a:pt x="104" y="597"/>
                </a:lnTo>
                <a:lnTo>
                  <a:pt x="104" y="595"/>
                </a:lnTo>
                <a:lnTo>
                  <a:pt x="104" y="597"/>
                </a:lnTo>
                <a:lnTo>
                  <a:pt x="102" y="597"/>
                </a:lnTo>
                <a:lnTo>
                  <a:pt x="102" y="595"/>
                </a:lnTo>
                <a:lnTo>
                  <a:pt x="102" y="593"/>
                </a:lnTo>
                <a:lnTo>
                  <a:pt x="104" y="593"/>
                </a:lnTo>
                <a:lnTo>
                  <a:pt x="102" y="593"/>
                </a:lnTo>
                <a:lnTo>
                  <a:pt x="104" y="593"/>
                </a:lnTo>
                <a:lnTo>
                  <a:pt x="104" y="591"/>
                </a:lnTo>
                <a:lnTo>
                  <a:pt x="104" y="593"/>
                </a:lnTo>
                <a:lnTo>
                  <a:pt x="104" y="595"/>
                </a:lnTo>
                <a:close/>
                <a:moveTo>
                  <a:pt x="96" y="561"/>
                </a:moveTo>
                <a:lnTo>
                  <a:pt x="96" y="563"/>
                </a:lnTo>
                <a:lnTo>
                  <a:pt x="94" y="563"/>
                </a:lnTo>
                <a:lnTo>
                  <a:pt x="92" y="563"/>
                </a:lnTo>
                <a:lnTo>
                  <a:pt x="92" y="564"/>
                </a:lnTo>
                <a:lnTo>
                  <a:pt x="90" y="564"/>
                </a:lnTo>
                <a:lnTo>
                  <a:pt x="90" y="563"/>
                </a:lnTo>
                <a:lnTo>
                  <a:pt x="88" y="563"/>
                </a:lnTo>
                <a:lnTo>
                  <a:pt x="88" y="561"/>
                </a:lnTo>
                <a:lnTo>
                  <a:pt x="86" y="561"/>
                </a:lnTo>
                <a:lnTo>
                  <a:pt x="85" y="561"/>
                </a:lnTo>
                <a:lnTo>
                  <a:pt x="85" y="563"/>
                </a:lnTo>
                <a:lnTo>
                  <a:pt x="85" y="564"/>
                </a:lnTo>
                <a:lnTo>
                  <a:pt x="85" y="563"/>
                </a:lnTo>
                <a:lnTo>
                  <a:pt x="83" y="563"/>
                </a:lnTo>
                <a:lnTo>
                  <a:pt x="85" y="564"/>
                </a:lnTo>
                <a:lnTo>
                  <a:pt x="83" y="564"/>
                </a:lnTo>
                <a:lnTo>
                  <a:pt x="85" y="564"/>
                </a:lnTo>
                <a:lnTo>
                  <a:pt x="83" y="564"/>
                </a:lnTo>
                <a:lnTo>
                  <a:pt x="85" y="564"/>
                </a:lnTo>
                <a:lnTo>
                  <a:pt x="85" y="566"/>
                </a:lnTo>
                <a:lnTo>
                  <a:pt x="85" y="568"/>
                </a:lnTo>
                <a:lnTo>
                  <a:pt x="83" y="568"/>
                </a:lnTo>
                <a:lnTo>
                  <a:pt x="85" y="568"/>
                </a:lnTo>
                <a:lnTo>
                  <a:pt x="85" y="566"/>
                </a:lnTo>
                <a:lnTo>
                  <a:pt x="85" y="568"/>
                </a:lnTo>
                <a:lnTo>
                  <a:pt x="86" y="568"/>
                </a:lnTo>
                <a:lnTo>
                  <a:pt x="86" y="570"/>
                </a:lnTo>
                <a:lnTo>
                  <a:pt x="85" y="570"/>
                </a:lnTo>
                <a:lnTo>
                  <a:pt x="85" y="572"/>
                </a:lnTo>
                <a:lnTo>
                  <a:pt x="85" y="570"/>
                </a:lnTo>
                <a:lnTo>
                  <a:pt x="86" y="570"/>
                </a:lnTo>
                <a:lnTo>
                  <a:pt x="86" y="572"/>
                </a:lnTo>
                <a:lnTo>
                  <a:pt x="85" y="572"/>
                </a:lnTo>
                <a:lnTo>
                  <a:pt x="83" y="572"/>
                </a:lnTo>
                <a:lnTo>
                  <a:pt x="83" y="574"/>
                </a:lnTo>
                <a:lnTo>
                  <a:pt x="81" y="574"/>
                </a:lnTo>
                <a:lnTo>
                  <a:pt x="81" y="572"/>
                </a:lnTo>
                <a:lnTo>
                  <a:pt x="79" y="572"/>
                </a:lnTo>
                <a:lnTo>
                  <a:pt x="79" y="574"/>
                </a:lnTo>
                <a:lnTo>
                  <a:pt x="77" y="574"/>
                </a:lnTo>
                <a:lnTo>
                  <a:pt x="79" y="574"/>
                </a:lnTo>
                <a:lnTo>
                  <a:pt x="77" y="574"/>
                </a:lnTo>
                <a:lnTo>
                  <a:pt x="79" y="574"/>
                </a:lnTo>
                <a:lnTo>
                  <a:pt x="77" y="574"/>
                </a:lnTo>
                <a:lnTo>
                  <a:pt x="77" y="572"/>
                </a:lnTo>
                <a:lnTo>
                  <a:pt x="77" y="570"/>
                </a:lnTo>
                <a:lnTo>
                  <a:pt x="79" y="570"/>
                </a:lnTo>
                <a:lnTo>
                  <a:pt x="79" y="568"/>
                </a:lnTo>
                <a:lnTo>
                  <a:pt x="77" y="568"/>
                </a:lnTo>
                <a:lnTo>
                  <a:pt x="75" y="568"/>
                </a:lnTo>
                <a:lnTo>
                  <a:pt x="73" y="568"/>
                </a:lnTo>
                <a:lnTo>
                  <a:pt x="73" y="566"/>
                </a:lnTo>
                <a:lnTo>
                  <a:pt x="71" y="566"/>
                </a:lnTo>
                <a:lnTo>
                  <a:pt x="73" y="566"/>
                </a:lnTo>
                <a:lnTo>
                  <a:pt x="73" y="564"/>
                </a:lnTo>
                <a:lnTo>
                  <a:pt x="71" y="564"/>
                </a:lnTo>
                <a:lnTo>
                  <a:pt x="71" y="566"/>
                </a:lnTo>
                <a:lnTo>
                  <a:pt x="71" y="564"/>
                </a:lnTo>
                <a:lnTo>
                  <a:pt x="71" y="563"/>
                </a:lnTo>
                <a:lnTo>
                  <a:pt x="73" y="563"/>
                </a:lnTo>
                <a:lnTo>
                  <a:pt x="71" y="563"/>
                </a:lnTo>
                <a:lnTo>
                  <a:pt x="69" y="563"/>
                </a:lnTo>
                <a:lnTo>
                  <a:pt x="71" y="563"/>
                </a:lnTo>
                <a:lnTo>
                  <a:pt x="69" y="563"/>
                </a:lnTo>
                <a:lnTo>
                  <a:pt x="69" y="561"/>
                </a:lnTo>
                <a:lnTo>
                  <a:pt x="71" y="561"/>
                </a:lnTo>
                <a:lnTo>
                  <a:pt x="71" y="563"/>
                </a:lnTo>
                <a:lnTo>
                  <a:pt x="71" y="561"/>
                </a:lnTo>
                <a:lnTo>
                  <a:pt x="69" y="561"/>
                </a:lnTo>
                <a:lnTo>
                  <a:pt x="67" y="561"/>
                </a:lnTo>
                <a:lnTo>
                  <a:pt x="65" y="561"/>
                </a:lnTo>
                <a:lnTo>
                  <a:pt x="65" y="559"/>
                </a:lnTo>
                <a:lnTo>
                  <a:pt x="63" y="559"/>
                </a:lnTo>
                <a:lnTo>
                  <a:pt x="63" y="557"/>
                </a:lnTo>
                <a:lnTo>
                  <a:pt x="63" y="555"/>
                </a:lnTo>
                <a:lnTo>
                  <a:pt x="65" y="555"/>
                </a:lnTo>
                <a:lnTo>
                  <a:pt x="65" y="557"/>
                </a:lnTo>
                <a:lnTo>
                  <a:pt x="65" y="555"/>
                </a:lnTo>
                <a:lnTo>
                  <a:pt x="67" y="557"/>
                </a:lnTo>
                <a:lnTo>
                  <a:pt x="67" y="555"/>
                </a:lnTo>
                <a:lnTo>
                  <a:pt x="69" y="555"/>
                </a:lnTo>
                <a:lnTo>
                  <a:pt x="71" y="555"/>
                </a:lnTo>
                <a:lnTo>
                  <a:pt x="71" y="553"/>
                </a:lnTo>
                <a:lnTo>
                  <a:pt x="69" y="553"/>
                </a:lnTo>
                <a:lnTo>
                  <a:pt x="67" y="553"/>
                </a:lnTo>
                <a:lnTo>
                  <a:pt x="65" y="553"/>
                </a:lnTo>
                <a:lnTo>
                  <a:pt x="63" y="553"/>
                </a:lnTo>
                <a:lnTo>
                  <a:pt x="63" y="551"/>
                </a:lnTo>
                <a:lnTo>
                  <a:pt x="62" y="551"/>
                </a:lnTo>
                <a:lnTo>
                  <a:pt x="60" y="551"/>
                </a:lnTo>
                <a:lnTo>
                  <a:pt x="60" y="549"/>
                </a:lnTo>
                <a:lnTo>
                  <a:pt x="60" y="547"/>
                </a:lnTo>
                <a:lnTo>
                  <a:pt x="62" y="547"/>
                </a:lnTo>
                <a:lnTo>
                  <a:pt x="62" y="549"/>
                </a:lnTo>
                <a:lnTo>
                  <a:pt x="63" y="549"/>
                </a:lnTo>
                <a:lnTo>
                  <a:pt x="63" y="547"/>
                </a:lnTo>
                <a:lnTo>
                  <a:pt x="65" y="547"/>
                </a:lnTo>
                <a:lnTo>
                  <a:pt x="65" y="549"/>
                </a:lnTo>
                <a:lnTo>
                  <a:pt x="67" y="549"/>
                </a:lnTo>
                <a:lnTo>
                  <a:pt x="69" y="549"/>
                </a:lnTo>
                <a:lnTo>
                  <a:pt x="67" y="549"/>
                </a:lnTo>
                <a:lnTo>
                  <a:pt x="67" y="551"/>
                </a:lnTo>
                <a:lnTo>
                  <a:pt x="69" y="551"/>
                </a:lnTo>
                <a:lnTo>
                  <a:pt x="71" y="551"/>
                </a:lnTo>
                <a:lnTo>
                  <a:pt x="71" y="553"/>
                </a:lnTo>
                <a:lnTo>
                  <a:pt x="71" y="551"/>
                </a:lnTo>
                <a:lnTo>
                  <a:pt x="71" y="553"/>
                </a:lnTo>
                <a:lnTo>
                  <a:pt x="71" y="551"/>
                </a:lnTo>
                <a:lnTo>
                  <a:pt x="73" y="551"/>
                </a:lnTo>
                <a:lnTo>
                  <a:pt x="71" y="551"/>
                </a:lnTo>
                <a:lnTo>
                  <a:pt x="73" y="551"/>
                </a:lnTo>
                <a:lnTo>
                  <a:pt x="73" y="553"/>
                </a:lnTo>
                <a:lnTo>
                  <a:pt x="71" y="553"/>
                </a:lnTo>
                <a:lnTo>
                  <a:pt x="73" y="553"/>
                </a:lnTo>
                <a:lnTo>
                  <a:pt x="73" y="551"/>
                </a:lnTo>
                <a:lnTo>
                  <a:pt x="75" y="553"/>
                </a:lnTo>
                <a:lnTo>
                  <a:pt x="75" y="551"/>
                </a:lnTo>
                <a:lnTo>
                  <a:pt x="75" y="549"/>
                </a:lnTo>
                <a:lnTo>
                  <a:pt x="75" y="547"/>
                </a:lnTo>
                <a:lnTo>
                  <a:pt x="77" y="549"/>
                </a:lnTo>
                <a:lnTo>
                  <a:pt x="77" y="547"/>
                </a:lnTo>
                <a:lnTo>
                  <a:pt x="77" y="549"/>
                </a:lnTo>
                <a:lnTo>
                  <a:pt x="79" y="549"/>
                </a:lnTo>
                <a:lnTo>
                  <a:pt x="79" y="551"/>
                </a:lnTo>
                <a:lnTo>
                  <a:pt x="77" y="551"/>
                </a:lnTo>
                <a:lnTo>
                  <a:pt x="77" y="553"/>
                </a:lnTo>
                <a:lnTo>
                  <a:pt x="77" y="555"/>
                </a:lnTo>
                <a:lnTo>
                  <a:pt x="77" y="557"/>
                </a:lnTo>
                <a:lnTo>
                  <a:pt x="77" y="559"/>
                </a:lnTo>
                <a:lnTo>
                  <a:pt x="79" y="559"/>
                </a:lnTo>
                <a:lnTo>
                  <a:pt x="79" y="557"/>
                </a:lnTo>
                <a:lnTo>
                  <a:pt x="79" y="555"/>
                </a:lnTo>
                <a:lnTo>
                  <a:pt x="81" y="555"/>
                </a:lnTo>
                <a:lnTo>
                  <a:pt x="81" y="553"/>
                </a:lnTo>
                <a:lnTo>
                  <a:pt x="83" y="555"/>
                </a:lnTo>
                <a:lnTo>
                  <a:pt x="85" y="555"/>
                </a:lnTo>
                <a:lnTo>
                  <a:pt x="83" y="555"/>
                </a:lnTo>
                <a:lnTo>
                  <a:pt x="83" y="557"/>
                </a:lnTo>
                <a:lnTo>
                  <a:pt x="85" y="557"/>
                </a:lnTo>
                <a:lnTo>
                  <a:pt x="85" y="555"/>
                </a:lnTo>
                <a:lnTo>
                  <a:pt x="85" y="553"/>
                </a:lnTo>
                <a:lnTo>
                  <a:pt x="86" y="553"/>
                </a:lnTo>
                <a:lnTo>
                  <a:pt x="86" y="551"/>
                </a:lnTo>
                <a:lnTo>
                  <a:pt x="88" y="551"/>
                </a:lnTo>
                <a:lnTo>
                  <a:pt x="90" y="551"/>
                </a:lnTo>
                <a:lnTo>
                  <a:pt x="92" y="551"/>
                </a:lnTo>
                <a:lnTo>
                  <a:pt x="92" y="553"/>
                </a:lnTo>
                <a:lnTo>
                  <a:pt x="92" y="555"/>
                </a:lnTo>
                <a:lnTo>
                  <a:pt x="92" y="557"/>
                </a:lnTo>
                <a:lnTo>
                  <a:pt x="92" y="559"/>
                </a:lnTo>
                <a:lnTo>
                  <a:pt x="94" y="559"/>
                </a:lnTo>
                <a:lnTo>
                  <a:pt x="96" y="559"/>
                </a:lnTo>
                <a:lnTo>
                  <a:pt x="96" y="561"/>
                </a:lnTo>
                <a:close/>
                <a:moveTo>
                  <a:pt x="92" y="559"/>
                </a:moveTo>
                <a:lnTo>
                  <a:pt x="90" y="559"/>
                </a:lnTo>
                <a:lnTo>
                  <a:pt x="90" y="561"/>
                </a:lnTo>
                <a:lnTo>
                  <a:pt x="92" y="561"/>
                </a:lnTo>
                <a:lnTo>
                  <a:pt x="92" y="559"/>
                </a:lnTo>
                <a:close/>
                <a:moveTo>
                  <a:pt x="90" y="563"/>
                </a:moveTo>
                <a:lnTo>
                  <a:pt x="92" y="563"/>
                </a:lnTo>
                <a:lnTo>
                  <a:pt x="90" y="563"/>
                </a:lnTo>
                <a:close/>
                <a:moveTo>
                  <a:pt x="73" y="557"/>
                </a:moveTo>
                <a:lnTo>
                  <a:pt x="73" y="555"/>
                </a:lnTo>
                <a:lnTo>
                  <a:pt x="73" y="557"/>
                </a:lnTo>
                <a:lnTo>
                  <a:pt x="73" y="555"/>
                </a:lnTo>
                <a:lnTo>
                  <a:pt x="73" y="557"/>
                </a:lnTo>
                <a:lnTo>
                  <a:pt x="73" y="559"/>
                </a:lnTo>
                <a:lnTo>
                  <a:pt x="73" y="557"/>
                </a:lnTo>
                <a:close/>
                <a:moveTo>
                  <a:pt x="127" y="664"/>
                </a:moveTo>
                <a:lnTo>
                  <a:pt x="125" y="664"/>
                </a:lnTo>
                <a:lnTo>
                  <a:pt x="127" y="664"/>
                </a:lnTo>
                <a:lnTo>
                  <a:pt x="125" y="664"/>
                </a:lnTo>
                <a:lnTo>
                  <a:pt x="125" y="666"/>
                </a:lnTo>
                <a:lnTo>
                  <a:pt x="125" y="664"/>
                </a:lnTo>
                <a:lnTo>
                  <a:pt x="127" y="664"/>
                </a:lnTo>
                <a:close/>
                <a:moveTo>
                  <a:pt x="129" y="666"/>
                </a:moveTo>
                <a:lnTo>
                  <a:pt x="127" y="666"/>
                </a:lnTo>
                <a:lnTo>
                  <a:pt x="127" y="668"/>
                </a:lnTo>
                <a:lnTo>
                  <a:pt x="129" y="668"/>
                </a:lnTo>
                <a:lnTo>
                  <a:pt x="127" y="668"/>
                </a:lnTo>
                <a:lnTo>
                  <a:pt x="127" y="666"/>
                </a:lnTo>
                <a:lnTo>
                  <a:pt x="129" y="666"/>
                </a:lnTo>
                <a:close/>
                <a:moveTo>
                  <a:pt x="108" y="591"/>
                </a:moveTo>
                <a:lnTo>
                  <a:pt x="110" y="591"/>
                </a:lnTo>
                <a:lnTo>
                  <a:pt x="108" y="591"/>
                </a:lnTo>
                <a:close/>
                <a:moveTo>
                  <a:pt x="152" y="739"/>
                </a:moveTo>
                <a:lnTo>
                  <a:pt x="152" y="737"/>
                </a:lnTo>
                <a:lnTo>
                  <a:pt x="152" y="739"/>
                </a:lnTo>
                <a:close/>
                <a:moveTo>
                  <a:pt x="111" y="582"/>
                </a:moveTo>
                <a:lnTo>
                  <a:pt x="111" y="584"/>
                </a:lnTo>
                <a:lnTo>
                  <a:pt x="111" y="586"/>
                </a:lnTo>
                <a:lnTo>
                  <a:pt x="110" y="586"/>
                </a:lnTo>
                <a:lnTo>
                  <a:pt x="110" y="587"/>
                </a:lnTo>
                <a:lnTo>
                  <a:pt x="108" y="587"/>
                </a:lnTo>
                <a:lnTo>
                  <a:pt x="108" y="589"/>
                </a:lnTo>
                <a:lnTo>
                  <a:pt x="108" y="591"/>
                </a:lnTo>
                <a:lnTo>
                  <a:pt x="108" y="589"/>
                </a:lnTo>
                <a:lnTo>
                  <a:pt x="106" y="589"/>
                </a:lnTo>
                <a:lnTo>
                  <a:pt x="106" y="587"/>
                </a:lnTo>
                <a:lnTo>
                  <a:pt x="106" y="589"/>
                </a:lnTo>
                <a:lnTo>
                  <a:pt x="106" y="587"/>
                </a:lnTo>
                <a:lnTo>
                  <a:pt x="104" y="587"/>
                </a:lnTo>
                <a:lnTo>
                  <a:pt x="104" y="589"/>
                </a:lnTo>
                <a:lnTo>
                  <a:pt x="102" y="589"/>
                </a:lnTo>
                <a:lnTo>
                  <a:pt x="102" y="587"/>
                </a:lnTo>
                <a:lnTo>
                  <a:pt x="100" y="587"/>
                </a:lnTo>
                <a:lnTo>
                  <a:pt x="100" y="586"/>
                </a:lnTo>
                <a:lnTo>
                  <a:pt x="102" y="586"/>
                </a:lnTo>
                <a:lnTo>
                  <a:pt x="102" y="584"/>
                </a:lnTo>
                <a:lnTo>
                  <a:pt x="102" y="582"/>
                </a:lnTo>
                <a:lnTo>
                  <a:pt x="102" y="580"/>
                </a:lnTo>
                <a:lnTo>
                  <a:pt x="104" y="580"/>
                </a:lnTo>
                <a:lnTo>
                  <a:pt x="106" y="580"/>
                </a:lnTo>
                <a:lnTo>
                  <a:pt x="106" y="578"/>
                </a:lnTo>
                <a:lnTo>
                  <a:pt x="108" y="578"/>
                </a:lnTo>
                <a:lnTo>
                  <a:pt x="110" y="580"/>
                </a:lnTo>
                <a:lnTo>
                  <a:pt x="110" y="578"/>
                </a:lnTo>
                <a:lnTo>
                  <a:pt x="110" y="580"/>
                </a:lnTo>
                <a:lnTo>
                  <a:pt x="111" y="580"/>
                </a:lnTo>
                <a:lnTo>
                  <a:pt x="111" y="582"/>
                </a:lnTo>
                <a:close/>
                <a:moveTo>
                  <a:pt x="150" y="708"/>
                </a:moveTo>
                <a:lnTo>
                  <a:pt x="148" y="708"/>
                </a:lnTo>
                <a:lnTo>
                  <a:pt x="146" y="708"/>
                </a:lnTo>
                <a:lnTo>
                  <a:pt x="148" y="710"/>
                </a:lnTo>
                <a:lnTo>
                  <a:pt x="146" y="710"/>
                </a:lnTo>
                <a:lnTo>
                  <a:pt x="146" y="712"/>
                </a:lnTo>
                <a:lnTo>
                  <a:pt x="146" y="710"/>
                </a:lnTo>
                <a:lnTo>
                  <a:pt x="146" y="712"/>
                </a:lnTo>
                <a:lnTo>
                  <a:pt x="148" y="712"/>
                </a:lnTo>
                <a:lnTo>
                  <a:pt x="146" y="712"/>
                </a:lnTo>
                <a:lnTo>
                  <a:pt x="148" y="714"/>
                </a:lnTo>
                <a:lnTo>
                  <a:pt x="146" y="714"/>
                </a:lnTo>
                <a:lnTo>
                  <a:pt x="148" y="714"/>
                </a:lnTo>
                <a:lnTo>
                  <a:pt x="148" y="716"/>
                </a:lnTo>
                <a:lnTo>
                  <a:pt x="150" y="718"/>
                </a:lnTo>
                <a:lnTo>
                  <a:pt x="148" y="718"/>
                </a:lnTo>
                <a:lnTo>
                  <a:pt x="146" y="718"/>
                </a:lnTo>
                <a:lnTo>
                  <a:pt x="146" y="720"/>
                </a:lnTo>
                <a:lnTo>
                  <a:pt x="148" y="720"/>
                </a:lnTo>
                <a:lnTo>
                  <a:pt x="148" y="722"/>
                </a:lnTo>
                <a:lnTo>
                  <a:pt x="150" y="722"/>
                </a:lnTo>
                <a:lnTo>
                  <a:pt x="150" y="724"/>
                </a:lnTo>
                <a:lnTo>
                  <a:pt x="150" y="726"/>
                </a:lnTo>
                <a:lnTo>
                  <a:pt x="152" y="726"/>
                </a:lnTo>
                <a:lnTo>
                  <a:pt x="152" y="728"/>
                </a:lnTo>
                <a:lnTo>
                  <a:pt x="150" y="728"/>
                </a:lnTo>
                <a:lnTo>
                  <a:pt x="150" y="730"/>
                </a:lnTo>
                <a:lnTo>
                  <a:pt x="152" y="730"/>
                </a:lnTo>
                <a:lnTo>
                  <a:pt x="152" y="731"/>
                </a:lnTo>
                <a:lnTo>
                  <a:pt x="152" y="733"/>
                </a:lnTo>
                <a:lnTo>
                  <a:pt x="154" y="733"/>
                </a:lnTo>
                <a:lnTo>
                  <a:pt x="154" y="735"/>
                </a:lnTo>
                <a:lnTo>
                  <a:pt x="154" y="737"/>
                </a:lnTo>
                <a:lnTo>
                  <a:pt x="154" y="739"/>
                </a:lnTo>
                <a:lnTo>
                  <a:pt x="154" y="737"/>
                </a:lnTo>
                <a:lnTo>
                  <a:pt x="152" y="737"/>
                </a:lnTo>
                <a:lnTo>
                  <a:pt x="152" y="735"/>
                </a:lnTo>
                <a:lnTo>
                  <a:pt x="150" y="735"/>
                </a:lnTo>
                <a:lnTo>
                  <a:pt x="152" y="735"/>
                </a:lnTo>
                <a:lnTo>
                  <a:pt x="150" y="733"/>
                </a:lnTo>
                <a:lnTo>
                  <a:pt x="150" y="731"/>
                </a:lnTo>
                <a:lnTo>
                  <a:pt x="148" y="730"/>
                </a:lnTo>
                <a:lnTo>
                  <a:pt x="148" y="728"/>
                </a:lnTo>
                <a:lnTo>
                  <a:pt x="148" y="726"/>
                </a:lnTo>
                <a:lnTo>
                  <a:pt x="146" y="726"/>
                </a:lnTo>
                <a:lnTo>
                  <a:pt x="146" y="724"/>
                </a:lnTo>
                <a:lnTo>
                  <a:pt x="146" y="722"/>
                </a:lnTo>
                <a:lnTo>
                  <a:pt x="146" y="720"/>
                </a:lnTo>
                <a:lnTo>
                  <a:pt x="144" y="720"/>
                </a:lnTo>
                <a:lnTo>
                  <a:pt x="142" y="718"/>
                </a:lnTo>
                <a:lnTo>
                  <a:pt x="144" y="718"/>
                </a:lnTo>
                <a:lnTo>
                  <a:pt x="144" y="716"/>
                </a:lnTo>
                <a:lnTo>
                  <a:pt x="144" y="718"/>
                </a:lnTo>
                <a:lnTo>
                  <a:pt x="142" y="718"/>
                </a:lnTo>
                <a:lnTo>
                  <a:pt x="142" y="716"/>
                </a:lnTo>
                <a:lnTo>
                  <a:pt x="142" y="714"/>
                </a:lnTo>
                <a:lnTo>
                  <a:pt x="140" y="714"/>
                </a:lnTo>
                <a:lnTo>
                  <a:pt x="140" y="712"/>
                </a:lnTo>
                <a:lnTo>
                  <a:pt x="140" y="714"/>
                </a:lnTo>
                <a:lnTo>
                  <a:pt x="140" y="712"/>
                </a:lnTo>
                <a:lnTo>
                  <a:pt x="140" y="710"/>
                </a:lnTo>
                <a:lnTo>
                  <a:pt x="140" y="708"/>
                </a:lnTo>
                <a:lnTo>
                  <a:pt x="140" y="710"/>
                </a:lnTo>
                <a:lnTo>
                  <a:pt x="142" y="710"/>
                </a:lnTo>
                <a:lnTo>
                  <a:pt x="142" y="708"/>
                </a:lnTo>
                <a:lnTo>
                  <a:pt x="140" y="708"/>
                </a:lnTo>
                <a:lnTo>
                  <a:pt x="140" y="706"/>
                </a:lnTo>
                <a:lnTo>
                  <a:pt x="140" y="705"/>
                </a:lnTo>
                <a:lnTo>
                  <a:pt x="140" y="703"/>
                </a:lnTo>
                <a:lnTo>
                  <a:pt x="140" y="701"/>
                </a:lnTo>
                <a:lnTo>
                  <a:pt x="138" y="701"/>
                </a:lnTo>
                <a:lnTo>
                  <a:pt x="138" y="699"/>
                </a:lnTo>
                <a:lnTo>
                  <a:pt x="138" y="697"/>
                </a:lnTo>
                <a:lnTo>
                  <a:pt x="136" y="697"/>
                </a:lnTo>
                <a:lnTo>
                  <a:pt x="136" y="695"/>
                </a:lnTo>
                <a:lnTo>
                  <a:pt x="136" y="693"/>
                </a:lnTo>
                <a:lnTo>
                  <a:pt x="136" y="691"/>
                </a:lnTo>
                <a:lnTo>
                  <a:pt x="138" y="689"/>
                </a:lnTo>
                <a:lnTo>
                  <a:pt x="138" y="691"/>
                </a:lnTo>
                <a:lnTo>
                  <a:pt x="138" y="689"/>
                </a:lnTo>
                <a:lnTo>
                  <a:pt x="138" y="687"/>
                </a:lnTo>
                <a:lnTo>
                  <a:pt x="140" y="687"/>
                </a:lnTo>
                <a:lnTo>
                  <a:pt x="138" y="687"/>
                </a:lnTo>
                <a:lnTo>
                  <a:pt x="138" y="685"/>
                </a:lnTo>
                <a:lnTo>
                  <a:pt x="140" y="685"/>
                </a:lnTo>
                <a:lnTo>
                  <a:pt x="138" y="685"/>
                </a:lnTo>
                <a:lnTo>
                  <a:pt x="140" y="685"/>
                </a:lnTo>
                <a:lnTo>
                  <a:pt x="140" y="683"/>
                </a:lnTo>
                <a:lnTo>
                  <a:pt x="140" y="685"/>
                </a:lnTo>
                <a:lnTo>
                  <a:pt x="140" y="687"/>
                </a:lnTo>
                <a:lnTo>
                  <a:pt x="142" y="687"/>
                </a:lnTo>
                <a:lnTo>
                  <a:pt x="142" y="689"/>
                </a:lnTo>
                <a:lnTo>
                  <a:pt x="142" y="691"/>
                </a:lnTo>
                <a:lnTo>
                  <a:pt x="144" y="691"/>
                </a:lnTo>
                <a:lnTo>
                  <a:pt x="142" y="691"/>
                </a:lnTo>
                <a:lnTo>
                  <a:pt x="144" y="691"/>
                </a:lnTo>
                <a:lnTo>
                  <a:pt x="142" y="691"/>
                </a:lnTo>
                <a:lnTo>
                  <a:pt x="140" y="691"/>
                </a:lnTo>
                <a:lnTo>
                  <a:pt x="142" y="693"/>
                </a:lnTo>
                <a:lnTo>
                  <a:pt x="142" y="695"/>
                </a:lnTo>
                <a:lnTo>
                  <a:pt x="144" y="695"/>
                </a:lnTo>
                <a:lnTo>
                  <a:pt x="142" y="695"/>
                </a:lnTo>
                <a:lnTo>
                  <a:pt x="140" y="697"/>
                </a:lnTo>
                <a:lnTo>
                  <a:pt x="142" y="697"/>
                </a:lnTo>
                <a:lnTo>
                  <a:pt x="144" y="697"/>
                </a:lnTo>
                <a:lnTo>
                  <a:pt x="144" y="699"/>
                </a:lnTo>
                <a:lnTo>
                  <a:pt x="146" y="699"/>
                </a:lnTo>
                <a:lnTo>
                  <a:pt x="144" y="699"/>
                </a:lnTo>
                <a:lnTo>
                  <a:pt x="144" y="701"/>
                </a:lnTo>
                <a:lnTo>
                  <a:pt x="146" y="701"/>
                </a:lnTo>
                <a:lnTo>
                  <a:pt x="146" y="703"/>
                </a:lnTo>
                <a:lnTo>
                  <a:pt x="146" y="701"/>
                </a:lnTo>
                <a:lnTo>
                  <a:pt x="146" y="703"/>
                </a:lnTo>
                <a:lnTo>
                  <a:pt x="148" y="703"/>
                </a:lnTo>
                <a:lnTo>
                  <a:pt x="148" y="705"/>
                </a:lnTo>
                <a:lnTo>
                  <a:pt x="146" y="705"/>
                </a:lnTo>
                <a:lnTo>
                  <a:pt x="148" y="705"/>
                </a:lnTo>
                <a:lnTo>
                  <a:pt x="148" y="706"/>
                </a:lnTo>
                <a:lnTo>
                  <a:pt x="148" y="705"/>
                </a:lnTo>
                <a:lnTo>
                  <a:pt x="148" y="706"/>
                </a:lnTo>
                <a:lnTo>
                  <a:pt x="146" y="706"/>
                </a:lnTo>
                <a:lnTo>
                  <a:pt x="148" y="706"/>
                </a:lnTo>
                <a:lnTo>
                  <a:pt x="148" y="708"/>
                </a:lnTo>
                <a:lnTo>
                  <a:pt x="150" y="708"/>
                </a:lnTo>
                <a:close/>
                <a:moveTo>
                  <a:pt x="138" y="662"/>
                </a:moveTo>
                <a:lnTo>
                  <a:pt x="138" y="664"/>
                </a:lnTo>
                <a:lnTo>
                  <a:pt x="138" y="662"/>
                </a:lnTo>
                <a:close/>
                <a:moveTo>
                  <a:pt x="136" y="655"/>
                </a:moveTo>
                <a:lnTo>
                  <a:pt x="134" y="655"/>
                </a:lnTo>
                <a:lnTo>
                  <a:pt x="134" y="653"/>
                </a:lnTo>
                <a:lnTo>
                  <a:pt x="136" y="653"/>
                </a:lnTo>
                <a:lnTo>
                  <a:pt x="136" y="655"/>
                </a:lnTo>
                <a:close/>
                <a:moveTo>
                  <a:pt x="123" y="610"/>
                </a:moveTo>
                <a:lnTo>
                  <a:pt x="125" y="610"/>
                </a:lnTo>
                <a:lnTo>
                  <a:pt x="125" y="612"/>
                </a:lnTo>
                <a:lnTo>
                  <a:pt x="123" y="610"/>
                </a:lnTo>
                <a:close/>
                <a:moveTo>
                  <a:pt x="133" y="628"/>
                </a:moveTo>
                <a:lnTo>
                  <a:pt x="133" y="630"/>
                </a:lnTo>
                <a:lnTo>
                  <a:pt x="133" y="628"/>
                </a:lnTo>
                <a:close/>
                <a:moveTo>
                  <a:pt x="184" y="756"/>
                </a:moveTo>
                <a:lnTo>
                  <a:pt x="184" y="758"/>
                </a:lnTo>
                <a:lnTo>
                  <a:pt x="184" y="760"/>
                </a:lnTo>
                <a:lnTo>
                  <a:pt x="184" y="762"/>
                </a:lnTo>
                <a:lnTo>
                  <a:pt x="184" y="764"/>
                </a:lnTo>
                <a:lnTo>
                  <a:pt x="182" y="764"/>
                </a:lnTo>
                <a:lnTo>
                  <a:pt x="181" y="764"/>
                </a:lnTo>
                <a:lnTo>
                  <a:pt x="181" y="762"/>
                </a:lnTo>
                <a:lnTo>
                  <a:pt x="179" y="762"/>
                </a:lnTo>
                <a:lnTo>
                  <a:pt x="179" y="760"/>
                </a:lnTo>
                <a:lnTo>
                  <a:pt x="177" y="760"/>
                </a:lnTo>
                <a:lnTo>
                  <a:pt x="177" y="758"/>
                </a:lnTo>
                <a:lnTo>
                  <a:pt x="175" y="758"/>
                </a:lnTo>
                <a:lnTo>
                  <a:pt x="175" y="756"/>
                </a:lnTo>
                <a:lnTo>
                  <a:pt x="173" y="756"/>
                </a:lnTo>
                <a:lnTo>
                  <a:pt x="173" y="754"/>
                </a:lnTo>
                <a:lnTo>
                  <a:pt x="173" y="753"/>
                </a:lnTo>
                <a:lnTo>
                  <a:pt x="171" y="753"/>
                </a:lnTo>
                <a:lnTo>
                  <a:pt x="171" y="751"/>
                </a:lnTo>
                <a:lnTo>
                  <a:pt x="173" y="751"/>
                </a:lnTo>
                <a:lnTo>
                  <a:pt x="173" y="749"/>
                </a:lnTo>
                <a:lnTo>
                  <a:pt x="173" y="751"/>
                </a:lnTo>
                <a:lnTo>
                  <a:pt x="173" y="749"/>
                </a:lnTo>
                <a:lnTo>
                  <a:pt x="175" y="749"/>
                </a:lnTo>
                <a:lnTo>
                  <a:pt x="175" y="751"/>
                </a:lnTo>
                <a:lnTo>
                  <a:pt x="177" y="751"/>
                </a:lnTo>
                <a:lnTo>
                  <a:pt x="179" y="751"/>
                </a:lnTo>
                <a:lnTo>
                  <a:pt x="181" y="751"/>
                </a:lnTo>
                <a:lnTo>
                  <a:pt x="181" y="753"/>
                </a:lnTo>
                <a:lnTo>
                  <a:pt x="182" y="754"/>
                </a:lnTo>
                <a:lnTo>
                  <a:pt x="184" y="754"/>
                </a:lnTo>
                <a:lnTo>
                  <a:pt x="184" y="756"/>
                </a:lnTo>
                <a:close/>
                <a:moveTo>
                  <a:pt x="161" y="672"/>
                </a:moveTo>
                <a:lnTo>
                  <a:pt x="161" y="674"/>
                </a:lnTo>
                <a:lnTo>
                  <a:pt x="161" y="676"/>
                </a:lnTo>
                <a:lnTo>
                  <a:pt x="161" y="678"/>
                </a:lnTo>
                <a:lnTo>
                  <a:pt x="159" y="678"/>
                </a:lnTo>
                <a:lnTo>
                  <a:pt x="159" y="680"/>
                </a:lnTo>
                <a:lnTo>
                  <a:pt x="158" y="680"/>
                </a:lnTo>
                <a:lnTo>
                  <a:pt x="158" y="682"/>
                </a:lnTo>
                <a:lnTo>
                  <a:pt x="156" y="682"/>
                </a:lnTo>
                <a:lnTo>
                  <a:pt x="156" y="683"/>
                </a:lnTo>
                <a:lnTo>
                  <a:pt x="156" y="682"/>
                </a:lnTo>
                <a:lnTo>
                  <a:pt x="156" y="683"/>
                </a:lnTo>
                <a:lnTo>
                  <a:pt x="154" y="683"/>
                </a:lnTo>
                <a:lnTo>
                  <a:pt x="154" y="682"/>
                </a:lnTo>
                <a:lnTo>
                  <a:pt x="152" y="682"/>
                </a:lnTo>
                <a:lnTo>
                  <a:pt x="150" y="682"/>
                </a:lnTo>
                <a:lnTo>
                  <a:pt x="148" y="682"/>
                </a:lnTo>
                <a:lnTo>
                  <a:pt x="148" y="680"/>
                </a:lnTo>
                <a:lnTo>
                  <a:pt x="148" y="678"/>
                </a:lnTo>
                <a:lnTo>
                  <a:pt x="146" y="678"/>
                </a:lnTo>
                <a:lnTo>
                  <a:pt x="146" y="676"/>
                </a:lnTo>
                <a:lnTo>
                  <a:pt x="146" y="674"/>
                </a:lnTo>
                <a:lnTo>
                  <a:pt x="144" y="674"/>
                </a:lnTo>
                <a:lnTo>
                  <a:pt x="144" y="676"/>
                </a:lnTo>
                <a:lnTo>
                  <a:pt x="142" y="676"/>
                </a:lnTo>
                <a:lnTo>
                  <a:pt x="142" y="678"/>
                </a:lnTo>
                <a:lnTo>
                  <a:pt x="142" y="680"/>
                </a:lnTo>
                <a:lnTo>
                  <a:pt x="140" y="680"/>
                </a:lnTo>
                <a:lnTo>
                  <a:pt x="140" y="682"/>
                </a:lnTo>
                <a:lnTo>
                  <a:pt x="138" y="682"/>
                </a:lnTo>
                <a:lnTo>
                  <a:pt x="136" y="682"/>
                </a:lnTo>
                <a:lnTo>
                  <a:pt x="138" y="682"/>
                </a:lnTo>
                <a:lnTo>
                  <a:pt x="138" y="680"/>
                </a:lnTo>
                <a:lnTo>
                  <a:pt x="138" y="678"/>
                </a:lnTo>
                <a:lnTo>
                  <a:pt x="136" y="678"/>
                </a:lnTo>
                <a:lnTo>
                  <a:pt x="138" y="678"/>
                </a:lnTo>
                <a:lnTo>
                  <a:pt x="136" y="676"/>
                </a:lnTo>
                <a:lnTo>
                  <a:pt x="138" y="676"/>
                </a:lnTo>
                <a:lnTo>
                  <a:pt x="136" y="676"/>
                </a:lnTo>
                <a:lnTo>
                  <a:pt x="134" y="676"/>
                </a:lnTo>
                <a:lnTo>
                  <a:pt x="134" y="674"/>
                </a:lnTo>
                <a:lnTo>
                  <a:pt x="134" y="672"/>
                </a:lnTo>
                <a:lnTo>
                  <a:pt x="136" y="672"/>
                </a:lnTo>
                <a:lnTo>
                  <a:pt x="134" y="672"/>
                </a:lnTo>
                <a:lnTo>
                  <a:pt x="134" y="670"/>
                </a:lnTo>
                <a:lnTo>
                  <a:pt x="136" y="672"/>
                </a:lnTo>
                <a:lnTo>
                  <a:pt x="136" y="670"/>
                </a:lnTo>
                <a:lnTo>
                  <a:pt x="134" y="670"/>
                </a:lnTo>
                <a:lnTo>
                  <a:pt x="134" y="668"/>
                </a:lnTo>
                <a:lnTo>
                  <a:pt x="134" y="666"/>
                </a:lnTo>
                <a:lnTo>
                  <a:pt x="133" y="666"/>
                </a:lnTo>
                <a:lnTo>
                  <a:pt x="134" y="666"/>
                </a:lnTo>
                <a:lnTo>
                  <a:pt x="133" y="666"/>
                </a:lnTo>
                <a:lnTo>
                  <a:pt x="133" y="664"/>
                </a:lnTo>
                <a:lnTo>
                  <a:pt x="133" y="666"/>
                </a:lnTo>
                <a:lnTo>
                  <a:pt x="134" y="668"/>
                </a:lnTo>
                <a:lnTo>
                  <a:pt x="133" y="668"/>
                </a:lnTo>
                <a:lnTo>
                  <a:pt x="131" y="668"/>
                </a:lnTo>
                <a:lnTo>
                  <a:pt x="129" y="668"/>
                </a:lnTo>
                <a:lnTo>
                  <a:pt x="129" y="666"/>
                </a:lnTo>
                <a:lnTo>
                  <a:pt x="129" y="664"/>
                </a:lnTo>
                <a:lnTo>
                  <a:pt x="131" y="664"/>
                </a:lnTo>
                <a:lnTo>
                  <a:pt x="131" y="662"/>
                </a:lnTo>
                <a:lnTo>
                  <a:pt x="129" y="662"/>
                </a:lnTo>
                <a:lnTo>
                  <a:pt x="131" y="662"/>
                </a:lnTo>
                <a:lnTo>
                  <a:pt x="131" y="660"/>
                </a:lnTo>
                <a:lnTo>
                  <a:pt x="129" y="660"/>
                </a:lnTo>
                <a:lnTo>
                  <a:pt x="129" y="662"/>
                </a:lnTo>
                <a:lnTo>
                  <a:pt x="127" y="664"/>
                </a:lnTo>
                <a:lnTo>
                  <a:pt x="127" y="662"/>
                </a:lnTo>
                <a:lnTo>
                  <a:pt x="129" y="662"/>
                </a:lnTo>
                <a:lnTo>
                  <a:pt x="129" y="660"/>
                </a:lnTo>
                <a:lnTo>
                  <a:pt x="129" y="658"/>
                </a:lnTo>
                <a:lnTo>
                  <a:pt x="127" y="660"/>
                </a:lnTo>
                <a:lnTo>
                  <a:pt x="127" y="662"/>
                </a:lnTo>
                <a:lnTo>
                  <a:pt x="127" y="660"/>
                </a:lnTo>
                <a:lnTo>
                  <a:pt x="125" y="660"/>
                </a:lnTo>
                <a:lnTo>
                  <a:pt x="127" y="660"/>
                </a:lnTo>
                <a:lnTo>
                  <a:pt x="127" y="658"/>
                </a:lnTo>
                <a:lnTo>
                  <a:pt x="125" y="658"/>
                </a:lnTo>
                <a:lnTo>
                  <a:pt x="127" y="658"/>
                </a:lnTo>
                <a:lnTo>
                  <a:pt x="125" y="658"/>
                </a:lnTo>
                <a:lnTo>
                  <a:pt x="125" y="657"/>
                </a:lnTo>
                <a:lnTo>
                  <a:pt x="123" y="657"/>
                </a:lnTo>
                <a:lnTo>
                  <a:pt x="125" y="657"/>
                </a:lnTo>
                <a:lnTo>
                  <a:pt x="125" y="655"/>
                </a:lnTo>
                <a:lnTo>
                  <a:pt x="127" y="655"/>
                </a:lnTo>
                <a:lnTo>
                  <a:pt x="125" y="655"/>
                </a:lnTo>
                <a:lnTo>
                  <a:pt x="127" y="653"/>
                </a:lnTo>
                <a:lnTo>
                  <a:pt x="125" y="653"/>
                </a:lnTo>
                <a:lnTo>
                  <a:pt x="125" y="655"/>
                </a:lnTo>
                <a:lnTo>
                  <a:pt x="123" y="655"/>
                </a:lnTo>
                <a:lnTo>
                  <a:pt x="125" y="655"/>
                </a:lnTo>
                <a:lnTo>
                  <a:pt x="123" y="653"/>
                </a:lnTo>
                <a:lnTo>
                  <a:pt x="123" y="655"/>
                </a:lnTo>
                <a:lnTo>
                  <a:pt x="121" y="655"/>
                </a:lnTo>
                <a:lnTo>
                  <a:pt x="121" y="653"/>
                </a:lnTo>
                <a:lnTo>
                  <a:pt x="121" y="651"/>
                </a:lnTo>
                <a:lnTo>
                  <a:pt x="123" y="651"/>
                </a:lnTo>
                <a:lnTo>
                  <a:pt x="123" y="649"/>
                </a:lnTo>
                <a:lnTo>
                  <a:pt x="121" y="649"/>
                </a:lnTo>
                <a:lnTo>
                  <a:pt x="123" y="649"/>
                </a:lnTo>
                <a:lnTo>
                  <a:pt x="121" y="649"/>
                </a:lnTo>
                <a:lnTo>
                  <a:pt x="121" y="647"/>
                </a:lnTo>
                <a:lnTo>
                  <a:pt x="121" y="645"/>
                </a:lnTo>
                <a:lnTo>
                  <a:pt x="123" y="645"/>
                </a:lnTo>
                <a:lnTo>
                  <a:pt x="121" y="645"/>
                </a:lnTo>
                <a:lnTo>
                  <a:pt x="123" y="645"/>
                </a:lnTo>
                <a:lnTo>
                  <a:pt x="123" y="643"/>
                </a:lnTo>
                <a:lnTo>
                  <a:pt x="121" y="643"/>
                </a:lnTo>
                <a:lnTo>
                  <a:pt x="121" y="641"/>
                </a:lnTo>
                <a:lnTo>
                  <a:pt x="119" y="641"/>
                </a:lnTo>
                <a:lnTo>
                  <a:pt x="119" y="639"/>
                </a:lnTo>
                <a:lnTo>
                  <a:pt x="119" y="641"/>
                </a:lnTo>
                <a:lnTo>
                  <a:pt x="119" y="639"/>
                </a:lnTo>
                <a:lnTo>
                  <a:pt x="119" y="637"/>
                </a:lnTo>
                <a:lnTo>
                  <a:pt x="119" y="639"/>
                </a:lnTo>
                <a:lnTo>
                  <a:pt x="117" y="639"/>
                </a:lnTo>
                <a:lnTo>
                  <a:pt x="117" y="637"/>
                </a:lnTo>
                <a:lnTo>
                  <a:pt x="117" y="635"/>
                </a:lnTo>
                <a:lnTo>
                  <a:pt x="115" y="635"/>
                </a:lnTo>
                <a:lnTo>
                  <a:pt x="115" y="634"/>
                </a:lnTo>
                <a:lnTo>
                  <a:pt x="115" y="632"/>
                </a:lnTo>
                <a:lnTo>
                  <a:pt x="115" y="630"/>
                </a:lnTo>
                <a:lnTo>
                  <a:pt x="115" y="628"/>
                </a:lnTo>
                <a:lnTo>
                  <a:pt x="115" y="626"/>
                </a:lnTo>
                <a:lnTo>
                  <a:pt x="115" y="624"/>
                </a:lnTo>
                <a:lnTo>
                  <a:pt x="113" y="624"/>
                </a:lnTo>
                <a:lnTo>
                  <a:pt x="113" y="622"/>
                </a:lnTo>
                <a:lnTo>
                  <a:pt x="115" y="622"/>
                </a:lnTo>
                <a:lnTo>
                  <a:pt x="115" y="624"/>
                </a:lnTo>
                <a:lnTo>
                  <a:pt x="113" y="624"/>
                </a:lnTo>
                <a:lnTo>
                  <a:pt x="115" y="624"/>
                </a:lnTo>
                <a:lnTo>
                  <a:pt x="115" y="626"/>
                </a:lnTo>
                <a:lnTo>
                  <a:pt x="117" y="626"/>
                </a:lnTo>
                <a:lnTo>
                  <a:pt x="117" y="628"/>
                </a:lnTo>
                <a:lnTo>
                  <a:pt x="117" y="630"/>
                </a:lnTo>
                <a:lnTo>
                  <a:pt x="117" y="628"/>
                </a:lnTo>
                <a:lnTo>
                  <a:pt x="117" y="630"/>
                </a:lnTo>
                <a:lnTo>
                  <a:pt x="117" y="628"/>
                </a:lnTo>
                <a:lnTo>
                  <a:pt x="119" y="628"/>
                </a:lnTo>
                <a:lnTo>
                  <a:pt x="119" y="630"/>
                </a:lnTo>
                <a:lnTo>
                  <a:pt x="119" y="632"/>
                </a:lnTo>
                <a:lnTo>
                  <a:pt x="119" y="634"/>
                </a:lnTo>
                <a:lnTo>
                  <a:pt x="117" y="632"/>
                </a:lnTo>
                <a:lnTo>
                  <a:pt x="117" y="634"/>
                </a:lnTo>
                <a:lnTo>
                  <a:pt x="119" y="634"/>
                </a:lnTo>
                <a:lnTo>
                  <a:pt x="119" y="635"/>
                </a:lnTo>
                <a:lnTo>
                  <a:pt x="121" y="635"/>
                </a:lnTo>
                <a:lnTo>
                  <a:pt x="119" y="635"/>
                </a:lnTo>
                <a:lnTo>
                  <a:pt x="119" y="637"/>
                </a:lnTo>
                <a:lnTo>
                  <a:pt x="121" y="637"/>
                </a:lnTo>
                <a:lnTo>
                  <a:pt x="121" y="635"/>
                </a:lnTo>
                <a:lnTo>
                  <a:pt x="123" y="635"/>
                </a:lnTo>
                <a:lnTo>
                  <a:pt x="123" y="637"/>
                </a:lnTo>
                <a:lnTo>
                  <a:pt x="121" y="639"/>
                </a:lnTo>
                <a:lnTo>
                  <a:pt x="123" y="639"/>
                </a:lnTo>
                <a:lnTo>
                  <a:pt x="125" y="639"/>
                </a:lnTo>
                <a:lnTo>
                  <a:pt x="125" y="641"/>
                </a:lnTo>
                <a:lnTo>
                  <a:pt x="127" y="641"/>
                </a:lnTo>
                <a:lnTo>
                  <a:pt x="127" y="643"/>
                </a:lnTo>
                <a:lnTo>
                  <a:pt x="127" y="641"/>
                </a:lnTo>
                <a:lnTo>
                  <a:pt x="127" y="643"/>
                </a:lnTo>
                <a:lnTo>
                  <a:pt x="125" y="643"/>
                </a:lnTo>
                <a:lnTo>
                  <a:pt x="127" y="643"/>
                </a:lnTo>
                <a:lnTo>
                  <a:pt x="127" y="645"/>
                </a:lnTo>
                <a:lnTo>
                  <a:pt x="127" y="647"/>
                </a:lnTo>
                <a:lnTo>
                  <a:pt x="127" y="649"/>
                </a:lnTo>
                <a:lnTo>
                  <a:pt x="129" y="649"/>
                </a:lnTo>
                <a:lnTo>
                  <a:pt x="129" y="651"/>
                </a:lnTo>
                <a:lnTo>
                  <a:pt x="129" y="649"/>
                </a:lnTo>
                <a:lnTo>
                  <a:pt x="131" y="649"/>
                </a:lnTo>
                <a:lnTo>
                  <a:pt x="131" y="651"/>
                </a:lnTo>
                <a:lnTo>
                  <a:pt x="129" y="651"/>
                </a:lnTo>
                <a:lnTo>
                  <a:pt x="129" y="653"/>
                </a:lnTo>
                <a:lnTo>
                  <a:pt x="131" y="653"/>
                </a:lnTo>
                <a:lnTo>
                  <a:pt x="129" y="653"/>
                </a:lnTo>
                <a:lnTo>
                  <a:pt x="131" y="653"/>
                </a:lnTo>
                <a:lnTo>
                  <a:pt x="131" y="655"/>
                </a:lnTo>
                <a:lnTo>
                  <a:pt x="131" y="657"/>
                </a:lnTo>
                <a:lnTo>
                  <a:pt x="129" y="657"/>
                </a:lnTo>
                <a:lnTo>
                  <a:pt x="131" y="657"/>
                </a:lnTo>
                <a:lnTo>
                  <a:pt x="131" y="658"/>
                </a:lnTo>
                <a:lnTo>
                  <a:pt x="131" y="657"/>
                </a:lnTo>
                <a:lnTo>
                  <a:pt x="133" y="657"/>
                </a:lnTo>
                <a:lnTo>
                  <a:pt x="134" y="657"/>
                </a:lnTo>
                <a:lnTo>
                  <a:pt x="134" y="658"/>
                </a:lnTo>
                <a:lnTo>
                  <a:pt x="134" y="660"/>
                </a:lnTo>
                <a:lnTo>
                  <a:pt x="134" y="662"/>
                </a:lnTo>
                <a:lnTo>
                  <a:pt x="134" y="660"/>
                </a:lnTo>
                <a:lnTo>
                  <a:pt x="136" y="660"/>
                </a:lnTo>
                <a:lnTo>
                  <a:pt x="134" y="660"/>
                </a:lnTo>
                <a:lnTo>
                  <a:pt x="134" y="658"/>
                </a:lnTo>
                <a:lnTo>
                  <a:pt x="136" y="658"/>
                </a:lnTo>
                <a:lnTo>
                  <a:pt x="136" y="657"/>
                </a:lnTo>
                <a:lnTo>
                  <a:pt x="138" y="657"/>
                </a:lnTo>
                <a:lnTo>
                  <a:pt x="138" y="658"/>
                </a:lnTo>
                <a:lnTo>
                  <a:pt x="138" y="660"/>
                </a:lnTo>
                <a:lnTo>
                  <a:pt x="136" y="660"/>
                </a:lnTo>
                <a:lnTo>
                  <a:pt x="138" y="660"/>
                </a:lnTo>
                <a:lnTo>
                  <a:pt x="138" y="662"/>
                </a:lnTo>
                <a:lnTo>
                  <a:pt x="138" y="664"/>
                </a:lnTo>
                <a:lnTo>
                  <a:pt x="140" y="664"/>
                </a:lnTo>
                <a:lnTo>
                  <a:pt x="140" y="662"/>
                </a:lnTo>
                <a:lnTo>
                  <a:pt x="142" y="662"/>
                </a:lnTo>
                <a:lnTo>
                  <a:pt x="142" y="664"/>
                </a:lnTo>
                <a:lnTo>
                  <a:pt x="142" y="666"/>
                </a:lnTo>
                <a:lnTo>
                  <a:pt x="142" y="668"/>
                </a:lnTo>
                <a:lnTo>
                  <a:pt x="140" y="668"/>
                </a:lnTo>
                <a:lnTo>
                  <a:pt x="142" y="668"/>
                </a:lnTo>
                <a:lnTo>
                  <a:pt x="144" y="668"/>
                </a:lnTo>
                <a:lnTo>
                  <a:pt x="144" y="670"/>
                </a:lnTo>
                <a:lnTo>
                  <a:pt x="146" y="670"/>
                </a:lnTo>
                <a:lnTo>
                  <a:pt x="146" y="672"/>
                </a:lnTo>
                <a:lnTo>
                  <a:pt x="148" y="672"/>
                </a:lnTo>
                <a:lnTo>
                  <a:pt x="150" y="672"/>
                </a:lnTo>
                <a:lnTo>
                  <a:pt x="150" y="670"/>
                </a:lnTo>
                <a:lnTo>
                  <a:pt x="150" y="668"/>
                </a:lnTo>
                <a:lnTo>
                  <a:pt x="148" y="668"/>
                </a:lnTo>
                <a:lnTo>
                  <a:pt x="150" y="668"/>
                </a:lnTo>
                <a:lnTo>
                  <a:pt x="150" y="670"/>
                </a:lnTo>
                <a:lnTo>
                  <a:pt x="152" y="670"/>
                </a:lnTo>
                <a:lnTo>
                  <a:pt x="152" y="668"/>
                </a:lnTo>
                <a:lnTo>
                  <a:pt x="150" y="668"/>
                </a:lnTo>
                <a:lnTo>
                  <a:pt x="150" y="666"/>
                </a:lnTo>
                <a:lnTo>
                  <a:pt x="152" y="666"/>
                </a:lnTo>
                <a:lnTo>
                  <a:pt x="154" y="666"/>
                </a:lnTo>
                <a:lnTo>
                  <a:pt x="154" y="668"/>
                </a:lnTo>
                <a:lnTo>
                  <a:pt x="154" y="666"/>
                </a:lnTo>
                <a:lnTo>
                  <a:pt x="152" y="666"/>
                </a:lnTo>
                <a:lnTo>
                  <a:pt x="152" y="664"/>
                </a:lnTo>
                <a:lnTo>
                  <a:pt x="150" y="664"/>
                </a:lnTo>
                <a:lnTo>
                  <a:pt x="150" y="666"/>
                </a:lnTo>
                <a:lnTo>
                  <a:pt x="148" y="666"/>
                </a:lnTo>
                <a:lnTo>
                  <a:pt x="148" y="664"/>
                </a:lnTo>
                <a:lnTo>
                  <a:pt x="150" y="664"/>
                </a:lnTo>
                <a:lnTo>
                  <a:pt x="150" y="662"/>
                </a:lnTo>
                <a:lnTo>
                  <a:pt x="148" y="662"/>
                </a:lnTo>
                <a:lnTo>
                  <a:pt x="148" y="660"/>
                </a:lnTo>
                <a:lnTo>
                  <a:pt x="150" y="660"/>
                </a:lnTo>
                <a:lnTo>
                  <a:pt x="150" y="658"/>
                </a:lnTo>
                <a:lnTo>
                  <a:pt x="150" y="660"/>
                </a:lnTo>
                <a:lnTo>
                  <a:pt x="152" y="660"/>
                </a:lnTo>
                <a:lnTo>
                  <a:pt x="150" y="660"/>
                </a:lnTo>
                <a:lnTo>
                  <a:pt x="150" y="662"/>
                </a:lnTo>
                <a:lnTo>
                  <a:pt x="152" y="662"/>
                </a:lnTo>
                <a:lnTo>
                  <a:pt x="152" y="664"/>
                </a:lnTo>
                <a:lnTo>
                  <a:pt x="150" y="664"/>
                </a:lnTo>
                <a:lnTo>
                  <a:pt x="152" y="664"/>
                </a:lnTo>
                <a:lnTo>
                  <a:pt x="152" y="666"/>
                </a:lnTo>
                <a:lnTo>
                  <a:pt x="154" y="666"/>
                </a:lnTo>
                <a:lnTo>
                  <a:pt x="156" y="664"/>
                </a:lnTo>
                <a:lnTo>
                  <a:pt x="158" y="664"/>
                </a:lnTo>
                <a:lnTo>
                  <a:pt x="158" y="666"/>
                </a:lnTo>
                <a:lnTo>
                  <a:pt x="159" y="666"/>
                </a:lnTo>
                <a:lnTo>
                  <a:pt x="159" y="668"/>
                </a:lnTo>
                <a:lnTo>
                  <a:pt x="159" y="670"/>
                </a:lnTo>
                <a:lnTo>
                  <a:pt x="161" y="670"/>
                </a:lnTo>
                <a:lnTo>
                  <a:pt x="161" y="672"/>
                </a:lnTo>
                <a:close/>
                <a:moveTo>
                  <a:pt x="148" y="672"/>
                </a:moveTo>
                <a:lnTo>
                  <a:pt x="146" y="672"/>
                </a:lnTo>
                <a:lnTo>
                  <a:pt x="146" y="674"/>
                </a:lnTo>
                <a:lnTo>
                  <a:pt x="148" y="674"/>
                </a:lnTo>
                <a:lnTo>
                  <a:pt x="148" y="672"/>
                </a:lnTo>
                <a:close/>
                <a:moveTo>
                  <a:pt x="213" y="812"/>
                </a:moveTo>
                <a:lnTo>
                  <a:pt x="213" y="814"/>
                </a:lnTo>
                <a:lnTo>
                  <a:pt x="211" y="814"/>
                </a:lnTo>
                <a:lnTo>
                  <a:pt x="209" y="814"/>
                </a:lnTo>
                <a:lnTo>
                  <a:pt x="209" y="812"/>
                </a:lnTo>
                <a:lnTo>
                  <a:pt x="209" y="814"/>
                </a:lnTo>
                <a:lnTo>
                  <a:pt x="207" y="814"/>
                </a:lnTo>
                <a:lnTo>
                  <a:pt x="207" y="812"/>
                </a:lnTo>
                <a:lnTo>
                  <a:pt x="207" y="810"/>
                </a:lnTo>
                <a:lnTo>
                  <a:pt x="209" y="810"/>
                </a:lnTo>
                <a:lnTo>
                  <a:pt x="207" y="810"/>
                </a:lnTo>
                <a:lnTo>
                  <a:pt x="207" y="808"/>
                </a:lnTo>
                <a:lnTo>
                  <a:pt x="209" y="808"/>
                </a:lnTo>
                <a:lnTo>
                  <a:pt x="211" y="808"/>
                </a:lnTo>
                <a:lnTo>
                  <a:pt x="213" y="808"/>
                </a:lnTo>
                <a:lnTo>
                  <a:pt x="213" y="810"/>
                </a:lnTo>
                <a:lnTo>
                  <a:pt x="215" y="810"/>
                </a:lnTo>
                <a:lnTo>
                  <a:pt x="213" y="810"/>
                </a:lnTo>
                <a:lnTo>
                  <a:pt x="213" y="812"/>
                </a:lnTo>
                <a:close/>
                <a:moveTo>
                  <a:pt x="219" y="816"/>
                </a:moveTo>
                <a:lnTo>
                  <a:pt x="219" y="814"/>
                </a:lnTo>
                <a:lnTo>
                  <a:pt x="219" y="812"/>
                </a:lnTo>
                <a:lnTo>
                  <a:pt x="219" y="814"/>
                </a:lnTo>
                <a:lnTo>
                  <a:pt x="221" y="814"/>
                </a:lnTo>
                <a:lnTo>
                  <a:pt x="221" y="816"/>
                </a:lnTo>
                <a:lnTo>
                  <a:pt x="219" y="816"/>
                </a:lnTo>
                <a:close/>
                <a:moveTo>
                  <a:pt x="238" y="833"/>
                </a:moveTo>
                <a:lnTo>
                  <a:pt x="236" y="833"/>
                </a:lnTo>
                <a:lnTo>
                  <a:pt x="238" y="835"/>
                </a:lnTo>
                <a:lnTo>
                  <a:pt x="238" y="837"/>
                </a:lnTo>
                <a:lnTo>
                  <a:pt x="236" y="839"/>
                </a:lnTo>
                <a:lnTo>
                  <a:pt x="234" y="839"/>
                </a:lnTo>
                <a:lnTo>
                  <a:pt x="232" y="839"/>
                </a:lnTo>
                <a:lnTo>
                  <a:pt x="231" y="839"/>
                </a:lnTo>
                <a:lnTo>
                  <a:pt x="231" y="837"/>
                </a:lnTo>
                <a:lnTo>
                  <a:pt x="229" y="837"/>
                </a:lnTo>
                <a:lnTo>
                  <a:pt x="229" y="835"/>
                </a:lnTo>
                <a:lnTo>
                  <a:pt x="231" y="835"/>
                </a:lnTo>
                <a:lnTo>
                  <a:pt x="229" y="835"/>
                </a:lnTo>
                <a:lnTo>
                  <a:pt x="229" y="833"/>
                </a:lnTo>
                <a:lnTo>
                  <a:pt x="227" y="833"/>
                </a:lnTo>
                <a:lnTo>
                  <a:pt x="225" y="833"/>
                </a:lnTo>
                <a:lnTo>
                  <a:pt x="223" y="831"/>
                </a:lnTo>
                <a:lnTo>
                  <a:pt x="223" y="829"/>
                </a:lnTo>
                <a:lnTo>
                  <a:pt x="225" y="829"/>
                </a:lnTo>
                <a:lnTo>
                  <a:pt x="225" y="827"/>
                </a:lnTo>
                <a:lnTo>
                  <a:pt x="227" y="827"/>
                </a:lnTo>
                <a:lnTo>
                  <a:pt x="229" y="827"/>
                </a:lnTo>
                <a:lnTo>
                  <a:pt x="231" y="827"/>
                </a:lnTo>
                <a:lnTo>
                  <a:pt x="231" y="829"/>
                </a:lnTo>
                <a:lnTo>
                  <a:pt x="232" y="829"/>
                </a:lnTo>
                <a:lnTo>
                  <a:pt x="232" y="831"/>
                </a:lnTo>
                <a:lnTo>
                  <a:pt x="234" y="831"/>
                </a:lnTo>
                <a:lnTo>
                  <a:pt x="236" y="831"/>
                </a:lnTo>
                <a:lnTo>
                  <a:pt x="236" y="833"/>
                </a:lnTo>
                <a:lnTo>
                  <a:pt x="234" y="833"/>
                </a:lnTo>
                <a:lnTo>
                  <a:pt x="236" y="833"/>
                </a:lnTo>
                <a:lnTo>
                  <a:pt x="238" y="833"/>
                </a:lnTo>
                <a:close/>
                <a:moveTo>
                  <a:pt x="254" y="858"/>
                </a:moveTo>
                <a:lnTo>
                  <a:pt x="254" y="860"/>
                </a:lnTo>
                <a:lnTo>
                  <a:pt x="252" y="860"/>
                </a:lnTo>
                <a:lnTo>
                  <a:pt x="252" y="862"/>
                </a:lnTo>
                <a:lnTo>
                  <a:pt x="250" y="862"/>
                </a:lnTo>
                <a:lnTo>
                  <a:pt x="250" y="860"/>
                </a:lnTo>
                <a:lnTo>
                  <a:pt x="250" y="862"/>
                </a:lnTo>
                <a:lnTo>
                  <a:pt x="250" y="860"/>
                </a:lnTo>
                <a:lnTo>
                  <a:pt x="248" y="860"/>
                </a:lnTo>
                <a:lnTo>
                  <a:pt x="248" y="858"/>
                </a:lnTo>
                <a:lnTo>
                  <a:pt x="248" y="856"/>
                </a:lnTo>
                <a:lnTo>
                  <a:pt x="250" y="856"/>
                </a:lnTo>
                <a:lnTo>
                  <a:pt x="250" y="854"/>
                </a:lnTo>
                <a:lnTo>
                  <a:pt x="252" y="854"/>
                </a:lnTo>
                <a:lnTo>
                  <a:pt x="254" y="856"/>
                </a:lnTo>
                <a:lnTo>
                  <a:pt x="254" y="858"/>
                </a:lnTo>
                <a:close/>
                <a:moveTo>
                  <a:pt x="271" y="902"/>
                </a:moveTo>
                <a:lnTo>
                  <a:pt x="269" y="902"/>
                </a:lnTo>
                <a:lnTo>
                  <a:pt x="269" y="900"/>
                </a:lnTo>
                <a:lnTo>
                  <a:pt x="267" y="900"/>
                </a:lnTo>
                <a:lnTo>
                  <a:pt x="267" y="898"/>
                </a:lnTo>
                <a:lnTo>
                  <a:pt x="267" y="900"/>
                </a:lnTo>
                <a:lnTo>
                  <a:pt x="269" y="900"/>
                </a:lnTo>
                <a:lnTo>
                  <a:pt x="271" y="900"/>
                </a:lnTo>
                <a:lnTo>
                  <a:pt x="271" y="902"/>
                </a:lnTo>
                <a:close/>
                <a:moveTo>
                  <a:pt x="267" y="870"/>
                </a:moveTo>
                <a:lnTo>
                  <a:pt x="267" y="872"/>
                </a:lnTo>
                <a:lnTo>
                  <a:pt x="267" y="874"/>
                </a:lnTo>
                <a:lnTo>
                  <a:pt x="269" y="874"/>
                </a:lnTo>
                <a:lnTo>
                  <a:pt x="267" y="874"/>
                </a:lnTo>
                <a:lnTo>
                  <a:pt x="269" y="874"/>
                </a:lnTo>
                <a:lnTo>
                  <a:pt x="267" y="874"/>
                </a:lnTo>
                <a:lnTo>
                  <a:pt x="267" y="875"/>
                </a:lnTo>
                <a:lnTo>
                  <a:pt x="265" y="875"/>
                </a:lnTo>
                <a:lnTo>
                  <a:pt x="265" y="877"/>
                </a:lnTo>
                <a:lnTo>
                  <a:pt x="265" y="875"/>
                </a:lnTo>
                <a:lnTo>
                  <a:pt x="263" y="875"/>
                </a:lnTo>
                <a:lnTo>
                  <a:pt x="263" y="877"/>
                </a:lnTo>
                <a:lnTo>
                  <a:pt x="261" y="875"/>
                </a:lnTo>
                <a:lnTo>
                  <a:pt x="261" y="877"/>
                </a:lnTo>
                <a:lnTo>
                  <a:pt x="259" y="877"/>
                </a:lnTo>
                <a:lnTo>
                  <a:pt x="259" y="875"/>
                </a:lnTo>
                <a:lnTo>
                  <a:pt x="259" y="874"/>
                </a:lnTo>
                <a:lnTo>
                  <a:pt x="261" y="874"/>
                </a:lnTo>
                <a:lnTo>
                  <a:pt x="261" y="872"/>
                </a:lnTo>
                <a:lnTo>
                  <a:pt x="259" y="872"/>
                </a:lnTo>
                <a:lnTo>
                  <a:pt x="261" y="872"/>
                </a:lnTo>
                <a:lnTo>
                  <a:pt x="261" y="870"/>
                </a:lnTo>
                <a:lnTo>
                  <a:pt x="261" y="868"/>
                </a:lnTo>
                <a:lnTo>
                  <a:pt x="259" y="868"/>
                </a:lnTo>
                <a:lnTo>
                  <a:pt x="257" y="868"/>
                </a:lnTo>
                <a:lnTo>
                  <a:pt x="257" y="866"/>
                </a:lnTo>
                <a:lnTo>
                  <a:pt x="255" y="866"/>
                </a:lnTo>
                <a:lnTo>
                  <a:pt x="255" y="864"/>
                </a:lnTo>
                <a:lnTo>
                  <a:pt x="257" y="864"/>
                </a:lnTo>
                <a:lnTo>
                  <a:pt x="257" y="862"/>
                </a:lnTo>
                <a:lnTo>
                  <a:pt x="259" y="862"/>
                </a:lnTo>
                <a:lnTo>
                  <a:pt x="257" y="862"/>
                </a:lnTo>
                <a:lnTo>
                  <a:pt x="257" y="860"/>
                </a:lnTo>
                <a:lnTo>
                  <a:pt x="259" y="860"/>
                </a:lnTo>
                <a:lnTo>
                  <a:pt x="259" y="862"/>
                </a:lnTo>
                <a:lnTo>
                  <a:pt x="261" y="862"/>
                </a:lnTo>
                <a:lnTo>
                  <a:pt x="261" y="864"/>
                </a:lnTo>
                <a:lnTo>
                  <a:pt x="261" y="866"/>
                </a:lnTo>
                <a:lnTo>
                  <a:pt x="263" y="866"/>
                </a:lnTo>
                <a:lnTo>
                  <a:pt x="263" y="868"/>
                </a:lnTo>
                <a:lnTo>
                  <a:pt x="263" y="866"/>
                </a:lnTo>
                <a:lnTo>
                  <a:pt x="265" y="866"/>
                </a:lnTo>
                <a:lnTo>
                  <a:pt x="265" y="868"/>
                </a:lnTo>
                <a:lnTo>
                  <a:pt x="265" y="870"/>
                </a:lnTo>
                <a:lnTo>
                  <a:pt x="267" y="870"/>
                </a:lnTo>
                <a:close/>
                <a:moveTo>
                  <a:pt x="279" y="898"/>
                </a:moveTo>
                <a:lnTo>
                  <a:pt x="280" y="898"/>
                </a:lnTo>
                <a:lnTo>
                  <a:pt x="280" y="900"/>
                </a:lnTo>
                <a:lnTo>
                  <a:pt x="279" y="900"/>
                </a:lnTo>
                <a:lnTo>
                  <a:pt x="279" y="898"/>
                </a:lnTo>
                <a:close/>
                <a:moveTo>
                  <a:pt x="265" y="856"/>
                </a:moveTo>
                <a:lnTo>
                  <a:pt x="265" y="858"/>
                </a:lnTo>
                <a:lnTo>
                  <a:pt x="265" y="860"/>
                </a:lnTo>
                <a:lnTo>
                  <a:pt x="263" y="860"/>
                </a:lnTo>
                <a:lnTo>
                  <a:pt x="261" y="860"/>
                </a:lnTo>
                <a:lnTo>
                  <a:pt x="261" y="858"/>
                </a:lnTo>
                <a:lnTo>
                  <a:pt x="259" y="858"/>
                </a:lnTo>
                <a:lnTo>
                  <a:pt x="259" y="856"/>
                </a:lnTo>
                <a:lnTo>
                  <a:pt x="261" y="856"/>
                </a:lnTo>
                <a:lnTo>
                  <a:pt x="261" y="854"/>
                </a:lnTo>
                <a:lnTo>
                  <a:pt x="263" y="854"/>
                </a:lnTo>
                <a:lnTo>
                  <a:pt x="265" y="854"/>
                </a:lnTo>
                <a:lnTo>
                  <a:pt x="265" y="856"/>
                </a:lnTo>
                <a:close/>
                <a:moveTo>
                  <a:pt x="298" y="929"/>
                </a:moveTo>
                <a:lnTo>
                  <a:pt x="298" y="931"/>
                </a:lnTo>
                <a:lnTo>
                  <a:pt x="298" y="929"/>
                </a:lnTo>
                <a:lnTo>
                  <a:pt x="296" y="929"/>
                </a:lnTo>
                <a:lnTo>
                  <a:pt x="298" y="929"/>
                </a:lnTo>
                <a:lnTo>
                  <a:pt x="296" y="929"/>
                </a:lnTo>
                <a:lnTo>
                  <a:pt x="298" y="929"/>
                </a:lnTo>
                <a:close/>
                <a:moveTo>
                  <a:pt x="300" y="933"/>
                </a:moveTo>
                <a:lnTo>
                  <a:pt x="300" y="931"/>
                </a:lnTo>
                <a:lnTo>
                  <a:pt x="300" y="933"/>
                </a:lnTo>
                <a:close/>
                <a:moveTo>
                  <a:pt x="292" y="908"/>
                </a:moveTo>
                <a:lnTo>
                  <a:pt x="290" y="908"/>
                </a:lnTo>
                <a:lnTo>
                  <a:pt x="292" y="908"/>
                </a:lnTo>
                <a:close/>
                <a:moveTo>
                  <a:pt x="279" y="872"/>
                </a:moveTo>
                <a:lnTo>
                  <a:pt x="279" y="874"/>
                </a:lnTo>
                <a:lnTo>
                  <a:pt x="277" y="874"/>
                </a:lnTo>
                <a:lnTo>
                  <a:pt x="277" y="872"/>
                </a:lnTo>
                <a:lnTo>
                  <a:pt x="275" y="872"/>
                </a:lnTo>
                <a:lnTo>
                  <a:pt x="273" y="872"/>
                </a:lnTo>
                <a:lnTo>
                  <a:pt x="273" y="870"/>
                </a:lnTo>
                <a:lnTo>
                  <a:pt x="275" y="870"/>
                </a:lnTo>
                <a:lnTo>
                  <a:pt x="275" y="868"/>
                </a:lnTo>
                <a:lnTo>
                  <a:pt x="277" y="868"/>
                </a:lnTo>
                <a:lnTo>
                  <a:pt x="277" y="870"/>
                </a:lnTo>
                <a:lnTo>
                  <a:pt x="277" y="868"/>
                </a:lnTo>
                <a:lnTo>
                  <a:pt x="279" y="868"/>
                </a:lnTo>
                <a:lnTo>
                  <a:pt x="279" y="870"/>
                </a:lnTo>
                <a:lnTo>
                  <a:pt x="280" y="870"/>
                </a:lnTo>
                <a:lnTo>
                  <a:pt x="280" y="872"/>
                </a:lnTo>
                <a:lnTo>
                  <a:pt x="279" y="872"/>
                </a:lnTo>
                <a:close/>
                <a:moveTo>
                  <a:pt x="302" y="929"/>
                </a:moveTo>
                <a:lnTo>
                  <a:pt x="303" y="929"/>
                </a:lnTo>
                <a:lnTo>
                  <a:pt x="303" y="927"/>
                </a:lnTo>
                <a:lnTo>
                  <a:pt x="303" y="929"/>
                </a:lnTo>
                <a:lnTo>
                  <a:pt x="302" y="929"/>
                </a:lnTo>
                <a:close/>
                <a:moveTo>
                  <a:pt x="282" y="866"/>
                </a:moveTo>
                <a:lnTo>
                  <a:pt x="282" y="868"/>
                </a:lnTo>
                <a:lnTo>
                  <a:pt x="280" y="868"/>
                </a:lnTo>
                <a:lnTo>
                  <a:pt x="280" y="866"/>
                </a:lnTo>
                <a:lnTo>
                  <a:pt x="279" y="866"/>
                </a:lnTo>
                <a:lnTo>
                  <a:pt x="280" y="866"/>
                </a:lnTo>
                <a:lnTo>
                  <a:pt x="280" y="864"/>
                </a:lnTo>
                <a:lnTo>
                  <a:pt x="280" y="866"/>
                </a:lnTo>
                <a:lnTo>
                  <a:pt x="282" y="866"/>
                </a:lnTo>
                <a:close/>
                <a:moveTo>
                  <a:pt x="363" y="989"/>
                </a:moveTo>
                <a:lnTo>
                  <a:pt x="361" y="989"/>
                </a:lnTo>
                <a:lnTo>
                  <a:pt x="363" y="989"/>
                </a:lnTo>
                <a:close/>
                <a:moveTo>
                  <a:pt x="351" y="935"/>
                </a:moveTo>
                <a:lnTo>
                  <a:pt x="350" y="935"/>
                </a:lnTo>
                <a:lnTo>
                  <a:pt x="350" y="937"/>
                </a:lnTo>
                <a:lnTo>
                  <a:pt x="350" y="939"/>
                </a:lnTo>
                <a:lnTo>
                  <a:pt x="350" y="941"/>
                </a:lnTo>
                <a:lnTo>
                  <a:pt x="350" y="943"/>
                </a:lnTo>
                <a:lnTo>
                  <a:pt x="351" y="945"/>
                </a:lnTo>
                <a:lnTo>
                  <a:pt x="350" y="945"/>
                </a:lnTo>
                <a:lnTo>
                  <a:pt x="348" y="945"/>
                </a:lnTo>
                <a:lnTo>
                  <a:pt x="346" y="945"/>
                </a:lnTo>
                <a:lnTo>
                  <a:pt x="344" y="945"/>
                </a:lnTo>
                <a:lnTo>
                  <a:pt x="342" y="945"/>
                </a:lnTo>
                <a:lnTo>
                  <a:pt x="340" y="945"/>
                </a:lnTo>
                <a:lnTo>
                  <a:pt x="340" y="946"/>
                </a:lnTo>
                <a:lnTo>
                  <a:pt x="338" y="946"/>
                </a:lnTo>
                <a:lnTo>
                  <a:pt x="338" y="945"/>
                </a:lnTo>
                <a:lnTo>
                  <a:pt x="336" y="945"/>
                </a:lnTo>
                <a:lnTo>
                  <a:pt x="336" y="943"/>
                </a:lnTo>
                <a:lnTo>
                  <a:pt x="334" y="943"/>
                </a:lnTo>
                <a:lnTo>
                  <a:pt x="334" y="941"/>
                </a:lnTo>
                <a:lnTo>
                  <a:pt x="332" y="941"/>
                </a:lnTo>
                <a:lnTo>
                  <a:pt x="330" y="941"/>
                </a:lnTo>
                <a:lnTo>
                  <a:pt x="330" y="939"/>
                </a:lnTo>
                <a:lnTo>
                  <a:pt x="328" y="939"/>
                </a:lnTo>
                <a:lnTo>
                  <a:pt x="328" y="937"/>
                </a:lnTo>
                <a:lnTo>
                  <a:pt x="327" y="937"/>
                </a:lnTo>
                <a:lnTo>
                  <a:pt x="325" y="935"/>
                </a:lnTo>
                <a:lnTo>
                  <a:pt x="325" y="933"/>
                </a:lnTo>
                <a:lnTo>
                  <a:pt x="323" y="933"/>
                </a:lnTo>
                <a:lnTo>
                  <a:pt x="323" y="931"/>
                </a:lnTo>
                <a:lnTo>
                  <a:pt x="321" y="931"/>
                </a:lnTo>
                <a:lnTo>
                  <a:pt x="323" y="931"/>
                </a:lnTo>
                <a:lnTo>
                  <a:pt x="321" y="931"/>
                </a:lnTo>
                <a:lnTo>
                  <a:pt x="319" y="931"/>
                </a:lnTo>
                <a:lnTo>
                  <a:pt x="319" y="929"/>
                </a:lnTo>
                <a:lnTo>
                  <a:pt x="317" y="929"/>
                </a:lnTo>
                <a:lnTo>
                  <a:pt x="315" y="929"/>
                </a:lnTo>
                <a:lnTo>
                  <a:pt x="313" y="929"/>
                </a:lnTo>
                <a:lnTo>
                  <a:pt x="313" y="927"/>
                </a:lnTo>
                <a:lnTo>
                  <a:pt x="313" y="929"/>
                </a:lnTo>
                <a:lnTo>
                  <a:pt x="311" y="929"/>
                </a:lnTo>
                <a:lnTo>
                  <a:pt x="309" y="929"/>
                </a:lnTo>
                <a:lnTo>
                  <a:pt x="309" y="927"/>
                </a:lnTo>
                <a:lnTo>
                  <a:pt x="307" y="927"/>
                </a:lnTo>
                <a:lnTo>
                  <a:pt x="305" y="927"/>
                </a:lnTo>
                <a:lnTo>
                  <a:pt x="303" y="927"/>
                </a:lnTo>
                <a:lnTo>
                  <a:pt x="302" y="927"/>
                </a:lnTo>
                <a:lnTo>
                  <a:pt x="302" y="925"/>
                </a:lnTo>
                <a:lnTo>
                  <a:pt x="300" y="925"/>
                </a:lnTo>
                <a:lnTo>
                  <a:pt x="300" y="923"/>
                </a:lnTo>
                <a:lnTo>
                  <a:pt x="298" y="922"/>
                </a:lnTo>
                <a:lnTo>
                  <a:pt x="296" y="922"/>
                </a:lnTo>
                <a:lnTo>
                  <a:pt x="294" y="922"/>
                </a:lnTo>
                <a:lnTo>
                  <a:pt x="294" y="920"/>
                </a:lnTo>
                <a:lnTo>
                  <a:pt x="292" y="920"/>
                </a:lnTo>
                <a:lnTo>
                  <a:pt x="290" y="920"/>
                </a:lnTo>
                <a:lnTo>
                  <a:pt x="292" y="920"/>
                </a:lnTo>
                <a:lnTo>
                  <a:pt x="292" y="918"/>
                </a:lnTo>
                <a:lnTo>
                  <a:pt x="290" y="918"/>
                </a:lnTo>
                <a:lnTo>
                  <a:pt x="290" y="916"/>
                </a:lnTo>
                <a:lnTo>
                  <a:pt x="288" y="916"/>
                </a:lnTo>
                <a:lnTo>
                  <a:pt x="288" y="918"/>
                </a:lnTo>
                <a:lnTo>
                  <a:pt x="286" y="918"/>
                </a:lnTo>
                <a:lnTo>
                  <a:pt x="286" y="916"/>
                </a:lnTo>
                <a:lnTo>
                  <a:pt x="286" y="914"/>
                </a:lnTo>
                <a:lnTo>
                  <a:pt x="284" y="914"/>
                </a:lnTo>
                <a:lnTo>
                  <a:pt x="284" y="912"/>
                </a:lnTo>
                <a:lnTo>
                  <a:pt x="282" y="912"/>
                </a:lnTo>
                <a:lnTo>
                  <a:pt x="280" y="912"/>
                </a:lnTo>
                <a:lnTo>
                  <a:pt x="282" y="912"/>
                </a:lnTo>
                <a:lnTo>
                  <a:pt x="282" y="910"/>
                </a:lnTo>
                <a:lnTo>
                  <a:pt x="280" y="910"/>
                </a:lnTo>
                <a:lnTo>
                  <a:pt x="280" y="908"/>
                </a:lnTo>
                <a:lnTo>
                  <a:pt x="279" y="908"/>
                </a:lnTo>
                <a:lnTo>
                  <a:pt x="279" y="906"/>
                </a:lnTo>
                <a:lnTo>
                  <a:pt x="277" y="906"/>
                </a:lnTo>
                <a:lnTo>
                  <a:pt x="275" y="906"/>
                </a:lnTo>
                <a:lnTo>
                  <a:pt x="275" y="904"/>
                </a:lnTo>
                <a:lnTo>
                  <a:pt x="273" y="904"/>
                </a:lnTo>
                <a:lnTo>
                  <a:pt x="275" y="904"/>
                </a:lnTo>
                <a:lnTo>
                  <a:pt x="275" y="906"/>
                </a:lnTo>
                <a:lnTo>
                  <a:pt x="277" y="906"/>
                </a:lnTo>
                <a:lnTo>
                  <a:pt x="277" y="904"/>
                </a:lnTo>
                <a:lnTo>
                  <a:pt x="279" y="904"/>
                </a:lnTo>
                <a:lnTo>
                  <a:pt x="279" y="906"/>
                </a:lnTo>
                <a:lnTo>
                  <a:pt x="279" y="908"/>
                </a:lnTo>
                <a:lnTo>
                  <a:pt x="280" y="908"/>
                </a:lnTo>
                <a:lnTo>
                  <a:pt x="282" y="908"/>
                </a:lnTo>
                <a:lnTo>
                  <a:pt x="284" y="908"/>
                </a:lnTo>
                <a:lnTo>
                  <a:pt x="286" y="908"/>
                </a:lnTo>
                <a:lnTo>
                  <a:pt x="286" y="910"/>
                </a:lnTo>
                <a:lnTo>
                  <a:pt x="284" y="910"/>
                </a:lnTo>
                <a:lnTo>
                  <a:pt x="286" y="910"/>
                </a:lnTo>
                <a:lnTo>
                  <a:pt x="286" y="912"/>
                </a:lnTo>
                <a:lnTo>
                  <a:pt x="288" y="912"/>
                </a:lnTo>
                <a:lnTo>
                  <a:pt x="290" y="912"/>
                </a:lnTo>
                <a:lnTo>
                  <a:pt x="290" y="910"/>
                </a:lnTo>
                <a:lnTo>
                  <a:pt x="290" y="912"/>
                </a:lnTo>
                <a:lnTo>
                  <a:pt x="290" y="910"/>
                </a:lnTo>
                <a:lnTo>
                  <a:pt x="292" y="910"/>
                </a:lnTo>
                <a:lnTo>
                  <a:pt x="294" y="910"/>
                </a:lnTo>
                <a:lnTo>
                  <a:pt x="292" y="910"/>
                </a:lnTo>
                <a:lnTo>
                  <a:pt x="294" y="910"/>
                </a:lnTo>
                <a:lnTo>
                  <a:pt x="292" y="910"/>
                </a:lnTo>
                <a:lnTo>
                  <a:pt x="294" y="910"/>
                </a:lnTo>
                <a:lnTo>
                  <a:pt x="294" y="912"/>
                </a:lnTo>
                <a:lnTo>
                  <a:pt x="296" y="912"/>
                </a:lnTo>
                <a:lnTo>
                  <a:pt x="298" y="912"/>
                </a:lnTo>
                <a:lnTo>
                  <a:pt x="298" y="914"/>
                </a:lnTo>
                <a:lnTo>
                  <a:pt x="298" y="912"/>
                </a:lnTo>
                <a:lnTo>
                  <a:pt x="300" y="912"/>
                </a:lnTo>
                <a:lnTo>
                  <a:pt x="302" y="912"/>
                </a:lnTo>
                <a:lnTo>
                  <a:pt x="300" y="910"/>
                </a:lnTo>
                <a:lnTo>
                  <a:pt x="302" y="910"/>
                </a:lnTo>
                <a:lnTo>
                  <a:pt x="303" y="910"/>
                </a:lnTo>
                <a:lnTo>
                  <a:pt x="303" y="908"/>
                </a:lnTo>
                <a:lnTo>
                  <a:pt x="303" y="910"/>
                </a:lnTo>
                <a:lnTo>
                  <a:pt x="303" y="908"/>
                </a:lnTo>
                <a:lnTo>
                  <a:pt x="305" y="910"/>
                </a:lnTo>
                <a:lnTo>
                  <a:pt x="305" y="908"/>
                </a:lnTo>
                <a:lnTo>
                  <a:pt x="305" y="910"/>
                </a:lnTo>
                <a:lnTo>
                  <a:pt x="307" y="910"/>
                </a:lnTo>
                <a:lnTo>
                  <a:pt x="309" y="910"/>
                </a:lnTo>
                <a:lnTo>
                  <a:pt x="309" y="912"/>
                </a:lnTo>
                <a:lnTo>
                  <a:pt x="311" y="912"/>
                </a:lnTo>
                <a:lnTo>
                  <a:pt x="313" y="912"/>
                </a:lnTo>
                <a:lnTo>
                  <a:pt x="313" y="914"/>
                </a:lnTo>
                <a:lnTo>
                  <a:pt x="315" y="914"/>
                </a:lnTo>
                <a:lnTo>
                  <a:pt x="317" y="914"/>
                </a:lnTo>
                <a:lnTo>
                  <a:pt x="317" y="916"/>
                </a:lnTo>
                <a:lnTo>
                  <a:pt x="317" y="918"/>
                </a:lnTo>
                <a:lnTo>
                  <a:pt x="317" y="920"/>
                </a:lnTo>
                <a:lnTo>
                  <a:pt x="319" y="920"/>
                </a:lnTo>
                <a:lnTo>
                  <a:pt x="319" y="922"/>
                </a:lnTo>
                <a:lnTo>
                  <a:pt x="321" y="922"/>
                </a:lnTo>
                <a:lnTo>
                  <a:pt x="319" y="922"/>
                </a:lnTo>
                <a:lnTo>
                  <a:pt x="319" y="923"/>
                </a:lnTo>
                <a:lnTo>
                  <a:pt x="321" y="923"/>
                </a:lnTo>
                <a:lnTo>
                  <a:pt x="321" y="925"/>
                </a:lnTo>
                <a:lnTo>
                  <a:pt x="321" y="927"/>
                </a:lnTo>
                <a:lnTo>
                  <a:pt x="323" y="925"/>
                </a:lnTo>
                <a:lnTo>
                  <a:pt x="323" y="927"/>
                </a:lnTo>
                <a:lnTo>
                  <a:pt x="323" y="925"/>
                </a:lnTo>
                <a:lnTo>
                  <a:pt x="325" y="925"/>
                </a:lnTo>
                <a:lnTo>
                  <a:pt x="323" y="925"/>
                </a:lnTo>
                <a:lnTo>
                  <a:pt x="323" y="923"/>
                </a:lnTo>
                <a:lnTo>
                  <a:pt x="325" y="923"/>
                </a:lnTo>
                <a:lnTo>
                  <a:pt x="325" y="922"/>
                </a:lnTo>
                <a:lnTo>
                  <a:pt x="325" y="920"/>
                </a:lnTo>
                <a:lnTo>
                  <a:pt x="327" y="922"/>
                </a:lnTo>
                <a:lnTo>
                  <a:pt x="327" y="920"/>
                </a:lnTo>
                <a:lnTo>
                  <a:pt x="327" y="922"/>
                </a:lnTo>
                <a:lnTo>
                  <a:pt x="328" y="922"/>
                </a:lnTo>
                <a:lnTo>
                  <a:pt x="330" y="922"/>
                </a:lnTo>
                <a:lnTo>
                  <a:pt x="330" y="920"/>
                </a:lnTo>
                <a:lnTo>
                  <a:pt x="332" y="920"/>
                </a:lnTo>
                <a:lnTo>
                  <a:pt x="334" y="920"/>
                </a:lnTo>
                <a:lnTo>
                  <a:pt x="336" y="920"/>
                </a:lnTo>
                <a:lnTo>
                  <a:pt x="338" y="920"/>
                </a:lnTo>
                <a:lnTo>
                  <a:pt x="338" y="922"/>
                </a:lnTo>
                <a:lnTo>
                  <a:pt x="340" y="922"/>
                </a:lnTo>
                <a:lnTo>
                  <a:pt x="342" y="923"/>
                </a:lnTo>
                <a:lnTo>
                  <a:pt x="344" y="923"/>
                </a:lnTo>
                <a:lnTo>
                  <a:pt x="344" y="925"/>
                </a:lnTo>
                <a:lnTo>
                  <a:pt x="346" y="925"/>
                </a:lnTo>
                <a:lnTo>
                  <a:pt x="346" y="927"/>
                </a:lnTo>
                <a:lnTo>
                  <a:pt x="348" y="927"/>
                </a:lnTo>
                <a:lnTo>
                  <a:pt x="348" y="929"/>
                </a:lnTo>
                <a:lnTo>
                  <a:pt x="350" y="929"/>
                </a:lnTo>
                <a:lnTo>
                  <a:pt x="348" y="929"/>
                </a:lnTo>
                <a:lnTo>
                  <a:pt x="348" y="931"/>
                </a:lnTo>
                <a:lnTo>
                  <a:pt x="350" y="931"/>
                </a:lnTo>
                <a:lnTo>
                  <a:pt x="350" y="933"/>
                </a:lnTo>
                <a:lnTo>
                  <a:pt x="351" y="933"/>
                </a:lnTo>
                <a:lnTo>
                  <a:pt x="351" y="935"/>
                </a:lnTo>
                <a:close/>
                <a:moveTo>
                  <a:pt x="407" y="1010"/>
                </a:moveTo>
                <a:lnTo>
                  <a:pt x="407" y="1012"/>
                </a:lnTo>
                <a:lnTo>
                  <a:pt x="405" y="1012"/>
                </a:lnTo>
                <a:lnTo>
                  <a:pt x="405" y="1010"/>
                </a:lnTo>
                <a:lnTo>
                  <a:pt x="403" y="1010"/>
                </a:lnTo>
                <a:lnTo>
                  <a:pt x="403" y="1012"/>
                </a:lnTo>
                <a:lnTo>
                  <a:pt x="401" y="1012"/>
                </a:lnTo>
                <a:lnTo>
                  <a:pt x="401" y="1010"/>
                </a:lnTo>
                <a:lnTo>
                  <a:pt x="399" y="1010"/>
                </a:lnTo>
                <a:lnTo>
                  <a:pt x="399" y="1012"/>
                </a:lnTo>
                <a:lnTo>
                  <a:pt x="398" y="1012"/>
                </a:lnTo>
                <a:lnTo>
                  <a:pt x="398" y="1010"/>
                </a:lnTo>
                <a:lnTo>
                  <a:pt x="398" y="1012"/>
                </a:lnTo>
                <a:lnTo>
                  <a:pt x="398" y="1010"/>
                </a:lnTo>
                <a:lnTo>
                  <a:pt x="396" y="1010"/>
                </a:lnTo>
                <a:lnTo>
                  <a:pt x="398" y="1010"/>
                </a:lnTo>
                <a:lnTo>
                  <a:pt x="396" y="1010"/>
                </a:lnTo>
                <a:lnTo>
                  <a:pt x="398" y="1010"/>
                </a:lnTo>
                <a:lnTo>
                  <a:pt x="396" y="1010"/>
                </a:lnTo>
                <a:lnTo>
                  <a:pt x="396" y="1012"/>
                </a:lnTo>
                <a:lnTo>
                  <a:pt x="396" y="1010"/>
                </a:lnTo>
                <a:lnTo>
                  <a:pt x="394" y="1010"/>
                </a:lnTo>
                <a:lnTo>
                  <a:pt x="396" y="1010"/>
                </a:lnTo>
                <a:lnTo>
                  <a:pt x="396" y="1008"/>
                </a:lnTo>
                <a:lnTo>
                  <a:pt x="396" y="1006"/>
                </a:lnTo>
                <a:lnTo>
                  <a:pt x="398" y="1006"/>
                </a:lnTo>
                <a:lnTo>
                  <a:pt x="398" y="1004"/>
                </a:lnTo>
                <a:lnTo>
                  <a:pt x="399" y="1004"/>
                </a:lnTo>
                <a:lnTo>
                  <a:pt x="399" y="1006"/>
                </a:lnTo>
                <a:lnTo>
                  <a:pt x="399" y="1004"/>
                </a:lnTo>
                <a:lnTo>
                  <a:pt x="401" y="1004"/>
                </a:lnTo>
                <a:lnTo>
                  <a:pt x="401" y="1006"/>
                </a:lnTo>
                <a:lnTo>
                  <a:pt x="399" y="1006"/>
                </a:lnTo>
                <a:lnTo>
                  <a:pt x="399" y="1008"/>
                </a:lnTo>
                <a:lnTo>
                  <a:pt x="401" y="1008"/>
                </a:lnTo>
                <a:lnTo>
                  <a:pt x="403" y="1008"/>
                </a:lnTo>
                <a:lnTo>
                  <a:pt x="403" y="1006"/>
                </a:lnTo>
                <a:lnTo>
                  <a:pt x="405" y="1006"/>
                </a:lnTo>
                <a:lnTo>
                  <a:pt x="405" y="1008"/>
                </a:lnTo>
                <a:lnTo>
                  <a:pt x="407" y="1008"/>
                </a:lnTo>
                <a:lnTo>
                  <a:pt x="407" y="1010"/>
                </a:lnTo>
                <a:close/>
                <a:moveTo>
                  <a:pt x="409" y="1014"/>
                </a:moveTo>
                <a:lnTo>
                  <a:pt x="409" y="1012"/>
                </a:lnTo>
                <a:lnTo>
                  <a:pt x="411" y="1012"/>
                </a:lnTo>
                <a:lnTo>
                  <a:pt x="411" y="1014"/>
                </a:lnTo>
                <a:lnTo>
                  <a:pt x="409" y="1014"/>
                </a:lnTo>
                <a:close/>
                <a:moveTo>
                  <a:pt x="405" y="991"/>
                </a:moveTo>
                <a:lnTo>
                  <a:pt x="403" y="991"/>
                </a:lnTo>
                <a:lnTo>
                  <a:pt x="401" y="991"/>
                </a:lnTo>
                <a:lnTo>
                  <a:pt x="401" y="989"/>
                </a:lnTo>
                <a:lnTo>
                  <a:pt x="401" y="991"/>
                </a:lnTo>
                <a:lnTo>
                  <a:pt x="401" y="989"/>
                </a:lnTo>
                <a:lnTo>
                  <a:pt x="401" y="991"/>
                </a:lnTo>
                <a:lnTo>
                  <a:pt x="401" y="989"/>
                </a:lnTo>
                <a:lnTo>
                  <a:pt x="403" y="989"/>
                </a:lnTo>
                <a:lnTo>
                  <a:pt x="405" y="989"/>
                </a:lnTo>
                <a:lnTo>
                  <a:pt x="405" y="991"/>
                </a:lnTo>
                <a:close/>
                <a:moveTo>
                  <a:pt x="378" y="922"/>
                </a:moveTo>
                <a:lnTo>
                  <a:pt x="378" y="920"/>
                </a:lnTo>
                <a:lnTo>
                  <a:pt x="378" y="922"/>
                </a:lnTo>
                <a:close/>
                <a:moveTo>
                  <a:pt x="419" y="1004"/>
                </a:moveTo>
                <a:lnTo>
                  <a:pt x="419" y="1006"/>
                </a:lnTo>
                <a:lnTo>
                  <a:pt x="419" y="1008"/>
                </a:lnTo>
                <a:lnTo>
                  <a:pt x="417" y="1008"/>
                </a:lnTo>
                <a:lnTo>
                  <a:pt x="415" y="1006"/>
                </a:lnTo>
                <a:lnTo>
                  <a:pt x="415" y="1004"/>
                </a:lnTo>
                <a:lnTo>
                  <a:pt x="415" y="1002"/>
                </a:lnTo>
                <a:lnTo>
                  <a:pt x="417" y="1002"/>
                </a:lnTo>
                <a:lnTo>
                  <a:pt x="417" y="1004"/>
                </a:lnTo>
                <a:lnTo>
                  <a:pt x="417" y="1002"/>
                </a:lnTo>
                <a:lnTo>
                  <a:pt x="419" y="1002"/>
                </a:lnTo>
                <a:lnTo>
                  <a:pt x="419" y="1004"/>
                </a:lnTo>
                <a:close/>
                <a:moveTo>
                  <a:pt x="411" y="981"/>
                </a:moveTo>
                <a:lnTo>
                  <a:pt x="409" y="981"/>
                </a:lnTo>
                <a:lnTo>
                  <a:pt x="411" y="981"/>
                </a:lnTo>
                <a:lnTo>
                  <a:pt x="409" y="983"/>
                </a:lnTo>
                <a:lnTo>
                  <a:pt x="409" y="985"/>
                </a:lnTo>
                <a:lnTo>
                  <a:pt x="407" y="985"/>
                </a:lnTo>
                <a:lnTo>
                  <a:pt x="405" y="985"/>
                </a:lnTo>
                <a:lnTo>
                  <a:pt x="405" y="983"/>
                </a:lnTo>
                <a:lnTo>
                  <a:pt x="405" y="985"/>
                </a:lnTo>
                <a:lnTo>
                  <a:pt x="403" y="985"/>
                </a:lnTo>
                <a:lnTo>
                  <a:pt x="403" y="983"/>
                </a:lnTo>
                <a:lnTo>
                  <a:pt x="403" y="985"/>
                </a:lnTo>
                <a:lnTo>
                  <a:pt x="401" y="985"/>
                </a:lnTo>
                <a:lnTo>
                  <a:pt x="401" y="987"/>
                </a:lnTo>
                <a:lnTo>
                  <a:pt x="399" y="985"/>
                </a:lnTo>
                <a:lnTo>
                  <a:pt x="399" y="987"/>
                </a:lnTo>
                <a:lnTo>
                  <a:pt x="401" y="987"/>
                </a:lnTo>
                <a:lnTo>
                  <a:pt x="401" y="989"/>
                </a:lnTo>
                <a:lnTo>
                  <a:pt x="399" y="989"/>
                </a:lnTo>
                <a:lnTo>
                  <a:pt x="398" y="989"/>
                </a:lnTo>
                <a:lnTo>
                  <a:pt x="396" y="989"/>
                </a:lnTo>
                <a:lnTo>
                  <a:pt x="398" y="989"/>
                </a:lnTo>
                <a:lnTo>
                  <a:pt x="399" y="989"/>
                </a:lnTo>
                <a:lnTo>
                  <a:pt x="399" y="991"/>
                </a:lnTo>
                <a:lnTo>
                  <a:pt x="401" y="991"/>
                </a:lnTo>
                <a:lnTo>
                  <a:pt x="403" y="991"/>
                </a:lnTo>
                <a:lnTo>
                  <a:pt x="403" y="993"/>
                </a:lnTo>
                <a:lnTo>
                  <a:pt x="405" y="993"/>
                </a:lnTo>
                <a:lnTo>
                  <a:pt x="403" y="993"/>
                </a:lnTo>
                <a:lnTo>
                  <a:pt x="403" y="994"/>
                </a:lnTo>
                <a:lnTo>
                  <a:pt x="405" y="994"/>
                </a:lnTo>
                <a:lnTo>
                  <a:pt x="405" y="993"/>
                </a:lnTo>
                <a:lnTo>
                  <a:pt x="405" y="994"/>
                </a:lnTo>
                <a:lnTo>
                  <a:pt x="405" y="993"/>
                </a:lnTo>
                <a:lnTo>
                  <a:pt x="407" y="993"/>
                </a:lnTo>
                <a:lnTo>
                  <a:pt x="407" y="994"/>
                </a:lnTo>
                <a:lnTo>
                  <a:pt x="407" y="993"/>
                </a:lnTo>
                <a:lnTo>
                  <a:pt x="409" y="993"/>
                </a:lnTo>
                <a:lnTo>
                  <a:pt x="409" y="994"/>
                </a:lnTo>
                <a:lnTo>
                  <a:pt x="411" y="994"/>
                </a:lnTo>
                <a:lnTo>
                  <a:pt x="411" y="993"/>
                </a:lnTo>
                <a:lnTo>
                  <a:pt x="413" y="993"/>
                </a:lnTo>
                <a:lnTo>
                  <a:pt x="415" y="993"/>
                </a:lnTo>
                <a:lnTo>
                  <a:pt x="415" y="994"/>
                </a:lnTo>
                <a:lnTo>
                  <a:pt x="413" y="994"/>
                </a:lnTo>
                <a:lnTo>
                  <a:pt x="411" y="994"/>
                </a:lnTo>
                <a:lnTo>
                  <a:pt x="409" y="996"/>
                </a:lnTo>
                <a:lnTo>
                  <a:pt x="411" y="996"/>
                </a:lnTo>
                <a:lnTo>
                  <a:pt x="413" y="998"/>
                </a:lnTo>
                <a:lnTo>
                  <a:pt x="415" y="998"/>
                </a:lnTo>
                <a:lnTo>
                  <a:pt x="415" y="1000"/>
                </a:lnTo>
                <a:lnTo>
                  <a:pt x="413" y="1000"/>
                </a:lnTo>
                <a:lnTo>
                  <a:pt x="413" y="1002"/>
                </a:lnTo>
                <a:lnTo>
                  <a:pt x="411" y="1002"/>
                </a:lnTo>
                <a:lnTo>
                  <a:pt x="409" y="1002"/>
                </a:lnTo>
                <a:lnTo>
                  <a:pt x="409" y="1000"/>
                </a:lnTo>
                <a:lnTo>
                  <a:pt x="409" y="1002"/>
                </a:lnTo>
                <a:lnTo>
                  <a:pt x="411" y="1002"/>
                </a:lnTo>
                <a:lnTo>
                  <a:pt x="413" y="1002"/>
                </a:lnTo>
                <a:lnTo>
                  <a:pt x="413" y="1004"/>
                </a:lnTo>
                <a:lnTo>
                  <a:pt x="411" y="1004"/>
                </a:lnTo>
                <a:lnTo>
                  <a:pt x="409" y="1004"/>
                </a:lnTo>
                <a:lnTo>
                  <a:pt x="409" y="1002"/>
                </a:lnTo>
                <a:lnTo>
                  <a:pt x="409" y="1004"/>
                </a:lnTo>
                <a:lnTo>
                  <a:pt x="407" y="1004"/>
                </a:lnTo>
                <a:lnTo>
                  <a:pt x="407" y="1002"/>
                </a:lnTo>
                <a:lnTo>
                  <a:pt x="405" y="1002"/>
                </a:lnTo>
                <a:lnTo>
                  <a:pt x="405" y="1000"/>
                </a:lnTo>
                <a:lnTo>
                  <a:pt x="405" y="998"/>
                </a:lnTo>
                <a:lnTo>
                  <a:pt x="407" y="998"/>
                </a:lnTo>
                <a:lnTo>
                  <a:pt x="405" y="998"/>
                </a:lnTo>
                <a:lnTo>
                  <a:pt x="403" y="998"/>
                </a:lnTo>
                <a:lnTo>
                  <a:pt x="401" y="998"/>
                </a:lnTo>
                <a:lnTo>
                  <a:pt x="399" y="998"/>
                </a:lnTo>
                <a:lnTo>
                  <a:pt x="399" y="996"/>
                </a:lnTo>
                <a:lnTo>
                  <a:pt x="399" y="998"/>
                </a:lnTo>
                <a:lnTo>
                  <a:pt x="398" y="998"/>
                </a:lnTo>
                <a:lnTo>
                  <a:pt x="398" y="996"/>
                </a:lnTo>
                <a:lnTo>
                  <a:pt x="396" y="996"/>
                </a:lnTo>
                <a:lnTo>
                  <a:pt x="396" y="994"/>
                </a:lnTo>
                <a:lnTo>
                  <a:pt x="396" y="993"/>
                </a:lnTo>
                <a:lnTo>
                  <a:pt x="394" y="993"/>
                </a:lnTo>
                <a:lnTo>
                  <a:pt x="394" y="994"/>
                </a:lnTo>
                <a:lnTo>
                  <a:pt x="396" y="994"/>
                </a:lnTo>
                <a:lnTo>
                  <a:pt x="396" y="996"/>
                </a:lnTo>
                <a:lnTo>
                  <a:pt x="394" y="996"/>
                </a:lnTo>
                <a:lnTo>
                  <a:pt x="394" y="994"/>
                </a:lnTo>
                <a:lnTo>
                  <a:pt x="392" y="994"/>
                </a:lnTo>
                <a:lnTo>
                  <a:pt x="392" y="993"/>
                </a:lnTo>
                <a:lnTo>
                  <a:pt x="390" y="993"/>
                </a:lnTo>
                <a:lnTo>
                  <a:pt x="390" y="991"/>
                </a:lnTo>
                <a:lnTo>
                  <a:pt x="390" y="993"/>
                </a:lnTo>
                <a:lnTo>
                  <a:pt x="390" y="994"/>
                </a:lnTo>
                <a:lnTo>
                  <a:pt x="388" y="994"/>
                </a:lnTo>
                <a:lnTo>
                  <a:pt x="388" y="993"/>
                </a:lnTo>
                <a:lnTo>
                  <a:pt x="386" y="993"/>
                </a:lnTo>
                <a:lnTo>
                  <a:pt x="388" y="993"/>
                </a:lnTo>
                <a:lnTo>
                  <a:pt x="388" y="994"/>
                </a:lnTo>
                <a:lnTo>
                  <a:pt x="388" y="993"/>
                </a:lnTo>
                <a:lnTo>
                  <a:pt x="388" y="994"/>
                </a:lnTo>
                <a:lnTo>
                  <a:pt x="390" y="994"/>
                </a:lnTo>
                <a:lnTo>
                  <a:pt x="390" y="996"/>
                </a:lnTo>
                <a:lnTo>
                  <a:pt x="388" y="994"/>
                </a:lnTo>
                <a:lnTo>
                  <a:pt x="388" y="996"/>
                </a:lnTo>
                <a:lnTo>
                  <a:pt x="388" y="994"/>
                </a:lnTo>
                <a:lnTo>
                  <a:pt x="386" y="994"/>
                </a:lnTo>
                <a:lnTo>
                  <a:pt x="386" y="996"/>
                </a:lnTo>
                <a:lnTo>
                  <a:pt x="388" y="996"/>
                </a:lnTo>
                <a:lnTo>
                  <a:pt x="390" y="996"/>
                </a:lnTo>
                <a:lnTo>
                  <a:pt x="392" y="996"/>
                </a:lnTo>
                <a:lnTo>
                  <a:pt x="390" y="996"/>
                </a:lnTo>
                <a:lnTo>
                  <a:pt x="390" y="998"/>
                </a:lnTo>
                <a:lnTo>
                  <a:pt x="388" y="998"/>
                </a:lnTo>
                <a:lnTo>
                  <a:pt x="390" y="998"/>
                </a:lnTo>
                <a:lnTo>
                  <a:pt x="392" y="998"/>
                </a:lnTo>
                <a:lnTo>
                  <a:pt x="394" y="998"/>
                </a:lnTo>
                <a:lnTo>
                  <a:pt x="396" y="998"/>
                </a:lnTo>
                <a:lnTo>
                  <a:pt x="396" y="1000"/>
                </a:lnTo>
                <a:lnTo>
                  <a:pt x="394" y="1000"/>
                </a:lnTo>
                <a:lnTo>
                  <a:pt x="394" y="1002"/>
                </a:lnTo>
                <a:lnTo>
                  <a:pt x="396" y="1002"/>
                </a:lnTo>
                <a:lnTo>
                  <a:pt x="396" y="1000"/>
                </a:lnTo>
                <a:lnTo>
                  <a:pt x="396" y="1002"/>
                </a:lnTo>
                <a:lnTo>
                  <a:pt x="398" y="1000"/>
                </a:lnTo>
                <a:lnTo>
                  <a:pt x="398" y="1002"/>
                </a:lnTo>
                <a:lnTo>
                  <a:pt x="399" y="1002"/>
                </a:lnTo>
                <a:lnTo>
                  <a:pt x="398" y="1002"/>
                </a:lnTo>
                <a:lnTo>
                  <a:pt x="398" y="1004"/>
                </a:lnTo>
                <a:lnTo>
                  <a:pt x="396" y="1004"/>
                </a:lnTo>
                <a:lnTo>
                  <a:pt x="394" y="1004"/>
                </a:lnTo>
                <a:lnTo>
                  <a:pt x="396" y="1004"/>
                </a:lnTo>
                <a:lnTo>
                  <a:pt x="396" y="1006"/>
                </a:lnTo>
                <a:lnTo>
                  <a:pt x="396" y="1008"/>
                </a:lnTo>
                <a:lnTo>
                  <a:pt x="394" y="1008"/>
                </a:lnTo>
                <a:lnTo>
                  <a:pt x="392" y="1008"/>
                </a:lnTo>
                <a:lnTo>
                  <a:pt x="392" y="1006"/>
                </a:lnTo>
                <a:lnTo>
                  <a:pt x="390" y="1006"/>
                </a:lnTo>
                <a:lnTo>
                  <a:pt x="390" y="1008"/>
                </a:lnTo>
                <a:lnTo>
                  <a:pt x="390" y="1006"/>
                </a:lnTo>
                <a:lnTo>
                  <a:pt x="392" y="1006"/>
                </a:lnTo>
                <a:lnTo>
                  <a:pt x="392" y="1004"/>
                </a:lnTo>
                <a:lnTo>
                  <a:pt x="390" y="1004"/>
                </a:lnTo>
                <a:lnTo>
                  <a:pt x="390" y="1006"/>
                </a:lnTo>
                <a:lnTo>
                  <a:pt x="388" y="1004"/>
                </a:lnTo>
                <a:lnTo>
                  <a:pt x="390" y="1004"/>
                </a:lnTo>
                <a:lnTo>
                  <a:pt x="388" y="1004"/>
                </a:lnTo>
                <a:lnTo>
                  <a:pt x="388" y="1002"/>
                </a:lnTo>
                <a:lnTo>
                  <a:pt x="388" y="1004"/>
                </a:lnTo>
                <a:lnTo>
                  <a:pt x="386" y="1004"/>
                </a:lnTo>
                <a:lnTo>
                  <a:pt x="388" y="1004"/>
                </a:lnTo>
                <a:lnTo>
                  <a:pt x="388" y="1002"/>
                </a:lnTo>
                <a:lnTo>
                  <a:pt x="386" y="1002"/>
                </a:lnTo>
                <a:lnTo>
                  <a:pt x="384" y="1002"/>
                </a:lnTo>
                <a:lnTo>
                  <a:pt x="384" y="1000"/>
                </a:lnTo>
                <a:lnTo>
                  <a:pt x="386" y="1000"/>
                </a:lnTo>
                <a:lnTo>
                  <a:pt x="384" y="1000"/>
                </a:lnTo>
                <a:lnTo>
                  <a:pt x="384" y="998"/>
                </a:lnTo>
                <a:lnTo>
                  <a:pt x="384" y="1000"/>
                </a:lnTo>
                <a:lnTo>
                  <a:pt x="384" y="998"/>
                </a:lnTo>
                <a:lnTo>
                  <a:pt x="384" y="996"/>
                </a:lnTo>
                <a:lnTo>
                  <a:pt x="384" y="998"/>
                </a:lnTo>
                <a:lnTo>
                  <a:pt x="382" y="998"/>
                </a:lnTo>
                <a:lnTo>
                  <a:pt x="380" y="998"/>
                </a:lnTo>
                <a:lnTo>
                  <a:pt x="382" y="998"/>
                </a:lnTo>
                <a:lnTo>
                  <a:pt x="382" y="1000"/>
                </a:lnTo>
                <a:lnTo>
                  <a:pt x="380" y="1000"/>
                </a:lnTo>
                <a:lnTo>
                  <a:pt x="378" y="1000"/>
                </a:lnTo>
                <a:lnTo>
                  <a:pt x="380" y="1000"/>
                </a:lnTo>
                <a:lnTo>
                  <a:pt x="380" y="998"/>
                </a:lnTo>
                <a:lnTo>
                  <a:pt x="378" y="998"/>
                </a:lnTo>
                <a:lnTo>
                  <a:pt x="376" y="998"/>
                </a:lnTo>
                <a:lnTo>
                  <a:pt x="375" y="998"/>
                </a:lnTo>
                <a:lnTo>
                  <a:pt x="375" y="1000"/>
                </a:lnTo>
                <a:lnTo>
                  <a:pt x="375" y="998"/>
                </a:lnTo>
                <a:lnTo>
                  <a:pt x="375" y="996"/>
                </a:lnTo>
                <a:lnTo>
                  <a:pt x="376" y="996"/>
                </a:lnTo>
                <a:lnTo>
                  <a:pt x="376" y="994"/>
                </a:lnTo>
                <a:lnTo>
                  <a:pt x="378" y="994"/>
                </a:lnTo>
                <a:lnTo>
                  <a:pt x="376" y="994"/>
                </a:lnTo>
                <a:lnTo>
                  <a:pt x="378" y="994"/>
                </a:lnTo>
                <a:lnTo>
                  <a:pt x="378" y="993"/>
                </a:lnTo>
                <a:lnTo>
                  <a:pt x="378" y="994"/>
                </a:lnTo>
                <a:lnTo>
                  <a:pt x="376" y="994"/>
                </a:lnTo>
                <a:lnTo>
                  <a:pt x="375" y="994"/>
                </a:lnTo>
                <a:lnTo>
                  <a:pt x="375" y="996"/>
                </a:lnTo>
                <a:lnTo>
                  <a:pt x="373" y="996"/>
                </a:lnTo>
                <a:lnTo>
                  <a:pt x="373" y="994"/>
                </a:lnTo>
                <a:lnTo>
                  <a:pt x="373" y="993"/>
                </a:lnTo>
                <a:lnTo>
                  <a:pt x="375" y="993"/>
                </a:lnTo>
                <a:lnTo>
                  <a:pt x="373" y="993"/>
                </a:lnTo>
                <a:lnTo>
                  <a:pt x="373" y="994"/>
                </a:lnTo>
                <a:lnTo>
                  <a:pt x="373" y="996"/>
                </a:lnTo>
                <a:lnTo>
                  <a:pt x="371" y="996"/>
                </a:lnTo>
                <a:lnTo>
                  <a:pt x="371" y="998"/>
                </a:lnTo>
                <a:lnTo>
                  <a:pt x="371" y="996"/>
                </a:lnTo>
                <a:lnTo>
                  <a:pt x="369" y="996"/>
                </a:lnTo>
                <a:lnTo>
                  <a:pt x="371" y="994"/>
                </a:lnTo>
                <a:lnTo>
                  <a:pt x="369" y="994"/>
                </a:lnTo>
                <a:lnTo>
                  <a:pt x="369" y="993"/>
                </a:lnTo>
                <a:lnTo>
                  <a:pt x="371" y="993"/>
                </a:lnTo>
                <a:lnTo>
                  <a:pt x="369" y="993"/>
                </a:lnTo>
                <a:lnTo>
                  <a:pt x="371" y="993"/>
                </a:lnTo>
                <a:lnTo>
                  <a:pt x="371" y="991"/>
                </a:lnTo>
                <a:lnTo>
                  <a:pt x="373" y="991"/>
                </a:lnTo>
                <a:lnTo>
                  <a:pt x="373" y="989"/>
                </a:lnTo>
                <a:lnTo>
                  <a:pt x="371" y="989"/>
                </a:lnTo>
                <a:lnTo>
                  <a:pt x="371" y="991"/>
                </a:lnTo>
                <a:lnTo>
                  <a:pt x="369" y="991"/>
                </a:lnTo>
                <a:lnTo>
                  <a:pt x="369" y="993"/>
                </a:lnTo>
                <a:lnTo>
                  <a:pt x="367" y="993"/>
                </a:lnTo>
                <a:lnTo>
                  <a:pt x="369" y="993"/>
                </a:lnTo>
                <a:lnTo>
                  <a:pt x="367" y="994"/>
                </a:lnTo>
                <a:lnTo>
                  <a:pt x="365" y="994"/>
                </a:lnTo>
                <a:lnTo>
                  <a:pt x="365" y="993"/>
                </a:lnTo>
                <a:lnTo>
                  <a:pt x="365" y="991"/>
                </a:lnTo>
                <a:lnTo>
                  <a:pt x="363" y="991"/>
                </a:lnTo>
                <a:lnTo>
                  <a:pt x="363" y="993"/>
                </a:lnTo>
                <a:lnTo>
                  <a:pt x="363" y="991"/>
                </a:lnTo>
                <a:lnTo>
                  <a:pt x="365" y="991"/>
                </a:lnTo>
                <a:lnTo>
                  <a:pt x="365" y="989"/>
                </a:lnTo>
                <a:lnTo>
                  <a:pt x="363" y="989"/>
                </a:lnTo>
                <a:lnTo>
                  <a:pt x="365" y="989"/>
                </a:lnTo>
                <a:lnTo>
                  <a:pt x="365" y="987"/>
                </a:lnTo>
                <a:lnTo>
                  <a:pt x="363" y="987"/>
                </a:lnTo>
                <a:lnTo>
                  <a:pt x="361" y="989"/>
                </a:lnTo>
                <a:lnTo>
                  <a:pt x="361" y="987"/>
                </a:lnTo>
                <a:lnTo>
                  <a:pt x="363" y="987"/>
                </a:lnTo>
                <a:lnTo>
                  <a:pt x="363" y="985"/>
                </a:lnTo>
                <a:lnTo>
                  <a:pt x="361" y="985"/>
                </a:lnTo>
                <a:lnTo>
                  <a:pt x="359" y="985"/>
                </a:lnTo>
                <a:lnTo>
                  <a:pt x="359" y="983"/>
                </a:lnTo>
                <a:lnTo>
                  <a:pt x="361" y="983"/>
                </a:lnTo>
                <a:lnTo>
                  <a:pt x="359" y="981"/>
                </a:lnTo>
                <a:lnTo>
                  <a:pt x="361" y="981"/>
                </a:lnTo>
                <a:lnTo>
                  <a:pt x="361" y="983"/>
                </a:lnTo>
                <a:lnTo>
                  <a:pt x="363" y="981"/>
                </a:lnTo>
                <a:lnTo>
                  <a:pt x="363" y="983"/>
                </a:lnTo>
                <a:lnTo>
                  <a:pt x="363" y="981"/>
                </a:lnTo>
                <a:lnTo>
                  <a:pt x="361" y="981"/>
                </a:lnTo>
                <a:lnTo>
                  <a:pt x="363" y="981"/>
                </a:lnTo>
                <a:lnTo>
                  <a:pt x="361" y="981"/>
                </a:lnTo>
                <a:lnTo>
                  <a:pt x="359" y="981"/>
                </a:lnTo>
                <a:lnTo>
                  <a:pt x="357" y="981"/>
                </a:lnTo>
                <a:lnTo>
                  <a:pt x="357" y="979"/>
                </a:lnTo>
                <a:lnTo>
                  <a:pt x="355" y="979"/>
                </a:lnTo>
                <a:lnTo>
                  <a:pt x="355" y="977"/>
                </a:lnTo>
                <a:lnTo>
                  <a:pt x="353" y="977"/>
                </a:lnTo>
                <a:lnTo>
                  <a:pt x="353" y="975"/>
                </a:lnTo>
                <a:lnTo>
                  <a:pt x="351" y="975"/>
                </a:lnTo>
                <a:lnTo>
                  <a:pt x="351" y="973"/>
                </a:lnTo>
                <a:lnTo>
                  <a:pt x="350" y="973"/>
                </a:lnTo>
                <a:lnTo>
                  <a:pt x="350" y="971"/>
                </a:lnTo>
                <a:lnTo>
                  <a:pt x="348" y="971"/>
                </a:lnTo>
                <a:lnTo>
                  <a:pt x="346" y="971"/>
                </a:lnTo>
                <a:lnTo>
                  <a:pt x="346" y="973"/>
                </a:lnTo>
                <a:lnTo>
                  <a:pt x="346" y="971"/>
                </a:lnTo>
                <a:lnTo>
                  <a:pt x="346" y="970"/>
                </a:lnTo>
                <a:lnTo>
                  <a:pt x="346" y="971"/>
                </a:lnTo>
                <a:lnTo>
                  <a:pt x="344" y="971"/>
                </a:lnTo>
                <a:lnTo>
                  <a:pt x="344" y="970"/>
                </a:lnTo>
                <a:lnTo>
                  <a:pt x="346" y="970"/>
                </a:lnTo>
                <a:lnTo>
                  <a:pt x="344" y="968"/>
                </a:lnTo>
                <a:lnTo>
                  <a:pt x="342" y="968"/>
                </a:lnTo>
                <a:lnTo>
                  <a:pt x="342" y="966"/>
                </a:lnTo>
                <a:lnTo>
                  <a:pt x="342" y="968"/>
                </a:lnTo>
                <a:lnTo>
                  <a:pt x="340" y="968"/>
                </a:lnTo>
                <a:lnTo>
                  <a:pt x="340" y="966"/>
                </a:lnTo>
                <a:lnTo>
                  <a:pt x="338" y="966"/>
                </a:lnTo>
                <a:lnTo>
                  <a:pt x="336" y="966"/>
                </a:lnTo>
                <a:lnTo>
                  <a:pt x="336" y="964"/>
                </a:lnTo>
                <a:lnTo>
                  <a:pt x="336" y="962"/>
                </a:lnTo>
                <a:lnTo>
                  <a:pt x="336" y="960"/>
                </a:lnTo>
                <a:lnTo>
                  <a:pt x="334" y="960"/>
                </a:lnTo>
                <a:lnTo>
                  <a:pt x="334" y="962"/>
                </a:lnTo>
                <a:lnTo>
                  <a:pt x="332" y="960"/>
                </a:lnTo>
                <a:lnTo>
                  <a:pt x="334" y="960"/>
                </a:lnTo>
                <a:lnTo>
                  <a:pt x="332" y="960"/>
                </a:lnTo>
                <a:lnTo>
                  <a:pt x="332" y="958"/>
                </a:lnTo>
                <a:lnTo>
                  <a:pt x="332" y="960"/>
                </a:lnTo>
                <a:lnTo>
                  <a:pt x="332" y="958"/>
                </a:lnTo>
                <a:lnTo>
                  <a:pt x="332" y="956"/>
                </a:lnTo>
                <a:lnTo>
                  <a:pt x="334" y="956"/>
                </a:lnTo>
                <a:lnTo>
                  <a:pt x="332" y="956"/>
                </a:lnTo>
                <a:lnTo>
                  <a:pt x="334" y="956"/>
                </a:lnTo>
                <a:lnTo>
                  <a:pt x="332" y="956"/>
                </a:lnTo>
                <a:lnTo>
                  <a:pt x="332" y="954"/>
                </a:lnTo>
                <a:lnTo>
                  <a:pt x="332" y="952"/>
                </a:lnTo>
                <a:lnTo>
                  <a:pt x="332" y="950"/>
                </a:lnTo>
                <a:lnTo>
                  <a:pt x="334" y="950"/>
                </a:lnTo>
                <a:lnTo>
                  <a:pt x="332" y="950"/>
                </a:lnTo>
                <a:lnTo>
                  <a:pt x="332" y="948"/>
                </a:lnTo>
                <a:lnTo>
                  <a:pt x="334" y="948"/>
                </a:lnTo>
                <a:lnTo>
                  <a:pt x="334" y="950"/>
                </a:lnTo>
                <a:lnTo>
                  <a:pt x="336" y="948"/>
                </a:lnTo>
                <a:lnTo>
                  <a:pt x="336" y="950"/>
                </a:lnTo>
                <a:lnTo>
                  <a:pt x="338" y="950"/>
                </a:lnTo>
                <a:lnTo>
                  <a:pt x="338" y="952"/>
                </a:lnTo>
                <a:lnTo>
                  <a:pt x="338" y="950"/>
                </a:lnTo>
                <a:lnTo>
                  <a:pt x="340" y="950"/>
                </a:lnTo>
                <a:lnTo>
                  <a:pt x="340" y="952"/>
                </a:lnTo>
                <a:lnTo>
                  <a:pt x="342" y="952"/>
                </a:lnTo>
                <a:lnTo>
                  <a:pt x="342" y="954"/>
                </a:lnTo>
                <a:lnTo>
                  <a:pt x="344" y="954"/>
                </a:lnTo>
                <a:lnTo>
                  <a:pt x="342" y="954"/>
                </a:lnTo>
                <a:lnTo>
                  <a:pt x="344" y="954"/>
                </a:lnTo>
                <a:lnTo>
                  <a:pt x="344" y="956"/>
                </a:lnTo>
                <a:lnTo>
                  <a:pt x="342" y="956"/>
                </a:lnTo>
                <a:lnTo>
                  <a:pt x="344" y="956"/>
                </a:lnTo>
                <a:lnTo>
                  <a:pt x="344" y="958"/>
                </a:lnTo>
                <a:lnTo>
                  <a:pt x="344" y="956"/>
                </a:lnTo>
                <a:lnTo>
                  <a:pt x="346" y="956"/>
                </a:lnTo>
                <a:lnTo>
                  <a:pt x="344" y="956"/>
                </a:lnTo>
                <a:lnTo>
                  <a:pt x="344" y="958"/>
                </a:lnTo>
                <a:lnTo>
                  <a:pt x="346" y="958"/>
                </a:lnTo>
                <a:lnTo>
                  <a:pt x="346" y="960"/>
                </a:lnTo>
                <a:lnTo>
                  <a:pt x="346" y="962"/>
                </a:lnTo>
                <a:lnTo>
                  <a:pt x="346" y="964"/>
                </a:lnTo>
                <a:lnTo>
                  <a:pt x="346" y="962"/>
                </a:lnTo>
                <a:lnTo>
                  <a:pt x="348" y="962"/>
                </a:lnTo>
                <a:lnTo>
                  <a:pt x="348" y="960"/>
                </a:lnTo>
                <a:lnTo>
                  <a:pt x="348" y="958"/>
                </a:lnTo>
                <a:lnTo>
                  <a:pt x="348" y="960"/>
                </a:lnTo>
                <a:lnTo>
                  <a:pt x="350" y="962"/>
                </a:lnTo>
                <a:lnTo>
                  <a:pt x="351" y="962"/>
                </a:lnTo>
                <a:lnTo>
                  <a:pt x="351" y="964"/>
                </a:lnTo>
                <a:lnTo>
                  <a:pt x="350" y="966"/>
                </a:lnTo>
                <a:lnTo>
                  <a:pt x="351" y="966"/>
                </a:lnTo>
                <a:lnTo>
                  <a:pt x="353" y="964"/>
                </a:lnTo>
                <a:lnTo>
                  <a:pt x="353" y="966"/>
                </a:lnTo>
                <a:lnTo>
                  <a:pt x="351" y="966"/>
                </a:lnTo>
                <a:lnTo>
                  <a:pt x="351" y="968"/>
                </a:lnTo>
                <a:lnTo>
                  <a:pt x="351" y="970"/>
                </a:lnTo>
                <a:lnTo>
                  <a:pt x="353" y="968"/>
                </a:lnTo>
                <a:lnTo>
                  <a:pt x="355" y="968"/>
                </a:lnTo>
                <a:lnTo>
                  <a:pt x="353" y="968"/>
                </a:lnTo>
                <a:lnTo>
                  <a:pt x="353" y="970"/>
                </a:lnTo>
                <a:lnTo>
                  <a:pt x="355" y="970"/>
                </a:lnTo>
                <a:lnTo>
                  <a:pt x="355" y="971"/>
                </a:lnTo>
                <a:lnTo>
                  <a:pt x="355" y="970"/>
                </a:lnTo>
                <a:lnTo>
                  <a:pt x="355" y="968"/>
                </a:lnTo>
                <a:lnTo>
                  <a:pt x="357" y="970"/>
                </a:lnTo>
                <a:lnTo>
                  <a:pt x="357" y="968"/>
                </a:lnTo>
                <a:lnTo>
                  <a:pt x="357" y="970"/>
                </a:lnTo>
                <a:lnTo>
                  <a:pt x="357" y="971"/>
                </a:lnTo>
                <a:lnTo>
                  <a:pt x="357" y="973"/>
                </a:lnTo>
                <a:lnTo>
                  <a:pt x="359" y="973"/>
                </a:lnTo>
                <a:lnTo>
                  <a:pt x="359" y="975"/>
                </a:lnTo>
                <a:lnTo>
                  <a:pt x="359" y="973"/>
                </a:lnTo>
                <a:lnTo>
                  <a:pt x="357" y="973"/>
                </a:lnTo>
                <a:lnTo>
                  <a:pt x="357" y="975"/>
                </a:lnTo>
                <a:lnTo>
                  <a:pt x="359" y="975"/>
                </a:lnTo>
                <a:lnTo>
                  <a:pt x="359" y="977"/>
                </a:lnTo>
                <a:lnTo>
                  <a:pt x="359" y="975"/>
                </a:lnTo>
                <a:lnTo>
                  <a:pt x="359" y="973"/>
                </a:lnTo>
                <a:lnTo>
                  <a:pt x="361" y="973"/>
                </a:lnTo>
                <a:lnTo>
                  <a:pt x="361" y="975"/>
                </a:lnTo>
                <a:lnTo>
                  <a:pt x="361" y="973"/>
                </a:lnTo>
                <a:lnTo>
                  <a:pt x="361" y="971"/>
                </a:lnTo>
                <a:lnTo>
                  <a:pt x="363" y="971"/>
                </a:lnTo>
                <a:lnTo>
                  <a:pt x="363" y="973"/>
                </a:lnTo>
                <a:lnTo>
                  <a:pt x="363" y="975"/>
                </a:lnTo>
                <a:lnTo>
                  <a:pt x="363" y="977"/>
                </a:lnTo>
                <a:lnTo>
                  <a:pt x="365" y="979"/>
                </a:lnTo>
                <a:lnTo>
                  <a:pt x="365" y="977"/>
                </a:lnTo>
                <a:lnTo>
                  <a:pt x="365" y="979"/>
                </a:lnTo>
                <a:lnTo>
                  <a:pt x="367" y="979"/>
                </a:lnTo>
                <a:lnTo>
                  <a:pt x="367" y="981"/>
                </a:lnTo>
                <a:lnTo>
                  <a:pt x="367" y="983"/>
                </a:lnTo>
                <a:lnTo>
                  <a:pt x="367" y="981"/>
                </a:lnTo>
                <a:lnTo>
                  <a:pt x="369" y="981"/>
                </a:lnTo>
                <a:lnTo>
                  <a:pt x="367" y="981"/>
                </a:lnTo>
                <a:lnTo>
                  <a:pt x="367" y="979"/>
                </a:lnTo>
                <a:lnTo>
                  <a:pt x="365" y="977"/>
                </a:lnTo>
                <a:lnTo>
                  <a:pt x="365" y="975"/>
                </a:lnTo>
                <a:lnTo>
                  <a:pt x="365" y="977"/>
                </a:lnTo>
                <a:lnTo>
                  <a:pt x="365" y="975"/>
                </a:lnTo>
                <a:lnTo>
                  <a:pt x="365" y="973"/>
                </a:lnTo>
                <a:lnTo>
                  <a:pt x="367" y="973"/>
                </a:lnTo>
                <a:lnTo>
                  <a:pt x="367" y="975"/>
                </a:lnTo>
                <a:lnTo>
                  <a:pt x="367" y="977"/>
                </a:lnTo>
                <a:lnTo>
                  <a:pt x="367" y="975"/>
                </a:lnTo>
                <a:lnTo>
                  <a:pt x="367" y="973"/>
                </a:lnTo>
                <a:lnTo>
                  <a:pt x="367" y="971"/>
                </a:lnTo>
                <a:lnTo>
                  <a:pt x="369" y="971"/>
                </a:lnTo>
                <a:lnTo>
                  <a:pt x="369" y="970"/>
                </a:lnTo>
                <a:lnTo>
                  <a:pt x="371" y="970"/>
                </a:lnTo>
                <a:lnTo>
                  <a:pt x="371" y="971"/>
                </a:lnTo>
                <a:lnTo>
                  <a:pt x="373" y="971"/>
                </a:lnTo>
                <a:lnTo>
                  <a:pt x="373" y="973"/>
                </a:lnTo>
                <a:lnTo>
                  <a:pt x="373" y="975"/>
                </a:lnTo>
                <a:lnTo>
                  <a:pt x="371" y="975"/>
                </a:lnTo>
                <a:lnTo>
                  <a:pt x="371" y="977"/>
                </a:lnTo>
                <a:lnTo>
                  <a:pt x="371" y="975"/>
                </a:lnTo>
                <a:lnTo>
                  <a:pt x="373" y="975"/>
                </a:lnTo>
                <a:lnTo>
                  <a:pt x="373" y="977"/>
                </a:lnTo>
                <a:lnTo>
                  <a:pt x="373" y="979"/>
                </a:lnTo>
                <a:lnTo>
                  <a:pt x="375" y="979"/>
                </a:lnTo>
                <a:lnTo>
                  <a:pt x="375" y="977"/>
                </a:lnTo>
                <a:lnTo>
                  <a:pt x="375" y="975"/>
                </a:lnTo>
                <a:lnTo>
                  <a:pt x="375" y="977"/>
                </a:lnTo>
                <a:lnTo>
                  <a:pt x="375" y="979"/>
                </a:lnTo>
                <a:lnTo>
                  <a:pt x="376" y="979"/>
                </a:lnTo>
                <a:lnTo>
                  <a:pt x="376" y="977"/>
                </a:lnTo>
                <a:lnTo>
                  <a:pt x="375" y="977"/>
                </a:lnTo>
                <a:lnTo>
                  <a:pt x="375" y="975"/>
                </a:lnTo>
                <a:lnTo>
                  <a:pt x="375" y="973"/>
                </a:lnTo>
                <a:lnTo>
                  <a:pt x="376" y="973"/>
                </a:lnTo>
                <a:lnTo>
                  <a:pt x="376" y="971"/>
                </a:lnTo>
                <a:lnTo>
                  <a:pt x="378" y="971"/>
                </a:lnTo>
                <a:lnTo>
                  <a:pt x="378" y="973"/>
                </a:lnTo>
                <a:lnTo>
                  <a:pt x="380" y="973"/>
                </a:lnTo>
                <a:lnTo>
                  <a:pt x="380" y="975"/>
                </a:lnTo>
                <a:lnTo>
                  <a:pt x="382" y="977"/>
                </a:lnTo>
                <a:lnTo>
                  <a:pt x="382" y="979"/>
                </a:lnTo>
                <a:lnTo>
                  <a:pt x="380" y="981"/>
                </a:lnTo>
                <a:lnTo>
                  <a:pt x="380" y="983"/>
                </a:lnTo>
                <a:lnTo>
                  <a:pt x="378" y="983"/>
                </a:lnTo>
                <a:lnTo>
                  <a:pt x="376" y="983"/>
                </a:lnTo>
                <a:lnTo>
                  <a:pt x="375" y="985"/>
                </a:lnTo>
                <a:lnTo>
                  <a:pt x="376" y="985"/>
                </a:lnTo>
                <a:lnTo>
                  <a:pt x="376" y="983"/>
                </a:lnTo>
                <a:lnTo>
                  <a:pt x="378" y="983"/>
                </a:lnTo>
                <a:lnTo>
                  <a:pt x="380" y="983"/>
                </a:lnTo>
                <a:lnTo>
                  <a:pt x="380" y="985"/>
                </a:lnTo>
                <a:lnTo>
                  <a:pt x="378" y="985"/>
                </a:lnTo>
                <a:lnTo>
                  <a:pt x="378" y="987"/>
                </a:lnTo>
                <a:lnTo>
                  <a:pt x="380" y="987"/>
                </a:lnTo>
                <a:lnTo>
                  <a:pt x="380" y="985"/>
                </a:lnTo>
                <a:lnTo>
                  <a:pt x="382" y="983"/>
                </a:lnTo>
                <a:lnTo>
                  <a:pt x="384" y="983"/>
                </a:lnTo>
                <a:lnTo>
                  <a:pt x="384" y="985"/>
                </a:lnTo>
                <a:lnTo>
                  <a:pt x="382" y="985"/>
                </a:lnTo>
                <a:lnTo>
                  <a:pt x="384" y="985"/>
                </a:lnTo>
                <a:lnTo>
                  <a:pt x="384" y="987"/>
                </a:lnTo>
                <a:lnTo>
                  <a:pt x="384" y="985"/>
                </a:lnTo>
                <a:lnTo>
                  <a:pt x="384" y="983"/>
                </a:lnTo>
                <a:lnTo>
                  <a:pt x="384" y="985"/>
                </a:lnTo>
                <a:lnTo>
                  <a:pt x="386" y="985"/>
                </a:lnTo>
                <a:lnTo>
                  <a:pt x="386" y="987"/>
                </a:lnTo>
                <a:lnTo>
                  <a:pt x="386" y="989"/>
                </a:lnTo>
                <a:lnTo>
                  <a:pt x="386" y="987"/>
                </a:lnTo>
                <a:lnTo>
                  <a:pt x="386" y="985"/>
                </a:lnTo>
                <a:lnTo>
                  <a:pt x="386" y="983"/>
                </a:lnTo>
                <a:lnTo>
                  <a:pt x="386" y="981"/>
                </a:lnTo>
                <a:lnTo>
                  <a:pt x="384" y="981"/>
                </a:lnTo>
                <a:lnTo>
                  <a:pt x="384" y="979"/>
                </a:lnTo>
                <a:lnTo>
                  <a:pt x="386" y="979"/>
                </a:lnTo>
                <a:lnTo>
                  <a:pt x="386" y="977"/>
                </a:lnTo>
                <a:lnTo>
                  <a:pt x="386" y="975"/>
                </a:lnTo>
                <a:lnTo>
                  <a:pt x="386" y="973"/>
                </a:lnTo>
                <a:lnTo>
                  <a:pt x="384" y="973"/>
                </a:lnTo>
                <a:lnTo>
                  <a:pt x="384" y="971"/>
                </a:lnTo>
                <a:lnTo>
                  <a:pt x="384" y="970"/>
                </a:lnTo>
                <a:lnTo>
                  <a:pt x="384" y="968"/>
                </a:lnTo>
                <a:lnTo>
                  <a:pt x="386" y="968"/>
                </a:lnTo>
                <a:lnTo>
                  <a:pt x="386" y="970"/>
                </a:lnTo>
                <a:lnTo>
                  <a:pt x="384" y="970"/>
                </a:lnTo>
                <a:lnTo>
                  <a:pt x="384" y="971"/>
                </a:lnTo>
                <a:lnTo>
                  <a:pt x="386" y="971"/>
                </a:lnTo>
                <a:lnTo>
                  <a:pt x="386" y="970"/>
                </a:lnTo>
                <a:lnTo>
                  <a:pt x="386" y="968"/>
                </a:lnTo>
                <a:lnTo>
                  <a:pt x="386" y="966"/>
                </a:lnTo>
                <a:lnTo>
                  <a:pt x="386" y="964"/>
                </a:lnTo>
                <a:lnTo>
                  <a:pt x="388" y="964"/>
                </a:lnTo>
                <a:lnTo>
                  <a:pt x="390" y="964"/>
                </a:lnTo>
                <a:lnTo>
                  <a:pt x="392" y="964"/>
                </a:lnTo>
                <a:lnTo>
                  <a:pt x="394" y="964"/>
                </a:lnTo>
                <a:lnTo>
                  <a:pt x="396" y="964"/>
                </a:lnTo>
                <a:lnTo>
                  <a:pt x="396" y="966"/>
                </a:lnTo>
                <a:lnTo>
                  <a:pt x="398" y="966"/>
                </a:lnTo>
                <a:lnTo>
                  <a:pt x="399" y="966"/>
                </a:lnTo>
                <a:lnTo>
                  <a:pt x="399" y="968"/>
                </a:lnTo>
                <a:lnTo>
                  <a:pt x="401" y="970"/>
                </a:lnTo>
                <a:lnTo>
                  <a:pt x="401" y="968"/>
                </a:lnTo>
                <a:lnTo>
                  <a:pt x="401" y="970"/>
                </a:lnTo>
                <a:lnTo>
                  <a:pt x="403" y="970"/>
                </a:lnTo>
                <a:lnTo>
                  <a:pt x="403" y="971"/>
                </a:lnTo>
                <a:lnTo>
                  <a:pt x="403" y="973"/>
                </a:lnTo>
                <a:lnTo>
                  <a:pt x="403" y="975"/>
                </a:lnTo>
                <a:lnTo>
                  <a:pt x="403" y="973"/>
                </a:lnTo>
                <a:lnTo>
                  <a:pt x="405" y="973"/>
                </a:lnTo>
                <a:lnTo>
                  <a:pt x="405" y="975"/>
                </a:lnTo>
                <a:lnTo>
                  <a:pt x="407" y="975"/>
                </a:lnTo>
                <a:lnTo>
                  <a:pt x="409" y="975"/>
                </a:lnTo>
                <a:lnTo>
                  <a:pt x="409" y="977"/>
                </a:lnTo>
                <a:lnTo>
                  <a:pt x="407" y="977"/>
                </a:lnTo>
                <a:lnTo>
                  <a:pt x="405" y="977"/>
                </a:lnTo>
                <a:lnTo>
                  <a:pt x="405" y="979"/>
                </a:lnTo>
                <a:lnTo>
                  <a:pt x="407" y="979"/>
                </a:lnTo>
                <a:lnTo>
                  <a:pt x="407" y="977"/>
                </a:lnTo>
                <a:lnTo>
                  <a:pt x="407" y="979"/>
                </a:lnTo>
                <a:lnTo>
                  <a:pt x="409" y="979"/>
                </a:lnTo>
                <a:lnTo>
                  <a:pt x="411" y="981"/>
                </a:lnTo>
                <a:close/>
                <a:moveTo>
                  <a:pt x="434" y="1031"/>
                </a:moveTo>
                <a:lnTo>
                  <a:pt x="432" y="1031"/>
                </a:lnTo>
                <a:lnTo>
                  <a:pt x="432" y="1029"/>
                </a:lnTo>
                <a:lnTo>
                  <a:pt x="432" y="1027"/>
                </a:lnTo>
                <a:lnTo>
                  <a:pt x="434" y="1029"/>
                </a:lnTo>
                <a:lnTo>
                  <a:pt x="436" y="1029"/>
                </a:lnTo>
                <a:lnTo>
                  <a:pt x="436" y="1031"/>
                </a:lnTo>
                <a:lnTo>
                  <a:pt x="434" y="1031"/>
                </a:lnTo>
                <a:lnTo>
                  <a:pt x="434" y="1033"/>
                </a:lnTo>
                <a:lnTo>
                  <a:pt x="434" y="1031"/>
                </a:lnTo>
                <a:close/>
                <a:moveTo>
                  <a:pt x="442" y="1037"/>
                </a:moveTo>
                <a:lnTo>
                  <a:pt x="442" y="1039"/>
                </a:lnTo>
                <a:lnTo>
                  <a:pt x="442" y="1041"/>
                </a:lnTo>
                <a:lnTo>
                  <a:pt x="444" y="1041"/>
                </a:lnTo>
                <a:lnTo>
                  <a:pt x="442" y="1041"/>
                </a:lnTo>
                <a:lnTo>
                  <a:pt x="442" y="1042"/>
                </a:lnTo>
                <a:lnTo>
                  <a:pt x="440" y="1042"/>
                </a:lnTo>
                <a:lnTo>
                  <a:pt x="440" y="1041"/>
                </a:lnTo>
                <a:lnTo>
                  <a:pt x="438" y="1041"/>
                </a:lnTo>
                <a:lnTo>
                  <a:pt x="438" y="1039"/>
                </a:lnTo>
                <a:lnTo>
                  <a:pt x="440" y="1039"/>
                </a:lnTo>
                <a:lnTo>
                  <a:pt x="440" y="1037"/>
                </a:lnTo>
                <a:lnTo>
                  <a:pt x="438" y="1037"/>
                </a:lnTo>
                <a:lnTo>
                  <a:pt x="438" y="1035"/>
                </a:lnTo>
                <a:lnTo>
                  <a:pt x="438" y="1033"/>
                </a:lnTo>
                <a:lnTo>
                  <a:pt x="436" y="1033"/>
                </a:lnTo>
                <a:lnTo>
                  <a:pt x="436" y="1031"/>
                </a:lnTo>
                <a:lnTo>
                  <a:pt x="438" y="1031"/>
                </a:lnTo>
                <a:lnTo>
                  <a:pt x="438" y="1033"/>
                </a:lnTo>
                <a:lnTo>
                  <a:pt x="440" y="1035"/>
                </a:lnTo>
                <a:lnTo>
                  <a:pt x="442" y="1037"/>
                </a:lnTo>
                <a:close/>
                <a:moveTo>
                  <a:pt x="451" y="1050"/>
                </a:moveTo>
                <a:lnTo>
                  <a:pt x="451" y="1052"/>
                </a:lnTo>
                <a:lnTo>
                  <a:pt x="451" y="1054"/>
                </a:lnTo>
                <a:lnTo>
                  <a:pt x="453" y="1054"/>
                </a:lnTo>
                <a:lnTo>
                  <a:pt x="451" y="1054"/>
                </a:lnTo>
                <a:lnTo>
                  <a:pt x="449" y="1054"/>
                </a:lnTo>
                <a:lnTo>
                  <a:pt x="447" y="1054"/>
                </a:lnTo>
                <a:lnTo>
                  <a:pt x="447" y="1052"/>
                </a:lnTo>
                <a:lnTo>
                  <a:pt x="446" y="1052"/>
                </a:lnTo>
                <a:lnTo>
                  <a:pt x="446" y="1050"/>
                </a:lnTo>
                <a:lnTo>
                  <a:pt x="446" y="1048"/>
                </a:lnTo>
                <a:lnTo>
                  <a:pt x="444" y="1048"/>
                </a:lnTo>
                <a:lnTo>
                  <a:pt x="446" y="1048"/>
                </a:lnTo>
                <a:lnTo>
                  <a:pt x="446" y="1046"/>
                </a:lnTo>
                <a:lnTo>
                  <a:pt x="444" y="1046"/>
                </a:lnTo>
                <a:lnTo>
                  <a:pt x="444" y="1044"/>
                </a:lnTo>
                <a:lnTo>
                  <a:pt x="444" y="1042"/>
                </a:lnTo>
                <a:lnTo>
                  <a:pt x="446" y="1042"/>
                </a:lnTo>
                <a:lnTo>
                  <a:pt x="446" y="1044"/>
                </a:lnTo>
                <a:lnTo>
                  <a:pt x="447" y="1044"/>
                </a:lnTo>
                <a:lnTo>
                  <a:pt x="447" y="1046"/>
                </a:lnTo>
                <a:lnTo>
                  <a:pt x="449" y="1046"/>
                </a:lnTo>
                <a:lnTo>
                  <a:pt x="449" y="1048"/>
                </a:lnTo>
                <a:lnTo>
                  <a:pt x="449" y="1050"/>
                </a:lnTo>
                <a:lnTo>
                  <a:pt x="447" y="1050"/>
                </a:lnTo>
                <a:lnTo>
                  <a:pt x="449" y="1050"/>
                </a:lnTo>
                <a:lnTo>
                  <a:pt x="449" y="1052"/>
                </a:lnTo>
                <a:lnTo>
                  <a:pt x="451" y="1052"/>
                </a:lnTo>
                <a:lnTo>
                  <a:pt x="451" y="1050"/>
                </a:lnTo>
                <a:close/>
                <a:moveTo>
                  <a:pt x="459" y="1058"/>
                </a:moveTo>
                <a:lnTo>
                  <a:pt x="457" y="1058"/>
                </a:lnTo>
                <a:lnTo>
                  <a:pt x="457" y="1056"/>
                </a:lnTo>
                <a:lnTo>
                  <a:pt x="459" y="1056"/>
                </a:lnTo>
                <a:lnTo>
                  <a:pt x="457" y="1056"/>
                </a:lnTo>
                <a:lnTo>
                  <a:pt x="459" y="1056"/>
                </a:lnTo>
                <a:lnTo>
                  <a:pt x="459" y="1058"/>
                </a:lnTo>
                <a:close/>
                <a:moveTo>
                  <a:pt x="440" y="1006"/>
                </a:moveTo>
                <a:lnTo>
                  <a:pt x="438" y="1006"/>
                </a:lnTo>
                <a:lnTo>
                  <a:pt x="438" y="1008"/>
                </a:lnTo>
                <a:lnTo>
                  <a:pt x="440" y="1008"/>
                </a:lnTo>
                <a:lnTo>
                  <a:pt x="440" y="1010"/>
                </a:lnTo>
                <a:lnTo>
                  <a:pt x="438" y="1010"/>
                </a:lnTo>
                <a:lnTo>
                  <a:pt x="436" y="1010"/>
                </a:lnTo>
                <a:lnTo>
                  <a:pt x="436" y="1012"/>
                </a:lnTo>
                <a:lnTo>
                  <a:pt x="436" y="1014"/>
                </a:lnTo>
                <a:lnTo>
                  <a:pt x="438" y="1014"/>
                </a:lnTo>
                <a:lnTo>
                  <a:pt x="440" y="1014"/>
                </a:lnTo>
                <a:lnTo>
                  <a:pt x="438" y="1014"/>
                </a:lnTo>
                <a:lnTo>
                  <a:pt x="438" y="1016"/>
                </a:lnTo>
                <a:lnTo>
                  <a:pt x="438" y="1018"/>
                </a:lnTo>
                <a:lnTo>
                  <a:pt x="436" y="1018"/>
                </a:lnTo>
                <a:lnTo>
                  <a:pt x="436" y="1016"/>
                </a:lnTo>
                <a:lnTo>
                  <a:pt x="436" y="1014"/>
                </a:lnTo>
                <a:lnTo>
                  <a:pt x="434" y="1014"/>
                </a:lnTo>
                <a:lnTo>
                  <a:pt x="434" y="1016"/>
                </a:lnTo>
                <a:lnTo>
                  <a:pt x="434" y="1018"/>
                </a:lnTo>
                <a:lnTo>
                  <a:pt x="434" y="1019"/>
                </a:lnTo>
                <a:lnTo>
                  <a:pt x="436" y="1019"/>
                </a:lnTo>
                <a:lnTo>
                  <a:pt x="438" y="1021"/>
                </a:lnTo>
                <a:lnTo>
                  <a:pt x="436" y="1021"/>
                </a:lnTo>
                <a:lnTo>
                  <a:pt x="434" y="1021"/>
                </a:lnTo>
                <a:lnTo>
                  <a:pt x="434" y="1019"/>
                </a:lnTo>
                <a:lnTo>
                  <a:pt x="432" y="1019"/>
                </a:lnTo>
                <a:lnTo>
                  <a:pt x="430" y="1019"/>
                </a:lnTo>
                <a:lnTo>
                  <a:pt x="430" y="1018"/>
                </a:lnTo>
                <a:lnTo>
                  <a:pt x="430" y="1016"/>
                </a:lnTo>
                <a:lnTo>
                  <a:pt x="428" y="1016"/>
                </a:lnTo>
                <a:lnTo>
                  <a:pt x="428" y="1014"/>
                </a:lnTo>
                <a:lnTo>
                  <a:pt x="426" y="1016"/>
                </a:lnTo>
                <a:lnTo>
                  <a:pt x="426" y="1014"/>
                </a:lnTo>
                <a:lnTo>
                  <a:pt x="428" y="1014"/>
                </a:lnTo>
                <a:lnTo>
                  <a:pt x="428" y="1012"/>
                </a:lnTo>
                <a:lnTo>
                  <a:pt x="426" y="1012"/>
                </a:lnTo>
                <a:lnTo>
                  <a:pt x="426" y="1010"/>
                </a:lnTo>
                <a:lnTo>
                  <a:pt x="426" y="1008"/>
                </a:lnTo>
                <a:lnTo>
                  <a:pt x="424" y="1008"/>
                </a:lnTo>
                <a:lnTo>
                  <a:pt x="424" y="1006"/>
                </a:lnTo>
                <a:lnTo>
                  <a:pt x="426" y="1006"/>
                </a:lnTo>
                <a:lnTo>
                  <a:pt x="426" y="1004"/>
                </a:lnTo>
                <a:lnTo>
                  <a:pt x="426" y="1002"/>
                </a:lnTo>
                <a:lnTo>
                  <a:pt x="428" y="1002"/>
                </a:lnTo>
                <a:lnTo>
                  <a:pt x="430" y="1002"/>
                </a:lnTo>
                <a:lnTo>
                  <a:pt x="432" y="1002"/>
                </a:lnTo>
                <a:lnTo>
                  <a:pt x="432" y="1000"/>
                </a:lnTo>
                <a:lnTo>
                  <a:pt x="434" y="1000"/>
                </a:lnTo>
                <a:lnTo>
                  <a:pt x="434" y="1002"/>
                </a:lnTo>
                <a:lnTo>
                  <a:pt x="436" y="1002"/>
                </a:lnTo>
                <a:lnTo>
                  <a:pt x="436" y="1004"/>
                </a:lnTo>
                <a:lnTo>
                  <a:pt x="438" y="1004"/>
                </a:lnTo>
                <a:lnTo>
                  <a:pt x="438" y="1006"/>
                </a:lnTo>
                <a:lnTo>
                  <a:pt x="440" y="1006"/>
                </a:lnTo>
                <a:close/>
                <a:moveTo>
                  <a:pt x="463" y="1056"/>
                </a:moveTo>
                <a:lnTo>
                  <a:pt x="463" y="1058"/>
                </a:lnTo>
                <a:lnTo>
                  <a:pt x="461" y="1058"/>
                </a:lnTo>
                <a:lnTo>
                  <a:pt x="461" y="1056"/>
                </a:lnTo>
                <a:lnTo>
                  <a:pt x="459" y="1056"/>
                </a:lnTo>
                <a:lnTo>
                  <a:pt x="459" y="1054"/>
                </a:lnTo>
                <a:lnTo>
                  <a:pt x="457" y="1054"/>
                </a:lnTo>
                <a:lnTo>
                  <a:pt x="459" y="1054"/>
                </a:lnTo>
                <a:lnTo>
                  <a:pt x="461" y="1054"/>
                </a:lnTo>
                <a:lnTo>
                  <a:pt x="461" y="1056"/>
                </a:lnTo>
                <a:lnTo>
                  <a:pt x="463" y="1056"/>
                </a:lnTo>
                <a:close/>
                <a:moveTo>
                  <a:pt x="453" y="1023"/>
                </a:moveTo>
                <a:lnTo>
                  <a:pt x="453" y="1025"/>
                </a:lnTo>
                <a:lnTo>
                  <a:pt x="453" y="1023"/>
                </a:lnTo>
                <a:lnTo>
                  <a:pt x="451" y="1023"/>
                </a:lnTo>
                <a:lnTo>
                  <a:pt x="449" y="1023"/>
                </a:lnTo>
                <a:lnTo>
                  <a:pt x="449" y="1021"/>
                </a:lnTo>
                <a:lnTo>
                  <a:pt x="447" y="1023"/>
                </a:lnTo>
                <a:lnTo>
                  <a:pt x="446" y="1023"/>
                </a:lnTo>
                <a:lnTo>
                  <a:pt x="447" y="1023"/>
                </a:lnTo>
                <a:lnTo>
                  <a:pt x="447" y="1025"/>
                </a:lnTo>
                <a:lnTo>
                  <a:pt x="447" y="1027"/>
                </a:lnTo>
                <a:lnTo>
                  <a:pt x="447" y="1029"/>
                </a:lnTo>
                <a:lnTo>
                  <a:pt x="449" y="1029"/>
                </a:lnTo>
                <a:lnTo>
                  <a:pt x="449" y="1031"/>
                </a:lnTo>
                <a:lnTo>
                  <a:pt x="447" y="1031"/>
                </a:lnTo>
                <a:lnTo>
                  <a:pt x="446" y="1031"/>
                </a:lnTo>
                <a:lnTo>
                  <a:pt x="446" y="1029"/>
                </a:lnTo>
                <a:lnTo>
                  <a:pt x="446" y="1027"/>
                </a:lnTo>
                <a:lnTo>
                  <a:pt x="444" y="1027"/>
                </a:lnTo>
                <a:lnTo>
                  <a:pt x="444" y="1029"/>
                </a:lnTo>
                <a:lnTo>
                  <a:pt x="444" y="1027"/>
                </a:lnTo>
                <a:lnTo>
                  <a:pt x="442" y="1027"/>
                </a:lnTo>
                <a:lnTo>
                  <a:pt x="442" y="1025"/>
                </a:lnTo>
                <a:lnTo>
                  <a:pt x="440" y="1025"/>
                </a:lnTo>
                <a:lnTo>
                  <a:pt x="440" y="1027"/>
                </a:lnTo>
                <a:lnTo>
                  <a:pt x="438" y="1027"/>
                </a:lnTo>
                <a:lnTo>
                  <a:pt x="438" y="1025"/>
                </a:lnTo>
                <a:lnTo>
                  <a:pt x="438" y="1023"/>
                </a:lnTo>
                <a:lnTo>
                  <a:pt x="438" y="1021"/>
                </a:lnTo>
                <a:lnTo>
                  <a:pt x="440" y="1021"/>
                </a:lnTo>
                <a:lnTo>
                  <a:pt x="440" y="1023"/>
                </a:lnTo>
                <a:lnTo>
                  <a:pt x="442" y="1023"/>
                </a:lnTo>
                <a:lnTo>
                  <a:pt x="442" y="1021"/>
                </a:lnTo>
                <a:lnTo>
                  <a:pt x="444" y="1019"/>
                </a:lnTo>
                <a:lnTo>
                  <a:pt x="444" y="1021"/>
                </a:lnTo>
                <a:lnTo>
                  <a:pt x="446" y="1021"/>
                </a:lnTo>
                <a:lnTo>
                  <a:pt x="447" y="1021"/>
                </a:lnTo>
                <a:lnTo>
                  <a:pt x="447" y="1019"/>
                </a:lnTo>
                <a:lnTo>
                  <a:pt x="446" y="1019"/>
                </a:lnTo>
                <a:lnTo>
                  <a:pt x="446" y="1018"/>
                </a:lnTo>
                <a:lnTo>
                  <a:pt x="446" y="1016"/>
                </a:lnTo>
                <a:lnTo>
                  <a:pt x="447" y="1016"/>
                </a:lnTo>
                <a:lnTo>
                  <a:pt x="447" y="1018"/>
                </a:lnTo>
                <a:lnTo>
                  <a:pt x="449" y="1018"/>
                </a:lnTo>
                <a:lnTo>
                  <a:pt x="451" y="1018"/>
                </a:lnTo>
                <a:lnTo>
                  <a:pt x="451" y="1019"/>
                </a:lnTo>
                <a:lnTo>
                  <a:pt x="449" y="1019"/>
                </a:lnTo>
                <a:lnTo>
                  <a:pt x="449" y="1021"/>
                </a:lnTo>
                <a:lnTo>
                  <a:pt x="449" y="1019"/>
                </a:lnTo>
                <a:lnTo>
                  <a:pt x="451" y="1019"/>
                </a:lnTo>
                <a:lnTo>
                  <a:pt x="451" y="1021"/>
                </a:lnTo>
                <a:lnTo>
                  <a:pt x="453" y="1021"/>
                </a:lnTo>
                <a:lnTo>
                  <a:pt x="453" y="1023"/>
                </a:lnTo>
                <a:close/>
                <a:moveTo>
                  <a:pt x="520" y="1152"/>
                </a:moveTo>
                <a:lnTo>
                  <a:pt x="520" y="1154"/>
                </a:lnTo>
                <a:lnTo>
                  <a:pt x="520" y="1152"/>
                </a:lnTo>
                <a:lnTo>
                  <a:pt x="520" y="1150"/>
                </a:lnTo>
                <a:lnTo>
                  <a:pt x="520" y="1152"/>
                </a:lnTo>
                <a:close/>
                <a:moveTo>
                  <a:pt x="517" y="1140"/>
                </a:moveTo>
                <a:lnTo>
                  <a:pt x="515" y="1140"/>
                </a:lnTo>
                <a:lnTo>
                  <a:pt x="515" y="1138"/>
                </a:lnTo>
                <a:lnTo>
                  <a:pt x="515" y="1140"/>
                </a:lnTo>
                <a:lnTo>
                  <a:pt x="515" y="1138"/>
                </a:lnTo>
                <a:lnTo>
                  <a:pt x="517" y="1138"/>
                </a:lnTo>
                <a:lnTo>
                  <a:pt x="517" y="1140"/>
                </a:lnTo>
                <a:close/>
                <a:moveTo>
                  <a:pt x="524" y="1154"/>
                </a:moveTo>
                <a:lnTo>
                  <a:pt x="524" y="1156"/>
                </a:lnTo>
                <a:lnTo>
                  <a:pt x="522" y="1156"/>
                </a:lnTo>
                <a:lnTo>
                  <a:pt x="524" y="1156"/>
                </a:lnTo>
                <a:lnTo>
                  <a:pt x="524" y="1158"/>
                </a:lnTo>
                <a:lnTo>
                  <a:pt x="522" y="1158"/>
                </a:lnTo>
                <a:lnTo>
                  <a:pt x="522" y="1156"/>
                </a:lnTo>
                <a:lnTo>
                  <a:pt x="522" y="1154"/>
                </a:lnTo>
                <a:lnTo>
                  <a:pt x="522" y="1152"/>
                </a:lnTo>
                <a:lnTo>
                  <a:pt x="524" y="1152"/>
                </a:lnTo>
                <a:lnTo>
                  <a:pt x="524" y="1150"/>
                </a:lnTo>
                <a:lnTo>
                  <a:pt x="524" y="1152"/>
                </a:lnTo>
                <a:lnTo>
                  <a:pt x="524" y="1154"/>
                </a:lnTo>
                <a:close/>
                <a:moveTo>
                  <a:pt x="517" y="1135"/>
                </a:moveTo>
                <a:lnTo>
                  <a:pt x="517" y="1137"/>
                </a:lnTo>
                <a:lnTo>
                  <a:pt x="517" y="1135"/>
                </a:lnTo>
                <a:lnTo>
                  <a:pt x="517" y="1137"/>
                </a:lnTo>
                <a:lnTo>
                  <a:pt x="517" y="1138"/>
                </a:lnTo>
                <a:lnTo>
                  <a:pt x="515" y="1138"/>
                </a:lnTo>
                <a:lnTo>
                  <a:pt x="515" y="1137"/>
                </a:lnTo>
                <a:lnTo>
                  <a:pt x="517" y="1137"/>
                </a:lnTo>
                <a:lnTo>
                  <a:pt x="517" y="1135"/>
                </a:lnTo>
                <a:lnTo>
                  <a:pt x="519" y="1135"/>
                </a:lnTo>
                <a:lnTo>
                  <a:pt x="517" y="1135"/>
                </a:lnTo>
                <a:close/>
                <a:moveTo>
                  <a:pt x="522" y="1135"/>
                </a:moveTo>
                <a:lnTo>
                  <a:pt x="522" y="1137"/>
                </a:lnTo>
                <a:lnTo>
                  <a:pt x="522" y="1138"/>
                </a:lnTo>
                <a:lnTo>
                  <a:pt x="522" y="1140"/>
                </a:lnTo>
                <a:lnTo>
                  <a:pt x="524" y="1140"/>
                </a:lnTo>
                <a:lnTo>
                  <a:pt x="522" y="1140"/>
                </a:lnTo>
                <a:lnTo>
                  <a:pt x="522" y="1142"/>
                </a:lnTo>
                <a:lnTo>
                  <a:pt x="524" y="1142"/>
                </a:lnTo>
                <a:lnTo>
                  <a:pt x="522" y="1142"/>
                </a:lnTo>
                <a:lnTo>
                  <a:pt x="522" y="1144"/>
                </a:lnTo>
                <a:lnTo>
                  <a:pt x="524" y="1144"/>
                </a:lnTo>
                <a:lnTo>
                  <a:pt x="524" y="1146"/>
                </a:lnTo>
                <a:lnTo>
                  <a:pt x="524" y="1144"/>
                </a:lnTo>
                <a:lnTo>
                  <a:pt x="522" y="1144"/>
                </a:lnTo>
                <a:lnTo>
                  <a:pt x="522" y="1146"/>
                </a:lnTo>
                <a:lnTo>
                  <a:pt x="522" y="1148"/>
                </a:lnTo>
                <a:lnTo>
                  <a:pt x="520" y="1148"/>
                </a:lnTo>
                <a:lnTo>
                  <a:pt x="520" y="1150"/>
                </a:lnTo>
                <a:lnTo>
                  <a:pt x="520" y="1148"/>
                </a:lnTo>
                <a:lnTo>
                  <a:pt x="520" y="1146"/>
                </a:lnTo>
                <a:lnTo>
                  <a:pt x="519" y="1146"/>
                </a:lnTo>
                <a:lnTo>
                  <a:pt x="519" y="1144"/>
                </a:lnTo>
                <a:lnTo>
                  <a:pt x="519" y="1146"/>
                </a:lnTo>
                <a:lnTo>
                  <a:pt x="517" y="1146"/>
                </a:lnTo>
                <a:lnTo>
                  <a:pt x="517" y="1144"/>
                </a:lnTo>
                <a:lnTo>
                  <a:pt x="519" y="1144"/>
                </a:lnTo>
                <a:lnTo>
                  <a:pt x="517" y="1144"/>
                </a:lnTo>
                <a:lnTo>
                  <a:pt x="519" y="1144"/>
                </a:lnTo>
                <a:lnTo>
                  <a:pt x="519" y="1142"/>
                </a:lnTo>
                <a:lnTo>
                  <a:pt x="517" y="1142"/>
                </a:lnTo>
                <a:lnTo>
                  <a:pt x="519" y="1142"/>
                </a:lnTo>
                <a:lnTo>
                  <a:pt x="519" y="1140"/>
                </a:lnTo>
                <a:lnTo>
                  <a:pt x="517" y="1140"/>
                </a:lnTo>
                <a:lnTo>
                  <a:pt x="519" y="1140"/>
                </a:lnTo>
                <a:lnTo>
                  <a:pt x="517" y="1140"/>
                </a:lnTo>
                <a:lnTo>
                  <a:pt x="519" y="1138"/>
                </a:lnTo>
                <a:lnTo>
                  <a:pt x="517" y="1138"/>
                </a:lnTo>
                <a:lnTo>
                  <a:pt x="519" y="1137"/>
                </a:lnTo>
                <a:lnTo>
                  <a:pt x="519" y="1135"/>
                </a:lnTo>
                <a:lnTo>
                  <a:pt x="520" y="1135"/>
                </a:lnTo>
                <a:lnTo>
                  <a:pt x="520" y="1133"/>
                </a:lnTo>
                <a:lnTo>
                  <a:pt x="522" y="1133"/>
                </a:lnTo>
                <a:lnTo>
                  <a:pt x="522" y="1135"/>
                </a:lnTo>
                <a:close/>
                <a:moveTo>
                  <a:pt x="544" y="1148"/>
                </a:moveTo>
                <a:lnTo>
                  <a:pt x="542" y="1148"/>
                </a:lnTo>
                <a:lnTo>
                  <a:pt x="544" y="1148"/>
                </a:lnTo>
                <a:close/>
                <a:moveTo>
                  <a:pt x="1529" y="2279"/>
                </a:moveTo>
                <a:lnTo>
                  <a:pt x="1529" y="2281"/>
                </a:lnTo>
                <a:lnTo>
                  <a:pt x="1529" y="2279"/>
                </a:lnTo>
                <a:lnTo>
                  <a:pt x="1529" y="2277"/>
                </a:lnTo>
                <a:lnTo>
                  <a:pt x="1527" y="2277"/>
                </a:lnTo>
                <a:lnTo>
                  <a:pt x="1529" y="2277"/>
                </a:lnTo>
                <a:lnTo>
                  <a:pt x="1529" y="2279"/>
                </a:lnTo>
                <a:close/>
                <a:moveTo>
                  <a:pt x="1531" y="2277"/>
                </a:moveTo>
                <a:lnTo>
                  <a:pt x="1531" y="2279"/>
                </a:lnTo>
                <a:lnTo>
                  <a:pt x="1531" y="2281"/>
                </a:lnTo>
                <a:lnTo>
                  <a:pt x="1529" y="2281"/>
                </a:lnTo>
                <a:lnTo>
                  <a:pt x="1529" y="2279"/>
                </a:lnTo>
                <a:lnTo>
                  <a:pt x="1531" y="2279"/>
                </a:lnTo>
                <a:lnTo>
                  <a:pt x="1529" y="2279"/>
                </a:lnTo>
                <a:lnTo>
                  <a:pt x="1529" y="2277"/>
                </a:lnTo>
                <a:lnTo>
                  <a:pt x="1531" y="2277"/>
                </a:lnTo>
                <a:close/>
                <a:moveTo>
                  <a:pt x="1529" y="2275"/>
                </a:moveTo>
                <a:lnTo>
                  <a:pt x="1529" y="2277"/>
                </a:lnTo>
                <a:lnTo>
                  <a:pt x="1529" y="2275"/>
                </a:lnTo>
                <a:close/>
                <a:moveTo>
                  <a:pt x="1465" y="2229"/>
                </a:moveTo>
                <a:lnTo>
                  <a:pt x="1465" y="2227"/>
                </a:lnTo>
                <a:lnTo>
                  <a:pt x="1465" y="2229"/>
                </a:lnTo>
                <a:lnTo>
                  <a:pt x="1465" y="2227"/>
                </a:lnTo>
                <a:lnTo>
                  <a:pt x="1465" y="2229"/>
                </a:lnTo>
                <a:close/>
                <a:moveTo>
                  <a:pt x="1534" y="2277"/>
                </a:moveTo>
                <a:lnTo>
                  <a:pt x="1534" y="2275"/>
                </a:lnTo>
                <a:lnTo>
                  <a:pt x="1534" y="2277"/>
                </a:lnTo>
                <a:close/>
                <a:moveTo>
                  <a:pt x="1465" y="2227"/>
                </a:moveTo>
                <a:lnTo>
                  <a:pt x="1463" y="2227"/>
                </a:lnTo>
                <a:lnTo>
                  <a:pt x="1463" y="2225"/>
                </a:lnTo>
                <a:lnTo>
                  <a:pt x="1465" y="2225"/>
                </a:lnTo>
                <a:lnTo>
                  <a:pt x="1465" y="2227"/>
                </a:lnTo>
                <a:close/>
                <a:moveTo>
                  <a:pt x="618" y="1259"/>
                </a:moveTo>
                <a:lnTo>
                  <a:pt x="618" y="1261"/>
                </a:lnTo>
                <a:lnTo>
                  <a:pt x="618" y="1263"/>
                </a:lnTo>
                <a:lnTo>
                  <a:pt x="616" y="1263"/>
                </a:lnTo>
                <a:lnTo>
                  <a:pt x="615" y="1263"/>
                </a:lnTo>
                <a:lnTo>
                  <a:pt x="615" y="1261"/>
                </a:lnTo>
                <a:lnTo>
                  <a:pt x="613" y="1259"/>
                </a:lnTo>
                <a:lnTo>
                  <a:pt x="615" y="1259"/>
                </a:lnTo>
                <a:lnTo>
                  <a:pt x="616" y="1259"/>
                </a:lnTo>
                <a:lnTo>
                  <a:pt x="616" y="1257"/>
                </a:lnTo>
                <a:lnTo>
                  <a:pt x="618" y="1257"/>
                </a:lnTo>
                <a:lnTo>
                  <a:pt x="618" y="1259"/>
                </a:lnTo>
                <a:close/>
                <a:moveTo>
                  <a:pt x="1446" y="2210"/>
                </a:moveTo>
                <a:lnTo>
                  <a:pt x="1444" y="2210"/>
                </a:lnTo>
                <a:lnTo>
                  <a:pt x="1444" y="2208"/>
                </a:lnTo>
                <a:lnTo>
                  <a:pt x="1446" y="2208"/>
                </a:lnTo>
                <a:lnTo>
                  <a:pt x="1446" y="2210"/>
                </a:lnTo>
                <a:close/>
                <a:moveTo>
                  <a:pt x="1425" y="2192"/>
                </a:moveTo>
                <a:lnTo>
                  <a:pt x="1425" y="2194"/>
                </a:lnTo>
                <a:lnTo>
                  <a:pt x="1423" y="2194"/>
                </a:lnTo>
                <a:lnTo>
                  <a:pt x="1423" y="2196"/>
                </a:lnTo>
                <a:lnTo>
                  <a:pt x="1421" y="2196"/>
                </a:lnTo>
                <a:lnTo>
                  <a:pt x="1421" y="2198"/>
                </a:lnTo>
                <a:lnTo>
                  <a:pt x="1421" y="2196"/>
                </a:lnTo>
                <a:lnTo>
                  <a:pt x="1421" y="2194"/>
                </a:lnTo>
                <a:lnTo>
                  <a:pt x="1423" y="2194"/>
                </a:lnTo>
                <a:lnTo>
                  <a:pt x="1423" y="2192"/>
                </a:lnTo>
                <a:lnTo>
                  <a:pt x="1425" y="2192"/>
                </a:lnTo>
                <a:close/>
                <a:moveTo>
                  <a:pt x="616" y="1254"/>
                </a:moveTo>
                <a:lnTo>
                  <a:pt x="616" y="1252"/>
                </a:lnTo>
                <a:lnTo>
                  <a:pt x="615" y="1252"/>
                </a:lnTo>
                <a:lnTo>
                  <a:pt x="615" y="1254"/>
                </a:lnTo>
                <a:lnTo>
                  <a:pt x="615" y="1252"/>
                </a:lnTo>
                <a:lnTo>
                  <a:pt x="613" y="1252"/>
                </a:lnTo>
                <a:lnTo>
                  <a:pt x="613" y="1250"/>
                </a:lnTo>
                <a:lnTo>
                  <a:pt x="611" y="1250"/>
                </a:lnTo>
                <a:lnTo>
                  <a:pt x="613" y="1250"/>
                </a:lnTo>
                <a:lnTo>
                  <a:pt x="611" y="1250"/>
                </a:lnTo>
                <a:lnTo>
                  <a:pt x="613" y="1250"/>
                </a:lnTo>
                <a:lnTo>
                  <a:pt x="613" y="1248"/>
                </a:lnTo>
                <a:lnTo>
                  <a:pt x="613" y="1250"/>
                </a:lnTo>
                <a:lnTo>
                  <a:pt x="615" y="1250"/>
                </a:lnTo>
                <a:lnTo>
                  <a:pt x="616" y="1250"/>
                </a:lnTo>
                <a:lnTo>
                  <a:pt x="616" y="1252"/>
                </a:lnTo>
                <a:lnTo>
                  <a:pt x="616" y="1254"/>
                </a:lnTo>
                <a:close/>
                <a:moveTo>
                  <a:pt x="1513" y="2254"/>
                </a:moveTo>
                <a:lnTo>
                  <a:pt x="1513" y="2256"/>
                </a:lnTo>
                <a:lnTo>
                  <a:pt x="1511" y="2256"/>
                </a:lnTo>
                <a:lnTo>
                  <a:pt x="1511" y="2254"/>
                </a:lnTo>
                <a:lnTo>
                  <a:pt x="1513" y="2254"/>
                </a:lnTo>
                <a:lnTo>
                  <a:pt x="1511" y="2254"/>
                </a:lnTo>
                <a:lnTo>
                  <a:pt x="1513" y="2254"/>
                </a:lnTo>
                <a:close/>
                <a:moveTo>
                  <a:pt x="1484" y="2235"/>
                </a:moveTo>
                <a:lnTo>
                  <a:pt x="1484" y="2233"/>
                </a:lnTo>
                <a:lnTo>
                  <a:pt x="1484" y="2235"/>
                </a:lnTo>
                <a:close/>
                <a:moveTo>
                  <a:pt x="1486" y="2233"/>
                </a:moveTo>
                <a:lnTo>
                  <a:pt x="1484" y="2233"/>
                </a:lnTo>
                <a:lnTo>
                  <a:pt x="1486" y="2233"/>
                </a:lnTo>
                <a:close/>
                <a:moveTo>
                  <a:pt x="1459" y="2210"/>
                </a:moveTo>
                <a:lnTo>
                  <a:pt x="1458" y="2210"/>
                </a:lnTo>
                <a:lnTo>
                  <a:pt x="1459" y="2210"/>
                </a:lnTo>
                <a:lnTo>
                  <a:pt x="1459" y="2212"/>
                </a:lnTo>
                <a:lnTo>
                  <a:pt x="1461" y="2212"/>
                </a:lnTo>
                <a:lnTo>
                  <a:pt x="1459" y="2214"/>
                </a:lnTo>
                <a:lnTo>
                  <a:pt x="1461" y="2214"/>
                </a:lnTo>
                <a:lnTo>
                  <a:pt x="1461" y="2215"/>
                </a:lnTo>
                <a:lnTo>
                  <a:pt x="1459" y="2215"/>
                </a:lnTo>
                <a:lnTo>
                  <a:pt x="1459" y="2217"/>
                </a:lnTo>
                <a:lnTo>
                  <a:pt x="1458" y="2217"/>
                </a:lnTo>
                <a:lnTo>
                  <a:pt x="1458" y="2215"/>
                </a:lnTo>
                <a:lnTo>
                  <a:pt x="1458" y="2217"/>
                </a:lnTo>
                <a:lnTo>
                  <a:pt x="1458" y="2215"/>
                </a:lnTo>
                <a:lnTo>
                  <a:pt x="1456" y="2215"/>
                </a:lnTo>
                <a:lnTo>
                  <a:pt x="1456" y="2214"/>
                </a:lnTo>
                <a:lnTo>
                  <a:pt x="1456" y="2215"/>
                </a:lnTo>
                <a:lnTo>
                  <a:pt x="1456" y="2217"/>
                </a:lnTo>
                <a:lnTo>
                  <a:pt x="1458" y="2217"/>
                </a:lnTo>
                <a:lnTo>
                  <a:pt x="1456" y="2217"/>
                </a:lnTo>
                <a:lnTo>
                  <a:pt x="1458" y="2219"/>
                </a:lnTo>
                <a:lnTo>
                  <a:pt x="1458" y="2221"/>
                </a:lnTo>
                <a:lnTo>
                  <a:pt x="1456" y="2221"/>
                </a:lnTo>
                <a:lnTo>
                  <a:pt x="1458" y="2221"/>
                </a:lnTo>
                <a:lnTo>
                  <a:pt x="1456" y="2221"/>
                </a:lnTo>
                <a:lnTo>
                  <a:pt x="1456" y="2223"/>
                </a:lnTo>
                <a:lnTo>
                  <a:pt x="1454" y="2223"/>
                </a:lnTo>
                <a:lnTo>
                  <a:pt x="1454" y="2221"/>
                </a:lnTo>
                <a:lnTo>
                  <a:pt x="1454" y="2219"/>
                </a:lnTo>
                <a:lnTo>
                  <a:pt x="1454" y="2217"/>
                </a:lnTo>
                <a:lnTo>
                  <a:pt x="1454" y="2215"/>
                </a:lnTo>
                <a:lnTo>
                  <a:pt x="1456" y="2215"/>
                </a:lnTo>
                <a:lnTo>
                  <a:pt x="1456" y="2214"/>
                </a:lnTo>
                <a:lnTo>
                  <a:pt x="1454" y="2214"/>
                </a:lnTo>
                <a:lnTo>
                  <a:pt x="1454" y="2212"/>
                </a:lnTo>
                <a:lnTo>
                  <a:pt x="1454" y="2210"/>
                </a:lnTo>
                <a:lnTo>
                  <a:pt x="1456" y="2210"/>
                </a:lnTo>
                <a:lnTo>
                  <a:pt x="1456" y="2208"/>
                </a:lnTo>
                <a:lnTo>
                  <a:pt x="1456" y="2210"/>
                </a:lnTo>
                <a:lnTo>
                  <a:pt x="1456" y="2208"/>
                </a:lnTo>
                <a:lnTo>
                  <a:pt x="1458" y="2208"/>
                </a:lnTo>
                <a:lnTo>
                  <a:pt x="1456" y="2208"/>
                </a:lnTo>
                <a:lnTo>
                  <a:pt x="1458" y="2208"/>
                </a:lnTo>
                <a:lnTo>
                  <a:pt x="1458" y="2206"/>
                </a:lnTo>
                <a:lnTo>
                  <a:pt x="1458" y="2208"/>
                </a:lnTo>
                <a:lnTo>
                  <a:pt x="1458" y="2210"/>
                </a:lnTo>
                <a:lnTo>
                  <a:pt x="1458" y="2208"/>
                </a:lnTo>
                <a:lnTo>
                  <a:pt x="1459" y="2208"/>
                </a:lnTo>
                <a:lnTo>
                  <a:pt x="1459" y="2210"/>
                </a:lnTo>
                <a:close/>
                <a:moveTo>
                  <a:pt x="1504" y="2240"/>
                </a:moveTo>
                <a:lnTo>
                  <a:pt x="1502" y="2240"/>
                </a:lnTo>
                <a:lnTo>
                  <a:pt x="1504" y="2240"/>
                </a:lnTo>
                <a:lnTo>
                  <a:pt x="1504" y="2239"/>
                </a:lnTo>
                <a:lnTo>
                  <a:pt x="1504" y="2240"/>
                </a:lnTo>
                <a:close/>
                <a:moveTo>
                  <a:pt x="634" y="1267"/>
                </a:moveTo>
                <a:lnTo>
                  <a:pt x="634" y="1269"/>
                </a:lnTo>
                <a:lnTo>
                  <a:pt x="634" y="1271"/>
                </a:lnTo>
                <a:lnTo>
                  <a:pt x="632" y="1271"/>
                </a:lnTo>
                <a:lnTo>
                  <a:pt x="630" y="1271"/>
                </a:lnTo>
                <a:lnTo>
                  <a:pt x="628" y="1269"/>
                </a:lnTo>
                <a:lnTo>
                  <a:pt x="628" y="1267"/>
                </a:lnTo>
                <a:lnTo>
                  <a:pt x="630" y="1267"/>
                </a:lnTo>
                <a:lnTo>
                  <a:pt x="632" y="1265"/>
                </a:lnTo>
                <a:lnTo>
                  <a:pt x="632" y="1267"/>
                </a:lnTo>
                <a:lnTo>
                  <a:pt x="632" y="1265"/>
                </a:lnTo>
                <a:lnTo>
                  <a:pt x="632" y="1267"/>
                </a:lnTo>
                <a:lnTo>
                  <a:pt x="634" y="1267"/>
                </a:lnTo>
                <a:lnTo>
                  <a:pt x="632" y="1265"/>
                </a:lnTo>
                <a:lnTo>
                  <a:pt x="634" y="1265"/>
                </a:lnTo>
                <a:lnTo>
                  <a:pt x="634" y="1267"/>
                </a:lnTo>
                <a:close/>
                <a:moveTo>
                  <a:pt x="616" y="1234"/>
                </a:moveTo>
                <a:lnTo>
                  <a:pt x="616" y="1233"/>
                </a:lnTo>
                <a:lnTo>
                  <a:pt x="616" y="1234"/>
                </a:lnTo>
                <a:close/>
                <a:moveTo>
                  <a:pt x="565" y="1133"/>
                </a:moveTo>
                <a:lnTo>
                  <a:pt x="565" y="1135"/>
                </a:lnTo>
                <a:lnTo>
                  <a:pt x="565" y="1133"/>
                </a:lnTo>
                <a:close/>
                <a:moveTo>
                  <a:pt x="1508" y="2240"/>
                </a:moveTo>
                <a:lnTo>
                  <a:pt x="1508" y="2242"/>
                </a:lnTo>
                <a:lnTo>
                  <a:pt x="1508" y="2240"/>
                </a:lnTo>
                <a:close/>
                <a:moveTo>
                  <a:pt x="616" y="1227"/>
                </a:moveTo>
                <a:lnTo>
                  <a:pt x="615" y="1227"/>
                </a:lnTo>
                <a:lnTo>
                  <a:pt x="616" y="1227"/>
                </a:lnTo>
                <a:close/>
                <a:moveTo>
                  <a:pt x="570" y="1138"/>
                </a:moveTo>
                <a:lnTo>
                  <a:pt x="570" y="1140"/>
                </a:lnTo>
                <a:lnTo>
                  <a:pt x="568" y="1142"/>
                </a:lnTo>
                <a:lnTo>
                  <a:pt x="567" y="1142"/>
                </a:lnTo>
                <a:lnTo>
                  <a:pt x="565" y="1144"/>
                </a:lnTo>
                <a:lnTo>
                  <a:pt x="563" y="1144"/>
                </a:lnTo>
                <a:lnTo>
                  <a:pt x="563" y="1142"/>
                </a:lnTo>
                <a:lnTo>
                  <a:pt x="561" y="1142"/>
                </a:lnTo>
                <a:lnTo>
                  <a:pt x="561" y="1144"/>
                </a:lnTo>
                <a:lnTo>
                  <a:pt x="559" y="1144"/>
                </a:lnTo>
                <a:lnTo>
                  <a:pt x="559" y="1142"/>
                </a:lnTo>
                <a:lnTo>
                  <a:pt x="559" y="1140"/>
                </a:lnTo>
                <a:lnTo>
                  <a:pt x="559" y="1138"/>
                </a:lnTo>
                <a:lnTo>
                  <a:pt x="561" y="1138"/>
                </a:lnTo>
                <a:lnTo>
                  <a:pt x="561" y="1137"/>
                </a:lnTo>
                <a:lnTo>
                  <a:pt x="559" y="1137"/>
                </a:lnTo>
                <a:lnTo>
                  <a:pt x="561" y="1137"/>
                </a:lnTo>
                <a:lnTo>
                  <a:pt x="559" y="1137"/>
                </a:lnTo>
                <a:lnTo>
                  <a:pt x="561" y="1137"/>
                </a:lnTo>
                <a:lnTo>
                  <a:pt x="561" y="1135"/>
                </a:lnTo>
                <a:lnTo>
                  <a:pt x="563" y="1135"/>
                </a:lnTo>
                <a:lnTo>
                  <a:pt x="565" y="1135"/>
                </a:lnTo>
                <a:lnTo>
                  <a:pt x="565" y="1137"/>
                </a:lnTo>
                <a:lnTo>
                  <a:pt x="567" y="1137"/>
                </a:lnTo>
                <a:lnTo>
                  <a:pt x="567" y="1135"/>
                </a:lnTo>
                <a:lnTo>
                  <a:pt x="568" y="1137"/>
                </a:lnTo>
                <a:lnTo>
                  <a:pt x="570" y="1137"/>
                </a:lnTo>
                <a:lnTo>
                  <a:pt x="570" y="1138"/>
                </a:lnTo>
                <a:close/>
                <a:moveTo>
                  <a:pt x="1517" y="2244"/>
                </a:moveTo>
                <a:lnTo>
                  <a:pt x="1517" y="2246"/>
                </a:lnTo>
                <a:lnTo>
                  <a:pt x="1515" y="2246"/>
                </a:lnTo>
                <a:lnTo>
                  <a:pt x="1515" y="2244"/>
                </a:lnTo>
                <a:lnTo>
                  <a:pt x="1515" y="2246"/>
                </a:lnTo>
                <a:lnTo>
                  <a:pt x="1515" y="2244"/>
                </a:lnTo>
                <a:lnTo>
                  <a:pt x="1515" y="2246"/>
                </a:lnTo>
                <a:lnTo>
                  <a:pt x="1515" y="2244"/>
                </a:lnTo>
                <a:lnTo>
                  <a:pt x="1517" y="2244"/>
                </a:lnTo>
                <a:close/>
                <a:moveTo>
                  <a:pt x="1519" y="2246"/>
                </a:moveTo>
                <a:lnTo>
                  <a:pt x="1519" y="2248"/>
                </a:lnTo>
                <a:lnTo>
                  <a:pt x="1519" y="2246"/>
                </a:lnTo>
                <a:close/>
                <a:moveTo>
                  <a:pt x="1509" y="2239"/>
                </a:moveTo>
                <a:lnTo>
                  <a:pt x="1509" y="2240"/>
                </a:lnTo>
                <a:lnTo>
                  <a:pt x="1508" y="2240"/>
                </a:lnTo>
                <a:lnTo>
                  <a:pt x="1508" y="2239"/>
                </a:lnTo>
                <a:lnTo>
                  <a:pt x="1509" y="2239"/>
                </a:lnTo>
                <a:close/>
                <a:moveTo>
                  <a:pt x="1519" y="2246"/>
                </a:moveTo>
                <a:lnTo>
                  <a:pt x="1519" y="2248"/>
                </a:lnTo>
                <a:lnTo>
                  <a:pt x="1517" y="2248"/>
                </a:lnTo>
                <a:lnTo>
                  <a:pt x="1519" y="2248"/>
                </a:lnTo>
                <a:lnTo>
                  <a:pt x="1517" y="2248"/>
                </a:lnTo>
                <a:lnTo>
                  <a:pt x="1517" y="2250"/>
                </a:lnTo>
                <a:lnTo>
                  <a:pt x="1515" y="2250"/>
                </a:lnTo>
                <a:lnTo>
                  <a:pt x="1517" y="2250"/>
                </a:lnTo>
                <a:lnTo>
                  <a:pt x="1515" y="2250"/>
                </a:lnTo>
                <a:lnTo>
                  <a:pt x="1513" y="2250"/>
                </a:lnTo>
                <a:lnTo>
                  <a:pt x="1515" y="2250"/>
                </a:lnTo>
                <a:lnTo>
                  <a:pt x="1515" y="2252"/>
                </a:lnTo>
                <a:lnTo>
                  <a:pt x="1517" y="2252"/>
                </a:lnTo>
                <a:lnTo>
                  <a:pt x="1517" y="2254"/>
                </a:lnTo>
                <a:lnTo>
                  <a:pt x="1515" y="2254"/>
                </a:lnTo>
                <a:lnTo>
                  <a:pt x="1513" y="2254"/>
                </a:lnTo>
                <a:lnTo>
                  <a:pt x="1513" y="2252"/>
                </a:lnTo>
                <a:lnTo>
                  <a:pt x="1513" y="2254"/>
                </a:lnTo>
                <a:lnTo>
                  <a:pt x="1513" y="2252"/>
                </a:lnTo>
                <a:lnTo>
                  <a:pt x="1511" y="2252"/>
                </a:lnTo>
                <a:lnTo>
                  <a:pt x="1509" y="2252"/>
                </a:lnTo>
                <a:lnTo>
                  <a:pt x="1509" y="2254"/>
                </a:lnTo>
                <a:lnTo>
                  <a:pt x="1509" y="2252"/>
                </a:lnTo>
                <a:lnTo>
                  <a:pt x="1509" y="2254"/>
                </a:lnTo>
                <a:lnTo>
                  <a:pt x="1509" y="2252"/>
                </a:lnTo>
                <a:lnTo>
                  <a:pt x="1508" y="2252"/>
                </a:lnTo>
                <a:lnTo>
                  <a:pt x="1508" y="2250"/>
                </a:lnTo>
                <a:lnTo>
                  <a:pt x="1509" y="2250"/>
                </a:lnTo>
                <a:lnTo>
                  <a:pt x="1509" y="2248"/>
                </a:lnTo>
                <a:lnTo>
                  <a:pt x="1511" y="2248"/>
                </a:lnTo>
                <a:lnTo>
                  <a:pt x="1513" y="2248"/>
                </a:lnTo>
                <a:lnTo>
                  <a:pt x="1511" y="2248"/>
                </a:lnTo>
                <a:lnTo>
                  <a:pt x="1509" y="2248"/>
                </a:lnTo>
                <a:lnTo>
                  <a:pt x="1509" y="2250"/>
                </a:lnTo>
                <a:lnTo>
                  <a:pt x="1509" y="2248"/>
                </a:lnTo>
                <a:lnTo>
                  <a:pt x="1508" y="2248"/>
                </a:lnTo>
                <a:lnTo>
                  <a:pt x="1508" y="2246"/>
                </a:lnTo>
                <a:lnTo>
                  <a:pt x="1508" y="2244"/>
                </a:lnTo>
                <a:lnTo>
                  <a:pt x="1508" y="2242"/>
                </a:lnTo>
                <a:lnTo>
                  <a:pt x="1509" y="2242"/>
                </a:lnTo>
                <a:lnTo>
                  <a:pt x="1511" y="2242"/>
                </a:lnTo>
                <a:lnTo>
                  <a:pt x="1511" y="2244"/>
                </a:lnTo>
                <a:lnTo>
                  <a:pt x="1513" y="2244"/>
                </a:lnTo>
                <a:lnTo>
                  <a:pt x="1511" y="2244"/>
                </a:lnTo>
                <a:lnTo>
                  <a:pt x="1513" y="2244"/>
                </a:lnTo>
                <a:lnTo>
                  <a:pt x="1515" y="2244"/>
                </a:lnTo>
                <a:lnTo>
                  <a:pt x="1513" y="2244"/>
                </a:lnTo>
                <a:lnTo>
                  <a:pt x="1515" y="2244"/>
                </a:lnTo>
                <a:lnTo>
                  <a:pt x="1513" y="2244"/>
                </a:lnTo>
                <a:lnTo>
                  <a:pt x="1513" y="2246"/>
                </a:lnTo>
                <a:lnTo>
                  <a:pt x="1515" y="2246"/>
                </a:lnTo>
                <a:lnTo>
                  <a:pt x="1517" y="2246"/>
                </a:lnTo>
                <a:lnTo>
                  <a:pt x="1519" y="2246"/>
                </a:lnTo>
                <a:lnTo>
                  <a:pt x="1521" y="2246"/>
                </a:lnTo>
                <a:lnTo>
                  <a:pt x="1519" y="2246"/>
                </a:lnTo>
                <a:close/>
                <a:moveTo>
                  <a:pt x="580" y="1156"/>
                </a:moveTo>
                <a:lnTo>
                  <a:pt x="578" y="1156"/>
                </a:lnTo>
                <a:lnTo>
                  <a:pt x="580" y="1156"/>
                </a:lnTo>
                <a:lnTo>
                  <a:pt x="580" y="1154"/>
                </a:lnTo>
                <a:lnTo>
                  <a:pt x="580" y="1152"/>
                </a:lnTo>
                <a:lnTo>
                  <a:pt x="582" y="1152"/>
                </a:lnTo>
                <a:lnTo>
                  <a:pt x="582" y="1154"/>
                </a:lnTo>
                <a:lnTo>
                  <a:pt x="580" y="1154"/>
                </a:lnTo>
                <a:lnTo>
                  <a:pt x="580" y="1156"/>
                </a:lnTo>
                <a:close/>
                <a:moveTo>
                  <a:pt x="1492" y="2223"/>
                </a:moveTo>
                <a:lnTo>
                  <a:pt x="1492" y="2221"/>
                </a:lnTo>
                <a:lnTo>
                  <a:pt x="1492" y="2223"/>
                </a:lnTo>
                <a:close/>
                <a:moveTo>
                  <a:pt x="1521" y="2244"/>
                </a:moveTo>
                <a:lnTo>
                  <a:pt x="1519" y="2244"/>
                </a:lnTo>
                <a:lnTo>
                  <a:pt x="1521" y="2244"/>
                </a:lnTo>
                <a:lnTo>
                  <a:pt x="1519" y="2244"/>
                </a:lnTo>
                <a:lnTo>
                  <a:pt x="1521" y="2244"/>
                </a:lnTo>
                <a:close/>
                <a:moveTo>
                  <a:pt x="1492" y="2221"/>
                </a:moveTo>
                <a:lnTo>
                  <a:pt x="1490" y="2221"/>
                </a:lnTo>
                <a:lnTo>
                  <a:pt x="1492" y="2221"/>
                </a:lnTo>
                <a:close/>
                <a:moveTo>
                  <a:pt x="545" y="1073"/>
                </a:moveTo>
                <a:lnTo>
                  <a:pt x="545" y="1075"/>
                </a:lnTo>
                <a:lnTo>
                  <a:pt x="545" y="1077"/>
                </a:lnTo>
                <a:lnTo>
                  <a:pt x="547" y="1079"/>
                </a:lnTo>
                <a:lnTo>
                  <a:pt x="545" y="1079"/>
                </a:lnTo>
                <a:lnTo>
                  <a:pt x="545" y="1077"/>
                </a:lnTo>
                <a:lnTo>
                  <a:pt x="545" y="1079"/>
                </a:lnTo>
                <a:lnTo>
                  <a:pt x="547" y="1079"/>
                </a:lnTo>
                <a:lnTo>
                  <a:pt x="547" y="1081"/>
                </a:lnTo>
                <a:lnTo>
                  <a:pt x="545" y="1081"/>
                </a:lnTo>
                <a:lnTo>
                  <a:pt x="547" y="1081"/>
                </a:lnTo>
                <a:lnTo>
                  <a:pt x="547" y="1079"/>
                </a:lnTo>
                <a:lnTo>
                  <a:pt x="545" y="1079"/>
                </a:lnTo>
                <a:lnTo>
                  <a:pt x="547" y="1079"/>
                </a:lnTo>
                <a:lnTo>
                  <a:pt x="547" y="1081"/>
                </a:lnTo>
                <a:lnTo>
                  <a:pt x="549" y="1081"/>
                </a:lnTo>
                <a:lnTo>
                  <a:pt x="549" y="1083"/>
                </a:lnTo>
                <a:lnTo>
                  <a:pt x="549" y="1085"/>
                </a:lnTo>
                <a:lnTo>
                  <a:pt x="549" y="1087"/>
                </a:lnTo>
                <a:lnTo>
                  <a:pt x="549" y="1085"/>
                </a:lnTo>
                <a:lnTo>
                  <a:pt x="549" y="1087"/>
                </a:lnTo>
                <a:lnTo>
                  <a:pt x="549" y="1085"/>
                </a:lnTo>
                <a:lnTo>
                  <a:pt x="549" y="1083"/>
                </a:lnTo>
                <a:lnTo>
                  <a:pt x="547" y="1083"/>
                </a:lnTo>
                <a:lnTo>
                  <a:pt x="547" y="1085"/>
                </a:lnTo>
                <a:lnTo>
                  <a:pt x="545" y="1085"/>
                </a:lnTo>
                <a:lnTo>
                  <a:pt x="547" y="1085"/>
                </a:lnTo>
                <a:lnTo>
                  <a:pt x="545" y="1087"/>
                </a:lnTo>
                <a:lnTo>
                  <a:pt x="545" y="1089"/>
                </a:lnTo>
                <a:lnTo>
                  <a:pt x="545" y="1090"/>
                </a:lnTo>
                <a:lnTo>
                  <a:pt x="544" y="1090"/>
                </a:lnTo>
                <a:lnTo>
                  <a:pt x="544" y="1092"/>
                </a:lnTo>
                <a:lnTo>
                  <a:pt x="542" y="1092"/>
                </a:lnTo>
                <a:lnTo>
                  <a:pt x="542" y="1094"/>
                </a:lnTo>
                <a:lnTo>
                  <a:pt x="540" y="1094"/>
                </a:lnTo>
                <a:lnTo>
                  <a:pt x="538" y="1094"/>
                </a:lnTo>
                <a:lnTo>
                  <a:pt x="536" y="1096"/>
                </a:lnTo>
                <a:lnTo>
                  <a:pt x="536" y="1094"/>
                </a:lnTo>
                <a:lnTo>
                  <a:pt x="536" y="1096"/>
                </a:lnTo>
                <a:lnTo>
                  <a:pt x="536" y="1098"/>
                </a:lnTo>
                <a:lnTo>
                  <a:pt x="534" y="1098"/>
                </a:lnTo>
                <a:lnTo>
                  <a:pt x="532" y="1100"/>
                </a:lnTo>
                <a:lnTo>
                  <a:pt x="532" y="1102"/>
                </a:lnTo>
                <a:lnTo>
                  <a:pt x="532" y="1104"/>
                </a:lnTo>
                <a:lnTo>
                  <a:pt x="532" y="1106"/>
                </a:lnTo>
                <a:lnTo>
                  <a:pt x="534" y="1106"/>
                </a:lnTo>
                <a:lnTo>
                  <a:pt x="534" y="1108"/>
                </a:lnTo>
                <a:lnTo>
                  <a:pt x="536" y="1108"/>
                </a:lnTo>
                <a:lnTo>
                  <a:pt x="536" y="1110"/>
                </a:lnTo>
                <a:lnTo>
                  <a:pt x="536" y="1112"/>
                </a:lnTo>
                <a:lnTo>
                  <a:pt x="534" y="1112"/>
                </a:lnTo>
                <a:lnTo>
                  <a:pt x="534" y="1113"/>
                </a:lnTo>
                <a:lnTo>
                  <a:pt x="532" y="1113"/>
                </a:lnTo>
                <a:lnTo>
                  <a:pt x="532" y="1115"/>
                </a:lnTo>
                <a:lnTo>
                  <a:pt x="532" y="1117"/>
                </a:lnTo>
                <a:lnTo>
                  <a:pt x="530" y="1117"/>
                </a:lnTo>
                <a:lnTo>
                  <a:pt x="530" y="1115"/>
                </a:lnTo>
                <a:lnTo>
                  <a:pt x="530" y="1113"/>
                </a:lnTo>
                <a:lnTo>
                  <a:pt x="528" y="1113"/>
                </a:lnTo>
                <a:lnTo>
                  <a:pt x="530" y="1113"/>
                </a:lnTo>
                <a:lnTo>
                  <a:pt x="532" y="1113"/>
                </a:lnTo>
                <a:lnTo>
                  <a:pt x="530" y="1113"/>
                </a:lnTo>
                <a:lnTo>
                  <a:pt x="530" y="1112"/>
                </a:lnTo>
                <a:lnTo>
                  <a:pt x="530" y="1110"/>
                </a:lnTo>
                <a:lnTo>
                  <a:pt x="528" y="1110"/>
                </a:lnTo>
                <a:lnTo>
                  <a:pt x="528" y="1108"/>
                </a:lnTo>
                <a:lnTo>
                  <a:pt x="530" y="1108"/>
                </a:lnTo>
                <a:lnTo>
                  <a:pt x="530" y="1106"/>
                </a:lnTo>
                <a:lnTo>
                  <a:pt x="528" y="1106"/>
                </a:lnTo>
                <a:lnTo>
                  <a:pt x="528" y="1104"/>
                </a:lnTo>
                <a:lnTo>
                  <a:pt x="530" y="1104"/>
                </a:lnTo>
                <a:lnTo>
                  <a:pt x="530" y="1102"/>
                </a:lnTo>
                <a:lnTo>
                  <a:pt x="530" y="1100"/>
                </a:lnTo>
                <a:lnTo>
                  <a:pt x="528" y="1100"/>
                </a:lnTo>
                <a:lnTo>
                  <a:pt x="526" y="1100"/>
                </a:lnTo>
                <a:lnTo>
                  <a:pt x="524" y="1100"/>
                </a:lnTo>
                <a:lnTo>
                  <a:pt x="524" y="1102"/>
                </a:lnTo>
                <a:lnTo>
                  <a:pt x="522" y="1102"/>
                </a:lnTo>
                <a:lnTo>
                  <a:pt x="522" y="1100"/>
                </a:lnTo>
                <a:lnTo>
                  <a:pt x="520" y="1100"/>
                </a:lnTo>
                <a:lnTo>
                  <a:pt x="520" y="1098"/>
                </a:lnTo>
                <a:lnTo>
                  <a:pt x="519" y="1098"/>
                </a:lnTo>
                <a:lnTo>
                  <a:pt x="517" y="1096"/>
                </a:lnTo>
                <a:lnTo>
                  <a:pt x="519" y="1096"/>
                </a:lnTo>
                <a:lnTo>
                  <a:pt x="519" y="1094"/>
                </a:lnTo>
                <a:lnTo>
                  <a:pt x="517" y="1094"/>
                </a:lnTo>
                <a:lnTo>
                  <a:pt x="517" y="1096"/>
                </a:lnTo>
                <a:lnTo>
                  <a:pt x="515" y="1096"/>
                </a:lnTo>
                <a:lnTo>
                  <a:pt x="515" y="1094"/>
                </a:lnTo>
                <a:lnTo>
                  <a:pt x="515" y="1092"/>
                </a:lnTo>
                <a:lnTo>
                  <a:pt x="515" y="1090"/>
                </a:lnTo>
                <a:lnTo>
                  <a:pt x="515" y="1089"/>
                </a:lnTo>
                <a:lnTo>
                  <a:pt x="513" y="1087"/>
                </a:lnTo>
                <a:lnTo>
                  <a:pt x="513" y="1085"/>
                </a:lnTo>
                <a:lnTo>
                  <a:pt x="511" y="1085"/>
                </a:lnTo>
                <a:lnTo>
                  <a:pt x="511" y="1083"/>
                </a:lnTo>
                <a:lnTo>
                  <a:pt x="511" y="1081"/>
                </a:lnTo>
                <a:lnTo>
                  <a:pt x="509" y="1081"/>
                </a:lnTo>
                <a:lnTo>
                  <a:pt x="509" y="1079"/>
                </a:lnTo>
                <a:lnTo>
                  <a:pt x="509" y="1077"/>
                </a:lnTo>
                <a:lnTo>
                  <a:pt x="507" y="1077"/>
                </a:lnTo>
                <a:lnTo>
                  <a:pt x="507" y="1075"/>
                </a:lnTo>
                <a:lnTo>
                  <a:pt x="505" y="1073"/>
                </a:lnTo>
                <a:lnTo>
                  <a:pt x="505" y="1071"/>
                </a:lnTo>
                <a:lnTo>
                  <a:pt x="505" y="1069"/>
                </a:lnTo>
                <a:lnTo>
                  <a:pt x="505" y="1071"/>
                </a:lnTo>
                <a:lnTo>
                  <a:pt x="505" y="1073"/>
                </a:lnTo>
                <a:lnTo>
                  <a:pt x="503" y="1073"/>
                </a:lnTo>
                <a:lnTo>
                  <a:pt x="503" y="1071"/>
                </a:lnTo>
                <a:lnTo>
                  <a:pt x="501" y="1069"/>
                </a:lnTo>
                <a:lnTo>
                  <a:pt x="499" y="1069"/>
                </a:lnTo>
                <a:lnTo>
                  <a:pt x="499" y="1067"/>
                </a:lnTo>
                <a:lnTo>
                  <a:pt x="499" y="1069"/>
                </a:lnTo>
                <a:lnTo>
                  <a:pt x="499" y="1067"/>
                </a:lnTo>
                <a:lnTo>
                  <a:pt x="497" y="1067"/>
                </a:lnTo>
                <a:lnTo>
                  <a:pt x="496" y="1067"/>
                </a:lnTo>
                <a:lnTo>
                  <a:pt x="494" y="1067"/>
                </a:lnTo>
                <a:lnTo>
                  <a:pt x="496" y="1067"/>
                </a:lnTo>
                <a:lnTo>
                  <a:pt x="497" y="1067"/>
                </a:lnTo>
                <a:lnTo>
                  <a:pt x="496" y="1067"/>
                </a:lnTo>
                <a:lnTo>
                  <a:pt x="496" y="1066"/>
                </a:lnTo>
                <a:lnTo>
                  <a:pt x="496" y="1064"/>
                </a:lnTo>
                <a:lnTo>
                  <a:pt x="496" y="1066"/>
                </a:lnTo>
                <a:lnTo>
                  <a:pt x="494" y="1066"/>
                </a:lnTo>
                <a:lnTo>
                  <a:pt x="494" y="1067"/>
                </a:lnTo>
                <a:lnTo>
                  <a:pt x="492" y="1067"/>
                </a:lnTo>
                <a:lnTo>
                  <a:pt x="490" y="1067"/>
                </a:lnTo>
                <a:lnTo>
                  <a:pt x="488" y="1067"/>
                </a:lnTo>
                <a:lnTo>
                  <a:pt x="486" y="1067"/>
                </a:lnTo>
                <a:lnTo>
                  <a:pt x="486" y="1066"/>
                </a:lnTo>
                <a:lnTo>
                  <a:pt x="484" y="1066"/>
                </a:lnTo>
                <a:lnTo>
                  <a:pt x="482" y="1064"/>
                </a:lnTo>
                <a:lnTo>
                  <a:pt x="482" y="1062"/>
                </a:lnTo>
                <a:lnTo>
                  <a:pt x="480" y="1062"/>
                </a:lnTo>
                <a:lnTo>
                  <a:pt x="480" y="1060"/>
                </a:lnTo>
                <a:lnTo>
                  <a:pt x="478" y="1060"/>
                </a:lnTo>
                <a:lnTo>
                  <a:pt x="478" y="1058"/>
                </a:lnTo>
                <a:lnTo>
                  <a:pt x="476" y="1058"/>
                </a:lnTo>
                <a:lnTo>
                  <a:pt x="476" y="1056"/>
                </a:lnTo>
                <a:lnTo>
                  <a:pt x="476" y="1054"/>
                </a:lnTo>
                <a:lnTo>
                  <a:pt x="476" y="1052"/>
                </a:lnTo>
                <a:lnTo>
                  <a:pt x="474" y="1050"/>
                </a:lnTo>
                <a:lnTo>
                  <a:pt x="476" y="1050"/>
                </a:lnTo>
                <a:lnTo>
                  <a:pt x="476" y="1048"/>
                </a:lnTo>
                <a:lnTo>
                  <a:pt x="476" y="1046"/>
                </a:lnTo>
                <a:lnTo>
                  <a:pt x="476" y="1044"/>
                </a:lnTo>
                <a:lnTo>
                  <a:pt x="478" y="1044"/>
                </a:lnTo>
                <a:lnTo>
                  <a:pt x="478" y="1042"/>
                </a:lnTo>
                <a:lnTo>
                  <a:pt x="480" y="1042"/>
                </a:lnTo>
                <a:lnTo>
                  <a:pt x="482" y="1041"/>
                </a:lnTo>
                <a:lnTo>
                  <a:pt x="482" y="1039"/>
                </a:lnTo>
                <a:lnTo>
                  <a:pt x="484" y="1039"/>
                </a:lnTo>
                <a:lnTo>
                  <a:pt x="486" y="1039"/>
                </a:lnTo>
                <a:lnTo>
                  <a:pt x="488" y="1039"/>
                </a:lnTo>
                <a:lnTo>
                  <a:pt x="490" y="1041"/>
                </a:lnTo>
                <a:lnTo>
                  <a:pt x="492" y="1041"/>
                </a:lnTo>
                <a:lnTo>
                  <a:pt x="492" y="1042"/>
                </a:lnTo>
                <a:lnTo>
                  <a:pt x="494" y="1042"/>
                </a:lnTo>
                <a:lnTo>
                  <a:pt x="494" y="1044"/>
                </a:lnTo>
                <a:lnTo>
                  <a:pt x="496" y="1044"/>
                </a:lnTo>
                <a:lnTo>
                  <a:pt x="496" y="1046"/>
                </a:lnTo>
                <a:lnTo>
                  <a:pt x="497" y="1046"/>
                </a:lnTo>
                <a:lnTo>
                  <a:pt x="499" y="1046"/>
                </a:lnTo>
                <a:lnTo>
                  <a:pt x="501" y="1044"/>
                </a:lnTo>
                <a:lnTo>
                  <a:pt x="503" y="1046"/>
                </a:lnTo>
                <a:lnTo>
                  <a:pt x="505" y="1046"/>
                </a:lnTo>
                <a:lnTo>
                  <a:pt x="507" y="1044"/>
                </a:lnTo>
                <a:lnTo>
                  <a:pt x="507" y="1046"/>
                </a:lnTo>
                <a:lnTo>
                  <a:pt x="509" y="1046"/>
                </a:lnTo>
                <a:lnTo>
                  <a:pt x="511" y="1046"/>
                </a:lnTo>
                <a:lnTo>
                  <a:pt x="513" y="1046"/>
                </a:lnTo>
                <a:lnTo>
                  <a:pt x="513" y="1044"/>
                </a:lnTo>
                <a:lnTo>
                  <a:pt x="513" y="1046"/>
                </a:lnTo>
                <a:lnTo>
                  <a:pt x="511" y="1046"/>
                </a:lnTo>
                <a:lnTo>
                  <a:pt x="513" y="1046"/>
                </a:lnTo>
                <a:lnTo>
                  <a:pt x="515" y="1046"/>
                </a:lnTo>
                <a:lnTo>
                  <a:pt x="515" y="1044"/>
                </a:lnTo>
                <a:lnTo>
                  <a:pt x="517" y="1044"/>
                </a:lnTo>
                <a:lnTo>
                  <a:pt x="517" y="1046"/>
                </a:lnTo>
                <a:lnTo>
                  <a:pt x="519" y="1046"/>
                </a:lnTo>
                <a:lnTo>
                  <a:pt x="520" y="1046"/>
                </a:lnTo>
                <a:lnTo>
                  <a:pt x="520" y="1048"/>
                </a:lnTo>
                <a:lnTo>
                  <a:pt x="522" y="1048"/>
                </a:lnTo>
                <a:lnTo>
                  <a:pt x="522" y="1050"/>
                </a:lnTo>
                <a:lnTo>
                  <a:pt x="522" y="1052"/>
                </a:lnTo>
                <a:lnTo>
                  <a:pt x="520" y="1052"/>
                </a:lnTo>
                <a:lnTo>
                  <a:pt x="520" y="1054"/>
                </a:lnTo>
                <a:lnTo>
                  <a:pt x="522" y="1054"/>
                </a:lnTo>
                <a:lnTo>
                  <a:pt x="522" y="1056"/>
                </a:lnTo>
                <a:lnTo>
                  <a:pt x="522" y="1054"/>
                </a:lnTo>
                <a:lnTo>
                  <a:pt x="520" y="1054"/>
                </a:lnTo>
                <a:lnTo>
                  <a:pt x="522" y="1056"/>
                </a:lnTo>
                <a:lnTo>
                  <a:pt x="524" y="1056"/>
                </a:lnTo>
                <a:lnTo>
                  <a:pt x="522" y="1056"/>
                </a:lnTo>
                <a:lnTo>
                  <a:pt x="524" y="1056"/>
                </a:lnTo>
                <a:lnTo>
                  <a:pt x="522" y="1056"/>
                </a:lnTo>
                <a:lnTo>
                  <a:pt x="522" y="1058"/>
                </a:lnTo>
                <a:lnTo>
                  <a:pt x="524" y="1058"/>
                </a:lnTo>
                <a:lnTo>
                  <a:pt x="524" y="1056"/>
                </a:lnTo>
                <a:lnTo>
                  <a:pt x="524" y="1058"/>
                </a:lnTo>
                <a:lnTo>
                  <a:pt x="522" y="1058"/>
                </a:lnTo>
                <a:lnTo>
                  <a:pt x="524" y="1058"/>
                </a:lnTo>
                <a:lnTo>
                  <a:pt x="524" y="1060"/>
                </a:lnTo>
                <a:lnTo>
                  <a:pt x="522" y="1060"/>
                </a:lnTo>
                <a:lnTo>
                  <a:pt x="524" y="1060"/>
                </a:lnTo>
                <a:lnTo>
                  <a:pt x="524" y="1058"/>
                </a:lnTo>
                <a:lnTo>
                  <a:pt x="526" y="1058"/>
                </a:lnTo>
                <a:lnTo>
                  <a:pt x="524" y="1058"/>
                </a:lnTo>
                <a:lnTo>
                  <a:pt x="524" y="1056"/>
                </a:lnTo>
                <a:lnTo>
                  <a:pt x="522" y="1056"/>
                </a:lnTo>
                <a:lnTo>
                  <a:pt x="524" y="1056"/>
                </a:lnTo>
                <a:lnTo>
                  <a:pt x="524" y="1058"/>
                </a:lnTo>
                <a:lnTo>
                  <a:pt x="526" y="1058"/>
                </a:lnTo>
                <a:lnTo>
                  <a:pt x="526" y="1060"/>
                </a:lnTo>
                <a:lnTo>
                  <a:pt x="528" y="1060"/>
                </a:lnTo>
                <a:lnTo>
                  <a:pt x="528" y="1058"/>
                </a:lnTo>
                <a:lnTo>
                  <a:pt x="526" y="1058"/>
                </a:lnTo>
                <a:lnTo>
                  <a:pt x="528" y="1058"/>
                </a:lnTo>
                <a:lnTo>
                  <a:pt x="528" y="1060"/>
                </a:lnTo>
                <a:lnTo>
                  <a:pt x="530" y="1060"/>
                </a:lnTo>
                <a:lnTo>
                  <a:pt x="532" y="1060"/>
                </a:lnTo>
                <a:lnTo>
                  <a:pt x="530" y="1060"/>
                </a:lnTo>
                <a:lnTo>
                  <a:pt x="530" y="1062"/>
                </a:lnTo>
                <a:lnTo>
                  <a:pt x="532" y="1062"/>
                </a:lnTo>
                <a:lnTo>
                  <a:pt x="532" y="1064"/>
                </a:lnTo>
                <a:lnTo>
                  <a:pt x="534" y="1064"/>
                </a:lnTo>
                <a:lnTo>
                  <a:pt x="534" y="1066"/>
                </a:lnTo>
                <a:lnTo>
                  <a:pt x="536" y="1066"/>
                </a:lnTo>
                <a:lnTo>
                  <a:pt x="538" y="1066"/>
                </a:lnTo>
                <a:lnTo>
                  <a:pt x="538" y="1067"/>
                </a:lnTo>
                <a:lnTo>
                  <a:pt x="540" y="1067"/>
                </a:lnTo>
                <a:lnTo>
                  <a:pt x="542" y="1067"/>
                </a:lnTo>
                <a:lnTo>
                  <a:pt x="542" y="1069"/>
                </a:lnTo>
                <a:lnTo>
                  <a:pt x="544" y="1071"/>
                </a:lnTo>
                <a:lnTo>
                  <a:pt x="545" y="1071"/>
                </a:lnTo>
                <a:lnTo>
                  <a:pt x="545" y="1073"/>
                </a:lnTo>
                <a:close/>
                <a:moveTo>
                  <a:pt x="626" y="1240"/>
                </a:moveTo>
                <a:lnTo>
                  <a:pt x="628" y="1238"/>
                </a:lnTo>
                <a:lnTo>
                  <a:pt x="630" y="1238"/>
                </a:lnTo>
                <a:lnTo>
                  <a:pt x="628" y="1238"/>
                </a:lnTo>
                <a:lnTo>
                  <a:pt x="628" y="1240"/>
                </a:lnTo>
                <a:lnTo>
                  <a:pt x="626" y="1240"/>
                </a:lnTo>
                <a:close/>
                <a:moveTo>
                  <a:pt x="1461" y="2196"/>
                </a:moveTo>
                <a:lnTo>
                  <a:pt x="1459" y="2196"/>
                </a:lnTo>
                <a:lnTo>
                  <a:pt x="1461" y="2196"/>
                </a:lnTo>
                <a:close/>
                <a:moveTo>
                  <a:pt x="1488" y="2217"/>
                </a:moveTo>
                <a:lnTo>
                  <a:pt x="1490" y="2217"/>
                </a:lnTo>
                <a:lnTo>
                  <a:pt x="1488" y="2217"/>
                </a:lnTo>
                <a:close/>
                <a:moveTo>
                  <a:pt x="641" y="1259"/>
                </a:moveTo>
                <a:lnTo>
                  <a:pt x="641" y="1261"/>
                </a:lnTo>
                <a:lnTo>
                  <a:pt x="641" y="1259"/>
                </a:lnTo>
                <a:close/>
                <a:moveTo>
                  <a:pt x="640" y="1256"/>
                </a:moveTo>
                <a:lnTo>
                  <a:pt x="640" y="1257"/>
                </a:lnTo>
                <a:lnTo>
                  <a:pt x="641" y="1257"/>
                </a:lnTo>
                <a:lnTo>
                  <a:pt x="641" y="1259"/>
                </a:lnTo>
                <a:lnTo>
                  <a:pt x="640" y="1259"/>
                </a:lnTo>
                <a:lnTo>
                  <a:pt x="640" y="1257"/>
                </a:lnTo>
                <a:lnTo>
                  <a:pt x="638" y="1257"/>
                </a:lnTo>
                <a:lnTo>
                  <a:pt x="638" y="1259"/>
                </a:lnTo>
                <a:lnTo>
                  <a:pt x="638" y="1261"/>
                </a:lnTo>
                <a:lnTo>
                  <a:pt x="636" y="1261"/>
                </a:lnTo>
                <a:lnTo>
                  <a:pt x="636" y="1263"/>
                </a:lnTo>
                <a:lnTo>
                  <a:pt x="636" y="1261"/>
                </a:lnTo>
                <a:lnTo>
                  <a:pt x="634" y="1261"/>
                </a:lnTo>
                <a:lnTo>
                  <a:pt x="632" y="1261"/>
                </a:lnTo>
                <a:lnTo>
                  <a:pt x="632" y="1259"/>
                </a:lnTo>
                <a:lnTo>
                  <a:pt x="630" y="1259"/>
                </a:lnTo>
                <a:lnTo>
                  <a:pt x="630" y="1257"/>
                </a:lnTo>
                <a:lnTo>
                  <a:pt x="630" y="1259"/>
                </a:lnTo>
                <a:lnTo>
                  <a:pt x="632" y="1259"/>
                </a:lnTo>
                <a:lnTo>
                  <a:pt x="632" y="1257"/>
                </a:lnTo>
                <a:lnTo>
                  <a:pt x="634" y="1257"/>
                </a:lnTo>
                <a:lnTo>
                  <a:pt x="634" y="1259"/>
                </a:lnTo>
                <a:lnTo>
                  <a:pt x="636" y="1259"/>
                </a:lnTo>
                <a:lnTo>
                  <a:pt x="636" y="1257"/>
                </a:lnTo>
                <a:lnTo>
                  <a:pt x="638" y="1257"/>
                </a:lnTo>
                <a:lnTo>
                  <a:pt x="638" y="1256"/>
                </a:lnTo>
                <a:lnTo>
                  <a:pt x="636" y="1256"/>
                </a:lnTo>
                <a:lnTo>
                  <a:pt x="634" y="1256"/>
                </a:lnTo>
                <a:lnTo>
                  <a:pt x="636" y="1256"/>
                </a:lnTo>
                <a:lnTo>
                  <a:pt x="638" y="1256"/>
                </a:lnTo>
                <a:lnTo>
                  <a:pt x="638" y="1254"/>
                </a:lnTo>
                <a:lnTo>
                  <a:pt x="640" y="1254"/>
                </a:lnTo>
                <a:lnTo>
                  <a:pt x="640" y="1256"/>
                </a:lnTo>
                <a:close/>
                <a:moveTo>
                  <a:pt x="1490" y="2217"/>
                </a:moveTo>
                <a:lnTo>
                  <a:pt x="1490" y="2219"/>
                </a:lnTo>
                <a:lnTo>
                  <a:pt x="1490" y="2217"/>
                </a:lnTo>
                <a:close/>
                <a:moveTo>
                  <a:pt x="1459" y="2194"/>
                </a:moveTo>
                <a:lnTo>
                  <a:pt x="1459" y="2196"/>
                </a:lnTo>
                <a:lnTo>
                  <a:pt x="1459" y="2194"/>
                </a:lnTo>
                <a:close/>
                <a:moveTo>
                  <a:pt x="1492" y="2221"/>
                </a:moveTo>
                <a:lnTo>
                  <a:pt x="1494" y="2219"/>
                </a:lnTo>
                <a:lnTo>
                  <a:pt x="1494" y="2221"/>
                </a:lnTo>
                <a:lnTo>
                  <a:pt x="1492" y="2221"/>
                </a:lnTo>
                <a:close/>
                <a:moveTo>
                  <a:pt x="641" y="1256"/>
                </a:moveTo>
                <a:lnTo>
                  <a:pt x="640" y="1256"/>
                </a:lnTo>
                <a:lnTo>
                  <a:pt x="641" y="1256"/>
                </a:lnTo>
                <a:close/>
                <a:moveTo>
                  <a:pt x="1458" y="2196"/>
                </a:moveTo>
                <a:lnTo>
                  <a:pt x="1458" y="2194"/>
                </a:lnTo>
                <a:lnTo>
                  <a:pt x="1459" y="2194"/>
                </a:lnTo>
                <a:lnTo>
                  <a:pt x="1458" y="2194"/>
                </a:lnTo>
                <a:lnTo>
                  <a:pt x="1459" y="2194"/>
                </a:lnTo>
                <a:lnTo>
                  <a:pt x="1459" y="2196"/>
                </a:lnTo>
                <a:lnTo>
                  <a:pt x="1458" y="2196"/>
                </a:lnTo>
                <a:close/>
                <a:moveTo>
                  <a:pt x="582" y="1152"/>
                </a:moveTo>
                <a:lnTo>
                  <a:pt x="582" y="1150"/>
                </a:lnTo>
                <a:lnTo>
                  <a:pt x="584" y="1150"/>
                </a:lnTo>
                <a:lnTo>
                  <a:pt x="582" y="1150"/>
                </a:lnTo>
                <a:lnTo>
                  <a:pt x="584" y="1150"/>
                </a:lnTo>
                <a:lnTo>
                  <a:pt x="584" y="1148"/>
                </a:lnTo>
                <a:lnTo>
                  <a:pt x="584" y="1150"/>
                </a:lnTo>
                <a:lnTo>
                  <a:pt x="582" y="1150"/>
                </a:lnTo>
                <a:lnTo>
                  <a:pt x="582" y="1152"/>
                </a:lnTo>
                <a:close/>
                <a:moveTo>
                  <a:pt x="640" y="1252"/>
                </a:moveTo>
                <a:lnTo>
                  <a:pt x="640" y="1254"/>
                </a:lnTo>
                <a:lnTo>
                  <a:pt x="640" y="1252"/>
                </a:lnTo>
                <a:close/>
                <a:moveTo>
                  <a:pt x="1463" y="2194"/>
                </a:moveTo>
                <a:lnTo>
                  <a:pt x="1463" y="2196"/>
                </a:lnTo>
                <a:lnTo>
                  <a:pt x="1461" y="2196"/>
                </a:lnTo>
                <a:lnTo>
                  <a:pt x="1461" y="2194"/>
                </a:lnTo>
                <a:lnTo>
                  <a:pt x="1463" y="2194"/>
                </a:lnTo>
                <a:close/>
                <a:moveTo>
                  <a:pt x="632" y="1242"/>
                </a:moveTo>
                <a:lnTo>
                  <a:pt x="632" y="1240"/>
                </a:lnTo>
                <a:lnTo>
                  <a:pt x="630" y="1240"/>
                </a:lnTo>
                <a:lnTo>
                  <a:pt x="630" y="1238"/>
                </a:lnTo>
                <a:lnTo>
                  <a:pt x="632" y="1238"/>
                </a:lnTo>
                <a:lnTo>
                  <a:pt x="634" y="1238"/>
                </a:lnTo>
                <a:lnTo>
                  <a:pt x="634" y="1240"/>
                </a:lnTo>
                <a:lnTo>
                  <a:pt x="632" y="1240"/>
                </a:lnTo>
                <a:lnTo>
                  <a:pt x="632" y="1242"/>
                </a:lnTo>
                <a:close/>
                <a:moveTo>
                  <a:pt x="1469" y="2200"/>
                </a:moveTo>
                <a:lnTo>
                  <a:pt x="1469" y="2198"/>
                </a:lnTo>
                <a:lnTo>
                  <a:pt x="1469" y="2200"/>
                </a:lnTo>
                <a:close/>
                <a:moveTo>
                  <a:pt x="557" y="1089"/>
                </a:moveTo>
                <a:lnTo>
                  <a:pt x="555" y="1089"/>
                </a:lnTo>
                <a:lnTo>
                  <a:pt x="555" y="1087"/>
                </a:lnTo>
                <a:lnTo>
                  <a:pt x="553" y="1087"/>
                </a:lnTo>
                <a:lnTo>
                  <a:pt x="551" y="1087"/>
                </a:lnTo>
                <a:lnTo>
                  <a:pt x="553" y="1087"/>
                </a:lnTo>
                <a:lnTo>
                  <a:pt x="553" y="1089"/>
                </a:lnTo>
                <a:lnTo>
                  <a:pt x="551" y="1089"/>
                </a:lnTo>
                <a:lnTo>
                  <a:pt x="551" y="1087"/>
                </a:lnTo>
                <a:lnTo>
                  <a:pt x="553" y="1087"/>
                </a:lnTo>
                <a:lnTo>
                  <a:pt x="553" y="1085"/>
                </a:lnTo>
                <a:lnTo>
                  <a:pt x="553" y="1087"/>
                </a:lnTo>
                <a:lnTo>
                  <a:pt x="555" y="1087"/>
                </a:lnTo>
                <a:lnTo>
                  <a:pt x="555" y="1089"/>
                </a:lnTo>
                <a:lnTo>
                  <a:pt x="557" y="1089"/>
                </a:lnTo>
                <a:close/>
                <a:moveTo>
                  <a:pt x="1461" y="2194"/>
                </a:moveTo>
                <a:lnTo>
                  <a:pt x="1461" y="2192"/>
                </a:lnTo>
                <a:lnTo>
                  <a:pt x="1461" y="2194"/>
                </a:lnTo>
                <a:close/>
                <a:moveTo>
                  <a:pt x="1527" y="2240"/>
                </a:moveTo>
                <a:lnTo>
                  <a:pt x="1527" y="2242"/>
                </a:lnTo>
                <a:lnTo>
                  <a:pt x="1525" y="2242"/>
                </a:lnTo>
                <a:lnTo>
                  <a:pt x="1525" y="2244"/>
                </a:lnTo>
                <a:lnTo>
                  <a:pt x="1523" y="2244"/>
                </a:lnTo>
                <a:lnTo>
                  <a:pt x="1523" y="2242"/>
                </a:lnTo>
                <a:lnTo>
                  <a:pt x="1523" y="2240"/>
                </a:lnTo>
                <a:lnTo>
                  <a:pt x="1525" y="2240"/>
                </a:lnTo>
                <a:lnTo>
                  <a:pt x="1527" y="2240"/>
                </a:lnTo>
                <a:lnTo>
                  <a:pt x="1527" y="2239"/>
                </a:lnTo>
                <a:lnTo>
                  <a:pt x="1527" y="2240"/>
                </a:lnTo>
                <a:close/>
                <a:moveTo>
                  <a:pt x="592" y="1165"/>
                </a:moveTo>
                <a:lnTo>
                  <a:pt x="592" y="1163"/>
                </a:lnTo>
                <a:lnTo>
                  <a:pt x="593" y="1163"/>
                </a:lnTo>
                <a:lnTo>
                  <a:pt x="593" y="1161"/>
                </a:lnTo>
                <a:lnTo>
                  <a:pt x="595" y="1161"/>
                </a:lnTo>
                <a:lnTo>
                  <a:pt x="593" y="1161"/>
                </a:lnTo>
                <a:lnTo>
                  <a:pt x="593" y="1163"/>
                </a:lnTo>
                <a:lnTo>
                  <a:pt x="593" y="1165"/>
                </a:lnTo>
                <a:lnTo>
                  <a:pt x="592" y="1165"/>
                </a:lnTo>
                <a:lnTo>
                  <a:pt x="592" y="1167"/>
                </a:lnTo>
                <a:lnTo>
                  <a:pt x="592" y="1165"/>
                </a:lnTo>
                <a:close/>
                <a:moveTo>
                  <a:pt x="588" y="1150"/>
                </a:moveTo>
                <a:lnTo>
                  <a:pt x="588" y="1152"/>
                </a:lnTo>
                <a:lnTo>
                  <a:pt x="586" y="1152"/>
                </a:lnTo>
                <a:lnTo>
                  <a:pt x="586" y="1150"/>
                </a:lnTo>
                <a:lnTo>
                  <a:pt x="588" y="1150"/>
                </a:lnTo>
                <a:lnTo>
                  <a:pt x="588" y="1148"/>
                </a:lnTo>
                <a:lnTo>
                  <a:pt x="588" y="1150"/>
                </a:lnTo>
                <a:close/>
                <a:moveTo>
                  <a:pt x="634" y="1242"/>
                </a:moveTo>
                <a:lnTo>
                  <a:pt x="634" y="1240"/>
                </a:lnTo>
                <a:lnTo>
                  <a:pt x="636" y="1240"/>
                </a:lnTo>
                <a:lnTo>
                  <a:pt x="638" y="1240"/>
                </a:lnTo>
                <a:lnTo>
                  <a:pt x="638" y="1242"/>
                </a:lnTo>
                <a:lnTo>
                  <a:pt x="636" y="1242"/>
                </a:lnTo>
                <a:lnTo>
                  <a:pt x="634" y="1242"/>
                </a:lnTo>
                <a:close/>
                <a:moveTo>
                  <a:pt x="1471" y="2196"/>
                </a:moveTo>
                <a:lnTo>
                  <a:pt x="1471" y="2198"/>
                </a:lnTo>
                <a:lnTo>
                  <a:pt x="1469" y="2198"/>
                </a:lnTo>
                <a:lnTo>
                  <a:pt x="1469" y="2196"/>
                </a:lnTo>
                <a:lnTo>
                  <a:pt x="1469" y="2194"/>
                </a:lnTo>
                <a:lnTo>
                  <a:pt x="1469" y="2196"/>
                </a:lnTo>
                <a:lnTo>
                  <a:pt x="1471" y="2196"/>
                </a:lnTo>
                <a:close/>
                <a:moveTo>
                  <a:pt x="1527" y="2237"/>
                </a:moveTo>
                <a:lnTo>
                  <a:pt x="1529" y="2237"/>
                </a:lnTo>
                <a:lnTo>
                  <a:pt x="1527" y="2237"/>
                </a:lnTo>
                <a:close/>
                <a:moveTo>
                  <a:pt x="1461" y="2187"/>
                </a:moveTo>
                <a:lnTo>
                  <a:pt x="1459" y="2187"/>
                </a:lnTo>
                <a:lnTo>
                  <a:pt x="1461" y="2187"/>
                </a:lnTo>
                <a:close/>
                <a:moveTo>
                  <a:pt x="1515" y="2227"/>
                </a:moveTo>
                <a:lnTo>
                  <a:pt x="1515" y="2225"/>
                </a:lnTo>
                <a:lnTo>
                  <a:pt x="1515" y="2227"/>
                </a:lnTo>
                <a:close/>
                <a:moveTo>
                  <a:pt x="1469" y="2192"/>
                </a:moveTo>
                <a:lnTo>
                  <a:pt x="1469" y="2191"/>
                </a:lnTo>
                <a:lnTo>
                  <a:pt x="1469" y="2192"/>
                </a:lnTo>
                <a:close/>
                <a:moveTo>
                  <a:pt x="1461" y="2187"/>
                </a:moveTo>
                <a:lnTo>
                  <a:pt x="1461" y="2185"/>
                </a:lnTo>
                <a:lnTo>
                  <a:pt x="1461" y="2187"/>
                </a:lnTo>
                <a:lnTo>
                  <a:pt x="1461" y="2185"/>
                </a:lnTo>
                <a:lnTo>
                  <a:pt x="1461" y="2187"/>
                </a:lnTo>
                <a:close/>
                <a:moveTo>
                  <a:pt x="595" y="1152"/>
                </a:moveTo>
                <a:lnTo>
                  <a:pt x="595" y="1154"/>
                </a:lnTo>
                <a:lnTo>
                  <a:pt x="595" y="1156"/>
                </a:lnTo>
                <a:lnTo>
                  <a:pt x="593" y="1156"/>
                </a:lnTo>
                <a:lnTo>
                  <a:pt x="593" y="1158"/>
                </a:lnTo>
                <a:lnTo>
                  <a:pt x="593" y="1160"/>
                </a:lnTo>
                <a:lnTo>
                  <a:pt x="595" y="1160"/>
                </a:lnTo>
                <a:lnTo>
                  <a:pt x="595" y="1161"/>
                </a:lnTo>
                <a:lnTo>
                  <a:pt x="593" y="1161"/>
                </a:lnTo>
                <a:lnTo>
                  <a:pt x="592" y="1160"/>
                </a:lnTo>
                <a:lnTo>
                  <a:pt x="590" y="1161"/>
                </a:lnTo>
                <a:lnTo>
                  <a:pt x="590" y="1160"/>
                </a:lnTo>
                <a:lnTo>
                  <a:pt x="588" y="1160"/>
                </a:lnTo>
                <a:lnTo>
                  <a:pt x="588" y="1158"/>
                </a:lnTo>
                <a:lnTo>
                  <a:pt x="588" y="1156"/>
                </a:lnTo>
                <a:lnTo>
                  <a:pt x="590" y="1156"/>
                </a:lnTo>
                <a:lnTo>
                  <a:pt x="592" y="1156"/>
                </a:lnTo>
                <a:lnTo>
                  <a:pt x="593" y="1156"/>
                </a:lnTo>
                <a:lnTo>
                  <a:pt x="592" y="1156"/>
                </a:lnTo>
                <a:lnTo>
                  <a:pt x="592" y="1154"/>
                </a:lnTo>
                <a:lnTo>
                  <a:pt x="593" y="1154"/>
                </a:lnTo>
                <a:lnTo>
                  <a:pt x="593" y="1156"/>
                </a:lnTo>
                <a:lnTo>
                  <a:pt x="593" y="1154"/>
                </a:lnTo>
                <a:lnTo>
                  <a:pt x="593" y="1152"/>
                </a:lnTo>
                <a:lnTo>
                  <a:pt x="593" y="1154"/>
                </a:lnTo>
                <a:lnTo>
                  <a:pt x="592" y="1154"/>
                </a:lnTo>
                <a:lnTo>
                  <a:pt x="590" y="1154"/>
                </a:lnTo>
                <a:lnTo>
                  <a:pt x="590" y="1152"/>
                </a:lnTo>
                <a:lnTo>
                  <a:pt x="590" y="1150"/>
                </a:lnTo>
                <a:lnTo>
                  <a:pt x="590" y="1148"/>
                </a:lnTo>
                <a:lnTo>
                  <a:pt x="592" y="1148"/>
                </a:lnTo>
                <a:lnTo>
                  <a:pt x="592" y="1150"/>
                </a:lnTo>
                <a:lnTo>
                  <a:pt x="593" y="1150"/>
                </a:lnTo>
                <a:lnTo>
                  <a:pt x="595" y="1150"/>
                </a:lnTo>
                <a:lnTo>
                  <a:pt x="595" y="1152"/>
                </a:lnTo>
                <a:close/>
                <a:moveTo>
                  <a:pt x="1467" y="2189"/>
                </a:moveTo>
                <a:lnTo>
                  <a:pt x="1465" y="2189"/>
                </a:lnTo>
                <a:lnTo>
                  <a:pt x="1467" y="2189"/>
                </a:lnTo>
                <a:close/>
                <a:moveTo>
                  <a:pt x="641" y="1242"/>
                </a:moveTo>
                <a:lnTo>
                  <a:pt x="641" y="1240"/>
                </a:lnTo>
                <a:lnTo>
                  <a:pt x="643" y="1240"/>
                </a:lnTo>
                <a:lnTo>
                  <a:pt x="643" y="1242"/>
                </a:lnTo>
                <a:lnTo>
                  <a:pt x="641" y="1242"/>
                </a:lnTo>
                <a:close/>
                <a:moveTo>
                  <a:pt x="1525" y="2233"/>
                </a:moveTo>
                <a:lnTo>
                  <a:pt x="1523" y="2233"/>
                </a:lnTo>
                <a:lnTo>
                  <a:pt x="1523" y="2231"/>
                </a:lnTo>
                <a:lnTo>
                  <a:pt x="1523" y="2229"/>
                </a:lnTo>
                <a:lnTo>
                  <a:pt x="1525" y="2229"/>
                </a:lnTo>
                <a:lnTo>
                  <a:pt x="1525" y="2231"/>
                </a:lnTo>
                <a:lnTo>
                  <a:pt x="1525" y="2233"/>
                </a:lnTo>
                <a:close/>
                <a:moveTo>
                  <a:pt x="578" y="1113"/>
                </a:moveTo>
                <a:lnTo>
                  <a:pt x="578" y="1115"/>
                </a:lnTo>
                <a:lnTo>
                  <a:pt x="578" y="1113"/>
                </a:lnTo>
                <a:close/>
                <a:moveTo>
                  <a:pt x="1469" y="2189"/>
                </a:moveTo>
                <a:lnTo>
                  <a:pt x="1469" y="2191"/>
                </a:lnTo>
                <a:lnTo>
                  <a:pt x="1467" y="2191"/>
                </a:lnTo>
                <a:lnTo>
                  <a:pt x="1469" y="2191"/>
                </a:lnTo>
                <a:lnTo>
                  <a:pt x="1469" y="2192"/>
                </a:lnTo>
                <a:lnTo>
                  <a:pt x="1469" y="2194"/>
                </a:lnTo>
                <a:lnTo>
                  <a:pt x="1469" y="2196"/>
                </a:lnTo>
                <a:lnTo>
                  <a:pt x="1469" y="2198"/>
                </a:lnTo>
                <a:lnTo>
                  <a:pt x="1469" y="2196"/>
                </a:lnTo>
                <a:lnTo>
                  <a:pt x="1467" y="2198"/>
                </a:lnTo>
                <a:lnTo>
                  <a:pt x="1469" y="2198"/>
                </a:lnTo>
                <a:lnTo>
                  <a:pt x="1467" y="2198"/>
                </a:lnTo>
                <a:lnTo>
                  <a:pt x="1467" y="2200"/>
                </a:lnTo>
                <a:lnTo>
                  <a:pt x="1467" y="2202"/>
                </a:lnTo>
                <a:lnTo>
                  <a:pt x="1467" y="2204"/>
                </a:lnTo>
                <a:lnTo>
                  <a:pt x="1465" y="2204"/>
                </a:lnTo>
                <a:lnTo>
                  <a:pt x="1463" y="2204"/>
                </a:lnTo>
                <a:lnTo>
                  <a:pt x="1461" y="2204"/>
                </a:lnTo>
                <a:lnTo>
                  <a:pt x="1461" y="2202"/>
                </a:lnTo>
                <a:lnTo>
                  <a:pt x="1463" y="2202"/>
                </a:lnTo>
                <a:lnTo>
                  <a:pt x="1461" y="2202"/>
                </a:lnTo>
                <a:lnTo>
                  <a:pt x="1461" y="2200"/>
                </a:lnTo>
                <a:lnTo>
                  <a:pt x="1461" y="2202"/>
                </a:lnTo>
                <a:lnTo>
                  <a:pt x="1461" y="2200"/>
                </a:lnTo>
                <a:lnTo>
                  <a:pt x="1461" y="2198"/>
                </a:lnTo>
                <a:lnTo>
                  <a:pt x="1461" y="2200"/>
                </a:lnTo>
                <a:lnTo>
                  <a:pt x="1461" y="2202"/>
                </a:lnTo>
                <a:lnTo>
                  <a:pt x="1459" y="2202"/>
                </a:lnTo>
                <a:lnTo>
                  <a:pt x="1459" y="2200"/>
                </a:lnTo>
                <a:lnTo>
                  <a:pt x="1459" y="2198"/>
                </a:lnTo>
                <a:lnTo>
                  <a:pt x="1458" y="2198"/>
                </a:lnTo>
                <a:lnTo>
                  <a:pt x="1459" y="2198"/>
                </a:lnTo>
                <a:lnTo>
                  <a:pt x="1459" y="2196"/>
                </a:lnTo>
                <a:lnTo>
                  <a:pt x="1459" y="2198"/>
                </a:lnTo>
                <a:lnTo>
                  <a:pt x="1461" y="2198"/>
                </a:lnTo>
                <a:lnTo>
                  <a:pt x="1461" y="2196"/>
                </a:lnTo>
                <a:lnTo>
                  <a:pt x="1463" y="2196"/>
                </a:lnTo>
                <a:lnTo>
                  <a:pt x="1465" y="2196"/>
                </a:lnTo>
                <a:lnTo>
                  <a:pt x="1463" y="2196"/>
                </a:lnTo>
                <a:lnTo>
                  <a:pt x="1463" y="2194"/>
                </a:lnTo>
                <a:lnTo>
                  <a:pt x="1463" y="2192"/>
                </a:lnTo>
                <a:lnTo>
                  <a:pt x="1463" y="2191"/>
                </a:lnTo>
                <a:lnTo>
                  <a:pt x="1465" y="2191"/>
                </a:lnTo>
                <a:lnTo>
                  <a:pt x="1463" y="2191"/>
                </a:lnTo>
                <a:lnTo>
                  <a:pt x="1465" y="2191"/>
                </a:lnTo>
                <a:lnTo>
                  <a:pt x="1463" y="2191"/>
                </a:lnTo>
                <a:lnTo>
                  <a:pt x="1465" y="2191"/>
                </a:lnTo>
                <a:lnTo>
                  <a:pt x="1465" y="2189"/>
                </a:lnTo>
                <a:lnTo>
                  <a:pt x="1465" y="2191"/>
                </a:lnTo>
                <a:lnTo>
                  <a:pt x="1465" y="2189"/>
                </a:lnTo>
                <a:lnTo>
                  <a:pt x="1467" y="2189"/>
                </a:lnTo>
                <a:lnTo>
                  <a:pt x="1469" y="2189"/>
                </a:lnTo>
                <a:lnTo>
                  <a:pt x="1467" y="2189"/>
                </a:lnTo>
                <a:lnTo>
                  <a:pt x="1469" y="2189"/>
                </a:lnTo>
                <a:close/>
                <a:moveTo>
                  <a:pt x="613" y="1181"/>
                </a:moveTo>
                <a:lnTo>
                  <a:pt x="613" y="1183"/>
                </a:lnTo>
                <a:lnTo>
                  <a:pt x="613" y="1185"/>
                </a:lnTo>
                <a:lnTo>
                  <a:pt x="611" y="1185"/>
                </a:lnTo>
                <a:lnTo>
                  <a:pt x="611" y="1186"/>
                </a:lnTo>
                <a:lnTo>
                  <a:pt x="609" y="1186"/>
                </a:lnTo>
                <a:lnTo>
                  <a:pt x="607" y="1186"/>
                </a:lnTo>
                <a:lnTo>
                  <a:pt x="607" y="1185"/>
                </a:lnTo>
                <a:lnTo>
                  <a:pt x="605" y="1185"/>
                </a:lnTo>
                <a:lnTo>
                  <a:pt x="605" y="1183"/>
                </a:lnTo>
                <a:lnTo>
                  <a:pt x="605" y="1181"/>
                </a:lnTo>
                <a:lnTo>
                  <a:pt x="605" y="1179"/>
                </a:lnTo>
                <a:lnTo>
                  <a:pt x="607" y="1179"/>
                </a:lnTo>
                <a:lnTo>
                  <a:pt x="607" y="1177"/>
                </a:lnTo>
                <a:lnTo>
                  <a:pt x="609" y="1177"/>
                </a:lnTo>
                <a:lnTo>
                  <a:pt x="611" y="1179"/>
                </a:lnTo>
                <a:lnTo>
                  <a:pt x="613" y="1179"/>
                </a:lnTo>
                <a:lnTo>
                  <a:pt x="613" y="1181"/>
                </a:lnTo>
                <a:close/>
                <a:moveTo>
                  <a:pt x="1469" y="2189"/>
                </a:moveTo>
                <a:lnTo>
                  <a:pt x="1469" y="2187"/>
                </a:lnTo>
                <a:lnTo>
                  <a:pt x="1469" y="2189"/>
                </a:lnTo>
                <a:close/>
                <a:moveTo>
                  <a:pt x="1496" y="2208"/>
                </a:moveTo>
                <a:lnTo>
                  <a:pt x="1496" y="2206"/>
                </a:lnTo>
                <a:lnTo>
                  <a:pt x="1496" y="2208"/>
                </a:lnTo>
                <a:close/>
                <a:moveTo>
                  <a:pt x="1465" y="2185"/>
                </a:moveTo>
                <a:lnTo>
                  <a:pt x="1465" y="2183"/>
                </a:lnTo>
                <a:lnTo>
                  <a:pt x="1465" y="2185"/>
                </a:lnTo>
                <a:close/>
                <a:moveTo>
                  <a:pt x="609" y="1169"/>
                </a:moveTo>
                <a:lnTo>
                  <a:pt x="607" y="1169"/>
                </a:lnTo>
                <a:lnTo>
                  <a:pt x="607" y="1171"/>
                </a:lnTo>
                <a:lnTo>
                  <a:pt x="605" y="1171"/>
                </a:lnTo>
                <a:lnTo>
                  <a:pt x="603" y="1171"/>
                </a:lnTo>
                <a:lnTo>
                  <a:pt x="603" y="1169"/>
                </a:lnTo>
                <a:lnTo>
                  <a:pt x="603" y="1167"/>
                </a:lnTo>
                <a:lnTo>
                  <a:pt x="605" y="1167"/>
                </a:lnTo>
                <a:lnTo>
                  <a:pt x="603" y="1167"/>
                </a:lnTo>
                <a:lnTo>
                  <a:pt x="603" y="1165"/>
                </a:lnTo>
                <a:lnTo>
                  <a:pt x="605" y="1165"/>
                </a:lnTo>
                <a:lnTo>
                  <a:pt x="607" y="1165"/>
                </a:lnTo>
                <a:lnTo>
                  <a:pt x="607" y="1167"/>
                </a:lnTo>
                <a:lnTo>
                  <a:pt x="607" y="1169"/>
                </a:lnTo>
                <a:lnTo>
                  <a:pt x="609" y="1169"/>
                </a:lnTo>
                <a:close/>
                <a:moveTo>
                  <a:pt x="1469" y="2185"/>
                </a:moveTo>
                <a:lnTo>
                  <a:pt x="1469" y="2187"/>
                </a:lnTo>
                <a:lnTo>
                  <a:pt x="1467" y="2185"/>
                </a:lnTo>
                <a:lnTo>
                  <a:pt x="1467" y="2187"/>
                </a:lnTo>
                <a:lnTo>
                  <a:pt x="1467" y="2189"/>
                </a:lnTo>
                <a:lnTo>
                  <a:pt x="1465" y="2189"/>
                </a:lnTo>
                <a:lnTo>
                  <a:pt x="1465" y="2187"/>
                </a:lnTo>
                <a:lnTo>
                  <a:pt x="1467" y="2187"/>
                </a:lnTo>
                <a:lnTo>
                  <a:pt x="1465" y="2187"/>
                </a:lnTo>
                <a:lnTo>
                  <a:pt x="1463" y="2187"/>
                </a:lnTo>
                <a:lnTo>
                  <a:pt x="1465" y="2187"/>
                </a:lnTo>
                <a:lnTo>
                  <a:pt x="1465" y="2185"/>
                </a:lnTo>
                <a:lnTo>
                  <a:pt x="1467" y="2185"/>
                </a:lnTo>
                <a:lnTo>
                  <a:pt x="1469" y="2185"/>
                </a:lnTo>
                <a:close/>
                <a:moveTo>
                  <a:pt x="1471" y="2185"/>
                </a:moveTo>
                <a:lnTo>
                  <a:pt x="1471" y="2187"/>
                </a:lnTo>
                <a:lnTo>
                  <a:pt x="1469" y="2187"/>
                </a:lnTo>
                <a:lnTo>
                  <a:pt x="1469" y="2185"/>
                </a:lnTo>
                <a:lnTo>
                  <a:pt x="1471" y="2185"/>
                </a:lnTo>
                <a:close/>
                <a:moveTo>
                  <a:pt x="1492" y="2202"/>
                </a:moveTo>
                <a:lnTo>
                  <a:pt x="1494" y="2202"/>
                </a:lnTo>
                <a:lnTo>
                  <a:pt x="1492" y="2202"/>
                </a:lnTo>
                <a:close/>
                <a:moveTo>
                  <a:pt x="649" y="1246"/>
                </a:moveTo>
                <a:lnTo>
                  <a:pt x="647" y="1246"/>
                </a:lnTo>
                <a:lnTo>
                  <a:pt x="645" y="1246"/>
                </a:lnTo>
                <a:lnTo>
                  <a:pt x="645" y="1248"/>
                </a:lnTo>
                <a:lnTo>
                  <a:pt x="643" y="1248"/>
                </a:lnTo>
                <a:lnTo>
                  <a:pt x="643" y="1250"/>
                </a:lnTo>
                <a:lnTo>
                  <a:pt x="641" y="1250"/>
                </a:lnTo>
                <a:lnTo>
                  <a:pt x="641" y="1248"/>
                </a:lnTo>
                <a:lnTo>
                  <a:pt x="641" y="1250"/>
                </a:lnTo>
                <a:lnTo>
                  <a:pt x="640" y="1250"/>
                </a:lnTo>
                <a:lnTo>
                  <a:pt x="638" y="1250"/>
                </a:lnTo>
                <a:lnTo>
                  <a:pt x="638" y="1252"/>
                </a:lnTo>
                <a:lnTo>
                  <a:pt x="638" y="1254"/>
                </a:lnTo>
                <a:lnTo>
                  <a:pt x="636" y="1254"/>
                </a:lnTo>
                <a:lnTo>
                  <a:pt x="636" y="1252"/>
                </a:lnTo>
                <a:lnTo>
                  <a:pt x="638" y="1250"/>
                </a:lnTo>
                <a:lnTo>
                  <a:pt x="638" y="1248"/>
                </a:lnTo>
                <a:lnTo>
                  <a:pt x="636" y="1248"/>
                </a:lnTo>
                <a:lnTo>
                  <a:pt x="636" y="1250"/>
                </a:lnTo>
                <a:lnTo>
                  <a:pt x="634" y="1250"/>
                </a:lnTo>
                <a:lnTo>
                  <a:pt x="634" y="1248"/>
                </a:lnTo>
                <a:lnTo>
                  <a:pt x="636" y="1248"/>
                </a:lnTo>
                <a:lnTo>
                  <a:pt x="634" y="1248"/>
                </a:lnTo>
                <a:lnTo>
                  <a:pt x="632" y="1248"/>
                </a:lnTo>
                <a:lnTo>
                  <a:pt x="634" y="1248"/>
                </a:lnTo>
                <a:lnTo>
                  <a:pt x="634" y="1246"/>
                </a:lnTo>
                <a:lnTo>
                  <a:pt x="636" y="1246"/>
                </a:lnTo>
                <a:lnTo>
                  <a:pt x="638" y="1246"/>
                </a:lnTo>
                <a:lnTo>
                  <a:pt x="638" y="1248"/>
                </a:lnTo>
                <a:lnTo>
                  <a:pt x="638" y="1246"/>
                </a:lnTo>
                <a:lnTo>
                  <a:pt x="638" y="1244"/>
                </a:lnTo>
                <a:lnTo>
                  <a:pt x="640" y="1244"/>
                </a:lnTo>
                <a:lnTo>
                  <a:pt x="640" y="1246"/>
                </a:lnTo>
                <a:lnTo>
                  <a:pt x="640" y="1248"/>
                </a:lnTo>
                <a:lnTo>
                  <a:pt x="640" y="1246"/>
                </a:lnTo>
                <a:lnTo>
                  <a:pt x="641" y="1246"/>
                </a:lnTo>
                <a:lnTo>
                  <a:pt x="643" y="1248"/>
                </a:lnTo>
                <a:lnTo>
                  <a:pt x="643" y="1246"/>
                </a:lnTo>
                <a:lnTo>
                  <a:pt x="643" y="1244"/>
                </a:lnTo>
                <a:lnTo>
                  <a:pt x="643" y="1246"/>
                </a:lnTo>
                <a:lnTo>
                  <a:pt x="645" y="1244"/>
                </a:lnTo>
                <a:lnTo>
                  <a:pt x="643" y="1244"/>
                </a:lnTo>
                <a:lnTo>
                  <a:pt x="645" y="1244"/>
                </a:lnTo>
                <a:lnTo>
                  <a:pt x="645" y="1242"/>
                </a:lnTo>
                <a:lnTo>
                  <a:pt x="647" y="1242"/>
                </a:lnTo>
                <a:lnTo>
                  <a:pt x="647" y="1244"/>
                </a:lnTo>
                <a:lnTo>
                  <a:pt x="649" y="1244"/>
                </a:lnTo>
                <a:lnTo>
                  <a:pt x="651" y="1244"/>
                </a:lnTo>
                <a:lnTo>
                  <a:pt x="649" y="1244"/>
                </a:lnTo>
                <a:lnTo>
                  <a:pt x="649" y="1246"/>
                </a:lnTo>
                <a:close/>
                <a:moveTo>
                  <a:pt x="607" y="1160"/>
                </a:moveTo>
                <a:lnTo>
                  <a:pt x="605" y="1160"/>
                </a:lnTo>
                <a:lnTo>
                  <a:pt x="603" y="1160"/>
                </a:lnTo>
                <a:lnTo>
                  <a:pt x="601" y="1161"/>
                </a:lnTo>
                <a:lnTo>
                  <a:pt x="601" y="1160"/>
                </a:lnTo>
                <a:lnTo>
                  <a:pt x="603" y="1160"/>
                </a:lnTo>
                <a:lnTo>
                  <a:pt x="601" y="1160"/>
                </a:lnTo>
                <a:lnTo>
                  <a:pt x="601" y="1158"/>
                </a:lnTo>
                <a:lnTo>
                  <a:pt x="599" y="1158"/>
                </a:lnTo>
                <a:lnTo>
                  <a:pt x="599" y="1156"/>
                </a:lnTo>
                <a:lnTo>
                  <a:pt x="599" y="1154"/>
                </a:lnTo>
                <a:lnTo>
                  <a:pt x="601" y="1154"/>
                </a:lnTo>
                <a:lnTo>
                  <a:pt x="603" y="1154"/>
                </a:lnTo>
                <a:lnTo>
                  <a:pt x="603" y="1156"/>
                </a:lnTo>
                <a:lnTo>
                  <a:pt x="603" y="1158"/>
                </a:lnTo>
                <a:lnTo>
                  <a:pt x="605" y="1158"/>
                </a:lnTo>
                <a:lnTo>
                  <a:pt x="605" y="1160"/>
                </a:lnTo>
                <a:lnTo>
                  <a:pt x="607" y="1160"/>
                </a:lnTo>
                <a:close/>
                <a:moveTo>
                  <a:pt x="1463" y="2177"/>
                </a:moveTo>
                <a:lnTo>
                  <a:pt x="1461" y="2177"/>
                </a:lnTo>
                <a:lnTo>
                  <a:pt x="1463" y="2177"/>
                </a:lnTo>
                <a:close/>
                <a:moveTo>
                  <a:pt x="1459" y="2179"/>
                </a:moveTo>
                <a:lnTo>
                  <a:pt x="1458" y="2179"/>
                </a:lnTo>
                <a:lnTo>
                  <a:pt x="1459" y="2179"/>
                </a:lnTo>
                <a:lnTo>
                  <a:pt x="1459" y="2181"/>
                </a:lnTo>
                <a:lnTo>
                  <a:pt x="1458" y="2181"/>
                </a:lnTo>
                <a:lnTo>
                  <a:pt x="1459" y="2183"/>
                </a:lnTo>
                <a:lnTo>
                  <a:pt x="1459" y="2185"/>
                </a:lnTo>
                <a:lnTo>
                  <a:pt x="1458" y="2185"/>
                </a:lnTo>
                <a:lnTo>
                  <a:pt x="1458" y="2183"/>
                </a:lnTo>
                <a:lnTo>
                  <a:pt x="1456" y="2183"/>
                </a:lnTo>
                <a:lnTo>
                  <a:pt x="1458" y="2185"/>
                </a:lnTo>
                <a:lnTo>
                  <a:pt x="1456" y="2185"/>
                </a:lnTo>
                <a:lnTo>
                  <a:pt x="1458" y="2185"/>
                </a:lnTo>
                <a:lnTo>
                  <a:pt x="1458" y="2187"/>
                </a:lnTo>
                <a:lnTo>
                  <a:pt x="1459" y="2189"/>
                </a:lnTo>
                <a:lnTo>
                  <a:pt x="1458" y="2189"/>
                </a:lnTo>
                <a:lnTo>
                  <a:pt x="1458" y="2191"/>
                </a:lnTo>
                <a:lnTo>
                  <a:pt x="1456" y="2191"/>
                </a:lnTo>
                <a:lnTo>
                  <a:pt x="1458" y="2191"/>
                </a:lnTo>
                <a:lnTo>
                  <a:pt x="1458" y="2192"/>
                </a:lnTo>
                <a:lnTo>
                  <a:pt x="1456" y="2192"/>
                </a:lnTo>
                <a:lnTo>
                  <a:pt x="1456" y="2191"/>
                </a:lnTo>
                <a:lnTo>
                  <a:pt x="1456" y="2189"/>
                </a:lnTo>
                <a:lnTo>
                  <a:pt x="1454" y="2189"/>
                </a:lnTo>
                <a:lnTo>
                  <a:pt x="1456" y="2189"/>
                </a:lnTo>
                <a:lnTo>
                  <a:pt x="1456" y="2191"/>
                </a:lnTo>
                <a:lnTo>
                  <a:pt x="1454" y="2191"/>
                </a:lnTo>
                <a:lnTo>
                  <a:pt x="1454" y="2192"/>
                </a:lnTo>
                <a:lnTo>
                  <a:pt x="1456" y="2192"/>
                </a:lnTo>
                <a:lnTo>
                  <a:pt x="1454" y="2192"/>
                </a:lnTo>
                <a:lnTo>
                  <a:pt x="1452" y="2192"/>
                </a:lnTo>
                <a:lnTo>
                  <a:pt x="1452" y="2191"/>
                </a:lnTo>
                <a:lnTo>
                  <a:pt x="1452" y="2192"/>
                </a:lnTo>
                <a:lnTo>
                  <a:pt x="1454" y="2192"/>
                </a:lnTo>
                <a:lnTo>
                  <a:pt x="1454" y="2194"/>
                </a:lnTo>
                <a:lnTo>
                  <a:pt x="1452" y="2194"/>
                </a:lnTo>
                <a:lnTo>
                  <a:pt x="1454" y="2194"/>
                </a:lnTo>
                <a:lnTo>
                  <a:pt x="1456" y="2194"/>
                </a:lnTo>
                <a:lnTo>
                  <a:pt x="1454" y="2194"/>
                </a:lnTo>
                <a:lnTo>
                  <a:pt x="1454" y="2196"/>
                </a:lnTo>
                <a:lnTo>
                  <a:pt x="1456" y="2196"/>
                </a:lnTo>
                <a:lnTo>
                  <a:pt x="1456" y="2198"/>
                </a:lnTo>
                <a:lnTo>
                  <a:pt x="1454" y="2198"/>
                </a:lnTo>
                <a:lnTo>
                  <a:pt x="1454" y="2200"/>
                </a:lnTo>
                <a:lnTo>
                  <a:pt x="1452" y="2200"/>
                </a:lnTo>
                <a:lnTo>
                  <a:pt x="1452" y="2202"/>
                </a:lnTo>
                <a:lnTo>
                  <a:pt x="1452" y="2200"/>
                </a:lnTo>
                <a:lnTo>
                  <a:pt x="1450" y="2200"/>
                </a:lnTo>
                <a:lnTo>
                  <a:pt x="1452" y="2202"/>
                </a:lnTo>
                <a:lnTo>
                  <a:pt x="1454" y="2202"/>
                </a:lnTo>
                <a:lnTo>
                  <a:pt x="1454" y="2204"/>
                </a:lnTo>
                <a:lnTo>
                  <a:pt x="1454" y="2202"/>
                </a:lnTo>
                <a:lnTo>
                  <a:pt x="1452" y="2202"/>
                </a:lnTo>
                <a:lnTo>
                  <a:pt x="1452" y="2204"/>
                </a:lnTo>
                <a:lnTo>
                  <a:pt x="1454" y="2204"/>
                </a:lnTo>
                <a:lnTo>
                  <a:pt x="1452" y="2204"/>
                </a:lnTo>
                <a:lnTo>
                  <a:pt x="1452" y="2206"/>
                </a:lnTo>
                <a:lnTo>
                  <a:pt x="1452" y="2208"/>
                </a:lnTo>
                <a:lnTo>
                  <a:pt x="1454" y="2208"/>
                </a:lnTo>
                <a:lnTo>
                  <a:pt x="1452" y="2208"/>
                </a:lnTo>
                <a:lnTo>
                  <a:pt x="1452" y="2210"/>
                </a:lnTo>
                <a:lnTo>
                  <a:pt x="1452" y="2212"/>
                </a:lnTo>
                <a:lnTo>
                  <a:pt x="1450" y="2212"/>
                </a:lnTo>
                <a:lnTo>
                  <a:pt x="1452" y="2212"/>
                </a:lnTo>
                <a:lnTo>
                  <a:pt x="1454" y="2214"/>
                </a:lnTo>
                <a:lnTo>
                  <a:pt x="1454" y="2215"/>
                </a:lnTo>
                <a:lnTo>
                  <a:pt x="1452" y="2215"/>
                </a:lnTo>
                <a:lnTo>
                  <a:pt x="1452" y="2217"/>
                </a:lnTo>
                <a:lnTo>
                  <a:pt x="1452" y="2219"/>
                </a:lnTo>
                <a:lnTo>
                  <a:pt x="1452" y="2217"/>
                </a:lnTo>
                <a:lnTo>
                  <a:pt x="1452" y="2219"/>
                </a:lnTo>
                <a:lnTo>
                  <a:pt x="1452" y="2221"/>
                </a:lnTo>
                <a:lnTo>
                  <a:pt x="1452" y="2219"/>
                </a:lnTo>
                <a:lnTo>
                  <a:pt x="1450" y="2219"/>
                </a:lnTo>
                <a:lnTo>
                  <a:pt x="1450" y="2221"/>
                </a:lnTo>
                <a:lnTo>
                  <a:pt x="1450" y="2219"/>
                </a:lnTo>
                <a:lnTo>
                  <a:pt x="1448" y="2219"/>
                </a:lnTo>
                <a:lnTo>
                  <a:pt x="1450" y="2221"/>
                </a:lnTo>
                <a:lnTo>
                  <a:pt x="1450" y="2223"/>
                </a:lnTo>
                <a:lnTo>
                  <a:pt x="1450" y="2225"/>
                </a:lnTo>
                <a:lnTo>
                  <a:pt x="1448" y="2223"/>
                </a:lnTo>
                <a:lnTo>
                  <a:pt x="1448" y="2225"/>
                </a:lnTo>
                <a:lnTo>
                  <a:pt x="1450" y="2227"/>
                </a:lnTo>
                <a:lnTo>
                  <a:pt x="1448" y="2227"/>
                </a:lnTo>
                <a:lnTo>
                  <a:pt x="1446" y="2227"/>
                </a:lnTo>
                <a:lnTo>
                  <a:pt x="1446" y="2225"/>
                </a:lnTo>
                <a:lnTo>
                  <a:pt x="1444" y="2225"/>
                </a:lnTo>
                <a:lnTo>
                  <a:pt x="1446" y="2225"/>
                </a:lnTo>
                <a:lnTo>
                  <a:pt x="1446" y="2223"/>
                </a:lnTo>
                <a:lnTo>
                  <a:pt x="1444" y="2223"/>
                </a:lnTo>
                <a:lnTo>
                  <a:pt x="1444" y="2221"/>
                </a:lnTo>
                <a:lnTo>
                  <a:pt x="1446" y="2221"/>
                </a:lnTo>
                <a:lnTo>
                  <a:pt x="1444" y="2221"/>
                </a:lnTo>
                <a:lnTo>
                  <a:pt x="1442" y="2221"/>
                </a:lnTo>
                <a:lnTo>
                  <a:pt x="1444" y="2221"/>
                </a:lnTo>
                <a:lnTo>
                  <a:pt x="1442" y="2221"/>
                </a:lnTo>
                <a:lnTo>
                  <a:pt x="1442" y="2219"/>
                </a:lnTo>
                <a:lnTo>
                  <a:pt x="1444" y="2219"/>
                </a:lnTo>
                <a:lnTo>
                  <a:pt x="1444" y="2217"/>
                </a:lnTo>
                <a:lnTo>
                  <a:pt x="1446" y="2217"/>
                </a:lnTo>
                <a:lnTo>
                  <a:pt x="1446" y="2219"/>
                </a:lnTo>
                <a:lnTo>
                  <a:pt x="1446" y="2217"/>
                </a:lnTo>
                <a:lnTo>
                  <a:pt x="1448" y="2217"/>
                </a:lnTo>
                <a:lnTo>
                  <a:pt x="1446" y="2217"/>
                </a:lnTo>
                <a:lnTo>
                  <a:pt x="1444" y="2217"/>
                </a:lnTo>
                <a:lnTo>
                  <a:pt x="1446" y="2215"/>
                </a:lnTo>
                <a:lnTo>
                  <a:pt x="1444" y="2214"/>
                </a:lnTo>
                <a:lnTo>
                  <a:pt x="1444" y="2215"/>
                </a:lnTo>
                <a:lnTo>
                  <a:pt x="1446" y="2215"/>
                </a:lnTo>
                <a:lnTo>
                  <a:pt x="1446" y="2214"/>
                </a:lnTo>
                <a:lnTo>
                  <a:pt x="1444" y="2214"/>
                </a:lnTo>
                <a:lnTo>
                  <a:pt x="1444" y="2212"/>
                </a:lnTo>
                <a:lnTo>
                  <a:pt x="1444" y="2210"/>
                </a:lnTo>
                <a:lnTo>
                  <a:pt x="1446" y="2210"/>
                </a:lnTo>
                <a:lnTo>
                  <a:pt x="1448" y="2210"/>
                </a:lnTo>
                <a:lnTo>
                  <a:pt x="1448" y="2208"/>
                </a:lnTo>
                <a:lnTo>
                  <a:pt x="1448" y="2210"/>
                </a:lnTo>
                <a:lnTo>
                  <a:pt x="1448" y="2208"/>
                </a:lnTo>
                <a:lnTo>
                  <a:pt x="1446" y="2208"/>
                </a:lnTo>
                <a:lnTo>
                  <a:pt x="1444" y="2208"/>
                </a:lnTo>
                <a:lnTo>
                  <a:pt x="1444" y="2206"/>
                </a:lnTo>
                <a:lnTo>
                  <a:pt x="1446" y="2206"/>
                </a:lnTo>
                <a:lnTo>
                  <a:pt x="1446" y="2204"/>
                </a:lnTo>
                <a:lnTo>
                  <a:pt x="1444" y="2204"/>
                </a:lnTo>
                <a:lnTo>
                  <a:pt x="1446" y="2204"/>
                </a:lnTo>
                <a:lnTo>
                  <a:pt x="1444" y="2204"/>
                </a:lnTo>
                <a:lnTo>
                  <a:pt x="1446" y="2204"/>
                </a:lnTo>
                <a:lnTo>
                  <a:pt x="1448" y="2204"/>
                </a:lnTo>
                <a:lnTo>
                  <a:pt x="1446" y="2204"/>
                </a:lnTo>
                <a:lnTo>
                  <a:pt x="1446" y="2202"/>
                </a:lnTo>
                <a:lnTo>
                  <a:pt x="1444" y="2202"/>
                </a:lnTo>
                <a:lnTo>
                  <a:pt x="1446" y="2202"/>
                </a:lnTo>
                <a:lnTo>
                  <a:pt x="1444" y="2200"/>
                </a:lnTo>
                <a:lnTo>
                  <a:pt x="1446" y="2200"/>
                </a:lnTo>
                <a:lnTo>
                  <a:pt x="1446" y="2202"/>
                </a:lnTo>
                <a:lnTo>
                  <a:pt x="1446" y="2200"/>
                </a:lnTo>
                <a:lnTo>
                  <a:pt x="1448" y="2200"/>
                </a:lnTo>
                <a:lnTo>
                  <a:pt x="1448" y="2202"/>
                </a:lnTo>
                <a:lnTo>
                  <a:pt x="1448" y="2200"/>
                </a:lnTo>
                <a:lnTo>
                  <a:pt x="1446" y="2200"/>
                </a:lnTo>
                <a:lnTo>
                  <a:pt x="1444" y="2200"/>
                </a:lnTo>
                <a:lnTo>
                  <a:pt x="1444" y="2198"/>
                </a:lnTo>
                <a:lnTo>
                  <a:pt x="1444" y="2196"/>
                </a:lnTo>
                <a:lnTo>
                  <a:pt x="1444" y="2198"/>
                </a:lnTo>
                <a:lnTo>
                  <a:pt x="1446" y="2198"/>
                </a:lnTo>
                <a:lnTo>
                  <a:pt x="1448" y="2198"/>
                </a:lnTo>
                <a:lnTo>
                  <a:pt x="1446" y="2198"/>
                </a:lnTo>
                <a:lnTo>
                  <a:pt x="1446" y="2196"/>
                </a:lnTo>
                <a:lnTo>
                  <a:pt x="1444" y="2196"/>
                </a:lnTo>
                <a:lnTo>
                  <a:pt x="1444" y="2194"/>
                </a:lnTo>
                <a:lnTo>
                  <a:pt x="1446" y="2194"/>
                </a:lnTo>
                <a:lnTo>
                  <a:pt x="1444" y="2194"/>
                </a:lnTo>
                <a:lnTo>
                  <a:pt x="1446" y="2194"/>
                </a:lnTo>
                <a:lnTo>
                  <a:pt x="1446" y="2192"/>
                </a:lnTo>
                <a:lnTo>
                  <a:pt x="1444" y="2192"/>
                </a:lnTo>
                <a:lnTo>
                  <a:pt x="1446" y="2192"/>
                </a:lnTo>
                <a:lnTo>
                  <a:pt x="1446" y="2191"/>
                </a:lnTo>
                <a:lnTo>
                  <a:pt x="1448" y="2191"/>
                </a:lnTo>
                <a:lnTo>
                  <a:pt x="1448" y="2189"/>
                </a:lnTo>
                <a:lnTo>
                  <a:pt x="1446" y="2189"/>
                </a:lnTo>
                <a:lnTo>
                  <a:pt x="1446" y="2187"/>
                </a:lnTo>
                <a:lnTo>
                  <a:pt x="1448" y="2187"/>
                </a:lnTo>
                <a:lnTo>
                  <a:pt x="1446" y="2187"/>
                </a:lnTo>
                <a:lnTo>
                  <a:pt x="1448" y="2187"/>
                </a:lnTo>
                <a:lnTo>
                  <a:pt x="1448" y="2189"/>
                </a:lnTo>
                <a:lnTo>
                  <a:pt x="1450" y="2189"/>
                </a:lnTo>
                <a:lnTo>
                  <a:pt x="1450" y="2187"/>
                </a:lnTo>
                <a:lnTo>
                  <a:pt x="1448" y="2187"/>
                </a:lnTo>
                <a:lnTo>
                  <a:pt x="1448" y="2185"/>
                </a:lnTo>
                <a:lnTo>
                  <a:pt x="1448" y="2183"/>
                </a:lnTo>
                <a:lnTo>
                  <a:pt x="1450" y="2183"/>
                </a:lnTo>
                <a:lnTo>
                  <a:pt x="1450" y="2185"/>
                </a:lnTo>
                <a:lnTo>
                  <a:pt x="1452" y="2185"/>
                </a:lnTo>
                <a:lnTo>
                  <a:pt x="1452" y="2187"/>
                </a:lnTo>
                <a:lnTo>
                  <a:pt x="1454" y="2187"/>
                </a:lnTo>
                <a:lnTo>
                  <a:pt x="1452" y="2185"/>
                </a:lnTo>
                <a:lnTo>
                  <a:pt x="1454" y="2185"/>
                </a:lnTo>
                <a:lnTo>
                  <a:pt x="1454" y="2183"/>
                </a:lnTo>
                <a:lnTo>
                  <a:pt x="1452" y="2183"/>
                </a:lnTo>
                <a:lnTo>
                  <a:pt x="1450" y="2183"/>
                </a:lnTo>
                <a:lnTo>
                  <a:pt x="1450" y="2181"/>
                </a:lnTo>
                <a:lnTo>
                  <a:pt x="1450" y="2183"/>
                </a:lnTo>
                <a:lnTo>
                  <a:pt x="1452" y="2183"/>
                </a:lnTo>
                <a:lnTo>
                  <a:pt x="1452" y="2181"/>
                </a:lnTo>
                <a:lnTo>
                  <a:pt x="1452" y="2179"/>
                </a:lnTo>
                <a:lnTo>
                  <a:pt x="1452" y="2181"/>
                </a:lnTo>
                <a:lnTo>
                  <a:pt x="1454" y="2181"/>
                </a:lnTo>
                <a:lnTo>
                  <a:pt x="1454" y="2179"/>
                </a:lnTo>
                <a:lnTo>
                  <a:pt x="1452" y="2179"/>
                </a:lnTo>
                <a:lnTo>
                  <a:pt x="1452" y="2177"/>
                </a:lnTo>
                <a:lnTo>
                  <a:pt x="1454" y="2177"/>
                </a:lnTo>
                <a:lnTo>
                  <a:pt x="1454" y="2179"/>
                </a:lnTo>
                <a:lnTo>
                  <a:pt x="1456" y="2179"/>
                </a:lnTo>
                <a:lnTo>
                  <a:pt x="1458" y="2179"/>
                </a:lnTo>
                <a:lnTo>
                  <a:pt x="1456" y="2179"/>
                </a:lnTo>
                <a:lnTo>
                  <a:pt x="1456" y="2177"/>
                </a:lnTo>
                <a:lnTo>
                  <a:pt x="1456" y="2175"/>
                </a:lnTo>
                <a:lnTo>
                  <a:pt x="1458" y="2175"/>
                </a:lnTo>
                <a:lnTo>
                  <a:pt x="1459" y="2175"/>
                </a:lnTo>
                <a:lnTo>
                  <a:pt x="1461" y="2175"/>
                </a:lnTo>
                <a:lnTo>
                  <a:pt x="1461" y="2177"/>
                </a:lnTo>
                <a:lnTo>
                  <a:pt x="1461" y="2179"/>
                </a:lnTo>
                <a:lnTo>
                  <a:pt x="1459" y="2179"/>
                </a:lnTo>
                <a:close/>
                <a:moveTo>
                  <a:pt x="1465" y="2179"/>
                </a:moveTo>
                <a:lnTo>
                  <a:pt x="1465" y="2181"/>
                </a:lnTo>
                <a:lnTo>
                  <a:pt x="1465" y="2179"/>
                </a:lnTo>
                <a:lnTo>
                  <a:pt x="1463" y="2179"/>
                </a:lnTo>
                <a:lnTo>
                  <a:pt x="1465" y="2179"/>
                </a:lnTo>
                <a:lnTo>
                  <a:pt x="1463" y="2179"/>
                </a:lnTo>
                <a:lnTo>
                  <a:pt x="1463" y="2177"/>
                </a:lnTo>
                <a:lnTo>
                  <a:pt x="1465" y="2177"/>
                </a:lnTo>
                <a:lnTo>
                  <a:pt x="1465" y="2179"/>
                </a:lnTo>
                <a:close/>
                <a:moveTo>
                  <a:pt x="1525" y="2223"/>
                </a:moveTo>
                <a:lnTo>
                  <a:pt x="1525" y="2225"/>
                </a:lnTo>
                <a:lnTo>
                  <a:pt x="1525" y="2223"/>
                </a:lnTo>
                <a:close/>
                <a:moveTo>
                  <a:pt x="1465" y="2179"/>
                </a:moveTo>
                <a:lnTo>
                  <a:pt x="1467" y="2179"/>
                </a:lnTo>
                <a:lnTo>
                  <a:pt x="1465" y="2179"/>
                </a:lnTo>
                <a:close/>
                <a:moveTo>
                  <a:pt x="1459" y="2175"/>
                </a:moveTo>
                <a:lnTo>
                  <a:pt x="1459" y="2173"/>
                </a:lnTo>
                <a:lnTo>
                  <a:pt x="1459" y="2175"/>
                </a:lnTo>
                <a:close/>
                <a:moveTo>
                  <a:pt x="1461" y="2175"/>
                </a:moveTo>
                <a:lnTo>
                  <a:pt x="1459" y="2175"/>
                </a:lnTo>
                <a:lnTo>
                  <a:pt x="1461" y="2175"/>
                </a:lnTo>
                <a:close/>
                <a:moveTo>
                  <a:pt x="1517" y="2215"/>
                </a:moveTo>
                <a:lnTo>
                  <a:pt x="1517" y="2217"/>
                </a:lnTo>
                <a:lnTo>
                  <a:pt x="1517" y="2215"/>
                </a:lnTo>
                <a:close/>
                <a:moveTo>
                  <a:pt x="1521" y="2217"/>
                </a:moveTo>
                <a:lnTo>
                  <a:pt x="1521" y="2219"/>
                </a:lnTo>
                <a:lnTo>
                  <a:pt x="1521" y="2221"/>
                </a:lnTo>
                <a:lnTo>
                  <a:pt x="1523" y="2221"/>
                </a:lnTo>
                <a:lnTo>
                  <a:pt x="1523" y="2223"/>
                </a:lnTo>
                <a:lnTo>
                  <a:pt x="1523" y="2225"/>
                </a:lnTo>
                <a:lnTo>
                  <a:pt x="1523" y="2223"/>
                </a:lnTo>
                <a:lnTo>
                  <a:pt x="1523" y="2225"/>
                </a:lnTo>
                <a:lnTo>
                  <a:pt x="1523" y="2227"/>
                </a:lnTo>
                <a:lnTo>
                  <a:pt x="1525" y="2227"/>
                </a:lnTo>
                <a:lnTo>
                  <a:pt x="1525" y="2229"/>
                </a:lnTo>
                <a:lnTo>
                  <a:pt x="1523" y="2229"/>
                </a:lnTo>
                <a:lnTo>
                  <a:pt x="1523" y="2231"/>
                </a:lnTo>
                <a:lnTo>
                  <a:pt x="1523" y="2233"/>
                </a:lnTo>
                <a:lnTo>
                  <a:pt x="1523" y="2235"/>
                </a:lnTo>
                <a:lnTo>
                  <a:pt x="1521" y="2235"/>
                </a:lnTo>
                <a:lnTo>
                  <a:pt x="1519" y="2235"/>
                </a:lnTo>
                <a:lnTo>
                  <a:pt x="1521" y="2235"/>
                </a:lnTo>
                <a:lnTo>
                  <a:pt x="1521" y="2237"/>
                </a:lnTo>
                <a:lnTo>
                  <a:pt x="1519" y="2237"/>
                </a:lnTo>
                <a:lnTo>
                  <a:pt x="1519" y="2239"/>
                </a:lnTo>
                <a:lnTo>
                  <a:pt x="1517" y="2240"/>
                </a:lnTo>
                <a:lnTo>
                  <a:pt x="1515" y="2240"/>
                </a:lnTo>
                <a:lnTo>
                  <a:pt x="1513" y="2240"/>
                </a:lnTo>
                <a:lnTo>
                  <a:pt x="1513" y="2239"/>
                </a:lnTo>
                <a:lnTo>
                  <a:pt x="1511" y="2239"/>
                </a:lnTo>
                <a:lnTo>
                  <a:pt x="1511" y="2237"/>
                </a:lnTo>
                <a:lnTo>
                  <a:pt x="1511" y="2235"/>
                </a:lnTo>
                <a:lnTo>
                  <a:pt x="1511" y="2233"/>
                </a:lnTo>
                <a:lnTo>
                  <a:pt x="1513" y="2233"/>
                </a:lnTo>
                <a:lnTo>
                  <a:pt x="1513" y="2231"/>
                </a:lnTo>
                <a:lnTo>
                  <a:pt x="1511" y="2231"/>
                </a:lnTo>
                <a:lnTo>
                  <a:pt x="1511" y="2233"/>
                </a:lnTo>
                <a:lnTo>
                  <a:pt x="1511" y="2235"/>
                </a:lnTo>
                <a:lnTo>
                  <a:pt x="1509" y="2235"/>
                </a:lnTo>
                <a:lnTo>
                  <a:pt x="1509" y="2237"/>
                </a:lnTo>
                <a:lnTo>
                  <a:pt x="1508" y="2237"/>
                </a:lnTo>
                <a:lnTo>
                  <a:pt x="1508" y="2235"/>
                </a:lnTo>
                <a:lnTo>
                  <a:pt x="1506" y="2235"/>
                </a:lnTo>
                <a:lnTo>
                  <a:pt x="1508" y="2235"/>
                </a:lnTo>
                <a:lnTo>
                  <a:pt x="1508" y="2237"/>
                </a:lnTo>
                <a:lnTo>
                  <a:pt x="1506" y="2237"/>
                </a:lnTo>
                <a:lnTo>
                  <a:pt x="1506" y="2235"/>
                </a:lnTo>
                <a:lnTo>
                  <a:pt x="1508" y="2235"/>
                </a:lnTo>
                <a:lnTo>
                  <a:pt x="1506" y="2235"/>
                </a:lnTo>
                <a:lnTo>
                  <a:pt x="1506" y="2233"/>
                </a:lnTo>
                <a:lnTo>
                  <a:pt x="1508" y="2233"/>
                </a:lnTo>
                <a:lnTo>
                  <a:pt x="1506" y="2233"/>
                </a:lnTo>
                <a:lnTo>
                  <a:pt x="1508" y="2233"/>
                </a:lnTo>
                <a:lnTo>
                  <a:pt x="1506" y="2233"/>
                </a:lnTo>
                <a:lnTo>
                  <a:pt x="1508" y="2233"/>
                </a:lnTo>
                <a:lnTo>
                  <a:pt x="1508" y="2231"/>
                </a:lnTo>
                <a:lnTo>
                  <a:pt x="1508" y="2233"/>
                </a:lnTo>
                <a:lnTo>
                  <a:pt x="1509" y="2233"/>
                </a:lnTo>
                <a:lnTo>
                  <a:pt x="1508" y="2233"/>
                </a:lnTo>
                <a:lnTo>
                  <a:pt x="1509" y="2233"/>
                </a:lnTo>
                <a:lnTo>
                  <a:pt x="1509" y="2231"/>
                </a:lnTo>
                <a:lnTo>
                  <a:pt x="1509" y="2233"/>
                </a:lnTo>
                <a:lnTo>
                  <a:pt x="1509" y="2231"/>
                </a:lnTo>
                <a:lnTo>
                  <a:pt x="1511" y="2231"/>
                </a:lnTo>
                <a:lnTo>
                  <a:pt x="1511" y="2229"/>
                </a:lnTo>
                <a:lnTo>
                  <a:pt x="1513" y="2229"/>
                </a:lnTo>
                <a:lnTo>
                  <a:pt x="1513" y="2227"/>
                </a:lnTo>
                <a:lnTo>
                  <a:pt x="1513" y="2229"/>
                </a:lnTo>
                <a:lnTo>
                  <a:pt x="1515" y="2229"/>
                </a:lnTo>
                <a:lnTo>
                  <a:pt x="1515" y="2227"/>
                </a:lnTo>
                <a:lnTo>
                  <a:pt x="1515" y="2225"/>
                </a:lnTo>
                <a:lnTo>
                  <a:pt x="1515" y="2223"/>
                </a:lnTo>
                <a:lnTo>
                  <a:pt x="1517" y="2223"/>
                </a:lnTo>
                <a:lnTo>
                  <a:pt x="1517" y="2221"/>
                </a:lnTo>
                <a:lnTo>
                  <a:pt x="1517" y="2219"/>
                </a:lnTo>
                <a:lnTo>
                  <a:pt x="1519" y="2219"/>
                </a:lnTo>
                <a:lnTo>
                  <a:pt x="1519" y="2217"/>
                </a:lnTo>
                <a:lnTo>
                  <a:pt x="1519" y="2219"/>
                </a:lnTo>
                <a:lnTo>
                  <a:pt x="1521" y="2219"/>
                </a:lnTo>
                <a:lnTo>
                  <a:pt x="1521" y="2221"/>
                </a:lnTo>
                <a:lnTo>
                  <a:pt x="1521" y="2223"/>
                </a:lnTo>
                <a:lnTo>
                  <a:pt x="1521" y="2221"/>
                </a:lnTo>
                <a:lnTo>
                  <a:pt x="1521" y="2219"/>
                </a:lnTo>
                <a:lnTo>
                  <a:pt x="1521" y="2217"/>
                </a:lnTo>
                <a:close/>
                <a:moveTo>
                  <a:pt x="1483" y="2191"/>
                </a:moveTo>
                <a:lnTo>
                  <a:pt x="1481" y="2191"/>
                </a:lnTo>
                <a:lnTo>
                  <a:pt x="1481" y="2189"/>
                </a:lnTo>
                <a:lnTo>
                  <a:pt x="1483" y="2189"/>
                </a:lnTo>
                <a:lnTo>
                  <a:pt x="1483" y="2191"/>
                </a:lnTo>
                <a:close/>
                <a:moveTo>
                  <a:pt x="655" y="1244"/>
                </a:moveTo>
                <a:lnTo>
                  <a:pt x="655" y="1246"/>
                </a:lnTo>
                <a:lnTo>
                  <a:pt x="653" y="1244"/>
                </a:lnTo>
                <a:lnTo>
                  <a:pt x="655" y="1244"/>
                </a:lnTo>
                <a:close/>
                <a:moveTo>
                  <a:pt x="645" y="1229"/>
                </a:moveTo>
                <a:lnTo>
                  <a:pt x="643" y="1229"/>
                </a:lnTo>
                <a:lnTo>
                  <a:pt x="643" y="1231"/>
                </a:lnTo>
                <a:lnTo>
                  <a:pt x="641" y="1231"/>
                </a:lnTo>
                <a:lnTo>
                  <a:pt x="641" y="1229"/>
                </a:lnTo>
                <a:lnTo>
                  <a:pt x="640" y="1229"/>
                </a:lnTo>
                <a:lnTo>
                  <a:pt x="640" y="1231"/>
                </a:lnTo>
                <a:lnTo>
                  <a:pt x="638" y="1231"/>
                </a:lnTo>
                <a:lnTo>
                  <a:pt x="636" y="1231"/>
                </a:lnTo>
                <a:lnTo>
                  <a:pt x="636" y="1233"/>
                </a:lnTo>
                <a:lnTo>
                  <a:pt x="634" y="1233"/>
                </a:lnTo>
                <a:lnTo>
                  <a:pt x="636" y="1233"/>
                </a:lnTo>
                <a:lnTo>
                  <a:pt x="634" y="1233"/>
                </a:lnTo>
                <a:lnTo>
                  <a:pt x="634" y="1234"/>
                </a:lnTo>
                <a:lnTo>
                  <a:pt x="636" y="1234"/>
                </a:lnTo>
                <a:lnTo>
                  <a:pt x="636" y="1233"/>
                </a:lnTo>
                <a:lnTo>
                  <a:pt x="638" y="1233"/>
                </a:lnTo>
                <a:lnTo>
                  <a:pt x="638" y="1234"/>
                </a:lnTo>
                <a:lnTo>
                  <a:pt x="640" y="1234"/>
                </a:lnTo>
                <a:lnTo>
                  <a:pt x="638" y="1234"/>
                </a:lnTo>
                <a:lnTo>
                  <a:pt x="636" y="1234"/>
                </a:lnTo>
                <a:lnTo>
                  <a:pt x="636" y="1236"/>
                </a:lnTo>
                <a:lnTo>
                  <a:pt x="634" y="1236"/>
                </a:lnTo>
                <a:lnTo>
                  <a:pt x="634" y="1234"/>
                </a:lnTo>
                <a:lnTo>
                  <a:pt x="636" y="1234"/>
                </a:lnTo>
                <a:lnTo>
                  <a:pt x="634" y="1234"/>
                </a:lnTo>
                <a:lnTo>
                  <a:pt x="634" y="1236"/>
                </a:lnTo>
                <a:lnTo>
                  <a:pt x="632" y="1236"/>
                </a:lnTo>
                <a:lnTo>
                  <a:pt x="632" y="1234"/>
                </a:lnTo>
                <a:lnTo>
                  <a:pt x="632" y="1233"/>
                </a:lnTo>
                <a:lnTo>
                  <a:pt x="632" y="1231"/>
                </a:lnTo>
                <a:lnTo>
                  <a:pt x="632" y="1233"/>
                </a:lnTo>
                <a:lnTo>
                  <a:pt x="630" y="1233"/>
                </a:lnTo>
                <a:lnTo>
                  <a:pt x="630" y="1231"/>
                </a:lnTo>
                <a:lnTo>
                  <a:pt x="628" y="1231"/>
                </a:lnTo>
                <a:lnTo>
                  <a:pt x="628" y="1233"/>
                </a:lnTo>
                <a:lnTo>
                  <a:pt x="630" y="1233"/>
                </a:lnTo>
                <a:lnTo>
                  <a:pt x="628" y="1233"/>
                </a:lnTo>
                <a:lnTo>
                  <a:pt x="628" y="1234"/>
                </a:lnTo>
                <a:lnTo>
                  <a:pt x="628" y="1233"/>
                </a:lnTo>
                <a:lnTo>
                  <a:pt x="628" y="1231"/>
                </a:lnTo>
                <a:lnTo>
                  <a:pt x="626" y="1231"/>
                </a:lnTo>
                <a:lnTo>
                  <a:pt x="626" y="1233"/>
                </a:lnTo>
                <a:lnTo>
                  <a:pt x="624" y="1233"/>
                </a:lnTo>
                <a:lnTo>
                  <a:pt x="622" y="1233"/>
                </a:lnTo>
                <a:lnTo>
                  <a:pt x="622" y="1231"/>
                </a:lnTo>
                <a:lnTo>
                  <a:pt x="620" y="1231"/>
                </a:lnTo>
                <a:lnTo>
                  <a:pt x="618" y="1231"/>
                </a:lnTo>
                <a:lnTo>
                  <a:pt x="618" y="1229"/>
                </a:lnTo>
                <a:lnTo>
                  <a:pt x="618" y="1231"/>
                </a:lnTo>
                <a:lnTo>
                  <a:pt x="616" y="1231"/>
                </a:lnTo>
                <a:lnTo>
                  <a:pt x="615" y="1231"/>
                </a:lnTo>
                <a:lnTo>
                  <a:pt x="615" y="1229"/>
                </a:lnTo>
                <a:lnTo>
                  <a:pt x="613" y="1229"/>
                </a:lnTo>
                <a:lnTo>
                  <a:pt x="611" y="1229"/>
                </a:lnTo>
                <a:lnTo>
                  <a:pt x="611" y="1231"/>
                </a:lnTo>
                <a:lnTo>
                  <a:pt x="609" y="1229"/>
                </a:lnTo>
                <a:lnTo>
                  <a:pt x="609" y="1231"/>
                </a:lnTo>
                <a:lnTo>
                  <a:pt x="607" y="1231"/>
                </a:lnTo>
                <a:lnTo>
                  <a:pt x="607" y="1229"/>
                </a:lnTo>
                <a:lnTo>
                  <a:pt x="609" y="1229"/>
                </a:lnTo>
                <a:lnTo>
                  <a:pt x="609" y="1227"/>
                </a:lnTo>
                <a:lnTo>
                  <a:pt x="611" y="1227"/>
                </a:lnTo>
                <a:lnTo>
                  <a:pt x="611" y="1225"/>
                </a:lnTo>
                <a:lnTo>
                  <a:pt x="611" y="1227"/>
                </a:lnTo>
                <a:lnTo>
                  <a:pt x="613" y="1227"/>
                </a:lnTo>
                <a:lnTo>
                  <a:pt x="613" y="1229"/>
                </a:lnTo>
                <a:lnTo>
                  <a:pt x="615" y="1229"/>
                </a:lnTo>
                <a:lnTo>
                  <a:pt x="615" y="1227"/>
                </a:lnTo>
                <a:lnTo>
                  <a:pt x="616" y="1229"/>
                </a:lnTo>
                <a:lnTo>
                  <a:pt x="618" y="1229"/>
                </a:lnTo>
                <a:lnTo>
                  <a:pt x="620" y="1229"/>
                </a:lnTo>
                <a:lnTo>
                  <a:pt x="622" y="1229"/>
                </a:lnTo>
                <a:lnTo>
                  <a:pt x="624" y="1229"/>
                </a:lnTo>
                <a:lnTo>
                  <a:pt x="622" y="1227"/>
                </a:lnTo>
                <a:lnTo>
                  <a:pt x="622" y="1225"/>
                </a:lnTo>
                <a:lnTo>
                  <a:pt x="624" y="1225"/>
                </a:lnTo>
                <a:lnTo>
                  <a:pt x="624" y="1227"/>
                </a:lnTo>
                <a:lnTo>
                  <a:pt x="624" y="1225"/>
                </a:lnTo>
                <a:lnTo>
                  <a:pt x="626" y="1225"/>
                </a:lnTo>
                <a:lnTo>
                  <a:pt x="624" y="1225"/>
                </a:lnTo>
                <a:lnTo>
                  <a:pt x="624" y="1223"/>
                </a:lnTo>
                <a:lnTo>
                  <a:pt x="624" y="1221"/>
                </a:lnTo>
                <a:lnTo>
                  <a:pt x="626" y="1221"/>
                </a:lnTo>
                <a:lnTo>
                  <a:pt x="626" y="1223"/>
                </a:lnTo>
                <a:lnTo>
                  <a:pt x="626" y="1225"/>
                </a:lnTo>
                <a:lnTo>
                  <a:pt x="626" y="1227"/>
                </a:lnTo>
                <a:lnTo>
                  <a:pt x="626" y="1225"/>
                </a:lnTo>
                <a:lnTo>
                  <a:pt x="626" y="1227"/>
                </a:lnTo>
                <a:lnTo>
                  <a:pt x="626" y="1229"/>
                </a:lnTo>
                <a:lnTo>
                  <a:pt x="628" y="1229"/>
                </a:lnTo>
                <a:lnTo>
                  <a:pt x="628" y="1227"/>
                </a:lnTo>
                <a:lnTo>
                  <a:pt x="628" y="1225"/>
                </a:lnTo>
                <a:lnTo>
                  <a:pt x="628" y="1223"/>
                </a:lnTo>
                <a:lnTo>
                  <a:pt x="630" y="1223"/>
                </a:lnTo>
                <a:lnTo>
                  <a:pt x="630" y="1225"/>
                </a:lnTo>
                <a:lnTo>
                  <a:pt x="630" y="1227"/>
                </a:lnTo>
                <a:lnTo>
                  <a:pt x="628" y="1227"/>
                </a:lnTo>
                <a:lnTo>
                  <a:pt x="630" y="1227"/>
                </a:lnTo>
                <a:lnTo>
                  <a:pt x="630" y="1229"/>
                </a:lnTo>
                <a:lnTo>
                  <a:pt x="628" y="1229"/>
                </a:lnTo>
                <a:lnTo>
                  <a:pt x="630" y="1229"/>
                </a:lnTo>
                <a:lnTo>
                  <a:pt x="632" y="1229"/>
                </a:lnTo>
                <a:lnTo>
                  <a:pt x="632" y="1227"/>
                </a:lnTo>
                <a:lnTo>
                  <a:pt x="634" y="1227"/>
                </a:lnTo>
                <a:lnTo>
                  <a:pt x="634" y="1225"/>
                </a:lnTo>
                <a:lnTo>
                  <a:pt x="634" y="1227"/>
                </a:lnTo>
                <a:lnTo>
                  <a:pt x="634" y="1225"/>
                </a:lnTo>
                <a:lnTo>
                  <a:pt x="634" y="1223"/>
                </a:lnTo>
                <a:lnTo>
                  <a:pt x="636" y="1223"/>
                </a:lnTo>
                <a:lnTo>
                  <a:pt x="636" y="1225"/>
                </a:lnTo>
                <a:lnTo>
                  <a:pt x="636" y="1227"/>
                </a:lnTo>
                <a:lnTo>
                  <a:pt x="636" y="1229"/>
                </a:lnTo>
                <a:lnTo>
                  <a:pt x="634" y="1229"/>
                </a:lnTo>
                <a:lnTo>
                  <a:pt x="636" y="1229"/>
                </a:lnTo>
                <a:lnTo>
                  <a:pt x="638" y="1229"/>
                </a:lnTo>
                <a:lnTo>
                  <a:pt x="638" y="1227"/>
                </a:lnTo>
                <a:lnTo>
                  <a:pt x="638" y="1229"/>
                </a:lnTo>
                <a:lnTo>
                  <a:pt x="640" y="1229"/>
                </a:lnTo>
                <a:lnTo>
                  <a:pt x="640" y="1227"/>
                </a:lnTo>
                <a:lnTo>
                  <a:pt x="641" y="1227"/>
                </a:lnTo>
                <a:lnTo>
                  <a:pt x="643" y="1227"/>
                </a:lnTo>
                <a:lnTo>
                  <a:pt x="645" y="1227"/>
                </a:lnTo>
                <a:lnTo>
                  <a:pt x="645" y="1229"/>
                </a:lnTo>
                <a:close/>
                <a:moveTo>
                  <a:pt x="1502" y="2204"/>
                </a:moveTo>
                <a:lnTo>
                  <a:pt x="1502" y="2202"/>
                </a:lnTo>
                <a:lnTo>
                  <a:pt x="1502" y="2204"/>
                </a:lnTo>
                <a:close/>
                <a:moveTo>
                  <a:pt x="1542" y="2231"/>
                </a:moveTo>
                <a:lnTo>
                  <a:pt x="1542" y="2233"/>
                </a:lnTo>
                <a:lnTo>
                  <a:pt x="1542" y="2231"/>
                </a:lnTo>
                <a:close/>
                <a:moveTo>
                  <a:pt x="578" y="1100"/>
                </a:moveTo>
                <a:lnTo>
                  <a:pt x="580" y="1100"/>
                </a:lnTo>
                <a:lnTo>
                  <a:pt x="582" y="1100"/>
                </a:lnTo>
                <a:lnTo>
                  <a:pt x="580" y="1100"/>
                </a:lnTo>
                <a:lnTo>
                  <a:pt x="578" y="1100"/>
                </a:lnTo>
                <a:close/>
                <a:moveTo>
                  <a:pt x="1521" y="2212"/>
                </a:moveTo>
                <a:lnTo>
                  <a:pt x="1521" y="2214"/>
                </a:lnTo>
                <a:lnTo>
                  <a:pt x="1521" y="2215"/>
                </a:lnTo>
                <a:lnTo>
                  <a:pt x="1521" y="2214"/>
                </a:lnTo>
                <a:lnTo>
                  <a:pt x="1519" y="2214"/>
                </a:lnTo>
                <a:lnTo>
                  <a:pt x="1519" y="2212"/>
                </a:lnTo>
                <a:lnTo>
                  <a:pt x="1521" y="2212"/>
                </a:lnTo>
                <a:close/>
                <a:moveTo>
                  <a:pt x="645" y="1217"/>
                </a:moveTo>
                <a:lnTo>
                  <a:pt x="645" y="1219"/>
                </a:lnTo>
                <a:lnTo>
                  <a:pt x="645" y="1221"/>
                </a:lnTo>
                <a:lnTo>
                  <a:pt x="643" y="1221"/>
                </a:lnTo>
                <a:lnTo>
                  <a:pt x="643" y="1219"/>
                </a:lnTo>
                <a:lnTo>
                  <a:pt x="643" y="1221"/>
                </a:lnTo>
                <a:lnTo>
                  <a:pt x="643" y="1219"/>
                </a:lnTo>
                <a:lnTo>
                  <a:pt x="641" y="1219"/>
                </a:lnTo>
                <a:lnTo>
                  <a:pt x="643" y="1219"/>
                </a:lnTo>
                <a:lnTo>
                  <a:pt x="641" y="1217"/>
                </a:lnTo>
                <a:lnTo>
                  <a:pt x="643" y="1217"/>
                </a:lnTo>
                <a:lnTo>
                  <a:pt x="643" y="1215"/>
                </a:lnTo>
                <a:lnTo>
                  <a:pt x="643" y="1217"/>
                </a:lnTo>
                <a:lnTo>
                  <a:pt x="645" y="1217"/>
                </a:lnTo>
                <a:close/>
                <a:moveTo>
                  <a:pt x="1458" y="2164"/>
                </a:moveTo>
                <a:lnTo>
                  <a:pt x="1458" y="2166"/>
                </a:lnTo>
                <a:lnTo>
                  <a:pt x="1458" y="2168"/>
                </a:lnTo>
                <a:lnTo>
                  <a:pt x="1456" y="2168"/>
                </a:lnTo>
                <a:lnTo>
                  <a:pt x="1454" y="2168"/>
                </a:lnTo>
                <a:lnTo>
                  <a:pt x="1454" y="2169"/>
                </a:lnTo>
                <a:lnTo>
                  <a:pt x="1456" y="2169"/>
                </a:lnTo>
                <a:lnTo>
                  <a:pt x="1456" y="2171"/>
                </a:lnTo>
                <a:lnTo>
                  <a:pt x="1456" y="2169"/>
                </a:lnTo>
                <a:lnTo>
                  <a:pt x="1458" y="2169"/>
                </a:lnTo>
                <a:lnTo>
                  <a:pt x="1458" y="2171"/>
                </a:lnTo>
                <a:lnTo>
                  <a:pt x="1458" y="2173"/>
                </a:lnTo>
                <a:lnTo>
                  <a:pt x="1456" y="2173"/>
                </a:lnTo>
                <a:lnTo>
                  <a:pt x="1456" y="2175"/>
                </a:lnTo>
                <a:lnTo>
                  <a:pt x="1454" y="2175"/>
                </a:lnTo>
                <a:lnTo>
                  <a:pt x="1452" y="2175"/>
                </a:lnTo>
                <a:lnTo>
                  <a:pt x="1452" y="2173"/>
                </a:lnTo>
                <a:lnTo>
                  <a:pt x="1450" y="2173"/>
                </a:lnTo>
                <a:lnTo>
                  <a:pt x="1450" y="2171"/>
                </a:lnTo>
                <a:lnTo>
                  <a:pt x="1448" y="2171"/>
                </a:lnTo>
                <a:lnTo>
                  <a:pt x="1446" y="2171"/>
                </a:lnTo>
                <a:lnTo>
                  <a:pt x="1446" y="2169"/>
                </a:lnTo>
                <a:lnTo>
                  <a:pt x="1446" y="2168"/>
                </a:lnTo>
                <a:lnTo>
                  <a:pt x="1448" y="2168"/>
                </a:lnTo>
                <a:lnTo>
                  <a:pt x="1448" y="2166"/>
                </a:lnTo>
                <a:lnTo>
                  <a:pt x="1450" y="2166"/>
                </a:lnTo>
                <a:lnTo>
                  <a:pt x="1450" y="2168"/>
                </a:lnTo>
                <a:lnTo>
                  <a:pt x="1452" y="2166"/>
                </a:lnTo>
                <a:lnTo>
                  <a:pt x="1450" y="2166"/>
                </a:lnTo>
                <a:lnTo>
                  <a:pt x="1450" y="2164"/>
                </a:lnTo>
                <a:lnTo>
                  <a:pt x="1452" y="2164"/>
                </a:lnTo>
                <a:lnTo>
                  <a:pt x="1452" y="2162"/>
                </a:lnTo>
                <a:lnTo>
                  <a:pt x="1452" y="2164"/>
                </a:lnTo>
                <a:lnTo>
                  <a:pt x="1452" y="2162"/>
                </a:lnTo>
                <a:lnTo>
                  <a:pt x="1452" y="2164"/>
                </a:lnTo>
                <a:lnTo>
                  <a:pt x="1454" y="2164"/>
                </a:lnTo>
                <a:lnTo>
                  <a:pt x="1456" y="2164"/>
                </a:lnTo>
                <a:lnTo>
                  <a:pt x="1458" y="2164"/>
                </a:lnTo>
                <a:close/>
                <a:moveTo>
                  <a:pt x="618" y="1167"/>
                </a:moveTo>
                <a:lnTo>
                  <a:pt x="620" y="1167"/>
                </a:lnTo>
                <a:lnTo>
                  <a:pt x="620" y="1169"/>
                </a:lnTo>
                <a:lnTo>
                  <a:pt x="618" y="1169"/>
                </a:lnTo>
                <a:lnTo>
                  <a:pt x="618" y="1167"/>
                </a:lnTo>
                <a:close/>
                <a:moveTo>
                  <a:pt x="1471" y="2175"/>
                </a:moveTo>
                <a:lnTo>
                  <a:pt x="1471" y="2173"/>
                </a:lnTo>
                <a:lnTo>
                  <a:pt x="1473" y="2173"/>
                </a:lnTo>
                <a:lnTo>
                  <a:pt x="1473" y="2175"/>
                </a:lnTo>
                <a:lnTo>
                  <a:pt x="1471" y="2175"/>
                </a:lnTo>
                <a:close/>
                <a:moveTo>
                  <a:pt x="640" y="1206"/>
                </a:moveTo>
                <a:lnTo>
                  <a:pt x="640" y="1204"/>
                </a:lnTo>
                <a:lnTo>
                  <a:pt x="640" y="1206"/>
                </a:lnTo>
                <a:lnTo>
                  <a:pt x="638" y="1206"/>
                </a:lnTo>
                <a:lnTo>
                  <a:pt x="640" y="1208"/>
                </a:lnTo>
                <a:lnTo>
                  <a:pt x="638" y="1208"/>
                </a:lnTo>
                <a:lnTo>
                  <a:pt x="638" y="1209"/>
                </a:lnTo>
                <a:lnTo>
                  <a:pt x="636" y="1209"/>
                </a:lnTo>
                <a:lnTo>
                  <a:pt x="634" y="1209"/>
                </a:lnTo>
                <a:lnTo>
                  <a:pt x="632" y="1209"/>
                </a:lnTo>
                <a:lnTo>
                  <a:pt x="632" y="1208"/>
                </a:lnTo>
                <a:lnTo>
                  <a:pt x="634" y="1208"/>
                </a:lnTo>
                <a:lnTo>
                  <a:pt x="634" y="1206"/>
                </a:lnTo>
                <a:lnTo>
                  <a:pt x="632" y="1206"/>
                </a:lnTo>
                <a:lnTo>
                  <a:pt x="634" y="1206"/>
                </a:lnTo>
                <a:lnTo>
                  <a:pt x="634" y="1204"/>
                </a:lnTo>
                <a:lnTo>
                  <a:pt x="632" y="1204"/>
                </a:lnTo>
                <a:lnTo>
                  <a:pt x="632" y="1202"/>
                </a:lnTo>
                <a:lnTo>
                  <a:pt x="632" y="1200"/>
                </a:lnTo>
                <a:lnTo>
                  <a:pt x="634" y="1200"/>
                </a:lnTo>
                <a:lnTo>
                  <a:pt x="636" y="1200"/>
                </a:lnTo>
                <a:lnTo>
                  <a:pt x="634" y="1200"/>
                </a:lnTo>
                <a:lnTo>
                  <a:pt x="636" y="1200"/>
                </a:lnTo>
                <a:lnTo>
                  <a:pt x="638" y="1200"/>
                </a:lnTo>
                <a:lnTo>
                  <a:pt x="638" y="1202"/>
                </a:lnTo>
                <a:lnTo>
                  <a:pt x="636" y="1202"/>
                </a:lnTo>
                <a:lnTo>
                  <a:pt x="638" y="1202"/>
                </a:lnTo>
                <a:lnTo>
                  <a:pt x="638" y="1204"/>
                </a:lnTo>
                <a:lnTo>
                  <a:pt x="640" y="1204"/>
                </a:lnTo>
                <a:lnTo>
                  <a:pt x="640" y="1206"/>
                </a:lnTo>
                <a:close/>
                <a:moveTo>
                  <a:pt x="1471" y="2173"/>
                </a:moveTo>
                <a:lnTo>
                  <a:pt x="1471" y="2171"/>
                </a:lnTo>
                <a:lnTo>
                  <a:pt x="1471" y="2173"/>
                </a:lnTo>
                <a:close/>
                <a:moveTo>
                  <a:pt x="1546" y="2233"/>
                </a:moveTo>
                <a:lnTo>
                  <a:pt x="1546" y="2231"/>
                </a:lnTo>
                <a:lnTo>
                  <a:pt x="1546" y="2229"/>
                </a:lnTo>
                <a:lnTo>
                  <a:pt x="1548" y="2229"/>
                </a:lnTo>
                <a:lnTo>
                  <a:pt x="1550" y="2229"/>
                </a:lnTo>
                <a:lnTo>
                  <a:pt x="1550" y="2231"/>
                </a:lnTo>
                <a:lnTo>
                  <a:pt x="1548" y="2231"/>
                </a:lnTo>
                <a:lnTo>
                  <a:pt x="1548" y="2233"/>
                </a:lnTo>
                <a:lnTo>
                  <a:pt x="1546" y="2233"/>
                </a:lnTo>
                <a:close/>
                <a:moveTo>
                  <a:pt x="1469" y="2169"/>
                </a:moveTo>
                <a:lnTo>
                  <a:pt x="1467" y="2169"/>
                </a:lnTo>
                <a:lnTo>
                  <a:pt x="1469" y="2169"/>
                </a:lnTo>
                <a:close/>
                <a:moveTo>
                  <a:pt x="1467" y="2169"/>
                </a:moveTo>
                <a:lnTo>
                  <a:pt x="1469" y="2169"/>
                </a:lnTo>
                <a:lnTo>
                  <a:pt x="1467" y="2169"/>
                </a:lnTo>
                <a:close/>
                <a:moveTo>
                  <a:pt x="1469" y="2168"/>
                </a:moveTo>
                <a:lnTo>
                  <a:pt x="1467" y="2168"/>
                </a:lnTo>
                <a:lnTo>
                  <a:pt x="1469" y="2168"/>
                </a:lnTo>
                <a:close/>
                <a:moveTo>
                  <a:pt x="1467" y="2168"/>
                </a:moveTo>
                <a:lnTo>
                  <a:pt x="1465" y="2168"/>
                </a:lnTo>
                <a:lnTo>
                  <a:pt x="1467" y="2168"/>
                </a:lnTo>
                <a:lnTo>
                  <a:pt x="1467" y="2166"/>
                </a:lnTo>
                <a:lnTo>
                  <a:pt x="1465" y="2166"/>
                </a:lnTo>
                <a:lnTo>
                  <a:pt x="1467" y="2166"/>
                </a:lnTo>
                <a:lnTo>
                  <a:pt x="1467" y="2168"/>
                </a:lnTo>
                <a:lnTo>
                  <a:pt x="1469" y="2168"/>
                </a:lnTo>
                <a:lnTo>
                  <a:pt x="1467" y="2168"/>
                </a:lnTo>
                <a:close/>
                <a:moveTo>
                  <a:pt x="1504" y="2192"/>
                </a:moveTo>
                <a:lnTo>
                  <a:pt x="1504" y="2194"/>
                </a:lnTo>
                <a:lnTo>
                  <a:pt x="1504" y="2192"/>
                </a:lnTo>
                <a:lnTo>
                  <a:pt x="1502" y="2192"/>
                </a:lnTo>
                <a:lnTo>
                  <a:pt x="1504" y="2192"/>
                </a:lnTo>
                <a:close/>
                <a:moveTo>
                  <a:pt x="586" y="1102"/>
                </a:moveTo>
                <a:lnTo>
                  <a:pt x="586" y="1100"/>
                </a:lnTo>
                <a:lnTo>
                  <a:pt x="588" y="1102"/>
                </a:lnTo>
                <a:lnTo>
                  <a:pt x="590" y="1102"/>
                </a:lnTo>
                <a:lnTo>
                  <a:pt x="590" y="1104"/>
                </a:lnTo>
                <a:lnTo>
                  <a:pt x="592" y="1104"/>
                </a:lnTo>
                <a:lnTo>
                  <a:pt x="593" y="1104"/>
                </a:lnTo>
                <a:lnTo>
                  <a:pt x="593" y="1106"/>
                </a:lnTo>
                <a:lnTo>
                  <a:pt x="592" y="1106"/>
                </a:lnTo>
                <a:lnTo>
                  <a:pt x="592" y="1104"/>
                </a:lnTo>
                <a:lnTo>
                  <a:pt x="590" y="1104"/>
                </a:lnTo>
                <a:lnTo>
                  <a:pt x="590" y="1102"/>
                </a:lnTo>
                <a:lnTo>
                  <a:pt x="588" y="1102"/>
                </a:lnTo>
                <a:lnTo>
                  <a:pt x="586" y="1102"/>
                </a:lnTo>
                <a:close/>
                <a:moveTo>
                  <a:pt x="636" y="1188"/>
                </a:moveTo>
                <a:lnTo>
                  <a:pt x="636" y="1190"/>
                </a:lnTo>
                <a:lnTo>
                  <a:pt x="636" y="1192"/>
                </a:lnTo>
                <a:lnTo>
                  <a:pt x="634" y="1192"/>
                </a:lnTo>
                <a:lnTo>
                  <a:pt x="632" y="1192"/>
                </a:lnTo>
                <a:lnTo>
                  <a:pt x="632" y="1194"/>
                </a:lnTo>
                <a:lnTo>
                  <a:pt x="630" y="1194"/>
                </a:lnTo>
                <a:lnTo>
                  <a:pt x="630" y="1192"/>
                </a:lnTo>
                <a:lnTo>
                  <a:pt x="632" y="1192"/>
                </a:lnTo>
                <a:lnTo>
                  <a:pt x="630" y="1192"/>
                </a:lnTo>
                <a:lnTo>
                  <a:pt x="628" y="1192"/>
                </a:lnTo>
                <a:lnTo>
                  <a:pt x="628" y="1194"/>
                </a:lnTo>
                <a:lnTo>
                  <a:pt x="630" y="1194"/>
                </a:lnTo>
                <a:lnTo>
                  <a:pt x="632" y="1194"/>
                </a:lnTo>
                <a:lnTo>
                  <a:pt x="632" y="1196"/>
                </a:lnTo>
                <a:lnTo>
                  <a:pt x="634" y="1196"/>
                </a:lnTo>
                <a:lnTo>
                  <a:pt x="634" y="1194"/>
                </a:lnTo>
                <a:lnTo>
                  <a:pt x="636" y="1194"/>
                </a:lnTo>
                <a:lnTo>
                  <a:pt x="638" y="1196"/>
                </a:lnTo>
                <a:lnTo>
                  <a:pt x="638" y="1194"/>
                </a:lnTo>
                <a:lnTo>
                  <a:pt x="638" y="1196"/>
                </a:lnTo>
                <a:lnTo>
                  <a:pt x="638" y="1198"/>
                </a:lnTo>
                <a:lnTo>
                  <a:pt x="636" y="1198"/>
                </a:lnTo>
                <a:lnTo>
                  <a:pt x="634" y="1198"/>
                </a:lnTo>
                <a:lnTo>
                  <a:pt x="632" y="1198"/>
                </a:lnTo>
                <a:lnTo>
                  <a:pt x="630" y="1198"/>
                </a:lnTo>
                <a:lnTo>
                  <a:pt x="630" y="1200"/>
                </a:lnTo>
                <a:lnTo>
                  <a:pt x="628" y="1200"/>
                </a:lnTo>
                <a:lnTo>
                  <a:pt x="628" y="1202"/>
                </a:lnTo>
                <a:lnTo>
                  <a:pt x="626" y="1202"/>
                </a:lnTo>
                <a:lnTo>
                  <a:pt x="626" y="1200"/>
                </a:lnTo>
                <a:lnTo>
                  <a:pt x="626" y="1202"/>
                </a:lnTo>
                <a:lnTo>
                  <a:pt x="626" y="1204"/>
                </a:lnTo>
                <a:lnTo>
                  <a:pt x="626" y="1206"/>
                </a:lnTo>
                <a:lnTo>
                  <a:pt x="624" y="1206"/>
                </a:lnTo>
                <a:lnTo>
                  <a:pt x="624" y="1208"/>
                </a:lnTo>
                <a:lnTo>
                  <a:pt x="626" y="1208"/>
                </a:lnTo>
                <a:lnTo>
                  <a:pt x="624" y="1208"/>
                </a:lnTo>
                <a:lnTo>
                  <a:pt x="624" y="1206"/>
                </a:lnTo>
                <a:lnTo>
                  <a:pt x="624" y="1204"/>
                </a:lnTo>
                <a:lnTo>
                  <a:pt x="622" y="1204"/>
                </a:lnTo>
                <a:lnTo>
                  <a:pt x="622" y="1206"/>
                </a:lnTo>
                <a:lnTo>
                  <a:pt x="622" y="1204"/>
                </a:lnTo>
                <a:lnTo>
                  <a:pt x="622" y="1206"/>
                </a:lnTo>
                <a:lnTo>
                  <a:pt x="622" y="1208"/>
                </a:lnTo>
                <a:lnTo>
                  <a:pt x="620" y="1208"/>
                </a:lnTo>
                <a:lnTo>
                  <a:pt x="618" y="1208"/>
                </a:lnTo>
                <a:lnTo>
                  <a:pt x="618" y="1206"/>
                </a:lnTo>
                <a:lnTo>
                  <a:pt x="620" y="1206"/>
                </a:lnTo>
                <a:lnTo>
                  <a:pt x="620" y="1204"/>
                </a:lnTo>
                <a:lnTo>
                  <a:pt x="618" y="1204"/>
                </a:lnTo>
                <a:lnTo>
                  <a:pt x="620" y="1204"/>
                </a:lnTo>
                <a:lnTo>
                  <a:pt x="618" y="1204"/>
                </a:lnTo>
                <a:lnTo>
                  <a:pt x="618" y="1202"/>
                </a:lnTo>
                <a:lnTo>
                  <a:pt x="620" y="1202"/>
                </a:lnTo>
                <a:lnTo>
                  <a:pt x="618" y="1200"/>
                </a:lnTo>
                <a:lnTo>
                  <a:pt x="618" y="1198"/>
                </a:lnTo>
                <a:lnTo>
                  <a:pt x="620" y="1198"/>
                </a:lnTo>
                <a:lnTo>
                  <a:pt x="622" y="1198"/>
                </a:lnTo>
                <a:lnTo>
                  <a:pt x="622" y="1196"/>
                </a:lnTo>
                <a:lnTo>
                  <a:pt x="620" y="1196"/>
                </a:lnTo>
                <a:lnTo>
                  <a:pt x="620" y="1198"/>
                </a:lnTo>
                <a:lnTo>
                  <a:pt x="620" y="1196"/>
                </a:lnTo>
                <a:lnTo>
                  <a:pt x="618" y="1194"/>
                </a:lnTo>
                <a:lnTo>
                  <a:pt x="616" y="1194"/>
                </a:lnTo>
                <a:lnTo>
                  <a:pt x="616" y="1196"/>
                </a:lnTo>
                <a:lnTo>
                  <a:pt x="616" y="1194"/>
                </a:lnTo>
                <a:lnTo>
                  <a:pt x="615" y="1194"/>
                </a:lnTo>
                <a:lnTo>
                  <a:pt x="615" y="1196"/>
                </a:lnTo>
                <a:lnTo>
                  <a:pt x="613" y="1196"/>
                </a:lnTo>
                <a:lnTo>
                  <a:pt x="613" y="1194"/>
                </a:lnTo>
                <a:lnTo>
                  <a:pt x="615" y="1194"/>
                </a:lnTo>
                <a:lnTo>
                  <a:pt x="616" y="1194"/>
                </a:lnTo>
                <a:lnTo>
                  <a:pt x="616" y="1192"/>
                </a:lnTo>
                <a:lnTo>
                  <a:pt x="618" y="1190"/>
                </a:lnTo>
                <a:lnTo>
                  <a:pt x="620" y="1190"/>
                </a:lnTo>
                <a:lnTo>
                  <a:pt x="620" y="1188"/>
                </a:lnTo>
                <a:lnTo>
                  <a:pt x="622" y="1188"/>
                </a:lnTo>
                <a:lnTo>
                  <a:pt x="622" y="1186"/>
                </a:lnTo>
                <a:lnTo>
                  <a:pt x="624" y="1186"/>
                </a:lnTo>
                <a:lnTo>
                  <a:pt x="626" y="1186"/>
                </a:lnTo>
                <a:lnTo>
                  <a:pt x="626" y="1185"/>
                </a:lnTo>
                <a:lnTo>
                  <a:pt x="626" y="1186"/>
                </a:lnTo>
                <a:lnTo>
                  <a:pt x="628" y="1186"/>
                </a:lnTo>
                <a:lnTo>
                  <a:pt x="630" y="1186"/>
                </a:lnTo>
                <a:lnTo>
                  <a:pt x="632" y="1186"/>
                </a:lnTo>
                <a:lnTo>
                  <a:pt x="634" y="1186"/>
                </a:lnTo>
                <a:lnTo>
                  <a:pt x="634" y="1188"/>
                </a:lnTo>
                <a:lnTo>
                  <a:pt x="636" y="1188"/>
                </a:lnTo>
                <a:close/>
                <a:moveTo>
                  <a:pt x="1536" y="2217"/>
                </a:moveTo>
                <a:lnTo>
                  <a:pt x="1536" y="2215"/>
                </a:lnTo>
                <a:lnTo>
                  <a:pt x="1536" y="2217"/>
                </a:lnTo>
                <a:close/>
                <a:moveTo>
                  <a:pt x="1492" y="2185"/>
                </a:moveTo>
                <a:lnTo>
                  <a:pt x="1494" y="2185"/>
                </a:lnTo>
                <a:lnTo>
                  <a:pt x="1492" y="2185"/>
                </a:lnTo>
                <a:close/>
                <a:moveTo>
                  <a:pt x="1517" y="2202"/>
                </a:moveTo>
                <a:lnTo>
                  <a:pt x="1517" y="2204"/>
                </a:lnTo>
                <a:lnTo>
                  <a:pt x="1519" y="2204"/>
                </a:lnTo>
                <a:lnTo>
                  <a:pt x="1519" y="2206"/>
                </a:lnTo>
                <a:lnTo>
                  <a:pt x="1519" y="2208"/>
                </a:lnTo>
                <a:lnTo>
                  <a:pt x="1519" y="2210"/>
                </a:lnTo>
                <a:lnTo>
                  <a:pt x="1519" y="2212"/>
                </a:lnTo>
                <a:lnTo>
                  <a:pt x="1519" y="2214"/>
                </a:lnTo>
                <a:lnTo>
                  <a:pt x="1519" y="2215"/>
                </a:lnTo>
                <a:lnTo>
                  <a:pt x="1519" y="2217"/>
                </a:lnTo>
                <a:lnTo>
                  <a:pt x="1519" y="2215"/>
                </a:lnTo>
                <a:lnTo>
                  <a:pt x="1519" y="2217"/>
                </a:lnTo>
                <a:lnTo>
                  <a:pt x="1519" y="2215"/>
                </a:lnTo>
                <a:lnTo>
                  <a:pt x="1517" y="2215"/>
                </a:lnTo>
                <a:lnTo>
                  <a:pt x="1519" y="2215"/>
                </a:lnTo>
                <a:lnTo>
                  <a:pt x="1517" y="2215"/>
                </a:lnTo>
                <a:lnTo>
                  <a:pt x="1517" y="2214"/>
                </a:lnTo>
                <a:lnTo>
                  <a:pt x="1517" y="2215"/>
                </a:lnTo>
                <a:lnTo>
                  <a:pt x="1515" y="2215"/>
                </a:lnTo>
                <a:lnTo>
                  <a:pt x="1515" y="2217"/>
                </a:lnTo>
                <a:lnTo>
                  <a:pt x="1513" y="2217"/>
                </a:lnTo>
                <a:lnTo>
                  <a:pt x="1513" y="2219"/>
                </a:lnTo>
                <a:lnTo>
                  <a:pt x="1513" y="2217"/>
                </a:lnTo>
                <a:lnTo>
                  <a:pt x="1513" y="2215"/>
                </a:lnTo>
                <a:lnTo>
                  <a:pt x="1511" y="2215"/>
                </a:lnTo>
                <a:lnTo>
                  <a:pt x="1513" y="2215"/>
                </a:lnTo>
                <a:lnTo>
                  <a:pt x="1513" y="2214"/>
                </a:lnTo>
                <a:lnTo>
                  <a:pt x="1511" y="2214"/>
                </a:lnTo>
                <a:lnTo>
                  <a:pt x="1513" y="2214"/>
                </a:lnTo>
                <a:lnTo>
                  <a:pt x="1511" y="2214"/>
                </a:lnTo>
                <a:lnTo>
                  <a:pt x="1511" y="2215"/>
                </a:lnTo>
                <a:lnTo>
                  <a:pt x="1511" y="2217"/>
                </a:lnTo>
                <a:lnTo>
                  <a:pt x="1511" y="2219"/>
                </a:lnTo>
                <a:lnTo>
                  <a:pt x="1511" y="2221"/>
                </a:lnTo>
                <a:lnTo>
                  <a:pt x="1511" y="2219"/>
                </a:lnTo>
                <a:lnTo>
                  <a:pt x="1509" y="2219"/>
                </a:lnTo>
                <a:lnTo>
                  <a:pt x="1509" y="2221"/>
                </a:lnTo>
                <a:lnTo>
                  <a:pt x="1508" y="2221"/>
                </a:lnTo>
                <a:lnTo>
                  <a:pt x="1508" y="2223"/>
                </a:lnTo>
                <a:lnTo>
                  <a:pt x="1508" y="2221"/>
                </a:lnTo>
                <a:lnTo>
                  <a:pt x="1508" y="2223"/>
                </a:lnTo>
                <a:lnTo>
                  <a:pt x="1506" y="2223"/>
                </a:lnTo>
                <a:lnTo>
                  <a:pt x="1508" y="2223"/>
                </a:lnTo>
                <a:lnTo>
                  <a:pt x="1506" y="2221"/>
                </a:lnTo>
                <a:lnTo>
                  <a:pt x="1508" y="2221"/>
                </a:lnTo>
                <a:lnTo>
                  <a:pt x="1508" y="2219"/>
                </a:lnTo>
                <a:lnTo>
                  <a:pt x="1506" y="2219"/>
                </a:lnTo>
                <a:lnTo>
                  <a:pt x="1508" y="2219"/>
                </a:lnTo>
                <a:lnTo>
                  <a:pt x="1508" y="2217"/>
                </a:lnTo>
                <a:lnTo>
                  <a:pt x="1506" y="2217"/>
                </a:lnTo>
                <a:lnTo>
                  <a:pt x="1508" y="2217"/>
                </a:lnTo>
                <a:lnTo>
                  <a:pt x="1506" y="2217"/>
                </a:lnTo>
                <a:lnTo>
                  <a:pt x="1508" y="2217"/>
                </a:lnTo>
                <a:lnTo>
                  <a:pt x="1506" y="2217"/>
                </a:lnTo>
                <a:lnTo>
                  <a:pt x="1508" y="2217"/>
                </a:lnTo>
                <a:lnTo>
                  <a:pt x="1508" y="2215"/>
                </a:lnTo>
                <a:lnTo>
                  <a:pt x="1508" y="2214"/>
                </a:lnTo>
                <a:lnTo>
                  <a:pt x="1509" y="2214"/>
                </a:lnTo>
                <a:lnTo>
                  <a:pt x="1509" y="2212"/>
                </a:lnTo>
                <a:lnTo>
                  <a:pt x="1509" y="2210"/>
                </a:lnTo>
                <a:lnTo>
                  <a:pt x="1511" y="2210"/>
                </a:lnTo>
                <a:lnTo>
                  <a:pt x="1511" y="2208"/>
                </a:lnTo>
                <a:lnTo>
                  <a:pt x="1511" y="2206"/>
                </a:lnTo>
                <a:lnTo>
                  <a:pt x="1513" y="2206"/>
                </a:lnTo>
                <a:lnTo>
                  <a:pt x="1513" y="2204"/>
                </a:lnTo>
                <a:lnTo>
                  <a:pt x="1515" y="2204"/>
                </a:lnTo>
                <a:lnTo>
                  <a:pt x="1515" y="2202"/>
                </a:lnTo>
                <a:lnTo>
                  <a:pt x="1517" y="2202"/>
                </a:lnTo>
                <a:lnTo>
                  <a:pt x="1517" y="2200"/>
                </a:lnTo>
                <a:lnTo>
                  <a:pt x="1517" y="2202"/>
                </a:lnTo>
                <a:close/>
                <a:moveTo>
                  <a:pt x="1458" y="2156"/>
                </a:moveTo>
                <a:lnTo>
                  <a:pt x="1458" y="2158"/>
                </a:lnTo>
                <a:lnTo>
                  <a:pt x="1456" y="2160"/>
                </a:lnTo>
                <a:lnTo>
                  <a:pt x="1456" y="2158"/>
                </a:lnTo>
                <a:lnTo>
                  <a:pt x="1458" y="2158"/>
                </a:lnTo>
                <a:lnTo>
                  <a:pt x="1458" y="2156"/>
                </a:lnTo>
                <a:close/>
                <a:moveTo>
                  <a:pt x="1452" y="2152"/>
                </a:moveTo>
                <a:lnTo>
                  <a:pt x="1452" y="2154"/>
                </a:lnTo>
                <a:lnTo>
                  <a:pt x="1454" y="2154"/>
                </a:lnTo>
                <a:lnTo>
                  <a:pt x="1456" y="2154"/>
                </a:lnTo>
                <a:lnTo>
                  <a:pt x="1456" y="2156"/>
                </a:lnTo>
                <a:lnTo>
                  <a:pt x="1456" y="2158"/>
                </a:lnTo>
                <a:lnTo>
                  <a:pt x="1454" y="2158"/>
                </a:lnTo>
                <a:lnTo>
                  <a:pt x="1452" y="2158"/>
                </a:lnTo>
                <a:lnTo>
                  <a:pt x="1452" y="2156"/>
                </a:lnTo>
                <a:lnTo>
                  <a:pt x="1450" y="2156"/>
                </a:lnTo>
                <a:lnTo>
                  <a:pt x="1452" y="2156"/>
                </a:lnTo>
                <a:lnTo>
                  <a:pt x="1452" y="2158"/>
                </a:lnTo>
                <a:lnTo>
                  <a:pt x="1450" y="2158"/>
                </a:lnTo>
                <a:lnTo>
                  <a:pt x="1450" y="2160"/>
                </a:lnTo>
                <a:lnTo>
                  <a:pt x="1448" y="2160"/>
                </a:lnTo>
                <a:lnTo>
                  <a:pt x="1448" y="2158"/>
                </a:lnTo>
                <a:lnTo>
                  <a:pt x="1448" y="2156"/>
                </a:lnTo>
                <a:lnTo>
                  <a:pt x="1450" y="2156"/>
                </a:lnTo>
                <a:lnTo>
                  <a:pt x="1448" y="2156"/>
                </a:lnTo>
                <a:lnTo>
                  <a:pt x="1446" y="2156"/>
                </a:lnTo>
                <a:lnTo>
                  <a:pt x="1446" y="2158"/>
                </a:lnTo>
                <a:lnTo>
                  <a:pt x="1446" y="2156"/>
                </a:lnTo>
                <a:lnTo>
                  <a:pt x="1448" y="2156"/>
                </a:lnTo>
                <a:lnTo>
                  <a:pt x="1448" y="2158"/>
                </a:lnTo>
                <a:lnTo>
                  <a:pt x="1448" y="2160"/>
                </a:lnTo>
                <a:lnTo>
                  <a:pt x="1446" y="2160"/>
                </a:lnTo>
                <a:lnTo>
                  <a:pt x="1444" y="2160"/>
                </a:lnTo>
                <a:lnTo>
                  <a:pt x="1444" y="2162"/>
                </a:lnTo>
                <a:lnTo>
                  <a:pt x="1442" y="2162"/>
                </a:lnTo>
                <a:lnTo>
                  <a:pt x="1442" y="2164"/>
                </a:lnTo>
                <a:lnTo>
                  <a:pt x="1442" y="2162"/>
                </a:lnTo>
                <a:lnTo>
                  <a:pt x="1442" y="2160"/>
                </a:lnTo>
                <a:lnTo>
                  <a:pt x="1442" y="2158"/>
                </a:lnTo>
                <a:lnTo>
                  <a:pt x="1444" y="2158"/>
                </a:lnTo>
                <a:lnTo>
                  <a:pt x="1442" y="2158"/>
                </a:lnTo>
                <a:lnTo>
                  <a:pt x="1442" y="2156"/>
                </a:lnTo>
                <a:lnTo>
                  <a:pt x="1444" y="2156"/>
                </a:lnTo>
                <a:lnTo>
                  <a:pt x="1446" y="2156"/>
                </a:lnTo>
                <a:lnTo>
                  <a:pt x="1446" y="2154"/>
                </a:lnTo>
                <a:lnTo>
                  <a:pt x="1448" y="2156"/>
                </a:lnTo>
                <a:lnTo>
                  <a:pt x="1448" y="2154"/>
                </a:lnTo>
                <a:lnTo>
                  <a:pt x="1446" y="2154"/>
                </a:lnTo>
                <a:lnTo>
                  <a:pt x="1446" y="2152"/>
                </a:lnTo>
                <a:lnTo>
                  <a:pt x="1448" y="2152"/>
                </a:lnTo>
                <a:lnTo>
                  <a:pt x="1448" y="2154"/>
                </a:lnTo>
                <a:lnTo>
                  <a:pt x="1450" y="2154"/>
                </a:lnTo>
                <a:lnTo>
                  <a:pt x="1450" y="2152"/>
                </a:lnTo>
                <a:lnTo>
                  <a:pt x="1452" y="2152"/>
                </a:lnTo>
                <a:close/>
                <a:moveTo>
                  <a:pt x="586" y="1087"/>
                </a:moveTo>
                <a:lnTo>
                  <a:pt x="584" y="1087"/>
                </a:lnTo>
                <a:lnTo>
                  <a:pt x="582" y="1087"/>
                </a:lnTo>
                <a:lnTo>
                  <a:pt x="582" y="1085"/>
                </a:lnTo>
                <a:lnTo>
                  <a:pt x="584" y="1085"/>
                </a:lnTo>
                <a:lnTo>
                  <a:pt x="586" y="1085"/>
                </a:lnTo>
                <a:lnTo>
                  <a:pt x="586" y="1087"/>
                </a:lnTo>
                <a:close/>
                <a:moveTo>
                  <a:pt x="1471" y="2166"/>
                </a:moveTo>
                <a:lnTo>
                  <a:pt x="1469" y="2166"/>
                </a:lnTo>
                <a:lnTo>
                  <a:pt x="1471" y="2166"/>
                </a:lnTo>
                <a:lnTo>
                  <a:pt x="1469" y="2166"/>
                </a:lnTo>
                <a:lnTo>
                  <a:pt x="1471" y="2166"/>
                </a:lnTo>
                <a:lnTo>
                  <a:pt x="1471" y="2164"/>
                </a:lnTo>
                <a:lnTo>
                  <a:pt x="1471" y="2166"/>
                </a:lnTo>
                <a:close/>
                <a:moveTo>
                  <a:pt x="1452" y="2150"/>
                </a:moveTo>
                <a:lnTo>
                  <a:pt x="1450" y="2150"/>
                </a:lnTo>
                <a:lnTo>
                  <a:pt x="1448" y="2150"/>
                </a:lnTo>
                <a:lnTo>
                  <a:pt x="1450" y="2150"/>
                </a:lnTo>
                <a:lnTo>
                  <a:pt x="1452" y="2150"/>
                </a:lnTo>
                <a:close/>
                <a:moveTo>
                  <a:pt x="1471" y="2164"/>
                </a:moveTo>
                <a:lnTo>
                  <a:pt x="1471" y="2166"/>
                </a:lnTo>
                <a:lnTo>
                  <a:pt x="1471" y="2164"/>
                </a:lnTo>
                <a:lnTo>
                  <a:pt x="1469" y="2164"/>
                </a:lnTo>
                <a:lnTo>
                  <a:pt x="1471" y="2164"/>
                </a:lnTo>
                <a:close/>
                <a:moveTo>
                  <a:pt x="595" y="1110"/>
                </a:moveTo>
                <a:lnTo>
                  <a:pt x="595" y="1108"/>
                </a:lnTo>
                <a:lnTo>
                  <a:pt x="597" y="1108"/>
                </a:lnTo>
                <a:lnTo>
                  <a:pt x="597" y="1110"/>
                </a:lnTo>
                <a:lnTo>
                  <a:pt x="597" y="1108"/>
                </a:lnTo>
                <a:lnTo>
                  <a:pt x="595" y="1108"/>
                </a:lnTo>
                <a:lnTo>
                  <a:pt x="595" y="1110"/>
                </a:lnTo>
                <a:close/>
                <a:moveTo>
                  <a:pt x="1465" y="2160"/>
                </a:moveTo>
                <a:lnTo>
                  <a:pt x="1465" y="2162"/>
                </a:lnTo>
                <a:lnTo>
                  <a:pt x="1463" y="2162"/>
                </a:lnTo>
                <a:lnTo>
                  <a:pt x="1463" y="2164"/>
                </a:lnTo>
                <a:lnTo>
                  <a:pt x="1463" y="2162"/>
                </a:lnTo>
                <a:lnTo>
                  <a:pt x="1461" y="2162"/>
                </a:lnTo>
                <a:lnTo>
                  <a:pt x="1461" y="2160"/>
                </a:lnTo>
                <a:lnTo>
                  <a:pt x="1463" y="2160"/>
                </a:lnTo>
                <a:lnTo>
                  <a:pt x="1465" y="2160"/>
                </a:lnTo>
                <a:close/>
                <a:moveTo>
                  <a:pt x="1508" y="2192"/>
                </a:moveTo>
                <a:lnTo>
                  <a:pt x="1508" y="2191"/>
                </a:lnTo>
                <a:lnTo>
                  <a:pt x="1508" y="2192"/>
                </a:lnTo>
                <a:close/>
                <a:moveTo>
                  <a:pt x="1554" y="2225"/>
                </a:moveTo>
                <a:lnTo>
                  <a:pt x="1554" y="2227"/>
                </a:lnTo>
                <a:lnTo>
                  <a:pt x="1554" y="2229"/>
                </a:lnTo>
                <a:lnTo>
                  <a:pt x="1552" y="2229"/>
                </a:lnTo>
                <a:lnTo>
                  <a:pt x="1552" y="2227"/>
                </a:lnTo>
                <a:lnTo>
                  <a:pt x="1554" y="2227"/>
                </a:lnTo>
                <a:lnTo>
                  <a:pt x="1554" y="2225"/>
                </a:lnTo>
                <a:lnTo>
                  <a:pt x="1556" y="2225"/>
                </a:lnTo>
                <a:lnTo>
                  <a:pt x="1554" y="2225"/>
                </a:lnTo>
                <a:close/>
                <a:moveTo>
                  <a:pt x="649" y="1206"/>
                </a:moveTo>
                <a:lnTo>
                  <a:pt x="649" y="1208"/>
                </a:lnTo>
                <a:lnTo>
                  <a:pt x="647" y="1208"/>
                </a:lnTo>
                <a:lnTo>
                  <a:pt x="649" y="1208"/>
                </a:lnTo>
                <a:lnTo>
                  <a:pt x="651" y="1208"/>
                </a:lnTo>
                <a:lnTo>
                  <a:pt x="651" y="1209"/>
                </a:lnTo>
                <a:lnTo>
                  <a:pt x="649" y="1209"/>
                </a:lnTo>
                <a:lnTo>
                  <a:pt x="651" y="1209"/>
                </a:lnTo>
                <a:lnTo>
                  <a:pt x="651" y="1211"/>
                </a:lnTo>
                <a:lnTo>
                  <a:pt x="649" y="1211"/>
                </a:lnTo>
                <a:lnTo>
                  <a:pt x="647" y="1211"/>
                </a:lnTo>
                <a:lnTo>
                  <a:pt x="647" y="1213"/>
                </a:lnTo>
                <a:lnTo>
                  <a:pt x="645" y="1213"/>
                </a:lnTo>
                <a:lnTo>
                  <a:pt x="645" y="1211"/>
                </a:lnTo>
                <a:lnTo>
                  <a:pt x="647" y="1211"/>
                </a:lnTo>
                <a:lnTo>
                  <a:pt x="647" y="1209"/>
                </a:lnTo>
                <a:lnTo>
                  <a:pt x="645" y="1209"/>
                </a:lnTo>
                <a:lnTo>
                  <a:pt x="647" y="1209"/>
                </a:lnTo>
                <a:lnTo>
                  <a:pt x="645" y="1208"/>
                </a:lnTo>
                <a:lnTo>
                  <a:pt x="647" y="1208"/>
                </a:lnTo>
                <a:lnTo>
                  <a:pt x="645" y="1208"/>
                </a:lnTo>
                <a:lnTo>
                  <a:pt x="645" y="1206"/>
                </a:lnTo>
                <a:lnTo>
                  <a:pt x="645" y="1208"/>
                </a:lnTo>
                <a:lnTo>
                  <a:pt x="643" y="1206"/>
                </a:lnTo>
                <a:lnTo>
                  <a:pt x="643" y="1208"/>
                </a:lnTo>
                <a:lnTo>
                  <a:pt x="643" y="1206"/>
                </a:lnTo>
                <a:lnTo>
                  <a:pt x="643" y="1204"/>
                </a:lnTo>
                <a:lnTo>
                  <a:pt x="645" y="1202"/>
                </a:lnTo>
                <a:lnTo>
                  <a:pt x="645" y="1204"/>
                </a:lnTo>
                <a:lnTo>
                  <a:pt x="647" y="1204"/>
                </a:lnTo>
                <a:lnTo>
                  <a:pt x="649" y="1204"/>
                </a:lnTo>
                <a:lnTo>
                  <a:pt x="649" y="1206"/>
                </a:lnTo>
                <a:close/>
                <a:moveTo>
                  <a:pt x="1471" y="2164"/>
                </a:moveTo>
                <a:lnTo>
                  <a:pt x="1471" y="2162"/>
                </a:lnTo>
                <a:lnTo>
                  <a:pt x="1471" y="2164"/>
                </a:lnTo>
                <a:close/>
                <a:moveTo>
                  <a:pt x="1488" y="2177"/>
                </a:moveTo>
                <a:lnTo>
                  <a:pt x="1488" y="2175"/>
                </a:lnTo>
                <a:lnTo>
                  <a:pt x="1490" y="2175"/>
                </a:lnTo>
                <a:lnTo>
                  <a:pt x="1488" y="2175"/>
                </a:lnTo>
                <a:lnTo>
                  <a:pt x="1488" y="2177"/>
                </a:lnTo>
                <a:close/>
                <a:moveTo>
                  <a:pt x="1471" y="2162"/>
                </a:moveTo>
                <a:lnTo>
                  <a:pt x="1471" y="2160"/>
                </a:lnTo>
                <a:lnTo>
                  <a:pt x="1471" y="2162"/>
                </a:lnTo>
                <a:close/>
                <a:moveTo>
                  <a:pt x="1534" y="2206"/>
                </a:moveTo>
                <a:lnTo>
                  <a:pt x="1532" y="2206"/>
                </a:lnTo>
                <a:lnTo>
                  <a:pt x="1534" y="2206"/>
                </a:lnTo>
                <a:close/>
                <a:moveTo>
                  <a:pt x="1471" y="2160"/>
                </a:moveTo>
                <a:lnTo>
                  <a:pt x="1471" y="2162"/>
                </a:lnTo>
                <a:lnTo>
                  <a:pt x="1471" y="2160"/>
                </a:lnTo>
                <a:lnTo>
                  <a:pt x="1469" y="2160"/>
                </a:lnTo>
                <a:lnTo>
                  <a:pt x="1471" y="2160"/>
                </a:lnTo>
                <a:lnTo>
                  <a:pt x="1469" y="2160"/>
                </a:lnTo>
                <a:lnTo>
                  <a:pt x="1471" y="2160"/>
                </a:lnTo>
                <a:lnTo>
                  <a:pt x="1471" y="2158"/>
                </a:lnTo>
                <a:lnTo>
                  <a:pt x="1471" y="2160"/>
                </a:lnTo>
                <a:close/>
                <a:moveTo>
                  <a:pt x="1536" y="2206"/>
                </a:moveTo>
                <a:lnTo>
                  <a:pt x="1534" y="2206"/>
                </a:lnTo>
                <a:lnTo>
                  <a:pt x="1536" y="2206"/>
                </a:lnTo>
                <a:close/>
                <a:moveTo>
                  <a:pt x="1502" y="2181"/>
                </a:moveTo>
                <a:lnTo>
                  <a:pt x="1502" y="2183"/>
                </a:lnTo>
                <a:lnTo>
                  <a:pt x="1502" y="2181"/>
                </a:lnTo>
                <a:close/>
                <a:moveTo>
                  <a:pt x="657" y="1211"/>
                </a:moveTo>
                <a:lnTo>
                  <a:pt x="659" y="1211"/>
                </a:lnTo>
                <a:lnTo>
                  <a:pt x="657" y="1211"/>
                </a:lnTo>
                <a:close/>
                <a:moveTo>
                  <a:pt x="622" y="1146"/>
                </a:moveTo>
                <a:lnTo>
                  <a:pt x="622" y="1144"/>
                </a:lnTo>
                <a:lnTo>
                  <a:pt x="624" y="1144"/>
                </a:lnTo>
                <a:lnTo>
                  <a:pt x="622" y="1144"/>
                </a:lnTo>
                <a:lnTo>
                  <a:pt x="622" y="1146"/>
                </a:lnTo>
                <a:close/>
                <a:moveTo>
                  <a:pt x="1525" y="2198"/>
                </a:moveTo>
                <a:lnTo>
                  <a:pt x="1525" y="2196"/>
                </a:lnTo>
                <a:lnTo>
                  <a:pt x="1525" y="2198"/>
                </a:lnTo>
                <a:close/>
                <a:moveTo>
                  <a:pt x="1461" y="2152"/>
                </a:moveTo>
                <a:lnTo>
                  <a:pt x="1459" y="2152"/>
                </a:lnTo>
                <a:lnTo>
                  <a:pt x="1459" y="2154"/>
                </a:lnTo>
                <a:lnTo>
                  <a:pt x="1458" y="2154"/>
                </a:lnTo>
                <a:lnTo>
                  <a:pt x="1456" y="2154"/>
                </a:lnTo>
                <a:lnTo>
                  <a:pt x="1454" y="2154"/>
                </a:lnTo>
                <a:lnTo>
                  <a:pt x="1454" y="2152"/>
                </a:lnTo>
                <a:lnTo>
                  <a:pt x="1454" y="2150"/>
                </a:lnTo>
                <a:lnTo>
                  <a:pt x="1452" y="2150"/>
                </a:lnTo>
                <a:lnTo>
                  <a:pt x="1452" y="2148"/>
                </a:lnTo>
                <a:lnTo>
                  <a:pt x="1454" y="2148"/>
                </a:lnTo>
                <a:lnTo>
                  <a:pt x="1456" y="2150"/>
                </a:lnTo>
                <a:lnTo>
                  <a:pt x="1456" y="2148"/>
                </a:lnTo>
                <a:lnTo>
                  <a:pt x="1456" y="2150"/>
                </a:lnTo>
                <a:lnTo>
                  <a:pt x="1456" y="2148"/>
                </a:lnTo>
                <a:lnTo>
                  <a:pt x="1458" y="2148"/>
                </a:lnTo>
                <a:lnTo>
                  <a:pt x="1459" y="2148"/>
                </a:lnTo>
                <a:lnTo>
                  <a:pt x="1459" y="2146"/>
                </a:lnTo>
                <a:lnTo>
                  <a:pt x="1459" y="2148"/>
                </a:lnTo>
                <a:lnTo>
                  <a:pt x="1459" y="2150"/>
                </a:lnTo>
                <a:lnTo>
                  <a:pt x="1461" y="2150"/>
                </a:lnTo>
                <a:lnTo>
                  <a:pt x="1459" y="2150"/>
                </a:lnTo>
                <a:lnTo>
                  <a:pt x="1461" y="2150"/>
                </a:lnTo>
                <a:lnTo>
                  <a:pt x="1461" y="2152"/>
                </a:lnTo>
                <a:close/>
                <a:moveTo>
                  <a:pt x="1525" y="2194"/>
                </a:moveTo>
                <a:lnTo>
                  <a:pt x="1525" y="2196"/>
                </a:lnTo>
                <a:lnTo>
                  <a:pt x="1525" y="2198"/>
                </a:lnTo>
                <a:lnTo>
                  <a:pt x="1523" y="2198"/>
                </a:lnTo>
                <a:lnTo>
                  <a:pt x="1523" y="2196"/>
                </a:lnTo>
                <a:lnTo>
                  <a:pt x="1521" y="2196"/>
                </a:lnTo>
                <a:lnTo>
                  <a:pt x="1521" y="2198"/>
                </a:lnTo>
                <a:lnTo>
                  <a:pt x="1521" y="2196"/>
                </a:lnTo>
                <a:lnTo>
                  <a:pt x="1523" y="2196"/>
                </a:lnTo>
                <a:lnTo>
                  <a:pt x="1523" y="2194"/>
                </a:lnTo>
                <a:lnTo>
                  <a:pt x="1525" y="2194"/>
                </a:lnTo>
                <a:close/>
                <a:moveTo>
                  <a:pt x="1527" y="2196"/>
                </a:moveTo>
                <a:lnTo>
                  <a:pt x="1525" y="2196"/>
                </a:lnTo>
                <a:lnTo>
                  <a:pt x="1527" y="2196"/>
                </a:lnTo>
                <a:close/>
                <a:moveTo>
                  <a:pt x="653" y="1196"/>
                </a:moveTo>
                <a:lnTo>
                  <a:pt x="653" y="1198"/>
                </a:lnTo>
                <a:lnTo>
                  <a:pt x="653" y="1196"/>
                </a:lnTo>
                <a:close/>
                <a:moveTo>
                  <a:pt x="1477" y="2158"/>
                </a:moveTo>
                <a:lnTo>
                  <a:pt x="1475" y="2158"/>
                </a:lnTo>
                <a:lnTo>
                  <a:pt x="1477" y="2158"/>
                </a:lnTo>
                <a:close/>
                <a:moveTo>
                  <a:pt x="1454" y="2139"/>
                </a:moveTo>
                <a:lnTo>
                  <a:pt x="1454" y="2141"/>
                </a:lnTo>
                <a:lnTo>
                  <a:pt x="1456" y="2141"/>
                </a:lnTo>
                <a:lnTo>
                  <a:pt x="1456" y="2143"/>
                </a:lnTo>
                <a:lnTo>
                  <a:pt x="1456" y="2144"/>
                </a:lnTo>
                <a:lnTo>
                  <a:pt x="1456" y="2143"/>
                </a:lnTo>
                <a:lnTo>
                  <a:pt x="1458" y="2143"/>
                </a:lnTo>
                <a:lnTo>
                  <a:pt x="1458" y="2144"/>
                </a:lnTo>
                <a:lnTo>
                  <a:pt x="1458" y="2146"/>
                </a:lnTo>
                <a:lnTo>
                  <a:pt x="1456" y="2146"/>
                </a:lnTo>
                <a:lnTo>
                  <a:pt x="1454" y="2146"/>
                </a:lnTo>
                <a:lnTo>
                  <a:pt x="1452" y="2148"/>
                </a:lnTo>
                <a:lnTo>
                  <a:pt x="1450" y="2148"/>
                </a:lnTo>
                <a:lnTo>
                  <a:pt x="1450" y="2146"/>
                </a:lnTo>
                <a:lnTo>
                  <a:pt x="1448" y="2146"/>
                </a:lnTo>
                <a:lnTo>
                  <a:pt x="1448" y="2144"/>
                </a:lnTo>
                <a:lnTo>
                  <a:pt x="1446" y="2144"/>
                </a:lnTo>
                <a:lnTo>
                  <a:pt x="1444" y="2144"/>
                </a:lnTo>
                <a:lnTo>
                  <a:pt x="1446" y="2144"/>
                </a:lnTo>
                <a:lnTo>
                  <a:pt x="1446" y="2143"/>
                </a:lnTo>
                <a:lnTo>
                  <a:pt x="1448" y="2143"/>
                </a:lnTo>
                <a:lnTo>
                  <a:pt x="1450" y="2143"/>
                </a:lnTo>
                <a:lnTo>
                  <a:pt x="1452" y="2143"/>
                </a:lnTo>
                <a:lnTo>
                  <a:pt x="1452" y="2141"/>
                </a:lnTo>
                <a:lnTo>
                  <a:pt x="1452" y="2139"/>
                </a:lnTo>
                <a:lnTo>
                  <a:pt x="1454" y="2139"/>
                </a:lnTo>
                <a:close/>
                <a:moveTo>
                  <a:pt x="1473" y="2156"/>
                </a:moveTo>
                <a:lnTo>
                  <a:pt x="1473" y="2154"/>
                </a:lnTo>
                <a:lnTo>
                  <a:pt x="1475" y="2154"/>
                </a:lnTo>
                <a:lnTo>
                  <a:pt x="1475" y="2156"/>
                </a:lnTo>
                <a:lnTo>
                  <a:pt x="1473" y="2156"/>
                </a:lnTo>
                <a:close/>
                <a:moveTo>
                  <a:pt x="1527" y="2196"/>
                </a:moveTo>
                <a:lnTo>
                  <a:pt x="1529" y="2196"/>
                </a:lnTo>
                <a:lnTo>
                  <a:pt x="1529" y="2194"/>
                </a:lnTo>
                <a:lnTo>
                  <a:pt x="1529" y="2196"/>
                </a:lnTo>
                <a:lnTo>
                  <a:pt x="1527" y="2196"/>
                </a:lnTo>
                <a:close/>
                <a:moveTo>
                  <a:pt x="1531" y="2196"/>
                </a:moveTo>
                <a:lnTo>
                  <a:pt x="1529" y="2196"/>
                </a:lnTo>
                <a:lnTo>
                  <a:pt x="1531" y="2196"/>
                </a:lnTo>
                <a:close/>
                <a:moveTo>
                  <a:pt x="1465" y="2148"/>
                </a:moveTo>
                <a:lnTo>
                  <a:pt x="1467" y="2148"/>
                </a:lnTo>
                <a:lnTo>
                  <a:pt x="1467" y="2150"/>
                </a:lnTo>
                <a:lnTo>
                  <a:pt x="1469" y="2150"/>
                </a:lnTo>
                <a:lnTo>
                  <a:pt x="1467" y="2150"/>
                </a:lnTo>
                <a:lnTo>
                  <a:pt x="1467" y="2152"/>
                </a:lnTo>
                <a:lnTo>
                  <a:pt x="1469" y="2152"/>
                </a:lnTo>
                <a:lnTo>
                  <a:pt x="1469" y="2154"/>
                </a:lnTo>
                <a:lnTo>
                  <a:pt x="1467" y="2154"/>
                </a:lnTo>
                <a:lnTo>
                  <a:pt x="1469" y="2154"/>
                </a:lnTo>
                <a:lnTo>
                  <a:pt x="1467" y="2154"/>
                </a:lnTo>
                <a:lnTo>
                  <a:pt x="1467" y="2156"/>
                </a:lnTo>
                <a:lnTo>
                  <a:pt x="1465" y="2156"/>
                </a:lnTo>
                <a:lnTo>
                  <a:pt x="1463" y="2156"/>
                </a:lnTo>
                <a:lnTo>
                  <a:pt x="1465" y="2156"/>
                </a:lnTo>
                <a:lnTo>
                  <a:pt x="1463" y="2156"/>
                </a:lnTo>
                <a:lnTo>
                  <a:pt x="1461" y="2156"/>
                </a:lnTo>
                <a:lnTo>
                  <a:pt x="1461" y="2158"/>
                </a:lnTo>
                <a:lnTo>
                  <a:pt x="1461" y="2156"/>
                </a:lnTo>
                <a:lnTo>
                  <a:pt x="1461" y="2154"/>
                </a:lnTo>
                <a:lnTo>
                  <a:pt x="1461" y="2152"/>
                </a:lnTo>
                <a:lnTo>
                  <a:pt x="1461" y="2150"/>
                </a:lnTo>
                <a:lnTo>
                  <a:pt x="1461" y="2148"/>
                </a:lnTo>
                <a:lnTo>
                  <a:pt x="1463" y="2148"/>
                </a:lnTo>
                <a:lnTo>
                  <a:pt x="1465" y="2148"/>
                </a:lnTo>
                <a:lnTo>
                  <a:pt x="1463" y="2148"/>
                </a:lnTo>
                <a:lnTo>
                  <a:pt x="1465" y="2148"/>
                </a:lnTo>
                <a:close/>
                <a:moveTo>
                  <a:pt x="1531" y="2196"/>
                </a:moveTo>
                <a:lnTo>
                  <a:pt x="1531" y="2194"/>
                </a:lnTo>
                <a:lnTo>
                  <a:pt x="1531" y="2196"/>
                </a:lnTo>
                <a:close/>
                <a:moveTo>
                  <a:pt x="1471" y="2152"/>
                </a:moveTo>
                <a:lnTo>
                  <a:pt x="1473" y="2152"/>
                </a:lnTo>
                <a:lnTo>
                  <a:pt x="1471" y="2152"/>
                </a:lnTo>
                <a:close/>
                <a:moveTo>
                  <a:pt x="1471" y="2150"/>
                </a:moveTo>
                <a:lnTo>
                  <a:pt x="1469" y="2150"/>
                </a:lnTo>
                <a:lnTo>
                  <a:pt x="1471" y="2150"/>
                </a:lnTo>
                <a:close/>
                <a:moveTo>
                  <a:pt x="1531" y="2196"/>
                </a:moveTo>
                <a:lnTo>
                  <a:pt x="1531" y="2194"/>
                </a:lnTo>
                <a:lnTo>
                  <a:pt x="1531" y="2196"/>
                </a:lnTo>
                <a:close/>
                <a:moveTo>
                  <a:pt x="1498" y="2171"/>
                </a:moveTo>
                <a:lnTo>
                  <a:pt x="1500" y="2171"/>
                </a:lnTo>
                <a:lnTo>
                  <a:pt x="1498" y="2171"/>
                </a:lnTo>
                <a:close/>
                <a:moveTo>
                  <a:pt x="1459" y="2141"/>
                </a:moveTo>
                <a:lnTo>
                  <a:pt x="1458" y="2141"/>
                </a:lnTo>
                <a:lnTo>
                  <a:pt x="1459" y="2141"/>
                </a:lnTo>
                <a:lnTo>
                  <a:pt x="1459" y="2139"/>
                </a:lnTo>
                <a:lnTo>
                  <a:pt x="1459" y="2141"/>
                </a:lnTo>
                <a:close/>
                <a:moveTo>
                  <a:pt x="1456" y="2139"/>
                </a:moveTo>
                <a:lnTo>
                  <a:pt x="1456" y="2137"/>
                </a:lnTo>
                <a:lnTo>
                  <a:pt x="1456" y="2139"/>
                </a:lnTo>
                <a:close/>
                <a:moveTo>
                  <a:pt x="1469" y="2144"/>
                </a:moveTo>
                <a:lnTo>
                  <a:pt x="1467" y="2144"/>
                </a:lnTo>
                <a:lnTo>
                  <a:pt x="1469" y="2144"/>
                </a:lnTo>
                <a:close/>
                <a:moveTo>
                  <a:pt x="1500" y="2169"/>
                </a:moveTo>
                <a:lnTo>
                  <a:pt x="1500" y="2168"/>
                </a:lnTo>
                <a:lnTo>
                  <a:pt x="1500" y="2169"/>
                </a:lnTo>
                <a:close/>
                <a:moveTo>
                  <a:pt x="1459" y="2139"/>
                </a:moveTo>
                <a:lnTo>
                  <a:pt x="1459" y="2137"/>
                </a:lnTo>
                <a:lnTo>
                  <a:pt x="1459" y="2139"/>
                </a:lnTo>
                <a:close/>
                <a:moveTo>
                  <a:pt x="1463" y="2139"/>
                </a:moveTo>
                <a:lnTo>
                  <a:pt x="1465" y="2139"/>
                </a:lnTo>
                <a:lnTo>
                  <a:pt x="1463" y="2139"/>
                </a:lnTo>
                <a:lnTo>
                  <a:pt x="1461" y="2139"/>
                </a:lnTo>
                <a:lnTo>
                  <a:pt x="1463" y="2139"/>
                </a:lnTo>
                <a:lnTo>
                  <a:pt x="1461" y="2139"/>
                </a:lnTo>
                <a:lnTo>
                  <a:pt x="1463" y="2137"/>
                </a:lnTo>
                <a:lnTo>
                  <a:pt x="1463" y="2139"/>
                </a:lnTo>
                <a:close/>
                <a:moveTo>
                  <a:pt x="1461" y="2137"/>
                </a:moveTo>
                <a:lnTo>
                  <a:pt x="1463" y="2137"/>
                </a:lnTo>
                <a:lnTo>
                  <a:pt x="1461" y="2137"/>
                </a:lnTo>
                <a:close/>
                <a:moveTo>
                  <a:pt x="1469" y="2144"/>
                </a:moveTo>
                <a:lnTo>
                  <a:pt x="1469" y="2143"/>
                </a:lnTo>
                <a:lnTo>
                  <a:pt x="1469" y="2144"/>
                </a:lnTo>
                <a:close/>
                <a:moveTo>
                  <a:pt x="1465" y="2135"/>
                </a:moveTo>
                <a:lnTo>
                  <a:pt x="1465" y="2137"/>
                </a:lnTo>
                <a:lnTo>
                  <a:pt x="1465" y="2139"/>
                </a:lnTo>
                <a:lnTo>
                  <a:pt x="1463" y="2139"/>
                </a:lnTo>
                <a:lnTo>
                  <a:pt x="1463" y="2137"/>
                </a:lnTo>
                <a:lnTo>
                  <a:pt x="1465" y="2137"/>
                </a:lnTo>
                <a:lnTo>
                  <a:pt x="1463" y="2137"/>
                </a:lnTo>
                <a:lnTo>
                  <a:pt x="1463" y="2135"/>
                </a:lnTo>
                <a:lnTo>
                  <a:pt x="1465" y="2135"/>
                </a:lnTo>
                <a:close/>
                <a:moveTo>
                  <a:pt x="1504" y="2164"/>
                </a:moveTo>
                <a:lnTo>
                  <a:pt x="1502" y="2164"/>
                </a:lnTo>
                <a:lnTo>
                  <a:pt x="1502" y="2162"/>
                </a:lnTo>
                <a:lnTo>
                  <a:pt x="1504" y="2162"/>
                </a:lnTo>
                <a:lnTo>
                  <a:pt x="1504" y="2164"/>
                </a:lnTo>
                <a:close/>
                <a:moveTo>
                  <a:pt x="1473" y="2139"/>
                </a:moveTo>
                <a:lnTo>
                  <a:pt x="1473" y="2137"/>
                </a:lnTo>
                <a:lnTo>
                  <a:pt x="1473" y="2139"/>
                </a:lnTo>
                <a:close/>
                <a:moveTo>
                  <a:pt x="1517" y="2168"/>
                </a:moveTo>
                <a:lnTo>
                  <a:pt x="1517" y="2169"/>
                </a:lnTo>
                <a:lnTo>
                  <a:pt x="1517" y="2168"/>
                </a:lnTo>
                <a:close/>
                <a:moveTo>
                  <a:pt x="1517" y="2169"/>
                </a:moveTo>
                <a:lnTo>
                  <a:pt x="1517" y="2168"/>
                </a:lnTo>
                <a:lnTo>
                  <a:pt x="1517" y="2169"/>
                </a:lnTo>
                <a:close/>
                <a:moveTo>
                  <a:pt x="1517" y="2169"/>
                </a:moveTo>
                <a:lnTo>
                  <a:pt x="1517" y="2168"/>
                </a:lnTo>
                <a:lnTo>
                  <a:pt x="1517" y="2169"/>
                </a:lnTo>
                <a:close/>
                <a:moveTo>
                  <a:pt x="691" y="1231"/>
                </a:moveTo>
                <a:lnTo>
                  <a:pt x="693" y="1231"/>
                </a:lnTo>
                <a:lnTo>
                  <a:pt x="691" y="1231"/>
                </a:lnTo>
                <a:lnTo>
                  <a:pt x="689" y="1231"/>
                </a:lnTo>
                <a:lnTo>
                  <a:pt x="688" y="1231"/>
                </a:lnTo>
                <a:lnTo>
                  <a:pt x="689" y="1231"/>
                </a:lnTo>
                <a:lnTo>
                  <a:pt x="689" y="1229"/>
                </a:lnTo>
                <a:lnTo>
                  <a:pt x="691" y="1229"/>
                </a:lnTo>
                <a:lnTo>
                  <a:pt x="691" y="1231"/>
                </a:lnTo>
                <a:close/>
                <a:moveTo>
                  <a:pt x="697" y="1231"/>
                </a:moveTo>
                <a:lnTo>
                  <a:pt x="697" y="1229"/>
                </a:lnTo>
                <a:lnTo>
                  <a:pt x="695" y="1229"/>
                </a:lnTo>
                <a:lnTo>
                  <a:pt x="695" y="1231"/>
                </a:lnTo>
                <a:lnTo>
                  <a:pt x="695" y="1233"/>
                </a:lnTo>
                <a:lnTo>
                  <a:pt x="693" y="1233"/>
                </a:lnTo>
                <a:lnTo>
                  <a:pt x="695" y="1233"/>
                </a:lnTo>
                <a:lnTo>
                  <a:pt x="693" y="1233"/>
                </a:lnTo>
                <a:lnTo>
                  <a:pt x="691" y="1233"/>
                </a:lnTo>
                <a:lnTo>
                  <a:pt x="693" y="1233"/>
                </a:lnTo>
                <a:lnTo>
                  <a:pt x="693" y="1231"/>
                </a:lnTo>
                <a:lnTo>
                  <a:pt x="693" y="1229"/>
                </a:lnTo>
                <a:lnTo>
                  <a:pt x="695" y="1229"/>
                </a:lnTo>
                <a:lnTo>
                  <a:pt x="697" y="1229"/>
                </a:lnTo>
                <a:lnTo>
                  <a:pt x="697" y="1231"/>
                </a:lnTo>
                <a:close/>
                <a:moveTo>
                  <a:pt x="1473" y="2125"/>
                </a:moveTo>
                <a:lnTo>
                  <a:pt x="1473" y="2127"/>
                </a:lnTo>
                <a:lnTo>
                  <a:pt x="1475" y="2127"/>
                </a:lnTo>
                <a:lnTo>
                  <a:pt x="1475" y="2129"/>
                </a:lnTo>
                <a:lnTo>
                  <a:pt x="1473" y="2131"/>
                </a:lnTo>
                <a:lnTo>
                  <a:pt x="1475" y="2131"/>
                </a:lnTo>
                <a:lnTo>
                  <a:pt x="1475" y="2133"/>
                </a:lnTo>
                <a:lnTo>
                  <a:pt x="1477" y="2133"/>
                </a:lnTo>
                <a:lnTo>
                  <a:pt x="1479" y="2135"/>
                </a:lnTo>
                <a:lnTo>
                  <a:pt x="1477" y="2135"/>
                </a:lnTo>
                <a:lnTo>
                  <a:pt x="1479" y="2135"/>
                </a:lnTo>
                <a:lnTo>
                  <a:pt x="1481" y="2135"/>
                </a:lnTo>
                <a:lnTo>
                  <a:pt x="1479" y="2135"/>
                </a:lnTo>
                <a:lnTo>
                  <a:pt x="1481" y="2135"/>
                </a:lnTo>
                <a:lnTo>
                  <a:pt x="1481" y="2137"/>
                </a:lnTo>
                <a:lnTo>
                  <a:pt x="1479" y="2135"/>
                </a:lnTo>
                <a:lnTo>
                  <a:pt x="1479" y="2137"/>
                </a:lnTo>
                <a:lnTo>
                  <a:pt x="1477" y="2137"/>
                </a:lnTo>
                <a:lnTo>
                  <a:pt x="1475" y="2137"/>
                </a:lnTo>
                <a:lnTo>
                  <a:pt x="1473" y="2137"/>
                </a:lnTo>
                <a:lnTo>
                  <a:pt x="1473" y="2135"/>
                </a:lnTo>
                <a:lnTo>
                  <a:pt x="1473" y="2133"/>
                </a:lnTo>
                <a:lnTo>
                  <a:pt x="1473" y="2131"/>
                </a:lnTo>
                <a:lnTo>
                  <a:pt x="1471" y="2131"/>
                </a:lnTo>
                <a:lnTo>
                  <a:pt x="1471" y="2133"/>
                </a:lnTo>
                <a:lnTo>
                  <a:pt x="1471" y="2135"/>
                </a:lnTo>
                <a:lnTo>
                  <a:pt x="1469" y="2137"/>
                </a:lnTo>
                <a:lnTo>
                  <a:pt x="1467" y="2137"/>
                </a:lnTo>
                <a:lnTo>
                  <a:pt x="1467" y="2135"/>
                </a:lnTo>
                <a:lnTo>
                  <a:pt x="1465" y="2133"/>
                </a:lnTo>
                <a:lnTo>
                  <a:pt x="1465" y="2131"/>
                </a:lnTo>
                <a:lnTo>
                  <a:pt x="1465" y="2129"/>
                </a:lnTo>
                <a:lnTo>
                  <a:pt x="1465" y="2127"/>
                </a:lnTo>
                <a:lnTo>
                  <a:pt x="1465" y="2125"/>
                </a:lnTo>
                <a:lnTo>
                  <a:pt x="1467" y="2125"/>
                </a:lnTo>
                <a:lnTo>
                  <a:pt x="1469" y="2125"/>
                </a:lnTo>
                <a:lnTo>
                  <a:pt x="1469" y="2123"/>
                </a:lnTo>
                <a:lnTo>
                  <a:pt x="1469" y="2125"/>
                </a:lnTo>
                <a:lnTo>
                  <a:pt x="1471" y="2125"/>
                </a:lnTo>
                <a:lnTo>
                  <a:pt x="1471" y="2127"/>
                </a:lnTo>
                <a:lnTo>
                  <a:pt x="1471" y="2125"/>
                </a:lnTo>
                <a:lnTo>
                  <a:pt x="1473" y="2125"/>
                </a:lnTo>
                <a:close/>
                <a:moveTo>
                  <a:pt x="695" y="1229"/>
                </a:moveTo>
                <a:lnTo>
                  <a:pt x="695" y="1227"/>
                </a:lnTo>
                <a:lnTo>
                  <a:pt x="697" y="1227"/>
                </a:lnTo>
                <a:lnTo>
                  <a:pt x="695" y="1227"/>
                </a:lnTo>
                <a:lnTo>
                  <a:pt x="695" y="1229"/>
                </a:lnTo>
                <a:close/>
                <a:moveTo>
                  <a:pt x="693" y="1221"/>
                </a:moveTo>
                <a:lnTo>
                  <a:pt x="695" y="1221"/>
                </a:lnTo>
                <a:lnTo>
                  <a:pt x="693" y="1221"/>
                </a:lnTo>
                <a:close/>
                <a:moveTo>
                  <a:pt x="1546" y="2177"/>
                </a:moveTo>
                <a:lnTo>
                  <a:pt x="1544" y="2177"/>
                </a:lnTo>
                <a:lnTo>
                  <a:pt x="1542" y="2175"/>
                </a:lnTo>
                <a:lnTo>
                  <a:pt x="1544" y="2175"/>
                </a:lnTo>
                <a:lnTo>
                  <a:pt x="1544" y="2177"/>
                </a:lnTo>
                <a:lnTo>
                  <a:pt x="1546" y="2177"/>
                </a:lnTo>
                <a:close/>
                <a:moveTo>
                  <a:pt x="705" y="1238"/>
                </a:moveTo>
                <a:lnTo>
                  <a:pt x="705" y="1236"/>
                </a:lnTo>
                <a:lnTo>
                  <a:pt x="705" y="1238"/>
                </a:lnTo>
                <a:close/>
                <a:moveTo>
                  <a:pt x="1575" y="2200"/>
                </a:moveTo>
                <a:lnTo>
                  <a:pt x="1573" y="2200"/>
                </a:lnTo>
                <a:lnTo>
                  <a:pt x="1575" y="2200"/>
                </a:lnTo>
                <a:lnTo>
                  <a:pt x="1575" y="2198"/>
                </a:lnTo>
                <a:lnTo>
                  <a:pt x="1577" y="2198"/>
                </a:lnTo>
                <a:lnTo>
                  <a:pt x="1575" y="2198"/>
                </a:lnTo>
                <a:lnTo>
                  <a:pt x="1575" y="2200"/>
                </a:lnTo>
                <a:close/>
                <a:moveTo>
                  <a:pt x="1471" y="2121"/>
                </a:moveTo>
                <a:lnTo>
                  <a:pt x="1469" y="2121"/>
                </a:lnTo>
                <a:lnTo>
                  <a:pt x="1471" y="2121"/>
                </a:lnTo>
                <a:lnTo>
                  <a:pt x="1471" y="2120"/>
                </a:lnTo>
                <a:lnTo>
                  <a:pt x="1471" y="2121"/>
                </a:lnTo>
                <a:close/>
                <a:moveTo>
                  <a:pt x="693" y="1219"/>
                </a:moveTo>
                <a:lnTo>
                  <a:pt x="695" y="1219"/>
                </a:lnTo>
                <a:lnTo>
                  <a:pt x="693" y="1219"/>
                </a:lnTo>
                <a:close/>
                <a:moveTo>
                  <a:pt x="705" y="1234"/>
                </a:moveTo>
                <a:lnTo>
                  <a:pt x="705" y="1236"/>
                </a:lnTo>
                <a:lnTo>
                  <a:pt x="703" y="1236"/>
                </a:lnTo>
                <a:lnTo>
                  <a:pt x="703" y="1238"/>
                </a:lnTo>
                <a:lnTo>
                  <a:pt x="701" y="1236"/>
                </a:lnTo>
                <a:lnTo>
                  <a:pt x="701" y="1234"/>
                </a:lnTo>
                <a:lnTo>
                  <a:pt x="703" y="1234"/>
                </a:lnTo>
                <a:lnTo>
                  <a:pt x="705" y="1234"/>
                </a:lnTo>
                <a:close/>
                <a:moveTo>
                  <a:pt x="1521" y="2158"/>
                </a:moveTo>
                <a:lnTo>
                  <a:pt x="1521" y="2160"/>
                </a:lnTo>
                <a:lnTo>
                  <a:pt x="1521" y="2158"/>
                </a:lnTo>
                <a:lnTo>
                  <a:pt x="1521" y="2160"/>
                </a:lnTo>
                <a:lnTo>
                  <a:pt x="1521" y="2158"/>
                </a:lnTo>
                <a:close/>
                <a:moveTo>
                  <a:pt x="1477" y="2123"/>
                </a:moveTo>
                <a:lnTo>
                  <a:pt x="1479" y="2123"/>
                </a:lnTo>
                <a:lnTo>
                  <a:pt x="1477" y="2123"/>
                </a:lnTo>
                <a:close/>
                <a:moveTo>
                  <a:pt x="1483" y="2127"/>
                </a:moveTo>
                <a:lnTo>
                  <a:pt x="1483" y="2129"/>
                </a:lnTo>
                <a:lnTo>
                  <a:pt x="1483" y="2127"/>
                </a:lnTo>
                <a:close/>
                <a:moveTo>
                  <a:pt x="1483" y="2127"/>
                </a:moveTo>
                <a:lnTo>
                  <a:pt x="1481" y="2127"/>
                </a:lnTo>
                <a:lnTo>
                  <a:pt x="1483" y="2127"/>
                </a:lnTo>
                <a:lnTo>
                  <a:pt x="1481" y="2127"/>
                </a:lnTo>
                <a:lnTo>
                  <a:pt x="1483" y="2127"/>
                </a:lnTo>
                <a:close/>
                <a:moveTo>
                  <a:pt x="1479" y="2123"/>
                </a:moveTo>
                <a:lnTo>
                  <a:pt x="1479" y="2125"/>
                </a:lnTo>
                <a:lnTo>
                  <a:pt x="1477" y="2125"/>
                </a:lnTo>
                <a:lnTo>
                  <a:pt x="1479" y="2125"/>
                </a:lnTo>
                <a:lnTo>
                  <a:pt x="1479" y="2123"/>
                </a:lnTo>
                <a:close/>
                <a:moveTo>
                  <a:pt x="712" y="1248"/>
                </a:moveTo>
                <a:lnTo>
                  <a:pt x="712" y="1250"/>
                </a:lnTo>
                <a:lnTo>
                  <a:pt x="712" y="1252"/>
                </a:lnTo>
                <a:lnTo>
                  <a:pt x="712" y="1254"/>
                </a:lnTo>
                <a:lnTo>
                  <a:pt x="711" y="1254"/>
                </a:lnTo>
                <a:lnTo>
                  <a:pt x="711" y="1252"/>
                </a:lnTo>
                <a:lnTo>
                  <a:pt x="711" y="1250"/>
                </a:lnTo>
                <a:lnTo>
                  <a:pt x="711" y="1248"/>
                </a:lnTo>
                <a:lnTo>
                  <a:pt x="711" y="1246"/>
                </a:lnTo>
                <a:lnTo>
                  <a:pt x="709" y="1246"/>
                </a:lnTo>
                <a:lnTo>
                  <a:pt x="709" y="1248"/>
                </a:lnTo>
                <a:lnTo>
                  <a:pt x="707" y="1248"/>
                </a:lnTo>
                <a:lnTo>
                  <a:pt x="707" y="1246"/>
                </a:lnTo>
                <a:lnTo>
                  <a:pt x="707" y="1248"/>
                </a:lnTo>
                <a:lnTo>
                  <a:pt x="707" y="1250"/>
                </a:lnTo>
                <a:lnTo>
                  <a:pt x="707" y="1248"/>
                </a:lnTo>
                <a:lnTo>
                  <a:pt x="705" y="1248"/>
                </a:lnTo>
                <a:lnTo>
                  <a:pt x="705" y="1246"/>
                </a:lnTo>
                <a:lnTo>
                  <a:pt x="707" y="1246"/>
                </a:lnTo>
                <a:lnTo>
                  <a:pt x="709" y="1246"/>
                </a:lnTo>
                <a:lnTo>
                  <a:pt x="709" y="1244"/>
                </a:lnTo>
                <a:lnTo>
                  <a:pt x="711" y="1244"/>
                </a:lnTo>
                <a:lnTo>
                  <a:pt x="711" y="1246"/>
                </a:lnTo>
                <a:lnTo>
                  <a:pt x="712" y="1246"/>
                </a:lnTo>
                <a:lnTo>
                  <a:pt x="712" y="1248"/>
                </a:lnTo>
                <a:close/>
                <a:moveTo>
                  <a:pt x="789" y="1377"/>
                </a:moveTo>
                <a:lnTo>
                  <a:pt x="787" y="1377"/>
                </a:lnTo>
                <a:lnTo>
                  <a:pt x="785" y="1378"/>
                </a:lnTo>
                <a:lnTo>
                  <a:pt x="784" y="1380"/>
                </a:lnTo>
                <a:lnTo>
                  <a:pt x="782" y="1380"/>
                </a:lnTo>
                <a:lnTo>
                  <a:pt x="780" y="1380"/>
                </a:lnTo>
                <a:lnTo>
                  <a:pt x="780" y="1378"/>
                </a:lnTo>
                <a:lnTo>
                  <a:pt x="780" y="1377"/>
                </a:lnTo>
                <a:lnTo>
                  <a:pt x="778" y="1377"/>
                </a:lnTo>
                <a:lnTo>
                  <a:pt x="778" y="1375"/>
                </a:lnTo>
                <a:lnTo>
                  <a:pt x="780" y="1375"/>
                </a:lnTo>
                <a:lnTo>
                  <a:pt x="780" y="1373"/>
                </a:lnTo>
                <a:lnTo>
                  <a:pt x="782" y="1373"/>
                </a:lnTo>
                <a:lnTo>
                  <a:pt x="784" y="1375"/>
                </a:lnTo>
                <a:lnTo>
                  <a:pt x="785" y="1375"/>
                </a:lnTo>
                <a:lnTo>
                  <a:pt x="787" y="1375"/>
                </a:lnTo>
                <a:lnTo>
                  <a:pt x="787" y="1373"/>
                </a:lnTo>
                <a:lnTo>
                  <a:pt x="789" y="1373"/>
                </a:lnTo>
                <a:lnTo>
                  <a:pt x="789" y="1375"/>
                </a:lnTo>
                <a:lnTo>
                  <a:pt x="791" y="1375"/>
                </a:lnTo>
                <a:lnTo>
                  <a:pt x="791" y="1377"/>
                </a:lnTo>
                <a:lnTo>
                  <a:pt x="789" y="1377"/>
                </a:lnTo>
                <a:close/>
                <a:moveTo>
                  <a:pt x="787" y="1377"/>
                </a:moveTo>
                <a:lnTo>
                  <a:pt x="789" y="1377"/>
                </a:lnTo>
                <a:lnTo>
                  <a:pt x="787" y="1377"/>
                </a:lnTo>
                <a:close/>
                <a:moveTo>
                  <a:pt x="1579" y="2196"/>
                </a:moveTo>
                <a:lnTo>
                  <a:pt x="1579" y="2198"/>
                </a:lnTo>
                <a:lnTo>
                  <a:pt x="1577" y="2198"/>
                </a:lnTo>
                <a:lnTo>
                  <a:pt x="1577" y="2196"/>
                </a:lnTo>
                <a:lnTo>
                  <a:pt x="1579" y="2196"/>
                </a:lnTo>
                <a:close/>
                <a:moveTo>
                  <a:pt x="1548" y="2177"/>
                </a:moveTo>
                <a:lnTo>
                  <a:pt x="1548" y="2179"/>
                </a:lnTo>
                <a:lnTo>
                  <a:pt x="1546" y="2179"/>
                </a:lnTo>
                <a:lnTo>
                  <a:pt x="1546" y="2177"/>
                </a:lnTo>
                <a:lnTo>
                  <a:pt x="1544" y="2177"/>
                </a:lnTo>
                <a:lnTo>
                  <a:pt x="1546" y="2177"/>
                </a:lnTo>
                <a:lnTo>
                  <a:pt x="1546" y="2175"/>
                </a:lnTo>
                <a:lnTo>
                  <a:pt x="1544" y="2175"/>
                </a:lnTo>
                <a:lnTo>
                  <a:pt x="1546" y="2175"/>
                </a:lnTo>
                <a:lnTo>
                  <a:pt x="1548" y="2175"/>
                </a:lnTo>
                <a:lnTo>
                  <a:pt x="1550" y="2175"/>
                </a:lnTo>
                <a:lnTo>
                  <a:pt x="1550" y="2177"/>
                </a:lnTo>
                <a:lnTo>
                  <a:pt x="1548" y="2177"/>
                </a:lnTo>
                <a:close/>
                <a:moveTo>
                  <a:pt x="1521" y="2154"/>
                </a:moveTo>
                <a:lnTo>
                  <a:pt x="1521" y="2156"/>
                </a:lnTo>
                <a:lnTo>
                  <a:pt x="1521" y="2158"/>
                </a:lnTo>
                <a:lnTo>
                  <a:pt x="1519" y="2158"/>
                </a:lnTo>
                <a:lnTo>
                  <a:pt x="1519" y="2156"/>
                </a:lnTo>
                <a:lnTo>
                  <a:pt x="1519" y="2154"/>
                </a:lnTo>
                <a:lnTo>
                  <a:pt x="1521" y="2154"/>
                </a:lnTo>
                <a:close/>
                <a:moveTo>
                  <a:pt x="1523" y="2156"/>
                </a:moveTo>
                <a:lnTo>
                  <a:pt x="1523" y="2158"/>
                </a:lnTo>
                <a:lnTo>
                  <a:pt x="1521" y="2158"/>
                </a:lnTo>
                <a:lnTo>
                  <a:pt x="1521" y="2156"/>
                </a:lnTo>
                <a:lnTo>
                  <a:pt x="1523" y="2156"/>
                </a:lnTo>
                <a:close/>
                <a:moveTo>
                  <a:pt x="1523" y="2156"/>
                </a:moveTo>
                <a:lnTo>
                  <a:pt x="1525" y="2156"/>
                </a:lnTo>
                <a:lnTo>
                  <a:pt x="1525" y="2158"/>
                </a:lnTo>
                <a:lnTo>
                  <a:pt x="1523" y="2156"/>
                </a:lnTo>
                <a:close/>
                <a:moveTo>
                  <a:pt x="1546" y="2175"/>
                </a:moveTo>
                <a:lnTo>
                  <a:pt x="1546" y="2173"/>
                </a:lnTo>
                <a:lnTo>
                  <a:pt x="1548" y="2173"/>
                </a:lnTo>
                <a:lnTo>
                  <a:pt x="1548" y="2175"/>
                </a:lnTo>
                <a:lnTo>
                  <a:pt x="1546" y="2175"/>
                </a:lnTo>
                <a:close/>
                <a:moveTo>
                  <a:pt x="1481" y="2123"/>
                </a:moveTo>
                <a:lnTo>
                  <a:pt x="1479" y="2123"/>
                </a:lnTo>
                <a:lnTo>
                  <a:pt x="1481" y="2123"/>
                </a:lnTo>
                <a:close/>
                <a:moveTo>
                  <a:pt x="1531" y="2160"/>
                </a:moveTo>
                <a:lnTo>
                  <a:pt x="1529" y="2160"/>
                </a:lnTo>
                <a:lnTo>
                  <a:pt x="1529" y="2158"/>
                </a:lnTo>
                <a:lnTo>
                  <a:pt x="1529" y="2160"/>
                </a:lnTo>
                <a:lnTo>
                  <a:pt x="1531" y="2160"/>
                </a:lnTo>
                <a:close/>
                <a:moveTo>
                  <a:pt x="1452" y="2100"/>
                </a:moveTo>
                <a:lnTo>
                  <a:pt x="1452" y="2102"/>
                </a:lnTo>
                <a:lnTo>
                  <a:pt x="1450" y="2102"/>
                </a:lnTo>
                <a:lnTo>
                  <a:pt x="1452" y="2102"/>
                </a:lnTo>
                <a:lnTo>
                  <a:pt x="1454" y="2102"/>
                </a:lnTo>
                <a:lnTo>
                  <a:pt x="1454" y="2104"/>
                </a:lnTo>
                <a:lnTo>
                  <a:pt x="1456" y="2102"/>
                </a:lnTo>
                <a:lnTo>
                  <a:pt x="1456" y="2104"/>
                </a:lnTo>
                <a:lnTo>
                  <a:pt x="1458" y="2104"/>
                </a:lnTo>
                <a:lnTo>
                  <a:pt x="1458" y="2106"/>
                </a:lnTo>
                <a:lnTo>
                  <a:pt x="1456" y="2106"/>
                </a:lnTo>
                <a:lnTo>
                  <a:pt x="1454" y="2106"/>
                </a:lnTo>
                <a:lnTo>
                  <a:pt x="1454" y="2104"/>
                </a:lnTo>
                <a:lnTo>
                  <a:pt x="1454" y="2106"/>
                </a:lnTo>
                <a:lnTo>
                  <a:pt x="1452" y="2106"/>
                </a:lnTo>
                <a:lnTo>
                  <a:pt x="1452" y="2104"/>
                </a:lnTo>
                <a:lnTo>
                  <a:pt x="1450" y="2104"/>
                </a:lnTo>
                <a:lnTo>
                  <a:pt x="1450" y="2106"/>
                </a:lnTo>
                <a:lnTo>
                  <a:pt x="1448" y="2106"/>
                </a:lnTo>
                <a:lnTo>
                  <a:pt x="1448" y="2104"/>
                </a:lnTo>
                <a:lnTo>
                  <a:pt x="1448" y="2106"/>
                </a:lnTo>
                <a:lnTo>
                  <a:pt x="1446" y="2106"/>
                </a:lnTo>
                <a:lnTo>
                  <a:pt x="1446" y="2104"/>
                </a:lnTo>
                <a:lnTo>
                  <a:pt x="1446" y="2102"/>
                </a:lnTo>
                <a:lnTo>
                  <a:pt x="1448" y="2102"/>
                </a:lnTo>
                <a:lnTo>
                  <a:pt x="1450" y="2102"/>
                </a:lnTo>
                <a:lnTo>
                  <a:pt x="1448" y="2102"/>
                </a:lnTo>
                <a:lnTo>
                  <a:pt x="1448" y="2100"/>
                </a:lnTo>
                <a:lnTo>
                  <a:pt x="1448" y="2098"/>
                </a:lnTo>
                <a:lnTo>
                  <a:pt x="1450" y="2098"/>
                </a:lnTo>
                <a:lnTo>
                  <a:pt x="1450" y="2100"/>
                </a:lnTo>
                <a:lnTo>
                  <a:pt x="1450" y="2098"/>
                </a:lnTo>
                <a:lnTo>
                  <a:pt x="1450" y="2100"/>
                </a:lnTo>
                <a:lnTo>
                  <a:pt x="1452" y="2100"/>
                </a:lnTo>
                <a:close/>
                <a:moveTo>
                  <a:pt x="1486" y="2125"/>
                </a:moveTo>
                <a:lnTo>
                  <a:pt x="1484" y="2125"/>
                </a:lnTo>
                <a:lnTo>
                  <a:pt x="1486" y="2125"/>
                </a:lnTo>
                <a:close/>
                <a:moveTo>
                  <a:pt x="1467" y="2110"/>
                </a:moveTo>
                <a:lnTo>
                  <a:pt x="1467" y="2112"/>
                </a:lnTo>
                <a:lnTo>
                  <a:pt x="1467" y="2114"/>
                </a:lnTo>
                <a:lnTo>
                  <a:pt x="1465" y="2114"/>
                </a:lnTo>
                <a:lnTo>
                  <a:pt x="1465" y="2116"/>
                </a:lnTo>
                <a:lnTo>
                  <a:pt x="1465" y="2114"/>
                </a:lnTo>
                <a:lnTo>
                  <a:pt x="1465" y="2116"/>
                </a:lnTo>
                <a:lnTo>
                  <a:pt x="1463" y="2116"/>
                </a:lnTo>
                <a:lnTo>
                  <a:pt x="1463" y="2118"/>
                </a:lnTo>
                <a:lnTo>
                  <a:pt x="1463" y="2116"/>
                </a:lnTo>
                <a:lnTo>
                  <a:pt x="1461" y="2116"/>
                </a:lnTo>
                <a:lnTo>
                  <a:pt x="1461" y="2114"/>
                </a:lnTo>
                <a:lnTo>
                  <a:pt x="1461" y="2112"/>
                </a:lnTo>
                <a:lnTo>
                  <a:pt x="1463" y="2112"/>
                </a:lnTo>
                <a:lnTo>
                  <a:pt x="1461" y="2112"/>
                </a:lnTo>
                <a:lnTo>
                  <a:pt x="1463" y="2112"/>
                </a:lnTo>
                <a:lnTo>
                  <a:pt x="1463" y="2110"/>
                </a:lnTo>
                <a:lnTo>
                  <a:pt x="1465" y="2110"/>
                </a:lnTo>
                <a:lnTo>
                  <a:pt x="1467" y="2110"/>
                </a:lnTo>
                <a:close/>
                <a:moveTo>
                  <a:pt x="1458" y="2104"/>
                </a:moveTo>
                <a:lnTo>
                  <a:pt x="1458" y="2102"/>
                </a:lnTo>
                <a:lnTo>
                  <a:pt x="1459" y="2102"/>
                </a:lnTo>
                <a:lnTo>
                  <a:pt x="1459" y="2104"/>
                </a:lnTo>
                <a:lnTo>
                  <a:pt x="1458" y="2104"/>
                </a:lnTo>
                <a:close/>
                <a:moveTo>
                  <a:pt x="670" y="1165"/>
                </a:moveTo>
                <a:lnTo>
                  <a:pt x="670" y="1163"/>
                </a:lnTo>
                <a:lnTo>
                  <a:pt x="668" y="1163"/>
                </a:lnTo>
                <a:lnTo>
                  <a:pt x="668" y="1161"/>
                </a:lnTo>
                <a:lnTo>
                  <a:pt x="666" y="1161"/>
                </a:lnTo>
                <a:lnTo>
                  <a:pt x="666" y="1160"/>
                </a:lnTo>
                <a:lnTo>
                  <a:pt x="668" y="1160"/>
                </a:lnTo>
                <a:lnTo>
                  <a:pt x="668" y="1161"/>
                </a:lnTo>
                <a:lnTo>
                  <a:pt x="670" y="1161"/>
                </a:lnTo>
                <a:lnTo>
                  <a:pt x="670" y="1163"/>
                </a:lnTo>
                <a:lnTo>
                  <a:pt x="672" y="1163"/>
                </a:lnTo>
                <a:lnTo>
                  <a:pt x="670" y="1163"/>
                </a:lnTo>
                <a:lnTo>
                  <a:pt x="670" y="1165"/>
                </a:lnTo>
                <a:close/>
                <a:moveTo>
                  <a:pt x="1565" y="2181"/>
                </a:moveTo>
                <a:lnTo>
                  <a:pt x="1565" y="2183"/>
                </a:lnTo>
                <a:lnTo>
                  <a:pt x="1565" y="2185"/>
                </a:lnTo>
                <a:lnTo>
                  <a:pt x="1567" y="2187"/>
                </a:lnTo>
                <a:lnTo>
                  <a:pt x="1567" y="2189"/>
                </a:lnTo>
                <a:lnTo>
                  <a:pt x="1567" y="2191"/>
                </a:lnTo>
                <a:lnTo>
                  <a:pt x="1565" y="2191"/>
                </a:lnTo>
                <a:lnTo>
                  <a:pt x="1565" y="2192"/>
                </a:lnTo>
                <a:lnTo>
                  <a:pt x="1567" y="2192"/>
                </a:lnTo>
                <a:lnTo>
                  <a:pt x="1565" y="2192"/>
                </a:lnTo>
                <a:lnTo>
                  <a:pt x="1567" y="2192"/>
                </a:lnTo>
                <a:lnTo>
                  <a:pt x="1567" y="2194"/>
                </a:lnTo>
                <a:lnTo>
                  <a:pt x="1565" y="2194"/>
                </a:lnTo>
                <a:lnTo>
                  <a:pt x="1567" y="2194"/>
                </a:lnTo>
                <a:lnTo>
                  <a:pt x="1565" y="2196"/>
                </a:lnTo>
                <a:lnTo>
                  <a:pt x="1565" y="2198"/>
                </a:lnTo>
                <a:lnTo>
                  <a:pt x="1563" y="2200"/>
                </a:lnTo>
                <a:lnTo>
                  <a:pt x="1563" y="2198"/>
                </a:lnTo>
                <a:lnTo>
                  <a:pt x="1563" y="2200"/>
                </a:lnTo>
                <a:lnTo>
                  <a:pt x="1561" y="2200"/>
                </a:lnTo>
                <a:lnTo>
                  <a:pt x="1563" y="2200"/>
                </a:lnTo>
                <a:lnTo>
                  <a:pt x="1565" y="2200"/>
                </a:lnTo>
                <a:lnTo>
                  <a:pt x="1563" y="2200"/>
                </a:lnTo>
                <a:lnTo>
                  <a:pt x="1563" y="2202"/>
                </a:lnTo>
                <a:lnTo>
                  <a:pt x="1563" y="2204"/>
                </a:lnTo>
                <a:lnTo>
                  <a:pt x="1563" y="2206"/>
                </a:lnTo>
                <a:lnTo>
                  <a:pt x="1563" y="2208"/>
                </a:lnTo>
                <a:lnTo>
                  <a:pt x="1563" y="2210"/>
                </a:lnTo>
                <a:lnTo>
                  <a:pt x="1561" y="2210"/>
                </a:lnTo>
                <a:lnTo>
                  <a:pt x="1563" y="2210"/>
                </a:lnTo>
                <a:lnTo>
                  <a:pt x="1561" y="2210"/>
                </a:lnTo>
                <a:lnTo>
                  <a:pt x="1561" y="2212"/>
                </a:lnTo>
                <a:lnTo>
                  <a:pt x="1561" y="2214"/>
                </a:lnTo>
                <a:lnTo>
                  <a:pt x="1559" y="2214"/>
                </a:lnTo>
                <a:lnTo>
                  <a:pt x="1557" y="2214"/>
                </a:lnTo>
                <a:lnTo>
                  <a:pt x="1559" y="2214"/>
                </a:lnTo>
                <a:lnTo>
                  <a:pt x="1559" y="2215"/>
                </a:lnTo>
                <a:lnTo>
                  <a:pt x="1557" y="2215"/>
                </a:lnTo>
                <a:lnTo>
                  <a:pt x="1559" y="2215"/>
                </a:lnTo>
                <a:lnTo>
                  <a:pt x="1557" y="2217"/>
                </a:lnTo>
                <a:lnTo>
                  <a:pt x="1557" y="2215"/>
                </a:lnTo>
                <a:lnTo>
                  <a:pt x="1557" y="2214"/>
                </a:lnTo>
                <a:lnTo>
                  <a:pt x="1557" y="2215"/>
                </a:lnTo>
                <a:lnTo>
                  <a:pt x="1556" y="2215"/>
                </a:lnTo>
                <a:lnTo>
                  <a:pt x="1556" y="2217"/>
                </a:lnTo>
                <a:lnTo>
                  <a:pt x="1556" y="2219"/>
                </a:lnTo>
                <a:lnTo>
                  <a:pt x="1554" y="2219"/>
                </a:lnTo>
                <a:lnTo>
                  <a:pt x="1554" y="2221"/>
                </a:lnTo>
                <a:lnTo>
                  <a:pt x="1552" y="2221"/>
                </a:lnTo>
                <a:lnTo>
                  <a:pt x="1552" y="2223"/>
                </a:lnTo>
                <a:lnTo>
                  <a:pt x="1550" y="2223"/>
                </a:lnTo>
                <a:lnTo>
                  <a:pt x="1550" y="2225"/>
                </a:lnTo>
                <a:lnTo>
                  <a:pt x="1550" y="2227"/>
                </a:lnTo>
                <a:lnTo>
                  <a:pt x="1548" y="2227"/>
                </a:lnTo>
                <a:lnTo>
                  <a:pt x="1548" y="2225"/>
                </a:lnTo>
                <a:lnTo>
                  <a:pt x="1546" y="2225"/>
                </a:lnTo>
                <a:lnTo>
                  <a:pt x="1546" y="2227"/>
                </a:lnTo>
                <a:lnTo>
                  <a:pt x="1546" y="2229"/>
                </a:lnTo>
                <a:lnTo>
                  <a:pt x="1544" y="2229"/>
                </a:lnTo>
                <a:lnTo>
                  <a:pt x="1546" y="2229"/>
                </a:lnTo>
                <a:lnTo>
                  <a:pt x="1546" y="2227"/>
                </a:lnTo>
                <a:lnTo>
                  <a:pt x="1544" y="2229"/>
                </a:lnTo>
                <a:lnTo>
                  <a:pt x="1542" y="2229"/>
                </a:lnTo>
                <a:lnTo>
                  <a:pt x="1542" y="2231"/>
                </a:lnTo>
                <a:lnTo>
                  <a:pt x="1540" y="2231"/>
                </a:lnTo>
                <a:lnTo>
                  <a:pt x="1540" y="2233"/>
                </a:lnTo>
                <a:lnTo>
                  <a:pt x="1538" y="2233"/>
                </a:lnTo>
                <a:lnTo>
                  <a:pt x="1538" y="2235"/>
                </a:lnTo>
                <a:lnTo>
                  <a:pt x="1538" y="2233"/>
                </a:lnTo>
                <a:lnTo>
                  <a:pt x="1536" y="2233"/>
                </a:lnTo>
                <a:lnTo>
                  <a:pt x="1536" y="2235"/>
                </a:lnTo>
                <a:lnTo>
                  <a:pt x="1536" y="2233"/>
                </a:lnTo>
                <a:lnTo>
                  <a:pt x="1534" y="2233"/>
                </a:lnTo>
                <a:lnTo>
                  <a:pt x="1534" y="2235"/>
                </a:lnTo>
                <a:lnTo>
                  <a:pt x="1532" y="2235"/>
                </a:lnTo>
                <a:lnTo>
                  <a:pt x="1531" y="2235"/>
                </a:lnTo>
                <a:lnTo>
                  <a:pt x="1531" y="2233"/>
                </a:lnTo>
                <a:lnTo>
                  <a:pt x="1529" y="2233"/>
                </a:lnTo>
                <a:lnTo>
                  <a:pt x="1529" y="2231"/>
                </a:lnTo>
                <a:lnTo>
                  <a:pt x="1529" y="2229"/>
                </a:lnTo>
                <a:lnTo>
                  <a:pt x="1529" y="2227"/>
                </a:lnTo>
                <a:lnTo>
                  <a:pt x="1531" y="2227"/>
                </a:lnTo>
                <a:lnTo>
                  <a:pt x="1532" y="2227"/>
                </a:lnTo>
                <a:lnTo>
                  <a:pt x="1534" y="2227"/>
                </a:lnTo>
                <a:lnTo>
                  <a:pt x="1534" y="2225"/>
                </a:lnTo>
                <a:lnTo>
                  <a:pt x="1536" y="2225"/>
                </a:lnTo>
                <a:lnTo>
                  <a:pt x="1538" y="2223"/>
                </a:lnTo>
                <a:lnTo>
                  <a:pt x="1540" y="2223"/>
                </a:lnTo>
                <a:lnTo>
                  <a:pt x="1540" y="2221"/>
                </a:lnTo>
                <a:lnTo>
                  <a:pt x="1540" y="2219"/>
                </a:lnTo>
                <a:lnTo>
                  <a:pt x="1538" y="2219"/>
                </a:lnTo>
                <a:lnTo>
                  <a:pt x="1538" y="2221"/>
                </a:lnTo>
                <a:lnTo>
                  <a:pt x="1538" y="2219"/>
                </a:lnTo>
                <a:lnTo>
                  <a:pt x="1538" y="2221"/>
                </a:lnTo>
                <a:lnTo>
                  <a:pt x="1538" y="2219"/>
                </a:lnTo>
                <a:lnTo>
                  <a:pt x="1536" y="2219"/>
                </a:lnTo>
                <a:lnTo>
                  <a:pt x="1536" y="2221"/>
                </a:lnTo>
                <a:lnTo>
                  <a:pt x="1534" y="2221"/>
                </a:lnTo>
                <a:lnTo>
                  <a:pt x="1536" y="2221"/>
                </a:lnTo>
                <a:lnTo>
                  <a:pt x="1536" y="2223"/>
                </a:lnTo>
                <a:lnTo>
                  <a:pt x="1534" y="2223"/>
                </a:lnTo>
                <a:lnTo>
                  <a:pt x="1534" y="2225"/>
                </a:lnTo>
                <a:lnTo>
                  <a:pt x="1534" y="2223"/>
                </a:lnTo>
                <a:lnTo>
                  <a:pt x="1534" y="2225"/>
                </a:lnTo>
                <a:lnTo>
                  <a:pt x="1532" y="2225"/>
                </a:lnTo>
                <a:lnTo>
                  <a:pt x="1531" y="2225"/>
                </a:lnTo>
                <a:lnTo>
                  <a:pt x="1529" y="2225"/>
                </a:lnTo>
                <a:lnTo>
                  <a:pt x="1531" y="2225"/>
                </a:lnTo>
                <a:lnTo>
                  <a:pt x="1529" y="2225"/>
                </a:lnTo>
                <a:lnTo>
                  <a:pt x="1531" y="2225"/>
                </a:lnTo>
                <a:lnTo>
                  <a:pt x="1531" y="2223"/>
                </a:lnTo>
                <a:lnTo>
                  <a:pt x="1529" y="2225"/>
                </a:lnTo>
                <a:lnTo>
                  <a:pt x="1527" y="2225"/>
                </a:lnTo>
                <a:lnTo>
                  <a:pt x="1527" y="2223"/>
                </a:lnTo>
                <a:lnTo>
                  <a:pt x="1525" y="2223"/>
                </a:lnTo>
                <a:lnTo>
                  <a:pt x="1525" y="2221"/>
                </a:lnTo>
                <a:lnTo>
                  <a:pt x="1525" y="2219"/>
                </a:lnTo>
                <a:lnTo>
                  <a:pt x="1527" y="2219"/>
                </a:lnTo>
                <a:lnTo>
                  <a:pt x="1529" y="2219"/>
                </a:lnTo>
                <a:lnTo>
                  <a:pt x="1531" y="2219"/>
                </a:lnTo>
                <a:lnTo>
                  <a:pt x="1531" y="2217"/>
                </a:lnTo>
                <a:lnTo>
                  <a:pt x="1532" y="2217"/>
                </a:lnTo>
                <a:lnTo>
                  <a:pt x="1534" y="2217"/>
                </a:lnTo>
                <a:lnTo>
                  <a:pt x="1534" y="2219"/>
                </a:lnTo>
                <a:lnTo>
                  <a:pt x="1534" y="2217"/>
                </a:lnTo>
                <a:lnTo>
                  <a:pt x="1536" y="2217"/>
                </a:lnTo>
                <a:lnTo>
                  <a:pt x="1538" y="2217"/>
                </a:lnTo>
                <a:lnTo>
                  <a:pt x="1540" y="2215"/>
                </a:lnTo>
                <a:lnTo>
                  <a:pt x="1538" y="2215"/>
                </a:lnTo>
                <a:lnTo>
                  <a:pt x="1540" y="2215"/>
                </a:lnTo>
                <a:lnTo>
                  <a:pt x="1540" y="2214"/>
                </a:lnTo>
                <a:lnTo>
                  <a:pt x="1540" y="2212"/>
                </a:lnTo>
                <a:lnTo>
                  <a:pt x="1542" y="2212"/>
                </a:lnTo>
                <a:lnTo>
                  <a:pt x="1542" y="2210"/>
                </a:lnTo>
                <a:lnTo>
                  <a:pt x="1542" y="2208"/>
                </a:lnTo>
                <a:lnTo>
                  <a:pt x="1542" y="2206"/>
                </a:lnTo>
                <a:lnTo>
                  <a:pt x="1544" y="2206"/>
                </a:lnTo>
                <a:lnTo>
                  <a:pt x="1544" y="2204"/>
                </a:lnTo>
                <a:lnTo>
                  <a:pt x="1544" y="2202"/>
                </a:lnTo>
                <a:lnTo>
                  <a:pt x="1546" y="2202"/>
                </a:lnTo>
                <a:lnTo>
                  <a:pt x="1546" y="2200"/>
                </a:lnTo>
                <a:lnTo>
                  <a:pt x="1546" y="2198"/>
                </a:lnTo>
                <a:lnTo>
                  <a:pt x="1546" y="2200"/>
                </a:lnTo>
                <a:lnTo>
                  <a:pt x="1544" y="2202"/>
                </a:lnTo>
                <a:lnTo>
                  <a:pt x="1544" y="2204"/>
                </a:lnTo>
                <a:lnTo>
                  <a:pt x="1542" y="2204"/>
                </a:lnTo>
                <a:lnTo>
                  <a:pt x="1542" y="2206"/>
                </a:lnTo>
                <a:lnTo>
                  <a:pt x="1542" y="2208"/>
                </a:lnTo>
                <a:lnTo>
                  <a:pt x="1540" y="2208"/>
                </a:lnTo>
                <a:lnTo>
                  <a:pt x="1540" y="2210"/>
                </a:lnTo>
                <a:lnTo>
                  <a:pt x="1540" y="2212"/>
                </a:lnTo>
                <a:lnTo>
                  <a:pt x="1538" y="2212"/>
                </a:lnTo>
                <a:lnTo>
                  <a:pt x="1538" y="2214"/>
                </a:lnTo>
                <a:lnTo>
                  <a:pt x="1538" y="2215"/>
                </a:lnTo>
                <a:lnTo>
                  <a:pt x="1536" y="2215"/>
                </a:lnTo>
                <a:lnTo>
                  <a:pt x="1534" y="2215"/>
                </a:lnTo>
                <a:lnTo>
                  <a:pt x="1532" y="2215"/>
                </a:lnTo>
                <a:lnTo>
                  <a:pt x="1532" y="2217"/>
                </a:lnTo>
                <a:lnTo>
                  <a:pt x="1531" y="2217"/>
                </a:lnTo>
                <a:lnTo>
                  <a:pt x="1529" y="2217"/>
                </a:lnTo>
                <a:lnTo>
                  <a:pt x="1527" y="2217"/>
                </a:lnTo>
                <a:lnTo>
                  <a:pt x="1529" y="2217"/>
                </a:lnTo>
                <a:lnTo>
                  <a:pt x="1529" y="2215"/>
                </a:lnTo>
                <a:lnTo>
                  <a:pt x="1531" y="2215"/>
                </a:lnTo>
                <a:lnTo>
                  <a:pt x="1531" y="2214"/>
                </a:lnTo>
                <a:lnTo>
                  <a:pt x="1531" y="2212"/>
                </a:lnTo>
                <a:lnTo>
                  <a:pt x="1532" y="2212"/>
                </a:lnTo>
                <a:lnTo>
                  <a:pt x="1531" y="2212"/>
                </a:lnTo>
                <a:lnTo>
                  <a:pt x="1532" y="2212"/>
                </a:lnTo>
                <a:lnTo>
                  <a:pt x="1532" y="2210"/>
                </a:lnTo>
                <a:lnTo>
                  <a:pt x="1532" y="2208"/>
                </a:lnTo>
                <a:lnTo>
                  <a:pt x="1532" y="2210"/>
                </a:lnTo>
                <a:lnTo>
                  <a:pt x="1532" y="2208"/>
                </a:lnTo>
                <a:lnTo>
                  <a:pt x="1534" y="2208"/>
                </a:lnTo>
                <a:lnTo>
                  <a:pt x="1532" y="2208"/>
                </a:lnTo>
                <a:lnTo>
                  <a:pt x="1532" y="2210"/>
                </a:lnTo>
                <a:lnTo>
                  <a:pt x="1532" y="2208"/>
                </a:lnTo>
                <a:lnTo>
                  <a:pt x="1534" y="2208"/>
                </a:lnTo>
                <a:lnTo>
                  <a:pt x="1534" y="2206"/>
                </a:lnTo>
                <a:lnTo>
                  <a:pt x="1536" y="2206"/>
                </a:lnTo>
                <a:lnTo>
                  <a:pt x="1538" y="2206"/>
                </a:lnTo>
                <a:lnTo>
                  <a:pt x="1536" y="2206"/>
                </a:lnTo>
                <a:lnTo>
                  <a:pt x="1538" y="2206"/>
                </a:lnTo>
                <a:lnTo>
                  <a:pt x="1538" y="2204"/>
                </a:lnTo>
                <a:lnTo>
                  <a:pt x="1536" y="2204"/>
                </a:lnTo>
                <a:lnTo>
                  <a:pt x="1536" y="2206"/>
                </a:lnTo>
                <a:lnTo>
                  <a:pt x="1534" y="2206"/>
                </a:lnTo>
                <a:lnTo>
                  <a:pt x="1534" y="2204"/>
                </a:lnTo>
                <a:lnTo>
                  <a:pt x="1534" y="2206"/>
                </a:lnTo>
                <a:lnTo>
                  <a:pt x="1534" y="2204"/>
                </a:lnTo>
                <a:lnTo>
                  <a:pt x="1532" y="2206"/>
                </a:lnTo>
                <a:lnTo>
                  <a:pt x="1531" y="2206"/>
                </a:lnTo>
                <a:lnTo>
                  <a:pt x="1531" y="2208"/>
                </a:lnTo>
                <a:lnTo>
                  <a:pt x="1531" y="2210"/>
                </a:lnTo>
                <a:lnTo>
                  <a:pt x="1531" y="2212"/>
                </a:lnTo>
                <a:lnTo>
                  <a:pt x="1531" y="2214"/>
                </a:lnTo>
                <a:lnTo>
                  <a:pt x="1529" y="2214"/>
                </a:lnTo>
                <a:lnTo>
                  <a:pt x="1529" y="2215"/>
                </a:lnTo>
                <a:lnTo>
                  <a:pt x="1527" y="2215"/>
                </a:lnTo>
                <a:lnTo>
                  <a:pt x="1527" y="2217"/>
                </a:lnTo>
                <a:lnTo>
                  <a:pt x="1525" y="2217"/>
                </a:lnTo>
                <a:lnTo>
                  <a:pt x="1525" y="2215"/>
                </a:lnTo>
                <a:lnTo>
                  <a:pt x="1525" y="2217"/>
                </a:lnTo>
                <a:lnTo>
                  <a:pt x="1523" y="2217"/>
                </a:lnTo>
                <a:lnTo>
                  <a:pt x="1523" y="2219"/>
                </a:lnTo>
                <a:lnTo>
                  <a:pt x="1523" y="2217"/>
                </a:lnTo>
                <a:lnTo>
                  <a:pt x="1523" y="2215"/>
                </a:lnTo>
                <a:lnTo>
                  <a:pt x="1521" y="2215"/>
                </a:lnTo>
                <a:lnTo>
                  <a:pt x="1521" y="2214"/>
                </a:lnTo>
                <a:lnTo>
                  <a:pt x="1521" y="2212"/>
                </a:lnTo>
                <a:lnTo>
                  <a:pt x="1519" y="2212"/>
                </a:lnTo>
                <a:lnTo>
                  <a:pt x="1521" y="2212"/>
                </a:lnTo>
                <a:lnTo>
                  <a:pt x="1519" y="2210"/>
                </a:lnTo>
                <a:lnTo>
                  <a:pt x="1521" y="2210"/>
                </a:lnTo>
                <a:lnTo>
                  <a:pt x="1519" y="2210"/>
                </a:lnTo>
                <a:lnTo>
                  <a:pt x="1519" y="2208"/>
                </a:lnTo>
                <a:lnTo>
                  <a:pt x="1519" y="2206"/>
                </a:lnTo>
                <a:lnTo>
                  <a:pt x="1521" y="2206"/>
                </a:lnTo>
                <a:lnTo>
                  <a:pt x="1519" y="2206"/>
                </a:lnTo>
                <a:lnTo>
                  <a:pt x="1521" y="2206"/>
                </a:lnTo>
                <a:lnTo>
                  <a:pt x="1519" y="2206"/>
                </a:lnTo>
                <a:lnTo>
                  <a:pt x="1519" y="2204"/>
                </a:lnTo>
                <a:lnTo>
                  <a:pt x="1521" y="2204"/>
                </a:lnTo>
                <a:lnTo>
                  <a:pt x="1519" y="2204"/>
                </a:lnTo>
                <a:lnTo>
                  <a:pt x="1521" y="2204"/>
                </a:lnTo>
                <a:lnTo>
                  <a:pt x="1519" y="2204"/>
                </a:lnTo>
                <a:lnTo>
                  <a:pt x="1519" y="2202"/>
                </a:lnTo>
                <a:lnTo>
                  <a:pt x="1519" y="2200"/>
                </a:lnTo>
                <a:lnTo>
                  <a:pt x="1519" y="2198"/>
                </a:lnTo>
                <a:lnTo>
                  <a:pt x="1521" y="2198"/>
                </a:lnTo>
                <a:lnTo>
                  <a:pt x="1521" y="2200"/>
                </a:lnTo>
                <a:lnTo>
                  <a:pt x="1523" y="2200"/>
                </a:lnTo>
                <a:lnTo>
                  <a:pt x="1523" y="2198"/>
                </a:lnTo>
                <a:lnTo>
                  <a:pt x="1525" y="2198"/>
                </a:lnTo>
                <a:lnTo>
                  <a:pt x="1527" y="2198"/>
                </a:lnTo>
                <a:lnTo>
                  <a:pt x="1529" y="2198"/>
                </a:lnTo>
                <a:lnTo>
                  <a:pt x="1529" y="2196"/>
                </a:lnTo>
                <a:lnTo>
                  <a:pt x="1531" y="2196"/>
                </a:lnTo>
                <a:lnTo>
                  <a:pt x="1531" y="2198"/>
                </a:lnTo>
                <a:lnTo>
                  <a:pt x="1531" y="2200"/>
                </a:lnTo>
                <a:lnTo>
                  <a:pt x="1531" y="2198"/>
                </a:lnTo>
                <a:lnTo>
                  <a:pt x="1531" y="2196"/>
                </a:lnTo>
                <a:lnTo>
                  <a:pt x="1532" y="2196"/>
                </a:lnTo>
                <a:lnTo>
                  <a:pt x="1531" y="2196"/>
                </a:lnTo>
                <a:lnTo>
                  <a:pt x="1532" y="2196"/>
                </a:lnTo>
                <a:lnTo>
                  <a:pt x="1532" y="2194"/>
                </a:lnTo>
                <a:lnTo>
                  <a:pt x="1532" y="2196"/>
                </a:lnTo>
                <a:lnTo>
                  <a:pt x="1534" y="2196"/>
                </a:lnTo>
                <a:lnTo>
                  <a:pt x="1534" y="2194"/>
                </a:lnTo>
                <a:lnTo>
                  <a:pt x="1532" y="2194"/>
                </a:lnTo>
                <a:lnTo>
                  <a:pt x="1532" y="2192"/>
                </a:lnTo>
                <a:lnTo>
                  <a:pt x="1532" y="2191"/>
                </a:lnTo>
                <a:lnTo>
                  <a:pt x="1532" y="2189"/>
                </a:lnTo>
                <a:lnTo>
                  <a:pt x="1534" y="2189"/>
                </a:lnTo>
                <a:lnTo>
                  <a:pt x="1534" y="2187"/>
                </a:lnTo>
                <a:lnTo>
                  <a:pt x="1536" y="2187"/>
                </a:lnTo>
                <a:lnTo>
                  <a:pt x="1536" y="2189"/>
                </a:lnTo>
                <a:lnTo>
                  <a:pt x="1538" y="2189"/>
                </a:lnTo>
                <a:lnTo>
                  <a:pt x="1538" y="2187"/>
                </a:lnTo>
                <a:lnTo>
                  <a:pt x="1540" y="2187"/>
                </a:lnTo>
                <a:lnTo>
                  <a:pt x="1542" y="2187"/>
                </a:lnTo>
                <a:lnTo>
                  <a:pt x="1542" y="2189"/>
                </a:lnTo>
                <a:lnTo>
                  <a:pt x="1544" y="2189"/>
                </a:lnTo>
                <a:lnTo>
                  <a:pt x="1542" y="2189"/>
                </a:lnTo>
                <a:lnTo>
                  <a:pt x="1542" y="2187"/>
                </a:lnTo>
                <a:lnTo>
                  <a:pt x="1540" y="2187"/>
                </a:lnTo>
                <a:lnTo>
                  <a:pt x="1538" y="2187"/>
                </a:lnTo>
                <a:lnTo>
                  <a:pt x="1536" y="2187"/>
                </a:lnTo>
                <a:lnTo>
                  <a:pt x="1538" y="2187"/>
                </a:lnTo>
                <a:lnTo>
                  <a:pt x="1536" y="2187"/>
                </a:lnTo>
                <a:lnTo>
                  <a:pt x="1536" y="2185"/>
                </a:lnTo>
                <a:lnTo>
                  <a:pt x="1536" y="2183"/>
                </a:lnTo>
                <a:lnTo>
                  <a:pt x="1536" y="2185"/>
                </a:lnTo>
                <a:lnTo>
                  <a:pt x="1536" y="2183"/>
                </a:lnTo>
                <a:lnTo>
                  <a:pt x="1538" y="2183"/>
                </a:lnTo>
                <a:lnTo>
                  <a:pt x="1540" y="2183"/>
                </a:lnTo>
                <a:lnTo>
                  <a:pt x="1542" y="2183"/>
                </a:lnTo>
                <a:lnTo>
                  <a:pt x="1542" y="2185"/>
                </a:lnTo>
                <a:lnTo>
                  <a:pt x="1544" y="2185"/>
                </a:lnTo>
                <a:lnTo>
                  <a:pt x="1546" y="2185"/>
                </a:lnTo>
                <a:lnTo>
                  <a:pt x="1546" y="2187"/>
                </a:lnTo>
                <a:lnTo>
                  <a:pt x="1548" y="2187"/>
                </a:lnTo>
                <a:lnTo>
                  <a:pt x="1548" y="2185"/>
                </a:lnTo>
                <a:lnTo>
                  <a:pt x="1548" y="2183"/>
                </a:lnTo>
                <a:lnTo>
                  <a:pt x="1546" y="2183"/>
                </a:lnTo>
                <a:lnTo>
                  <a:pt x="1546" y="2185"/>
                </a:lnTo>
                <a:lnTo>
                  <a:pt x="1546" y="2183"/>
                </a:lnTo>
                <a:lnTo>
                  <a:pt x="1544" y="2183"/>
                </a:lnTo>
                <a:lnTo>
                  <a:pt x="1542" y="2183"/>
                </a:lnTo>
                <a:lnTo>
                  <a:pt x="1542" y="2181"/>
                </a:lnTo>
                <a:lnTo>
                  <a:pt x="1540" y="2181"/>
                </a:lnTo>
                <a:lnTo>
                  <a:pt x="1540" y="2179"/>
                </a:lnTo>
                <a:lnTo>
                  <a:pt x="1542" y="2179"/>
                </a:lnTo>
                <a:lnTo>
                  <a:pt x="1542" y="2177"/>
                </a:lnTo>
                <a:lnTo>
                  <a:pt x="1544" y="2177"/>
                </a:lnTo>
                <a:lnTo>
                  <a:pt x="1544" y="2179"/>
                </a:lnTo>
                <a:lnTo>
                  <a:pt x="1546" y="2179"/>
                </a:lnTo>
                <a:lnTo>
                  <a:pt x="1546" y="2181"/>
                </a:lnTo>
                <a:lnTo>
                  <a:pt x="1548" y="2181"/>
                </a:lnTo>
                <a:lnTo>
                  <a:pt x="1548" y="2183"/>
                </a:lnTo>
                <a:lnTo>
                  <a:pt x="1550" y="2183"/>
                </a:lnTo>
                <a:lnTo>
                  <a:pt x="1550" y="2185"/>
                </a:lnTo>
                <a:lnTo>
                  <a:pt x="1552" y="2185"/>
                </a:lnTo>
                <a:lnTo>
                  <a:pt x="1554" y="2185"/>
                </a:lnTo>
                <a:lnTo>
                  <a:pt x="1552" y="2185"/>
                </a:lnTo>
                <a:lnTo>
                  <a:pt x="1552" y="2183"/>
                </a:lnTo>
                <a:lnTo>
                  <a:pt x="1550" y="2183"/>
                </a:lnTo>
                <a:lnTo>
                  <a:pt x="1552" y="2183"/>
                </a:lnTo>
                <a:lnTo>
                  <a:pt x="1550" y="2183"/>
                </a:lnTo>
                <a:lnTo>
                  <a:pt x="1550" y="2181"/>
                </a:lnTo>
                <a:lnTo>
                  <a:pt x="1548" y="2181"/>
                </a:lnTo>
                <a:lnTo>
                  <a:pt x="1550" y="2181"/>
                </a:lnTo>
                <a:lnTo>
                  <a:pt x="1550" y="2179"/>
                </a:lnTo>
                <a:lnTo>
                  <a:pt x="1550" y="2181"/>
                </a:lnTo>
                <a:lnTo>
                  <a:pt x="1550" y="2179"/>
                </a:lnTo>
                <a:lnTo>
                  <a:pt x="1550" y="2177"/>
                </a:lnTo>
                <a:lnTo>
                  <a:pt x="1550" y="2175"/>
                </a:lnTo>
                <a:lnTo>
                  <a:pt x="1552" y="2175"/>
                </a:lnTo>
                <a:lnTo>
                  <a:pt x="1552" y="2177"/>
                </a:lnTo>
                <a:lnTo>
                  <a:pt x="1554" y="2177"/>
                </a:lnTo>
                <a:lnTo>
                  <a:pt x="1556" y="2177"/>
                </a:lnTo>
                <a:lnTo>
                  <a:pt x="1557" y="2177"/>
                </a:lnTo>
                <a:lnTo>
                  <a:pt x="1557" y="2179"/>
                </a:lnTo>
                <a:lnTo>
                  <a:pt x="1559" y="2179"/>
                </a:lnTo>
                <a:lnTo>
                  <a:pt x="1561" y="2179"/>
                </a:lnTo>
                <a:lnTo>
                  <a:pt x="1559" y="2179"/>
                </a:lnTo>
                <a:lnTo>
                  <a:pt x="1561" y="2179"/>
                </a:lnTo>
                <a:lnTo>
                  <a:pt x="1563" y="2179"/>
                </a:lnTo>
                <a:lnTo>
                  <a:pt x="1565" y="2179"/>
                </a:lnTo>
                <a:lnTo>
                  <a:pt x="1565" y="2181"/>
                </a:lnTo>
                <a:close/>
                <a:moveTo>
                  <a:pt x="1459" y="2100"/>
                </a:moveTo>
                <a:lnTo>
                  <a:pt x="1459" y="2102"/>
                </a:lnTo>
                <a:lnTo>
                  <a:pt x="1461" y="2102"/>
                </a:lnTo>
                <a:lnTo>
                  <a:pt x="1459" y="2102"/>
                </a:lnTo>
                <a:lnTo>
                  <a:pt x="1459" y="2100"/>
                </a:lnTo>
                <a:close/>
                <a:moveTo>
                  <a:pt x="1461" y="2102"/>
                </a:moveTo>
                <a:lnTo>
                  <a:pt x="1461" y="2100"/>
                </a:lnTo>
                <a:lnTo>
                  <a:pt x="1461" y="2102"/>
                </a:lnTo>
                <a:close/>
                <a:moveTo>
                  <a:pt x="1586" y="2196"/>
                </a:moveTo>
                <a:lnTo>
                  <a:pt x="1588" y="2196"/>
                </a:lnTo>
                <a:lnTo>
                  <a:pt x="1588" y="2194"/>
                </a:lnTo>
                <a:lnTo>
                  <a:pt x="1588" y="2196"/>
                </a:lnTo>
                <a:lnTo>
                  <a:pt x="1586" y="2196"/>
                </a:lnTo>
                <a:close/>
                <a:moveTo>
                  <a:pt x="1490" y="2121"/>
                </a:moveTo>
                <a:lnTo>
                  <a:pt x="1490" y="2123"/>
                </a:lnTo>
                <a:lnTo>
                  <a:pt x="1488" y="2123"/>
                </a:lnTo>
                <a:lnTo>
                  <a:pt x="1490" y="2121"/>
                </a:lnTo>
                <a:lnTo>
                  <a:pt x="1488" y="2121"/>
                </a:lnTo>
                <a:lnTo>
                  <a:pt x="1488" y="2123"/>
                </a:lnTo>
                <a:lnTo>
                  <a:pt x="1486" y="2123"/>
                </a:lnTo>
                <a:lnTo>
                  <a:pt x="1484" y="2123"/>
                </a:lnTo>
                <a:lnTo>
                  <a:pt x="1484" y="2125"/>
                </a:lnTo>
                <a:lnTo>
                  <a:pt x="1484" y="2127"/>
                </a:lnTo>
                <a:lnTo>
                  <a:pt x="1483" y="2127"/>
                </a:lnTo>
                <a:lnTo>
                  <a:pt x="1483" y="2125"/>
                </a:lnTo>
                <a:lnTo>
                  <a:pt x="1484" y="2125"/>
                </a:lnTo>
                <a:lnTo>
                  <a:pt x="1483" y="2125"/>
                </a:lnTo>
                <a:lnTo>
                  <a:pt x="1483" y="2123"/>
                </a:lnTo>
                <a:lnTo>
                  <a:pt x="1483" y="2125"/>
                </a:lnTo>
                <a:lnTo>
                  <a:pt x="1483" y="2123"/>
                </a:lnTo>
                <a:lnTo>
                  <a:pt x="1484" y="2123"/>
                </a:lnTo>
                <a:lnTo>
                  <a:pt x="1483" y="2123"/>
                </a:lnTo>
                <a:lnTo>
                  <a:pt x="1484" y="2123"/>
                </a:lnTo>
                <a:lnTo>
                  <a:pt x="1484" y="2121"/>
                </a:lnTo>
                <a:lnTo>
                  <a:pt x="1486" y="2121"/>
                </a:lnTo>
                <a:lnTo>
                  <a:pt x="1488" y="2121"/>
                </a:lnTo>
                <a:lnTo>
                  <a:pt x="1490" y="2121"/>
                </a:lnTo>
                <a:close/>
                <a:moveTo>
                  <a:pt x="1536" y="2158"/>
                </a:moveTo>
                <a:lnTo>
                  <a:pt x="1538" y="2158"/>
                </a:lnTo>
                <a:lnTo>
                  <a:pt x="1536" y="2158"/>
                </a:lnTo>
                <a:close/>
                <a:moveTo>
                  <a:pt x="1488" y="2121"/>
                </a:moveTo>
                <a:lnTo>
                  <a:pt x="1486" y="2121"/>
                </a:lnTo>
                <a:lnTo>
                  <a:pt x="1488" y="2121"/>
                </a:lnTo>
                <a:lnTo>
                  <a:pt x="1488" y="2120"/>
                </a:lnTo>
                <a:lnTo>
                  <a:pt x="1488" y="2121"/>
                </a:lnTo>
                <a:close/>
                <a:moveTo>
                  <a:pt x="1486" y="2120"/>
                </a:moveTo>
                <a:lnTo>
                  <a:pt x="1486" y="2121"/>
                </a:lnTo>
                <a:lnTo>
                  <a:pt x="1486" y="2120"/>
                </a:lnTo>
                <a:lnTo>
                  <a:pt x="1486" y="2121"/>
                </a:lnTo>
                <a:lnTo>
                  <a:pt x="1484" y="2121"/>
                </a:lnTo>
                <a:lnTo>
                  <a:pt x="1483" y="2121"/>
                </a:lnTo>
                <a:lnTo>
                  <a:pt x="1483" y="2123"/>
                </a:lnTo>
                <a:lnTo>
                  <a:pt x="1483" y="2121"/>
                </a:lnTo>
                <a:lnTo>
                  <a:pt x="1481" y="2120"/>
                </a:lnTo>
                <a:lnTo>
                  <a:pt x="1483" y="2120"/>
                </a:lnTo>
                <a:lnTo>
                  <a:pt x="1484" y="2120"/>
                </a:lnTo>
                <a:lnTo>
                  <a:pt x="1484" y="2118"/>
                </a:lnTo>
                <a:lnTo>
                  <a:pt x="1484" y="2120"/>
                </a:lnTo>
                <a:lnTo>
                  <a:pt x="1484" y="2118"/>
                </a:lnTo>
                <a:lnTo>
                  <a:pt x="1486" y="2120"/>
                </a:lnTo>
                <a:close/>
                <a:moveTo>
                  <a:pt x="1557" y="2177"/>
                </a:moveTo>
                <a:lnTo>
                  <a:pt x="1556" y="2177"/>
                </a:lnTo>
                <a:lnTo>
                  <a:pt x="1554" y="2177"/>
                </a:lnTo>
                <a:lnTo>
                  <a:pt x="1552" y="2177"/>
                </a:lnTo>
                <a:lnTo>
                  <a:pt x="1552" y="2175"/>
                </a:lnTo>
                <a:lnTo>
                  <a:pt x="1550" y="2175"/>
                </a:lnTo>
                <a:lnTo>
                  <a:pt x="1550" y="2173"/>
                </a:lnTo>
                <a:lnTo>
                  <a:pt x="1552" y="2173"/>
                </a:lnTo>
                <a:lnTo>
                  <a:pt x="1554" y="2173"/>
                </a:lnTo>
                <a:lnTo>
                  <a:pt x="1556" y="2173"/>
                </a:lnTo>
                <a:lnTo>
                  <a:pt x="1557" y="2173"/>
                </a:lnTo>
                <a:lnTo>
                  <a:pt x="1559" y="2173"/>
                </a:lnTo>
                <a:lnTo>
                  <a:pt x="1561" y="2173"/>
                </a:lnTo>
                <a:lnTo>
                  <a:pt x="1561" y="2175"/>
                </a:lnTo>
                <a:lnTo>
                  <a:pt x="1559" y="2177"/>
                </a:lnTo>
                <a:lnTo>
                  <a:pt x="1557" y="2177"/>
                </a:lnTo>
                <a:close/>
                <a:moveTo>
                  <a:pt x="1490" y="2123"/>
                </a:moveTo>
                <a:lnTo>
                  <a:pt x="1492" y="2123"/>
                </a:lnTo>
                <a:lnTo>
                  <a:pt x="1490" y="2123"/>
                </a:lnTo>
                <a:close/>
                <a:moveTo>
                  <a:pt x="772" y="1327"/>
                </a:moveTo>
                <a:lnTo>
                  <a:pt x="770" y="1327"/>
                </a:lnTo>
                <a:lnTo>
                  <a:pt x="772" y="1327"/>
                </a:lnTo>
                <a:close/>
                <a:moveTo>
                  <a:pt x="1490" y="2123"/>
                </a:moveTo>
                <a:lnTo>
                  <a:pt x="1490" y="2121"/>
                </a:lnTo>
                <a:lnTo>
                  <a:pt x="1488" y="2121"/>
                </a:lnTo>
                <a:lnTo>
                  <a:pt x="1490" y="2121"/>
                </a:lnTo>
                <a:lnTo>
                  <a:pt x="1490" y="2123"/>
                </a:lnTo>
                <a:close/>
                <a:moveTo>
                  <a:pt x="674" y="1154"/>
                </a:moveTo>
                <a:lnTo>
                  <a:pt x="674" y="1152"/>
                </a:lnTo>
                <a:lnTo>
                  <a:pt x="674" y="1154"/>
                </a:lnTo>
                <a:close/>
                <a:moveTo>
                  <a:pt x="1519" y="2141"/>
                </a:moveTo>
                <a:lnTo>
                  <a:pt x="1517" y="2141"/>
                </a:lnTo>
                <a:lnTo>
                  <a:pt x="1519" y="2141"/>
                </a:lnTo>
                <a:lnTo>
                  <a:pt x="1517" y="2141"/>
                </a:lnTo>
                <a:lnTo>
                  <a:pt x="1519" y="2139"/>
                </a:lnTo>
                <a:lnTo>
                  <a:pt x="1519" y="2141"/>
                </a:lnTo>
                <a:close/>
                <a:moveTo>
                  <a:pt x="678" y="1160"/>
                </a:moveTo>
                <a:lnTo>
                  <a:pt x="678" y="1158"/>
                </a:lnTo>
                <a:lnTo>
                  <a:pt x="676" y="1158"/>
                </a:lnTo>
                <a:lnTo>
                  <a:pt x="676" y="1156"/>
                </a:lnTo>
                <a:lnTo>
                  <a:pt x="674" y="1156"/>
                </a:lnTo>
                <a:lnTo>
                  <a:pt x="676" y="1156"/>
                </a:lnTo>
                <a:lnTo>
                  <a:pt x="676" y="1158"/>
                </a:lnTo>
                <a:lnTo>
                  <a:pt x="678" y="1158"/>
                </a:lnTo>
                <a:lnTo>
                  <a:pt x="678" y="1160"/>
                </a:lnTo>
                <a:close/>
                <a:moveTo>
                  <a:pt x="1509" y="2133"/>
                </a:moveTo>
                <a:lnTo>
                  <a:pt x="1509" y="2135"/>
                </a:lnTo>
                <a:lnTo>
                  <a:pt x="1509" y="2133"/>
                </a:lnTo>
                <a:close/>
                <a:moveTo>
                  <a:pt x="1509" y="2133"/>
                </a:moveTo>
                <a:lnTo>
                  <a:pt x="1509" y="2131"/>
                </a:lnTo>
                <a:lnTo>
                  <a:pt x="1509" y="2133"/>
                </a:lnTo>
                <a:close/>
                <a:moveTo>
                  <a:pt x="1534" y="2150"/>
                </a:moveTo>
                <a:lnTo>
                  <a:pt x="1534" y="2152"/>
                </a:lnTo>
                <a:lnTo>
                  <a:pt x="1534" y="2154"/>
                </a:lnTo>
                <a:lnTo>
                  <a:pt x="1532" y="2154"/>
                </a:lnTo>
                <a:lnTo>
                  <a:pt x="1532" y="2156"/>
                </a:lnTo>
                <a:lnTo>
                  <a:pt x="1532" y="2158"/>
                </a:lnTo>
                <a:lnTo>
                  <a:pt x="1531" y="2158"/>
                </a:lnTo>
                <a:lnTo>
                  <a:pt x="1531" y="2160"/>
                </a:lnTo>
                <a:lnTo>
                  <a:pt x="1531" y="2158"/>
                </a:lnTo>
                <a:lnTo>
                  <a:pt x="1529" y="2158"/>
                </a:lnTo>
                <a:lnTo>
                  <a:pt x="1529" y="2156"/>
                </a:lnTo>
                <a:lnTo>
                  <a:pt x="1531" y="2156"/>
                </a:lnTo>
                <a:lnTo>
                  <a:pt x="1531" y="2154"/>
                </a:lnTo>
                <a:lnTo>
                  <a:pt x="1532" y="2154"/>
                </a:lnTo>
                <a:lnTo>
                  <a:pt x="1532" y="2152"/>
                </a:lnTo>
                <a:lnTo>
                  <a:pt x="1532" y="2150"/>
                </a:lnTo>
                <a:lnTo>
                  <a:pt x="1534" y="2150"/>
                </a:lnTo>
                <a:lnTo>
                  <a:pt x="1532" y="2150"/>
                </a:lnTo>
                <a:lnTo>
                  <a:pt x="1534" y="2150"/>
                </a:lnTo>
                <a:close/>
                <a:moveTo>
                  <a:pt x="1536" y="2154"/>
                </a:moveTo>
                <a:lnTo>
                  <a:pt x="1536" y="2152"/>
                </a:lnTo>
                <a:lnTo>
                  <a:pt x="1538" y="2152"/>
                </a:lnTo>
                <a:lnTo>
                  <a:pt x="1536" y="2152"/>
                </a:lnTo>
                <a:lnTo>
                  <a:pt x="1536" y="2154"/>
                </a:lnTo>
                <a:close/>
                <a:moveTo>
                  <a:pt x="1540" y="2154"/>
                </a:moveTo>
                <a:lnTo>
                  <a:pt x="1538" y="2154"/>
                </a:lnTo>
                <a:lnTo>
                  <a:pt x="1538" y="2156"/>
                </a:lnTo>
                <a:lnTo>
                  <a:pt x="1538" y="2154"/>
                </a:lnTo>
                <a:lnTo>
                  <a:pt x="1540" y="2154"/>
                </a:lnTo>
                <a:close/>
                <a:moveTo>
                  <a:pt x="1519" y="2139"/>
                </a:moveTo>
                <a:lnTo>
                  <a:pt x="1517" y="2139"/>
                </a:lnTo>
                <a:lnTo>
                  <a:pt x="1519" y="2139"/>
                </a:lnTo>
                <a:lnTo>
                  <a:pt x="1519" y="2137"/>
                </a:lnTo>
                <a:lnTo>
                  <a:pt x="1519" y="2139"/>
                </a:lnTo>
                <a:close/>
                <a:moveTo>
                  <a:pt x="1536" y="2150"/>
                </a:moveTo>
                <a:lnTo>
                  <a:pt x="1534" y="2150"/>
                </a:lnTo>
                <a:lnTo>
                  <a:pt x="1536" y="2150"/>
                </a:lnTo>
                <a:close/>
                <a:moveTo>
                  <a:pt x="776" y="1325"/>
                </a:moveTo>
                <a:lnTo>
                  <a:pt x="774" y="1325"/>
                </a:lnTo>
                <a:lnTo>
                  <a:pt x="774" y="1327"/>
                </a:lnTo>
                <a:lnTo>
                  <a:pt x="772" y="1327"/>
                </a:lnTo>
                <a:lnTo>
                  <a:pt x="772" y="1325"/>
                </a:lnTo>
                <a:lnTo>
                  <a:pt x="772" y="1327"/>
                </a:lnTo>
                <a:lnTo>
                  <a:pt x="772" y="1325"/>
                </a:lnTo>
                <a:lnTo>
                  <a:pt x="772" y="1323"/>
                </a:lnTo>
                <a:lnTo>
                  <a:pt x="772" y="1325"/>
                </a:lnTo>
                <a:lnTo>
                  <a:pt x="772" y="1323"/>
                </a:lnTo>
                <a:lnTo>
                  <a:pt x="774" y="1323"/>
                </a:lnTo>
                <a:lnTo>
                  <a:pt x="774" y="1325"/>
                </a:lnTo>
                <a:lnTo>
                  <a:pt x="774" y="1323"/>
                </a:lnTo>
                <a:lnTo>
                  <a:pt x="776" y="1323"/>
                </a:lnTo>
                <a:lnTo>
                  <a:pt x="776" y="1325"/>
                </a:lnTo>
                <a:close/>
                <a:moveTo>
                  <a:pt x="1523" y="2139"/>
                </a:moveTo>
                <a:lnTo>
                  <a:pt x="1523" y="2141"/>
                </a:lnTo>
                <a:lnTo>
                  <a:pt x="1521" y="2141"/>
                </a:lnTo>
                <a:lnTo>
                  <a:pt x="1523" y="2141"/>
                </a:lnTo>
                <a:lnTo>
                  <a:pt x="1521" y="2139"/>
                </a:lnTo>
                <a:lnTo>
                  <a:pt x="1523" y="2139"/>
                </a:lnTo>
                <a:close/>
                <a:moveTo>
                  <a:pt x="778" y="1325"/>
                </a:moveTo>
                <a:lnTo>
                  <a:pt x="776" y="1325"/>
                </a:lnTo>
                <a:lnTo>
                  <a:pt x="778" y="1325"/>
                </a:lnTo>
                <a:close/>
                <a:moveTo>
                  <a:pt x="776" y="1323"/>
                </a:moveTo>
                <a:lnTo>
                  <a:pt x="774" y="1323"/>
                </a:lnTo>
                <a:lnTo>
                  <a:pt x="774" y="1321"/>
                </a:lnTo>
                <a:lnTo>
                  <a:pt x="776" y="1321"/>
                </a:lnTo>
                <a:lnTo>
                  <a:pt x="776" y="1323"/>
                </a:lnTo>
                <a:close/>
                <a:moveTo>
                  <a:pt x="1542" y="2152"/>
                </a:moveTo>
                <a:lnTo>
                  <a:pt x="1542" y="2154"/>
                </a:lnTo>
                <a:lnTo>
                  <a:pt x="1542" y="2156"/>
                </a:lnTo>
                <a:lnTo>
                  <a:pt x="1542" y="2158"/>
                </a:lnTo>
                <a:lnTo>
                  <a:pt x="1540" y="2158"/>
                </a:lnTo>
                <a:lnTo>
                  <a:pt x="1538" y="2158"/>
                </a:lnTo>
                <a:lnTo>
                  <a:pt x="1538" y="2160"/>
                </a:lnTo>
                <a:lnTo>
                  <a:pt x="1536" y="2160"/>
                </a:lnTo>
                <a:lnTo>
                  <a:pt x="1536" y="2158"/>
                </a:lnTo>
                <a:lnTo>
                  <a:pt x="1538" y="2158"/>
                </a:lnTo>
                <a:lnTo>
                  <a:pt x="1538" y="2156"/>
                </a:lnTo>
                <a:lnTo>
                  <a:pt x="1540" y="2156"/>
                </a:lnTo>
                <a:lnTo>
                  <a:pt x="1538" y="2156"/>
                </a:lnTo>
                <a:lnTo>
                  <a:pt x="1540" y="2154"/>
                </a:lnTo>
                <a:lnTo>
                  <a:pt x="1540" y="2152"/>
                </a:lnTo>
                <a:lnTo>
                  <a:pt x="1542" y="2152"/>
                </a:lnTo>
                <a:close/>
                <a:moveTo>
                  <a:pt x="778" y="1325"/>
                </a:moveTo>
                <a:lnTo>
                  <a:pt x="778" y="1323"/>
                </a:lnTo>
                <a:lnTo>
                  <a:pt x="778" y="1325"/>
                </a:lnTo>
                <a:close/>
                <a:moveTo>
                  <a:pt x="1483" y="2106"/>
                </a:moveTo>
                <a:lnTo>
                  <a:pt x="1483" y="2104"/>
                </a:lnTo>
                <a:lnTo>
                  <a:pt x="1483" y="2106"/>
                </a:lnTo>
                <a:close/>
                <a:moveTo>
                  <a:pt x="1513" y="2123"/>
                </a:moveTo>
                <a:lnTo>
                  <a:pt x="1513" y="2125"/>
                </a:lnTo>
                <a:lnTo>
                  <a:pt x="1513" y="2127"/>
                </a:lnTo>
                <a:lnTo>
                  <a:pt x="1511" y="2127"/>
                </a:lnTo>
                <a:lnTo>
                  <a:pt x="1511" y="2125"/>
                </a:lnTo>
                <a:lnTo>
                  <a:pt x="1511" y="2123"/>
                </a:lnTo>
                <a:lnTo>
                  <a:pt x="1513" y="2123"/>
                </a:lnTo>
                <a:close/>
                <a:moveTo>
                  <a:pt x="747" y="1265"/>
                </a:moveTo>
                <a:lnTo>
                  <a:pt x="747" y="1263"/>
                </a:lnTo>
                <a:lnTo>
                  <a:pt x="745" y="1263"/>
                </a:lnTo>
                <a:lnTo>
                  <a:pt x="747" y="1263"/>
                </a:lnTo>
                <a:lnTo>
                  <a:pt x="747" y="1265"/>
                </a:lnTo>
                <a:lnTo>
                  <a:pt x="749" y="1265"/>
                </a:lnTo>
                <a:lnTo>
                  <a:pt x="747" y="1265"/>
                </a:lnTo>
                <a:close/>
                <a:moveTo>
                  <a:pt x="1496" y="2110"/>
                </a:moveTo>
                <a:lnTo>
                  <a:pt x="1496" y="2112"/>
                </a:lnTo>
                <a:lnTo>
                  <a:pt x="1498" y="2112"/>
                </a:lnTo>
                <a:lnTo>
                  <a:pt x="1500" y="2114"/>
                </a:lnTo>
                <a:lnTo>
                  <a:pt x="1498" y="2114"/>
                </a:lnTo>
                <a:lnTo>
                  <a:pt x="1498" y="2116"/>
                </a:lnTo>
                <a:lnTo>
                  <a:pt x="1496" y="2116"/>
                </a:lnTo>
                <a:lnTo>
                  <a:pt x="1494" y="2116"/>
                </a:lnTo>
                <a:lnTo>
                  <a:pt x="1494" y="2114"/>
                </a:lnTo>
                <a:lnTo>
                  <a:pt x="1492" y="2114"/>
                </a:lnTo>
                <a:lnTo>
                  <a:pt x="1492" y="2116"/>
                </a:lnTo>
                <a:lnTo>
                  <a:pt x="1494" y="2116"/>
                </a:lnTo>
                <a:lnTo>
                  <a:pt x="1496" y="2116"/>
                </a:lnTo>
                <a:lnTo>
                  <a:pt x="1494" y="2118"/>
                </a:lnTo>
                <a:lnTo>
                  <a:pt x="1494" y="2120"/>
                </a:lnTo>
                <a:lnTo>
                  <a:pt x="1494" y="2121"/>
                </a:lnTo>
                <a:lnTo>
                  <a:pt x="1492" y="2121"/>
                </a:lnTo>
                <a:lnTo>
                  <a:pt x="1490" y="2121"/>
                </a:lnTo>
                <a:lnTo>
                  <a:pt x="1488" y="2121"/>
                </a:lnTo>
                <a:lnTo>
                  <a:pt x="1488" y="2120"/>
                </a:lnTo>
                <a:lnTo>
                  <a:pt x="1490" y="2120"/>
                </a:lnTo>
                <a:lnTo>
                  <a:pt x="1488" y="2120"/>
                </a:lnTo>
                <a:lnTo>
                  <a:pt x="1490" y="2120"/>
                </a:lnTo>
                <a:lnTo>
                  <a:pt x="1490" y="2118"/>
                </a:lnTo>
                <a:lnTo>
                  <a:pt x="1488" y="2118"/>
                </a:lnTo>
                <a:lnTo>
                  <a:pt x="1486" y="2118"/>
                </a:lnTo>
                <a:lnTo>
                  <a:pt x="1484" y="2118"/>
                </a:lnTo>
                <a:lnTo>
                  <a:pt x="1486" y="2118"/>
                </a:lnTo>
                <a:lnTo>
                  <a:pt x="1486" y="2116"/>
                </a:lnTo>
                <a:lnTo>
                  <a:pt x="1486" y="2114"/>
                </a:lnTo>
                <a:lnTo>
                  <a:pt x="1486" y="2116"/>
                </a:lnTo>
                <a:lnTo>
                  <a:pt x="1484" y="2116"/>
                </a:lnTo>
                <a:lnTo>
                  <a:pt x="1483" y="2116"/>
                </a:lnTo>
                <a:lnTo>
                  <a:pt x="1483" y="2118"/>
                </a:lnTo>
                <a:lnTo>
                  <a:pt x="1481" y="2118"/>
                </a:lnTo>
                <a:lnTo>
                  <a:pt x="1481" y="2116"/>
                </a:lnTo>
                <a:lnTo>
                  <a:pt x="1481" y="2118"/>
                </a:lnTo>
                <a:lnTo>
                  <a:pt x="1479" y="2118"/>
                </a:lnTo>
                <a:lnTo>
                  <a:pt x="1479" y="2116"/>
                </a:lnTo>
                <a:lnTo>
                  <a:pt x="1479" y="2118"/>
                </a:lnTo>
                <a:lnTo>
                  <a:pt x="1477" y="2118"/>
                </a:lnTo>
                <a:lnTo>
                  <a:pt x="1477" y="2116"/>
                </a:lnTo>
                <a:lnTo>
                  <a:pt x="1475" y="2116"/>
                </a:lnTo>
                <a:lnTo>
                  <a:pt x="1475" y="2118"/>
                </a:lnTo>
                <a:lnTo>
                  <a:pt x="1473" y="2118"/>
                </a:lnTo>
                <a:lnTo>
                  <a:pt x="1471" y="2118"/>
                </a:lnTo>
                <a:lnTo>
                  <a:pt x="1471" y="2116"/>
                </a:lnTo>
                <a:lnTo>
                  <a:pt x="1471" y="2114"/>
                </a:lnTo>
                <a:lnTo>
                  <a:pt x="1469" y="2114"/>
                </a:lnTo>
                <a:lnTo>
                  <a:pt x="1469" y="2112"/>
                </a:lnTo>
                <a:lnTo>
                  <a:pt x="1471" y="2112"/>
                </a:lnTo>
                <a:lnTo>
                  <a:pt x="1471" y="2110"/>
                </a:lnTo>
                <a:lnTo>
                  <a:pt x="1471" y="2112"/>
                </a:lnTo>
                <a:lnTo>
                  <a:pt x="1473" y="2112"/>
                </a:lnTo>
                <a:lnTo>
                  <a:pt x="1473" y="2110"/>
                </a:lnTo>
                <a:lnTo>
                  <a:pt x="1475" y="2110"/>
                </a:lnTo>
                <a:lnTo>
                  <a:pt x="1477" y="2110"/>
                </a:lnTo>
                <a:lnTo>
                  <a:pt x="1477" y="2108"/>
                </a:lnTo>
                <a:lnTo>
                  <a:pt x="1479" y="2108"/>
                </a:lnTo>
                <a:lnTo>
                  <a:pt x="1481" y="2108"/>
                </a:lnTo>
                <a:lnTo>
                  <a:pt x="1481" y="2106"/>
                </a:lnTo>
                <a:lnTo>
                  <a:pt x="1481" y="2108"/>
                </a:lnTo>
                <a:lnTo>
                  <a:pt x="1483" y="2106"/>
                </a:lnTo>
                <a:lnTo>
                  <a:pt x="1483" y="2108"/>
                </a:lnTo>
                <a:lnTo>
                  <a:pt x="1484" y="2108"/>
                </a:lnTo>
                <a:lnTo>
                  <a:pt x="1484" y="2110"/>
                </a:lnTo>
                <a:lnTo>
                  <a:pt x="1486" y="2110"/>
                </a:lnTo>
                <a:lnTo>
                  <a:pt x="1486" y="2112"/>
                </a:lnTo>
                <a:lnTo>
                  <a:pt x="1488" y="2112"/>
                </a:lnTo>
                <a:lnTo>
                  <a:pt x="1488" y="2110"/>
                </a:lnTo>
                <a:lnTo>
                  <a:pt x="1486" y="2110"/>
                </a:lnTo>
                <a:lnTo>
                  <a:pt x="1486" y="2108"/>
                </a:lnTo>
                <a:lnTo>
                  <a:pt x="1484" y="2108"/>
                </a:lnTo>
                <a:lnTo>
                  <a:pt x="1484" y="2106"/>
                </a:lnTo>
                <a:lnTo>
                  <a:pt x="1484" y="2104"/>
                </a:lnTo>
                <a:lnTo>
                  <a:pt x="1486" y="2104"/>
                </a:lnTo>
                <a:lnTo>
                  <a:pt x="1486" y="2106"/>
                </a:lnTo>
                <a:lnTo>
                  <a:pt x="1488" y="2106"/>
                </a:lnTo>
                <a:lnTo>
                  <a:pt x="1488" y="2108"/>
                </a:lnTo>
                <a:lnTo>
                  <a:pt x="1490" y="2108"/>
                </a:lnTo>
                <a:lnTo>
                  <a:pt x="1492" y="2108"/>
                </a:lnTo>
                <a:lnTo>
                  <a:pt x="1492" y="2110"/>
                </a:lnTo>
                <a:lnTo>
                  <a:pt x="1492" y="2108"/>
                </a:lnTo>
                <a:lnTo>
                  <a:pt x="1494" y="2108"/>
                </a:lnTo>
                <a:lnTo>
                  <a:pt x="1496" y="2108"/>
                </a:lnTo>
                <a:lnTo>
                  <a:pt x="1496" y="2110"/>
                </a:lnTo>
                <a:close/>
                <a:moveTo>
                  <a:pt x="1490" y="2106"/>
                </a:moveTo>
                <a:lnTo>
                  <a:pt x="1492" y="2106"/>
                </a:lnTo>
                <a:lnTo>
                  <a:pt x="1490" y="2106"/>
                </a:lnTo>
                <a:close/>
                <a:moveTo>
                  <a:pt x="1492" y="2106"/>
                </a:moveTo>
                <a:lnTo>
                  <a:pt x="1492" y="2108"/>
                </a:lnTo>
                <a:lnTo>
                  <a:pt x="1490" y="2108"/>
                </a:lnTo>
                <a:lnTo>
                  <a:pt x="1488" y="2108"/>
                </a:lnTo>
                <a:lnTo>
                  <a:pt x="1488" y="2106"/>
                </a:lnTo>
                <a:lnTo>
                  <a:pt x="1490" y="2106"/>
                </a:lnTo>
                <a:lnTo>
                  <a:pt x="1492" y="2106"/>
                </a:lnTo>
                <a:lnTo>
                  <a:pt x="1492" y="2108"/>
                </a:lnTo>
                <a:lnTo>
                  <a:pt x="1492" y="2106"/>
                </a:lnTo>
                <a:lnTo>
                  <a:pt x="1492" y="2108"/>
                </a:lnTo>
                <a:lnTo>
                  <a:pt x="1492" y="2106"/>
                </a:lnTo>
                <a:close/>
                <a:moveTo>
                  <a:pt x="1513" y="2123"/>
                </a:moveTo>
                <a:lnTo>
                  <a:pt x="1513" y="2121"/>
                </a:lnTo>
                <a:lnTo>
                  <a:pt x="1513" y="2123"/>
                </a:lnTo>
                <a:close/>
                <a:moveTo>
                  <a:pt x="1542" y="2141"/>
                </a:moveTo>
                <a:lnTo>
                  <a:pt x="1540" y="2141"/>
                </a:lnTo>
                <a:lnTo>
                  <a:pt x="1542" y="2141"/>
                </a:lnTo>
                <a:lnTo>
                  <a:pt x="1540" y="2141"/>
                </a:lnTo>
                <a:lnTo>
                  <a:pt x="1542" y="2141"/>
                </a:lnTo>
                <a:close/>
                <a:moveTo>
                  <a:pt x="1492" y="2104"/>
                </a:moveTo>
                <a:lnTo>
                  <a:pt x="1492" y="2106"/>
                </a:lnTo>
                <a:lnTo>
                  <a:pt x="1490" y="2106"/>
                </a:lnTo>
                <a:lnTo>
                  <a:pt x="1490" y="2104"/>
                </a:lnTo>
                <a:lnTo>
                  <a:pt x="1492" y="2104"/>
                </a:lnTo>
                <a:close/>
                <a:moveTo>
                  <a:pt x="1513" y="2120"/>
                </a:moveTo>
                <a:lnTo>
                  <a:pt x="1513" y="2121"/>
                </a:lnTo>
                <a:lnTo>
                  <a:pt x="1513" y="2120"/>
                </a:lnTo>
                <a:lnTo>
                  <a:pt x="1511" y="2120"/>
                </a:lnTo>
                <a:lnTo>
                  <a:pt x="1513" y="2120"/>
                </a:lnTo>
                <a:close/>
                <a:moveTo>
                  <a:pt x="1511" y="2120"/>
                </a:moveTo>
                <a:lnTo>
                  <a:pt x="1511" y="2121"/>
                </a:lnTo>
                <a:lnTo>
                  <a:pt x="1509" y="2121"/>
                </a:lnTo>
                <a:lnTo>
                  <a:pt x="1509" y="2120"/>
                </a:lnTo>
                <a:lnTo>
                  <a:pt x="1511" y="2120"/>
                </a:lnTo>
                <a:lnTo>
                  <a:pt x="1511" y="2118"/>
                </a:lnTo>
                <a:lnTo>
                  <a:pt x="1511" y="2120"/>
                </a:lnTo>
                <a:close/>
                <a:moveTo>
                  <a:pt x="1513" y="2120"/>
                </a:moveTo>
                <a:lnTo>
                  <a:pt x="1513" y="2118"/>
                </a:lnTo>
                <a:lnTo>
                  <a:pt x="1513" y="2120"/>
                </a:lnTo>
                <a:close/>
                <a:moveTo>
                  <a:pt x="1488" y="2098"/>
                </a:moveTo>
                <a:lnTo>
                  <a:pt x="1488" y="2100"/>
                </a:lnTo>
                <a:lnTo>
                  <a:pt x="1488" y="2098"/>
                </a:lnTo>
                <a:close/>
                <a:moveTo>
                  <a:pt x="785" y="1313"/>
                </a:moveTo>
                <a:lnTo>
                  <a:pt x="784" y="1313"/>
                </a:lnTo>
                <a:lnTo>
                  <a:pt x="782" y="1313"/>
                </a:lnTo>
                <a:lnTo>
                  <a:pt x="782" y="1315"/>
                </a:lnTo>
                <a:lnTo>
                  <a:pt x="782" y="1317"/>
                </a:lnTo>
                <a:lnTo>
                  <a:pt x="780" y="1317"/>
                </a:lnTo>
                <a:lnTo>
                  <a:pt x="780" y="1315"/>
                </a:lnTo>
                <a:lnTo>
                  <a:pt x="782" y="1315"/>
                </a:lnTo>
                <a:lnTo>
                  <a:pt x="782" y="1313"/>
                </a:lnTo>
                <a:lnTo>
                  <a:pt x="784" y="1313"/>
                </a:lnTo>
                <a:lnTo>
                  <a:pt x="785" y="1313"/>
                </a:lnTo>
                <a:close/>
                <a:moveTo>
                  <a:pt x="1554" y="2146"/>
                </a:moveTo>
                <a:lnTo>
                  <a:pt x="1554" y="2144"/>
                </a:lnTo>
                <a:lnTo>
                  <a:pt x="1554" y="2146"/>
                </a:lnTo>
                <a:close/>
                <a:moveTo>
                  <a:pt x="1515" y="2116"/>
                </a:moveTo>
                <a:lnTo>
                  <a:pt x="1515" y="2118"/>
                </a:lnTo>
                <a:lnTo>
                  <a:pt x="1517" y="2118"/>
                </a:lnTo>
                <a:lnTo>
                  <a:pt x="1515" y="2120"/>
                </a:lnTo>
                <a:lnTo>
                  <a:pt x="1513" y="2118"/>
                </a:lnTo>
                <a:lnTo>
                  <a:pt x="1513" y="2116"/>
                </a:lnTo>
                <a:lnTo>
                  <a:pt x="1515" y="2116"/>
                </a:lnTo>
                <a:close/>
                <a:moveTo>
                  <a:pt x="1517" y="2114"/>
                </a:moveTo>
                <a:lnTo>
                  <a:pt x="1517" y="2116"/>
                </a:lnTo>
                <a:lnTo>
                  <a:pt x="1515" y="2116"/>
                </a:lnTo>
                <a:lnTo>
                  <a:pt x="1515" y="2114"/>
                </a:lnTo>
                <a:lnTo>
                  <a:pt x="1517" y="2114"/>
                </a:lnTo>
                <a:close/>
                <a:moveTo>
                  <a:pt x="766" y="1273"/>
                </a:moveTo>
                <a:lnTo>
                  <a:pt x="766" y="1275"/>
                </a:lnTo>
                <a:lnTo>
                  <a:pt x="764" y="1275"/>
                </a:lnTo>
                <a:lnTo>
                  <a:pt x="764" y="1273"/>
                </a:lnTo>
                <a:lnTo>
                  <a:pt x="766" y="1273"/>
                </a:lnTo>
                <a:close/>
                <a:moveTo>
                  <a:pt x="745" y="1240"/>
                </a:moveTo>
                <a:lnTo>
                  <a:pt x="745" y="1238"/>
                </a:lnTo>
                <a:lnTo>
                  <a:pt x="747" y="1238"/>
                </a:lnTo>
                <a:lnTo>
                  <a:pt x="747" y="1240"/>
                </a:lnTo>
                <a:lnTo>
                  <a:pt x="745" y="1240"/>
                </a:lnTo>
                <a:close/>
                <a:moveTo>
                  <a:pt x="1483" y="2085"/>
                </a:moveTo>
                <a:lnTo>
                  <a:pt x="1483" y="2087"/>
                </a:lnTo>
                <a:lnTo>
                  <a:pt x="1483" y="2085"/>
                </a:lnTo>
                <a:close/>
                <a:moveTo>
                  <a:pt x="1506" y="2102"/>
                </a:moveTo>
                <a:lnTo>
                  <a:pt x="1508" y="2102"/>
                </a:lnTo>
                <a:lnTo>
                  <a:pt x="1508" y="2100"/>
                </a:lnTo>
                <a:lnTo>
                  <a:pt x="1508" y="2102"/>
                </a:lnTo>
                <a:lnTo>
                  <a:pt x="1506" y="2102"/>
                </a:lnTo>
                <a:close/>
                <a:moveTo>
                  <a:pt x="1508" y="2100"/>
                </a:moveTo>
                <a:lnTo>
                  <a:pt x="1506" y="2100"/>
                </a:lnTo>
                <a:lnTo>
                  <a:pt x="1508" y="2100"/>
                </a:lnTo>
                <a:close/>
                <a:moveTo>
                  <a:pt x="1540" y="2125"/>
                </a:moveTo>
                <a:lnTo>
                  <a:pt x="1540" y="2127"/>
                </a:lnTo>
                <a:lnTo>
                  <a:pt x="1540" y="2129"/>
                </a:lnTo>
                <a:lnTo>
                  <a:pt x="1538" y="2129"/>
                </a:lnTo>
                <a:lnTo>
                  <a:pt x="1538" y="2131"/>
                </a:lnTo>
                <a:lnTo>
                  <a:pt x="1536" y="2131"/>
                </a:lnTo>
                <a:lnTo>
                  <a:pt x="1536" y="2133"/>
                </a:lnTo>
                <a:lnTo>
                  <a:pt x="1536" y="2131"/>
                </a:lnTo>
                <a:lnTo>
                  <a:pt x="1536" y="2133"/>
                </a:lnTo>
                <a:lnTo>
                  <a:pt x="1534" y="2133"/>
                </a:lnTo>
                <a:lnTo>
                  <a:pt x="1532" y="2133"/>
                </a:lnTo>
                <a:lnTo>
                  <a:pt x="1532" y="2131"/>
                </a:lnTo>
                <a:lnTo>
                  <a:pt x="1531" y="2131"/>
                </a:lnTo>
                <a:lnTo>
                  <a:pt x="1531" y="2133"/>
                </a:lnTo>
                <a:lnTo>
                  <a:pt x="1532" y="2133"/>
                </a:lnTo>
                <a:lnTo>
                  <a:pt x="1532" y="2135"/>
                </a:lnTo>
                <a:lnTo>
                  <a:pt x="1534" y="2135"/>
                </a:lnTo>
                <a:lnTo>
                  <a:pt x="1534" y="2133"/>
                </a:lnTo>
                <a:lnTo>
                  <a:pt x="1536" y="2133"/>
                </a:lnTo>
                <a:lnTo>
                  <a:pt x="1536" y="2135"/>
                </a:lnTo>
                <a:lnTo>
                  <a:pt x="1536" y="2137"/>
                </a:lnTo>
                <a:lnTo>
                  <a:pt x="1536" y="2139"/>
                </a:lnTo>
                <a:lnTo>
                  <a:pt x="1536" y="2137"/>
                </a:lnTo>
                <a:lnTo>
                  <a:pt x="1538" y="2137"/>
                </a:lnTo>
                <a:lnTo>
                  <a:pt x="1538" y="2139"/>
                </a:lnTo>
                <a:lnTo>
                  <a:pt x="1538" y="2137"/>
                </a:lnTo>
                <a:lnTo>
                  <a:pt x="1538" y="2139"/>
                </a:lnTo>
                <a:lnTo>
                  <a:pt x="1540" y="2139"/>
                </a:lnTo>
                <a:lnTo>
                  <a:pt x="1538" y="2139"/>
                </a:lnTo>
                <a:lnTo>
                  <a:pt x="1540" y="2141"/>
                </a:lnTo>
                <a:lnTo>
                  <a:pt x="1540" y="2139"/>
                </a:lnTo>
                <a:lnTo>
                  <a:pt x="1540" y="2141"/>
                </a:lnTo>
                <a:lnTo>
                  <a:pt x="1540" y="2143"/>
                </a:lnTo>
                <a:lnTo>
                  <a:pt x="1540" y="2144"/>
                </a:lnTo>
                <a:lnTo>
                  <a:pt x="1540" y="2146"/>
                </a:lnTo>
                <a:lnTo>
                  <a:pt x="1540" y="2148"/>
                </a:lnTo>
                <a:lnTo>
                  <a:pt x="1538" y="2150"/>
                </a:lnTo>
                <a:lnTo>
                  <a:pt x="1538" y="2148"/>
                </a:lnTo>
                <a:lnTo>
                  <a:pt x="1540" y="2148"/>
                </a:lnTo>
                <a:lnTo>
                  <a:pt x="1538" y="2148"/>
                </a:lnTo>
                <a:lnTo>
                  <a:pt x="1538" y="2150"/>
                </a:lnTo>
                <a:lnTo>
                  <a:pt x="1536" y="2150"/>
                </a:lnTo>
                <a:lnTo>
                  <a:pt x="1536" y="2148"/>
                </a:lnTo>
                <a:lnTo>
                  <a:pt x="1536" y="2146"/>
                </a:lnTo>
                <a:lnTo>
                  <a:pt x="1536" y="2144"/>
                </a:lnTo>
                <a:lnTo>
                  <a:pt x="1536" y="2143"/>
                </a:lnTo>
                <a:lnTo>
                  <a:pt x="1536" y="2144"/>
                </a:lnTo>
                <a:lnTo>
                  <a:pt x="1536" y="2146"/>
                </a:lnTo>
                <a:lnTo>
                  <a:pt x="1534" y="2146"/>
                </a:lnTo>
                <a:lnTo>
                  <a:pt x="1534" y="2148"/>
                </a:lnTo>
                <a:lnTo>
                  <a:pt x="1534" y="2150"/>
                </a:lnTo>
                <a:lnTo>
                  <a:pt x="1534" y="2148"/>
                </a:lnTo>
                <a:lnTo>
                  <a:pt x="1534" y="2150"/>
                </a:lnTo>
                <a:lnTo>
                  <a:pt x="1532" y="2150"/>
                </a:lnTo>
                <a:lnTo>
                  <a:pt x="1532" y="2152"/>
                </a:lnTo>
                <a:lnTo>
                  <a:pt x="1532" y="2154"/>
                </a:lnTo>
                <a:lnTo>
                  <a:pt x="1531" y="2154"/>
                </a:lnTo>
                <a:lnTo>
                  <a:pt x="1531" y="2156"/>
                </a:lnTo>
                <a:lnTo>
                  <a:pt x="1529" y="2156"/>
                </a:lnTo>
                <a:lnTo>
                  <a:pt x="1527" y="2158"/>
                </a:lnTo>
                <a:lnTo>
                  <a:pt x="1527" y="2156"/>
                </a:lnTo>
                <a:lnTo>
                  <a:pt x="1527" y="2158"/>
                </a:lnTo>
                <a:lnTo>
                  <a:pt x="1527" y="2156"/>
                </a:lnTo>
                <a:lnTo>
                  <a:pt x="1525" y="2156"/>
                </a:lnTo>
                <a:lnTo>
                  <a:pt x="1523" y="2156"/>
                </a:lnTo>
                <a:lnTo>
                  <a:pt x="1523" y="2154"/>
                </a:lnTo>
                <a:lnTo>
                  <a:pt x="1523" y="2152"/>
                </a:lnTo>
                <a:lnTo>
                  <a:pt x="1523" y="2150"/>
                </a:lnTo>
                <a:lnTo>
                  <a:pt x="1521" y="2150"/>
                </a:lnTo>
                <a:lnTo>
                  <a:pt x="1521" y="2148"/>
                </a:lnTo>
                <a:lnTo>
                  <a:pt x="1521" y="2150"/>
                </a:lnTo>
                <a:lnTo>
                  <a:pt x="1521" y="2148"/>
                </a:lnTo>
                <a:lnTo>
                  <a:pt x="1523" y="2148"/>
                </a:lnTo>
                <a:lnTo>
                  <a:pt x="1521" y="2148"/>
                </a:lnTo>
                <a:lnTo>
                  <a:pt x="1521" y="2146"/>
                </a:lnTo>
                <a:lnTo>
                  <a:pt x="1521" y="2148"/>
                </a:lnTo>
                <a:lnTo>
                  <a:pt x="1523" y="2148"/>
                </a:lnTo>
                <a:lnTo>
                  <a:pt x="1523" y="2146"/>
                </a:lnTo>
                <a:lnTo>
                  <a:pt x="1525" y="2146"/>
                </a:lnTo>
                <a:lnTo>
                  <a:pt x="1527" y="2146"/>
                </a:lnTo>
                <a:lnTo>
                  <a:pt x="1527" y="2144"/>
                </a:lnTo>
                <a:lnTo>
                  <a:pt x="1527" y="2146"/>
                </a:lnTo>
                <a:lnTo>
                  <a:pt x="1525" y="2146"/>
                </a:lnTo>
                <a:lnTo>
                  <a:pt x="1525" y="2144"/>
                </a:lnTo>
                <a:lnTo>
                  <a:pt x="1523" y="2144"/>
                </a:lnTo>
                <a:lnTo>
                  <a:pt x="1523" y="2143"/>
                </a:lnTo>
                <a:lnTo>
                  <a:pt x="1525" y="2143"/>
                </a:lnTo>
                <a:lnTo>
                  <a:pt x="1527" y="2143"/>
                </a:lnTo>
                <a:lnTo>
                  <a:pt x="1527" y="2141"/>
                </a:lnTo>
                <a:lnTo>
                  <a:pt x="1527" y="2139"/>
                </a:lnTo>
                <a:lnTo>
                  <a:pt x="1529" y="2137"/>
                </a:lnTo>
                <a:lnTo>
                  <a:pt x="1529" y="2135"/>
                </a:lnTo>
                <a:lnTo>
                  <a:pt x="1531" y="2135"/>
                </a:lnTo>
                <a:lnTo>
                  <a:pt x="1529" y="2135"/>
                </a:lnTo>
                <a:lnTo>
                  <a:pt x="1529" y="2137"/>
                </a:lnTo>
                <a:lnTo>
                  <a:pt x="1527" y="2139"/>
                </a:lnTo>
                <a:lnTo>
                  <a:pt x="1527" y="2141"/>
                </a:lnTo>
                <a:lnTo>
                  <a:pt x="1525" y="2141"/>
                </a:lnTo>
                <a:lnTo>
                  <a:pt x="1525" y="2139"/>
                </a:lnTo>
                <a:lnTo>
                  <a:pt x="1523" y="2139"/>
                </a:lnTo>
                <a:lnTo>
                  <a:pt x="1523" y="2137"/>
                </a:lnTo>
                <a:lnTo>
                  <a:pt x="1525" y="2135"/>
                </a:lnTo>
                <a:lnTo>
                  <a:pt x="1525" y="2133"/>
                </a:lnTo>
                <a:lnTo>
                  <a:pt x="1525" y="2131"/>
                </a:lnTo>
                <a:lnTo>
                  <a:pt x="1525" y="2133"/>
                </a:lnTo>
                <a:lnTo>
                  <a:pt x="1525" y="2131"/>
                </a:lnTo>
                <a:lnTo>
                  <a:pt x="1525" y="2133"/>
                </a:lnTo>
                <a:lnTo>
                  <a:pt x="1525" y="2135"/>
                </a:lnTo>
                <a:lnTo>
                  <a:pt x="1523" y="2135"/>
                </a:lnTo>
                <a:lnTo>
                  <a:pt x="1523" y="2137"/>
                </a:lnTo>
                <a:lnTo>
                  <a:pt x="1523" y="2139"/>
                </a:lnTo>
                <a:lnTo>
                  <a:pt x="1521" y="2139"/>
                </a:lnTo>
                <a:lnTo>
                  <a:pt x="1523" y="2139"/>
                </a:lnTo>
                <a:lnTo>
                  <a:pt x="1521" y="2139"/>
                </a:lnTo>
                <a:lnTo>
                  <a:pt x="1521" y="2137"/>
                </a:lnTo>
                <a:lnTo>
                  <a:pt x="1521" y="2135"/>
                </a:lnTo>
                <a:lnTo>
                  <a:pt x="1521" y="2137"/>
                </a:lnTo>
                <a:lnTo>
                  <a:pt x="1519" y="2137"/>
                </a:lnTo>
                <a:lnTo>
                  <a:pt x="1517" y="2137"/>
                </a:lnTo>
                <a:lnTo>
                  <a:pt x="1517" y="2135"/>
                </a:lnTo>
                <a:lnTo>
                  <a:pt x="1519" y="2135"/>
                </a:lnTo>
                <a:lnTo>
                  <a:pt x="1517" y="2135"/>
                </a:lnTo>
                <a:lnTo>
                  <a:pt x="1519" y="2135"/>
                </a:lnTo>
                <a:lnTo>
                  <a:pt x="1519" y="2133"/>
                </a:lnTo>
                <a:lnTo>
                  <a:pt x="1519" y="2131"/>
                </a:lnTo>
                <a:lnTo>
                  <a:pt x="1519" y="2129"/>
                </a:lnTo>
                <a:lnTo>
                  <a:pt x="1521" y="2129"/>
                </a:lnTo>
                <a:lnTo>
                  <a:pt x="1521" y="2127"/>
                </a:lnTo>
                <a:lnTo>
                  <a:pt x="1521" y="2129"/>
                </a:lnTo>
                <a:lnTo>
                  <a:pt x="1521" y="2131"/>
                </a:lnTo>
                <a:lnTo>
                  <a:pt x="1521" y="2129"/>
                </a:lnTo>
                <a:lnTo>
                  <a:pt x="1523" y="2129"/>
                </a:lnTo>
                <a:lnTo>
                  <a:pt x="1523" y="2127"/>
                </a:lnTo>
                <a:lnTo>
                  <a:pt x="1523" y="2125"/>
                </a:lnTo>
                <a:lnTo>
                  <a:pt x="1525" y="2127"/>
                </a:lnTo>
                <a:lnTo>
                  <a:pt x="1525" y="2125"/>
                </a:lnTo>
                <a:lnTo>
                  <a:pt x="1523" y="2125"/>
                </a:lnTo>
                <a:lnTo>
                  <a:pt x="1525" y="2123"/>
                </a:lnTo>
                <a:lnTo>
                  <a:pt x="1527" y="2123"/>
                </a:lnTo>
                <a:lnTo>
                  <a:pt x="1527" y="2125"/>
                </a:lnTo>
                <a:lnTo>
                  <a:pt x="1529" y="2125"/>
                </a:lnTo>
                <a:lnTo>
                  <a:pt x="1531" y="2125"/>
                </a:lnTo>
                <a:lnTo>
                  <a:pt x="1531" y="2123"/>
                </a:lnTo>
                <a:lnTo>
                  <a:pt x="1532" y="2123"/>
                </a:lnTo>
                <a:lnTo>
                  <a:pt x="1534" y="2123"/>
                </a:lnTo>
                <a:lnTo>
                  <a:pt x="1534" y="2121"/>
                </a:lnTo>
                <a:lnTo>
                  <a:pt x="1536" y="2121"/>
                </a:lnTo>
                <a:lnTo>
                  <a:pt x="1538" y="2123"/>
                </a:lnTo>
                <a:lnTo>
                  <a:pt x="1540" y="2123"/>
                </a:lnTo>
                <a:lnTo>
                  <a:pt x="1540" y="2125"/>
                </a:lnTo>
                <a:close/>
                <a:moveTo>
                  <a:pt x="1498" y="2091"/>
                </a:moveTo>
                <a:lnTo>
                  <a:pt x="1498" y="2093"/>
                </a:lnTo>
                <a:lnTo>
                  <a:pt x="1498" y="2091"/>
                </a:lnTo>
                <a:lnTo>
                  <a:pt x="1498" y="2093"/>
                </a:lnTo>
                <a:lnTo>
                  <a:pt x="1500" y="2093"/>
                </a:lnTo>
                <a:lnTo>
                  <a:pt x="1500" y="2095"/>
                </a:lnTo>
                <a:lnTo>
                  <a:pt x="1502" y="2095"/>
                </a:lnTo>
                <a:lnTo>
                  <a:pt x="1502" y="2096"/>
                </a:lnTo>
                <a:lnTo>
                  <a:pt x="1504" y="2096"/>
                </a:lnTo>
                <a:lnTo>
                  <a:pt x="1504" y="2098"/>
                </a:lnTo>
                <a:lnTo>
                  <a:pt x="1506" y="2098"/>
                </a:lnTo>
                <a:lnTo>
                  <a:pt x="1506" y="2100"/>
                </a:lnTo>
                <a:lnTo>
                  <a:pt x="1508" y="2100"/>
                </a:lnTo>
                <a:lnTo>
                  <a:pt x="1506" y="2100"/>
                </a:lnTo>
                <a:lnTo>
                  <a:pt x="1504" y="2102"/>
                </a:lnTo>
                <a:lnTo>
                  <a:pt x="1506" y="2102"/>
                </a:lnTo>
                <a:lnTo>
                  <a:pt x="1504" y="2102"/>
                </a:lnTo>
                <a:lnTo>
                  <a:pt x="1504" y="2104"/>
                </a:lnTo>
                <a:lnTo>
                  <a:pt x="1506" y="2104"/>
                </a:lnTo>
                <a:lnTo>
                  <a:pt x="1506" y="2102"/>
                </a:lnTo>
                <a:lnTo>
                  <a:pt x="1508" y="2102"/>
                </a:lnTo>
                <a:lnTo>
                  <a:pt x="1509" y="2102"/>
                </a:lnTo>
                <a:lnTo>
                  <a:pt x="1509" y="2104"/>
                </a:lnTo>
                <a:lnTo>
                  <a:pt x="1511" y="2104"/>
                </a:lnTo>
                <a:lnTo>
                  <a:pt x="1511" y="2106"/>
                </a:lnTo>
                <a:lnTo>
                  <a:pt x="1511" y="2108"/>
                </a:lnTo>
                <a:lnTo>
                  <a:pt x="1511" y="2110"/>
                </a:lnTo>
                <a:lnTo>
                  <a:pt x="1509" y="2110"/>
                </a:lnTo>
                <a:lnTo>
                  <a:pt x="1511" y="2112"/>
                </a:lnTo>
                <a:lnTo>
                  <a:pt x="1511" y="2114"/>
                </a:lnTo>
                <a:lnTo>
                  <a:pt x="1511" y="2116"/>
                </a:lnTo>
                <a:lnTo>
                  <a:pt x="1509" y="2116"/>
                </a:lnTo>
                <a:lnTo>
                  <a:pt x="1508" y="2116"/>
                </a:lnTo>
                <a:lnTo>
                  <a:pt x="1508" y="2118"/>
                </a:lnTo>
                <a:lnTo>
                  <a:pt x="1509" y="2116"/>
                </a:lnTo>
                <a:lnTo>
                  <a:pt x="1511" y="2116"/>
                </a:lnTo>
                <a:lnTo>
                  <a:pt x="1509" y="2118"/>
                </a:lnTo>
                <a:lnTo>
                  <a:pt x="1509" y="2120"/>
                </a:lnTo>
                <a:lnTo>
                  <a:pt x="1508" y="2120"/>
                </a:lnTo>
                <a:lnTo>
                  <a:pt x="1508" y="2121"/>
                </a:lnTo>
                <a:lnTo>
                  <a:pt x="1506" y="2121"/>
                </a:lnTo>
                <a:lnTo>
                  <a:pt x="1508" y="2121"/>
                </a:lnTo>
                <a:lnTo>
                  <a:pt x="1508" y="2123"/>
                </a:lnTo>
                <a:lnTo>
                  <a:pt x="1508" y="2125"/>
                </a:lnTo>
                <a:lnTo>
                  <a:pt x="1508" y="2127"/>
                </a:lnTo>
                <a:lnTo>
                  <a:pt x="1506" y="2127"/>
                </a:lnTo>
                <a:lnTo>
                  <a:pt x="1506" y="2125"/>
                </a:lnTo>
                <a:lnTo>
                  <a:pt x="1504" y="2125"/>
                </a:lnTo>
                <a:lnTo>
                  <a:pt x="1504" y="2123"/>
                </a:lnTo>
                <a:lnTo>
                  <a:pt x="1506" y="2123"/>
                </a:lnTo>
                <a:lnTo>
                  <a:pt x="1506" y="2121"/>
                </a:lnTo>
                <a:lnTo>
                  <a:pt x="1506" y="2120"/>
                </a:lnTo>
                <a:lnTo>
                  <a:pt x="1506" y="2121"/>
                </a:lnTo>
                <a:lnTo>
                  <a:pt x="1506" y="2120"/>
                </a:lnTo>
                <a:lnTo>
                  <a:pt x="1504" y="2121"/>
                </a:lnTo>
                <a:lnTo>
                  <a:pt x="1504" y="2120"/>
                </a:lnTo>
                <a:lnTo>
                  <a:pt x="1504" y="2118"/>
                </a:lnTo>
                <a:lnTo>
                  <a:pt x="1504" y="2120"/>
                </a:lnTo>
                <a:lnTo>
                  <a:pt x="1502" y="2120"/>
                </a:lnTo>
                <a:lnTo>
                  <a:pt x="1504" y="2120"/>
                </a:lnTo>
                <a:lnTo>
                  <a:pt x="1502" y="2120"/>
                </a:lnTo>
                <a:lnTo>
                  <a:pt x="1502" y="2121"/>
                </a:lnTo>
                <a:lnTo>
                  <a:pt x="1502" y="2123"/>
                </a:lnTo>
                <a:lnTo>
                  <a:pt x="1502" y="2125"/>
                </a:lnTo>
                <a:lnTo>
                  <a:pt x="1502" y="2127"/>
                </a:lnTo>
                <a:lnTo>
                  <a:pt x="1504" y="2127"/>
                </a:lnTo>
                <a:lnTo>
                  <a:pt x="1506" y="2127"/>
                </a:lnTo>
                <a:lnTo>
                  <a:pt x="1504" y="2127"/>
                </a:lnTo>
                <a:lnTo>
                  <a:pt x="1506" y="2127"/>
                </a:lnTo>
                <a:lnTo>
                  <a:pt x="1506" y="2129"/>
                </a:lnTo>
                <a:lnTo>
                  <a:pt x="1506" y="2127"/>
                </a:lnTo>
                <a:lnTo>
                  <a:pt x="1506" y="2129"/>
                </a:lnTo>
                <a:lnTo>
                  <a:pt x="1506" y="2127"/>
                </a:lnTo>
                <a:lnTo>
                  <a:pt x="1508" y="2127"/>
                </a:lnTo>
                <a:lnTo>
                  <a:pt x="1508" y="2129"/>
                </a:lnTo>
                <a:lnTo>
                  <a:pt x="1508" y="2131"/>
                </a:lnTo>
                <a:lnTo>
                  <a:pt x="1506" y="2131"/>
                </a:lnTo>
                <a:lnTo>
                  <a:pt x="1504" y="2131"/>
                </a:lnTo>
                <a:lnTo>
                  <a:pt x="1504" y="2133"/>
                </a:lnTo>
                <a:lnTo>
                  <a:pt x="1502" y="2133"/>
                </a:lnTo>
                <a:lnTo>
                  <a:pt x="1504" y="2133"/>
                </a:lnTo>
                <a:lnTo>
                  <a:pt x="1504" y="2135"/>
                </a:lnTo>
                <a:lnTo>
                  <a:pt x="1506" y="2135"/>
                </a:lnTo>
                <a:lnTo>
                  <a:pt x="1504" y="2135"/>
                </a:lnTo>
                <a:lnTo>
                  <a:pt x="1504" y="2133"/>
                </a:lnTo>
                <a:lnTo>
                  <a:pt x="1504" y="2135"/>
                </a:lnTo>
                <a:lnTo>
                  <a:pt x="1504" y="2133"/>
                </a:lnTo>
                <a:lnTo>
                  <a:pt x="1504" y="2131"/>
                </a:lnTo>
                <a:lnTo>
                  <a:pt x="1506" y="2131"/>
                </a:lnTo>
                <a:lnTo>
                  <a:pt x="1506" y="2133"/>
                </a:lnTo>
                <a:lnTo>
                  <a:pt x="1506" y="2131"/>
                </a:lnTo>
                <a:lnTo>
                  <a:pt x="1508" y="2131"/>
                </a:lnTo>
                <a:lnTo>
                  <a:pt x="1508" y="2133"/>
                </a:lnTo>
                <a:lnTo>
                  <a:pt x="1509" y="2133"/>
                </a:lnTo>
                <a:lnTo>
                  <a:pt x="1509" y="2135"/>
                </a:lnTo>
                <a:lnTo>
                  <a:pt x="1508" y="2135"/>
                </a:lnTo>
                <a:lnTo>
                  <a:pt x="1509" y="2135"/>
                </a:lnTo>
                <a:lnTo>
                  <a:pt x="1509" y="2137"/>
                </a:lnTo>
                <a:lnTo>
                  <a:pt x="1509" y="2139"/>
                </a:lnTo>
                <a:lnTo>
                  <a:pt x="1511" y="2139"/>
                </a:lnTo>
                <a:lnTo>
                  <a:pt x="1511" y="2141"/>
                </a:lnTo>
                <a:lnTo>
                  <a:pt x="1511" y="2143"/>
                </a:lnTo>
                <a:lnTo>
                  <a:pt x="1511" y="2144"/>
                </a:lnTo>
                <a:lnTo>
                  <a:pt x="1511" y="2146"/>
                </a:lnTo>
                <a:lnTo>
                  <a:pt x="1511" y="2148"/>
                </a:lnTo>
                <a:lnTo>
                  <a:pt x="1511" y="2150"/>
                </a:lnTo>
                <a:lnTo>
                  <a:pt x="1511" y="2152"/>
                </a:lnTo>
                <a:lnTo>
                  <a:pt x="1511" y="2154"/>
                </a:lnTo>
                <a:lnTo>
                  <a:pt x="1511" y="2156"/>
                </a:lnTo>
                <a:lnTo>
                  <a:pt x="1511" y="2158"/>
                </a:lnTo>
                <a:lnTo>
                  <a:pt x="1511" y="2160"/>
                </a:lnTo>
                <a:lnTo>
                  <a:pt x="1509" y="2160"/>
                </a:lnTo>
                <a:lnTo>
                  <a:pt x="1509" y="2162"/>
                </a:lnTo>
                <a:lnTo>
                  <a:pt x="1509" y="2164"/>
                </a:lnTo>
                <a:lnTo>
                  <a:pt x="1509" y="2166"/>
                </a:lnTo>
                <a:lnTo>
                  <a:pt x="1508" y="2166"/>
                </a:lnTo>
                <a:lnTo>
                  <a:pt x="1508" y="2164"/>
                </a:lnTo>
                <a:lnTo>
                  <a:pt x="1508" y="2166"/>
                </a:lnTo>
                <a:lnTo>
                  <a:pt x="1508" y="2168"/>
                </a:lnTo>
                <a:lnTo>
                  <a:pt x="1508" y="2166"/>
                </a:lnTo>
                <a:lnTo>
                  <a:pt x="1506" y="2166"/>
                </a:lnTo>
                <a:lnTo>
                  <a:pt x="1506" y="2168"/>
                </a:lnTo>
                <a:lnTo>
                  <a:pt x="1504" y="2168"/>
                </a:lnTo>
                <a:lnTo>
                  <a:pt x="1504" y="2166"/>
                </a:lnTo>
                <a:lnTo>
                  <a:pt x="1504" y="2164"/>
                </a:lnTo>
                <a:lnTo>
                  <a:pt x="1504" y="2162"/>
                </a:lnTo>
                <a:lnTo>
                  <a:pt x="1502" y="2162"/>
                </a:lnTo>
                <a:lnTo>
                  <a:pt x="1502" y="2160"/>
                </a:lnTo>
                <a:lnTo>
                  <a:pt x="1500" y="2160"/>
                </a:lnTo>
                <a:lnTo>
                  <a:pt x="1500" y="2162"/>
                </a:lnTo>
                <a:lnTo>
                  <a:pt x="1502" y="2160"/>
                </a:lnTo>
                <a:lnTo>
                  <a:pt x="1502" y="2162"/>
                </a:lnTo>
                <a:lnTo>
                  <a:pt x="1502" y="2164"/>
                </a:lnTo>
                <a:lnTo>
                  <a:pt x="1504" y="2164"/>
                </a:lnTo>
                <a:lnTo>
                  <a:pt x="1504" y="2166"/>
                </a:lnTo>
                <a:lnTo>
                  <a:pt x="1504" y="2168"/>
                </a:lnTo>
                <a:lnTo>
                  <a:pt x="1504" y="2169"/>
                </a:lnTo>
                <a:lnTo>
                  <a:pt x="1504" y="2168"/>
                </a:lnTo>
                <a:lnTo>
                  <a:pt x="1506" y="2168"/>
                </a:lnTo>
                <a:lnTo>
                  <a:pt x="1506" y="2169"/>
                </a:lnTo>
                <a:lnTo>
                  <a:pt x="1506" y="2171"/>
                </a:lnTo>
                <a:lnTo>
                  <a:pt x="1504" y="2171"/>
                </a:lnTo>
                <a:lnTo>
                  <a:pt x="1506" y="2171"/>
                </a:lnTo>
                <a:lnTo>
                  <a:pt x="1508" y="2169"/>
                </a:lnTo>
                <a:lnTo>
                  <a:pt x="1509" y="2169"/>
                </a:lnTo>
                <a:lnTo>
                  <a:pt x="1509" y="2171"/>
                </a:lnTo>
                <a:lnTo>
                  <a:pt x="1509" y="2173"/>
                </a:lnTo>
                <a:lnTo>
                  <a:pt x="1508" y="2173"/>
                </a:lnTo>
                <a:lnTo>
                  <a:pt x="1508" y="2175"/>
                </a:lnTo>
                <a:lnTo>
                  <a:pt x="1506" y="2175"/>
                </a:lnTo>
                <a:lnTo>
                  <a:pt x="1508" y="2175"/>
                </a:lnTo>
                <a:lnTo>
                  <a:pt x="1508" y="2177"/>
                </a:lnTo>
                <a:lnTo>
                  <a:pt x="1506" y="2177"/>
                </a:lnTo>
                <a:lnTo>
                  <a:pt x="1508" y="2179"/>
                </a:lnTo>
                <a:lnTo>
                  <a:pt x="1506" y="2179"/>
                </a:lnTo>
                <a:lnTo>
                  <a:pt x="1506" y="2181"/>
                </a:lnTo>
                <a:lnTo>
                  <a:pt x="1508" y="2181"/>
                </a:lnTo>
                <a:lnTo>
                  <a:pt x="1508" y="2183"/>
                </a:lnTo>
                <a:lnTo>
                  <a:pt x="1508" y="2185"/>
                </a:lnTo>
                <a:lnTo>
                  <a:pt x="1508" y="2187"/>
                </a:lnTo>
                <a:lnTo>
                  <a:pt x="1508" y="2189"/>
                </a:lnTo>
                <a:lnTo>
                  <a:pt x="1508" y="2191"/>
                </a:lnTo>
                <a:lnTo>
                  <a:pt x="1506" y="2191"/>
                </a:lnTo>
                <a:lnTo>
                  <a:pt x="1506" y="2189"/>
                </a:lnTo>
                <a:lnTo>
                  <a:pt x="1506" y="2187"/>
                </a:lnTo>
                <a:lnTo>
                  <a:pt x="1506" y="2185"/>
                </a:lnTo>
                <a:lnTo>
                  <a:pt x="1504" y="2183"/>
                </a:lnTo>
                <a:lnTo>
                  <a:pt x="1504" y="2181"/>
                </a:lnTo>
                <a:lnTo>
                  <a:pt x="1502" y="2179"/>
                </a:lnTo>
                <a:lnTo>
                  <a:pt x="1502" y="2177"/>
                </a:lnTo>
                <a:lnTo>
                  <a:pt x="1502" y="2175"/>
                </a:lnTo>
                <a:lnTo>
                  <a:pt x="1500" y="2175"/>
                </a:lnTo>
                <a:lnTo>
                  <a:pt x="1500" y="2173"/>
                </a:lnTo>
                <a:lnTo>
                  <a:pt x="1502" y="2171"/>
                </a:lnTo>
                <a:lnTo>
                  <a:pt x="1500" y="2171"/>
                </a:lnTo>
                <a:lnTo>
                  <a:pt x="1502" y="2171"/>
                </a:lnTo>
                <a:lnTo>
                  <a:pt x="1500" y="2171"/>
                </a:lnTo>
                <a:lnTo>
                  <a:pt x="1500" y="2169"/>
                </a:lnTo>
                <a:lnTo>
                  <a:pt x="1500" y="2168"/>
                </a:lnTo>
                <a:lnTo>
                  <a:pt x="1500" y="2169"/>
                </a:lnTo>
                <a:lnTo>
                  <a:pt x="1500" y="2171"/>
                </a:lnTo>
                <a:lnTo>
                  <a:pt x="1500" y="2169"/>
                </a:lnTo>
                <a:lnTo>
                  <a:pt x="1498" y="2169"/>
                </a:lnTo>
                <a:lnTo>
                  <a:pt x="1498" y="2171"/>
                </a:lnTo>
                <a:lnTo>
                  <a:pt x="1498" y="2169"/>
                </a:lnTo>
                <a:lnTo>
                  <a:pt x="1498" y="2171"/>
                </a:lnTo>
                <a:lnTo>
                  <a:pt x="1496" y="2171"/>
                </a:lnTo>
                <a:lnTo>
                  <a:pt x="1498" y="2171"/>
                </a:lnTo>
                <a:lnTo>
                  <a:pt x="1498" y="2173"/>
                </a:lnTo>
                <a:lnTo>
                  <a:pt x="1496" y="2173"/>
                </a:lnTo>
                <a:lnTo>
                  <a:pt x="1496" y="2175"/>
                </a:lnTo>
                <a:lnTo>
                  <a:pt x="1494" y="2175"/>
                </a:lnTo>
                <a:lnTo>
                  <a:pt x="1492" y="2175"/>
                </a:lnTo>
                <a:lnTo>
                  <a:pt x="1490" y="2175"/>
                </a:lnTo>
                <a:lnTo>
                  <a:pt x="1488" y="2173"/>
                </a:lnTo>
                <a:lnTo>
                  <a:pt x="1488" y="2175"/>
                </a:lnTo>
                <a:lnTo>
                  <a:pt x="1486" y="2175"/>
                </a:lnTo>
                <a:lnTo>
                  <a:pt x="1488" y="2175"/>
                </a:lnTo>
                <a:lnTo>
                  <a:pt x="1488" y="2177"/>
                </a:lnTo>
                <a:lnTo>
                  <a:pt x="1486" y="2177"/>
                </a:lnTo>
                <a:lnTo>
                  <a:pt x="1486" y="2179"/>
                </a:lnTo>
                <a:lnTo>
                  <a:pt x="1484" y="2179"/>
                </a:lnTo>
                <a:lnTo>
                  <a:pt x="1483" y="2179"/>
                </a:lnTo>
                <a:lnTo>
                  <a:pt x="1481" y="2179"/>
                </a:lnTo>
                <a:lnTo>
                  <a:pt x="1481" y="2181"/>
                </a:lnTo>
                <a:lnTo>
                  <a:pt x="1483" y="2181"/>
                </a:lnTo>
                <a:lnTo>
                  <a:pt x="1483" y="2179"/>
                </a:lnTo>
                <a:lnTo>
                  <a:pt x="1484" y="2179"/>
                </a:lnTo>
                <a:lnTo>
                  <a:pt x="1486" y="2179"/>
                </a:lnTo>
                <a:lnTo>
                  <a:pt x="1486" y="2177"/>
                </a:lnTo>
                <a:lnTo>
                  <a:pt x="1488" y="2177"/>
                </a:lnTo>
                <a:lnTo>
                  <a:pt x="1490" y="2177"/>
                </a:lnTo>
                <a:lnTo>
                  <a:pt x="1492" y="2177"/>
                </a:lnTo>
                <a:lnTo>
                  <a:pt x="1494" y="2177"/>
                </a:lnTo>
                <a:lnTo>
                  <a:pt x="1494" y="2175"/>
                </a:lnTo>
                <a:lnTo>
                  <a:pt x="1494" y="2177"/>
                </a:lnTo>
                <a:lnTo>
                  <a:pt x="1496" y="2177"/>
                </a:lnTo>
                <a:lnTo>
                  <a:pt x="1496" y="2175"/>
                </a:lnTo>
                <a:lnTo>
                  <a:pt x="1496" y="2177"/>
                </a:lnTo>
                <a:lnTo>
                  <a:pt x="1494" y="2177"/>
                </a:lnTo>
                <a:lnTo>
                  <a:pt x="1496" y="2177"/>
                </a:lnTo>
                <a:lnTo>
                  <a:pt x="1496" y="2179"/>
                </a:lnTo>
                <a:lnTo>
                  <a:pt x="1498" y="2179"/>
                </a:lnTo>
                <a:lnTo>
                  <a:pt x="1500" y="2179"/>
                </a:lnTo>
                <a:lnTo>
                  <a:pt x="1500" y="2181"/>
                </a:lnTo>
                <a:lnTo>
                  <a:pt x="1500" y="2183"/>
                </a:lnTo>
                <a:lnTo>
                  <a:pt x="1500" y="2185"/>
                </a:lnTo>
                <a:lnTo>
                  <a:pt x="1502" y="2185"/>
                </a:lnTo>
                <a:lnTo>
                  <a:pt x="1502" y="2187"/>
                </a:lnTo>
                <a:lnTo>
                  <a:pt x="1502" y="2189"/>
                </a:lnTo>
                <a:lnTo>
                  <a:pt x="1502" y="2187"/>
                </a:lnTo>
                <a:lnTo>
                  <a:pt x="1500" y="2187"/>
                </a:lnTo>
                <a:lnTo>
                  <a:pt x="1500" y="2185"/>
                </a:lnTo>
                <a:lnTo>
                  <a:pt x="1500" y="2187"/>
                </a:lnTo>
                <a:lnTo>
                  <a:pt x="1500" y="2185"/>
                </a:lnTo>
                <a:lnTo>
                  <a:pt x="1498" y="2185"/>
                </a:lnTo>
                <a:lnTo>
                  <a:pt x="1498" y="2187"/>
                </a:lnTo>
                <a:lnTo>
                  <a:pt x="1498" y="2185"/>
                </a:lnTo>
                <a:lnTo>
                  <a:pt x="1496" y="2185"/>
                </a:lnTo>
                <a:lnTo>
                  <a:pt x="1494" y="2185"/>
                </a:lnTo>
                <a:lnTo>
                  <a:pt x="1494" y="2183"/>
                </a:lnTo>
                <a:lnTo>
                  <a:pt x="1492" y="2183"/>
                </a:lnTo>
                <a:lnTo>
                  <a:pt x="1492" y="2185"/>
                </a:lnTo>
                <a:lnTo>
                  <a:pt x="1490" y="2185"/>
                </a:lnTo>
                <a:lnTo>
                  <a:pt x="1488" y="2187"/>
                </a:lnTo>
                <a:lnTo>
                  <a:pt x="1488" y="2189"/>
                </a:lnTo>
                <a:lnTo>
                  <a:pt x="1488" y="2191"/>
                </a:lnTo>
                <a:lnTo>
                  <a:pt x="1488" y="2189"/>
                </a:lnTo>
                <a:lnTo>
                  <a:pt x="1490" y="2189"/>
                </a:lnTo>
                <a:lnTo>
                  <a:pt x="1488" y="2189"/>
                </a:lnTo>
                <a:lnTo>
                  <a:pt x="1490" y="2189"/>
                </a:lnTo>
                <a:lnTo>
                  <a:pt x="1490" y="2187"/>
                </a:lnTo>
                <a:lnTo>
                  <a:pt x="1490" y="2185"/>
                </a:lnTo>
                <a:lnTo>
                  <a:pt x="1492" y="2185"/>
                </a:lnTo>
                <a:lnTo>
                  <a:pt x="1492" y="2187"/>
                </a:lnTo>
                <a:lnTo>
                  <a:pt x="1492" y="2185"/>
                </a:lnTo>
                <a:lnTo>
                  <a:pt x="1494" y="2185"/>
                </a:lnTo>
                <a:lnTo>
                  <a:pt x="1496" y="2185"/>
                </a:lnTo>
                <a:lnTo>
                  <a:pt x="1496" y="2187"/>
                </a:lnTo>
                <a:lnTo>
                  <a:pt x="1494" y="2187"/>
                </a:lnTo>
                <a:lnTo>
                  <a:pt x="1496" y="2187"/>
                </a:lnTo>
                <a:lnTo>
                  <a:pt x="1494" y="2187"/>
                </a:lnTo>
                <a:lnTo>
                  <a:pt x="1496" y="2187"/>
                </a:lnTo>
                <a:lnTo>
                  <a:pt x="1496" y="2189"/>
                </a:lnTo>
                <a:lnTo>
                  <a:pt x="1494" y="2191"/>
                </a:lnTo>
                <a:lnTo>
                  <a:pt x="1494" y="2192"/>
                </a:lnTo>
                <a:lnTo>
                  <a:pt x="1492" y="2192"/>
                </a:lnTo>
                <a:lnTo>
                  <a:pt x="1492" y="2194"/>
                </a:lnTo>
                <a:lnTo>
                  <a:pt x="1494" y="2192"/>
                </a:lnTo>
                <a:lnTo>
                  <a:pt x="1494" y="2194"/>
                </a:lnTo>
                <a:lnTo>
                  <a:pt x="1494" y="2192"/>
                </a:lnTo>
                <a:lnTo>
                  <a:pt x="1494" y="2191"/>
                </a:lnTo>
                <a:lnTo>
                  <a:pt x="1496" y="2191"/>
                </a:lnTo>
                <a:lnTo>
                  <a:pt x="1496" y="2189"/>
                </a:lnTo>
                <a:lnTo>
                  <a:pt x="1498" y="2189"/>
                </a:lnTo>
                <a:lnTo>
                  <a:pt x="1500" y="2189"/>
                </a:lnTo>
                <a:lnTo>
                  <a:pt x="1500" y="2191"/>
                </a:lnTo>
                <a:lnTo>
                  <a:pt x="1500" y="2189"/>
                </a:lnTo>
                <a:lnTo>
                  <a:pt x="1502" y="2189"/>
                </a:lnTo>
                <a:lnTo>
                  <a:pt x="1502" y="2191"/>
                </a:lnTo>
                <a:lnTo>
                  <a:pt x="1500" y="2191"/>
                </a:lnTo>
                <a:lnTo>
                  <a:pt x="1500" y="2192"/>
                </a:lnTo>
                <a:lnTo>
                  <a:pt x="1502" y="2192"/>
                </a:lnTo>
                <a:lnTo>
                  <a:pt x="1500" y="2192"/>
                </a:lnTo>
                <a:lnTo>
                  <a:pt x="1500" y="2194"/>
                </a:lnTo>
                <a:lnTo>
                  <a:pt x="1500" y="2196"/>
                </a:lnTo>
                <a:lnTo>
                  <a:pt x="1500" y="2194"/>
                </a:lnTo>
                <a:lnTo>
                  <a:pt x="1502" y="2194"/>
                </a:lnTo>
                <a:lnTo>
                  <a:pt x="1502" y="2196"/>
                </a:lnTo>
                <a:lnTo>
                  <a:pt x="1502" y="2198"/>
                </a:lnTo>
                <a:lnTo>
                  <a:pt x="1500" y="2200"/>
                </a:lnTo>
                <a:lnTo>
                  <a:pt x="1502" y="2200"/>
                </a:lnTo>
                <a:lnTo>
                  <a:pt x="1500" y="2200"/>
                </a:lnTo>
                <a:lnTo>
                  <a:pt x="1500" y="2202"/>
                </a:lnTo>
                <a:lnTo>
                  <a:pt x="1500" y="2200"/>
                </a:lnTo>
                <a:lnTo>
                  <a:pt x="1498" y="2200"/>
                </a:lnTo>
                <a:lnTo>
                  <a:pt x="1500" y="2202"/>
                </a:lnTo>
                <a:lnTo>
                  <a:pt x="1500" y="2204"/>
                </a:lnTo>
                <a:lnTo>
                  <a:pt x="1498" y="2204"/>
                </a:lnTo>
                <a:lnTo>
                  <a:pt x="1498" y="2206"/>
                </a:lnTo>
                <a:lnTo>
                  <a:pt x="1496" y="2206"/>
                </a:lnTo>
                <a:lnTo>
                  <a:pt x="1496" y="2204"/>
                </a:lnTo>
                <a:lnTo>
                  <a:pt x="1494" y="2204"/>
                </a:lnTo>
                <a:lnTo>
                  <a:pt x="1494" y="2202"/>
                </a:lnTo>
                <a:lnTo>
                  <a:pt x="1494" y="2200"/>
                </a:lnTo>
                <a:lnTo>
                  <a:pt x="1492" y="2200"/>
                </a:lnTo>
                <a:lnTo>
                  <a:pt x="1490" y="2198"/>
                </a:lnTo>
                <a:lnTo>
                  <a:pt x="1488" y="2196"/>
                </a:lnTo>
                <a:lnTo>
                  <a:pt x="1486" y="2196"/>
                </a:lnTo>
                <a:lnTo>
                  <a:pt x="1486" y="2194"/>
                </a:lnTo>
                <a:lnTo>
                  <a:pt x="1484" y="2194"/>
                </a:lnTo>
                <a:lnTo>
                  <a:pt x="1486" y="2194"/>
                </a:lnTo>
                <a:lnTo>
                  <a:pt x="1486" y="2196"/>
                </a:lnTo>
                <a:lnTo>
                  <a:pt x="1488" y="2196"/>
                </a:lnTo>
                <a:lnTo>
                  <a:pt x="1488" y="2198"/>
                </a:lnTo>
                <a:lnTo>
                  <a:pt x="1486" y="2198"/>
                </a:lnTo>
                <a:lnTo>
                  <a:pt x="1488" y="2198"/>
                </a:lnTo>
                <a:lnTo>
                  <a:pt x="1490" y="2198"/>
                </a:lnTo>
                <a:lnTo>
                  <a:pt x="1490" y="2200"/>
                </a:lnTo>
                <a:lnTo>
                  <a:pt x="1492" y="2200"/>
                </a:lnTo>
                <a:lnTo>
                  <a:pt x="1490" y="2200"/>
                </a:lnTo>
                <a:lnTo>
                  <a:pt x="1490" y="2202"/>
                </a:lnTo>
                <a:lnTo>
                  <a:pt x="1488" y="2202"/>
                </a:lnTo>
                <a:lnTo>
                  <a:pt x="1486" y="2202"/>
                </a:lnTo>
                <a:lnTo>
                  <a:pt x="1486" y="2204"/>
                </a:lnTo>
                <a:lnTo>
                  <a:pt x="1484" y="2204"/>
                </a:lnTo>
                <a:lnTo>
                  <a:pt x="1484" y="2206"/>
                </a:lnTo>
                <a:lnTo>
                  <a:pt x="1484" y="2208"/>
                </a:lnTo>
                <a:lnTo>
                  <a:pt x="1484" y="2206"/>
                </a:lnTo>
                <a:lnTo>
                  <a:pt x="1486" y="2206"/>
                </a:lnTo>
                <a:lnTo>
                  <a:pt x="1486" y="2204"/>
                </a:lnTo>
                <a:lnTo>
                  <a:pt x="1488" y="2202"/>
                </a:lnTo>
                <a:lnTo>
                  <a:pt x="1490" y="2202"/>
                </a:lnTo>
                <a:lnTo>
                  <a:pt x="1492" y="2202"/>
                </a:lnTo>
                <a:lnTo>
                  <a:pt x="1492" y="2200"/>
                </a:lnTo>
                <a:lnTo>
                  <a:pt x="1492" y="2202"/>
                </a:lnTo>
                <a:lnTo>
                  <a:pt x="1494" y="2202"/>
                </a:lnTo>
                <a:lnTo>
                  <a:pt x="1492" y="2202"/>
                </a:lnTo>
                <a:lnTo>
                  <a:pt x="1492" y="2204"/>
                </a:lnTo>
                <a:lnTo>
                  <a:pt x="1490" y="2204"/>
                </a:lnTo>
                <a:lnTo>
                  <a:pt x="1490" y="2202"/>
                </a:lnTo>
                <a:lnTo>
                  <a:pt x="1490" y="2204"/>
                </a:lnTo>
                <a:lnTo>
                  <a:pt x="1490" y="2206"/>
                </a:lnTo>
                <a:lnTo>
                  <a:pt x="1490" y="2204"/>
                </a:lnTo>
                <a:lnTo>
                  <a:pt x="1492" y="2204"/>
                </a:lnTo>
                <a:lnTo>
                  <a:pt x="1494" y="2204"/>
                </a:lnTo>
                <a:lnTo>
                  <a:pt x="1494" y="2206"/>
                </a:lnTo>
                <a:lnTo>
                  <a:pt x="1496" y="2206"/>
                </a:lnTo>
                <a:lnTo>
                  <a:pt x="1494" y="2206"/>
                </a:lnTo>
                <a:lnTo>
                  <a:pt x="1494" y="2208"/>
                </a:lnTo>
                <a:lnTo>
                  <a:pt x="1492" y="2210"/>
                </a:lnTo>
                <a:lnTo>
                  <a:pt x="1492" y="2208"/>
                </a:lnTo>
                <a:lnTo>
                  <a:pt x="1492" y="2210"/>
                </a:lnTo>
                <a:lnTo>
                  <a:pt x="1490" y="2210"/>
                </a:lnTo>
                <a:lnTo>
                  <a:pt x="1492" y="2210"/>
                </a:lnTo>
                <a:lnTo>
                  <a:pt x="1494" y="2210"/>
                </a:lnTo>
                <a:lnTo>
                  <a:pt x="1496" y="2210"/>
                </a:lnTo>
                <a:lnTo>
                  <a:pt x="1494" y="2210"/>
                </a:lnTo>
                <a:lnTo>
                  <a:pt x="1494" y="2208"/>
                </a:lnTo>
                <a:lnTo>
                  <a:pt x="1496" y="2208"/>
                </a:lnTo>
                <a:lnTo>
                  <a:pt x="1496" y="2210"/>
                </a:lnTo>
                <a:lnTo>
                  <a:pt x="1496" y="2208"/>
                </a:lnTo>
                <a:lnTo>
                  <a:pt x="1496" y="2210"/>
                </a:lnTo>
                <a:lnTo>
                  <a:pt x="1498" y="2210"/>
                </a:lnTo>
                <a:lnTo>
                  <a:pt x="1498" y="2208"/>
                </a:lnTo>
                <a:lnTo>
                  <a:pt x="1498" y="2210"/>
                </a:lnTo>
                <a:lnTo>
                  <a:pt x="1498" y="2208"/>
                </a:lnTo>
                <a:lnTo>
                  <a:pt x="1500" y="2208"/>
                </a:lnTo>
                <a:lnTo>
                  <a:pt x="1500" y="2206"/>
                </a:lnTo>
                <a:lnTo>
                  <a:pt x="1502" y="2206"/>
                </a:lnTo>
                <a:lnTo>
                  <a:pt x="1504" y="2206"/>
                </a:lnTo>
                <a:lnTo>
                  <a:pt x="1504" y="2208"/>
                </a:lnTo>
                <a:lnTo>
                  <a:pt x="1502" y="2208"/>
                </a:lnTo>
                <a:lnTo>
                  <a:pt x="1502" y="2210"/>
                </a:lnTo>
                <a:lnTo>
                  <a:pt x="1504" y="2210"/>
                </a:lnTo>
                <a:lnTo>
                  <a:pt x="1502" y="2210"/>
                </a:lnTo>
                <a:lnTo>
                  <a:pt x="1502" y="2212"/>
                </a:lnTo>
                <a:lnTo>
                  <a:pt x="1500" y="2212"/>
                </a:lnTo>
                <a:lnTo>
                  <a:pt x="1502" y="2212"/>
                </a:lnTo>
                <a:lnTo>
                  <a:pt x="1502" y="2214"/>
                </a:lnTo>
                <a:lnTo>
                  <a:pt x="1500" y="2214"/>
                </a:lnTo>
                <a:lnTo>
                  <a:pt x="1498" y="2214"/>
                </a:lnTo>
                <a:lnTo>
                  <a:pt x="1496" y="2214"/>
                </a:lnTo>
                <a:lnTo>
                  <a:pt x="1496" y="2215"/>
                </a:lnTo>
                <a:lnTo>
                  <a:pt x="1494" y="2215"/>
                </a:lnTo>
                <a:lnTo>
                  <a:pt x="1496" y="2215"/>
                </a:lnTo>
                <a:lnTo>
                  <a:pt x="1494" y="2215"/>
                </a:lnTo>
                <a:lnTo>
                  <a:pt x="1492" y="2214"/>
                </a:lnTo>
                <a:lnTo>
                  <a:pt x="1492" y="2215"/>
                </a:lnTo>
                <a:lnTo>
                  <a:pt x="1494" y="2215"/>
                </a:lnTo>
                <a:lnTo>
                  <a:pt x="1496" y="2217"/>
                </a:lnTo>
                <a:lnTo>
                  <a:pt x="1494" y="2217"/>
                </a:lnTo>
                <a:lnTo>
                  <a:pt x="1492" y="2217"/>
                </a:lnTo>
                <a:lnTo>
                  <a:pt x="1492" y="2215"/>
                </a:lnTo>
                <a:lnTo>
                  <a:pt x="1492" y="2214"/>
                </a:lnTo>
                <a:lnTo>
                  <a:pt x="1492" y="2212"/>
                </a:lnTo>
                <a:lnTo>
                  <a:pt x="1490" y="2212"/>
                </a:lnTo>
                <a:lnTo>
                  <a:pt x="1488" y="2212"/>
                </a:lnTo>
                <a:lnTo>
                  <a:pt x="1490" y="2212"/>
                </a:lnTo>
                <a:lnTo>
                  <a:pt x="1490" y="2214"/>
                </a:lnTo>
                <a:lnTo>
                  <a:pt x="1492" y="2215"/>
                </a:lnTo>
                <a:lnTo>
                  <a:pt x="1490" y="2215"/>
                </a:lnTo>
                <a:lnTo>
                  <a:pt x="1490" y="2217"/>
                </a:lnTo>
                <a:lnTo>
                  <a:pt x="1488" y="2217"/>
                </a:lnTo>
                <a:lnTo>
                  <a:pt x="1488" y="2215"/>
                </a:lnTo>
                <a:lnTo>
                  <a:pt x="1488" y="2217"/>
                </a:lnTo>
                <a:lnTo>
                  <a:pt x="1490" y="2219"/>
                </a:lnTo>
                <a:lnTo>
                  <a:pt x="1488" y="2219"/>
                </a:lnTo>
                <a:lnTo>
                  <a:pt x="1490" y="2219"/>
                </a:lnTo>
                <a:lnTo>
                  <a:pt x="1488" y="2219"/>
                </a:lnTo>
                <a:lnTo>
                  <a:pt x="1486" y="2219"/>
                </a:lnTo>
                <a:lnTo>
                  <a:pt x="1484" y="2219"/>
                </a:lnTo>
                <a:lnTo>
                  <a:pt x="1483" y="2219"/>
                </a:lnTo>
                <a:lnTo>
                  <a:pt x="1483" y="2217"/>
                </a:lnTo>
                <a:lnTo>
                  <a:pt x="1483" y="2215"/>
                </a:lnTo>
                <a:lnTo>
                  <a:pt x="1483" y="2214"/>
                </a:lnTo>
                <a:lnTo>
                  <a:pt x="1483" y="2215"/>
                </a:lnTo>
                <a:lnTo>
                  <a:pt x="1483" y="2217"/>
                </a:lnTo>
                <a:lnTo>
                  <a:pt x="1483" y="2215"/>
                </a:lnTo>
                <a:lnTo>
                  <a:pt x="1481" y="2215"/>
                </a:lnTo>
                <a:lnTo>
                  <a:pt x="1481" y="2217"/>
                </a:lnTo>
                <a:lnTo>
                  <a:pt x="1483" y="2217"/>
                </a:lnTo>
                <a:lnTo>
                  <a:pt x="1483" y="2219"/>
                </a:lnTo>
                <a:lnTo>
                  <a:pt x="1481" y="2219"/>
                </a:lnTo>
                <a:lnTo>
                  <a:pt x="1481" y="2217"/>
                </a:lnTo>
                <a:lnTo>
                  <a:pt x="1479" y="2217"/>
                </a:lnTo>
                <a:lnTo>
                  <a:pt x="1479" y="2219"/>
                </a:lnTo>
                <a:lnTo>
                  <a:pt x="1481" y="2219"/>
                </a:lnTo>
                <a:lnTo>
                  <a:pt x="1483" y="2219"/>
                </a:lnTo>
                <a:lnTo>
                  <a:pt x="1483" y="2221"/>
                </a:lnTo>
                <a:lnTo>
                  <a:pt x="1484" y="2221"/>
                </a:lnTo>
                <a:lnTo>
                  <a:pt x="1483" y="2221"/>
                </a:lnTo>
                <a:lnTo>
                  <a:pt x="1483" y="2223"/>
                </a:lnTo>
                <a:lnTo>
                  <a:pt x="1481" y="2223"/>
                </a:lnTo>
                <a:lnTo>
                  <a:pt x="1479" y="2223"/>
                </a:lnTo>
                <a:lnTo>
                  <a:pt x="1479" y="2225"/>
                </a:lnTo>
                <a:lnTo>
                  <a:pt x="1479" y="2223"/>
                </a:lnTo>
                <a:lnTo>
                  <a:pt x="1479" y="2225"/>
                </a:lnTo>
                <a:lnTo>
                  <a:pt x="1479" y="2223"/>
                </a:lnTo>
                <a:lnTo>
                  <a:pt x="1481" y="2223"/>
                </a:lnTo>
                <a:lnTo>
                  <a:pt x="1483" y="2223"/>
                </a:lnTo>
                <a:lnTo>
                  <a:pt x="1484" y="2223"/>
                </a:lnTo>
                <a:lnTo>
                  <a:pt x="1484" y="2221"/>
                </a:lnTo>
                <a:lnTo>
                  <a:pt x="1484" y="2223"/>
                </a:lnTo>
                <a:lnTo>
                  <a:pt x="1486" y="2223"/>
                </a:lnTo>
                <a:lnTo>
                  <a:pt x="1486" y="2221"/>
                </a:lnTo>
                <a:lnTo>
                  <a:pt x="1486" y="2223"/>
                </a:lnTo>
                <a:lnTo>
                  <a:pt x="1484" y="2223"/>
                </a:lnTo>
                <a:lnTo>
                  <a:pt x="1486" y="2225"/>
                </a:lnTo>
                <a:lnTo>
                  <a:pt x="1486" y="2223"/>
                </a:lnTo>
                <a:lnTo>
                  <a:pt x="1488" y="2221"/>
                </a:lnTo>
                <a:lnTo>
                  <a:pt x="1488" y="2223"/>
                </a:lnTo>
                <a:lnTo>
                  <a:pt x="1488" y="2221"/>
                </a:lnTo>
                <a:lnTo>
                  <a:pt x="1490" y="2221"/>
                </a:lnTo>
                <a:lnTo>
                  <a:pt x="1490" y="2223"/>
                </a:lnTo>
                <a:lnTo>
                  <a:pt x="1490" y="2221"/>
                </a:lnTo>
                <a:lnTo>
                  <a:pt x="1490" y="2223"/>
                </a:lnTo>
                <a:lnTo>
                  <a:pt x="1492" y="2223"/>
                </a:lnTo>
                <a:lnTo>
                  <a:pt x="1494" y="2223"/>
                </a:lnTo>
                <a:lnTo>
                  <a:pt x="1492" y="2223"/>
                </a:lnTo>
                <a:lnTo>
                  <a:pt x="1492" y="2225"/>
                </a:lnTo>
                <a:lnTo>
                  <a:pt x="1492" y="2223"/>
                </a:lnTo>
                <a:lnTo>
                  <a:pt x="1492" y="2225"/>
                </a:lnTo>
                <a:lnTo>
                  <a:pt x="1490" y="2225"/>
                </a:lnTo>
                <a:lnTo>
                  <a:pt x="1490" y="2227"/>
                </a:lnTo>
                <a:lnTo>
                  <a:pt x="1490" y="2225"/>
                </a:lnTo>
                <a:lnTo>
                  <a:pt x="1488" y="2227"/>
                </a:lnTo>
                <a:lnTo>
                  <a:pt x="1490" y="2227"/>
                </a:lnTo>
                <a:lnTo>
                  <a:pt x="1490" y="2229"/>
                </a:lnTo>
                <a:lnTo>
                  <a:pt x="1488" y="2229"/>
                </a:lnTo>
                <a:lnTo>
                  <a:pt x="1488" y="2231"/>
                </a:lnTo>
                <a:lnTo>
                  <a:pt x="1488" y="2229"/>
                </a:lnTo>
                <a:lnTo>
                  <a:pt x="1488" y="2231"/>
                </a:lnTo>
                <a:lnTo>
                  <a:pt x="1486" y="2231"/>
                </a:lnTo>
                <a:lnTo>
                  <a:pt x="1488" y="2231"/>
                </a:lnTo>
                <a:lnTo>
                  <a:pt x="1486" y="2231"/>
                </a:lnTo>
                <a:lnTo>
                  <a:pt x="1486" y="2233"/>
                </a:lnTo>
                <a:lnTo>
                  <a:pt x="1484" y="2231"/>
                </a:lnTo>
                <a:lnTo>
                  <a:pt x="1483" y="2231"/>
                </a:lnTo>
                <a:lnTo>
                  <a:pt x="1483" y="2229"/>
                </a:lnTo>
                <a:lnTo>
                  <a:pt x="1481" y="2229"/>
                </a:lnTo>
                <a:lnTo>
                  <a:pt x="1483" y="2229"/>
                </a:lnTo>
                <a:lnTo>
                  <a:pt x="1483" y="2231"/>
                </a:lnTo>
                <a:lnTo>
                  <a:pt x="1483" y="2233"/>
                </a:lnTo>
                <a:lnTo>
                  <a:pt x="1481" y="2233"/>
                </a:lnTo>
                <a:lnTo>
                  <a:pt x="1483" y="2233"/>
                </a:lnTo>
                <a:lnTo>
                  <a:pt x="1481" y="2233"/>
                </a:lnTo>
                <a:lnTo>
                  <a:pt x="1481" y="2235"/>
                </a:lnTo>
                <a:lnTo>
                  <a:pt x="1483" y="2233"/>
                </a:lnTo>
                <a:lnTo>
                  <a:pt x="1484" y="2233"/>
                </a:lnTo>
                <a:lnTo>
                  <a:pt x="1484" y="2235"/>
                </a:lnTo>
                <a:lnTo>
                  <a:pt x="1484" y="2237"/>
                </a:lnTo>
                <a:lnTo>
                  <a:pt x="1483" y="2237"/>
                </a:lnTo>
                <a:lnTo>
                  <a:pt x="1483" y="2239"/>
                </a:lnTo>
                <a:lnTo>
                  <a:pt x="1481" y="2239"/>
                </a:lnTo>
                <a:lnTo>
                  <a:pt x="1481" y="2237"/>
                </a:lnTo>
                <a:lnTo>
                  <a:pt x="1479" y="2237"/>
                </a:lnTo>
                <a:lnTo>
                  <a:pt x="1479" y="2235"/>
                </a:lnTo>
                <a:lnTo>
                  <a:pt x="1479" y="2237"/>
                </a:lnTo>
                <a:lnTo>
                  <a:pt x="1479" y="2239"/>
                </a:lnTo>
                <a:lnTo>
                  <a:pt x="1481" y="2239"/>
                </a:lnTo>
                <a:lnTo>
                  <a:pt x="1481" y="2240"/>
                </a:lnTo>
                <a:lnTo>
                  <a:pt x="1483" y="2240"/>
                </a:lnTo>
                <a:lnTo>
                  <a:pt x="1481" y="2240"/>
                </a:lnTo>
                <a:lnTo>
                  <a:pt x="1483" y="2240"/>
                </a:lnTo>
                <a:lnTo>
                  <a:pt x="1481" y="2240"/>
                </a:lnTo>
                <a:lnTo>
                  <a:pt x="1481" y="2239"/>
                </a:lnTo>
                <a:lnTo>
                  <a:pt x="1479" y="2239"/>
                </a:lnTo>
                <a:lnTo>
                  <a:pt x="1479" y="2240"/>
                </a:lnTo>
                <a:lnTo>
                  <a:pt x="1481" y="2240"/>
                </a:lnTo>
                <a:lnTo>
                  <a:pt x="1479" y="2240"/>
                </a:lnTo>
                <a:lnTo>
                  <a:pt x="1479" y="2242"/>
                </a:lnTo>
                <a:lnTo>
                  <a:pt x="1477" y="2242"/>
                </a:lnTo>
                <a:lnTo>
                  <a:pt x="1477" y="2244"/>
                </a:lnTo>
                <a:lnTo>
                  <a:pt x="1475" y="2244"/>
                </a:lnTo>
                <a:lnTo>
                  <a:pt x="1473" y="2242"/>
                </a:lnTo>
                <a:lnTo>
                  <a:pt x="1473" y="2240"/>
                </a:lnTo>
                <a:lnTo>
                  <a:pt x="1473" y="2239"/>
                </a:lnTo>
                <a:lnTo>
                  <a:pt x="1473" y="2237"/>
                </a:lnTo>
                <a:lnTo>
                  <a:pt x="1471" y="2237"/>
                </a:lnTo>
                <a:lnTo>
                  <a:pt x="1471" y="2239"/>
                </a:lnTo>
                <a:lnTo>
                  <a:pt x="1471" y="2240"/>
                </a:lnTo>
                <a:lnTo>
                  <a:pt x="1473" y="2240"/>
                </a:lnTo>
                <a:lnTo>
                  <a:pt x="1471" y="2240"/>
                </a:lnTo>
                <a:lnTo>
                  <a:pt x="1471" y="2242"/>
                </a:lnTo>
                <a:lnTo>
                  <a:pt x="1471" y="2240"/>
                </a:lnTo>
                <a:lnTo>
                  <a:pt x="1471" y="2242"/>
                </a:lnTo>
                <a:lnTo>
                  <a:pt x="1469" y="2240"/>
                </a:lnTo>
                <a:lnTo>
                  <a:pt x="1471" y="2240"/>
                </a:lnTo>
                <a:lnTo>
                  <a:pt x="1469" y="2240"/>
                </a:lnTo>
                <a:lnTo>
                  <a:pt x="1469" y="2239"/>
                </a:lnTo>
                <a:lnTo>
                  <a:pt x="1469" y="2237"/>
                </a:lnTo>
                <a:lnTo>
                  <a:pt x="1469" y="2235"/>
                </a:lnTo>
                <a:lnTo>
                  <a:pt x="1471" y="2235"/>
                </a:lnTo>
                <a:lnTo>
                  <a:pt x="1471" y="2233"/>
                </a:lnTo>
                <a:lnTo>
                  <a:pt x="1471" y="2235"/>
                </a:lnTo>
                <a:lnTo>
                  <a:pt x="1469" y="2235"/>
                </a:lnTo>
                <a:lnTo>
                  <a:pt x="1467" y="2235"/>
                </a:lnTo>
                <a:lnTo>
                  <a:pt x="1467" y="2237"/>
                </a:lnTo>
                <a:lnTo>
                  <a:pt x="1465" y="2237"/>
                </a:lnTo>
                <a:lnTo>
                  <a:pt x="1465" y="2235"/>
                </a:lnTo>
                <a:lnTo>
                  <a:pt x="1465" y="2233"/>
                </a:lnTo>
                <a:lnTo>
                  <a:pt x="1467" y="2233"/>
                </a:lnTo>
                <a:lnTo>
                  <a:pt x="1465" y="2233"/>
                </a:lnTo>
                <a:lnTo>
                  <a:pt x="1467" y="2233"/>
                </a:lnTo>
                <a:lnTo>
                  <a:pt x="1467" y="2231"/>
                </a:lnTo>
                <a:lnTo>
                  <a:pt x="1469" y="2231"/>
                </a:lnTo>
                <a:lnTo>
                  <a:pt x="1471" y="2231"/>
                </a:lnTo>
                <a:lnTo>
                  <a:pt x="1471" y="2233"/>
                </a:lnTo>
                <a:lnTo>
                  <a:pt x="1473" y="2231"/>
                </a:lnTo>
                <a:lnTo>
                  <a:pt x="1473" y="2233"/>
                </a:lnTo>
                <a:lnTo>
                  <a:pt x="1473" y="2231"/>
                </a:lnTo>
                <a:lnTo>
                  <a:pt x="1471" y="2231"/>
                </a:lnTo>
                <a:lnTo>
                  <a:pt x="1473" y="2231"/>
                </a:lnTo>
                <a:lnTo>
                  <a:pt x="1471" y="2231"/>
                </a:lnTo>
                <a:lnTo>
                  <a:pt x="1471" y="2229"/>
                </a:lnTo>
                <a:lnTo>
                  <a:pt x="1471" y="2231"/>
                </a:lnTo>
                <a:lnTo>
                  <a:pt x="1469" y="2231"/>
                </a:lnTo>
                <a:lnTo>
                  <a:pt x="1469" y="2229"/>
                </a:lnTo>
                <a:lnTo>
                  <a:pt x="1469" y="2231"/>
                </a:lnTo>
                <a:lnTo>
                  <a:pt x="1469" y="2229"/>
                </a:lnTo>
                <a:lnTo>
                  <a:pt x="1467" y="2229"/>
                </a:lnTo>
                <a:lnTo>
                  <a:pt x="1469" y="2229"/>
                </a:lnTo>
                <a:lnTo>
                  <a:pt x="1469" y="2227"/>
                </a:lnTo>
                <a:lnTo>
                  <a:pt x="1471" y="2227"/>
                </a:lnTo>
                <a:lnTo>
                  <a:pt x="1471" y="2225"/>
                </a:lnTo>
                <a:lnTo>
                  <a:pt x="1471" y="2223"/>
                </a:lnTo>
                <a:lnTo>
                  <a:pt x="1471" y="2221"/>
                </a:lnTo>
                <a:lnTo>
                  <a:pt x="1473" y="2221"/>
                </a:lnTo>
                <a:lnTo>
                  <a:pt x="1473" y="2219"/>
                </a:lnTo>
                <a:lnTo>
                  <a:pt x="1471" y="2219"/>
                </a:lnTo>
                <a:lnTo>
                  <a:pt x="1473" y="2217"/>
                </a:lnTo>
                <a:lnTo>
                  <a:pt x="1473" y="2219"/>
                </a:lnTo>
                <a:lnTo>
                  <a:pt x="1475" y="2219"/>
                </a:lnTo>
                <a:lnTo>
                  <a:pt x="1473" y="2219"/>
                </a:lnTo>
                <a:lnTo>
                  <a:pt x="1473" y="2217"/>
                </a:lnTo>
                <a:lnTo>
                  <a:pt x="1473" y="2215"/>
                </a:lnTo>
                <a:lnTo>
                  <a:pt x="1475" y="2215"/>
                </a:lnTo>
                <a:lnTo>
                  <a:pt x="1475" y="2214"/>
                </a:lnTo>
                <a:lnTo>
                  <a:pt x="1477" y="2214"/>
                </a:lnTo>
                <a:lnTo>
                  <a:pt x="1477" y="2212"/>
                </a:lnTo>
                <a:lnTo>
                  <a:pt x="1477" y="2210"/>
                </a:lnTo>
                <a:lnTo>
                  <a:pt x="1479" y="2210"/>
                </a:lnTo>
                <a:lnTo>
                  <a:pt x="1481" y="2210"/>
                </a:lnTo>
                <a:lnTo>
                  <a:pt x="1481" y="2208"/>
                </a:lnTo>
                <a:lnTo>
                  <a:pt x="1479" y="2208"/>
                </a:lnTo>
                <a:lnTo>
                  <a:pt x="1481" y="2208"/>
                </a:lnTo>
                <a:lnTo>
                  <a:pt x="1479" y="2208"/>
                </a:lnTo>
                <a:lnTo>
                  <a:pt x="1479" y="2210"/>
                </a:lnTo>
                <a:lnTo>
                  <a:pt x="1477" y="2210"/>
                </a:lnTo>
                <a:lnTo>
                  <a:pt x="1477" y="2212"/>
                </a:lnTo>
                <a:lnTo>
                  <a:pt x="1475" y="2212"/>
                </a:lnTo>
                <a:lnTo>
                  <a:pt x="1475" y="2214"/>
                </a:lnTo>
                <a:lnTo>
                  <a:pt x="1473" y="2214"/>
                </a:lnTo>
                <a:lnTo>
                  <a:pt x="1473" y="2215"/>
                </a:lnTo>
                <a:lnTo>
                  <a:pt x="1471" y="2217"/>
                </a:lnTo>
                <a:lnTo>
                  <a:pt x="1471" y="2219"/>
                </a:lnTo>
                <a:lnTo>
                  <a:pt x="1469" y="2219"/>
                </a:lnTo>
                <a:lnTo>
                  <a:pt x="1471" y="2219"/>
                </a:lnTo>
                <a:lnTo>
                  <a:pt x="1471" y="2217"/>
                </a:lnTo>
                <a:lnTo>
                  <a:pt x="1469" y="2217"/>
                </a:lnTo>
                <a:lnTo>
                  <a:pt x="1469" y="2219"/>
                </a:lnTo>
                <a:lnTo>
                  <a:pt x="1469" y="2217"/>
                </a:lnTo>
                <a:lnTo>
                  <a:pt x="1467" y="2219"/>
                </a:lnTo>
                <a:lnTo>
                  <a:pt x="1467" y="2217"/>
                </a:lnTo>
                <a:lnTo>
                  <a:pt x="1467" y="2215"/>
                </a:lnTo>
                <a:lnTo>
                  <a:pt x="1469" y="2215"/>
                </a:lnTo>
                <a:lnTo>
                  <a:pt x="1471" y="2215"/>
                </a:lnTo>
                <a:lnTo>
                  <a:pt x="1471" y="2214"/>
                </a:lnTo>
                <a:lnTo>
                  <a:pt x="1473" y="2214"/>
                </a:lnTo>
                <a:lnTo>
                  <a:pt x="1473" y="2212"/>
                </a:lnTo>
                <a:lnTo>
                  <a:pt x="1473" y="2214"/>
                </a:lnTo>
                <a:lnTo>
                  <a:pt x="1471" y="2214"/>
                </a:lnTo>
                <a:lnTo>
                  <a:pt x="1471" y="2212"/>
                </a:lnTo>
                <a:lnTo>
                  <a:pt x="1473" y="2212"/>
                </a:lnTo>
                <a:lnTo>
                  <a:pt x="1471" y="2210"/>
                </a:lnTo>
                <a:lnTo>
                  <a:pt x="1471" y="2212"/>
                </a:lnTo>
                <a:lnTo>
                  <a:pt x="1471" y="2214"/>
                </a:lnTo>
                <a:lnTo>
                  <a:pt x="1469" y="2214"/>
                </a:lnTo>
                <a:lnTo>
                  <a:pt x="1467" y="2214"/>
                </a:lnTo>
                <a:lnTo>
                  <a:pt x="1469" y="2214"/>
                </a:lnTo>
                <a:lnTo>
                  <a:pt x="1467" y="2214"/>
                </a:lnTo>
                <a:lnTo>
                  <a:pt x="1467" y="2215"/>
                </a:lnTo>
                <a:lnTo>
                  <a:pt x="1467" y="2214"/>
                </a:lnTo>
                <a:lnTo>
                  <a:pt x="1465" y="2214"/>
                </a:lnTo>
                <a:lnTo>
                  <a:pt x="1465" y="2212"/>
                </a:lnTo>
                <a:lnTo>
                  <a:pt x="1465" y="2210"/>
                </a:lnTo>
                <a:lnTo>
                  <a:pt x="1467" y="2210"/>
                </a:lnTo>
                <a:lnTo>
                  <a:pt x="1467" y="2208"/>
                </a:lnTo>
                <a:lnTo>
                  <a:pt x="1467" y="2210"/>
                </a:lnTo>
                <a:lnTo>
                  <a:pt x="1469" y="2212"/>
                </a:lnTo>
                <a:lnTo>
                  <a:pt x="1469" y="2210"/>
                </a:lnTo>
                <a:lnTo>
                  <a:pt x="1469" y="2208"/>
                </a:lnTo>
                <a:lnTo>
                  <a:pt x="1471" y="2208"/>
                </a:lnTo>
                <a:lnTo>
                  <a:pt x="1469" y="2208"/>
                </a:lnTo>
                <a:lnTo>
                  <a:pt x="1469" y="2206"/>
                </a:lnTo>
                <a:lnTo>
                  <a:pt x="1471" y="2206"/>
                </a:lnTo>
                <a:lnTo>
                  <a:pt x="1473" y="2208"/>
                </a:lnTo>
                <a:lnTo>
                  <a:pt x="1475" y="2208"/>
                </a:lnTo>
                <a:lnTo>
                  <a:pt x="1475" y="2206"/>
                </a:lnTo>
                <a:lnTo>
                  <a:pt x="1477" y="2206"/>
                </a:lnTo>
                <a:lnTo>
                  <a:pt x="1475" y="2206"/>
                </a:lnTo>
                <a:lnTo>
                  <a:pt x="1475" y="2208"/>
                </a:lnTo>
                <a:lnTo>
                  <a:pt x="1475" y="2206"/>
                </a:lnTo>
                <a:lnTo>
                  <a:pt x="1473" y="2206"/>
                </a:lnTo>
                <a:lnTo>
                  <a:pt x="1473" y="2204"/>
                </a:lnTo>
                <a:lnTo>
                  <a:pt x="1475" y="2204"/>
                </a:lnTo>
                <a:lnTo>
                  <a:pt x="1477" y="2204"/>
                </a:lnTo>
                <a:lnTo>
                  <a:pt x="1477" y="2202"/>
                </a:lnTo>
                <a:lnTo>
                  <a:pt x="1479" y="2202"/>
                </a:lnTo>
                <a:lnTo>
                  <a:pt x="1481" y="2202"/>
                </a:lnTo>
                <a:lnTo>
                  <a:pt x="1479" y="2202"/>
                </a:lnTo>
                <a:lnTo>
                  <a:pt x="1477" y="2202"/>
                </a:lnTo>
                <a:lnTo>
                  <a:pt x="1475" y="2202"/>
                </a:lnTo>
                <a:lnTo>
                  <a:pt x="1477" y="2202"/>
                </a:lnTo>
                <a:lnTo>
                  <a:pt x="1477" y="2200"/>
                </a:lnTo>
                <a:lnTo>
                  <a:pt x="1475" y="2200"/>
                </a:lnTo>
                <a:lnTo>
                  <a:pt x="1473" y="2202"/>
                </a:lnTo>
                <a:lnTo>
                  <a:pt x="1471" y="2202"/>
                </a:lnTo>
                <a:lnTo>
                  <a:pt x="1471" y="2204"/>
                </a:lnTo>
                <a:lnTo>
                  <a:pt x="1469" y="2204"/>
                </a:lnTo>
                <a:lnTo>
                  <a:pt x="1469" y="2202"/>
                </a:lnTo>
                <a:lnTo>
                  <a:pt x="1471" y="2202"/>
                </a:lnTo>
                <a:lnTo>
                  <a:pt x="1471" y="2200"/>
                </a:lnTo>
                <a:lnTo>
                  <a:pt x="1473" y="2200"/>
                </a:lnTo>
                <a:lnTo>
                  <a:pt x="1473" y="2198"/>
                </a:lnTo>
                <a:lnTo>
                  <a:pt x="1475" y="2198"/>
                </a:lnTo>
                <a:lnTo>
                  <a:pt x="1477" y="2198"/>
                </a:lnTo>
                <a:lnTo>
                  <a:pt x="1477" y="2196"/>
                </a:lnTo>
                <a:lnTo>
                  <a:pt x="1477" y="2194"/>
                </a:lnTo>
                <a:lnTo>
                  <a:pt x="1479" y="2194"/>
                </a:lnTo>
                <a:lnTo>
                  <a:pt x="1479" y="2192"/>
                </a:lnTo>
                <a:lnTo>
                  <a:pt x="1477" y="2192"/>
                </a:lnTo>
                <a:lnTo>
                  <a:pt x="1477" y="2191"/>
                </a:lnTo>
                <a:lnTo>
                  <a:pt x="1479" y="2191"/>
                </a:lnTo>
                <a:lnTo>
                  <a:pt x="1479" y="2189"/>
                </a:lnTo>
                <a:lnTo>
                  <a:pt x="1481" y="2189"/>
                </a:lnTo>
                <a:lnTo>
                  <a:pt x="1481" y="2191"/>
                </a:lnTo>
                <a:lnTo>
                  <a:pt x="1483" y="2191"/>
                </a:lnTo>
                <a:lnTo>
                  <a:pt x="1484" y="2192"/>
                </a:lnTo>
                <a:lnTo>
                  <a:pt x="1484" y="2191"/>
                </a:lnTo>
                <a:lnTo>
                  <a:pt x="1483" y="2191"/>
                </a:lnTo>
                <a:lnTo>
                  <a:pt x="1483" y="2189"/>
                </a:lnTo>
                <a:lnTo>
                  <a:pt x="1481" y="2189"/>
                </a:lnTo>
                <a:lnTo>
                  <a:pt x="1479" y="2189"/>
                </a:lnTo>
                <a:lnTo>
                  <a:pt x="1477" y="2189"/>
                </a:lnTo>
                <a:lnTo>
                  <a:pt x="1477" y="2191"/>
                </a:lnTo>
                <a:lnTo>
                  <a:pt x="1477" y="2189"/>
                </a:lnTo>
                <a:lnTo>
                  <a:pt x="1477" y="2191"/>
                </a:lnTo>
                <a:lnTo>
                  <a:pt x="1477" y="2192"/>
                </a:lnTo>
                <a:lnTo>
                  <a:pt x="1475" y="2192"/>
                </a:lnTo>
                <a:lnTo>
                  <a:pt x="1475" y="2194"/>
                </a:lnTo>
                <a:lnTo>
                  <a:pt x="1475" y="2196"/>
                </a:lnTo>
                <a:lnTo>
                  <a:pt x="1473" y="2196"/>
                </a:lnTo>
                <a:lnTo>
                  <a:pt x="1471" y="2196"/>
                </a:lnTo>
                <a:lnTo>
                  <a:pt x="1471" y="2194"/>
                </a:lnTo>
                <a:lnTo>
                  <a:pt x="1471" y="2192"/>
                </a:lnTo>
                <a:lnTo>
                  <a:pt x="1469" y="2192"/>
                </a:lnTo>
                <a:lnTo>
                  <a:pt x="1469" y="2191"/>
                </a:lnTo>
                <a:lnTo>
                  <a:pt x="1471" y="2191"/>
                </a:lnTo>
                <a:lnTo>
                  <a:pt x="1469" y="2189"/>
                </a:lnTo>
                <a:lnTo>
                  <a:pt x="1469" y="2187"/>
                </a:lnTo>
                <a:lnTo>
                  <a:pt x="1471" y="2187"/>
                </a:lnTo>
                <a:lnTo>
                  <a:pt x="1469" y="2187"/>
                </a:lnTo>
                <a:lnTo>
                  <a:pt x="1471" y="2187"/>
                </a:lnTo>
                <a:lnTo>
                  <a:pt x="1471" y="2185"/>
                </a:lnTo>
                <a:lnTo>
                  <a:pt x="1473" y="2185"/>
                </a:lnTo>
                <a:lnTo>
                  <a:pt x="1473" y="2183"/>
                </a:lnTo>
                <a:lnTo>
                  <a:pt x="1471" y="2183"/>
                </a:lnTo>
                <a:lnTo>
                  <a:pt x="1473" y="2183"/>
                </a:lnTo>
                <a:lnTo>
                  <a:pt x="1471" y="2183"/>
                </a:lnTo>
                <a:lnTo>
                  <a:pt x="1469" y="2183"/>
                </a:lnTo>
                <a:lnTo>
                  <a:pt x="1469" y="2185"/>
                </a:lnTo>
                <a:lnTo>
                  <a:pt x="1467" y="2185"/>
                </a:lnTo>
                <a:lnTo>
                  <a:pt x="1467" y="2183"/>
                </a:lnTo>
                <a:lnTo>
                  <a:pt x="1465" y="2183"/>
                </a:lnTo>
                <a:lnTo>
                  <a:pt x="1465" y="2185"/>
                </a:lnTo>
                <a:lnTo>
                  <a:pt x="1465" y="2183"/>
                </a:lnTo>
                <a:lnTo>
                  <a:pt x="1463" y="2183"/>
                </a:lnTo>
                <a:lnTo>
                  <a:pt x="1461" y="2183"/>
                </a:lnTo>
                <a:lnTo>
                  <a:pt x="1461" y="2181"/>
                </a:lnTo>
                <a:lnTo>
                  <a:pt x="1463" y="2181"/>
                </a:lnTo>
                <a:lnTo>
                  <a:pt x="1465" y="2181"/>
                </a:lnTo>
                <a:lnTo>
                  <a:pt x="1467" y="2181"/>
                </a:lnTo>
                <a:lnTo>
                  <a:pt x="1469" y="2181"/>
                </a:lnTo>
                <a:lnTo>
                  <a:pt x="1467" y="2179"/>
                </a:lnTo>
                <a:lnTo>
                  <a:pt x="1465" y="2179"/>
                </a:lnTo>
                <a:lnTo>
                  <a:pt x="1465" y="2177"/>
                </a:lnTo>
                <a:lnTo>
                  <a:pt x="1463" y="2177"/>
                </a:lnTo>
                <a:lnTo>
                  <a:pt x="1463" y="2175"/>
                </a:lnTo>
                <a:lnTo>
                  <a:pt x="1463" y="2177"/>
                </a:lnTo>
                <a:lnTo>
                  <a:pt x="1461" y="2177"/>
                </a:lnTo>
                <a:lnTo>
                  <a:pt x="1461" y="2175"/>
                </a:lnTo>
                <a:lnTo>
                  <a:pt x="1461" y="2173"/>
                </a:lnTo>
                <a:lnTo>
                  <a:pt x="1459" y="2173"/>
                </a:lnTo>
                <a:lnTo>
                  <a:pt x="1458" y="2171"/>
                </a:lnTo>
                <a:lnTo>
                  <a:pt x="1458" y="2169"/>
                </a:lnTo>
                <a:lnTo>
                  <a:pt x="1459" y="2169"/>
                </a:lnTo>
                <a:lnTo>
                  <a:pt x="1459" y="2168"/>
                </a:lnTo>
                <a:lnTo>
                  <a:pt x="1459" y="2166"/>
                </a:lnTo>
                <a:lnTo>
                  <a:pt x="1461" y="2168"/>
                </a:lnTo>
                <a:lnTo>
                  <a:pt x="1461" y="2166"/>
                </a:lnTo>
                <a:lnTo>
                  <a:pt x="1459" y="2166"/>
                </a:lnTo>
                <a:lnTo>
                  <a:pt x="1461" y="2166"/>
                </a:lnTo>
                <a:lnTo>
                  <a:pt x="1463" y="2166"/>
                </a:lnTo>
                <a:lnTo>
                  <a:pt x="1465" y="2166"/>
                </a:lnTo>
                <a:lnTo>
                  <a:pt x="1465" y="2168"/>
                </a:lnTo>
                <a:lnTo>
                  <a:pt x="1465" y="2169"/>
                </a:lnTo>
                <a:lnTo>
                  <a:pt x="1465" y="2168"/>
                </a:lnTo>
                <a:lnTo>
                  <a:pt x="1467" y="2168"/>
                </a:lnTo>
                <a:lnTo>
                  <a:pt x="1467" y="2169"/>
                </a:lnTo>
                <a:lnTo>
                  <a:pt x="1467" y="2171"/>
                </a:lnTo>
                <a:lnTo>
                  <a:pt x="1469" y="2171"/>
                </a:lnTo>
                <a:lnTo>
                  <a:pt x="1469" y="2173"/>
                </a:lnTo>
                <a:lnTo>
                  <a:pt x="1467" y="2173"/>
                </a:lnTo>
                <a:lnTo>
                  <a:pt x="1469" y="2173"/>
                </a:lnTo>
                <a:lnTo>
                  <a:pt x="1471" y="2173"/>
                </a:lnTo>
                <a:lnTo>
                  <a:pt x="1471" y="2175"/>
                </a:lnTo>
                <a:lnTo>
                  <a:pt x="1473" y="2175"/>
                </a:lnTo>
                <a:lnTo>
                  <a:pt x="1473" y="2177"/>
                </a:lnTo>
                <a:lnTo>
                  <a:pt x="1475" y="2177"/>
                </a:lnTo>
                <a:lnTo>
                  <a:pt x="1475" y="2175"/>
                </a:lnTo>
                <a:lnTo>
                  <a:pt x="1473" y="2175"/>
                </a:lnTo>
                <a:lnTo>
                  <a:pt x="1473" y="2173"/>
                </a:lnTo>
                <a:lnTo>
                  <a:pt x="1471" y="2173"/>
                </a:lnTo>
                <a:lnTo>
                  <a:pt x="1471" y="2171"/>
                </a:lnTo>
                <a:lnTo>
                  <a:pt x="1471" y="2169"/>
                </a:lnTo>
                <a:lnTo>
                  <a:pt x="1471" y="2168"/>
                </a:lnTo>
                <a:lnTo>
                  <a:pt x="1471" y="2169"/>
                </a:lnTo>
                <a:lnTo>
                  <a:pt x="1471" y="2168"/>
                </a:lnTo>
                <a:lnTo>
                  <a:pt x="1473" y="2168"/>
                </a:lnTo>
                <a:lnTo>
                  <a:pt x="1471" y="2168"/>
                </a:lnTo>
                <a:lnTo>
                  <a:pt x="1471" y="2166"/>
                </a:lnTo>
                <a:lnTo>
                  <a:pt x="1473" y="2166"/>
                </a:lnTo>
                <a:lnTo>
                  <a:pt x="1473" y="2168"/>
                </a:lnTo>
                <a:lnTo>
                  <a:pt x="1475" y="2168"/>
                </a:lnTo>
                <a:lnTo>
                  <a:pt x="1475" y="2166"/>
                </a:lnTo>
                <a:lnTo>
                  <a:pt x="1473" y="2166"/>
                </a:lnTo>
                <a:lnTo>
                  <a:pt x="1471" y="2166"/>
                </a:lnTo>
                <a:lnTo>
                  <a:pt x="1471" y="2164"/>
                </a:lnTo>
                <a:lnTo>
                  <a:pt x="1471" y="2162"/>
                </a:lnTo>
                <a:lnTo>
                  <a:pt x="1473" y="2162"/>
                </a:lnTo>
                <a:lnTo>
                  <a:pt x="1471" y="2162"/>
                </a:lnTo>
                <a:lnTo>
                  <a:pt x="1473" y="2162"/>
                </a:lnTo>
                <a:lnTo>
                  <a:pt x="1471" y="2162"/>
                </a:lnTo>
                <a:lnTo>
                  <a:pt x="1471" y="2160"/>
                </a:lnTo>
                <a:lnTo>
                  <a:pt x="1473" y="2160"/>
                </a:lnTo>
                <a:lnTo>
                  <a:pt x="1475" y="2160"/>
                </a:lnTo>
                <a:lnTo>
                  <a:pt x="1475" y="2158"/>
                </a:lnTo>
                <a:lnTo>
                  <a:pt x="1475" y="2160"/>
                </a:lnTo>
                <a:lnTo>
                  <a:pt x="1475" y="2158"/>
                </a:lnTo>
                <a:lnTo>
                  <a:pt x="1477" y="2158"/>
                </a:lnTo>
                <a:lnTo>
                  <a:pt x="1477" y="2160"/>
                </a:lnTo>
                <a:lnTo>
                  <a:pt x="1479" y="2160"/>
                </a:lnTo>
                <a:lnTo>
                  <a:pt x="1477" y="2160"/>
                </a:lnTo>
                <a:lnTo>
                  <a:pt x="1477" y="2158"/>
                </a:lnTo>
                <a:lnTo>
                  <a:pt x="1477" y="2156"/>
                </a:lnTo>
                <a:lnTo>
                  <a:pt x="1477" y="2154"/>
                </a:lnTo>
                <a:lnTo>
                  <a:pt x="1479" y="2154"/>
                </a:lnTo>
                <a:lnTo>
                  <a:pt x="1477" y="2154"/>
                </a:lnTo>
                <a:lnTo>
                  <a:pt x="1477" y="2156"/>
                </a:lnTo>
                <a:lnTo>
                  <a:pt x="1475" y="2156"/>
                </a:lnTo>
                <a:lnTo>
                  <a:pt x="1477" y="2156"/>
                </a:lnTo>
                <a:lnTo>
                  <a:pt x="1475" y="2156"/>
                </a:lnTo>
                <a:lnTo>
                  <a:pt x="1475" y="2158"/>
                </a:lnTo>
                <a:lnTo>
                  <a:pt x="1473" y="2158"/>
                </a:lnTo>
                <a:lnTo>
                  <a:pt x="1475" y="2158"/>
                </a:lnTo>
                <a:lnTo>
                  <a:pt x="1473" y="2158"/>
                </a:lnTo>
                <a:lnTo>
                  <a:pt x="1473" y="2156"/>
                </a:lnTo>
                <a:lnTo>
                  <a:pt x="1475" y="2156"/>
                </a:lnTo>
                <a:lnTo>
                  <a:pt x="1475" y="2154"/>
                </a:lnTo>
                <a:lnTo>
                  <a:pt x="1477" y="2154"/>
                </a:lnTo>
                <a:lnTo>
                  <a:pt x="1479" y="2154"/>
                </a:lnTo>
                <a:lnTo>
                  <a:pt x="1479" y="2152"/>
                </a:lnTo>
                <a:lnTo>
                  <a:pt x="1477" y="2152"/>
                </a:lnTo>
                <a:lnTo>
                  <a:pt x="1477" y="2154"/>
                </a:lnTo>
                <a:lnTo>
                  <a:pt x="1477" y="2152"/>
                </a:lnTo>
                <a:lnTo>
                  <a:pt x="1475" y="2152"/>
                </a:lnTo>
                <a:lnTo>
                  <a:pt x="1475" y="2154"/>
                </a:lnTo>
                <a:lnTo>
                  <a:pt x="1475" y="2152"/>
                </a:lnTo>
                <a:lnTo>
                  <a:pt x="1473" y="2152"/>
                </a:lnTo>
                <a:lnTo>
                  <a:pt x="1471" y="2152"/>
                </a:lnTo>
                <a:lnTo>
                  <a:pt x="1471" y="2150"/>
                </a:lnTo>
                <a:lnTo>
                  <a:pt x="1471" y="2148"/>
                </a:lnTo>
                <a:lnTo>
                  <a:pt x="1469" y="2148"/>
                </a:lnTo>
                <a:lnTo>
                  <a:pt x="1469" y="2146"/>
                </a:lnTo>
                <a:lnTo>
                  <a:pt x="1469" y="2144"/>
                </a:lnTo>
                <a:lnTo>
                  <a:pt x="1469" y="2143"/>
                </a:lnTo>
                <a:lnTo>
                  <a:pt x="1471" y="2143"/>
                </a:lnTo>
                <a:lnTo>
                  <a:pt x="1471" y="2141"/>
                </a:lnTo>
                <a:lnTo>
                  <a:pt x="1471" y="2143"/>
                </a:lnTo>
                <a:lnTo>
                  <a:pt x="1471" y="2141"/>
                </a:lnTo>
                <a:lnTo>
                  <a:pt x="1473" y="2141"/>
                </a:lnTo>
                <a:lnTo>
                  <a:pt x="1471" y="2143"/>
                </a:lnTo>
                <a:lnTo>
                  <a:pt x="1473" y="2143"/>
                </a:lnTo>
                <a:lnTo>
                  <a:pt x="1473" y="2141"/>
                </a:lnTo>
                <a:lnTo>
                  <a:pt x="1473" y="2139"/>
                </a:lnTo>
                <a:lnTo>
                  <a:pt x="1475" y="2139"/>
                </a:lnTo>
                <a:lnTo>
                  <a:pt x="1475" y="2137"/>
                </a:lnTo>
                <a:lnTo>
                  <a:pt x="1475" y="2139"/>
                </a:lnTo>
                <a:lnTo>
                  <a:pt x="1475" y="2141"/>
                </a:lnTo>
                <a:lnTo>
                  <a:pt x="1477" y="2141"/>
                </a:lnTo>
                <a:lnTo>
                  <a:pt x="1477" y="2139"/>
                </a:lnTo>
                <a:lnTo>
                  <a:pt x="1477" y="2141"/>
                </a:lnTo>
                <a:lnTo>
                  <a:pt x="1477" y="2139"/>
                </a:lnTo>
                <a:lnTo>
                  <a:pt x="1479" y="2139"/>
                </a:lnTo>
                <a:lnTo>
                  <a:pt x="1479" y="2137"/>
                </a:lnTo>
                <a:lnTo>
                  <a:pt x="1479" y="2139"/>
                </a:lnTo>
                <a:lnTo>
                  <a:pt x="1477" y="2139"/>
                </a:lnTo>
                <a:lnTo>
                  <a:pt x="1479" y="2139"/>
                </a:lnTo>
                <a:lnTo>
                  <a:pt x="1479" y="2141"/>
                </a:lnTo>
                <a:lnTo>
                  <a:pt x="1481" y="2141"/>
                </a:lnTo>
                <a:lnTo>
                  <a:pt x="1483" y="2141"/>
                </a:lnTo>
                <a:lnTo>
                  <a:pt x="1483" y="2139"/>
                </a:lnTo>
                <a:lnTo>
                  <a:pt x="1484" y="2139"/>
                </a:lnTo>
                <a:lnTo>
                  <a:pt x="1486" y="2139"/>
                </a:lnTo>
                <a:lnTo>
                  <a:pt x="1488" y="2139"/>
                </a:lnTo>
                <a:lnTo>
                  <a:pt x="1486" y="2139"/>
                </a:lnTo>
                <a:lnTo>
                  <a:pt x="1488" y="2139"/>
                </a:lnTo>
                <a:lnTo>
                  <a:pt x="1488" y="2137"/>
                </a:lnTo>
                <a:lnTo>
                  <a:pt x="1490" y="2137"/>
                </a:lnTo>
                <a:lnTo>
                  <a:pt x="1488" y="2137"/>
                </a:lnTo>
                <a:lnTo>
                  <a:pt x="1490" y="2137"/>
                </a:lnTo>
                <a:lnTo>
                  <a:pt x="1490" y="2135"/>
                </a:lnTo>
                <a:lnTo>
                  <a:pt x="1492" y="2135"/>
                </a:lnTo>
                <a:lnTo>
                  <a:pt x="1492" y="2133"/>
                </a:lnTo>
                <a:lnTo>
                  <a:pt x="1490" y="2133"/>
                </a:lnTo>
                <a:lnTo>
                  <a:pt x="1490" y="2135"/>
                </a:lnTo>
                <a:lnTo>
                  <a:pt x="1488" y="2135"/>
                </a:lnTo>
                <a:lnTo>
                  <a:pt x="1488" y="2133"/>
                </a:lnTo>
                <a:lnTo>
                  <a:pt x="1488" y="2131"/>
                </a:lnTo>
                <a:lnTo>
                  <a:pt x="1486" y="2131"/>
                </a:lnTo>
                <a:lnTo>
                  <a:pt x="1486" y="2133"/>
                </a:lnTo>
                <a:lnTo>
                  <a:pt x="1486" y="2131"/>
                </a:lnTo>
                <a:lnTo>
                  <a:pt x="1486" y="2133"/>
                </a:lnTo>
                <a:lnTo>
                  <a:pt x="1486" y="2131"/>
                </a:lnTo>
                <a:lnTo>
                  <a:pt x="1488" y="2131"/>
                </a:lnTo>
                <a:lnTo>
                  <a:pt x="1488" y="2133"/>
                </a:lnTo>
                <a:lnTo>
                  <a:pt x="1486" y="2133"/>
                </a:lnTo>
                <a:lnTo>
                  <a:pt x="1486" y="2135"/>
                </a:lnTo>
                <a:lnTo>
                  <a:pt x="1486" y="2137"/>
                </a:lnTo>
                <a:lnTo>
                  <a:pt x="1484" y="2137"/>
                </a:lnTo>
                <a:lnTo>
                  <a:pt x="1484" y="2139"/>
                </a:lnTo>
                <a:lnTo>
                  <a:pt x="1483" y="2137"/>
                </a:lnTo>
                <a:lnTo>
                  <a:pt x="1484" y="2137"/>
                </a:lnTo>
                <a:lnTo>
                  <a:pt x="1483" y="2137"/>
                </a:lnTo>
                <a:lnTo>
                  <a:pt x="1483" y="2139"/>
                </a:lnTo>
                <a:lnTo>
                  <a:pt x="1481" y="2137"/>
                </a:lnTo>
                <a:lnTo>
                  <a:pt x="1483" y="2137"/>
                </a:lnTo>
                <a:lnTo>
                  <a:pt x="1481" y="2137"/>
                </a:lnTo>
                <a:lnTo>
                  <a:pt x="1481" y="2135"/>
                </a:lnTo>
                <a:lnTo>
                  <a:pt x="1483" y="2135"/>
                </a:lnTo>
                <a:lnTo>
                  <a:pt x="1481" y="2135"/>
                </a:lnTo>
                <a:lnTo>
                  <a:pt x="1481" y="2133"/>
                </a:lnTo>
                <a:lnTo>
                  <a:pt x="1483" y="2133"/>
                </a:lnTo>
                <a:lnTo>
                  <a:pt x="1481" y="2133"/>
                </a:lnTo>
                <a:lnTo>
                  <a:pt x="1481" y="2131"/>
                </a:lnTo>
                <a:lnTo>
                  <a:pt x="1483" y="2131"/>
                </a:lnTo>
                <a:lnTo>
                  <a:pt x="1484" y="2131"/>
                </a:lnTo>
                <a:lnTo>
                  <a:pt x="1483" y="2131"/>
                </a:lnTo>
                <a:lnTo>
                  <a:pt x="1484" y="2131"/>
                </a:lnTo>
                <a:lnTo>
                  <a:pt x="1483" y="2131"/>
                </a:lnTo>
                <a:lnTo>
                  <a:pt x="1484" y="2131"/>
                </a:lnTo>
                <a:lnTo>
                  <a:pt x="1483" y="2131"/>
                </a:lnTo>
                <a:lnTo>
                  <a:pt x="1483" y="2129"/>
                </a:lnTo>
                <a:lnTo>
                  <a:pt x="1484" y="2129"/>
                </a:lnTo>
                <a:lnTo>
                  <a:pt x="1484" y="2127"/>
                </a:lnTo>
                <a:lnTo>
                  <a:pt x="1486" y="2127"/>
                </a:lnTo>
                <a:lnTo>
                  <a:pt x="1486" y="2125"/>
                </a:lnTo>
                <a:lnTo>
                  <a:pt x="1488" y="2125"/>
                </a:lnTo>
                <a:lnTo>
                  <a:pt x="1486" y="2125"/>
                </a:lnTo>
                <a:lnTo>
                  <a:pt x="1488" y="2125"/>
                </a:lnTo>
                <a:lnTo>
                  <a:pt x="1486" y="2125"/>
                </a:lnTo>
                <a:lnTo>
                  <a:pt x="1488" y="2125"/>
                </a:lnTo>
                <a:lnTo>
                  <a:pt x="1488" y="2127"/>
                </a:lnTo>
                <a:lnTo>
                  <a:pt x="1490" y="2127"/>
                </a:lnTo>
                <a:lnTo>
                  <a:pt x="1490" y="2125"/>
                </a:lnTo>
                <a:lnTo>
                  <a:pt x="1490" y="2127"/>
                </a:lnTo>
                <a:lnTo>
                  <a:pt x="1492" y="2127"/>
                </a:lnTo>
                <a:lnTo>
                  <a:pt x="1492" y="2129"/>
                </a:lnTo>
                <a:lnTo>
                  <a:pt x="1490" y="2129"/>
                </a:lnTo>
                <a:lnTo>
                  <a:pt x="1492" y="2129"/>
                </a:lnTo>
                <a:lnTo>
                  <a:pt x="1494" y="2129"/>
                </a:lnTo>
                <a:lnTo>
                  <a:pt x="1494" y="2127"/>
                </a:lnTo>
                <a:lnTo>
                  <a:pt x="1492" y="2127"/>
                </a:lnTo>
                <a:lnTo>
                  <a:pt x="1492" y="2129"/>
                </a:lnTo>
                <a:lnTo>
                  <a:pt x="1492" y="2127"/>
                </a:lnTo>
                <a:lnTo>
                  <a:pt x="1490" y="2127"/>
                </a:lnTo>
                <a:lnTo>
                  <a:pt x="1492" y="2127"/>
                </a:lnTo>
                <a:lnTo>
                  <a:pt x="1490" y="2127"/>
                </a:lnTo>
                <a:lnTo>
                  <a:pt x="1492" y="2125"/>
                </a:lnTo>
                <a:lnTo>
                  <a:pt x="1492" y="2127"/>
                </a:lnTo>
                <a:lnTo>
                  <a:pt x="1492" y="2125"/>
                </a:lnTo>
                <a:lnTo>
                  <a:pt x="1492" y="2123"/>
                </a:lnTo>
                <a:lnTo>
                  <a:pt x="1494" y="2123"/>
                </a:lnTo>
                <a:lnTo>
                  <a:pt x="1494" y="2121"/>
                </a:lnTo>
                <a:lnTo>
                  <a:pt x="1494" y="2120"/>
                </a:lnTo>
                <a:lnTo>
                  <a:pt x="1496" y="2120"/>
                </a:lnTo>
                <a:lnTo>
                  <a:pt x="1496" y="2118"/>
                </a:lnTo>
                <a:lnTo>
                  <a:pt x="1498" y="2116"/>
                </a:lnTo>
                <a:lnTo>
                  <a:pt x="1498" y="2114"/>
                </a:lnTo>
                <a:lnTo>
                  <a:pt x="1500" y="2114"/>
                </a:lnTo>
                <a:lnTo>
                  <a:pt x="1500" y="2112"/>
                </a:lnTo>
                <a:lnTo>
                  <a:pt x="1498" y="2112"/>
                </a:lnTo>
                <a:lnTo>
                  <a:pt x="1498" y="2110"/>
                </a:lnTo>
                <a:lnTo>
                  <a:pt x="1496" y="2110"/>
                </a:lnTo>
                <a:lnTo>
                  <a:pt x="1496" y="2108"/>
                </a:lnTo>
                <a:lnTo>
                  <a:pt x="1494" y="2108"/>
                </a:lnTo>
                <a:lnTo>
                  <a:pt x="1492" y="2108"/>
                </a:lnTo>
                <a:lnTo>
                  <a:pt x="1494" y="2108"/>
                </a:lnTo>
                <a:lnTo>
                  <a:pt x="1494" y="2106"/>
                </a:lnTo>
                <a:lnTo>
                  <a:pt x="1492" y="2104"/>
                </a:lnTo>
                <a:lnTo>
                  <a:pt x="1494" y="2104"/>
                </a:lnTo>
                <a:lnTo>
                  <a:pt x="1494" y="2102"/>
                </a:lnTo>
                <a:lnTo>
                  <a:pt x="1492" y="2102"/>
                </a:lnTo>
                <a:lnTo>
                  <a:pt x="1492" y="2104"/>
                </a:lnTo>
                <a:lnTo>
                  <a:pt x="1492" y="2102"/>
                </a:lnTo>
                <a:lnTo>
                  <a:pt x="1492" y="2104"/>
                </a:lnTo>
                <a:lnTo>
                  <a:pt x="1492" y="2102"/>
                </a:lnTo>
                <a:lnTo>
                  <a:pt x="1490" y="2102"/>
                </a:lnTo>
                <a:lnTo>
                  <a:pt x="1490" y="2104"/>
                </a:lnTo>
                <a:lnTo>
                  <a:pt x="1490" y="2102"/>
                </a:lnTo>
                <a:lnTo>
                  <a:pt x="1490" y="2100"/>
                </a:lnTo>
                <a:lnTo>
                  <a:pt x="1490" y="2098"/>
                </a:lnTo>
                <a:lnTo>
                  <a:pt x="1490" y="2100"/>
                </a:lnTo>
                <a:lnTo>
                  <a:pt x="1490" y="2098"/>
                </a:lnTo>
                <a:lnTo>
                  <a:pt x="1492" y="2098"/>
                </a:lnTo>
                <a:lnTo>
                  <a:pt x="1492" y="2096"/>
                </a:lnTo>
                <a:lnTo>
                  <a:pt x="1494" y="2096"/>
                </a:lnTo>
                <a:lnTo>
                  <a:pt x="1492" y="2096"/>
                </a:lnTo>
                <a:lnTo>
                  <a:pt x="1492" y="2095"/>
                </a:lnTo>
                <a:lnTo>
                  <a:pt x="1494" y="2095"/>
                </a:lnTo>
                <a:lnTo>
                  <a:pt x="1494" y="2093"/>
                </a:lnTo>
                <a:lnTo>
                  <a:pt x="1494" y="2091"/>
                </a:lnTo>
                <a:lnTo>
                  <a:pt x="1496" y="2093"/>
                </a:lnTo>
                <a:lnTo>
                  <a:pt x="1494" y="2093"/>
                </a:lnTo>
                <a:lnTo>
                  <a:pt x="1496" y="2095"/>
                </a:lnTo>
                <a:lnTo>
                  <a:pt x="1494" y="2095"/>
                </a:lnTo>
                <a:lnTo>
                  <a:pt x="1494" y="2096"/>
                </a:lnTo>
                <a:lnTo>
                  <a:pt x="1496" y="2095"/>
                </a:lnTo>
                <a:lnTo>
                  <a:pt x="1496" y="2093"/>
                </a:lnTo>
                <a:lnTo>
                  <a:pt x="1496" y="2091"/>
                </a:lnTo>
                <a:lnTo>
                  <a:pt x="1498" y="2091"/>
                </a:lnTo>
                <a:close/>
                <a:moveTo>
                  <a:pt x="1496" y="2091"/>
                </a:moveTo>
                <a:lnTo>
                  <a:pt x="1498" y="2091"/>
                </a:lnTo>
                <a:lnTo>
                  <a:pt x="1496" y="2091"/>
                </a:lnTo>
                <a:close/>
                <a:moveTo>
                  <a:pt x="1552" y="2131"/>
                </a:moveTo>
                <a:lnTo>
                  <a:pt x="1550" y="2129"/>
                </a:lnTo>
                <a:lnTo>
                  <a:pt x="1552" y="2129"/>
                </a:lnTo>
                <a:lnTo>
                  <a:pt x="1552" y="2131"/>
                </a:lnTo>
                <a:close/>
                <a:moveTo>
                  <a:pt x="770" y="1265"/>
                </a:moveTo>
                <a:lnTo>
                  <a:pt x="770" y="1267"/>
                </a:lnTo>
                <a:lnTo>
                  <a:pt x="768" y="1267"/>
                </a:lnTo>
                <a:lnTo>
                  <a:pt x="768" y="1269"/>
                </a:lnTo>
                <a:lnTo>
                  <a:pt x="766" y="1269"/>
                </a:lnTo>
                <a:lnTo>
                  <a:pt x="766" y="1267"/>
                </a:lnTo>
                <a:lnTo>
                  <a:pt x="768" y="1265"/>
                </a:lnTo>
                <a:lnTo>
                  <a:pt x="766" y="1265"/>
                </a:lnTo>
                <a:lnTo>
                  <a:pt x="768" y="1265"/>
                </a:lnTo>
                <a:lnTo>
                  <a:pt x="768" y="1263"/>
                </a:lnTo>
                <a:lnTo>
                  <a:pt x="768" y="1265"/>
                </a:lnTo>
                <a:lnTo>
                  <a:pt x="770" y="1265"/>
                </a:lnTo>
                <a:close/>
                <a:moveTo>
                  <a:pt x="1494" y="2081"/>
                </a:moveTo>
                <a:lnTo>
                  <a:pt x="1494" y="2083"/>
                </a:lnTo>
                <a:lnTo>
                  <a:pt x="1492" y="2083"/>
                </a:lnTo>
                <a:lnTo>
                  <a:pt x="1492" y="2081"/>
                </a:lnTo>
                <a:lnTo>
                  <a:pt x="1494" y="2081"/>
                </a:lnTo>
                <a:close/>
                <a:moveTo>
                  <a:pt x="1544" y="2118"/>
                </a:moveTo>
                <a:lnTo>
                  <a:pt x="1544" y="2120"/>
                </a:lnTo>
                <a:lnTo>
                  <a:pt x="1544" y="2121"/>
                </a:lnTo>
                <a:lnTo>
                  <a:pt x="1542" y="2121"/>
                </a:lnTo>
                <a:lnTo>
                  <a:pt x="1540" y="2121"/>
                </a:lnTo>
                <a:lnTo>
                  <a:pt x="1538" y="2121"/>
                </a:lnTo>
                <a:lnTo>
                  <a:pt x="1536" y="2120"/>
                </a:lnTo>
                <a:lnTo>
                  <a:pt x="1536" y="2118"/>
                </a:lnTo>
                <a:lnTo>
                  <a:pt x="1538" y="2118"/>
                </a:lnTo>
                <a:lnTo>
                  <a:pt x="1538" y="2116"/>
                </a:lnTo>
                <a:lnTo>
                  <a:pt x="1540" y="2116"/>
                </a:lnTo>
                <a:lnTo>
                  <a:pt x="1542" y="2116"/>
                </a:lnTo>
                <a:lnTo>
                  <a:pt x="1544" y="2116"/>
                </a:lnTo>
                <a:lnTo>
                  <a:pt x="1542" y="2118"/>
                </a:lnTo>
                <a:lnTo>
                  <a:pt x="1544" y="2118"/>
                </a:lnTo>
                <a:close/>
                <a:moveTo>
                  <a:pt x="1481" y="2068"/>
                </a:moveTo>
                <a:lnTo>
                  <a:pt x="1483" y="2068"/>
                </a:lnTo>
                <a:lnTo>
                  <a:pt x="1481" y="2068"/>
                </a:lnTo>
                <a:close/>
                <a:moveTo>
                  <a:pt x="1536" y="2110"/>
                </a:moveTo>
                <a:lnTo>
                  <a:pt x="1536" y="2112"/>
                </a:lnTo>
                <a:lnTo>
                  <a:pt x="1536" y="2114"/>
                </a:lnTo>
                <a:lnTo>
                  <a:pt x="1534" y="2114"/>
                </a:lnTo>
                <a:lnTo>
                  <a:pt x="1536" y="2114"/>
                </a:lnTo>
                <a:lnTo>
                  <a:pt x="1536" y="2116"/>
                </a:lnTo>
                <a:lnTo>
                  <a:pt x="1534" y="2116"/>
                </a:lnTo>
                <a:lnTo>
                  <a:pt x="1536" y="2116"/>
                </a:lnTo>
                <a:lnTo>
                  <a:pt x="1534" y="2116"/>
                </a:lnTo>
                <a:lnTo>
                  <a:pt x="1532" y="2116"/>
                </a:lnTo>
                <a:lnTo>
                  <a:pt x="1534" y="2116"/>
                </a:lnTo>
                <a:lnTo>
                  <a:pt x="1532" y="2116"/>
                </a:lnTo>
                <a:lnTo>
                  <a:pt x="1531" y="2116"/>
                </a:lnTo>
                <a:lnTo>
                  <a:pt x="1531" y="2118"/>
                </a:lnTo>
                <a:lnTo>
                  <a:pt x="1531" y="2120"/>
                </a:lnTo>
                <a:lnTo>
                  <a:pt x="1531" y="2121"/>
                </a:lnTo>
                <a:lnTo>
                  <a:pt x="1529" y="2121"/>
                </a:lnTo>
                <a:lnTo>
                  <a:pt x="1527" y="2121"/>
                </a:lnTo>
                <a:lnTo>
                  <a:pt x="1525" y="2121"/>
                </a:lnTo>
                <a:lnTo>
                  <a:pt x="1523" y="2121"/>
                </a:lnTo>
                <a:lnTo>
                  <a:pt x="1523" y="2120"/>
                </a:lnTo>
                <a:lnTo>
                  <a:pt x="1521" y="2120"/>
                </a:lnTo>
                <a:lnTo>
                  <a:pt x="1519" y="2120"/>
                </a:lnTo>
                <a:lnTo>
                  <a:pt x="1519" y="2118"/>
                </a:lnTo>
                <a:lnTo>
                  <a:pt x="1519" y="2116"/>
                </a:lnTo>
                <a:lnTo>
                  <a:pt x="1519" y="2114"/>
                </a:lnTo>
                <a:lnTo>
                  <a:pt x="1519" y="2112"/>
                </a:lnTo>
                <a:lnTo>
                  <a:pt x="1517" y="2112"/>
                </a:lnTo>
                <a:lnTo>
                  <a:pt x="1517" y="2110"/>
                </a:lnTo>
                <a:lnTo>
                  <a:pt x="1517" y="2108"/>
                </a:lnTo>
                <a:lnTo>
                  <a:pt x="1517" y="2106"/>
                </a:lnTo>
                <a:lnTo>
                  <a:pt x="1519" y="2106"/>
                </a:lnTo>
                <a:lnTo>
                  <a:pt x="1519" y="2104"/>
                </a:lnTo>
                <a:lnTo>
                  <a:pt x="1521" y="2104"/>
                </a:lnTo>
                <a:lnTo>
                  <a:pt x="1523" y="2104"/>
                </a:lnTo>
                <a:lnTo>
                  <a:pt x="1523" y="2102"/>
                </a:lnTo>
                <a:lnTo>
                  <a:pt x="1525" y="2102"/>
                </a:lnTo>
                <a:lnTo>
                  <a:pt x="1525" y="2104"/>
                </a:lnTo>
                <a:lnTo>
                  <a:pt x="1525" y="2102"/>
                </a:lnTo>
                <a:lnTo>
                  <a:pt x="1525" y="2104"/>
                </a:lnTo>
                <a:lnTo>
                  <a:pt x="1527" y="2104"/>
                </a:lnTo>
                <a:lnTo>
                  <a:pt x="1527" y="2102"/>
                </a:lnTo>
                <a:lnTo>
                  <a:pt x="1529" y="2102"/>
                </a:lnTo>
                <a:lnTo>
                  <a:pt x="1529" y="2104"/>
                </a:lnTo>
                <a:lnTo>
                  <a:pt x="1531" y="2104"/>
                </a:lnTo>
                <a:lnTo>
                  <a:pt x="1531" y="2106"/>
                </a:lnTo>
                <a:lnTo>
                  <a:pt x="1531" y="2108"/>
                </a:lnTo>
                <a:lnTo>
                  <a:pt x="1532" y="2108"/>
                </a:lnTo>
                <a:lnTo>
                  <a:pt x="1534" y="2108"/>
                </a:lnTo>
                <a:lnTo>
                  <a:pt x="1534" y="2110"/>
                </a:lnTo>
                <a:lnTo>
                  <a:pt x="1536" y="2110"/>
                </a:lnTo>
                <a:close/>
                <a:moveTo>
                  <a:pt x="1515" y="2093"/>
                </a:moveTo>
                <a:lnTo>
                  <a:pt x="1513" y="2093"/>
                </a:lnTo>
                <a:lnTo>
                  <a:pt x="1515" y="2093"/>
                </a:lnTo>
                <a:close/>
                <a:moveTo>
                  <a:pt x="1521" y="2098"/>
                </a:moveTo>
                <a:lnTo>
                  <a:pt x="1521" y="2096"/>
                </a:lnTo>
                <a:lnTo>
                  <a:pt x="1521" y="2098"/>
                </a:lnTo>
                <a:close/>
                <a:moveTo>
                  <a:pt x="1481" y="2068"/>
                </a:moveTo>
                <a:lnTo>
                  <a:pt x="1481" y="2066"/>
                </a:lnTo>
                <a:lnTo>
                  <a:pt x="1481" y="2068"/>
                </a:lnTo>
                <a:close/>
                <a:moveTo>
                  <a:pt x="1481" y="2068"/>
                </a:moveTo>
                <a:lnTo>
                  <a:pt x="1481" y="2066"/>
                </a:lnTo>
                <a:lnTo>
                  <a:pt x="1481" y="2068"/>
                </a:lnTo>
                <a:close/>
                <a:moveTo>
                  <a:pt x="1523" y="2098"/>
                </a:moveTo>
                <a:lnTo>
                  <a:pt x="1521" y="2098"/>
                </a:lnTo>
                <a:lnTo>
                  <a:pt x="1523" y="2098"/>
                </a:lnTo>
                <a:close/>
                <a:moveTo>
                  <a:pt x="1481" y="2066"/>
                </a:moveTo>
                <a:lnTo>
                  <a:pt x="1483" y="2066"/>
                </a:lnTo>
                <a:lnTo>
                  <a:pt x="1481" y="2066"/>
                </a:lnTo>
                <a:close/>
                <a:moveTo>
                  <a:pt x="1540" y="2110"/>
                </a:moveTo>
                <a:lnTo>
                  <a:pt x="1540" y="2112"/>
                </a:lnTo>
                <a:lnTo>
                  <a:pt x="1538" y="2112"/>
                </a:lnTo>
                <a:lnTo>
                  <a:pt x="1540" y="2112"/>
                </a:lnTo>
                <a:lnTo>
                  <a:pt x="1538" y="2112"/>
                </a:lnTo>
                <a:lnTo>
                  <a:pt x="1538" y="2110"/>
                </a:lnTo>
                <a:lnTo>
                  <a:pt x="1538" y="2108"/>
                </a:lnTo>
                <a:lnTo>
                  <a:pt x="1540" y="2108"/>
                </a:lnTo>
                <a:lnTo>
                  <a:pt x="1540" y="2110"/>
                </a:lnTo>
                <a:lnTo>
                  <a:pt x="1540" y="2108"/>
                </a:lnTo>
                <a:lnTo>
                  <a:pt x="1540" y="2110"/>
                </a:lnTo>
                <a:close/>
                <a:moveTo>
                  <a:pt x="1550" y="2116"/>
                </a:moveTo>
                <a:lnTo>
                  <a:pt x="1550" y="2118"/>
                </a:lnTo>
                <a:lnTo>
                  <a:pt x="1550" y="2120"/>
                </a:lnTo>
                <a:lnTo>
                  <a:pt x="1552" y="2120"/>
                </a:lnTo>
                <a:lnTo>
                  <a:pt x="1552" y="2121"/>
                </a:lnTo>
                <a:lnTo>
                  <a:pt x="1552" y="2123"/>
                </a:lnTo>
                <a:lnTo>
                  <a:pt x="1552" y="2125"/>
                </a:lnTo>
                <a:lnTo>
                  <a:pt x="1550" y="2125"/>
                </a:lnTo>
                <a:lnTo>
                  <a:pt x="1550" y="2127"/>
                </a:lnTo>
                <a:lnTo>
                  <a:pt x="1550" y="2129"/>
                </a:lnTo>
                <a:lnTo>
                  <a:pt x="1550" y="2131"/>
                </a:lnTo>
                <a:lnTo>
                  <a:pt x="1552" y="2133"/>
                </a:lnTo>
                <a:lnTo>
                  <a:pt x="1552" y="2131"/>
                </a:lnTo>
                <a:lnTo>
                  <a:pt x="1554" y="2131"/>
                </a:lnTo>
                <a:lnTo>
                  <a:pt x="1554" y="2133"/>
                </a:lnTo>
                <a:lnTo>
                  <a:pt x="1556" y="2133"/>
                </a:lnTo>
                <a:lnTo>
                  <a:pt x="1556" y="2135"/>
                </a:lnTo>
                <a:lnTo>
                  <a:pt x="1556" y="2137"/>
                </a:lnTo>
                <a:lnTo>
                  <a:pt x="1554" y="2139"/>
                </a:lnTo>
                <a:lnTo>
                  <a:pt x="1554" y="2141"/>
                </a:lnTo>
                <a:lnTo>
                  <a:pt x="1554" y="2143"/>
                </a:lnTo>
                <a:lnTo>
                  <a:pt x="1554" y="2144"/>
                </a:lnTo>
                <a:lnTo>
                  <a:pt x="1552" y="2144"/>
                </a:lnTo>
                <a:lnTo>
                  <a:pt x="1552" y="2146"/>
                </a:lnTo>
                <a:lnTo>
                  <a:pt x="1550" y="2146"/>
                </a:lnTo>
                <a:lnTo>
                  <a:pt x="1548" y="2146"/>
                </a:lnTo>
                <a:lnTo>
                  <a:pt x="1548" y="2144"/>
                </a:lnTo>
                <a:lnTo>
                  <a:pt x="1550" y="2144"/>
                </a:lnTo>
                <a:lnTo>
                  <a:pt x="1550" y="2143"/>
                </a:lnTo>
                <a:lnTo>
                  <a:pt x="1548" y="2141"/>
                </a:lnTo>
                <a:lnTo>
                  <a:pt x="1548" y="2143"/>
                </a:lnTo>
                <a:lnTo>
                  <a:pt x="1548" y="2144"/>
                </a:lnTo>
                <a:lnTo>
                  <a:pt x="1548" y="2146"/>
                </a:lnTo>
                <a:lnTo>
                  <a:pt x="1546" y="2146"/>
                </a:lnTo>
                <a:lnTo>
                  <a:pt x="1546" y="2148"/>
                </a:lnTo>
                <a:lnTo>
                  <a:pt x="1544" y="2148"/>
                </a:lnTo>
                <a:lnTo>
                  <a:pt x="1544" y="2146"/>
                </a:lnTo>
                <a:lnTo>
                  <a:pt x="1544" y="2148"/>
                </a:lnTo>
                <a:lnTo>
                  <a:pt x="1542" y="2148"/>
                </a:lnTo>
                <a:lnTo>
                  <a:pt x="1542" y="2146"/>
                </a:lnTo>
                <a:lnTo>
                  <a:pt x="1542" y="2144"/>
                </a:lnTo>
                <a:lnTo>
                  <a:pt x="1544" y="2144"/>
                </a:lnTo>
                <a:lnTo>
                  <a:pt x="1544" y="2143"/>
                </a:lnTo>
                <a:lnTo>
                  <a:pt x="1542" y="2143"/>
                </a:lnTo>
                <a:lnTo>
                  <a:pt x="1542" y="2144"/>
                </a:lnTo>
                <a:lnTo>
                  <a:pt x="1542" y="2143"/>
                </a:lnTo>
                <a:lnTo>
                  <a:pt x="1542" y="2141"/>
                </a:lnTo>
                <a:lnTo>
                  <a:pt x="1542" y="2143"/>
                </a:lnTo>
                <a:lnTo>
                  <a:pt x="1542" y="2141"/>
                </a:lnTo>
                <a:lnTo>
                  <a:pt x="1540" y="2141"/>
                </a:lnTo>
                <a:lnTo>
                  <a:pt x="1540" y="2139"/>
                </a:lnTo>
                <a:lnTo>
                  <a:pt x="1540" y="2137"/>
                </a:lnTo>
                <a:lnTo>
                  <a:pt x="1538" y="2137"/>
                </a:lnTo>
                <a:lnTo>
                  <a:pt x="1540" y="2137"/>
                </a:lnTo>
                <a:lnTo>
                  <a:pt x="1538" y="2135"/>
                </a:lnTo>
                <a:lnTo>
                  <a:pt x="1540" y="2135"/>
                </a:lnTo>
                <a:lnTo>
                  <a:pt x="1538" y="2135"/>
                </a:lnTo>
                <a:lnTo>
                  <a:pt x="1538" y="2133"/>
                </a:lnTo>
                <a:lnTo>
                  <a:pt x="1540" y="2133"/>
                </a:lnTo>
                <a:lnTo>
                  <a:pt x="1540" y="2131"/>
                </a:lnTo>
                <a:lnTo>
                  <a:pt x="1540" y="2129"/>
                </a:lnTo>
                <a:lnTo>
                  <a:pt x="1542" y="2129"/>
                </a:lnTo>
                <a:lnTo>
                  <a:pt x="1542" y="2127"/>
                </a:lnTo>
                <a:lnTo>
                  <a:pt x="1544" y="2127"/>
                </a:lnTo>
                <a:lnTo>
                  <a:pt x="1544" y="2125"/>
                </a:lnTo>
                <a:lnTo>
                  <a:pt x="1544" y="2123"/>
                </a:lnTo>
                <a:lnTo>
                  <a:pt x="1546" y="2123"/>
                </a:lnTo>
                <a:lnTo>
                  <a:pt x="1546" y="2121"/>
                </a:lnTo>
                <a:lnTo>
                  <a:pt x="1548" y="2121"/>
                </a:lnTo>
                <a:lnTo>
                  <a:pt x="1546" y="2121"/>
                </a:lnTo>
                <a:lnTo>
                  <a:pt x="1546" y="2120"/>
                </a:lnTo>
                <a:lnTo>
                  <a:pt x="1548" y="2120"/>
                </a:lnTo>
                <a:lnTo>
                  <a:pt x="1548" y="2118"/>
                </a:lnTo>
                <a:lnTo>
                  <a:pt x="1548" y="2116"/>
                </a:lnTo>
                <a:lnTo>
                  <a:pt x="1550" y="2116"/>
                </a:lnTo>
                <a:close/>
                <a:moveTo>
                  <a:pt x="1498" y="2079"/>
                </a:moveTo>
                <a:lnTo>
                  <a:pt x="1496" y="2079"/>
                </a:lnTo>
                <a:lnTo>
                  <a:pt x="1496" y="2077"/>
                </a:lnTo>
                <a:lnTo>
                  <a:pt x="1496" y="2075"/>
                </a:lnTo>
                <a:lnTo>
                  <a:pt x="1498" y="2075"/>
                </a:lnTo>
                <a:lnTo>
                  <a:pt x="1498" y="2077"/>
                </a:lnTo>
                <a:lnTo>
                  <a:pt x="1498" y="2079"/>
                </a:lnTo>
                <a:close/>
                <a:moveTo>
                  <a:pt x="782" y="1265"/>
                </a:moveTo>
                <a:lnTo>
                  <a:pt x="780" y="1265"/>
                </a:lnTo>
                <a:lnTo>
                  <a:pt x="782" y="1265"/>
                </a:lnTo>
                <a:lnTo>
                  <a:pt x="782" y="1263"/>
                </a:lnTo>
                <a:lnTo>
                  <a:pt x="782" y="1265"/>
                </a:lnTo>
                <a:close/>
                <a:moveTo>
                  <a:pt x="1544" y="2108"/>
                </a:moveTo>
                <a:lnTo>
                  <a:pt x="1544" y="2110"/>
                </a:lnTo>
                <a:lnTo>
                  <a:pt x="1542" y="2110"/>
                </a:lnTo>
                <a:lnTo>
                  <a:pt x="1544" y="2110"/>
                </a:lnTo>
                <a:lnTo>
                  <a:pt x="1542" y="2110"/>
                </a:lnTo>
                <a:lnTo>
                  <a:pt x="1540" y="2110"/>
                </a:lnTo>
                <a:lnTo>
                  <a:pt x="1540" y="2108"/>
                </a:lnTo>
                <a:lnTo>
                  <a:pt x="1542" y="2110"/>
                </a:lnTo>
                <a:lnTo>
                  <a:pt x="1542" y="2108"/>
                </a:lnTo>
                <a:lnTo>
                  <a:pt x="1544" y="2108"/>
                </a:lnTo>
                <a:close/>
                <a:moveTo>
                  <a:pt x="1525" y="2096"/>
                </a:moveTo>
                <a:lnTo>
                  <a:pt x="1525" y="2095"/>
                </a:lnTo>
                <a:lnTo>
                  <a:pt x="1525" y="2096"/>
                </a:lnTo>
                <a:close/>
                <a:moveTo>
                  <a:pt x="1544" y="2110"/>
                </a:moveTo>
                <a:lnTo>
                  <a:pt x="1544" y="2108"/>
                </a:lnTo>
                <a:lnTo>
                  <a:pt x="1546" y="2108"/>
                </a:lnTo>
                <a:lnTo>
                  <a:pt x="1546" y="2110"/>
                </a:lnTo>
                <a:lnTo>
                  <a:pt x="1544" y="2110"/>
                </a:lnTo>
                <a:close/>
                <a:moveTo>
                  <a:pt x="1527" y="2093"/>
                </a:moveTo>
                <a:lnTo>
                  <a:pt x="1527" y="2095"/>
                </a:lnTo>
                <a:lnTo>
                  <a:pt x="1527" y="2093"/>
                </a:lnTo>
                <a:close/>
                <a:moveTo>
                  <a:pt x="1548" y="2112"/>
                </a:moveTo>
                <a:lnTo>
                  <a:pt x="1548" y="2110"/>
                </a:lnTo>
                <a:lnTo>
                  <a:pt x="1550" y="2110"/>
                </a:lnTo>
                <a:lnTo>
                  <a:pt x="1550" y="2112"/>
                </a:lnTo>
                <a:lnTo>
                  <a:pt x="1548" y="2112"/>
                </a:lnTo>
                <a:close/>
                <a:moveTo>
                  <a:pt x="1544" y="2108"/>
                </a:moveTo>
                <a:lnTo>
                  <a:pt x="1546" y="2108"/>
                </a:lnTo>
                <a:lnTo>
                  <a:pt x="1546" y="2106"/>
                </a:lnTo>
                <a:lnTo>
                  <a:pt x="1548" y="2106"/>
                </a:lnTo>
                <a:lnTo>
                  <a:pt x="1548" y="2108"/>
                </a:lnTo>
                <a:lnTo>
                  <a:pt x="1546" y="2108"/>
                </a:lnTo>
                <a:lnTo>
                  <a:pt x="1544" y="2108"/>
                </a:lnTo>
                <a:close/>
                <a:moveTo>
                  <a:pt x="880" y="1409"/>
                </a:moveTo>
                <a:lnTo>
                  <a:pt x="880" y="1411"/>
                </a:lnTo>
                <a:lnTo>
                  <a:pt x="878" y="1411"/>
                </a:lnTo>
                <a:lnTo>
                  <a:pt x="876" y="1409"/>
                </a:lnTo>
                <a:lnTo>
                  <a:pt x="874" y="1409"/>
                </a:lnTo>
                <a:lnTo>
                  <a:pt x="872" y="1407"/>
                </a:lnTo>
                <a:lnTo>
                  <a:pt x="872" y="1405"/>
                </a:lnTo>
                <a:lnTo>
                  <a:pt x="870" y="1405"/>
                </a:lnTo>
                <a:lnTo>
                  <a:pt x="870" y="1403"/>
                </a:lnTo>
                <a:lnTo>
                  <a:pt x="870" y="1401"/>
                </a:lnTo>
                <a:lnTo>
                  <a:pt x="872" y="1403"/>
                </a:lnTo>
                <a:lnTo>
                  <a:pt x="874" y="1403"/>
                </a:lnTo>
                <a:lnTo>
                  <a:pt x="874" y="1405"/>
                </a:lnTo>
                <a:lnTo>
                  <a:pt x="874" y="1403"/>
                </a:lnTo>
                <a:lnTo>
                  <a:pt x="876" y="1403"/>
                </a:lnTo>
                <a:lnTo>
                  <a:pt x="876" y="1405"/>
                </a:lnTo>
                <a:lnTo>
                  <a:pt x="878" y="1405"/>
                </a:lnTo>
                <a:lnTo>
                  <a:pt x="878" y="1407"/>
                </a:lnTo>
                <a:lnTo>
                  <a:pt x="876" y="1407"/>
                </a:lnTo>
                <a:lnTo>
                  <a:pt x="878" y="1407"/>
                </a:lnTo>
                <a:lnTo>
                  <a:pt x="880" y="1407"/>
                </a:lnTo>
                <a:lnTo>
                  <a:pt x="880" y="1409"/>
                </a:lnTo>
                <a:close/>
                <a:moveTo>
                  <a:pt x="799" y="1281"/>
                </a:moveTo>
                <a:lnTo>
                  <a:pt x="799" y="1282"/>
                </a:lnTo>
                <a:lnTo>
                  <a:pt x="801" y="1282"/>
                </a:lnTo>
                <a:lnTo>
                  <a:pt x="801" y="1284"/>
                </a:lnTo>
                <a:lnTo>
                  <a:pt x="803" y="1286"/>
                </a:lnTo>
                <a:lnTo>
                  <a:pt x="803" y="1288"/>
                </a:lnTo>
                <a:lnTo>
                  <a:pt x="803" y="1290"/>
                </a:lnTo>
                <a:lnTo>
                  <a:pt x="801" y="1290"/>
                </a:lnTo>
                <a:lnTo>
                  <a:pt x="803" y="1290"/>
                </a:lnTo>
                <a:lnTo>
                  <a:pt x="803" y="1292"/>
                </a:lnTo>
                <a:lnTo>
                  <a:pt x="801" y="1292"/>
                </a:lnTo>
                <a:lnTo>
                  <a:pt x="801" y="1290"/>
                </a:lnTo>
                <a:lnTo>
                  <a:pt x="801" y="1288"/>
                </a:lnTo>
                <a:lnTo>
                  <a:pt x="799" y="1286"/>
                </a:lnTo>
                <a:lnTo>
                  <a:pt x="797" y="1286"/>
                </a:lnTo>
                <a:lnTo>
                  <a:pt x="797" y="1284"/>
                </a:lnTo>
                <a:lnTo>
                  <a:pt x="795" y="1284"/>
                </a:lnTo>
                <a:lnTo>
                  <a:pt x="795" y="1282"/>
                </a:lnTo>
                <a:lnTo>
                  <a:pt x="793" y="1281"/>
                </a:lnTo>
                <a:lnTo>
                  <a:pt x="795" y="1281"/>
                </a:lnTo>
                <a:lnTo>
                  <a:pt x="793" y="1281"/>
                </a:lnTo>
                <a:lnTo>
                  <a:pt x="793" y="1279"/>
                </a:lnTo>
                <a:lnTo>
                  <a:pt x="795" y="1279"/>
                </a:lnTo>
                <a:lnTo>
                  <a:pt x="797" y="1279"/>
                </a:lnTo>
                <a:lnTo>
                  <a:pt x="797" y="1281"/>
                </a:lnTo>
                <a:lnTo>
                  <a:pt x="799" y="1279"/>
                </a:lnTo>
                <a:lnTo>
                  <a:pt x="799" y="1281"/>
                </a:lnTo>
                <a:close/>
                <a:moveTo>
                  <a:pt x="1532" y="2093"/>
                </a:moveTo>
                <a:lnTo>
                  <a:pt x="1532" y="2095"/>
                </a:lnTo>
                <a:lnTo>
                  <a:pt x="1531" y="2095"/>
                </a:lnTo>
                <a:lnTo>
                  <a:pt x="1531" y="2096"/>
                </a:lnTo>
                <a:lnTo>
                  <a:pt x="1531" y="2095"/>
                </a:lnTo>
                <a:lnTo>
                  <a:pt x="1529" y="2095"/>
                </a:lnTo>
                <a:lnTo>
                  <a:pt x="1529" y="2096"/>
                </a:lnTo>
                <a:lnTo>
                  <a:pt x="1529" y="2098"/>
                </a:lnTo>
                <a:lnTo>
                  <a:pt x="1527" y="2096"/>
                </a:lnTo>
                <a:lnTo>
                  <a:pt x="1527" y="2095"/>
                </a:lnTo>
                <a:lnTo>
                  <a:pt x="1527" y="2093"/>
                </a:lnTo>
                <a:lnTo>
                  <a:pt x="1529" y="2093"/>
                </a:lnTo>
                <a:lnTo>
                  <a:pt x="1529" y="2091"/>
                </a:lnTo>
                <a:lnTo>
                  <a:pt x="1531" y="2091"/>
                </a:lnTo>
                <a:lnTo>
                  <a:pt x="1531" y="2093"/>
                </a:lnTo>
                <a:lnTo>
                  <a:pt x="1531" y="2091"/>
                </a:lnTo>
                <a:lnTo>
                  <a:pt x="1531" y="2093"/>
                </a:lnTo>
                <a:lnTo>
                  <a:pt x="1532" y="2093"/>
                </a:lnTo>
                <a:close/>
                <a:moveTo>
                  <a:pt x="1531" y="2091"/>
                </a:moveTo>
                <a:lnTo>
                  <a:pt x="1529" y="2091"/>
                </a:lnTo>
                <a:lnTo>
                  <a:pt x="1531" y="2091"/>
                </a:lnTo>
                <a:close/>
                <a:moveTo>
                  <a:pt x="866" y="1384"/>
                </a:moveTo>
                <a:lnTo>
                  <a:pt x="866" y="1386"/>
                </a:lnTo>
                <a:lnTo>
                  <a:pt x="868" y="1386"/>
                </a:lnTo>
                <a:lnTo>
                  <a:pt x="868" y="1388"/>
                </a:lnTo>
                <a:lnTo>
                  <a:pt x="868" y="1390"/>
                </a:lnTo>
                <a:lnTo>
                  <a:pt x="868" y="1388"/>
                </a:lnTo>
                <a:lnTo>
                  <a:pt x="866" y="1388"/>
                </a:lnTo>
                <a:lnTo>
                  <a:pt x="866" y="1390"/>
                </a:lnTo>
                <a:lnTo>
                  <a:pt x="866" y="1388"/>
                </a:lnTo>
                <a:lnTo>
                  <a:pt x="868" y="1388"/>
                </a:lnTo>
                <a:lnTo>
                  <a:pt x="866" y="1390"/>
                </a:lnTo>
                <a:lnTo>
                  <a:pt x="864" y="1390"/>
                </a:lnTo>
                <a:lnTo>
                  <a:pt x="862" y="1390"/>
                </a:lnTo>
                <a:lnTo>
                  <a:pt x="862" y="1388"/>
                </a:lnTo>
                <a:lnTo>
                  <a:pt x="864" y="1388"/>
                </a:lnTo>
                <a:lnTo>
                  <a:pt x="864" y="1390"/>
                </a:lnTo>
                <a:lnTo>
                  <a:pt x="866" y="1390"/>
                </a:lnTo>
                <a:lnTo>
                  <a:pt x="864" y="1388"/>
                </a:lnTo>
                <a:lnTo>
                  <a:pt x="864" y="1390"/>
                </a:lnTo>
                <a:lnTo>
                  <a:pt x="866" y="1390"/>
                </a:lnTo>
                <a:lnTo>
                  <a:pt x="864" y="1390"/>
                </a:lnTo>
                <a:lnTo>
                  <a:pt x="864" y="1388"/>
                </a:lnTo>
                <a:lnTo>
                  <a:pt x="866" y="1390"/>
                </a:lnTo>
                <a:lnTo>
                  <a:pt x="866" y="1388"/>
                </a:lnTo>
                <a:lnTo>
                  <a:pt x="864" y="1388"/>
                </a:lnTo>
                <a:lnTo>
                  <a:pt x="866" y="1388"/>
                </a:lnTo>
                <a:lnTo>
                  <a:pt x="866" y="1386"/>
                </a:lnTo>
                <a:lnTo>
                  <a:pt x="868" y="1386"/>
                </a:lnTo>
                <a:lnTo>
                  <a:pt x="866" y="1386"/>
                </a:lnTo>
                <a:lnTo>
                  <a:pt x="866" y="1384"/>
                </a:lnTo>
                <a:lnTo>
                  <a:pt x="866" y="1382"/>
                </a:lnTo>
                <a:lnTo>
                  <a:pt x="864" y="1384"/>
                </a:lnTo>
                <a:lnTo>
                  <a:pt x="862" y="1384"/>
                </a:lnTo>
                <a:lnTo>
                  <a:pt x="862" y="1386"/>
                </a:lnTo>
                <a:lnTo>
                  <a:pt x="860" y="1386"/>
                </a:lnTo>
                <a:lnTo>
                  <a:pt x="862" y="1386"/>
                </a:lnTo>
                <a:lnTo>
                  <a:pt x="862" y="1388"/>
                </a:lnTo>
                <a:lnTo>
                  <a:pt x="860" y="1388"/>
                </a:lnTo>
                <a:lnTo>
                  <a:pt x="862" y="1388"/>
                </a:lnTo>
                <a:lnTo>
                  <a:pt x="862" y="1386"/>
                </a:lnTo>
                <a:lnTo>
                  <a:pt x="860" y="1388"/>
                </a:lnTo>
                <a:lnTo>
                  <a:pt x="862" y="1388"/>
                </a:lnTo>
                <a:lnTo>
                  <a:pt x="860" y="1388"/>
                </a:lnTo>
                <a:lnTo>
                  <a:pt x="858" y="1388"/>
                </a:lnTo>
                <a:lnTo>
                  <a:pt x="857" y="1386"/>
                </a:lnTo>
                <a:lnTo>
                  <a:pt x="855" y="1386"/>
                </a:lnTo>
                <a:lnTo>
                  <a:pt x="855" y="1384"/>
                </a:lnTo>
                <a:lnTo>
                  <a:pt x="853" y="1384"/>
                </a:lnTo>
                <a:lnTo>
                  <a:pt x="851" y="1384"/>
                </a:lnTo>
                <a:lnTo>
                  <a:pt x="849" y="1384"/>
                </a:lnTo>
                <a:lnTo>
                  <a:pt x="847" y="1384"/>
                </a:lnTo>
                <a:lnTo>
                  <a:pt x="847" y="1382"/>
                </a:lnTo>
                <a:lnTo>
                  <a:pt x="847" y="1380"/>
                </a:lnTo>
                <a:lnTo>
                  <a:pt x="849" y="1380"/>
                </a:lnTo>
                <a:lnTo>
                  <a:pt x="851" y="1380"/>
                </a:lnTo>
                <a:lnTo>
                  <a:pt x="853" y="1380"/>
                </a:lnTo>
                <a:lnTo>
                  <a:pt x="855" y="1380"/>
                </a:lnTo>
                <a:lnTo>
                  <a:pt x="857" y="1380"/>
                </a:lnTo>
                <a:lnTo>
                  <a:pt x="858" y="1380"/>
                </a:lnTo>
                <a:lnTo>
                  <a:pt x="858" y="1382"/>
                </a:lnTo>
                <a:lnTo>
                  <a:pt x="860" y="1382"/>
                </a:lnTo>
                <a:lnTo>
                  <a:pt x="862" y="1382"/>
                </a:lnTo>
                <a:lnTo>
                  <a:pt x="864" y="1382"/>
                </a:lnTo>
                <a:lnTo>
                  <a:pt x="866" y="1382"/>
                </a:lnTo>
                <a:lnTo>
                  <a:pt x="866" y="1384"/>
                </a:lnTo>
                <a:close/>
                <a:moveTo>
                  <a:pt x="1554" y="2108"/>
                </a:moveTo>
                <a:lnTo>
                  <a:pt x="1552" y="2108"/>
                </a:lnTo>
                <a:lnTo>
                  <a:pt x="1552" y="2110"/>
                </a:lnTo>
                <a:lnTo>
                  <a:pt x="1552" y="2108"/>
                </a:lnTo>
                <a:lnTo>
                  <a:pt x="1552" y="2106"/>
                </a:lnTo>
                <a:lnTo>
                  <a:pt x="1554" y="2108"/>
                </a:lnTo>
                <a:lnTo>
                  <a:pt x="1554" y="2106"/>
                </a:lnTo>
                <a:lnTo>
                  <a:pt x="1554" y="2108"/>
                </a:lnTo>
                <a:close/>
                <a:moveTo>
                  <a:pt x="878" y="1400"/>
                </a:moveTo>
                <a:lnTo>
                  <a:pt x="876" y="1400"/>
                </a:lnTo>
                <a:lnTo>
                  <a:pt x="876" y="1401"/>
                </a:lnTo>
                <a:lnTo>
                  <a:pt x="876" y="1403"/>
                </a:lnTo>
                <a:lnTo>
                  <a:pt x="874" y="1403"/>
                </a:lnTo>
                <a:lnTo>
                  <a:pt x="876" y="1403"/>
                </a:lnTo>
                <a:lnTo>
                  <a:pt x="876" y="1401"/>
                </a:lnTo>
                <a:lnTo>
                  <a:pt x="874" y="1401"/>
                </a:lnTo>
                <a:lnTo>
                  <a:pt x="874" y="1403"/>
                </a:lnTo>
                <a:lnTo>
                  <a:pt x="872" y="1403"/>
                </a:lnTo>
                <a:lnTo>
                  <a:pt x="872" y="1401"/>
                </a:lnTo>
                <a:lnTo>
                  <a:pt x="872" y="1403"/>
                </a:lnTo>
                <a:lnTo>
                  <a:pt x="872" y="1401"/>
                </a:lnTo>
                <a:lnTo>
                  <a:pt x="870" y="1401"/>
                </a:lnTo>
                <a:lnTo>
                  <a:pt x="868" y="1401"/>
                </a:lnTo>
                <a:lnTo>
                  <a:pt x="870" y="1401"/>
                </a:lnTo>
                <a:lnTo>
                  <a:pt x="868" y="1401"/>
                </a:lnTo>
                <a:lnTo>
                  <a:pt x="868" y="1400"/>
                </a:lnTo>
                <a:lnTo>
                  <a:pt x="866" y="1400"/>
                </a:lnTo>
                <a:lnTo>
                  <a:pt x="866" y="1398"/>
                </a:lnTo>
                <a:lnTo>
                  <a:pt x="864" y="1398"/>
                </a:lnTo>
                <a:lnTo>
                  <a:pt x="864" y="1396"/>
                </a:lnTo>
                <a:lnTo>
                  <a:pt x="864" y="1394"/>
                </a:lnTo>
                <a:lnTo>
                  <a:pt x="866" y="1394"/>
                </a:lnTo>
                <a:lnTo>
                  <a:pt x="866" y="1392"/>
                </a:lnTo>
                <a:lnTo>
                  <a:pt x="866" y="1394"/>
                </a:lnTo>
                <a:lnTo>
                  <a:pt x="866" y="1392"/>
                </a:lnTo>
                <a:lnTo>
                  <a:pt x="866" y="1394"/>
                </a:lnTo>
                <a:lnTo>
                  <a:pt x="866" y="1392"/>
                </a:lnTo>
                <a:lnTo>
                  <a:pt x="866" y="1394"/>
                </a:lnTo>
                <a:lnTo>
                  <a:pt x="866" y="1392"/>
                </a:lnTo>
                <a:lnTo>
                  <a:pt x="868" y="1392"/>
                </a:lnTo>
                <a:lnTo>
                  <a:pt x="870" y="1392"/>
                </a:lnTo>
                <a:lnTo>
                  <a:pt x="872" y="1392"/>
                </a:lnTo>
                <a:lnTo>
                  <a:pt x="872" y="1394"/>
                </a:lnTo>
                <a:lnTo>
                  <a:pt x="874" y="1394"/>
                </a:lnTo>
                <a:lnTo>
                  <a:pt x="874" y="1396"/>
                </a:lnTo>
                <a:lnTo>
                  <a:pt x="876" y="1396"/>
                </a:lnTo>
                <a:lnTo>
                  <a:pt x="876" y="1398"/>
                </a:lnTo>
                <a:lnTo>
                  <a:pt x="878" y="1398"/>
                </a:lnTo>
                <a:lnTo>
                  <a:pt x="878" y="1400"/>
                </a:lnTo>
                <a:close/>
                <a:moveTo>
                  <a:pt x="870" y="1401"/>
                </a:moveTo>
                <a:lnTo>
                  <a:pt x="872" y="1401"/>
                </a:lnTo>
                <a:lnTo>
                  <a:pt x="870" y="1401"/>
                </a:lnTo>
                <a:close/>
                <a:moveTo>
                  <a:pt x="557" y="768"/>
                </a:moveTo>
                <a:lnTo>
                  <a:pt x="557" y="770"/>
                </a:lnTo>
                <a:lnTo>
                  <a:pt x="559" y="770"/>
                </a:lnTo>
                <a:lnTo>
                  <a:pt x="559" y="772"/>
                </a:lnTo>
                <a:lnTo>
                  <a:pt x="559" y="774"/>
                </a:lnTo>
                <a:lnTo>
                  <a:pt x="559" y="776"/>
                </a:lnTo>
                <a:lnTo>
                  <a:pt x="561" y="776"/>
                </a:lnTo>
                <a:lnTo>
                  <a:pt x="561" y="778"/>
                </a:lnTo>
                <a:lnTo>
                  <a:pt x="561" y="779"/>
                </a:lnTo>
                <a:lnTo>
                  <a:pt x="559" y="779"/>
                </a:lnTo>
                <a:lnTo>
                  <a:pt x="557" y="779"/>
                </a:lnTo>
                <a:lnTo>
                  <a:pt x="557" y="778"/>
                </a:lnTo>
                <a:lnTo>
                  <a:pt x="555" y="778"/>
                </a:lnTo>
                <a:lnTo>
                  <a:pt x="553" y="778"/>
                </a:lnTo>
                <a:lnTo>
                  <a:pt x="553" y="776"/>
                </a:lnTo>
                <a:lnTo>
                  <a:pt x="553" y="774"/>
                </a:lnTo>
                <a:lnTo>
                  <a:pt x="553" y="772"/>
                </a:lnTo>
                <a:lnTo>
                  <a:pt x="555" y="772"/>
                </a:lnTo>
                <a:lnTo>
                  <a:pt x="555" y="770"/>
                </a:lnTo>
                <a:lnTo>
                  <a:pt x="555" y="768"/>
                </a:lnTo>
                <a:lnTo>
                  <a:pt x="555" y="766"/>
                </a:lnTo>
                <a:lnTo>
                  <a:pt x="557" y="766"/>
                </a:lnTo>
                <a:lnTo>
                  <a:pt x="557" y="768"/>
                </a:lnTo>
                <a:close/>
                <a:moveTo>
                  <a:pt x="1556" y="2110"/>
                </a:moveTo>
                <a:lnTo>
                  <a:pt x="1556" y="2108"/>
                </a:lnTo>
                <a:lnTo>
                  <a:pt x="1557" y="2108"/>
                </a:lnTo>
                <a:lnTo>
                  <a:pt x="1556" y="2110"/>
                </a:lnTo>
                <a:close/>
                <a:moveTo>
                  <a:pt x="1490" y="2056"/>
                </a:moveTo>
                <a:lnTo>
                  <a:pt x="1490" y="2058"/>
                </a:lnTo>
                <a:lnTo>
                  <a:pt x="1490" y="2056"/>
                </a:lnTo>
                <a:close/>
                <a:moveTo>
                  <a:pt x="1556" y="2110"/>
                </a:moveTo>
                <a:lnTo>
                  <a:pt x="1557" y="2110"/>
                </a:lnTo>
                <a:lnTo>
                  <a:pt x="1557" y="2108"/>
                </a:lnTo>
                <a:lnTo>
                  <a:pt x="1557" y="2110"/>
                </a:lnTo>
                <a:lnTo>
                  <a:pt x="1556" y="2110"/>
                </a:lnTo>
                <a:close/>
                <a:moveTo>
                  <a:pt x="1486" y="2054"/>
                </a:moveTo>
                <a:lnTo>
                  <a:pt x="1486" y="2052"/>
                </a:lnTo>
                <a:lnTo>
                  <a:pt x="1486" y="2054"/>
                </a:lnTo>
                <a:close/>
                <a:moveTo>
                  <a:pt x="1557" y="2108"/>
                </a:moveTo>
                <a:lnTo>
                  <a:pt x="1559" y="2108"/>
                </a:lnTo>
                <a:lnTo>
                  <a:pt x="1557" y="2108"/>
                </a:lnTo>
                <a:close/>
                <a:moveTo>
                  <a:pt x="799" y="1271"/>
                </a:moveTo>
                <a:lnTo>
                  <a:pt x="799" y="1269"/>
                </a:lnTo>
                <a:lnTo>
                  <a:pt x="799" y="1271"/>
                </a:lnTo>
                <a:close/>
                <a:moveTo>
                  <a:pt x="1559" y="2108"/>
                </a:moveTo>
                <a:lnTo>
                  <a:pt x="1561" y="2108"/>
                </a:lnTo>
                <a:lnTo>
                  <a:pt x="1559" y="2108"/>
                </a:lnTo>
                <a:close/>
                <a:moveTo>
                  <a:pt x="1529" y="2083"/>
                </a:moveTo>
                <a:lnTo>
                  <a:pt x="1529" y="2081"/>
                </a:lnTo>
                <a:lnTo>
                  <a:pt x="1529" y="2083"/>
                </a:lnTo>
                <a:close/>
                <a:moveTo>
                  <a:pt x="1531" y="2083"/>
                </a:moveTo>
                <a:lnTo>
                  <a:pt x="1529" y="2083"/>
                </a:lnTo>
                <a:lnTo>
                  <a:pt x="1529" y="2081"/>
                </a:lnTo>
                <a:lnTo>
                  <a:pt x="1529" y="2083"/>
                </a:lnTo>
                <a:lnTo>
                  <a:pt x="1531" y="2083"/>
                </a:lnTo>
                <a:close/>
                <a:moveTo>
                  <a:pt x="1552" y="2098"/>
                </a:moveTo>
                <a:lnTo>
                  <a:pt x="1552" y="2100"/>
                </a:lnTo>
                <a:lnTo>
                  <a:pt x="1552" y="2098"/>
                </a:lnTo>
                <a:lnTo>
                  <a:pt x="1552" y="2100"/>
                </a:lnTo>
                <a:lnTo>
                  <a:pt x="1552" y="2098"/>
                </a:lnTo>
                <a:close/>
                <a:moveTo>
                  <a:pt x="1509" y="2068"/>
                </a:moveTo>
                <a:lnTo>
                  <a:pt x="1509" y="2066"/>
                </a:lnTo>
                <a:lnTo>
                  <a:pt x="1509" y="2068"/>
                </a:lnTo>
                <a:close/>
                <a:moveTo>
                  <a:pt x="1550" y="2098"/>
                </a:moveTo>
                <a:lnTo>
                  <a:pt x="1552" y="2098"/>
                </a:lnTo>
                <a:lnTo>
                  <a:pt x="1552" y="2096"/>
                </a:lnTo>
                <a:lnTo>
                  <a:pt x="1552" y="2098"/>
                </a:lnTo>
                <a:lnTo>
                  <a:pt x="1550" y="2098"/>
                </a:lnTo>
                <a:close/>
                <a:moveTo>
                  <a:pt x="1554" y="2100"/>
                </a:moveTo>
                <a:lnTo>
                  <a:pt x="1556" y="2100"/>
                </a:lnTo>
                <a:lnTo>
                  <a:pt x="1556" y="2102"/>
                </a:lnTo>
                <a:lnTo>
                  <a:pt x="1556" y="2104"/>
                </a:lnTo>
                <a:lnTo>
                  <a:pt x="1557" y="2104"/>
                </a:lnTo>
                <a:lnTo>
                  <a:pt x="1559" y="2104"/>
                </a:lnTo>
                <a:lnTo>
                  <a:pt x="1559" y="2106"/>
                </a:lnTo>
                <a:lnTo>
                  <a:pt x="1561" y="2106"/>
                </a:lnTo>
                <a:lnTo>
                  <a:pt x="1559" y="2106"/>
                </a:lnTo>
                <a:lnTo>
                  <a:pt x="1557" y="2106"/>
                </a:lnTo>
                <a:lnTo>
                  <a:pt x="1556" y="2106"/>
                </a:lnTo>
                <a:lnTo>
                  <a:pt x="1554" y="2106"/>
                </a:lnTo>
                <a:lnTo>
                  <a:pt x="1552" y="2106"/>
                </a:lnTo>
                <a:lnTo>
                  <a:pt x="1552" y="2104"/>
                </a:lnTo>
                <a:lnTo>
                  <a:pt x="1550" y="2104"/>
                </a:lnTo>
                <a:lnTo>
                  <a:pt x="1552" y="2104"/>
                </a:lnTo>
                <a:lnTo>
                  <a:pt x="1550" y="2104"/>
                </a:lnTo>
                <a:lnTo>
                  <a:pt x="1552" y="2102"/>
                </a:lnTo>
                <a:lnTo>
                  <a:pt x="1552" y="2104"/>
                </a:lnTo>
                <a:lnTo>
                  <a:pt x="1554" y="2104"/>
                </a:lnTo>
                <a:lnTo>
                  <a:pt x="1554" y="2102"/>
                </a:lnTo>
                <a:lnTo>
                  <a:pt x="1556" y="2102"/>
                </a:lnTo>
                <a:lnTo>
                  <a:pt x="1554" y="2102"/>
                </a:lnTo>
                <a:lnTo>
                  <a:pt x="1554" y="2104"/>
                </a:lnTo>
                <a:lnTo>
                  <a:pt x="1552" y="2104"/>
                </a:lnTo>
                <a:lnTo>
                  <a:pt x="1552" y="2102"/>
                </a:lnTo>
                <a:lnTo>
                  <a:pt x="1550" y="2102"/>
                </a:lnTo>
                <a:lnTo>
                  <a:pt x="1550" y="2100"/>
                </a:lnTo>
                <a:lnTo>
                  <a:pt x="1552" y="2100"/>
                </a:lnTo>
                <a:lnTo>
                  <a:pt x="1554" y="2100"/>
                </a:lnTo>
                <a:lnTo>
                  <a:pt x="1554" y="2098"/>
                </a:lnTo>
                <a:lnTo>
                  <a:pt x="1554" y="2100"/>
                </a:lnTo>
                <a:close/>
                <a:moveTo>
                  <a:pt x="755" y="1190"/>
                </a:moveTo>
                <a:lnTo>
                  <a:pt x="757" y="1190"/>
                </a:lnTo>
                <a:lnTo>
                  <a:pt x="757" y="1192"/>
                </a:lnTo>
                <a:lnTo>
                  <a:pt x="759" y="1192"/>
                </a:lnTo>
                <a:lnTo>
                  <a:pt x="757" y="1192"/>
                </a:lnTo>
                <a:lnTo>
                  <a:pt x="755" y="1190"/>
                </a:lnTo>
                <a:close/>
                <a:moveTo>
                  <a:pt x="1559" y="2108"/>
                </a:moveTo>
                <a:lnTo>
                  <a:pt x="1559" y="2106"/>
                </a:lnTo>
                <a:lnTo>
                  <a:pt x="1561" y="2106"/>
                </a:lnTo>
                <a:lnTo>
                  <a:pt x="1563" y="2106"/>
                </a:lnTo>
                <a:lnTo>
                  <a:pt x="1561" y="2106"/>
                </a:lnTo>
                <a:lnTo>
                  <a:pt x="1559" y="2106"/>
                </a:lnTo>
                <a:lnTo>
                  <a:pt x="1559" y="2108"/>
                </a:lnTo>
                <a:close/>
                <a:moveTo>
                  <a:pt x="881" y="1394"/>
                </a:moveTo>
                <a:lnTo>
                  <a:pt x="880" y="1394"/>
                </a:lnTo>
                <a:lnTo>
                  <a:pt x="881" y="1394"/>
                </a:lnTo>
                <a:close/>
                <a:moveTo>
                  <a:pt x="759" y="1192"/>
                </a:moveTo>
                <a:lnTo>
                  <a:pt x="761" y="1192"/>
                </a:lnTo>
                <a:lnTo>
                  <a:pt x="761" y="1194"/>
                </a:lnTo>
                <a:lnTo>
                  <a:pt x="759" y="1194"/>
                </a:lnTo>
                <a:lnTo>
                  <a:pt x="759" y="1192"/>
                </a:lnTo>
                <a:close/>
                <a:moveTo>
                  <a:pt x="1506" y="2058"/>
                </a:moveTo>
                <a:lnTo>
                  <a:pt x="1506" y="2060"/>
                </a:lnTo>
                <a:lnTo>
                  <a:pt x="1506" y="2058"/>
                </a:lnTo>
                <a:lnTo>
                  <a:pt x="1504" y="2058"/>
                </a:lnTo>
                <a:lnTo>
                  <a:pt x="1506" y="2058"/>
                </a:lnTo>
                <a:close/>
                <a:moveTo>
                  <a:pt x="885" y="1396"/>
                </a:moveTo>
                <a:lnTo>
                  <a:pt x="885" y="1398"/>
                </a:lnTo>
                <a:lnTo>
                  <a:pt x="887" y="1398"/>
                </a:lnTo>
                <a:lnTo>
                  <a:pt x="885" y="1398"/>
                </a:lnTo>
                <a:lnTo>
                  <a:pt x="883" y="1398"/>
                </a:lnTo>
                <a:lnTo>
                  <a:pt x="883" y="1396"/>
                </a:lnTo>
                <a:lnTo>
                  <a:pt x="881" y="1394"/>
                </a:lnTo>
                <a:lnTo>
                  <a:pt x="883" y="1394"/>
                </a:lnTo>
                <a:lnTo>
                  <a:pt x="881" y="1394"/>
                </a:lnTo>
                <a:lnTo>
                  <a:pt x="883" y="1394"/>
                </a:lnTo>
                <a:lnTo>
                  <a:pt x="883" y="1396"/>
                </a:lnTo>
                <a:lnTo>
                  <a:pt x="885" y="1396"/>
                </a:lnTo>
                <a:lnTo>
                  <a:pt x="887" y="1396"/>
                </a:lnTo>
                <a:lnTo>
                  <a:pt x="885" y="1396"/>
                </a:lnTo>
                <a:close/>
                <a:moveTo>
                  <a:pt x="1456" y="2020"/>
                </a:moveTo>
                <a:lnTo>
                  <a:pt x="1458" y="2020"/>
                </a:lnTo>
                <a:lnTo>
                  <a:pt x="1458" y="2018"/>
                </a:lnTo>
                <a:lnTo>
                  <a:pt x="1458" y="2020"/>
                </a:lnTo>
                <a:lnTo>
                  <a:pt x="1456" y="2020"/>
                </a:lnTo>
                <a:close/>
                <a:moveTo>
                  <a:pt x="891" y="1401"/>
                </a:moveTo>
                <a:lnTo>
                  <a:pt x="889" y="1401"/>
                </a:lnTo>
                <a:lnTo>
                  <a:pt x="891" y="1401"/>
                </a:lnTo>
                <a:close/>
                <a:moveTo>
                  <a:pt x="1459" y="2022"/>
                </a:moveTo>
                <a:lnTo>
                  <a:pt x="1458" y="2024"/>
                </a:lnTo>
                <a:lnTo>
                  <a:pt x="1458" y="2022"/>
                </a:lnTo>
                <a:lnTo>
                  <a:pt x="1458" y="2024"/>
                </a:lnTo>
                <a:lnTo>
                  <a:pt x="1458" y="2022"/>
                </a:lnTo>
                <a:lnTo>
                  <a:pt x="1456" y="2022"/>
                </a:lnTo>
                <a:lnTo>
                  <a:pt x="1458" y="2022"/>
                </a:lnTo>
                <a:lnTo>
                  <a:pt x="1456" y="2022"/>
                </a:lnTo>
                <a:lnTo>
                  <a:pt x="1458" y="2022"/>
                </a:lnTo>
                <a:lnTo>
                  <a:pt x="1458" y="2020"/>
                </a:lnTo>
                <a:lnTo>
                  <a:pt x="1459" y="2020"/>
                </a:lnTo>
                <a:lnTo>
                  <a:pt x="1459" y="2022"/>
                </a:lnTo>
                <a:close/>
                <a:moveTo>
                  <a:pt x="1458" y="2020"/>
                </a:moveTo>
                <a:lnTo>
                  <a:pt x="1456" y="2020"/>
                </a:lnTo>
                <a:lnTo>
                  <a:pt x="1458" y="2020"/>
                </a:lnTo>
                <a:lnTo>
                  <a:pt x="1458" y="2018"/>
                </a:lnTo>
                <a:lnTo>
                  <a:pt x="1458" y="2020"/>
                </a:lnTo>
                <a:close/>
                <a:moveTo>
                  <a:pt x="1513" y="2062"/>
                </a:moveTo>
                <a:lnTo>
                  <a:pt x="1513" y="2064"/>
                </a:lnTo>
                <a:lnTo>
                  <a:pt x="1513" y="2062"/>
                </a:lnTo>
                <a:lnTo>
                  <a:pt x="1513" y="2064"/>
                </a:lnTo>
                <a:lnTo>
                  <a:pt x="1511" y="2064"/>
                </a:lnTo>
                <a:lnTo>
                  <a:pt x="1511" y="2062"/>
                </a:lnTo>
                <a:lnTo>
                  <a:pt x="1513" y="2062"/>
                </a:lnTo>
                <a:lnTo>
                  <a:pt x="1513" y="2064"/>
                </a:lnTo>
                <a:lnTo>
                  <a:pt x="1513" y="2062"/>
                </a:lnTo>
                <a:close/>
                <a:moveTo>
                  <a:pt x="893" y="1401"/>
                </a:moveTo>
                <a:lnTo>
                  <a:pt x="891" y="1401"/>
                </a:lnTo>
                <a:lnTo>
                  <a:pt x="893" y="1401"/>
                </a:lnTo>
                <a:lnTo>
                  <a:pt x="891" y="1401"/>
                </a:lnTo>
                <a:lnTo>
                  <a:pt x="893" y="1401"/>
                </a:lnTo>
                <a:close/>
                <a:moveTo>
                  <a:pt x="1465" y="2025"/>
                </a:moveTo>
                <a:lnTo>
                  <a:pt x="1467" y="2025"/>
                </a:lnTo>
                <a:lnTo>
                  <a:pt x="1465" y="2025"/>
                </a:lnTo>
                <a:close/>
                <a:moveTo>
                  <a:pt x="1458" y="2018"/>
                </a:moveTo>
                <a:lnTo>
                  <a:pt x="1456" y="2018"/>
                </a:lnTo>
                <a:lnTo>
                  <a:pt x="1458" y="2018"/>
                </a:lnTo>
                <a:lnTo>
                  <a:pt x="1459" y="2018"/>
                </a:lnTo>
                <a:lnTo>
                  <a:pt x="1458" y="2018"/>
                </a:lnTo>
                <a:close/>
                <a:moveTo>
                  <a:pt x="822" y="1286"/>
                </a:moveTo>
                <a:lnTo>
                  <a:pt x="822" y="1284"/>
                </a:lnTo>
                <a:lnTo>
                  <a:pt x="822" y="1286"/>
                </a:lnTo>
                <a:close/>
                <a:moveTo>
                  <a:pt x="1513" y="2056"/>
                </a:moveTo>
                <a:lnTo>
                  <a:pt x="1511" y="2056"/>
                </a:lnTo>
                <a:lnTo>
                  <a:pt x="1513" y="2056"/>
                </a:lnTo>
                <a:lnTo>
                  <a:pt x="1511" y="2056"/>
                </a:lnTo>
                <a:lnTo>
                  <a:pt x="1513" y="2056"/>
                </a:lnTo>
                <a:close/>
                <a:moveTo>
                  <a:pt x="1458" y="2014"/>
                </a:moveTo>
                <a:lnTo>
                  <a:pt x="1458" y="2012"/>
                </a:lnTo>
                <a:lnTo>
                  <a:pt x="1458" y="2014"/>
                </a:lnTo>
                <a:close/>
                <a:moveTo>
                  <a:pt x="1517" y="2058"/>
                </a:moveTo>
                <a:lnTo>
                  <a:pt x="1515" y="2058"/>
                </a:lnTo>
                <a:lnTo>
                  <a:pt x="1517" y="2058"/>
                </a:lnTo>
                <a:lnTo>
                  <a:pt x="1515" y="2060"/>
                </a:lnTo>
                <a:lnTo>
                  <a:pt x="1515" y="2058"/>
                </a:lnTo>
                <a:lnTo>
                  <a:pt x="1515" y="2060"/>
                </a:lnTo>
                <a:lnTo>
                  <a:pt x="1515" y="2058"/>
                </a:lnTo>
                <a:lnTo>
                  <a:pt x="1517" y="2058"/>
                </a:lnTo>
                <a:close/>
                <a:moveTo>
                  <a:pt x="1456" y="2012"/>
                </a:moveTo>
                <a:lnTo>
                  <a:pt x="1458" y="2012"/>
                </a:lnTo>
                <a:lnTo>
                  <a:pt x="1456" y="2012"/>
                </a:lnTo>
                <a:close/>
                <a:moveTo>
                  <a:pt x="1463" y="2020"/>
                </a:moveTo>
                <a:lnTo>
                  <a:pt x="1461" y="2020"/>
                </a:lnTo>
                <a:lnTo>
                  <a:pt x="1459" y="2020"/>
                </a:lnTo>
                <a:lnTo>
                  <a:pt x="1458" y="2020"/>
                </a:lnTo>
                <a:lnTo>
                  <a:pt x="1459" y="2020"/>
                </a:lnTo>
                <a:lnTo>
                  <a:pt x="1459" y="2018"/>
                </a:lnTo>
                <a:lnTo>
                  <a:pt x="1459" y="2020"/>
                </a:lnTo>
                <a:lnTo>
                  <a:pt x="1459" y="2018"/>
                </a:lnTo>
                <a:lnTo>
                  <a:pt x="1461" y="2018"/>
                </a:lnTo>
                <a:lnTo>
                  <a:pt x="1459" y="2018"/>
                </a:lnTo>
                <a:lnTo>
                  <a:pt x="1459" y="2016"/>
                </a:lnTo>
                <a:lnTo>
                  <a:pt x="1461" y="2018"/>
                </a:lnTo>
                <a:lnTo>
                  <a:pt x="1463" y="2018"/>
                </a:lnTo>
                <a:lnTo>
                  <a:pt x="1465" y="2018"/>
                </a:lnTo>
                <a:lnTo>
                  <a:pt x="1463" y="2018"/>
                </a:lnTo>
                <a:lnTo>
                  <a:pt x="1463" y="2020"/>
                </a:lnTo>
                <a:close/>
                <a:moveTo>
                  <a:pt x="1546" y="2079"/>
                </a:moveTo>
                <a:lnTo>
                  <a:pt x="1546" y="2081"/>
                </a:lnTo>
                <a:lnTo>
                  <a:pt x="1546" y="2083"/>
                </a:lnTo>
                <a:lnTo>
                  <a:pt x="1548" y="2083"/>
                </a:lnTo>
                <a:lnTo>
                  <a:pt x="1548" y="2085"/>
                </a:lnTo>
                <a:lnTo>
                  <a:pt x="1548" y="2087"/>
                </a:lnTo>
                <a:lnTo>
                  <a:pt x="1548" y="2089"/>
                </a:lnTo>
                <a:lnTo>
                  <a:pt x="1548" y="2091"/>
                </a:lnTo>
                <a:lnTo>
                  <a:pt x="1548" y="2093"/>
                </a:lnTo>
                <a:lnTo>
                  <a:pt x="1548" y="2095"/>
                </a:lnTo>
                <a:lnTo>
                  <a:pt x="1548" y="2096"/>
                </a:lnTo>
                <a:lnTo>
                  <a:pt x="1550" y="2096"/>
                </a:lnTo>
                <a:lnTo>
                  <a:pt x="1548" y="2096"/>
                </a:lnTo>
                <a:lnTo>
                  <a:pt x="1548" y="2098"/>
                </a:lnTo>
                <a:lnTo>
                  <a:pt x="1548" y="2096"/>
                </a:lnTo>
                <a:lnTo>
                  <a:pt x="1550" y="2096"/>
                </a:lnTo>
                <a:lnTo>
                  <a:pt x="1550" y="2098"/>
                </a:lnTo>
                <a:lnTo>
                  <a:pt x="1548" y="2098"/>
                </a:lnTo>
                <a:lnTo>
                  <a:pt x="1548" y="2100"/>
                </a:lnTo>
                <a:lnTo>
                  <a:pt x="1548" y="2102"/>
                </a:lnTo>
                <a:lnTo>
                  <a:pt x="1548" y="2104"/>
                </a:lnTo>
                <a:lnTo>
                  <a:pt x="1548" y="2102"/>
                </a:lnTo>
                <a:lnTo>
                  <a:pt x="1550" y="2102"/>
                </a:lnTo>
                <a:lnTo>
                  <a:pt x="1550" y="2104"/>
                </a:lnTo>
                <a:lnTo>
                  <a:pt x="1548" y="2104"/>
                </a:lnTo>
                <a:lnTo>
                  <a:pt x="1546" y="2104"/>
                </a:lnTo>
                <a:lnTo>
                  <a:pt x="1546" y="2106"/>
                </a:lnTo>
                <a:lnTo>
                  <a:pt x="1546" y="2104"/>
                </a:lnTo>
                <a:lnTo>
                  <a:pt x="1544" y="2104"/>
                </a:lnTo>
                <a:lnTo>
                  <a:pt x="1542" y="2104"/>
                </a:lnTo>
                <a:lnTo>
                  <a:pt x="1540" y="2104"/>
                </a:lnTo>
                <a:lnTo>
                  <a:pt x="1538" y="2102"/>
                </a:lnTo>
                <a:lnTo>
                  <a:pt x="1540" y="2102"/>
                </a:lnTo>
                <a:lnTo>
                  <a:pt x="1540" y="2100"/>
                </a:lnTo>
                <a:lnTo>
                  <a:pt x="1540" y="2102"/>
                </a:lnTo>
                <a:lnTo>
                  <a:pt x="1540" y="2100"/>
                </a:lnTo>
                <a:lnTo>
                  <a:pt x="1538" y="2102"/>
                </a:lnTo>
                <a:lnTo>
                  <a:pt x="1538" y="2104"/>
                </a:lnTo>
                <a:lnTo>
                  <a:pt x="1536" y="2104"/>
                </a:lnTo>
                <a:lnTo>
                  <a:pt x="1534" y="2104"/>
                </a:lnTo>
                <a:lnTo>
                  <a:pt x="1534" y="2102"/>
                </a:lnTo>
                <a:lnTo>
                  <a:pt x="1532" y="2102"/>
                </a:lnTo>
                <a:lnTo>
                  <a:pt x="1532" y="2100"/>
                </a:lnTo>
                <a:lnTo>
                  <a:pt x="1531" y="2100"/>
                </a:lnTo>
                <a:lnTo>
                  <a:pt x="1531" y="2098"/>
                </a:lnTo>
                <a:lnTo>
                  <a:pt x="1529" y="2098"/>
                </a:lnTo>
                <a:lnTo>
                  <a:pt x="1531" y="2098"/>
                </a:lnTo>
                <a:lnTo>
                  <a:pt x="1531" y="2096"/>
                </a:lnTo>
                <a:lnTo>
                  <a:pt x="1532" y="2095"/>
                </a:lnTo>
                <a:lnTo>
                  <a:pt x="1532" y="2093"/>
                </a:lnTo>
                <a:lnTo>
                  <a:pt x="1534" y="2093"/>
                </a:lnTo>
                <a:lnTo>
                  <a:pt x="1534" y="2091"/>
                </a:lnTo>
                <a:lnTo>
                  <a:pt x="1536" y="2091"/>
                </a:lnTo>
                <a:lnTo>
                  <a:pt x="1536" y="2093"/>
                </a:lnTo>
                <a:lnTo>
                  <a:pt x="1536" y="2091"/>
                </a:lnTo>
                <a:lnTo>
                  <a:pt x="1536" y="2093"/>
                </a:lnTo>
                <a:lnTo>
                  <a:pt x="1538" y="2093"/>
                </a:lnTo>
                <a:lnTo>
                  <a:pt x="1538" y="2095"/>
                </a:lnTo>
                <a:lnTo>
                  <a:pt x="1538" y="2096"/>
                </a:lnTo>
                <a:lnTo>
                  <a:pt x="1540" y="2096"/>
                </a:lnTo>
                <a:lnTo>
                  <a:pt x="1538" y="2093"/>
                </a:lnTo>
                <a:lnTo>
                  <a:pt x="1538" y="2091"/>
                </a:lnTo>
                <a:lnTo>
                  <a:pt x="1538" y="2089"/>
                </a:lnTo>
                <a:lnTo>
                  <a:pt x="1538" y="2091"/>
                </a:lnTo>
                <a:lnTo>
                  <a:pt x="1538" y="2089"/>
                </a:lnTo>
                <a:lnTo>
                  <a:pt x="1538" y="2087"/>
                </a:lnTo>
                <a:lnTo>
                  <a:pt x="1540" y="2087"/>
                </a:lnTo>
                <a:lnTo>
                  <a:pt x="1540" y="2085"/>
                </a:lnTo>
                <a:lnTo>
                  <a:pt x="1542" y="2085"/>
                </a:lnTo>
                <a:lnTo>
                  <a:pt x="1542" y="2083"/>
                </a:lnTo>
                <a:lnTo>
                  <a:pt x="1542" y="2081"/>
                </a:lnTo>
                <a:lnTo>
                  <a:pt x="1542" y="2079"/>
                </a:lnTo>
                <a:lnTo>
                  <a:pt x="1544" y="2079"/>
                </a:lnTo>
                <a:lnTo>
                  <a:pt x="1546" y="2079"/>
                </a:lnTo>
                <a:close/>
                <a:moveTo>
                  <a:pt x="1458" y="2010"/>
                </a:moveTo>
                <a:lnTo>
                  <a:pt x="1459" y="2010"/>
                </a:lnTo>
                <a:lnTo>
                  <a:pt x="1458" y="2010"/>
                </a:lnTo>
                <a:lnTo>
                  <a:pt x="1458" y="2012"/>
                </a:lnTo>
                <a:lnTo>
                  <a:pt x="1458" y="2010"/>
                </a:lnTo>
                <a:lnTo>
                  <a:pt x="1458" y="2012"/>
                </a:lnTo>
                <a:lnTo>
                  <a:pt x="1458" y="2010"/>
                </a:lnTo>
                <a:close/>
                <a:moveTo>
                  <a:pt x="1546" y="2077"/>
                </a:moveTo>
                <a:lnTo>
                  <a:pt x="1544" y="2077"/>
                </a:lnTo>
                <a:lnTo>
                  <a:pt x="1544" y="2079"/>
                </a:lnTo>
                <a:lnTo>
                  <a:pt x="1544" y="2077"/>
                </a:lnTo>
                <a:lnTo>
                  <a:pt x="1546" y="2077"/>
                </a:lnTo>
                <a:close/>
                <a:moveTo>
                  <a:pt x="1456" y="2008"/>
                </a:moveTo>
                <a:lnTo>
                  <a:pt x="1456" y="2006"/>
                </a:lnTo>
                <a:lnTo>
                  <a:pt x="1456" y="2008"/>
                </a:lnTo>
                <a:close/>
                <a:moveTo>
                  <a:pt x="1456" y="2008"/>
                </a:moveTo>
                <a:lnTo>
                  <a:pt x="1456" y="2006"/>
                </a:lnTo>
                <a:lnTo>
                  <a:pt x="1456" y="2008"/>
                </a:lnTo>
                <a:close/>
                <a:moveTo>
                  <a:pt x="1458" y="2008"/>
                </a:moveTo>
                <a:lnTo>
                  <a:pt x="1456" y="2008"/>
                </a:lnTo>
                <a:lnTo>
                  <a:pt x="1456" y="2010"/>
                </a:lnTo>
                <a:lnTo>
                  <a:pt x="1456" y="2008"/>
                </a:lnTo>
                <a:lnTo>
                  <a:pt x="1458" y="2008"/>
                </a:lnTo>
                <a:close/>
                <a:moveTo>
                  <a:pt x="1456" y="2006"/>
                </a:moveTo>
                <a:lnTo>
                  <a:pt x="1458" y="2008"/>
                </a:lnTo>
                <a:lnTo>
                  <a:pt x="1458" y="2006"/>
                </a:lnTo>
                <a:lnTo>
                  <a:pt x="1458" y="2008"/>
                </a:lnTo>
                <a:lnTo>
                  <a:pt x="1456" y="2008"/>
                </a:lnTo>
                <a:lnTo>
                  <a:pt x="1456" y="2006"/>
                </a:lnTo>
                <a:lnTo>
                  <a:pt x="1458" y="2006"/>
                </a:lnTo>
                <a:lnTo>
                  <a:pt x="1456" y="2006"/>
                </a:lnTo>
                <a:close/>
                <a:moveTo>
                  <a:pt x="1498" y="2041"/>
                </a:moveTo>
                <a:lnTo>
                  <a:pt x="1496" y="2039"/>
                </a:lnTo>
                <a:lnTo>
                  <a:pt x="1498" y="2039"/>
                </a:lnTo>
                <a:lnTo>
                  <a:pt x="1498" y="2041"/>
                </a:lnTo>
                <a:close/>
                <a:moveTo>
                  <a:pt x="1496" y="2039"/>
                </a:moveTo>
                <a:lnTo>
                  <a:pt x="1496" y="2037"/>
                </a:lnTo>
                <a:lnTo>
                  <a:pt x="1498" y="2037"/>
                </a:lnTo>
                <a:lnTo>
                  <a:pt x="1498" y="2039"/>
                </a:lnTo>
                <a:lnTo>
                  <a:pt x="1496" y="2039"/>
                </a:lnTo>
                <a:close/>
                <a:moveTo>
                  <a:pt x="1456" y="2004"/>
                </a:moveTo>
                <a:lnTo>
                  <a:pt x="1456" y="2006"/>
                </a:lnTo>
                <a:lnTo>
                  <a:pt x="1456" y="2004"/>
                </a:lnTo>
                <a:lnTo>
                  <a:pt x="1454" y="2004"/>
                </a:lnTo>
                <a:lnTo>
                  <a:pt x="1454" y="2006"/>
                </a:lnTo>
                <a:lnTo>
                  <a:pt x="1454" y="2004"/>
                </a:lnTo>
                <a:lnTo>
                  <a:pt x="1454" y="2002"/>
                </a:lnTo>
                <a:lnTo>
                  <a:pt x="1456" y="2002"/>
                </a:lnTo>
                <a:lnTo>
                  <a:pt x="1456" y="2004"/>
                </a:lnTo>
                <a:close/>
                <a:moveTo>
                  <a:pt x="1498" y="2035"/>
                </a:moveTo>
                <a:lnTo>
                  <a:pt x="1496" y="2035"/>
                </a:lnTo>
                <a:lnTo>
                  <a:pt x="1498" y="2035"/>
                </a:lnTo>
                <a:close/>
                <a:moveTo>
                  <a:pt x="1513" y="2047"/>
                </a:moveTo>
                <a:lnTo>
                  <a:pt x="1513" y="2048"/>
                </a:lnTo>
                <a:lnTo>
                  <a:pt x="1511" y="2048"/>
                </a:lnTo>
                <a:lnTo>
                  <a:pt x="1511" y="2047"/>
                </a:lnTo>
                <a:lnTo>
                  <a:pt x="1513" y="2047"/>
                </a:lnTo>
                <a:close/>
                <a:moveTo>
                  <a:pt x="782" y="1204"/>
                </a:moveTo>
                <a:lnTo>
                  <a:pt x="784" y="1204"/>
                </a:lnTo>
                <a:lnTo>
                  <a:pt x="784" y="1206"/>
                </a:lnTo>
                <a:lnTo>
                  <a:pt x="784" y="1204"/>
                </a:lnTo>
                <a:lnTo>
                  <a:pt x="782" y="1204"/>
                </a:lnTo>
                <a:close/>
                <a:moveTo>
                  <a:pt x="1461" y="2004"/>
                </a:moveTo>
                <a:lnTo>
                  <a:pt x="1459" y="2004"/>
                </a:lnTo>
                <a:lnTo>
                  <a:pt x="1459" y="2006"/>
                </a:lnTo>
                <a:lnTo>
                  <a:pt x="1459" y="2004"/>
                </a:lnTo>
                <a:lnTo>
                  <a:pt x="1461" y="2004"/>
                </a:lnTo>
                <a:close/>
                <a:moveTo>
                  <a:pt x="1550" y="2073"/>
                </a:moveTo>
                <a:lnTo>
                  <a:pt x="1550" y="2075"/>
                </a:lnTo>
                <a:lnTo>
                  <a:pt x="1550" y="2073"/>
                </a:lnTo>
                <a:close/>
                <a:moveTo>
                  <a:pt x="1509" y="2045"/>
                </a:moveTo>
                <a:lnTo>
                  <a:pt x="1509" y="2043"/>
                </a:lnTo>
                <a:lnTo>
                  <a:pt x="1509" y="2045"/>
                </a:lnTo>
                <a:close/>
                <a:moveTo>
                  <a:pt x="910" y="1405"/>
                </a:moveTo>
                <a:lnTo>
                  <a:pt x="908" y="1405"/>
                </a:lnTo>
                <a:lnTo>
                  <a:pt x="908" y="1403"/>
                </a:lnTo>
                <a:lnTo>
                  <a:pt x="910" y="1403"/>
                </a:lnTo>
                <a:lnTo>
                  <a:pt x="910" y="1405"/>
                </a:lnTo>
                <a:lnTo>
                  <a:pt x="912" y="1405"/>
                </a:lnTo>
                <a:lnTo>
                  <a:pt x="910" y="1405"/>
                </a:lnTo>
                <a:close/>
                <a:moveTo>
                  <a:pt x="1515" y="2047"/>
                </a:moveTo>
                <a:lnTo>
                  <a:pt x="1515" y="2045"/>
                </a:lnTo>
                <a:lnTo>
                  <a:pt x="1515" y="2047"/>
                </a:lnTo>
                <a:close/>
                <a:moveTo>
                  <a:pt x="897" y="1382"/>
                </a:moveTo>
                <a:lnTo>
                  <a:pt x="895" y="1382"/>
                </a:lnTo>
                <a:lnTo>
                  <a:pt x="895" y="1380"/>
                </a:lnTo>
                <a:lnTo>
                  <a:pt x="897" y="1380"/>
                </a:lnTo>
                <a:lnTo>
                  <a:pt x="897" y="1382"/>
                </a:lnTo>
                <a:close/>
                <a:moveTo>
                  <a:pt x="1509" y="2039"/>
                </a:moveTo>
                <a:lnTo>
                  <a:pt x="1508" y="2041"/>
                </a:lnTo>
                <a:lnTo>
                  <a:pt x="1508" y="2039"/>
                </a:lnTo>
                <a:lnTo>
                  <a:pt x="1509" y="2039"/>
                </a:lnTo>
                <a:close/>
                <a:moveTo>
                  <a:pt x="1509" y="2039"/>
                </a:moveTo>
                <a:lnTo>
                  <a:pt x="1509" y="2041"/>
                </a:lnTo>
                <a:lnTo>
                  <a:pt x="1509" y="2039"/>
                </a:lnTo>
                <a:close/>
                <a:moveTo>
                  <a:pt x="791" y="1209"/>
                </a:moveTo>
                <a:lnTo>
                  <a:pt x="789" y="1209"/>
                </a:lnTo>
                <a:lnTo>
                  <a:pt x="791" y="1209"/>
                </a:lnTo>
                <a:lnTo>
                  <a:pt x="789" y="1209"/>
                </a:lnTo>
                <a:lnTo>
                  <a:pt x="789" y="1208"/>
                </a:lnTo>
                <a:lnTo>
                  <a:pt x="791" y="1209"/>
                </a:lnTo>
                <a:close/>
                <a:moveTo>
                  <a:pt x="1517" y="2045"/>
                </a:moveTo>
                <a:lnTo>
                  <a:pt x="1517" y="2047"/>
                </a:lnTo>
                <a:lnTo>
                  <a:pt x="1517" y="2045"/>
                </a:lnTo>
                <a:lnTo>
                  <a:pt x="1517" y="2047"/>
                </a:lnTo>
                <a:lnTo>
                  <a:pt x="1517" y="2048"/>
                </a:lnTo>
                <a:lnTo>
                  <a:pt x="1517" y="2047"/>
                </a:lnTo>
                <a:lnTo>
                  <a:pt x="1517" y="2045"/>
                </a:lnTo>
                <a:lnTo>
                  <a:pt x="1515" y="2045"/>
                </a:lnTo>
                <a:lnTo>
                  <a:pt x="1517" y="2045"/>
                </a:lnTo>
                <a:lnTo>
                  <a:pt x="1517" y="2043"/>
                </a:lnTo>
                <a:lnTo>
                  <a:pt x="1517" y="2045"/>
                </a:lnTo>
                <a:close/>
                <a:moveTo>
                  <a:pt x="1509" y="2039"/>
                </a:moveTo>
                <a:lnTo>
                  <a:pt x="1508" y="2037"/>
                </a:lnTo>
                <a:lnTo>
                  <a:pt x="1509" y="2037"/>
                </a:lnTo>
                <a:lnTo>
                  <a:pt x="1509" y="2039"/>
                </a:lnTo>
                <a:close/>
                <a:moveTo>
                  <a:pt x="901" y="1380"/>
                </a:moveTo>
                <a:lnTo>
                  <a:pt x="901" y="1382"/>
                </a:lnTo>
                <a:lnTo>
                  <a:pt x="899" y="1382"/>
                </a:lnTo>
                <a:lnTo>
                  <a:pt x="899" y="1380"/>
                </a:lnTo>
                <a:lnTo>
                  <a:pt x="899" y="1382"/>
                </a:lnTo>
                <a:lnTo>
                  <a:pt x="901" y="1382"/>
                </a:lnTo>
                <a:lnTo>
                  <a:pt x="899" y="1380"/>
                </a:lnTo>
                <a:lnTo>
                  <a:pt x="901" y="1380"/>
                </a:lnTo>
                <a:lnTo>
                  <a:pt x="899" y="1380"/>
                </a:lnTo>
                <a:lnTo>
                  <a:pt x="901" y="1380"/>
                </a:lnTo>
                <a:close/>
                <a:moveTo>
                  <a:pt x="1456" y="1989"/>
                </a:moveTo>
                <a:lnTo>
                  <a:pt x="1456" y="1991"/>
                </a:lnTo>
                <a:lnTo>
                  <a:pt x="1456" y="1989"/>
                </a:lnTo>
                <a:close/>
                <a:moveTo>
                  <a:pt x="1469" y="2000"/>
                </a:moveTo>
                <a:lnTo>
                  <a:pt x="1467" y="2000"/>
                </a:lnTo>
                <a:lnTo>
                  <a:pt x="1469" y="2000"/>
                </a:lnTo>
                <a:lnTo>
                  <a:pt x="1469" y="1999"/>
                </a:lnTo>
                <a:lnTo>
                  <a:pt x="1469" y="2000"/>
                </a:lnTo>
                <a:close/>
                <a:moveTo>
                  <a:pt x="1471" y="2000"/>
                </a:moveTo>
                <a:lnTo>
                  <a:pt x="1471" y="2002"/>
                </a:lnTo>
                <a:lnTo>
                  <a:pt x="1471" y="2000"/>
                </a:lnTo>
                <a:close/>
                <a:moveTo>
                  <a:pt x="1471" y="2002"/>
                </a:moveTo>
                <a:lnTo>
                  <a:pt x="1471" y="2000"/>
                </a:lnTo>
                <a:lnTo>
                  <a:pt x="1471" y="2002"/>
                </a:lnTo>
                <a:close/>
                <a:moveTo>
                  <a:pt x="1559" y="2068"/>
                </a:moveTo>
                <a:lnTo>
                  <a:pt x="1559" y="2070"/>
                </a:lnTo>
                <a:lnTo>
                  <a:pt x="1557" y="2070"/>
                </a:lnTo>
                <a:lnTo>
                  <a:pt x="1557" y="2072"/>
                </a:lnTo>
                <a:lnTo>
                  <a:pt x="1557" y="2070"/>
                </a:lnTo>
                <a:lnTo>
                  <a:pt x="1557" y="2068"/>
                </a:lnTo>
                <a:lnTo>
                  <a:pt x="1559" y="2068"/>
                </a:lnTo>
                <a:close/>
                <a:moveTo>
                  <a:pt x="1556" y="2068"/>
                </a:moveTo>
                <a:lnTo>
                  <a:pt x="1556" y="2066"/>
                </a:lnTo>
                <a:lnTo>
                  <a:pt x="1557" y="2066"/>
                </a:lnTo>
                <a:lnTo>
                  <a:pt x="1557" y="2068"/>
                </a:lnTo>
                <a:lnTo>
                  <a:pt x="1556" y="2068"/>
                </a:lnTo>
                <a:close/>
                <a:moveTo>
                  <a:pt x="1471" y="1999"/>
                </a:moveTo>
                <a:lnTo>
                  <a:pt x="1473" y="1999"/>
                </a:lnTo>
                <a:lnTo>
                  <a:pt x="1471" y="1999"/>
                </a:lnTo>
                <a:close/>
                <a:moveTo>
                  <a:pt x="1473" y="1999"/>
                </a:moveTo>
                <a:lnTo>
                  <a:pt x="1471" y="1999"/>
                </a:lnTo>
                <a:lnTo>
                  <a:pt x="1473" y="1999"/>
                </a:lnTo>
                <a:close/>
                <a:moveTo>
                  <a:pt x="1471" y="1999"/>
                </a:moveTo>
                <a:lnTo>
                  <a:pt x="1473" y="1999"/>
                </a:lnTo>
                <a:lnTo>
                  <a:pt x="1471" y="1999"/>
                </a:lnTo>
                <a:close/>
                <a:moveTo>
                  <a:pt x="1473" y="2000"/>
                </a:moveTo>
                <a:lnTo>
                  <a:pt x="1473" y="1999"/>
                </a:lnTo>
                <a:lnTo>
                  <a:pt x="1473" y="2000"/>
                </a:lnTo>
                <a:close/>
                <a:moveTo>
                  <a:pt x="1473" y="1999"/>
                </a:moveTo>
                <a:lnTo>
                  <a:pt x="1473" y="1997"/>
                </a:lnTo>
                <a:lnTo>
                  <a:pt x="1473" y="1999"/>
                </a:lnTo>
                <a:close/>
                <a:moveTo>
                  <a:pt x="582" y="728"/>
                </a:moveTo>
                <a:lnTo>
                  <a:pt x="580" y="728"/>
                </a:lnTo>
                <a:lnTo>
                  <a:pt x="582" y="728"/>
                </a:lnTo>
                <a:close/>
                <a:moveTo>
                  <a:pt x="1471" y="1997"/>
                </a:moveTo>
                <a:lnTo>
                  <a:pt x="1469" y="1997"/>
                </a:lnTo>
                <a:lnTo>
                  <a:pt x="1471" y="1997"/>
                </a:lnTo>
                <a:close/>
                <a:moveTo>
                  <a:pt x="1471" y="1995"/>
                </a:moveTo>
                <a:lnTo>
                  <a:pt x="1471" y="1997"/>
                </a:lnTo>
                <a:lnTo>
                  <a:pt x="1471" y="1995"/>
                </a:lnTo>
                <a:close/>
                <a:moveTo>
                  <a:pt x="1471" y="1995"/>
                </a:moveTo>
                <a:lnTo>
                  <a:pt x="1471" y="1993"/>
                </a:lnTo>
                <a:lnTo>
                  <a:pt x="1471" y="1995"/>
                </a:lnTo>
                <a:close/>
                <a:moveTo>
                  <a:pt x="1471" y="1993"/>
                </a:moveTo>
                <a:lnTo>
                  <a:pt x="1469" y="1993"/>
                </a:lnTo>
                <a:lnTo>
                  <a:pt x="1469" y="1991"/>
                </a:lnTo>
                <a:lnTo>
                  <a:pt x="1471" y="1991"/>
                </a:lnTo>
                <a:lnTo>
                  <a:pt x="1471" y="1993"/>
                </a:lnTo>
                <a:close/>
                <a:moveTo>
                  <a:pt x="1525" y="2035"/>
                </a:moveTo>
                <a:lnTo>
                  <a:pt x="1527" y="2037"/>
                </a:lnTo>
                <a:lnTo>
                  <a:pt x="1527" y="2039"/>
                </a:lnTo>
                <a:lnTo>
                  <a:pt x="1529" y="2039"/>
                </a:lnTo>
                <a:lnTo>
                  <a:pt x="1529" y="2041"/>
                </a:lnTo>
                <a:lnTo>
                  <a:pt x="1531" y="2041"/>
                </a:lnTo>
                <a:lnTo>
                  <a:pt x="1531" y="2043"/>
                </a:lnTo>
                <a:lnTo>
                  <a:pt x="1532" y="2045"/>
                </a:lnTo>
                <a:lnTo>
                  <a:pt x="1534" y="2045"/>
                </a:lnTo>
                <a:lnTo>
                  <a:pt x="1534" y="2047"/>
                </a:lnTo>
                <a:lnTo>
                  <a:pt x="1534" y="2048"/>
                </a:lnTo>
                <a:lnTo>
                  <a:pt x="1536" y="2048"/>
                </a:lnTo>
                <a:lnTo>
                  <a:pt x="1536" y="2050"/>
                </a:lnTo>
                <a:lnTo>
                  <a:pt x="1536" y="2052"/>
                </a:lnTo>
                <a:lnTo>
                  <a:pt x="1538" y="2052"/>
                </a:lnTo>
                <a:lnTo>
                  <a:pt x="1538" y="2054"/>
                </a:lnTo>
                <a:lnTo>
                  <a:pt x="1540" y="2054"/>
                </a:lnTo>
                <a:lnTo>
                  <a:pt x="1540" y="2056"/>
                </a:lnTo>
                <a:lnTo>
                  <a:pt x="1540" y="2058"/>
                </a:lnTo>
                <a:lnTo>
                  <a:pt x="1540" y="2056"/>
                </a:lnTo>
                <a:lnTo>
                  <a:pt x="1538" y="2056"/>
                </a:lnTo>
                <a:lnTo>
                  <a:pt x="1538" y="2058"/>
                </a:lnTo>
                <a:lnTo>
                  <a:pt x="1540" y="2058"/>
                </a:lnTo>
                <a:lnTo>
                  <a:pt x="1538" y="2058"/>
                </a:lnTo>
                <a:lnTo>
                  <a:pt x="1538" y="2060"/>
                </a:lnTo>
                <a:lnTo>
                  <a:pt x="1538" y="2062"/>
                </a:lnTo>
                <a:lnTo>
                  <a:pt x="1538" y="2064"/>
                </a:lnTo>
                <a:lnTo>
                  <a:pt x="1538" y="2062"/>
                </a:lnTo>
                <a:lnTo>
                  <a:pt x="1540" y="2062"/>
                </a:lnTo>
                <a:lnTo>
                  <a:pt x="1540" y="2060"/>
                </a:lnTo>
                <a:lnTo>
                  <a:pt x="1540" y="2058"/>
                </a:lnTo>
                <a:lnTo>
                  <a:pt x="1540" y="2056"/>
                </a:lnTo>
                <a:lnTo>
                  <a:pt x="1542" y="2056"/>
                </a:lnTo>
                <a:lnTo>
                  <a:pt x="1542" y="2058"/>
                </a:lnTo>
                <a:lnTo>
                  <a:pt x="1544" y="2058"/>
                </a:lnTo>
                <a:lnTo>
                  <a:pt x="1544" y="2060"/>
                </a:lnTo>
                <a:lnTo>
                  <a:pt x="1546" y="2060"/>
                </a:lnTo>
                <a:lnTo>
                  <a:pt x="1548" y="2062"/>
                </a:lnTo>
                <a:lnTo>
                  <a:pt x="1548" y="2064"/>
                </a:lnTo>
                <a:lnTo>
                  <a:pt x="1548" y="2066"/>
                </a:lnTo>
                <a:lnTo>
                  <a:pt x="1548" y="2064"/>
                </a:lnTo>
                <a:lnTo>
                  <a:pt x="1548" y="2066"/>
                </a:lnTo>
                <a:lnTo>
                  <a:pt x="1548" y="2068"/>
                </a:lnTo>
                <a:lnTo>
                  <a:pt x="1550" y="2068"/>
                </a:lnTo>
                <a:lnTo>
                  <a:pt x="1550" y="2070"/>
                </a:lnTo>
                <a:lnTo>
                  <a:pt x="1550" y="2072"/>
                </a:lnTo>
                <a:lnTo>
                  <a:pt x="1548" y="2073"/>
                </a:lnTo>
                <a:lnTo>
                  <a:pt x="1548" y="2075"/>
                </a:lnTo>
                <a:lnTo>
                  <a:pt x="1546" y="2077"/>
                </a:lnTo>
                <a:lnTo>
                  <a:pt x="1544" y="2077"/>
                </a:lnTo>
                <a:lnTo>
                  <a:pt x="1542" y="2077"/>
                </a:lnTo>
                <a:lnTo>
                  <a:pt x="1544" y="2077"/>
                </a:lnTo>
                <a:lnTo>
                  <a:pt x="1544" y="2075"/>
                </a:lnTo>
                <a:lnTo>
                  <a:pt x="1542" y="2075"/>
                </a:lnTo>
                <a:lnTo>
                  <a:pt x="1542" y="2073"/>
                </a:lnTo>
                <a:lnTo>
                  <a:pt x="1542" y="2075"/>
                </a:lnTo>
                <a:lnTo>
                  <a:pt x="1542" y="2077"/>
                </a:lnTo>
                <a:lnTo>
                  <a:pt x="1542" y="2079"/>
                </a:lnTo>
                <a:lnTo>
                  <a:pt x="1542" y="2081"/>
                </a:lnTo>
                <a:lnTo>
                  <a:pt x="1540" y="2081"/>
                </a:lnTo>
                <a:lnTo>
                  <a:pt x="1540" y="2083"/>
                </a:lnTo>
                <a:lnTo>
                  <a:pt x="1540" y="2085"/>
                </a:lnTo>
                <a:lnTo>
                  <a:pt x="1538" y="2087"/>
                </a:lnTo>
                <a:lnTo>
                  <a:pt x="1538" y="2089"/>
                </a:lnTo>
                <a:lnTo>
                  <a:pt x="1536" y="2089"/>
                </a:lnTo>
                <a:lnTo>
                  <a:pt x="1536" y="2091"/>
                </a:lnTo>
                <a:lnTo>
                  <a:pt x="1534" y="2091"/>
                </a:lnTo>
                <a:lnTo>
                  <a:pt x="1532" y="2091"/>
                </a:lnTo>
                <a:lnTo>
                  <a:pt x="1531" y="2091"/>
                </a:lnTo>
                <a:lnTo>
                  <a:pt x="1532" y="2091"/>
                </a:lnTo>
                <a:lnTo>
                  <a:pt x="1531" y="2089"/>
                </a:lnTo>
                <a:lnTo>
                  <a:pt x="1532" y="2089"/>
                </a:lnTo>
                <a:lnTo>
                  <a:pt x="1532" y="2087"/>
                </a:lnTo>
                <a:lnTo>
                  <a:pt x="1532" y="2085"/>
                </a:lnTo>
                <a:lnTo>
                  <a:pt x="1532" y="2083"/>
                </a:lnTo>
                <a:lnTo>
                  <a:pt x="1531" y="2083"/>
                </a:lnTo>
                <a:lnTo>
                  <a:pt x="1531" y="2081"/>
                </a:lnTo>
                <a:lnTo>
                  <a:pt x="1531" y="2079"/>
                </a:lnTo>
                <a:lnTo>
                  <a:pt x="1531" y="2077"/>
                </a:lnTo>
                <a:lnTo>
                  <a:pt x="1532" y="2077"/>
                </a:lnTo>
                <a:lnTo>
                  <a:pt x="1532" y="2075"/>
                </a:lnTo>
                <a:lnTo>
                  <a:pt x="1532" y="2073"/>
                </a:lnTo>
                <a:lnTo>
                  <a:pt x="1532" y="2072"/>
                </a:lnTo>
                <a:lnTo>
                  <a:pt x="1532" y="2070"/>
                </a:lnTo>
                <a:lnTo>
                  <a:pt x="1532" y="2072"/>
                </a:lnTo>
                <a:lnTo>
                  <a:pt x="1532" y="2070"/>
                </a:lnTo>
                <a:lnTo>
                  <a:pt x="1532" y="2072"/>
                </a:lnTo>
                <a:lnTo>
                  <a:pt x="1532" y="2070"/>
                </a:lnTo>
                <a:lnTo>
                  <a:pt x="1532" y="2068"/>
                </a:lnTo>
                <a:lnTo>
                  <a:pt x="1534" y="2068"/>
                </a:lnTo>
                <a:lnTo>
                  <a:pt x="1534" y="2066"/>
                </a:lnTo>
                <a:lnTo>
                  <a:pt x="1534" y="2064"/>
                </a:lnTo>
                <a:lnTo>
                  <a:pt x="1532" y="2066"/>
                </a:lnTo>
                <a:lnTo>
                  <a:pt x="1534" y="2066"/>
                </a:lnTo>
                <a:lnTo>
                  <a:pt x="1532" y="2066"/>
                </a:lnTo>
                <a:lnTo>
                  <a:pt x="1534" y="2066"/>
                </a:lnTo>
                <a:lnTo>
                  <a:pt x="1534" y="2068"/>
                </a:lnTo>
                <a:lnTo>
                  <a:pt x="1532" y="2068"/>
                </a:lnTo>
                <a:lnTo>
                  <a:pt x="1532" y="2070"/>
                </a:lnTo>
                <a:lnTo>
                  <a:pt x="1531" y="2070"/>
                </a:lnTo>
                <a:lnTo>
                  <a:pt x="1532" y="2068"/>
                </a:lnTo>
                <a:lnTo>
                  <a:pt x="1531" y="2068"/>
                </a:lnTo>
                <a:lnTo>
                  <a:pt x="1531" y="2066"/>
                </a:lnTo>
                <a:lnTo>
                  <a:pt x="1531" y="2068"/>
                </a:lnTo>
                <a:lnTo>
                  <a:pt x="1531" y="2070"/>
                </a:lnTo>
                <a:lnTo>
                  <a:pt x="1529" y="2070"/>
                </a:lnTo>
                <a:lnTo>
                  <a:pt x="1529" y="2072"/>
                </a:lnTo>
                <a:lnTo>
                  <a:pt x="1529" y="2070"/>
                </a:lnTo>
                <a:lnTo>
                  <a:pt x="1529" y="2072"/>
                </a:lnTo>
                <a:lnTo>
                  <a:pt x="1529" y="2073"/>
                </a:lnTo>
                <a:lnTo>
                  <a:pt x="1527" y="2073"/>
                </a:lnTo>
                <a:lnTo>
                  <a:pt x="1529" y="2073"/>
                </a:lnTo>
                <a:lnTo>
                  <a:pt x="1529" y="2075"/>
                </a:lnTo>
                <a:lnTo>
                  <a:pt x="1527" y="2075"/>
                </a:lnTo>
                <a:lnTo>
                  <a:pt x="1529" y="2075"/>
                </a:lnTo>
                <a:lnTo>
                  <a:pt x="1531" y="2075"/>
                </a:lnTo>
                <a:lnTo>
                  <a:pt x="1531" y="2077"/>
                </a:lnTo>
                <a:lnTo>
                  <a:pt x="1529" y="2077"/>
                </a:lnTo>
                <a:lnTo>
                  <a:pt x="1529" y="2079"/>
                </a:lnTo>
                <a:lnTo>
                  <a:pt x="1527" y="2079"/>
                </a:lnTo>
                <a:lnTo>
                  <a:pt x="1527" y="2081"/>
                </a:lnTo>
                <a:lnTo>
                  <a:pt x="1527" y="2079"/>
                </a:lnTo>
                <a:lnTo>
                  <a:pt x="1527" y="2081"/>
                </a:lnTo>
                <a:lnTo>
                  <a:pt x="1525" y="2081"/>
                </a:lnTo>
                <a:lnTo>
                  <a:pt x="1525" y="2083"/>
                </a:lnTo>
                <a:lnTo>
                  <a:pt x="1525" y="2081"/>
                </a:lnTo>
                <a:lnTo>
                  <a:pt x="1527" y="2081"/>
                </a:lnTo>
                <a:lnTo>
                  <a:pt x="1527" y="2083"/>
                </a:lnTo>
                <a:lnTo>
                  <a:pt x="1527" y="2085"/>
                </a:lnTo>
                <a:lnTo>
                  <a:pt x="1527" y="2083"/>
                </a:lnTo>
                <a:lnTo>
                  <a:pt x="1529" y="2085"/>
                </a:lnTo>
                <a:lnTo>
                  <a:pt x="1529" y="2087"/>
                </a:lnTo>
                <a:lnTo>
                  <a:pt x="1529" y="2089"/>
                </a:lnTo>
                <a:lnTo>
                  <a:pt x="1529" y="2087"/>
                </a:lnTo>
                <a:lnTo>
                  <a:pt x="1529" y="2089"/>
                </a:lnTo>
                <a:lnTo>
                  <a:pt x="1527" y="2089"/>
                </a:lnTo>
                <a:lnTo>
                  <a:pt x="1529" y="2087"/>
                </a:lnTo>
                <a:lnTo>
                  <a:pt x="1527" y="2087"/>
                </a:lnTo>
                <a:lnTo>
                  <a:pt x="1527" y="2085"/>
                </a:lnTo>
                <a:lnTo>
                  <a:pt x="1527" y="2087"/>
                </a:lnTo>
                <a:lnTo>
                  <a:pt x="1527" y="2089"/>
                </a:lnTo>
                <a:lnTo>
                  <a:pt x="1527" y="2091"/>
                </a:lnTo>
                <a:lnTo>
                  <a:pt x="1527" y="2093"/>
                </a:lnTo>
                <a:lnTo>
                  <a:pt x="1525" y="2093"/>
                </a:lnTo>
                <a:lnTo>
                  <a:pt x="1527" y="2093"/>
                </a:lnTo>
                <a:lnTo>
                  <a:pt x="1525" y="2093"/>
                </a:lnTo>
                <a:lnTo>
                  <a:pt x="1525" y="2095"/>
                </a:lnTo>
                <a:lnTo>
                  <a:pt x="1525" y="2093"/>
                </a:lnTo>
                <a:lnTo>
                  <a:pt x="1523" y="2093"/>
                </a:lnTo>
                <a:lnTo>
                  <a:pt x="1523" y="2095"/>
                </a:lnTo>
                <a:lnTo>
                  <a:pt x="1523" y="2093"/>
                </a:lnTo>
                <a:lnTo>
                  <a:pt x="1523" y="2095"/>
                </a:lnTo>
                <a:lnTo>
                  <a:pt x="1521" y="2096"/>
                </a:lnTo>
                <a:lnTo>
                  <a:pt x="1519" y="2096"/>
                </a:lnTo>
                <a:lnTo>
                  <a:pt x="1517" y="2096"/>
                </a:lnTo>
                <a:lnTo>
                  <a:pt x="1517" y="2095"/>
                </a:lnTo>
                <a:lnTo>
                  <a:pt x="1515" y="2095"/>
                </a:lnTo>
                <a:lnTo>
                  <a:pt x="1517" y="2095"/>
                </a:lnTo>
                <a:lnTo>
                  <a:pt x="1515" y="2095"/>
                </a:lnTo>
                <a:lnTo>
                  <a:pt x="1517" y="2095"/>
                </a:lnTo>
                <a:lnTo>
                  <a:pt x="1517" y="2093"/>
                </a:lnTo>
                <a:lnTo>
                  <a:pt x="1517" y="2095"/>
                </a:lnTo>
                <a:lnTo>
                  <a:pt x="1517" y="2093"/>
                </a:lnTo>
                <a:lnTo>
                  <a:pt x="1515" y="2093"/>
                </a:lnTo>
                <a:lnTo>
                  <a:pt x="1515" y="2091"/>
                </a:lnTo>
                <a:lnTo>
                  <a:pt x="1513" y="2091"/>
                </a:lnTo>
                <a:lnTo>
                  <a:pt x="1513" y="2089"/>
                </a:lnTo>
                <a:lnTo>
                  <a:pt x="1513" y="2087"/>
                </a:lnTo>
                <a:lnTo>
                  <a:pt x="1511" y="2087"/>
                </a:lnTo>
                <a:lnTo>
                  <a:pt x="1511" y="2085"/>
                </a:lnTo>
                <a:lnTo>
                  <a:pt x="1511" y="2087"/>
                </a:lnTo>
                <a:lnTo>
                  <a:pt x="1511" y="2089"/>
                </a:lnTo>
                <a:lnTo>
                  <a:pt x="1509" y="2089"/>
                </a:lnTo>
                <a:lnTo>
                  <a:pt x="1509" y="2087"/>
                </a:lnTo>
                <a:lnTo>
                  <a:pt x="1509" y="2089"/>
                </a:lnTo>
                <a:lnTo>
                  <a:pt x="1508" y="2089"/>
                </a:lnTo>
                <a:lnTo>
                  <a:pt x="1508" y="2087"/>
                </a:lnTo>
                <a:lnTo>
                  <a:pt x="1506" y="2087"/>
                </a:lnTo>
                <a:lnTo>
                  <a:pt x="1506" y="2089"/>
                </a:lnTo>
                <a:lnTo>
                  <a:pt x="1504" y="2087"/>
                </a:lnTo>
                <a:lnTo>
                  <a:pt x="1502" y="2087"/>
                </a:lnTo>
                <a:lnTo>
                  <a:pt x="1502" y="2085"/>
                </a:lnTo>
                <a:lnTo>
                  <a:pt x="1500" y="2085"/>
                </a:lnTo>
                <a:lnTo>
                  <a:pt x="1500" y="2083"/>
                </a:lnTo>
                <a:lnTo>
                  <a:pt x="1502" y="2083"/>
                </a:lnTo>
                <a:lnTo>
                  <a:pt x="1502" y="2081"/>
                </a:lnTo>
                <a:lnTo>
                  <a:pt x="1504" y="2079"/>
                </a:lnTo>
                <a:lnTo>
                  <a:pt x="1504" y="2077"/>
                </a:lnTo>
                <a:lnTo>
                  <a:pt x="1506" y="2077"/>
                </a:lnTo>
                <a:lnTo>
                  <a:pt x="1506" y="2075"/>
                </a:lnTo>
                <a:lnTo>
                  <a:pt x="1506" y="2077"/>
                </a:lnTo>
                <a:lnTo>
                  <a:pt x="1508" y="2075"/>
                </a:lnTo>
                <a:lnTo>
                  <a:pt x="1506" y="2075"/>
                </a:lnTo>
                <a:lnTo>
                  <a:pt x="1506" y="2073"/>
                </a:lnTo>
                <a:lnTo>
                  <a:pt x="1506" y="2075"/>
                </a:lnTo>
                <a:lnTo>
                  <a:pt x="1506" y="2073"/>
                </a:lnTo>
                <a:lnTo>
                  <a:pt x="1508" y="2073"/>
                </a:lnTo>
                <a:lnTo>
                  <a:pt x="1509" y="2073"/>
                </a:lnTo>
                <a:lnTo>
                  <a:pt x="1508" y="2073"/>
                </a:lnTo>
                <a:lnTo>
                  <a:pt x="1508" y="2070"/>
                </a:lnTo>
                <a:lnTo>
                  <a:pt x="1508" y="2072"/>
                </a:lnTo>
                <a:lnTo>
                  <a:pt x="1506" y="2073"/>
                </a:lnTo>
                <a:lnTo>
                  <a:pt x="1504" y="2073"/>
                </a:lnTo>
                <a:lnTo>
                  <a:pt x="1502" y="2073"/>
                </a:lnTo>
                <a:lnTo>
                  <a:pt x="1502" y="2072"/>
                </a:lnTo>
                <a:lnTo>
                  <a:pt x="1504" y="2072"/>
                </a:lnTo>
                <a:lnTo>
                  <a:pt x="1502" y="2070"/>
                </a:lnTo>
                <a:lnTo>
                  <a:pt x="1504" y="2070"/>
                </a:lnTo>
                <a:lnTo>
                  <a:pt x="1504" y="2068"/>
                </a:lnTo>
                <a:lnTo>
                  <a:pt x="1502" y="2070"/>
                </a:lnTo>
                <a:lnTo>
                  <a:pt x="1502" y="2068"/>
                </a:lnTo>
                <a:lnTo>
                  <a:pt x="1500" y="2066"/>
                </a:lnTo>
                <a:lnTo>
                  <a:pt x="1500" y="2064"/>
                </a:lnTo>
                <a:lnTo>
                  <a:pt x="1500" y="2066"/>
                </a:lnTo>
                <a:lnTo>
                  <a:pt x="1498" y="2066"/>
                </a:lnTo>
                <a:lnTo>
                  <a:pt x="1500" y="2066"/>
                </a:lnTo>
                <a:lnTo>
                  <a:pt x="1500" y="2068"/>
                </a:lnTo>
                <a:lnTo>
                  <a:pt x="1500" y="2070"/>
                </a:lnTo>
                <a:lnTo>
                  <a:pt x="1498" y="2070"/>
                </a:lnTo>
                <a:lnTo>
                  <a:pt x="1498" y="2068"/>
                </a:lnTo>
                <a:lnTo>
                  <a:pt x="1498" y="2070"/>
                </a:lnTo>
                <a:lnTo>
                  <a:pt x="1498" y="2068"/>
                </a:lnTo>
                <a:lnTo>
                  <a:pt x="1496" y="2068"/>
                </a:lnTo>
                <a:lnTo>
                  <a:pt x="1498" y="2070"/>
                </a:lnTo>
                <a:lnTo>
                  <a:pt x="1498" y="2072"/>
                </a:lnTo>
                <a:lnTo>
                  <a:pt x="1496" y="2072"/>
                </a:lnTo>
                <a:lnTo>
                  <a:pt x="1496" y="2073"/>
                </a:lnTo>
                <a:lnTo>
                  <a:pt x="1496" y="2072"/>
                </a:lnTo>
                <a:lnTo>
                  <a:pt x="1494" y="2072"/>
                </a:lnTo>
                <a:lnTo>
                  <a:pt x="1492" y="2072"/>
                </a:lnTo>
                <a:lnTo>
                  <a:pt x="1492" y="2070"/>
                </a:lnTo>
                <a:lnTo>
                  <a:pt x="1492" y="2072"/>
                </a:lnTo>
                <a:lnTo>
                  <a:pt x="1492" y="2073"/>
                </a:lnTo>
                <a:lnTo>
                  <a:pt x="1494" y="2073"/>
                </a:lnTo>
                <a:lnTo>
                  <a:pt x="1494" y="2075"/>
                </a:lnTo>
                <a:lnTo>
                  <a:pt x="1494" y="2077"/>
                </a:lnTo>
                <a:lnTo>
                  <a:pt x="1494" y="2079"/>
                </a:lnTo>
                <a:lnTo>
                  <a:pt x="1492" y="2079"/>
                </a:lnTo>
                <a:lnTo>
                  <a:pt x="1494" y="2079"/>
                </a:lnTo>
                <a:lnTo>
                  <a:pt x="1494" y="2077"/>
                </a:lnTo>
                <a:lnTo>
                  <a:pt x="1492" y="2077"/>
                </a:lnTo>
                <a:lnTo>
                  <a:pt x="1492" y="2079"/>
                </a:lnTo>
                <a:lnTo>
                  <a:pt x="1492" y="2077"/>
                </a:lnTo>
                <a:lnTo>
                  <a:pt x="1490" y="2077"/>
                </a:lnTo>
                <a:lnTo>
                  <a:pt x="1490" y="2075"/>
                </a:lnTo>
                <a:lnTo>
                  <a:pt x="1490" y="2077"/>
                </a:lnTo>
                <a:lnTo>
                  <a:pt x="1492" y="2077"/>
                </a:lnTo>
                <a:lnTo>
                  <a:pt x="1490" y="2077"/>
                </a:lnTo>
                <a:lnTo>
                  <a:pt x="1490" y="2079"/>
                </a:lnTo>
                <a:lnTo>
                  <a:pt x="1490" y="2081"/>
                </a:lnTo>
                <a:lnTo>
                  <a:pt x="1488" y="2081"/>
                </a:lnTo>
                <a:lnTo>
                  <a:pt x="1488" y="2079"/>
                </a:lnTo>
                <a:lnTo>
                  <a:pt x="1488" y="2081"/>
                </a:lnTo>
                <a:lnTo>
                  <a:pt x="1486" y="2081"/>
                </a:lnTo>
                <a:lnTo>
                  <a:pt x="1488" y="2081"/>
                </a:lnTo>
                <a:lnTo>
                  <a:pt x="1488" y="2083"/>
                </a:lnTo>
                <a:lnTo>
                  <a:pt x="1488" y="2085"/>
                </a:lnTo>
                <a:lnTo>
                  <a:pt x="1488" y="2087"/>
                </a:lnTo>
                <a:lnTo>
                  <a:pt x="1486" y="2087"/>
                </a:lnTo>
                <a:lnTo>
                  <a:pt x="1486" y="2089"/>
                </a:lnTo>
                <a:lnTo>
                  <a:pt x="1484" y="2089"/>
                </a:lnTo>
                <a:lnTo>
                  <a:pt x="1484" y="2087"/>
                </a:lnTo>
                <a:lnTo>
                  <a:pt x="1484" y="2085"/>
                </a:lnTo>
                <a:lnTo>
                  <a:pt x="1484" y="2087"/>
                </a:lnTo>
                <a:lnTo>
                  <a:pt x="1484" y="2085"/>
                </a:lnTo>
                <a:lnTo>
                  <a:pt x="1484" y="2083"/>
                </a:lnTo>
                <a:lnTo>
                  <a:pt x="1484" y="2081"/>
                </a:lnTo>
                <a:lnTo>
                  <a:pt x="1484" y="2079"/>
                </a:lnTo>
                <a:lnTo>
                  <a:pt x="1484" y="2081"/>
                </a:lnTo>
                <a:lnTo>
                  <a:pt x="1483" y="2081"/>
                </a:lnTo>
                <a:lnTo>
                  <a:pt x="1484" y="2081"/>
                </a:lnTo>
                <a:lnTo>
                  <a:pt x="1483" y="2081"/>
                </a:lnTo>
                <a:lnTo>
                  <a:pt x="1483" y="2083"/>
                </a:lnTo>
                <a:lnTo>
                  <a:pt x="1481" y="2083"/>
                </a:lnTo>
                <a:lnTo>
                  <a:pt x="1483" y="2083"/>
                </a:lnTo>
                <a:lnTo>
                  <a:pt x="1481" y="2083"/>
                </a:lnTo>
                <a:lnTo>
                  <a:pt x="1481" y="2085"/>
                </a:lnTo>
                <a:lnTo>
                  <a:pt x="1479" y="2085"/>
                </a:lnTo>
                <a:lnTo>
                  <a:pt x="1479" y="2087"/>
                </a:lnTo>
                <a:lnTo>
                  <a:pt x="1481" y="2087"/>
                </a:lnTo>
                <a:lnTo>
                  <a:pt x="1481" y="2085"/>
                </a:lnTo>
                <a:lnTo>
                  <a:pt x="1481" y="2087"/>
                </a:lnTo>
                <a:lnTo>
                  <a:pt x="1481" y="2085"/>
                </a:lnTo>
                <a:lnTo>
                  <a:pt x="1483" y="2085"/>
                </a:lnTo>
                <a:lnTo>
                  <a:pt x="1481" y="2085"/>
                </a:lnTo>
                <a:lnTo>
                  <a:pt x="1481" y="2087"/>
                </a:lnTo>
                <a:lnTo>
                  <a:pt x="1483" y="2087"/>
                </a:lnTo>
                <a:lnTo>
                  <a:pt x="1483" y="2089"/>
                </a:lnTo>
                <a:lnTo>
                  <a:pt x="1483" y="2091"/>
                </a:lnTo>
                <a:lnTo>
                  <a:pt x="1481" y="2091"/>
                </a:lnTo>
                <a:lnTo>
                  <a:pt x="1481" y="2093"/>
                </a:lnTo>
                <a:lnTo>
                  <a:pt x="1479" y="2093"/>
                </a:lnTo>
                <a:lnTo>
                  <a:pt x="1479" y="2091"/>
                </a:lnTo>
                <a:lnTo>
                  <a:pt x="1477" y="2091"/>
                </a:lnTo>
                <a:lnTo>
                  <a:pt x="1477" y="2093"/>
                </a:lnTo>
                <a:lnTo>
                  <a:pt x="1477" y="2091"/>
                </a:lnTo>
                <a:lnTo>
                  <a:pt x="1477" y="2093"/>
                </a:lnTo>
                <a:lnTo>
                  <a:pt x="1477" y="2095"/>
                </a:lnTo>
                <a:lnTo>
                  <a:pt x="1475" y="2095"/>
                </a:lnTo>
                <a:lnTo>
                  <a:pt x="1475" y="2096"/>
                </a:lnTo>
                <a:lnTo>
                  <a:pt x="1475" y="2095"/>
                </a:lnTo>
                <a:lnTo>
                  <a:pt x="1473" y="2095"/>
                </a:lnTo>
                <a:lnTo>
                  <a:pt x="1473" y="2096"/>
                </a:lnTo>
                <a:lnTo>
                  <a:pt x="1473" y="2098"/>
                </a:lnTo>
                <a:lnTo>
                  <a:pt x="1471" y="2098"/>
                </a:lnTo>
                <a:lnTo>
                  <a:pt x="1469" y="2096"/>
                </a:lnTo>
                <a:lnTo>
                  <a:pt x="1469" y="2095"/>
                </a:lnTo>
                <a:lnTo>
                  <a:pt x="1471" y="2095"/>
                </a:lnTo>
                <a:lnTo>
                  <a:pt x="1471" y="2093"/>
                </a:lnTo>
                <a:lnTo>
                  <a:pt x="1473" y="2093"/>
                </a:lnTo>
                <a:lnTo>
                  <a:pt x="1473" y="2091"/>
                </a:lnTo>
                <a:lnTo>
                  <a:pt x="1473" y="2093"/>
                </a:lnTo>
                <a:lnTo>
                  <a:pt x="1473" y="2091"/>
                </a:lnTo>
                <a:lnTo>
                  <a:pt x="1475" y="2091"/>
                </a:lnTo>
                <a:lnTo>
                  <a:pt x="1475" y="2089"/>
                </a:lnTo>
                <a:lnTo>
                  <a:pt x="1475" y="2087"/>
                </a:lnTo>
                <a:lnTo>
                  <a:pt x="1475" y="2085"/>
                </a:lnTo>
                <a:lnTo>
                  <a:pt x="1477" y="2085"/>
                </a:lnTo>
                <a:lnTo>
                  <a:pt x="1479" y="2085"/>
                </a:lnTo>
                <a:lnTo>
                  <a:pt x="1479" y="2083"/>
                </a:lnTo>
                <a:lnTo>
                  <a:pt x="1479" y="2081"/>
                </a:lnTo>
                <a:lnTo>
                  <a:pt x="1477" y="2081"/>
                </a:lnTo>
                <a:lnTo>
                  <a:pt x="1477" y="2083"/>
                </a:lnTo>
                <a:lnTo>
                  <a:pt x="1475" y="2085"/>
                </a:lnTo>
                <a:lnTo>
                  <a:pt x="1473" y="2085"/>
                </a:lnTo>
                <a:lnTo>
                  <a:pt x="1475" y="2085"/>
                </a:lnTo>
                <a:lnTo>
                  <a:pt x="1475" y="2083"/>
                </a:lnTo>
                <a:lnTo>
                  <a:pt x="1473" y="2083"/>
                </a:lnTo>
                <a:lnTo>
                  <a:pt x="1473" y="2085"/>
                </a:lnTo>
                <a:lnTo>
                  <a:pt x="1473" y="2087"/>
                </a:lnTo>
                <a:lnTo>
                  <a:pt x="1471" y="2087"/>
                </a:lnTo>
                <a:lnTo>
                  <a:pt x="1473" y="2087"/>
                </a:lnTo>
                <a:lnTo>
                  <a:pt x="1471" y="2089"/>
                </a:lnTo>
                <a:lnTo>
                  <a:pt x="1469" y="2089"/>
                </a:lnTo>
                <a:lnTo>
                  <a:pt x="1469" y="2087"/>
                </a:lnTo>
                <a:lnTo>
                  <a:pt x="1469" y="2089"/>
                </a:lnTo>
                <a:lnTo>
                  <a:pt x="1469" y="2087"/>
                </a:lnTo>
                <a:lnTo>
                  <a:pt x="1467" y="2087"/>
                </a:lnTo>
                <a:lnTo>
                  <a:pt x="1469" y="2087"/>
                </a:lnTo>
                <a:lnTo>
                  <a:pt x="1467" y="2087"/>
                </a:lnTo>
                <a:lnTo>
                  <a:pt x="1467" y="2085"/>
                </a:lnTo>
                <a:lnTo>
                  <a:pt x="1469" y="2085"/>
                </a:lnTo>
                <a:lnTo>
                  <a:pt x="1467" y="2085"/>
                </a:lnTo>
                <a:lnTo>
                  <a:pt x="1467" y="2087"/>
                </a:lnTo>
                <a:lnTo>
                  <a:pt x="1467" y="2089"/>
                </a:lnTo>
                <a:lnTo>
                  <a:pt x="1465" y="2089"/>
                </a:lnTo>
                <a:lnTo>
                  <a:pt x="1465" y="2091"/>
                </a:lnTo>
                <a:lnTo>
                  <a:pt x="1467" y="2091"/>
                </a:lnTo>
                <a:lnTo>
                  <a:pt x="1467" y="2089"/>
                </a:lnTo>
                <a:lnTo>
                  <a:pt x="1469" y="2091"/>
                </a:lnTo>
                <a:lnTo>
                  <a:pt x="1467" y="2093"/>
                </a:lnTo>
                <a:lnTo>
                  <a:pt x="1467" y="2095"/>
                </a:lnTo>
                <a:lnTo>
                  <a:pt x="1465" y="2095"/>
                </a:lnTo>
                <a:lnTo>
                  <a:pt x="1465" y="2093"/>
                </a:lnTo>
                <a:lnTo>
                  <a:pt x="1465" y="2095"/>
                </a:lnTo>
                <a:lnTo>
                  <a:pt x="1463" y="2095"/>
                </a:lnTo>
                <a:lnTo>
                  <a:pt x="1463" y="2096"/>
                </a:lnTo>
                <a:lnTo>
                  <a:pt x="1463" y="2098"/>
                </a:lnTo>
                <a:lnTo>
                  <a:pt x="1461" y="2098"/>
                </a:lnTo>
                <a:lnTo>
                  <a:pt x="1461" y="2096"/>
                </a:lnTo>
                <a:lnTo>
                  <a:pt x="1461" y="2095"/>
                </a:lnTo>
                <a:lnTo>
                  <a:pt x="1463" y="2096"/>
                </a:lnTo>
                <a:lnTo>
                  <a:pt x="1463" y="2095"/>
                </a:lnTo>
                <a:lnTo>
                  <a:pt x="1461" y="2095"/>
                </a:lnTo>
                <a:lnTo>
                  <a:pt x="1461" y="2093"/>
                </a:lnTo>
                <a:lnTo>
                  <a:pt x="1461" y="2091"/>
                </a:lnTo>
                <a:lnTo>
                  <a:pt x="1463" y="2091"/>
                </a:lnTo>
                <a:lnTo>
                  <a:pt x="1463" y="2089"/>
                </a:lnTo>
                <a:lnTo>
                  <a:pt x="1461" y="2089"/>
                </a:lnTo>
                <a:lnTo>
                  <a:pt x="1463" y="2087"/>
                </a:lnTo>
                <a:lnTo>
                  <a:pt x="1465" y="2087"/>
                </a:lnTo>
                <a:lnTo>
                  <a:pt x="1465" y="2085"/>
                </a:lnTo>
                <a:lnTo>
                  <a:pt x="1465" y="2083"/>
                </a:lnTo>
                <a:lnTo>
                  <a:pt x="1467" y="2083"/>
                </a:lnTo>
                <a:lnTo>
                  <a:pt x="1467" y="2081"/>
                </a:lnTo>
                <a:lnTo>
                  <a:pt x="1467" y="2079"/>
                </a:lnTo>
                <a:lnTo>
                  <a:pt x="1469" y="2079"/>
                </a:lnTo>
                <a:lnTo>
                  <a:pt x="1469" y="2077"/>
                </a:lnTo>
                <a:lnTo>
                  <a:pt x="1471" y="2079"/>
                </a:lnTo>
                <a:lnTo>
                  <a:pt x="1469" y="2079"/>
                </a:lnTo>
                <a:lnTo>
                  <a:pt x="1471" y="2081"/>
                </a:lnTo>
                <a:lnTo>
                  <a:pt x="1471" y="2079"/>
                </a:lnTo>
                <a:lnTo>
                  <a:pt x="1473" y="2079"/>
                </a:lnTo>
                <a:lnTo>
                  <a:pt x="1473" y="2077"/>
                </a:lnTo>
                <a:lnTo>
                  <a:pt x="1475" y="2077"/>
                </a:lnTo>
                <a:lnTo>
                  <a:pt x="1475" y="2079"/>
                </a:lnTo>
                <a:lnTo>
                  <a:pt x="1475" y="2077"/>
                </a:lnTo>
                <a:lnTo>
                  <a:pt x="1477" y="2077"/>
                </a:lnTo>
                <a:lnTo>
                  <a:pt x="1475" y="2077"/>
                </a:lnTo>
                <a:lnTo>
                  <a:pt x="1475" y="2075"/>
                </a:lnTo>
                <a:lnTo>
                  <a:pt x="1475" y="2077"/>
                </a:lnTo>
                <a:lnTo>
                  <a:pt x="1475" y="2075"/>
                </a:lnTo>
                <a:lnTo>
                  <a:pt x="1473" y="2075"/>
                </a:lnTo>
                <a:lnTo>
                  <a:pt x="1471" y="2077"/>
                </a:lnTo>
                <a:lnTo>
                  <a:pt x="1473" y="2077"/>
                </a:lnTo>
                <a:lnTo>
                  <a:pt x="1471" y="2077"/>
                </a:lnTo>
                <a:lnTo>
                  <a:pt x="1471" y="2075"/>
                </a:lnTo>
                <a:lnTo>
                  <a:pt x="1471" y="2077"/>
                </a:lnTo>
                <a:lnTo>
                  <a:pt x="1469" y="2077"/>
                </a:lnTo>
                <a:lnTo>
                  <a:pt x="1469" y="2075"/>
                </a:lnTo>
                <a:lnTo>
                  <a:pt x="1471" y="2075"/>
                </a:lnTo>
                <a:lnTo>
                  <a:pt x="1471" y="2073"/>
                </a:lnTo>
                <a:lnTo>
                  <a:pt x="1471" y="2075"/>
                </a:lnTo>
                <a:lnTo>
                  <a:pt x="1473" y="2075"/>
                </a:lnTo>
                <a:lnTo>
                  <a:pt x="1473" y="2073"/>
                </a:lnTo>
                <a:lnTo>
                  <a:pt x="1473" y="2072"/>
                </a:lnTo>
                <a:lnTo>
                  <a:pt x="1475" y="2072"/>
                </a:lnTo>
                <a:lnTo>
                  <a:pt x="1475" y="2073"/>
                </a:lnTo>
                <a:lnTo>
                  <a:pt x="1477" y="2073"/>
                </a:lnTo>
                <a:lnTo>
                  <a:pt x="1477" y="2072"/>
                </a:lnTo>
                <a:lnTo>
                  <a:pt x="1477" y="2070"/>
                </a:lnTo>
                <a:lnTo>
                  <a:pt x="1477" y="2072"/>
                </a:lnTo>
                <a:lnTo>
                  <a:pt x="1479" y="2070"/>
                </a:lnTo>
                <a:lnTo>
                  <a:pt x="1479" y="2068"/>
                </a:lnTo>
                <a:lnTo>
                  <a:pt x="1479" y="2070"/>
                </a:lnTo>
                <a:lnTo>
                  <a:pt x="1481" y="2070"/>
                </a:lnTo>
                <a:lnTo>
                  <a:pt x="1481" y="2072"/>
                </a:lnTo>
                <a:lnTo>
                  <a:pt x="1481" y="2070"/>
                </a:lnTo>
                <a:lnTo>
                  <a:pt x="1481" y="2068"/>
                </a:lnTo>
                <a:lnTo>
                  <a:pt x="1483" y="2068"/>
                </a:lnTo>
                <a:lnTo>
                  <a:pt x="1483" y="2070"/>
                </a:lnTo>
                <a:lnTo>
                  <a:pt x="1481" y="2070"/>
                </a:lnTo>
                <a:lnTo>
                  <a:pt x="1481" y="2072"/>
                </a:lnTo>
                <a:lnTo>
                  <a:pt x="1481" y="2073"/>
                </a:lnTo>
                <a:lnTo>
                  <a:pt x="1479" y="2073"/>
                </a:lnTo>
                <a:lnTo>
                  <a:pt x="1477" y="2073"/>
                </a:lnTo>
                <a:lnTo>
                  <a:pt x="1479" y="2075"/>
                </a:lnTo>
                <a:lnTo>
                  <a:pt x="1479" y="2073"/>
                </a:lnTo>
                <a:lnTo>
                  <a:pt x="1481" y="2073"/>
                </a:lnTo>
                <a:lnTo>
                  <a:pt x="1481" y="2075"/>
                </a:lnTo>
                <a:lnTo>
                  <a:pt x="1481" y="2073"/>
                </a:lnTo>
                <a:lnTo>
                  <a:pt x="1483" y="2073"/>
                </a:lnTo>
                <a:lnTo>
                  <a:pt x="1483" y="2075"/>
                </a:lnTo>
                <a:lnTo>
                  <a:pt x="1483" y="2077"/>
                </a:lnTo>
                <a:lnTo>
                  <a:pt x="1481" y="2077"/>
                </a:lnTo>
                <a:lnTo>
                  <a:pt x="1481" y="2079"/>
                </a:lnTo>
                <a:lnTo>
                  <a:pt x="1483" y="2079"/>
                </a:lnTo>
                <a:lnTo>
                  <a:pt x="1483" y="2077"/>
                </a:lnTo>
                <a:lnTo>
                  <a:pt x="1484" y="2077"/>
                </a:lnTo>
                <a:lnTo>
                  <a:pt x="1484" y="2075"/>
                </a:lnTo>
                <a:lnTo>
                  <a:pt x="1486" y="2075"/>
                </a:lnTo>
                <a:lnTo>
                  <a:pt x="1484" y="2075"/>
                </a:lnTo>
                <a:lnTo>
                  <a:pt x="1486" y="2075"/>
                </a:lnTo>
                <a:lnTo>
                  <a:pt x="1486" y="2073"/>
                </a:lnTo>
                <a:lnTo>
                  <a:pt x="1486" y="2072"/>
                </a:lnTo>
                <a:lnTo>
                  <a:pt x="1486" y="2070"/>
                </a:lnTo>
                <a:lnTo>
                  <a:pt x="1488" y="2070"/>
                </a:lnTo>
                <a:lnTo>
                  <a:pt x="1486" y="2070"/>
                </a:lnTo>
                <a:lnTo>
                  <a:pt x="1488" y="2070"/>
                </a:lnTo>
                <a:lnTo>
                  <a:pt x="1488" y="2072"/>
                </a:lnTo>
                <a:lnTo>
                  <a:pt x="1488" y="2070"/>
                </a:lnTo>
                <a:lnTo>
                  <a:pt x="1490" y="2070"/>
                </a:lnTo>
                <a:lnTo>
                  <a:pt x="1488" y="2070"/>
                </a:lnTo>
                <a:lnTo>
                  <a:pt x="1490" y="2070"/>
                </a:lnTo>
                <a:lnTo>
                  <a:pt x="1490" y="2068"/>
                </a:lnTo>
                <a:lnTo>
                  <a:pt x="1488" y="2068"/>
                </a:lnTo>
                <a:lnTo>
                  <a:pt x="1490" y="2068"/>
                </a:lnTo>
                <a:lnTo>
                  <a:pt x="1490" y="2066"/>
                </a:lnTo>
                <a:lnTo>
                  <a:pt x="1490" y="2064"/>
                </a:lnTo>
                <a:lnTo>
                  <a:pt x="1490" y="2066"/>
                </a:lnTo>
                <a:lnTo>
                  <a:pt x="1490" y="2064"/>
                </a:lnTo>
                <a:lnTo>
                  <a:pt x="1490" y="2066"/>
                </a:lnTo>
                <a:lnTo>
                  <a:pt x="1488" y="2066"/>
                </a:lnTo>
                <a:lnTo>
                  <a:pt x="1490" y="2066"/>
                </a:lnTo>
                <a:lnTo>
                  <a:pt x="1488" y="2066"/>
                </a:lnTo>
                <a:lnTo>
                  <a:pt x="1490" y="2066"/>
                </a:lnTo>
                <a:lnTo>
                  <a:pt x="1488" y="2066"/>
                </a:lnTo>
                <a:lnTo>
                  <a:pt x="1488" y="2068"/>
                </a:lnTo>
                <a:lnTo>
                  <a:pt x="1486" y="2068"/>
                </a:lnTo>
                <a:lnTo>
                  <a:pt x="1486" y="2066"/>
                </a:lnTo>
                <a:lnTo>
                  <a:pt x="1486" y="2068"/>
                </a:lnTo>
                <a:lnTo>
                  <a:pt x="1484" y="2068"/>
                </a:lnTo>
                <a:lnTo>
                  <a:pt x="1484" y="2066"/>
                </a:lnTo>
                <a:lnTo>
                  <a:pt x="1486" y="2066"/>
                </a:lnTo>
                <a:lnTo>
                  <a:pt x="1484" y="2066"/>
                </a:lnTo>
                <a:lnTo>
                  <a:pt x="1486" y="2064"/>
                </a:lnTo>
                <a:lnTo>
                  <a:pt x="1484" y="2064"/>
                </a:lnTo>
                <a:lnTo>
                  <a:pt x="1486" y="2064"/>
                </a:lnTo>
                <a:lnTo>
                  <a:pt x="1486" y="2062"/>
                </a:lnTo>
                <a:lnTo>
                  <a:pt x="1484" y="2060"/>
                </a:lnTo>
                <a:lnTo>
                  <a:pt x="1484" y="2058"/>
                </a:lnTo>
                <a:lnTo>
                  <a:pt x="1483" y="2058"/>
                </a:lnTo>
                <a:lnTo>
                  <a:pt x="1483" y="2056"/>
                </a:lnTo>
                <a:lnTo>
                  <a:pt x="1483" y="2058"/>
                </a:lnTo>
                <a:lnTo>
                  <a:pt x="1484" y="2058"/>
                </a:lnTo>
                <a:lnTo>
                  <a:pt x="1484" y="2056"/>
                </a:lnTo>
                <a:lnTo>
                  <a:pt x="1486" y="2058"/>
                </a:lnTo>
                <a:lnTo>
                  <a:pt x="1486" y="2056"/>
                </a:lnTo>
                <a:lnTo>
                  <a:pt x="1486" y="2058"/>
                </a:lnTo>
                <a:lnTo>
                  <a:pt x="1488" y="2058"/>
                </a:lnTo>
                <a:lnTo>
                  <a:pt x="1488" y="2056"/>
                </a:lnTo>
                <a:lnTo>
                  <a:pt x="1488" y="2058"/>
                </a:lnTo>
                <a:lnTo>
                  <a:pt x="1490" y="2058"/>
                </a:lnTo>
                <a:lnTo>
                  <a:pt x="1490" y="2056"/>
                </a:lnTo>
                <a:lnTo>
                  <a:pt x="1492" y="2056"/>
                </a:lnTo>
                <a:lnTo>
                  <a:pt x="1492" y="2058"/>
                </a:lnTo>
                <a:lnTo>
                  <a:pt x="1492" y="2056"/>
                </a:lnTo>
                <a:lnTo>
                  <a:pt x="1494" y="2058"/>
                </a:lnTo>
                <a:lnTo>
                  <a:pt x="1492" y="2060"/>
                </a:lnTo>
                <a:lnTo>
                  <a:pt x="1494" y="2058"/>
                </a:lnTo>
                <a:lnTo>
                  <a:pt x="1496" y="2058"/>
                </a:lnTo>
                <a:lnTo>
                  <a:pt x="1494" y="2058"/>
                </a:lnTo>
                <a:lnTo>
                  <a:pt x="1494" y="2056"/>
                </a:lnTo>
                <a:lnTo>
                  <a:pt x="1492" y="2056"/>
                </a:lnTo>
                <a:lnTo>
                  <a:pt x="1490" y="2056"/>
                </a:lnTo>
                <a:lnTo>
                  <a:pt x="1488" y="2056"/>
                </a:lnTo>
                <a:lnTo>
                  <a:pt x="1488" y="2054"/>
                </a:lnTo>
                <a:lnTo>
                  <a:pt x="1486" y="2054"/>
                </a:lnTo>
                <a:lnTo>
                  <a:pt x="1488" y="2054"/>
                </a:lnTo>
                <a:lnTo>
                  <a:pt x="1488" y="2052"/>
                </a:lnTo>
                <a:lnTo>
                  <a:pt x="1488" y="2054"/>
                </a:lnTo>
                <a:lnTo>
                  <a:pt x="1490" y="2054"/>
                </a:lnTo>
                <a:lnTo>
                  <a:pt x="1492" y="2054"/>
                </a:lnTo>
                <a:lnTo>
                  <a:pt x="1492" y="2052"/>
                </a:lnTo>
                <a:lnTo>
                  <a:pt x="1492" y="2050"/>
                </a:lnTo>
                <a:lnTo>
                  <a:pt x="1492" y="2052"/>
                </a:lnTo>
                <a:lnTo>
                  <a:pt x="1492" y="2050"/>
                </a:lnTo>
                <a:lnTo>
                  <a:pt x="1492" y="2052"/>
                </a:lnTo>
                <a:lnTo>
                  <a:pt x="1490" y="2052"/>
                </a:lnTo>
                <a:lnTo>
                  <a:pt x="1492" y="2050"/>
                </a:lnTo>
                <a:lnTo>
                  <a:pt x="1490" y="2050"/>
                </a:lnTo>
                <a:lnTo>
                  <a:pt x="1490" y="2052"/>
                </a:lnTo>
                <a:lnTo>
                  <a:pt x="1488" y="2052"/>
                </a:lnTo>
                <a:lnTo>
                  <a:pt x="1488" y="2050"/>
                </a:lnTo>
                <a:lnTo>
                  <a:pt x="1486" y="2050"/>
                </a:lnTo>
                <a:lnTo>
                  <a:pt x="1488" y="2050"/>
                </a:lnTo>
                <a:lnTo>
                  <a:pt x="1488" y="2048"/>
                </a:lnTo>
                <a:lnTo>
                  <a:pt x="1486" y="2048"/>
                </a:lnTo>
                <a:lnTo>
                  <a:pt x="1488" y="2048"/>
                </a:lnTo>
                <a:lnTo>
                  <a:pt x="1488" y="2047"/>
                </a:lnTo>
                <a:lnTo>
                  <a:pt x="1490" y="2047"/>
                </a:lnTo>
                <a:lnTo>
                  <a:pt x="1488" y="2045"/>
                </a:lnTo>
                <a:lnTo>
                  <a:pt x="1488" y="2043"/>
                </a:lnTo>
                <a:lnTo>
                  <a:pt x="1490" y="2043"/>
                </a:lnTo>
                <a:lnTo>
                  <a:pt x="1490" y="2041"/>
                </a:lnTo>
                <a:lnTo>
                  <a:pt x="1492" y="2041"/>
                </a:lnTo>
                <a:lnTo>
                  <a:pt x="1492" y="2039"/>
                </a:lnTo>
                <a:lnTo>
                  <a:pt x="1494" y="2037"/>
                </a:lnTo>
                <a:lnTo>
                  <a:pt x="1494" y="2035"/>
                </a:lnTo>
                <a:lnTo>
                  <a:pt x="1496" y="2037"/>
                </a:lnTo>
                <a:lnTo>
                  <a:pt x="1496" y="2039"/>
                </a:lnTo>
                <a:lnTo>
                  <a:pt x="1496" y="2041"/>
                </a:lnTo>
                <a:lnTo>
                  <a:pt x="1496" y="2043"/>
                </a:lnTo>
                <a:lnTo>
                  <a:pt x="1494" y="2043"/>
                </a:lnTo>
                <a:lnTo>
                  <a:pt x="1494" y="2045"/>
                </a:lnTo>
                <a:lnTo>
                  <a:pt x="1496" y="2043"/>
                </a:lnTo>
                <a:lnTo>
                  <a:pt x="1498" y="2043"/>
                </a:lnTo>
                <a:lnTo>
                  <a:pt x="1498" y="2041"/>
                </a:lnTo>
                <a:lnTo>
                  <a:pt x="1498" y="2039"/>
                </a:lnTo>
                <a:lnTo>
                  <a:pt x="1498" y="2037"/>
                </a:lnTo>
                <a:lnTo>
                  <a:pt x="1498" y="2035"/>
                </a:lnTo>
                <a:lnTo>
                  <a:pt x="1500" y="2035"/>
                </a:lnTo>
                <a:lnTo>
                  <a:pt x="1498" y="2035"/>
                </a:lnTo>
                <a:lnTo>
                  <a:pt x="1500" y="2035"/>
                </a:lnTo>
                <a:lnTo>
                  <a:pt x="1502" y="2035"/>
                </a:lnTo>
                <a:lnTo>
                  <a:pt x="1502" y="2037"/>
                </a:lnTo>
                <a:lnTo>
                  <a:pt x="1502" y="2035"/>
                </a:lnTo>
                <a:lnTo>
                  <a:pt x="1502" y="2037"/>
                </a:lnTo>
                <a:lnTo>
                  <a:pt x="1502" y="2039"/>
                </a:lnTo>
                <a:lnTo>
                  <a:pt x="1502" y="2041"/>
                </a:lnTo>
                <a:lnTo>
                  <a:pt x="1502" y="2043"/>
                </a:lnTo>
                <a:lnTo>
                  <a:pt x="1504" y="2043"/>
                </a:lnTo>
                <a:lnTo>
                  <a:pt x="1502" y="2043"/>
                </a:lnTo>
                <a:lnTo>
                  <a:pt x="1504" y="2043"/>
                </a:lnTo>
                <a:lnTo>
                  <a:pt x="1504" y="2045"/>
                </a:lnTo>
                <a:lnTo>
                  <a:pt x="1504" y="2043"/>
                </a:lnTo>
                <a:lnTo>
                  <a:pt x="1506" y="2043"/>
                </a:lnTo>
                <a:lnTo>
                  <a:pt x="1506" y="2041"/>
                </a:lnTo>
                <a:lnTo>
                  <a:pt x="1504" y="2041"/>
                </a:lnTo>
                <a:lnTo>
                  <a:pt x="1504" y="2039"/>
                </a:lnTo>
                <a:lnTo>
                  <a:pt x="1504" y="2037"/>
                </a:lnTo>
                <a:lnTo>
                  <a:pt x="1504" y="2039"/>
                </a:lnTo>
                <a:lnTo>
                  <a:pt x="1506" y="2039"/>
                </a:lnTo>
                <a:lnTo>
                  <a:pt x="1506" y="2037"/>
                </a:lnTo>
                <a:lnTo>
                  <a:pt x="1504" y="2037"/>
                </a:lnTo>
                <a:lnTo>
                  <a:pt x="1506" y="2037"/>
                </a:lnTo>
                <a:lnTo>
                  <a:pt x="1504" y="2037"/>
                </a:lnTo>
                <a:lnTo>
                  <a:pt x="1504" y="2035"/>
                </a:lnTo>
                <a:lnTo>
                  <a:pt x="1504" y="2037"/>
                </a:lnTo>
                <a:lnTo>
                  <a:pt x="1504" y="2035"/>
                </a:lnTo>
                <a:lnTo>
                  <a:pt x="1506" y="2037"/>
                </a:lnTo>
                <a:lnTo>
                  <a:pt x="1506" y="2039"/>
                </a:lnTo>
                <a:lnTo>
                  <a:pt x="1508" y="2039"/>
                </a:lnTo>
                <a:lnTo>
                  <a:pt x="1508" y="2041"/>
                </a:lnTo>
                <a:lnTo>
                  <a:pt x="1508" y="2043"/>
                </a:lnTo>
                <a:lnTo>
                  <a:pt x="1509" y="2045"/>
                </a:lnTo>
                <a:lnTo>
                  <a:pt x="1509" y="2047"/>
                </a:lnTo>
                <a:lnTo>
                  <a:pt x="1508" y="2048"/>
                </a:lnTo>
                <a:lnTo>
                  <a:pt x="1508" y="2050"/>
                </a:lnTo>
                <a:lnTo>
                  <a:pt x="1508" y="2048"/>
                </a:lnTo>
                <a:lnTo>
                  <a:pt x="1508" y="2050"/>
                </a:lnTo>
                <a:lnTo>
                  <a:pt x="1509" y="2048"/>
                </a:lnTo>
                <a:lnTo>
                  <a:pt x="1509" y="2050"/>
                </a:lnTo>
                <a:lnTo>
                  <a:pt x="1508" y="2050"/>
                </a:lnTo>
                <a:lnTo>
                  <a:pt x="1509" y="2050"/>
                </a:lnTo>
                <a:lnTo>
                  <a:pt x="1508" y="2050"/>
                </a:lnTo>
                <a:lnTo>
                  <a:pt x="1508" y="2052"/>
                </a:lnTo>
                <a:lnTo>
                  <a:pt x="1508" y="2050"/>
                </a:lnTo>
                <a:lnTo>
                  <a:pt x="1506" y="2050"/>
                </a:lnTo>
                <a:lnTo>
                  <a:pt x="1506" y="2052"/>
                </a:lnTo>
                <a:lnTo>
                  <a:pt x="1508" y="2052"/>
                </a:lnTo>
                <a:lnTo>
                  <a:pt x="1508" y="2054"/>
                </a:lnTo>
                <a:lnTo>
                  <a:pt x="1508" y="2056"/>
                </a:lnTo>
                <a:lnTo>
                  <a:pt x="1506" y="2056"/>
                </a:lnTo>
                <a:lnTo>
                  <a:pt x="1506" y="2058"/>
                </a:lnTo>
                <a:lnTo>
                  <a:pt x="1504" y="2058"/>
                </a:lnTo>
                <a:lnTo>
                  <a:pt x="1502" y="2058"/>
                </a:lnTo>
                <a:lnTo>
                  <a:pt x="1502" y="2060"/>
                </a:lnTo>
                <a:lnTo>
                  <a:pt x="1502" y="2058"/>
                </a:lnTo>
                <a:lnTo>
                  <a:pt x="1502" y="2060"/>
                </a:lnTo>
                <a:lnTo>
                  <a:pt x="1500" y="2060"/>
                </a:lnTo>
                <a:lnTo>
                  <a:pt x="1500" y="2062"/>
                </a:lnTo>
                <a:lnTo>
                  <a:pt x="1500" y="2060"/>
                </a:lnTo>
                <a:lnTo>
                  <a:pt x="1498" y="2060"/>
                </a:lnTo>
                <a:lnTo>
                  <a:pt x="1496" y="2060"/>
                </a:lnTo>
                <a:lnTo>
                  <a:pt x="1498" y="2060"/>
                </a:lnTo>
                <a:lnTo>
                  <a:pt x="1498" y="2062"/>
                </a:lnTo>
                <a:lnTo>
                  <a:pt x="1498" y="2060"/>
                </a:lnTo>
                <a:lnTo>
                  <a:pt x="1498" y="2062"/>
                </a:lnTo>
                <a:lnTo>
                  <a:pt x="1500" y="2062"/>
                </a:lnTo>
                <a:lnTo>
                  <a:pt x="1502" y="2062"/>
                </a:lnTo>
                <a:lnTo>
                  <a:pt x="1502" y="2060"/>
                </a:lnTo>
                <a:lnTo>
                  <a:pt x="1504" y="2060"/>
                </a:lnTo>
                <a:lnTo>
                  <a:pt x="1506" y="2060"/>
                </a:lnTo>
                <a:lnTo>
                  <a:pt x="1508" y="2058"/>
                </a:lnTo>
                <a:lnTo>
                  <a:pt x="1509" y="2058"/>
                </a:lnTo>
                <a:lnTo>
                  <a:pt x="1508" y="2058"/>
                </a:lnTo>
                <a:lnTo>
                  <a:pt x="1509" y="2058"/>
                </a:lnTo>
                <a:lnTo>
                  <a:pt x="1509" y="2056"/>
                </a:lnTo>
                <a:lnTo>
                  <a:pt x="1509" y="2054"/>
                </a:lnTo>
                <a:lnTo>
                  <a:pt x="1511" y="2054"/>
                </a:lnTo>
                <a:lnTo>
                  <a:pt x="1511" y="2056"/>
                </a:lnTo>
                <a:lnTo>
                  <a:pt x="1511" y="2058"/>
                </a:lnTo>
                <a:lnTo>
                  <a:pt x="1513" y="2058"/>
                </a:lnTo>
                <a:lnTo>
                  <a:pt x="1515" y="2060"/>
                </a:lnTo>
                <a:lnTo>
                  <a:pt x="1513" y="2060"/>
                </a:lnTo>
                <a:lnTo>
                  <a:pt x="1513" y="2062"/>
                </a:lnTo>
                <a:lnTo>
                  <a:pt x="1511" y="2062"/>
                </a:lnTo>
                <a:lnTo>
                  <a:pt x="1509" y="2062"/>
                </a:lnTo>
                <a:lnTo>
                  <a:pt x="1511" y="2064"/>
                </a:lnTo>
                <a:lnTo>
                  <a:pt x="1509" y="2064"/>
                </a:lnTo>
                <a:lnTo>
                  <a:pt x="1508" y="2066"/>
                </a:lnTo>
                <a:lnTo>
                  <a:pt x="1509" y="2066"/>
                </a:lnTo>
                <a:lnTo>
                  <a:pt x="1509" y="2068"/>
                </a:lnTo>
                <a:lnTo>
                  <a:pt x="1509" y="2066"/>
                </a:lnTo>
                <a:lnTo>
                  <a:pt x="1511" y="2066"/>
                </a:lnTo>
                <a:lnTo>
                  <a:pt x="1513" y="2066"/>
                </a:lnTo>
                <a:lnTo>
                  <a:pt x="1513" y="2064"/>
                </a:lnTo>
                <a:lnTo>
                  <a:pt x="1513" y="2062"/>
                </a:lnTo>
                <a:lnTo>
                  <a:pt x="1515" y="2062"/>
                </a:lnTo>
                <a:lnTo>
                  <a:pt x="1517" y="2062"/>
                </a:lnTo>
                <a:lnTo>
                  <a:pt x="1515" y="2062"/>
                </a:lnTo>
                <a:lnTo>
                  <a:pt x="1515" y="2060"/>
                </a:lnTo>
                <a:lnTo>
                  <a:pt x="1517" y="2060"/>
                </a:lnTo>
                <a:lnTo>
                  <a:pt x="1515" y="2060"/>
                </a:lnTo>
                <a:lnTo>
                  <a:pt x="1517" y="2060"/>
                </a:lnTo>
                <a:lnTo>
                  <a:pt x="1519" y="2060"/>
                </a:lnTo>
                <a:lnTo>
                  <a:pt x="1517" y="2060"/>
                </a:lnTo>
                <a:lnTo>
                  <a:pt x="1517" y="2058"/>
                </a:lnTo>
                <a:lnTo>
                  <a:pt x="1519" y="2058"/>
                </a:lnTo>
                <a:lnTo>
                  <a:pt x="1519" y="2056"/>
                </a:lnTo>
                <a:lnTo>
                  <a:pt x="1521" y="2056"/>
                </a:lnTo>
                <a:lnTo>
                  <a:pt x="1519" y="2056"/>
                </a:lnTo>
                <a:lnTo>
                  <a:pt x="1517" y="2056"/>
                </a:lnTo>
                <a:lnTo>
                  <a:pt x="1517" y="2058"/>
                </a:lnTo>
                <a:lnTo>
                  <a:pt x="1517" y="2056"/>
                </a:lnTo>
                <a:lnTo>
                  <a:pt x="1515" y="2056"/>
                </a:lnTo>
                <a:lnTo>
                  <a:pt x="1517" y="2056"/>
                </a:lnTo>
                <a:lnTo>
                  <a:pt x="1515" y="2056"/>
                </a:lnTo>
                <a:lnTo>
                  <a:pt x="1515" y="2054"/>
                </a:lnTo>
                <a:lnTo>
                  <a:pt x="1513" y="2054"/>
                </a:lnTo>
                <a:lnTo>
                  <a:pt x="1513" y="2052"/>
                </a:lnTo>
                <a:lnTo>
                  <a:pt x="1515" y="2052"/>
                </a:lnTo>
                <a:lnTo>
                  <a:pt x="1513" y="2052"/>
                </a:lnTo>
                <a:lnTo>
                  <a:pt x="1513" y="2050"/>
                </a:lnTo>
                <a:lnTo>
                  <a:pt x="1515" y="2050"/>
                </a:lnTo>
                <a:lnTo>
                  <a:pt x="1513" y="2050"/>
                </a:lnTo>
                <a:lnTo>
                  <a:pt x="1513" y="2048"/>
                </a:lnTo>
                <a:lnTo>
                  <a:pt x="1515" y="2048"/>
                </a:lnTo>
                <a:lnTo>
                  <a:pt x="1515" y="2047"/>
                </a:lnTo>
                <a:lnTo>
                  <a:pt x="1515" y="2048"/>
                </a:lnTo>
                <a:lnTo>
                  <a:pt x="1515" y="2050"/>
                </a:lnTo>
                <a:lnTo>
                  <a:pt x="1517" y="2050"/>
                </a:lnTo>
                <a:lnTo>
                  <a:pt x="1519" y="2050"/>
                </a:lnTo>
                <a:lnTo>
                  <a:pt x="1519" y="2052"/>
                </a:lnTo>
                <a:lnTo>
                  <a:pt x="1521" y="2052"/>
                </a:lnTo>
                <a:lnTo>
                  <a:pt x="1519" y="2052"/>
                </a:lnTo>
                <a:lnTo>
                  <a:pt x="1519" y="2050"/>
                </a:lnTo>
                <a:lnTo>
                  <a:pt x="1517" y="2050"/>
                </a:lnTo>
                <a:lnTo>
                  <a:pt x="1517" y="2048"/>
                </a:lnTo>
                <a:lnTo>
                  <a:pt x="1517" y="2047"/>
                </a:lnTo>
                <a:lnTo>
                  <a:pt x="1517" y="2045"/>
                </a:lnTo>
                <a:lnTo>
                  <a:pt x="1517" y="2043"/>
                </a:lnTo>
                <a:lnTo>
                  <a:pt x="1517" y="2041"/>
                </a:lnTo>
                <a:lnTo>
                  <a:pt x="1517" y="2039"/>
                </a:lnTo>
                <a:lnTo>
                  <a:pt x="1517" y="2037"/>
                </a:lnTo>
                <a:lnTo>
                  <a:pt x="1517" y="2035"/>
                </a:lnTo>
                <a:lnTo>
                  <a:pt x="1515" y="2035"/>
                </a:lnTo>
                <a:lnTo>
                  <a:pt x="1517" y="2035"/>
                </a:lnTo>
                <a:lnTo>
                  <a:pt x="1519" y="2035"/>
                </a:lnTo>
                <a:lnTo>
                  <a:pt x="1517" y="2035"/>
                </a:lnTo>
                <a:lnTo>
                  <a:pt x="1517" y="2033"/>
                </a:lnTo>
                <a:lnTo>
                  <a:pt x="1519" y="2033"/>
                </a:lnTo>
                <a:lnTo>
                  <a:pt x="1521" y="2033"/>
                </a:lnTo>
                <a:lnTo>
                  <a:pt x="1521" y="2035"/>
                </a:lnTo>
                <a:lnTo>
                  <a:pt x="1523" y="2035"/>
                </a:lnTo>
                <a:lnTo>
                  <a:pt x="1525" y="2035"/>
                </a:lnTo>
                <a:lnTo>
                  <a:pt x="1525" y="2033"/>
                </a:lnTo>
                <a:lnTo>
                  <a:pt x="1525" y="2035"/>
                </a:lnTo>
                <a:close/>
                <a:moveTo>
                  <a:pt x="1471" y="1991"/>
                </a:moveTo>
                <a:lnTo>
                  <a:pt x="1471" y="1993"/>
                </a:lnTo>
                <a:lnTo>
                  <a:pt x="1471" y="1991"/>
                </a:lnTo>
                <a:lnTo>
                  <a:pt x="1469" y="1991"/>
                </a:lnTo>
                <a:lnTo>
                  <a:pt x="1471" y="1991"/>
                </a:lnTo>
                <a:lnTo>
                  <a:pt x="1469" y="1991"/>
                </a:lnTo>
                <a:lnTo>
                  <a:pt x="1471" y="1991"/>
                </a:lnTo>
                <a:lnTo>
                  <a:pt x="1471" y="1989"/>
                </a:lnTo>
                <a:lnTo>
                  <a:pt x="1471" y="1991"/>
                </a:lnTo>
                <a:close/>
                <a:moveTo>
                  <a:pt x="1469" y="1991"/>
                </a:moveTo>
                <a:lnTo>
                  <a:pt x="1471" y="1989"/>
                </a:lnTo>
                <a:lnTo>
                  <a:pt x="1471" y="1991"/>
                </a:lnTo>
                <a:lnTo>
                  <a:pt x="1469" y="1991"/>
                </a:lnTo>
                <a:close/>
                <a:moveTo>
                  <a:pt x="1550" y="2054"/>
                </a:moveTo>
                <a:lnTo>
                  <a:pt x="1550" y="2052"/>
                </a:lnTo>
                <a:lnTo>
                  <a:pt x="1552" y="2052"/>
                </a:lnTo>
                <a:lnTo>
                  <a:pt x="1550" y="2052"/>
                </a:lnTo>
                <a:lnTo>
                  <a:pt x="1550" y="2054"/>
                </a:lnTo>
                <a:close/>
                <a:moveTo>
                  <a:pt x="914" y="1378"/>
                </a:moveTo>
                <a:lnTo>
                  <a:pt x="914" y="1377"/>
                </a:lnTo>
                <a:lnTo>
                  <a:pt x="914" y="1378"/>
                </a:lnTo>
                <a:close/>
                <a:moveTo>
                  <a:pt x="1473" y="1989"/>
                </a:moveTo>
                <a:lnTo>
                  <a:pt x="1473" y="1991"/>
                </a:lnTo>
                <a:lnTo>
                  <a:pt x="1473" y="1989"/>
                </a:lnTo>
                <a:lnTo>
                  <a:pt x="1475" y="1989"/>
                </a:lnTo>
                <a:lnTo>
                  <a:pt x="1473" y="1989"/>
                </a:lnTo>
                <a:close/>
                <a:moveTo>
                  <a:pt x="1471" y="1983"/>
                </a:moveTo>
                <a:lnTo>
                  <a:pt x="1469" y="1983"/>
                </a:lnTo>
                <a:lnTo>
                  <a:pt x="1471" y="1983"/>
                </a:lnTo>
                <a:close/>
                <a:moveTo>
                  <a:pt x="1515" y="2020"/>
                </a:moveTo>
                <a:lnTo>
                  <a:pt x="1515" y="2022"/>
                </a:lnTo>
                <a:lnTo>
                  <a:pt x="1515" y="2020"/>
                </a:lnTo>
                <a:close/>
                <a:moveTo>
                  <a:pt x="597" y="743"/>
                </a:moveTo>
                <a:lnTo>
                  <a:pt x="599" y="743"/>
                </a:lnTo>
                <a:lnTo>
                  <a:pt x="597" y="743"/>
                </a:lnTo>
                <a:close/>
                <a:moveTo>
                  <a:pt x="939" y="1405"/>
                </a:moveTo>
                <a:lnTo>
                  <a:pt x="937" y="1405"/>
                </a:lnTo>
                <a:lnTo>
                  <a:pt x="939" y="1405"/>
                </a:lnTo>
                <a:lnTo>
                  <a:pt x="941" y="1405"/>
                </a:lnTo>
                <a:lnTo>
                  <a:pt x="941" y="1407"/>
                </a:lnTo>
                <a:lnTo>
                  <a:pt x="939" y="1407"/>
                </a:lnTo>
                <a:lnTo>
                  <a:pt x="941" y="1407"/>
                </a:lnTo>
                <a:lnTo>
                  <a:pt x="939" y="1407"/>
                </a:lnTo>
                <a:lnTo>
                  <a:pt x="937" y="1407"/>
                </a:lnTo>
                <a:lnTo>
                  <a:pt x="935" y="1407"/>
                </a:lnTo>
                <a:lnTo>
                  <a:pt x="937" y="1407"/>
                </a:lnTo>
                <a:lnTo>
                  <a:pt x="937" y="1409"/>
                </a:lnTo>
                <a:lnTo>
                  <a:pt x="939" y="1409"/>
                </a:lnTo>
                <a:lnTo>
                  <a:pt x="941" y="1409"/>
                </a:lnTo>
                <a:lnTo>
                  <a:pt x="943" y="1411"/>
                </a:lnTo>
                <a:lnTo>
                  <a:pt x="941" y="1411"/>
                </a:lnTo>
                <a:lnTo>
                  <a:pt x="939" y="1411"/>
                </a:lnTo>
                <a:lnTo>
                  <a:pt x="937" y="1413"/>
                </a:lnTo>
                <a:lnTo>
                  <a:pt x="939" y="1413"/>
                </a:lnTo>
                <a:lnTo>
                  <a:pt x="941" y="1413"/>
                </a:lnTo>
                <a:lnTo>
                  <a:pt x="941" y="1411"/>
                </a:lnTo>
                <a:lnTo>
                  <a:pt x="941" y="1413"/>
                </a:lnTo>
                <a:lnTo>
                  <a:pt x="943" y="1413"/>
                </a:lnTo>
                <a:lnTo>
                  <a:pt x="945" y="1413"/>
                </a:lnTo>
                <a:lnTo>
                  <a:pt x="945" y="1415"/>
                </a:lnTo>
                <a:lnTo>
                  <a:pt x="945" y="1417"/>
                </a:lnTo>
                <a:lnTo>
                  <a:pt x="945" y="1419"/>
                </a:lnTo>
                <a:lnTo>
                  <a:pt x="947" y="1419"/>
                </a:lnTo>
                <a:lnTo>
                  <a:pt x="945" y="1419"/>
                </a:lnTo>
                <a:lnTo>
                  <a:pt x="943" y="1419"/>
                </a:lnTo>
                <a:lnTo>
                  <a:pt x="941" y="1419"/>
                </a:lnTo>
                <a:lnTo>
                  <a:pt x="941" y="1417"/>
                </a:lnTo>
                <a:lnTo>
                  <a:pt x="939" y="1417"/>
                </a:lnTo>
                <a:lnTo>
                  <a:pt x="939" y="1415"/>
                </a:lnTo>
                <a:lnTo>
                  <a:pt x="941" y="1415"/>
                </a:lnTo>
                <a:lnTo>
                  <a:pt x="939" y="1415"/>
                </a:lnTo>
                <a:lnTo>
                  <a:pt x="937" y="1415"/>
                </a:lnTo>
                <a:lnTo>
                  <a:pt x="937" y="1413"/>
                </a:lnTo>
                <a:lnTo>
                  <a:pt x="935" y="1413"/>
                </a:lnTo>
                <a:lnTo>
                  <a:pt x="935" y="1411"/>
                </a:lnTo>
                <a:lnTo>
                  <a:pt x="933" y="1411"/>
                </a:lnTo>
                <a:lnTo>
                  <a:pt x="931" y="1411"/>
                </a:lnTo>
                <a:lnTo>
                  <a:pt x="929" y="1411"/>
                </a:lnTo>
                <a:lnTo>
                  <a:pt x="929" y="1413"/>
                </a:lnTo>
                <a:lnTo>
                  <a:pt x="928" y="1413"/>
                </a:lnTo>
                <a:lnTo>
                  <a:pt x="926" y="1413"/>
                </a:lnTo>
                <a:lnTo>
                  <a:pt x="926" y="1411"/>
                </a:lnTo>
                <a:lnTo>
                  <a:pt x="924" y="1411"/>
                </a:lnTo>
                <a:lnTo>
                  <a:pt x="924" y="1409"/>
                </a:lnTo>
                <a:lnTo>
                  <a:pt x="926" y="1409"/>
                </a:lnTo>
                <a:lnTo>
                  <a:pt x="926" y="1407"/>
                </a:lnTo>
                <a:lnTo>
                  <a:pt x="926" y="1409"/>
                </a:lnTo>
                <a:lnTo>
                  <a:pt x="928" y="1409"/>
                </a:lnTo>
                <a:lnTo>
                  <a:pt x="926" y="1409"/>
                </a:lnTo>
                <a:lnTo>
                  <a:pt x="928" y="1409"/>
                </a:lnTo>
                <a:lnTo>
                  <a:pt x="928" y="1407"/>
                </a:lnTo>
                <a:lnTo>
                  <a:pt x="926" y="1407"/>
                </a:lnTo>
                <a:lnTo>
                  <a:pt x="926" y="1405"/>
                </a:lnTo>
                <a:lnTo>
                  <a:pt x="928" y="1405"/>
                </a:lnTo>
                <a:lnTo>
                  <a:pt x="928" y="1407"/>
                </a:lnTo>
                <a:lnTo>
                  <a:pt x="929" y="1407"/>
                </a:lnTo>
                <a:lnTo>
                  <a:pt x="929" y="1405"/>
                </a:lnTo>
                <a:lnTo>
                  <a:pt x="929" y="1407"/>
                </a:lnTo>
                <a:lnTo>
                  <a:pt x="931" y="1407"/>
                </a:lnTo>
                <a:lnTo>
                  <a:pt x="931" y="1405"/>
                </a:lnTo>
                <a:lnTo>
                  <a:pt x="929" y="1405"/>
                </a:lnTo>
                <a:lnTo>
                  <a:pt x="928" y="1405"/>
                </a:lnTo>
                <a:lnTo>
                  <a:pt x="929" y="1405"/>
                </a:lnTo>
                <a:lnTo>
                  <a:pt x="928" y="1405"/>
                </a:lnTo>
                <a:lnTo>
                  <a:pt x="926" y="1405"/>
                </a:lnTo>
                <a:lnTo>
                  <a:pt x="926" y="1403"/>
                </a:lnTo>
                <a:lnTo>
                  <a:pt x="928" y="1403"/>
                </a:lnTo>
                <a:lnTo>
                  <a:pt x="929" y="1403"/>
                </a:lnTo>
                <a:lnTo>
                  <a:pt x="929" y="1405"/>
                </a:lnTo>
                <a:lnTo>
                  <a:pt x="931" y="1403"/>
                </a:lnTo>
                <a:lnTo>
                  <a:pt x="929" y="1403"/>
                </a:lnTo>
                <a:lnTo>
                  <a:pt x="929" y="1401"/>
                </a:lnTo>
                <a:lnTo>
                  <a:pt x="931" y="1401"/>
                </a:lnTo>
                <a:lnTo>
                  <a:pt x="931" y="1403"/>
                </a:lnTo>
                <a:lnTo>
                  <a:pt x="933" y="1403"/>
                </a:lnTo>
                <a:lnTo>
                  <a:pt x="935" y="1403"/>
                </a:lnTo>
                <a:lnTo>
                  <a:pt x="937" y="1403"/>
                </a:lnTo>
                <a:lnTo>
                  <a:pt x="939" y="1403"/>
                </a:lnTo>
                <a:lnTo>
                  <a:pt x="937" y="1403"/>
                </a:lnTo>
                <a:lnTo>
                  <a:pt x="937" y="1401"/>
                </a:lnTo>
                <a:lnTo>
                  <a:pt x="939" y="1401"/>
                </a:lnTo>
                <a:lnTo>
                  <a:pt x="939" y="1403"/>
                </a:lnTo>
                <a:lnTo>
                  <a:pt x="941" y="1403"/>
                </a:lnTo>
                <a:lnTo>
                  <a:pt x="939" y="1403"/>
                </a:lnTo>
                <a:lnTo>
                  <a:pt x="939" y="1405"/>
                </a:lnTo>
                <a:close/>
                <a:moveTo>
                  <a:pt x="941" y="1403"/>
                </a:moveTo>
                <a:lnTo>
                  <a:pt x="939" y="1403"/>
                </a:lnTo>
                <a:lnTo>
                  <a:pt x="941" y="1403"/>
                </a:lnTo>
                <a:close/>
                <a:moveTo>
                  <a:pt x="1542" y="2037"/>
                </a:moveTo>
                <a:lnTo>
                  <a:pt x="1544" y="2037"/>
                </a:lnTo>
                <a:lnTo>
                  <a:pt x="1542" y="2037"/>
                </a:lnTo>
                <a:close/>
                <a:moveTo>
                  <a:pt x="1475" y="1981"/>
                </a:moveTo>
                <a:lnTo>
                  <a:pt x="1475" y="1983"/>
                </a:lnTo>
                <a:lnTo>
                  <a:pt x="1475" y="1985"/>
                </a:lnTo>
                <a:lnTo>
                  <a:pt x="1475" y="1987"/>
                </a:lnTo>
                <a:lnTo>
                  <a:pt x="1475" y="1985"/>
                </a:lnTo>
                <a:lnTo>
                  <a:pt x="1473" y="1987"/>
                </a:lnTo>
                <a:lnTo>
                  <a:pt x="1473" y="1985"/>
                </a:lnTo>
                <a:lnTo>
                  <a:pt x="1473" y="1987"/>
                </a:lnTo>
                <a:lnTo>
                  <a:pt x="1473" y="1985"/>
                </a:lnTo>
                <a:lnTo>
                  <a:pt x="1471" y="1985"/>
                </a:lnTo>
                <a:lnTo>
                  <a:pt x="1471" y="1987"/>
                </a:lnTo>
                <a:lnTo>
                  <a:pt x="1471" y="1985"/>
                </a:lnTo>
                <a:lnTo>
                  <a:pt x="1469" y="1985"/>
                </a:lnTo>
                <a:lnTo>
                  <a:pt x="1471" y="1985"/>
                </a:lnTo>
                <a:lnTo>
                  <a:pt x="1469" y="1985"/>
                </a:lnTo>
                <a:lnTo>
                  <a:pt x="1471" y="1985"/>
                </a:lnTo>
                <a:lnTo>
                  <a:pt x="1471" y="1983"/>
                </a:lnTo>
                <a:lnTo>
                  <a:pt x="1473" y="1983"/>
                </a:lnTo>
                <a:lnTo>
                  <a:pt x="1471" y="1983"/>
                </a:lnTo>
                <a:lnTo>
                  <a:pt x="1473" y="1983"/>
                </a:lnTo>
                <a:lnTo>
                  <a:pt x="1473" y="1981"/>
                </a:lnTo>
                <a:lnTo>
                  <a:pt x="1475" y="1981"/>
                </a:lnTo>
                <a:close/>
                <a:moveTo>
                  <a:pt x="1479" y="1981"/>
                </a:moveTo>
                <a:lnTo>
                  <a:pt x="1479" y="1983"/>
                </a:lnTo>
                <a:lnTo>
                  <a:pt x="1481" y="1983"/>
                </a:lnTo>
                <a:lnTo>
                  <a:pt x="1479" y="1983"/>
                </a:lnTo>
                <a:lnTo>
                  <a:pt x="1479" y="1985"/>
                </a:lnTo>
                <a:lnTo>
                  <a:pt x="1477" y="1985"/>
                </a:lnTo>
                <a:lnTo>
                  <a:pt x="1475" y="1985"/>
                </a:lnTo>
                <a:lnTo>
                  <a:pt x="1475" y="1983"/>
                </a:lnTo>
                <a:lnTo>
                  <a:pt x="1475" y="1981"/>
                </a:lnTo>
                <a:lnTo>
                  <a:pt x="1477" y="1981"/>
                </a:lnTo>
                <a:lnTo>
                  <a:pt x="1479" y="1981"/>
                </a:lnTo>
                <a:close/>
                <a:moveTo>
                  <a:pt x="1544" y="2037"/>
                </a:moveTo>
                <a:lnTo>
                  <a:pt x="1544" y="2035"/>
                </a:lnTo>
                <a:lnTo>
                  <a:pt x="1546" y="2035"/>
                </a:lnTo>
                <a:lnTo>
                  <a:pt x="1546" y="2037"/>
                </a:lnTo>
                <a:lnTo>
                  <a:pt x="1544" y="2037"/>
                </a:lnTo>
                <a:close/>
                <a:moveTo>
                  <a:pt x="601" y="733"/>
                </a:moveTo>
                <a:lnTo>
                  <a:pt x="601" y="735"/>
                </a:lnTo>
                <a:lnTo>
                  <a:pt x="599" y="735"/>
                </a:lnTo>
                <a:lnTo>
                  <a:pt x="599" y="733"/>
                </a:lnTo>
                <a:lnTo>
                  <a:pt x="597" y="733"/>
                </a:lnTo>
                <a:lnTo>
                  <a:pt x="595" y="733"/>
                </a:lnTo>
                <a:lnTo>
                  <a:pt x="593" y="733"/>
                </a:lnTo>
                <a:lnTo>
                  <a:pt x="592" y="733"/>
                </a:lnTo>
                <a:lnTo>
                  <a:pt x="592" y="731"/>
                </a:lnTo>
                <a:lnTo>
                  <a:pt x="590" y="731"/>
                </a:lnTo>
                <a:lnTo>
                  <a:pt x="588" y="731"/>
                </a:lnTo>
                <a:lnTo>
                  <a:pt x="588" y="730"/>
                </a:lnTo>
                <a:lnTo>
                  <a:pt x="588" y="731"/>
                </a:lnTo>
                <a:lnTo>
                  <a:pt x="588" y="730"/>
                </a:lnTo>
                <a:lnTo>
                  <a:pt x="590" y="730"/>
                </a:lnTo>
                <a:lnTo>
                  <a:pt x="590" y="731"/>
                </a:lnTo>
                <a:lnTo>
                  <a:pt x="590" y="730"/>
                </a:lnTo>
                <a:lnTo>
                  <a:pt x="590" y="731"/>
                </a:lnTo>
                <a:lnTo>
                  <a:pt x="590" y="730"/>
                </a:lnTo>
                <a:lnTo>
                  <a:pt x="590" y="728"/>
                </a:lnTo>
                <a:lnTo>
                  <a:pt x="590" y="726"/>
                </a:lnTo>
                <a:lnTo>
                  <a:pt x="590" y="724"/>
                </a:lnTo>
                <a:lnTo>
                  <a:pt x="592" y="724"/>
                </a:lnTo>
                <a:lnTo>
                  <a:pt x="593" y="724"/>
                </a:lnTo>
                <a:lnTo>
                  <a:pt x="593" y="726"/>
                </a:lnTo>
                <a:lnTo>
                  <a:pt x="595" y="726"/>
                </a:lnTo>
                <a:lnTo>
                  <a:pt x="595" y="728"/>
                </a:lnTo>
                <a:lnTo>
                  <a:pt x="595" y="730"/>
                </a:lnTo>
                <a:lnTo>
                  <a:pt x="597" y="730"/>
                </a:lnTo>
                <a:lnTo>
                  <a:pt x="597" y="731"/>
                </a:lnTo>
                <a:lnTo>
                  <a:pt x="599" y="733"/>
                </a:lnTo>
                <a:lnTo>
                  <a:pt x="601" y="733"/>
                </a:lnTo>
                <a:close/>
                <a:moveTo>
                  <a:pt x="597" y="733"/>
                </a:moveTo>
                <a:lnTo>
                  <a:pt x="597" y="731"/>
                </a:lnTo>
                <a:lnTo>
                  <a:pt x="595" y="731"/>
                </a:lnTo>
                <a:lnTo>
                  <a:pt x="595" y="733"/>
                </a:lnTo>
                <a:lnTo>
                  <a:pt x="597" y="733"/>
                </a:lnTo>
                <a:close/>
                <a:moveTo>
                  <a:pt x="1531" y="2018"/>
                </a:moveTo>
                <a:lnTo>
                  <a:pt x="1531" y="2020"/>
                </a:lnTo>
                <a:lnTo>
                  <a:pt x="1531" y="2018"/>
                </a:lnTo>
                <a:close/>
                <a:moveTo>
                  <a:pt x="1500" y="1995"/>
                </a:moveTo>
                <a:lnTo>
                  <a:pt x="1500" y="1997"/>
                </a:lnTo>
                <a:lnTo>
                  <a:pt x="1498" y="1997"/>
                </a:lnTo>
                <a:lnTo>
                  <a:pt x="1498" y="1995"/>
                </a:lnTo>
                <a:lnTo>
                  <a:pt x="1500" y="1995"/>
                </a:lnTo>
                <a:close/>
                <a:moveTo>
                  <a:pt x="1531" y="2020"/>
                </a:moveTo>
                <a:lnTo>
                  <a:pt x="1531" y="2018"/>
                </a:lnTo>
                <a:lnTo>
                  <a:pt x="1531" y="2020"/>
                </a:lnTo>
                <a:close/>
                <a:moveTo>
                  <a:pt x="1550" y="2033"/>
                </a:moveTo>
                <a:lnTo>
                  <a:pt x="1550" y="2031"/>
                </a:lnTo>
                <a:lnTo>
                  <a:pt x="1550" y="2033"/>
                </a:lnTo>
                <a:close/>
                <a:moveTo>
                  <a:pt x="1550" y="2033"/>
                </a:moveTo>
                <a:lnTo>
                  <a:pt x="1550" y="2031"/>
                </a:lnTo>
                <a:lnTo>
                  <a:pt x="1550" y="2033"/>
                </a:lnTo>
                <a:close/>
                <a:moveTo>
                  <a:pt x="1536" y="2024"/>
                </a:moveTo>
                <a:lnTo>
                  <a:pt x="1536" y="2022"/>
                </a:lnTo>
                <a:lnTo>
                  <a:pt x="1536" y="2024"/>
                </a:lnTo>
                <a:close/>
                <a:moveTo>
                  <a:pt x="1538" y="2024"/>
                </a:moveTo>
                <a:lnTo>
                  <a:pt x="1536" y="2024"/>
                </a:lnTo>
                <a:lnTo>
                  <a:pt x="1538" y="2024"/>
                </a:lnTo>
                <a:lnTo>
                  <a:pt x="1538" y="2022"/>
                </a:lnTo>
                <a:lnTo>
                  <a:pt x="1538" y="2024"/>
                </a:lnTo>
                <a:close/>
                <a:moveTo>
                  <a:pt x="1529" y="2016"/>
                </a:moveTo>
                <a:lnTo>
                  <a:pt x="1531" y="2016"/>
                </a:lnTo>
                <a:lnTo>
                  <a:pt x="1529" y="2016"/>
                </a:lnTo>
                <a:close/>
                <a:moveTo>
                  <a:pt x="1557" y="2039"/>
                </a:moveTo>
                <a:lnTo>
                  <a:pt x="1557" y="2037"/>
                </a:lnTo>
                <a:lnTo>
                  <a:pt x="1557" y="2039"/>
                </a:lnTo>
                <a:close/>
                <a:moveTo>
                  <a:pt x="1529" y="2016"/>
                </a:moveTo>
                <a:lnTo>
                  <a:pt x="1529" y="2014"/>
                </a:lnTo>
                <a:lnTo>
                  <a:pt x="1529" y="2016"/>
                </a:lnTo>
                <a:close/>
                <a:moveTo>
                  <a:pt x="1475" y="1974"/>
                </a:moveTo>
                <a:lnTo>
                  <a:pt x="1475" y="1976"/>
                </a:lnTo>
                <a:lnTo>
                  <a:pt x="1475" y="1977"/>
                </a:lnTo>
                <a:lnTo>
                  <a:pt x="1475" y="1979"/>
                </a:lnTo>
                <a:lnTo>
                  <a:pt x="1473" y="1979"/>
                </a:lnTo>
                <a:lnTo>
                  <a:pt x="1473" y="1977"/>
                </a:lnTo>
                <a:lnTo>
                  <a:pt x="1471" y="1977"/>
                </a:lnTo>
                <a:lnTo>
                  <a:pt x="1471" y="1976"/>
                </a:lnTo>
                <a:lnTo>
                  <a:pt x="1473" y="1976"/>
                </a:lnTo>
                <a:lnTo>
                  <a:pt x="1473" y="1974"/>
                </a:lnTo>
                <a:lnTo>
                  <a:pt x="1473" y="1972"/>
                </a:lnTo>
                <a:lnTo>
                  <a:pt x="1473" y="1970"/>
                </a:lnTo>
                <a:lnTo>
                  <a:pt x="1475" y="1970"/>
                </a:lnTo>
                <a:lnTo>
                  <a:pt x="1475" y="1972"/>
                </a:lnTo>
                <a:lnTo>
                  <a:pt x="1475" y="1974"/>
                </a:lnTo>
                <a:close/>
                <a:moveTo>
                  <a:pt x="1473" y="1966"/>
                </a:moveTo>
                <a:lnTo>
                  <a:pt x="1473" y="1968"/>
                </a:lnTo>
                <a:lnTo>
                  <a:pt x="1473" y="1970"/>
                </a:lnTo>
                <a:lnTo>
                  <a:pt x="1473" y="1972"/>
                </a:lnTo>
                <a:lnTo>
                  <a:pt x="1471" y="1972"/>
                </a:lnTo>
                <a:lnTo>
                  <a:pt x="1471" y="1974"/>
                </a:lnTo>
                <a:lnTo>
                  <a:pt x="1471" y="1976"/>
                </a:lnTo>
                <a:lnTo>
                  <a:pt x="1471" y="1977"/>
                </a:lnTo>
                <a:lnTo>
                  <a:pt x="1471" y="1979"/>
                </a:lnTo>
                <a:lnTo>
                  <a:pt x="1471" y="1981"/>
                </a:lnTo>
                <a:lnTo>
                  <a:pt x="1469" y="1981"/>
                </a:lnTo>
                <a:lnTo>
                  <a:pt x="1469" y="1983"/>
                </a:lnTo>
                <a:lnTo>
                  <a:pt x="1467" y="1983"/>
                </a:lnTo>
                <a:lnTo>
                  <a:pt x="1467" y="1985"/>
                </a:lnTo>
                <a:lnTo>
                  <a:pt x="1469" y="1985"/>
                </a:lnTo>
                <a:lnTo>
                  <a:pt x="1469" y="1983"/>
                </a:lnTo>
                <a:lnTo>
                  <a:pt x="1469" y="1985"/>
                </a:lnTo>
                <a:lnTo>
                  <a:pt x="1467" y="1985"/>
                </a:lnTo>
                <a:lnTo>
                  <a:pt x="1467" y="1987"/>
                </a:lnTo>
                <a:lnTo>
                  <a:pt x="1465" y="1987"/>
                </a:lnTo>
                <a:lnTo>
                  <a:pt x="1465" y="1989"/>
                </a:lnTo>
                <a:lnTo>
                  <a:pt x="1463" y="1989"/>
                </a:lnTo>
                <a:lnTo>
                  <a:pt x="1463" y="1991"/>
                </a:lnTo>
                <a:lnTo>
                  <a:pt x="1461" y="1991"/>
                </a:lnTo>
                <a:lnTo>
                  <a:pt x="1459" y="1991"/>
                </a:lnTo>
                <a:lnTo>
                  <a:pt x="1459" y="1989"/>
                </a:lnTo>
                <a:lnTo>
                  <a:pt x="1458" y="1989"/>
                </a:lnTo>
                <a:lnTo>
                  <a:pt x="1456" y="1989"/>
                </a:lnTo>
                <a:lnTo>
                  <a:pt x="1454" y="1989"/>
                </a:lnTo>
                <a:lnTo>
                  <a:pt x="1454" y="1987"/>
                </a:lnTo>
                <a:lnTo>
                  <a:pt x="1452" y="1987"/>
                </a:lnTo>
                <a:lnTo>
                  <a:pt x="1452" y="1985"/>
                </a:lnTo>
                <a:lnTo>
                  <a:pt x="1454" y="1985"/>
                </a:lnTo>
                <a:lnTo>
                  <a:pt x="1454" y="1983"/>
                </a:lnTo>
                <a:lnTo>
                  <a:pt x="1456" y="1983"/>
                </a:lnTo>
                <a:lnTo>
                  <a:pt x="1456" y="1981"/>
                </a:lnTo>
                <a:lnTo>
                  <a:pt x="1458" y="1979"/>
                </a:lnTo>
                <a:lnTo>
                  <a:pt x="1458" y="1981"/>
                </a:lnTo>
                <a:lnTo>
                  <a:pt x="1458" y="1979"/>
                </a:lnTo>
                <a:lnTo>
                  <a:pt x="1458" y="1981"/>
                </a:lnTo>
                <a:lnTo>
                  <a:pt x="1459" y="1981"/>
                </a:lnTo>
                <a:lnTo>
                  <a:pt x="1459" y="1979"/>
                </a:lnTo>
                <a:lnTo>
                  <a:pt x="1459" y="1981"/>
                </a:lnTo>
                <a:lnTo>
                  <a:pt x="1461" y="1981"/>
                </a:lnTo>
                <a:lnTo>
                  <a:pt x="1461" y="1979"/>
                </a:lnTo>
                <a:lnTo>
                  <a:pt x="1461" y="1981"/>
                </a:lnTo>
                <a:lnTo>
                  <a:pt x="1461" y="1979"/>
                </a:lnTo>
                <a:lnTo>
                  <a:pt x="1463" y="1979"/>
                </a:lnTo>
                <a:lnTo>
                  <a:pt x="1465" y="1979"/>
                </a:lnTo>
                <a:lnTo>
                  <a:pt x="1465" y="1977"/>
                </a:lnTo>
                <a:lnTo>
                  <a:pt x="1463" y="1977"/>
                </a:lnTo>
                <a:lnTo>
                  <a:pt x="1463" y="1976"/>
                </a:lnTo>
                <a:lnTo>
                  <a:pt x="1461" y="1976"/>
                </a:lnTo>
                <a:lnTo>
                  <a:pt x="1463" y="1974"/>
                </a:lnTo>
                <a:lnTo>
                  <a:pt x="1465" y="1974"/>
                </a:lnTo>
                <a:lnTo>
                  <a:pt x="1465" y="1972"/>
                </a:lnTo>
                <a:lnTo>
                  <a:pt x="1467" y="1972"/>
                </a:lnTo>
                <a:lnTo>
                  <a:pt x="1465" y="1972"/>
                </a:lnTo>
                <a:lnTo>
                  <a:pt x="1463" y="1972"/>
                </a:lnTo>
                <a:lnTo>
                  <a:pt x="1463" y="1970"/>
                </a:lnTo>
                <a:lnTo>
                  <a:pt x="1465" y="1970"/>
                </a:lnTo>
                <a:lnTo>
                  <a:pt x="1465" y="1968"/>
                </a:lnTo>
                <a:lnTo>
                  <a:pt x="1465" y="1970"/>
                </a:lnTo>
                <a:lnTo>
                  <a:pt x="1465" y="1968"/>
                </a:lnTo>
                <a:lnTo>
                  <a:pt x="1467" y="1968"/>
                </a:lnTo>
                <a:lnTo>
                  <a:pt x="1469" y="1968"/>
                </a:lnTo>
                <a:lnTo>
                  <a:pt x="1469" y="1966"/>
                </a:lnTo>
                <a:lnTo>
                  <a:pt x="1469" y="1964"/>
                </a:lnTo>
                <a:lnTo>
                  <a:pt x="1471" y="1966"/>
                </a:lnTo>
                <a:lnTo>
                  <a:pt x="1471" y="1968"/>
                </a:lnTo>
                <a:lnTo>
                  <a:pt x="1469" y="1968"/>
                </a:lnTo>
                <a:lnTo>
                  <a:pt x="1471" y="1968"/>
                </a:lnTo>
                <a:lnTo>
                  <a:pt x="1471" y="1966"/>
                </a:lnTo>
                <a:lnTo>
                  <a:pt x="1473" y="1966"/>
                </a:lnTo>
                <a:close/>
                <a:moveTo>
                  <a:pt x="974" y="1430"/>
                </a:moveTo>
                <a:lnTo>
                  <a:pt x="976" y="1430"/>
                </a:lnTo>
                <a:lnTo>
                  <a:pt x="976" y="1428"/>
                </a:lnTo>
                <a:lnTo>
                  <a:pt x="976" y="1430"/>
                </a:lnTo>
                <a:lnTo>
                  <a:pt x="978" y="1430"/>
                </a:lnTo>
                <a:lnTo>
                  <a:pt x="976" y="1430"/>
                </a:lnTo>
                <a:lnTo>
                  <a:pt x="974" y="1430"/>
                </a:lnTo>
                <a:close/>
                <a:moveTo>
                  <a:pt x="1557" y="2025"/>
                </a:moveTo>
                <a:lnTo>
                  <a:pt x="1557" y="2027"/>
                </a:lnTo>
                <a:lnTo>
                  <a:pt x="1557" y="2025"/>
                </a:lnTo>
                <a:lnTo>
                  <a:pt x="1557" y="2027"/>
                </a:lnTo>
                <a:lnTo>
                  <a:pt x="1557" y="2025"/>
                </a:lnTo>
                <a:lnTo>
                  <a:pt x="1556" y="2025"/>
                </a:lnTo>
                <a:lnTo>
                  <a:pt x="1557" y="2025"/>
                </a:lnTo>
                <a:close/>
                <a:moveTo>
                  <a:pt x="1473" y="1960"/>
                </a:moveTo>
                <a:lnTo>
                  <a:pt x="1471" y="1960"/>
                </a:lnTo>
                <a:lnTo>
                  <a:pt x="1471" y="1958"/>
                </a:lnTo>
                <a:lnTo>
                  <a:pt x="1473" y="1958"/>
                </a:lnTo>
                <a:lnTo>
                  <a:pt x="1473" y="1960"/>
                </a:lnTo>
                <a:close/>
                <a:moveTo>
                  <a:pt x="1506" y="1985"/>
                </a:moveTo>
                <a:lnTo>
                  <a:pt x="1508" y="1985"/>
                </a:lnTo>
                <a:lnTo>
                  <a:pt x="1506" y="1987"/>
                </a:lnTo>
                <a:lnTo>
                  <a:pt x="1508" y="1987"/>
                </a:lnTo>
                <a:lnTo>
                  <a:pt x="1508" y="1989"/>
                </a:lnTo>
                <a:lnTo>
                  <a:pt x="1506" y="1989"/>
                </a:lnTo>
                <a:lnTo>
                  <a:pt x="1508" y="1991"/>
                </a:lnTo>
                <a:lnTo>
                  <a:pt x="1506" y="1991"/>
                </a:lnTo>
                <a:lnTo>
                  <a:pt x="1506" y="1993"/>
                </a:lnTo>
                <a:lnTo>
                  <a:pt x="1506" y="1995"/>
                </a:lnTo>
                <a:lnTo>
                  <a:pt x="1506" y="1993"/>
                </a:lnTo>
                <a:lnTo>
                  <a:pt x="1506" y="1995"/>
                </a:lnTo>
                <a:lnTo>
                  <a:pt x="1504" y="1995"/>
                </a:lnTo>
                <a:lnTo>
                  <a:pt x="1504" y="1997"/>
                </a:lnTo>
                <a:lnTo>
                  <a:pt x="1504" y="1995"/>
                </a:lnTo>
                <a:lnTo>
                  <a:pt x="1502" y="1997"/>
                </a:lnTo>
                <a:lnTo>
                  <a:pt x="1502" y="1995"/>
                </a:lnTo>
                <a:lnTo>
                  <a:pt x="1504" y="1995"/>
                </a:lnTo>
                <a:lnTo>
                  <a:pt x="1502" y="1995"/>
                </a:lnTo>
                <a:lnTo>
                  <a:pt x="1502" y="1993"/>
                </a:lnTo>
                <a:lnTo>
                  <a:pt x="1502" y="1991"/>
                </a:lnTo>
                <a:lnTo>
                  <a:pt x="1502" y="1989"/>
                </a:lnTo>
                <a:lnTo>
                  <a:pt x="1502" y="1987"/>
                </a:lnTo>
                <a:lnTo>
                  <a:pt x="1502" y="1985"/>
                </a:lnTo>
                <a:lnTo>
                  <a:pt x="1502" y="1983"/>
                </a:lnTo>
                <a:lnTo>
                  <a:pt x="1504" y="1983"/>
                </a:lnTo>
                <a:lnTo>
                  <a:pt x="1504" y="1985"/>
                </a:lnTo>
                <a:lnTo>
                  <a:pt x="1506" y="1985"/>
                </a:lnTo>
                <a:close/>
                <a:moveTo>
                  <a:pt x="1544" y="2014"/>
                </a:moveTo>
                <a:lnTo>
                  <a:pt x="1544" y="2012"/>
                </a:lnTo>
                <a:lnTo>
                  <a:pt x="1544" y="2014"/>
                </a:lnTo>
                <a:close/>
                <a:moveTo>
                  <a:pt x="1519" y="1991"/>
                </a:moveTo>
                <a:lnTo>
                  <a:pt x="1521" y="1991"/>
                </a:lnTo>
                <a:lnTo>
                  <a:pt x="1521" y="1993"/>
                </a:lnTo>
                <a:lnTo>
                  <a:pt x="1519" y="1993"/>
                </a:lnTo>
                <a:lnTo>
                  <a:pt x="1519" y="1991"/>
                </a:lnTo>
                <a:close/>
                <a:moveTo>
                  <a:pt x="1556" y="2018"/>
                </a:moveTo>
                <a:lnTo>
                  <a:pt x="1557" y="2018"/>
                </a:lnTo>
                <a:lnTo>
                  <a:pt x="1556" y="2018"/>
                </a:lnTo>
                <a:lnTo>
                  <a:pt x="1556" y="2016"/>
                </a:lnTo>
                <a:lnTo>
                  <a:pt x="1556" y="2018"/>
                </a:lnTo>
                <a:close/>
                <a:moveTo>
                  <a:pt x="1523" y="1991"/>
                </a:moveTo>
                <a:lnTo>
                  <a:pt x="1523" y="1993"/>
                </a:lnTo>
                <a:lnTo>
                  <a:pt x="1523" y="1991"/>
                </a:lnTo>
                <a:lnTo>
                  <a:pt x="1523" y="1993"/>
                </a:lnTo>
                <a:lnTo>
                  <a:pt x="1523" y="1991"/>
                </a:lnTo>
                <a:lnTo>
                  <a:pt x="1523" y="1989"/>
                </a:lnTo>
                <a:lnTo>
                  <a:pt x="1523" y="1991"/>
                </a:lnTo>
                <a:close/>
                <a:moveTo>
                  <a:pt x="1523" y="1991"/>
                </a:moveTo>
                <a:lnTo>
                  <a:pt x="1523" y="1989"/>
                </a:lnTo>
                <a:lnTo>
                  <a:pt x="1523" y="1991"/>
                </a:lnTo>
                <a:close/>
                <a:moveTo>
                  <a:pt x="1523" y="1989"/>
                </a:moveTo>
                <a:lnTo>
                  <a:pt x="1525" y="1989"/>
                </a:lnTo>
                <a:lnTo>
                  <a:pt x="1523" y="1989"/>
                </a:lnTo>
                <a:lnTo>
                  <a:pt x="1525" y="1989"/>
                </a:lnTo>
                <a:lnTo>
                  <a:pt x="1523" y="1989"/>
                </a:lnTo>
                <a:close/>
                <a:moveTo>
                  <a:pt x="1527" y="1989"/>
                </a:moveTo>
                <a:lnTo>
                  <a:pt x="1527" y="1991"/>
                </a:lnTo>
                <a:lnTo>
                  <a:pt x="1527" y="1989"/>
                </a:lnTo>
                <a:lnTo>
                  <a:pt x="1525" y="1989"/>
                </a:lnTo>
                <a:lnTo>
                  <a:pt x="1525" y="1991"/>
                </a:lnTo>
                <a:lnTo>
                  <a:pt x="1525" y="1989"/>
                </a:lnTo>
                <a:lnTo>
                  <a:pt x="1527" y="1989"/>
                </a:lnTo>
                <a:close/>
                <a:moveTo>
                  <a:pt x="947" y="1365"/>
                </a:moveTo>
                <a:lnTo>
                  <a:pt x="947" y="1367"/>
                </a:lnTo>
                <a:lnTo>
                  <a:pt x="945" y="1367"/>
                </a:lnTo>
                <a:lnTo>
                  <a:pt x="945" y="1369"/>
                </a:lnTo>
                <a:lnTo>
                  <a:pt x="943" y="1369"/>
                </a:lnTo>
                <a:lnTo>
                  <a:pt x="941" y="1371"/>
                </a:lnTo>
                <a:lnTo>
                  <a:pt x="939" y="1371"/>
                </a:lnTo>
                <a:lnTo>
                  <a:pt x="939" y="1369"/>
                </a:lnTo>
                <a:lnTo>
                  <a:pt x="941" y="1369"/>
                </a:lnTo>
                <a:lnTo>
                  <a:pt x="941" y="1367"/>
                </a:lnTo>
                <a:lnTo>
                  <a:pt x="941" y="1369"/>
                </a:lnTo>
                <a:lnTo>
                  <a:pt x="941" y="1367"/>
                </a:lnTo>
                <a:lnTo>
                  <a:pt x="943" y="1367"/>
                </a:lnTo>
                <a:lnTo>
                  <a:pt x="943" y="1365"/>
                </a:lnTo>
                <a:lnTo>
                  <a:pt x="945" y="1365"/>
                </a:lnTo>
                <a:lnTo>
                  <a:pt x="947" y="1365"/>
                </a:lnTo>
                <a:close/>
                <a:moveTo>
                  <a:pt x="1496" y="1962"/>
                </a:moveTo>
                <a:lnTo>
                  <a:pt x="1496" y="1964"/>
                </a:lnTo>
                <a:lnTo>
                  <a:pt x="1498" y="1964"/>
                </a:lnTo>
                <a:lnTo>
                  <a:pt x="1496" y="1964"/>
                </a:lnTo>
                <a:lnTo>
                  <a:pt x="1498" y="1964"/>
                </a:lnTo>
                <a:lnTo>
                  <a:pt x="1498" y="1966"/>
                </a:lnTo>
                <a:lnTo>
                  <a:pt x="1498" y="1968"/>
                </a:lnTo>
                <a:lnTo>
                  <a:pt x="1498" y="1970"/>
                </a:lnTo>
                <a:lnTo>
                  <a:pt x="1496" y="1970"/>
                </a:lnTo>
                <a:lnTo>
                  <a:pt x="1494" y="1970"/>
                </a:lnTo>
                <a:lnTo>
                  <a:pt x="1492" y="1970"/>
                </a:lnTo>
                <a:lnTo>
                  <a:pt x="1490" y="1970"/>
                </a:lnTo>
                <a:lnTo>
                  <a:pt x="1490" y="1972"/>
                </a:lnTo>
                <a:lnTo>
                  <a:pt x="1490" y="1970"/>
                </a:lnTo>
                <a:lnTo>
                  <a:pt x="1492" y="1970"/>
                </a:lnTo>
                <a:lnTo>
                  <a:pt x="1494" y="1970"/>
                </a:lnTo>
                <a:lnTo>
                  <a:pt x="1496" y="1970"/>
                </a:lnTo>
                <a:lnTo>
                  <a:pt x="1496" y="1972"/>
                </a:lnTo>
                <a:lnTo>
                  <a:pt x="1494" y="1972"/>
                </a:lnTo>
                <a:lnTo>
                  <a:pt x="1496" y="1972"/>
                </a:lnTo>
                <a:lnTo>
                  <a:pt x="1496" y="1974"/>
                </a:lnTo>
                <a:lnTo>
                  <a:pt x="1496" y="1972"/>
                </a:lnTo>
                <a:lnTo>
                  <a:pt x="1498" y="1972"/>
                </a:lnTo>
                <a:lnTo>
                  <a:pt x="1498" y="1974"/>
                </a:lnTo>
                <a:lnTo>
                  <a:pt x="1498" y="1972"/>
                </a:lnTo>
                <a:lnTo>
                  <a:pt x="1500" y="1974"/>
                </a:lnTo>
                <a:lnTo>
                  <a:pt x="1500" y="1976"/>
                </a:lnTo>
                <a:lnTo>
                  <a:pt x="1498" y="1976"/>
                </a:lnTo>
                <a:lnTo>
                  <a:pt x="1500" y="1976"/>
                </a:lnTo>
                <a:lnTo>
                  <a:pt x="1498" y="1976"/>
                </a:lnTo>
                <a:lnTo>
                  <a:pt x="1496" y="1976"/>
                </a:lnTo>
                <a:lnTo>
                  <a:pt x="1496" y="1977"/>
                </a:lnTo>
                <a:lnTo>
                  <a:pt x="1494" y="1977"/>
                </a:lnTo>
                <a:lnTo>
                  <a:pt x="1496" y="1977"/>
                </a:lnTo>
                <a:lnTo>
                  <a:pt x="1498" y="1977"/>
                </a:lnTo>
                <a:lnTo>
                  <a:pt x="1500" y="1977"/>
                </a:lnTo>
                <a:lnTo>
                  <a:pt x="1500" y="1979"/>
                </a:lnTo>
                <a:lnTo>
                  <a:pt x="1500" y="1981"/>
                </a:lnTo>
                <a:lnTo>
                  <a:pt x="1500" y="1983"/>
                </a:lnTo>
                <a:lnTo>
                  <a:pt x="1502" y="1983"/>
                </a:lnTo>
                <a:lnTo>
                  <a:pt x="1502" y="1985"/>
                </a:lnTo>
                <a:lnTo>
                  <a:pt x="1502" y="1987"/>
                </a:lnTo>
                <a:lnTo>
                  <a:pt x="1502" y="1989"/>
                </a:lnTo>
                <a:lnTo>
                  <a:pt x="1502" y="1991"/>
                </a:lnTo>
                <a:lnTo>
                  <a:pt x="1500" y="1989"/>
                </a:lnTo>
                <a:lnTo>
                  <a:pt x="1498" y="1987"/>
                </a:lnTo>
                <a:lnTo>
                  <a:pt x="1496" y="1987"/>
                </a:lnTo>
                <a:lnTo>
                  <a:pt x="1496" y="1985"/>
                </a:lnTo>
                <a:lnTo>
                  <a:pt x="1496" y="1987"/>
                </a:lnTo>
                <a:lnTo>
                  <a:pt x="1498" y="1987"/>
                </a:lnTo>
                <a:lnTo>
                  <a:pt x="1498" y="1989"/>
                </a:lnTo>
                <a:lnTo>
                  <a:pt x="1500" y="1989"/>
                </a:lnTo>
                <a:lnTo>
                  <a:pt x="1500" y="1991"/>
                </a:lnTo>
                <a:lnTo>
                  <a:pt x="1498" y="1991"/>
                </a:lnTo>
                <a:lnTo>
                  <a:pt x="1496" y="1991"/>
                </a:lnTo>
                <a:lnTo>
                  <a:pt x="1494" y="1993"/>
                </a:lnTo>
                <a:lnTo>
                  <a:pt x="1496" y="1993"/>
                </a:lnTo>
                <a:lnTo>
                  <a:pt x="1496" y="1991"/>
                </a:lnTo>
                <a:lnTo>
                  <a:pt x="1498" y="1991"/>
                </a:lnTo>
                <a:lnTo>
                  <a:pt x="1498" y="1993"/>
                </a:lnTo>
                <a:lnTo>
                  <a:pt x="1498" y="1995"/>
                </a:lnTo>
                <a:lnTo>
                  <a:pt x="1498" y="1997"/>
                </a:lnTo>
                <a:lnTo>
                  <a:pt x="1498" y="1995"/>
                </a:lnTo>
                <a:lnTo>
                  <a:pt x="1498" y="1997"/>
                </a:lnTo>
                <a:lnTo>
                  <a:pt x="1500" y="1997"/>
                </a:lnTo>
                <a:lnTo>
                  <a:pt x="1500" y="1999"/>
                </a:lnTo>
                <a:lnTo>
                  <a:pt x="1498" y="1999"/>
                </a:lnTo>
                <a:lnTo>
                  <a:pt x="1500" y="1999"/>
                </a:lnTo>
                <a:lnTo>
                  <a:pt x="1498" y="2000"/>
                </a:lnTo>
                <a:lnTo>
                  <a:pt x="1498" y="1999"/>
                </a:lnTo>
                <a:lnTo>
                  <a:pt x="1498" y="2000"/>
                </a:lnTo>
                <a:lnTo>
                  <a:pt x="1496" y="2000"/>
                </a:lnTo>
                <a:lnTo>
                  <a:pt x="1498" y="2000"/>
                </a:lnTo>
                <a:lnTo>
                  <a:pt x="1498" y="2002"/>
                </a:lnTo>
                <a:lnTo>
                  <a:pt x="1496" y="2002"/>
                </a:lnTo>
                <a:lnTo>
                  <a:pt x="1496" y="2000"/>
                </a:lnTo>
                <a:lnTo>
                  <a:pt x="1496" y="2002"/>
                </a:lnTo>
                <a:lnTo>
                  <a:pt x="1498" y="2002"/>
                </a:lnTo>
                <a:lnTo>
                  <a:pt x="1496" y="2002"/>
                </a:lnTo>
                <a:lnTo>
                  <a:pt x="1498" y="2002"/>
                </a:lnTo>
                <a:lnTo>
                  <a:pt x="1496" y="2002"/>
                </a:lnTo>
                <a:lnTo>
                  <a:pt x="1498" y="2002"/>
                </a:lnTo>
                <a:lnTo>
                  <a:pt x="1498" y="2004"/>
                </a:lnTo>
                <a:lnTo>
                  <a:pt x="1496" y="2004"/>
                </a:lnTo>
                <a:lnTo>
                  <a:pt x="1494" y="2004"/>
                </a:lnTo>
                <a:lnTo>
                  <a:pt x="1494" y="2006"/>
                </a:lnTo>
                <a:lnTo>
                  <a:pt x="1494" y="2004"/>
                </a:lnTo>
                <a:lnTo>
                  <a:pt x="1492" y="2004"/>
                </a:lnTo>
                <a:lnTo>
                  <a:pt x="1492" y="2006"/>
                </a:lnTo>
                <a:lnTo>
                  <a:pt x="1494" y="2006"/>
                </a:lnTo>
                <a:lnTo>
                  <a:pt x="1496" y="2006"/>
                </a:lnTo>
                <a:lnTo>
                  <a:pt x="1496" y="2004"/>
                </a:lnTo>
                <a:lnTo>
                  <a:pt x="1496" y="2006"/>
                </a:lnTo>
                <a:lnTo>
                  <a:pt x="1494" y="2006"/>
                </a:lnTo>
                <a:lnTo>
                  <a:pt x="1496" y="2006"/>
                </a:lnTo>
                <a:lnTo>
                  <a:pt x="1494" y="2006"/>
                </a:lnTo>
                <a:lnTo>
                  <a:pt x="1494" y="2008"/>
                </a:lnTo>
                <a:lnTo>
                  <a:pt x="1494" y="2010"/>
                </a:lnTo>
                <a:lnTo>
                  <a:pt x="1492" y="2010"/>
                </a:lnTo>
                <a:lnTo>
                  <a:pt x="1492" y="2008"/>
                </a:lnTo>
                <a:lnTo>
                  <a:pt x="1492" y="2010"/>
                </a:lnTo>
                <a:lnTo>
                  <a:pt x="1490" y="2010"/>
                </a:lnTo>
                <a:lnTo>
                  <a:pt x="1492" y="2010"/>
                </a:lnTo>
                <a:lnTo>
                  <a:pt x="1494" y="2010"/>
                </a:lnTo>
                <a:lnTo>
                  <a:pt x="1494" y="2012"/>
                </a:lnTo>
                <a:lnTo>
                  <a:pt x="1492" y="2012"/>
                </a:lnTo>
                <a:lnTo>
                  <a:pt x="1492" y="2014"/>
                </a:lnTo>
                <a:lnTo>
                  <a:pt x="1490" y="2014"/>
                </a:lnTo>
                <a:lnTo>
                  <a:pt x="1490" y="2016"/>
                </a:lnTo>
                <a:lnTo>
                  <a:pt x="1492" y="2016"/>
                </a:lnTo>
                <a:lnTo>
                  <a:pt x="1490" y="2016"/>
                </a:lnTo>
                <a:lnTo>
                  <a:pt x="1490" y="2018"/>
                </a:lnTo>
                <a:lnTo>
                  <a:pt x="1488" y="2018"/>
                </a:lnTo>
                <a:lnTo>
                  <a:pt x="1488" y="2020"/>
                </a:lnTo>
                <a:lnTo>
                  <a:pt x="1488" y="2022"/>
                </a:lnTo>
                <a:lnTo>
                  <a:pt x="1486" y="2022"/>
                </a:lnTo>
                <a:lnTo>
                  <a:pt x="1488" y="2022"/>
                </a:lnTo>
                <a:lnTo>
                  <a:pt x="1488" y="2024"/>
                </a:lnTo>
                <a:lnTo>
                  <a:pt x="1486" y="2024"/>
                </a:lnTo>
                <a:lnTo>
                  <a:pt x="1486" y="2022"/>
                </a:lnTo>
                <a:lnTo>
                  <a:pt x="1486" y="2024"/>
                </a:lnTo>
                <a:lnTo>
                  <a:pt x="1486" y="2025"/>
                </a:lnTo>
                <a:lnTo>
                  <a:pt x="1484" y="2025"/>
                </a:lnTo>
                <a:lnTo>
                  <a:pt x="1484" y="2027"/>
                </a:lnTo>
                <a:lnTo>
                  <a:pt x="1483" y="2027"/>
                </a:lnTo>
                <a:lnTo>
                  <a:pt x="1484" y="2027"/>
                </a:lnTo>
                <a:lnTo>
                  <a:pt x="1483" y="2027"/>
                </a:lnTo>
                <a:lnTo>
                  <a:pt x="1483" y="2025"/>
                </a:lnTo>
                <a:lnTo>
                  <a:pt x="1483" y="2024"/>
                </a:lnTo>
                <a:lnTo>
                  <a:pt x="1481" y="2024"/>
                </a:lnTo>
                <a:lnTo>
                  <a:pt x="1483" y="2025"/>
                </a:lnTo>
                <a:lnTo>
                  <a:pt x="1483" y="2027"/>
                </a:lnTo>
                <a:lnTo>
                  <a:pt x="1483" y="2029"/>
                </a:lnTo>
                <a:lnTo>
                  <a:pt x="1484" y="2029"/>
                </a:lnTo>
                <a:lnTo>
                  <a:pt x="1483" y="2029"/>
                </a:lnTo>
                <a:lnTo>
                  <a:pt x="1484" y="2031"/>
                </a:lnTo>
                <a:lnTo>
                  <a:pt x="1483" y="2031"/>
                </a:lnTo>
                <a:lnTo>
                  <a:pt x="1483" y="2033"/>
                </a:lnTo>
                <a:lnTo>
                  <a:pt x="1481" y="2033"/>
                </a:lnTo>
                <a:lnTo>
                  <a:pt x="1481" y="2031"/>
                </a:lnTo>
                <a:lnTo>
                  <a:pt x="1479" y="2031"/>
                </a:lnTo>
                <a:lnTo>
                  <a:pt x="1479" y="2033"/>
                </a:lnTo>
                <a:lnTo>
                  <a:pt x="1481" y="2033"/>
                </a:lnTo>
                <a:lnTo>
                  <a:pt x="1481" y="2035"/>
                </a:lnTo>
                <a:lnTo>
                  <a:pt x="1481" y="2037"/>
                </a:lnTo>
                <a:lnTo>
                  <a:pt x="1479" y="2037"/>
                </a:lnTo>
                <a:lnTo>
                  <a:pt x="1477" y="2037"/>
                </a:lnTo>
                <a:lnTo>
                  <a:pt x="1477" y="2035"/>
                </a:lnTo>
                <a:lnTo>
                  <a:pt x="1475" y="2035"/>
                </a:lnTo>
                <a:lnTo>
                  <a:pt x="1475" y="2037"/>
                </a:lnTo>
                <a:lnTo>
                  <a:pt x="1477" y="2037"/>
                </a:lnTo>
                <a:lnTo>
                  <a:pt x="1479" y="2037"/>
                </a:lnTo>
                <a:lnTo>
                  <a:pt x="1481" y="2037"/>
                </a:lnTo>
                <a:lnTo>
                  <a:pt x="1481" y="2039"/>
                </a:lnTo>
                <a:lnTo>
                  <a:pt x="1479" y="2039"/>
                </a:lnTo>
                <a:lnTo>
                  <a:pt x="1479" y="2041"/>
                </a:lnTo>
                <a:lnTo>
                  <a:pt x="1477" y="2041"/>
                </a:lnTo>
                <a:lnTo>
                  <a:pt x="1477" y="2043"/>
                </a:lnTo>
                <a:lnTo>
                  <a:pt x="1477" y="2045"/>
                </a:lnTo>
                <a:lnTo>
                  <a:pt x="1475" y="2045"/>
                </a:lnTo>
                <a:lnTo>
                  <a:pt x="1475" y="2047"/>
                </a:lnTo>
                <a:lnTo>
                  <a:pt x="1473" y="2047"/>
                </a:lnTo>
                <a:lnTo>
                  <a:pt x="1473" y="2048"/>
                </a:lnTo>
                <a:lnTo>
                  <a:pt x="1471" y="2048"/>
                </a:lnTo>
                <a:lnTo>
                  <a:pt x="1471" y="2050"/>
                </a:lnTo>
                <a:lnTo>
                  <a:pt x="1471" y="2048"/>
                </a:lnTo>
                <a:lnTo>
                  <a:pt x="1471" y="2047"/>
                </a:lnTo>
                <a:lnTo>
                  <a:pt x="1473" y="2047"/>
                </a:lnTo>
                <a:lnTo>
                  <a:pt x="1473" y="2045"/>
                </a:lnTo>
                <a:lnTo>
                  <a:pt x="1473" y="2043"/>
                </a:lnTo>
                <a:lnTo>
                  <a:pt x="1473" y="2045"/>
                </a:lnTo>
                <a:lnTo>
                  <a:pt x="1471" y="2047"/>
                </a:lnTo>
                <a:lnTo>
                  <a:pt x="1471" y="2048"/>
                </a:lnTo>
                <a:lnTo>
                  <a:pt x="1469" y="2048"/>
                </a:lnTo>
                <a:lnTo>
                  <a:pt x="1469" y="2047"/>
                </a:lnTo>
                <a:lnTo>
                  <a:pt x="1467" y="2047"/>
                </a:lnTo>
                <a:lnTo>
                  <a:pt x="1465" y="2047"/>
                </a:lnTo>
                <a:lnTo>
                  <a:pt x="1467" y="2047"/>
                </a:lnTo>
                <a:lnTo>
                  <a:pt x="1467" y="2048"/>
                </a:lnTo>
                <a:lnTo>
                  <a:pt x="1469" y="2048"/>
                </a:lnTo>
                <a:lnTo>
                  <a:pt x="1469" y="2050"/>
                </a:lnTo>
                <a:lnTo>
                  <a:pt x="1467" y="2050"/>
                </a:lnTo>
                <a:lnTo>
                  <a:pt x="1469" y="2050"/>
                </a:lnTo>
                <a:lnTo>
                  <a:pt x="1467" y="2050"/>
                </a:lnTo>
                <a:lnTo>
                  <a:pt x="1467" y="2052"/>
                </a:lnTo>
                <a:lnTo>
                  <a:pt x="1467" y="2054"/>
                </a:lnTo>
                <a:lnTo>
                  <a:pt x="1465" y="2054"/>
                </a:lnTo>
                <a:lnTo>
                  <a:pt x="1465" y="2056"/>
                </a:lnTo>
                <a:lnTo>
                  <a:pt x="1463" y="2056"/>
                </a:lnTo>
                <a:lnTo>
                  <a:pt x="1463" y="2054"/>
                </a:lnTo>
                <a:lnTo>
                  <a:pt x="1461" y="2054"/>
                </a:lnTo>
                <a:lnTo>
                  <a:pt x="1461" y="2052"/>
                </a:lnTo>
                <a:lnTo>
                  <a:pt x="1461" y="2054"/>
                </a:lnTo>
                <a:lnTo>
                  <a:pt x="1463" y="2054"/>
                </a:lnTo>
                <a:lnTo>
                  <a:pt x="1463" y="2056"/>
                </a:lnTo>
                <a:lnTo>
                  <a:pt x="1465" y="2056"/>
                </a:lnTo>
                <a:lnTo>
                  <a:pt x="1463" y="2056"/>
                </a:lnTo>
                <a:lnTo>
                  <a:pt x="1463" y="2058"/>
                </a:lnTo>
                <a:lnTo>
                  <a:pt x="1461" y="2058"/>
                </a:lnTo>
                <a:lnTo>
                  <a:pt x="1459" y="2058"/>
                </a:lnTo>
                <a:lnTo>
                  <a:pt x="1461" y="2058"/>
                </a:lnTo>
                <a:lnTo>
                  <a:pt x="1461" y="2060"/>
                </a:lnTo>
                <a:lnTo>
                  <a:pt x="1463" y="2060"/>
                </a:lnTo>
                <a:lnTo>
                  <a:pt x="1461" y="2060"/>
                </a:lnTo>
                <a:lnTo>
                  <a:pt x="1461" y="2062"/>
                </a:lnTo>
                <a:lnTo>
                  <a:pt x="1459" y="2062"/>
                </a:lnTo>
                <a:lnTo>
                  <a:pt x="1458" y="2062"/>
                </a:lnTo>
                <a:lnTo>
                  <a:pt x="1456" y="2062"/>
                </a:lnTo>
                <a:lnTo>
                  <a:pt x="1454" y="2062"/>
                </a:lnTo>
                <a:lnTo>
                  <a:pt x="1456" y="2062"/>
                </a:lnTo>
                <a:lnTo>
                  <a:pt x="1458" y="2062"/>
                </a:lnTo>
                <a:lnTo>
                  <a:pt x="1459" y="2062"/>
                </a:lnTo>
                <a:lnTo>
                  <a:pt x="1459" y="2064"/>
                </a:lnTo>
                <a:lnTo>
                  <a:pt x="1458" y="2064"/>
                </a:lnTo>
                <a:lnTo>
                  <a:pt x="1458" y="2066"/>
                </a:lnTo>
                <a:lnTo>
                  <a:pt x="1458" y="2064"/>
                </a:lnTo>
                <a:lnTo>
                  <a:pt x="1456" y="2064"/>
                </a:lnTo>
                <a:lnTo>
                  <a:pt x="1456" y="2066"/>
                </a:lnTo>
                <a:lnTo>
                  <a:pt x="1458" y="2066"/>
                </a:lnTo>
                <a:lnTo>
                  <a:pt x="1456" y="2066"/>
                </a:lnTo>
                <a:lnTo>
                  <a:pt x="1456" y="2068"/>
                </a:lnTo>
                <a:lnTo>
                  <a:pt x="1454" y="2068"/>
                </a:lnTo>
                <a:lnTo>
                  <a:pt x="1456" y="2068"/>
                </a:lnTo>
                <a:lnTo>
                  <a:pt x="1458" y="2068"/>
                </a:lnTo>
                <a:lnTo>
                  <a:pt x="1456" y="2068"/>
                </a:lnTo>
                <a:lnTo>
                  <a:pt x="1456" y="2070"/>
                </a:lnTo>
                <a:lnTo>
                  <a:pt x="1456" y="2068"/>
                </a:lnTo>
                <a:lnTo>
                  <a:pt x="1454" y="2068"/>
                </a:lnTo>
                <a:lnTo>
                  <a:pt x="1454" y="2070"/>
                </a:lnTo>
                <a:lnTo>
                  <a:pt x="1452" y="2070"/>
                </a:lnTo>
                <a:lnTo>
                  <a:pt x="1452" y="2072"/>
                </a:lnTo>
                <a:lnTo>
                  <a:pt x="1450" y="2072"/>
                </a:lnTo>
                <a:lnTo>
                  <a:pt x="1450" y="2073"/>
                </a:lnTo>
                <a:lnTo>
                  <a:pt x="1450" y="2072"/>
                </a:lnTo>
                <a:lnTo>
                  <a:pt x="1450" y="2070"/>
                </a:lnTo>
                <a:lnTo>
                  <a:pt x="1452" y="2070"/>
                </a:lnTo>
                <a:lnTo>
                  <a:pt x="1452" y="2068"/>
                </a:lnTo>
                <a:lnTo>
                  <a:pt x="1450" y="2068"/>
                </a:lnTo>
                <a:lnTo>
                  <a:pt x="1450" y="2066"/>
                </a:lnTo>
                <a:lnTo>
                  <a:pt x="1448" y="2066"/>
                </a:lnTo>
                <a:lnTo>
                  <a:pt x="1450" y="2066"/>
                </a:lnTo>
                <a:lnTo>
                  <a:pt x="1450" y="2064"/>
                </a:lnTo>
                <a:lnTo>
                  <a:pt x="1448" y="2064"/>
                </a:lnTo>
                <a:lnTo>
                  <a:pt x="1450" y="2064"/>
                </a:lnTo>
                <a:lnTo>
                  <a:pt x="1452" y="2064"/>
                </a:lnTo>
                <a:lnTo>
                  <a:pt x="1452" y="2062"/>
                </a:lnTo>
                <a:lnTo>
                  <a:pt x="1450" y="2062"/>
                </a:lnTo>
                <a:lnTo>
                  <a:pt x="1450" y="2064"/>
                </a:lnTo>
                <a:lnTo>
                  <a:pt x="1450" y="2062"/>
                </a:lnTo>
                <a:lnTo>
                  <a:pt x="1450" y="2060"/>
                </a:lnTo>
                <a:lnTo>
                  <a:pt x="1452" y="2060"/>
                </a:lnTo>
                <a:lnTo>
                  <a:pt x="1450" y="2060"/>
                </a:lnTo>
                <a:lnTo>
                  <a:pt x="1452" y="2060"/>
                </a:lnTo>
                <a:lnTo>
                  <a:pt x="1454" y="2060"/>
                </a:lnTo>
                <a:lnTo>
                  <a:pt x="1454" y="2058"/>
                </a:lnTo>
                <a:lnTo>
                  <a:pt x="1454" y="2060"/>
                </a:lnTo>
                <a:lnTo>
                  <a:pt x="1454" y="2058"/>
                </a:lnTo>
                <a:lnTo>
                  <a:pt x="1452" y="2058"/>
                </a:lnTo>
                <a:lnTo>
                  <a:pt x="1452" y="2060"/>
                </a:lnTo>
                <a:lnTo>
                  <a:pt x="1450" y="2060"/>
                </a:lnTo>
                <a:lnTo>
                  <a:pt x="1452" y="2060"/>
                </a:lnTo>
                <a:lnTo>
                  <a:pt x="1452" y="2058"/>
                </a:lnTo>
                <a:lnTo>
                  <a:pt x="1454" y="2058"/>
                </a:lnTo>
                <a:lnTo>
                  <a:pt x="1454" y="2056"/>
                </a:lnTo>
                <a:lnTo>
                  <a:pt x="1456" y="2056"/>
                </a:lnTo>
                <a:lnTo>
                  <a:pt x="1456" y="2054"/>
                </a:lnTo>
                <a:lnTo>
                  <a:pt x="1456" y="2056"/>
                </a:lnTo>
                <a:lnTo>
                  <a:pt x="1454" y="2056"/>
                </a:lnTo>
                <a:lnTo>
                  <a:pt x="1454" y="2058"/>
                </a:lnTo>
                <a:lnTo>
                  <a:pt x="1452" y="2058"/>
                </a:lnTo>
                <a:lnTo>
                  <a:pt x="1452" y="2056"/>
                </a:lnTo>
                <a:lnTo>
                  <a:pt x="1454" y="2056"/>
                </a:lnTo>
                <a:lnTo>
                  <a:pt x="1452" y="2056"/>
                </a:lnTo>
                <a:lnTo>
                  <a:pt x="1450" y="2058"/>
                </a:lnTo>
                <a:lnTo>
                  <a:pt x="1450" y="2056"/>
                </a:lnTo>
                <a:lnTo>
                  <a:pt x="1452" y="2054"/>
                </a:lnTo>
                <a:lnTo>
                  <a:pt x="1452" y="2056"/>
                </a:lnTo>
                <a:lnTo>
                  <a:pt x="1452" y="2054"/>
                </a:lnTo>
                <a:lnTo>
                  <a:pt x="1452" y="2052"/>
                </a:lnTo>
                <a:lnTo>
                  <a:pt x="1454" y="2052"/>
                </a:lnTo>
                <a:lnTo>
                  <a:pt x="1454" y="2050"/>
                </a:lnTo>
                <a:lnTo>
                  <a:pt x="1452" y="2052"/>
                </a:lnTo>
                <a:lnTo>
                  <a:pt x="1452" y="2050"/>
                </a:lnTo>
                <a:lnTo>
                  <a:pt x="1454" y="2050"/>
                </a:lnTo>
                <a:lnTo>
                  <a:pt x="1454" y="2048"/>
                </a:lnTo>
                <a:lnTo>
                  <a:pt x="1456" y="2048"/>
                </a:lnTo>
                <a:lnTo>
                  <a:pt x="1454" y="2048"/>
                </a:lnTo>
                <a:lnTo>
                  <a:pt x="1452" y="2048"/>
                </a:lnTo>
                <a:lnTo>
                  <a:pt x="1454" y="2047"/>
                </a:lnTo>
                <a:lnTo>
                  <a:pt x="1454" y="2045"/>
                </a:lnTo>
                <a:lnTo>
                  <a:pt x="1456" y="2045"/>
                </a:lnTo>
                <a:lnTo>
                  <a:pt x="1456" y="2047"/>
                </a:lnTo>
                <a:lnTo>
                  <a:pt x="1456" y="2045"/>
                </a:lnTo>
                <a:lnTo>
                  <a:pt x="1454" y="2045"/>
                </a:lnTo>
                <a:lnTo>
                  <a:pt x="1456" y="2045"/>
                </a:lnTo>
                <a:lnTo>
                  <a:pt x="1456" y="2043"/>
                </a:lnTo>
                <a:lnTo>
                  <a:pt x="1458" y="2043"/>
                </a:lnTo>
                <a:lnTo>
                  <a:pt x="1456" y="2043"/>
                </a:lnTo>
                <a:lnTo>
                  <a:pt x="1454" y="2045"/>
                </a:lnTo>
                <a:lnTo>
                  <a:pt x="1454" y="2043"/>
                </a:lnTo>
                <a:lnTo>
                  <a:pt x="1454" y="2041"/>
                </a:lnTo>
                <a:lnTo>
                  <a:pt x="1456" y="2041"/>
                </a:lnTo>
                <a:lnTo>
                  <a:pt x="1456" y="2039"/>
                </a:lnTo>
                <a:lnTo>
                  <a:pt x="1456" y="2041"/>
                </a:lnTo>
                <a:lnTo>
                  <a:pt x="1456" y="2039"/>
                </a:lnTo>
                <a:lnTo>
                  <a:pt x="1456" y="2037"/>
                </a:lnTo>
                <a:lnTo>
                  <a:pt x="1456" y="2039"/>
                </a:lnTo>
                <a:lnTo>
                  <a:pt x="1456" y="2037"/>
                </a:lnTo>
                <a:lnTo>
                  <a:pt x="1458" y="2037"/>
                </a:lnTo>
                <a:lnTo>
                  <a:pt x="1458" y="2039"/>
                </a:lnTo>
                <a:lnTo>
                  <a:pt x="1458" y="2037"/>
                </a:lnTo>
                <a:lnTo>
                  <a:pt x="1458" y="2035"/>
                </a:lnTo>
                <a:lnTo>
                  <a:pt x="1458" y="2037"/>
                </a:lnTo>
                <a:lnTo>
                  <a:pt x="1458" y="2035"/>
                </a:lnTo>
                <a:lnTo>
                  <a:pt x="1459" y="2035"/>
                </a:lnTo>
                <a:lnTo>
                  <a:pt x="1459" y="2037"/>
                </a:lnTo>
                <a:lnTo>
                  <a:pt x="1459" y="2039"/>
                </a:lnTo>
                <a:lnTo>
                  <a:pt x="1459" y="2037"/>
                </a:lnTo>
                <a:lnTo>
                  <a:pt x="1459" y="2035"/>
                </a:lnTo>
                <a:lnTo>
                  <a:pt x="1461" y="2035"/>
                </a:lnTo>
                <a:lnTo>
                  <a:pt x="1459" y="2037"/>
                </a:lnTo>
                <a:lnTo>
                  <a:pt x="1461" y="2037"/>
                </a:lnTo>
                <a:lnTo>
                  <a:pt x="1461" y="2039"/>
                </a:lnTo>
                <a:lnTo>
                  <a:pt x="1461" y="2037"/>
                </a:lnTo>
                <a:lnTo>
                  <a:pt x="1463" y="2037"/>
                </a:lnTo>
                <a:lnTo>
                  <a:pt x="1463" y="2035"/>
                </a:lnTo>
                <a:lnTo>
                  <a:pt x="1465" y="2035"/>
                </a:lnTo>
                <a:lnTo>
                  <a:pt x="1467" y="2037"/>
                </a:lnTo>
                <a:lnTo>
                  <a:pt x="1467" y="2035"/>
                </a:lnTo>
                <a:lnTo>
                  <a:pt x="1469" y="2035"/>
                </a:lnTo>
                <a:lnTo>
                  <a:pt x="1469" y="2033"/>
                </a:lnTo>
                <a:lnTo>
                  <a:pt x="1471" y="2033"/>
                </a:lnTo>
                <a:lnTo>
                  <a:pt x="1473" y="2031"/>
                </a:lnTo>
                <a:lnTo>
                  <a:pt x="1471" y="2031"/>
                </a:lnTo>
                <a:lnTo>
                  <a:pt x="1471" y="2033"/>
                </a:lnTo>
                <a:lnTo>
                  <a:pt x="1469" y="2033"/>
                </a:lnTo>
                <a:lnTo>
                  <a:pt x="1467" y="2033"/>
                </a:lnTo>
                <a:lnTo>
                  <a:pt x="1465" y="2035"/>
                </a:lnTo>
                <a:lnTo>
                  <a:pt x="1463" y="2035"/>
                </a:lnTo>
                <a:lnTo>
                  <a:pt x="1461" y="2035"/>
                </a:lnTo>
                <a:lnTo>
                  <a:pt x="1463" y="2035"/>
                </a:lnTo>
                <a:lnTo>
                  <a:pt x="1461" y="2033"/>
                </a:lnTo>
                <a:lnTo>
                  <a:pt x="1463" y="2033"/>
                </a:lnTo>
                <a:lnTo>
                  <a:pt x="1465" y="2031"/>
                </a:lnTo>
                <a:lnTo>
                  <a:pt x="1467" y="2029"/>
                </a:lnTo>
                <a:lnTo>
                  <a:pt x="1465" y="2029"/>
                </a:lnTo>
                <a:lnTo>
                  <a:pt x="1465" y="2031"/>
                </a:lnTo>
                <a:lnTo>
                  <a:pt x="1463" y="2031"/>
                </a:lnTo>
                <a:lnTo>
                  <a:pt x="1463" y="2033"/>
                </a:lnTo>
                <a:lnTo>
                  <a:pt x="1461" y="2033"/>
                </a:lnTo>
                <a:lnTo>
                  <a:pt x="1459" y="2033"/>
                </a:lnTo>
                <a:lnTo>
                  <a:pt x="1458" y="2033"/>
                </a:lnTo>
                <a:lnTo>
                  <a:pt x="1456" y="2033"/>
                </a:lnTo>
                <a:lnTo>
                  <a:pt x="1456" y="2031"/>
                </a:lnTo>
                <a:lnTo>
                  <a:pt x="1458" y="2031"/>
                </a:lnTo>
                <a:lnTo>
                  <a:pt x="1458" y="2029"/>
                </a:lnTo>
                <a:lnTo>
                  <a:pt x="1459" y="2029"/>
                </a:lnTo>
                <a:lnTo>
                  <a:pt x="1458" y="2029"/>
                </a:lnTo>
                <a:lnTo>
                  <a:pt x="1458" y="2027"/>
                </a:lnTo>
                <a:lnTo>
                  <a:pt x="1459" y="2027"/>
                </a:lnTo>
                <a:lnTo>
                  <a:pt x="1461" y="2027"/>
                </a:lnTo>
                <a:lnTo>
                  <a:pt x="1461" y="2025"/>
                </a:lnTo>
                <a:lnTo>
                  <a:pt x="1461" y="2027"/>
                </a:lnTo>
                <a:lnTo>
                  <a:pt x="1461" y="2025"/>
                </a:lnTo>
                <a:lnTo>
                  <a:pt x="1463" y="2025"/>
                </a:lnTo>
                <a:lnTo>
                  <a:pt x="1465" y="2025"/>
                </a:lnTo>
                <a:lnTo>
                  <a:pt x="1465" y="2027"/>
                </a:lnTo>
                <a:lnTo>
                  <a:pt x="1465" y="2025"/>
                </a:lnTo>
                <a:lnTo>
                  <a:pt x="1467" y="2025"/>
                </a:lnTo>
                <a:lnTo>
                  <a:pt x="1469" y="2025"/>
                </a:lnTo>
                <a:lnTo>
                  <a:pt x="1467" y="2025"/>
                </a:lnTo>
                <a:lnTo>
                  <a:pt x="1469" y="2025"/>
                </a:lnTo>
                <a:lnTo>
                  <a:pt x="1469" y="2024"/>
                </a:lnTo>
                <a:lnTo>
                  <a:pt x="1467" y="2024"/>
                </a:lnTo>
                <a:lnTo>
                  <a:pt x="1465" y="2025"/>
                </a:lnTo>
                <a:lnTo>
                  <a:pt x="1463" y="2025"/>
                </a:lnTo>
                <a:lnTo>
                  <a:pt x="1461" y="2025"/>
                </a:lnTo>
                <a:lnTo>
                  <a:pt x="1459" y="2025"/>
                </a:lnTo>
                <a:lnTo>
                  <a:pt x="1458" y="2025"/>
                </a:lnTo>
                <a:lnTo>
                  <a:pt x="1458" y="2024"/>
                </a:lnTo>
                <a:lnTo>
                  <a:pt x="1459" y="2024"/>
                </a:lnTo>
                <a:lnTo>
                  <a:pt x="1459" y="2025"/>
                </a:lnTo>
                <a:lnTo>
                  <a:pt x="1459" y="2024"/>
                </a:lnTo>
                <a:lnTo>
                  <a:pt x="1459" y="2022"/>
                </a:lnTo>
                <a:lnTo>
                  <a:pt x="1461" y="2022"/>
                </a:lnTo>
                <a:lnTo>
                  <a:pt x="1463" y="2022"/>
                </a:lnTo>
                <a:lnTo>
                  <a:pt x="1465" y="2022"/>
                </a:lnTo>
                <a:lnTo>
                  <a:pt x="1467" y="2022"/>
                </a:lnTo>
                <a:lnTo>
                  <a:pt x="1467" y="2020"/>
                </a:lnTo>
                <a:lnTo>
                  <a:pt x="1469" y="2020"/>
                </a:lnTo>
                <a:lnTo>
                  <a:pt x="1469" y="2022"/>
                </a:lnTo>
                <a:lnTo>
                  <a:pt x="1471" y="2022"/>
                </a:lnTo>
                <a:lnTo>
                  <a:pt x="1471" y="2020"/>
                </a:lnTo>
                <a:lnTo>
                  <a:pt x="1469" y="2020"/>
                </a:lnTo>
                <a:lnTo>
                  <a:pt x="1467" y="2020"/>
                </a:lnTo>
                <a:lnTo>
                  <a:pt x="1465" y="2022"/>
                </a:lnTo>
                <a:lnTo>
                  <a:pt x="1465" y="2020"/>
                </a:lnTo>
                <a:lnTo>
                  <a:pt x="1463" y="2020"/>
                </a:lnTo>
                <a:lnTo>
                  <a:pt x="1463" y="2022"/>
                </a:lnTo>
                <a:lnTo>
                  <a:pt x="1461" y="2022"/>
                </a:lnTo>
                <a:lnTo>
                  <a:pt x="1461" y="2020"/>
                </a:lnTo>
                <a:lnTo>
                  <a:pt x="1463" y="2020"/>
                </a:lnTo>
                <a:lnTo>
                  <a:pt x="1463" y="2018"/>
                </a:lnTo>
                <a:lnTo>
                  <a:pt x="1465" y="2018"/>
                </a:lnTo>
                <a:lnTo>
                  <a:pt x="1467" y="2018"/>
                </a:lnTo>
                <a:lnTo>
                  <a:pt x="1467" y="2016"/>
                </a:lnTo>
                <a:lnTo>
                  <a:pt x="1467" y="2018"/>
                </a:lnTo>
                <a:lnTo>
                  <a:pt x="1469" y="2018"/>
                </a:lnTo>
                <a:lnTo>
                  <a:pt x="1467" y="2018"/>
                </a:lnTo>
                <a:lnTo>
                  <a:pt x="1467" y="2016"/>
                </a:lnTo>
                <a:lnTo>
                  <a:pt x="1469" y="2016"/>
                </a:lnTo>
                <a:lnTo>
                  <a:pt x="1467" y="2016"/>
                </a:lnTo>
                <a:lnTo>
                  <a:pt x="1465" y="2016"/>
                </a:lnTo>
                <a:lnTo>
                  <a:pt x="1465" y="2014"/>
                </a:lnTo>
                <a:lnTo>
                  <a:pt x="1467" y="2014"/>
                </a:lnTo>
                <a:lnTo>
                  <a:pt x="1465" y="2014"/>
                </a:lnTo>
                <a:lnTo>
                  <a:pt x="1465" y="2016"/>
                </a:lnTo>
                <a:lnTo>
                  <a:pt x="1463" y="2016"/>
                </a:lnTo>
                <a:lnTo>
                  <a:pt x="1461" y="2016"/>
                </a:lnTo>
                <a:lnTo>
                  <a:pt x="1459" y="2016"/>
                </a:lnTo>
                <a:lnTo>
                  <a:pt x="1461" y="2016"/>
                </a:lnTo>
                <a:lnTo>
                  <a:pt x="1459" y="2016"/>
                </a:lnTo>
                <a:lnTo>
                  <a:pt x="1459" y="2014"/>
                </a:lnTo>
                <a:lnTo>
                  <a:pt x="1459" y="2016"/>
                </a:lnTo>
                <a:lnTo>
                  <a:pt x="1459" y="2014"/>
                </a:lnTo>
                <a:lnTo>
                  <a:pt x="1459" y="2012"/>
                </a:lnTo>
                <a:lnTo>
                  <a:pt x="1461" y="2012"/>
                </a:lnTo>
                <a:lnTo>
                  <a:pt x="1459" y="2012"/>
                </a:lnTo>
                <a:lnTo>
                  <a:pt x="1459" y="2010"/>
                </a:lnTo>
                <a:lnTo>
                  <a:pt x="1459" y="2008"/>
                </a:lnTo>
                <a:lnTo>
                  <a:pt x="1459" y="2010"/>
                </a:lnTo>
                <a:lnTo>
                  <a:pt x="1459" y="2008"/>
                </a:lnTo>
                <a:lnTo>
                  <a:pt x="1461" y="2008"/>
                </a:lnTo>
                <a:lnTo>
                  <a:pt x="1461" y="2006"/>
                </a:lnTo>
                <a:lnTo>
                  <a:pt x="1463" y="2006"/>
                </a:lnTo>
                <a:lnTo>
                  <a:pt x="1463" y="2008"/>
                </a:lnTo>
                <a:lnTo>
                  <a:pt x="1463" y="2006"/>
                </a:lnTo>
                <a:lnTo>
                  <a:pt x="1465" y="2006"/>
                </a:lnTo>
                <a:lnTo>
                  <a:pt x="1463" y="2008"/>
                </a:lnTo>
                <a:lnTo>
                  <a:pt x="1465" y="2008"/>
                </a:lnTo>
                <a:lnTo>
                  <a:pt x="1463" y="2008"/>
                </a:lnTo>
                <a:lnTo>
                  <a:pt x="1465" y="2008"/>
                </a:lnTo>
                <a:lnTo>
                  <a:pt x="1465" y="2010"/>
                </a:lnTo>
                <a:lnTo>
                  <a:pt x="1463" y="2010"/>
                </a:lnTo>
                <a:lnTo>
                  <a:pt x="1463" y="2008"/>
                </a:lnTo>
                <a:lnTo>
                  <a:pt x="1463" y="2010"/>
                </a:lnTo>
                <a:lnTo>
                  <a:pt x="1461" y="2010"/>
                </a:lnTo>
                <a:lnTo>
                  <a:pt x="1463" y="2010"/>
                </a:lnTo>
                <a:lnTo>
                  <a:pt x="1465" y="2010"/>
                </a:lnTo>
                <a:lnTo>
                  <a:pt x="1467" y="2010"/>
                </a:lnTo>
                <a:lnTo>
                  <a:pt x="1469" y="2010"/>
                </a:lnTo>
                <a:lnTo>
                  <a:pt x="1471" y="2010"/>
                </a:lnTo>
                <a:lnTo>
                  <a:pt x="1471" y="2012"/>
                </a:lnTo>
                <a:lnTo>
                  <a:pt x="1473" y="2012"/>
                </a:lnTo>
                <a:lnTo>
                  <a:pt x="1473" y="2010"/>
                </a:lnTo>
                <a:lnTo>
                  <a:pt x="1471" y="2010"/>
                </a:lnTo>
                <a:lnTo>
                  <a:pt x="1469" y="2010"/>
                </a:lnTo>
                <a:lnTo>
                  <a:pt x="1467" y="2010"/>
                </a:lnTo>
                <a:lnTo>
                  <a:pt x="1465" y="2010"/>
                </a:lnTo>
                <a:lnTo>
                  <a:pt x="1465" y="2008"/>
                </a:lnTo>
                <a:lnTo>
                  <a:pt x="1465" y="2006"/>
                </a:lnTo>
                <a:lnTo>
                  <a:pt x="1465" y="2004"/>
                </a:lnTo>
                <a:lnTo>
                  <a:pt x="1465" y="2002"/>
                </a:lnTo>
                <a:lnTo>
                  <a:pt x="1467" y="2002"/>
                </a:lnTo>
                <a:lnTo>
                  <a:pt x="1465" y="2002"/>
                </a:lnTo>
                <a:lnTo>
                  <a:pt x="1467" y="2002"/>
                </a:lnTo>
                <a:lnTo>
                  <a:pt x="1465" y="2000"/>
                </a:lnTo>
                <a:lnTo>
                  <a:pt x="1467" y="2000"/>
                </a:lnTo>
                <a:lnTo>
                  <a:pt x="1467" y="2002"/>
                </a:lnTo>
                <a:lnTo>
                  <a:pt x="1467" y="2000"/>
                </a:lnTo>
                <a:lnTo>
                  <a:pt x="1467" y="2002"/>
                </a:lnTo>
                <a:lnTo>
                  <a:pt x="1469" y="2002"/>
                </a:lnTo>
                <a:lnTo>
                  <a:pt x="1469" y="2004"/>
                </a:lnTo>
                <a:lnTo>
                  <a:pt x="1469" y="2006"/>
                </a:lnTo>
                <a:lnTo>
                  <a:pt x="1471" y="2006"/>
                </a:lnTo>
                <a:lnTo>
                  <a:pt x="1471" y="2008"/>
                </a:lnTo>
                <a:lnTo>
                  <a:pt x="1471" y="2006"/>
                </a:lnTo>
                <a:lnTo>
                  <a:pt x="1469" y="2004"/>
                </a:lnTo>
                <a:lnTo>
                  <a:pt x="1469" y="2002"/>
                </a:lnTo>
                <a:lnTo>
                  <a:pt x="1471" y="2002"/>
                </a:lnTo>
                <a:lnTo>
                  <a:pt x="1473" y="2002"/>
                </a:lnTo>
                <a:lnTo>
                  <a:pt x="1471" y="2002"/>
                </a:lnTo>
                <a:lnTo>
                  <a:pt x="1471" y="2000"/>
                </a:lnTo>
                <a:lnTo>
                  <a:pt x="1471" y="2002"/>
                </a:lnTo>
                <a:lnTo>
                  <a:pt x="1471" y="2000"/>
                </a:lnTo>
                <a:lnTo>
                  <a:pt x="1473" y="2000"/>
                </a:lnTo>
                <a:lnTo>
                  <a:pt x="1473" y="2002"/>
                </a:lnTo>
                <a:lnTo>
                  <a:pt x="1473" y="2004"/>
                </a:lnTo>
                <a:lnTo>
                  <a:pt x="1473" y="2002"/>
                </a:lnTo>
                <a:lnTo>
                  <a:pt x="1475" y="2002"/>
                </a:lnTo>
                <a:lnTo>
                  <a:pt x="1473" y="2002"/>
                </a:lnTo>
                <a:lnTo>
                  <a:pt x="1475" y="2002"/>
                </a:lnTo>
                <a:lnTo>
                  <a:pt x="1475" y="2004"/>
                </a:lnTo>
                <a:lnTo>
                  <a:pt x="1475" y="2006"/>
                </a:lnTo>
                <a:lnTo>
                  <a:pt x="1475" y="2008"/>
                </a:lnTo>
                <a:lnTo>
                  <a:pt x="1475" y="2006"/>
                </a:lnTo>
                <a:lnTo>
                  <a:pt x="1475" y="2008"/>
                </a:lnTo>
                <a:lnTo>
                  <a:pt x="1477" y="2006"/>
                </a:lnTo>
                <a:lnTo>
                  <a:pt x="1475" y="2006"/>
                </a:lnTo>
                <a:lnTo>
                  <a:pt x="1477" y="2006"/>
                </a:lnTo>
                <a:lnTo>
                  <a:pt x="1475" y="2006"/>
                </a:lnTo>
                <a:lnTo>
                  <a:pt x="1475" y="2004"/>
                </a:lnTo>
                <a:lnTo>
                  <a:pt x="1477" y="2004"/>
                </a:lnTo>
                <a:lnTo>
                  <a:pt x="1477" y="2002"/>
                </a:lnTo>
                <a:lnTo>
                  <a:pt x="1475" y="2002"/>
                </a:lnTo>
                <a:lnTo>
                  <a:pt x="1475" y="2000"/>
                </a:lnTo>
                <a:lnTo>
                  <a:pt x="1473" y="2000"/>
                </a:lnTo>
                <a:lnTo>
                  <a:pt x="1473" y="1999"/>
                </a:lnTo>
                <a:lnTo>
                  <a:pt x="1473" y="1997"/>
                </a:lnTo>
                <a:lnTo>
                  <a:pt x="1471" y="1997"/>
                </a:lnTo>
                <a:lnTo>
                  <a:pt x="1473" y="1997"/>
                </a:lnTo>
                <a:lnTo>
                  <a:pt x="1471" y="1997"/>
                </a:lnTo>
                <a:lnTo>
                  <a:pt x="1473" y="1997"/>
                </a:lnTo>
                <a:lnTo>
                  <a:pt x="1471" y="1997"/>
                </a:lnTo>
                <a:lnTo>
                  <a:pt x="1471" y="1995"/>
                </a:lnTo>
                <a:lnTo>
                  <a:pt x="1473" y="1995"/>
                </a:lnTo>
                <a:lnTo>
                  <a:pt x="1473" y="1993"/>
                </a:lnTo>
                <a:lnTo>
                  <a:pt x="1473" y="1991"/>
                </a:lnTo>
                <a:lnTo>
                  <a:pt x="1475" y="1991"/>
                </a:lnTo>
                <a:lnTo>
                  <a:pt x="1477" y="1991"/>
                </a:lnTo>
                <a:lnTo>
                  <a:pt x="1479" y="1991"/>
                </a:lnTo>
                <a:lnTo>
                  <a:pt x="1479" y="1993"/>
                </a:lnTo>
                <a:lnTo>
                  <a:pt x="1481" y="1993"/>
                </a:lnTo>
                <a:lnTo>
                  <a:pt x="1481" y="1991"/>
                </a:lnTo>
                <a:lnTo>
                  <a:pt x="1479" y="1991"/>
                </a:lnTo>
                <a:lnTo>
                  <a:pt x="1479" y="1989"/>
                </a:lnTo>
                <a:lnTo>
                  <a:pt x="1479" y="1987"/>
                </a:lnTo>
                <a:lnTo>
                  <a:pt x="1479" y="1989"/>
                </a:lnTo>
                <a:lnTo>
                  <a:pt x="1477" y="1989"/>
                </a:lnTo>
                <a:lnTo>
                  <a:pt x="1475" y="1989"/>
                </a:lnTo>
                <a:lnTo>
                  <a:pt x="1475" y="1991"/>
                </a:lnTo>
                <a:lnTo>
                  <a:pt x="1475" y="1989"/>
                </a:lnTo>
                <a:lnTo>
                  <a:pt x="1475" y="1987"/>
                </a:lnTo>
                <a:lnTo>
                  <a:pt x="1477" y="1987"/>
                </a:lnTo>
                <a:lnTo>
                  <a:pt x="1479" y="1987"/>
                </a:lnTo>
                <a:lnTo>
                  <a:pt x="1479" y="1985"/>
                </a:lnTo>
                <a:lnTo>
                  <a:pt x="1481" y="1985"/>
                </a:lnTo>
                <a:lnTo>
                  <a:pt x="1483" y="1985"/>
                </a:lnTo>
                <a:lnTo>
                  <a:pt x="1483" y="1983"/>
                </a:lnTo>
                <a:lnTo>
                  <a:pt x="1481" y="1983"/>
                </a:lnTo>
                <a:lnTo>
                  <a:pt x="1479" y="1983"/>
                </a:lnTo>
                <a:lnTo>
                  <a:pt x="1479" y="1981"/>
                </a:lnTo>
                <a:lnTo>
                  <a:pt x="1479" y="1979"/>
                </a:lnTo>
                <a:lnTo>
                  <a:pt x="1477" y="1979"/>
                </a:lnTo>
                <a:lnTo>
                  <a:pt x="1475" y="1979"/>
                </a:lnTo>
                <a:lnTo>
                  <a:pt x="1475" y="1977"/>
                </a:lnTo>
                <a:lnTo>
                  <a:pt x="1475" y="1976"/>
                </a:lnTo>
                <a:lnTo>
                  <a:pt x="1475" y="1977"/>
                </a:lnTo>
                <a:lnTo>
                  <a:pt x="1475" y="1976"/>
                </a:lnTo>
                <a:lnTo>
                  <a:pt x="1475" y="1974"/>
                </a:lnTo>
                <a:lnTo>
                  <a:pt x="1475" y="1976"/>
                </a:lnTo>
                <a:lnTo>
                  <a:pt x="1477" y="1976"/>
                </a:lnTo>
                <a:lnTo>
                  <a:pt x="1477" y="1977"/>
                </a:lnTo>
                <a:lnTo>
                  <a:pt x="1477" y="1976"/>
                </a:lnTo>
                <a:lnTo>
                  <a:pt x="1477" y="1974"/>
                </a:lnTo>
                <a:lnTo>
                  <a:pt x="1475" y="1974"/>
                </a:lnTo>
                <a:lnTo>
                  <a:pt x="1475" y="1972"/>
                </a:lnTo>
                <a:lnTo>
                  <a:pt x="1477" y="1972"/>
                </a:lnTo>
                <a:lnTo>
                  <a:pt x="1475" y="1972"/>
                </a:lnTo>
                <a:lnTo>
                  <a:pt x="1475" y="1970"/>
                </a:lnTo>
                <a:lnTo>
                  <a:pt x="1475" y="1968"/>
                </a:lnTo>
                <a:lnTo>
                  <a:pt x="1477" y="1968"/>
                </a:lnTo>
                <a:lnTo>
                  <a:pt x="1479" y="1968"/>
                </a:lnTo>
                <a:lnTo>
                  <a:pt x="1479" y="1970"/>
                </a:lnTo>
                <a:lnTo>
                  <a:pt x="1481" y="1970"/>
                </a:lnTo>
                <a:lnTo>
                  <a:pt x="1481" y="1972"/>
                </a:lnTo>
                <a:lnTo>
                  <a:pt x="1483" y="1972"/>
                </a:lnTo>
                <a:lnTo>
                  <a:pt x="1483" y="1974"/>
                </a:lnTo>
                <a:lnTo>
                  <a:pt x="1483" y="1972"/>
                </a:lnTo>
                <a:lnTo>
                  <a:pt x="1483" y="1970"/>
                </a:lnTo>
                <a:lnTo>
                  <a:pt x="1481" y="1970"/>
                </a:lnTo>
                <a:lnTo>
                  <a:pt x="1481" y="1968"/>
                </a:lnTo>
                <a:lnTo>
                  <a:pt x="1479" y="1968"/>
                </a:lnTo>
                <a:lnTo>
                  <a:pt x="1481" y="1968"/>
                </a:lnTo>
                <a:lnTo>
                  <a:pt x="1481" y="1966"/>
                </a:lnTo>
                <a:lnTo>
                  <a:pt x="1481" y="1968"/>
                </a:lnTo>
                <a:lnTo>
                  <a:pt x="1483" y="1968"/>
                </a:lnTo>
                <a:lnTo>
                  <a:pt x="1484" y="1968"/>
                </a:lnTo>
                <a:lnTo>
                  <a:pt x="1484" y="1966"/>
                </a:lnTo>
                <a:lnTo>
                  <a:pt x="1486" y="1966"/>
                </a:lnTo>
                <a:lnTo>
                  <a:pt x="1486" y="1964"/>
                </a:lnTo>
                <a:lnTo>
                  <a:pt x="1488" y="1964"/>
                </a:lnTo>
                <a:lnTo>
                  <a:pt x="1488" y="1962"/>
                </a:lnTo>
                <a:lnTo>
                  <a:pt x="1490" y="1962"/>
                </a:lnTo>
                <a:lnTo>
                  <a:pt x="1492" y="1962"/>
                </a:lnTo>
                <a:lnTo>
                  <a:pt x="1494" y="1962"/>
                </a:lnTo>
                <a:lnTo>
                  <a:pt x="1496" y="1962"/>
                </a:lnTo>
                <a:close/>
                <a:moveTo>
                  <a:pt x="1496" y="1999"/>
                </a:moveTo>
                <a:lnTo>
                  <a:pt x="1496" y="2000"/>
                </a:lnTo>
                <a:lnTo>
                  <a:pt x="1496" y="1999"/>
                </a:lnTo>
                <a:close/>
                <a:moveTo>
                  <a:pt x="1475" y="1945"/>
                </a:moveTo>
                <a:lnTo>
                  <a:pt x="1473" y="1945"/>
                </a:lnTo>
                <a:lnTo>
                  <a:pt x="1475" y="1945"/>
                </a:lnTo>
                <a:lnTo>
                  <a:pt x="1473" y="1945"/>
                </a:lnTo>
                <a:lnTo>
                  <a:pt x="1473" y="1943"/>
                </a:lnTo>
                <a:lnTo>
                  <a:pt x="1473" y="1945"/>
                </a:lnTo>
                <a:lnTo>
                  <a:pt x="1473" y="1943"/>
                </a:lnTo>
                <a:lnTo>
                  <a:pt x="1475" y="1943"/>
                </a:lnTo>
                <a:lnTo>
                  <a:pt x="1475" y="1945"/>
                </a:lnTo>
                <a:close/>
                <a:moveTo>
                  <a:pt x="1494" y="1958"/>
                </a:moveTo>
                <a:lnTo>
                  <a:pt x="1494" y="1956"/>
                </a:lnTo>
                <a:lnTo>
                  <a:pt x="1492" y="1956"/>
                </a:lnTo>
                <a:lnTo>
                  <a:pt x="1494" y="1956"/>
                </a:lnTo>
                <a:lnTo>
                  <a:pt x="1494" y="1958"/>
                </a:lnTo>
                <a:close/>
                <a:moveTo>
                  <a:pt x="1473" y="1935"/>
                </a:moveTo>
                <a:lnTo>
                  <a:pt x="1473" y="1937"/>
                </a:lnTo>
                <a:lnTo>
                  <a:pt x="1473" y="1935"/>
                </a:lnTo>
                <a:close/>
                <a:moveTo>
                  <a:pt x="951" y="1355"/>
                </a:moveTo>
                <a:lnTo>
                  <a:pt x="951" y="1353"/>
                </a:lnTo>
                <a:lnTo>
                  <a:pt x="951" y="1355"/>
                </a:lnTo>
                <a:close/>
                <a:moveTo>
                  <a:pt x="1494" y="1945"/>
                </a:moveTo>
                <a:lnTo>
                  <a:pt x="1494" y="1947"/>
                </a:lnTo>
                <a:lnTo>
                  <a:pt x="1494" y="1949"/>
                </a:lnTo>
                <a:lnTo>
                  <a:pt x="1494" y="1951"/>
                </a:lnTo>
                <a:lnTo>
                  <a:pt x="1496" y="1951"/>
                </a:lnTo>
                <a:lnTo>
                  <a:pt x="1494" y="1951"/>
                </a:lnTo>
                <a:lnTo>
                  <a:pt x="1494" y="1952"/>
                </a:lnTo>
                <a:lnTo>
                  <a:pt x="1492" y="1952"/>
                </a:lnTo>
                <a:lnTo>
                  <a:pt x="1492" y="1951"/>
                </a:lnTo>
                <a:lnTo>
                  <a:pt x="1492" y="1949"/>
                </a:lnTo>
                <a:lnTo>
                  <a:pt x="1492" y="1947"/>
                </a:lnTo>
                <a:lnTo>
                  <a:pt x="1492" y="1945"/>
                </a:lnTo>
                <a:lnTo>
                  <a:pt x="1494" y="1945"/>
                </a:lnTo>
                <a:lnTo>
                  <a:pt x="1492" y="1945"/>
                </a:lnTo>
                <a:lnTo>
                  <a:pt x="1494" y="1945"/>
                </a:lnTo>
                <a:close/>
                <a:moveTo>
                  <a:pt x="1571" y="2008"/>
                </a:moveTo>
                <a:lnTo>
                  <a:pt x="1571" y="2006"/>
                </a:lnTo>
                <a:lnTo>
                  <a:pt x="1571" y="2008"/>
                </a:lnTo>
                <a:close/>
                <a:moveTo>
                  <a:pt x="1477" y="1931"/>
                </a:moveTo>
                <a:lnTo>
                  <a:pt x="1479" y="1931"/>
                </a:lnTo>
                <a:lnTo>
                  <a:pt x="1479" y="1933"/>
                </a:lnTo>
                <a:lnTo>
                  <a:pt x="1477" y="1933"/>
                </a:lnTo>
                <a:lnTo>
                  <a:pt x="1477" y="1935"/>
                </a:lnTo>
                <a:lnTo>
                  <a:pt x="1477" y="1933"/>
                </a:lnTo>
                <a:lnTo>
                  <a:pt x="1477" y="1935"/>
                </a:lnTo>
                <a:lnTo>
                  <a:pt x="1475" y="1935"/>
                </a:lnTo>
                <a:lnTo>
                  <a:pt x="1473" y="1935"/>
                </a:lnTo>
                <a:lnTo>
                  <a:pt x="1475" y="1935"/>
                </a:lnTo>
                <a:lnTo>
                  <a:pt x="1473" y="1935"/>
                </a:lnTo>
                <a:lnTo>
                  <a:pt x="1475" y="1935"/>
                </a:lnTo>
                <a:lnTo>
                  <a:pt x="1473" y="1935"/>
                </a:lnTo>
                <a:lnTo>
                  <a:pt x="1473" y="1933"/>
                </a:lnTo>
                <a:lnTo>
                  <a:pt x="1475" y="1933"/>
                </a:lnTo>
                <a:lnTo>
                  <a:pt x="1473" y="1933"/>
                </a:lnTo>
                <a:lnTo>
                  <a:pt x="1475" y="1933"/>
                </a:lnTo>
                <a:lnTo>
                  <a:pt x="1473" y="1933"/>
                </a:lnTo>
                <a:lnTo>
                  <a:pt x="1473" y="1931"/>
                </a:lnTo>
                <a:lnTo>
                  <a:pt x="1475" y="1931"/>
                </a:lnTo>
                <a:lnTo>
                  <a:pt x="1477" y="1931"/>
                </a:lnTo>
                <a:close/>
                <a:moveTo>
                  <a:pt x="1477" y="1929"/>
                </a:moveTo>
                <a:lnTo>
                  <a:pt x="1475" y="1929"/>
                </a:lnTo>
                <a:lnTo>
                  <a:pt x="1477" y="1929"/>
                </a:lnTo>
                <a:lnTo>
                  <a:pt x="1477" y="1931"/>
                </a:lnTo>
                <a:lnTo>
                  <a:pt x="1475" y="1931"/>
                </a:lnTo>
                <a:lnTo>
                  <a:pt x="1475" y="1929"/>
                </a:lnTo>
                <a:lnTo>
                  <a:pt x="1475" y="1928"/>
                </a:lnTo>
                <a:lnTo>
                  <a:pt x="1475" y="1929"/>
                </a:lnTo>
                <a:lnTo>
                  <a:pt x="1477" y="1929"/>
                </a:lnTo>
                <a:close/>
                <a:moveTo>
                  <a:pt x="974" y="1373"/>
                </a:moveTo>
                <a:lnTo>
                  <a:pt x="974" y="1375"/>
                </a:lnTo>
                <a:lnTo>
                  <a:pt x="972" y="1375"/>
                </a:lnTo>
                <a:lnTo>
                  <a:pt x="972" y="1377"/>
                </a:lnTo>
                <a:lnTo>
                  <a:pt x="972" y="1375"/>
                </a:lnTo>
                <a:lnTo>
                  <a:pt x="972" y="1373"/>
                </a:lnTo>
                <a:lnTo>
                  <a:pt x="974" y="1373"/>
                </a:lnTo>
                <a:close/>
                <a:moveTo>
                  <a:pt x="1477" y="1926"/>
                </a:moveTo>
                <a:lnTo>
                  <a:pt x="1477" y="1928"/>
                </a:lnTo>
                <a:lnTo>
                  <a:pt x="1475" y="1928"/>
                </a:lnTo>
                <a:lnTo>
                  <a:pt x="1475" y="1926"/>
                </a:lnTo>
                <a:lnTo>
                  <a:pt x="1477" y="1926"/>
                </a:lnTo>
                <a:lnTo>
                  <a:pt x="1479" y="1926"/>
                </a:lnTo>
                <a:lnTo>
                  <a:pt x="1477" y="1926"/>
                </a:lnTo>
                <a:close/>
                <a:moveTo>
                  <a:pt x="972" y="1367"/>
                </a:moveTo>
                <a:lnTo>
                  <a:pt x="970" y="1367"/>
                </a:lnTo>
                <a:lnTo>
                  <a:pt x="970" y="1365"/>
                </a:lnTo>
                <a:lnTo>
                  <a:pt x="972" y="1365"/>
                </a:lnTo>
                <a:lnTo>
                  <a:pt x="972" y="1367"/>
                </a:lnTo>
                <a:close/>
                <a:moveTo>
                  <a:pt x="1001" y="1407"/>
                </a:moveTo>
                <a:lnTo>
                  <a:pt x="999" y="1407"/>
                </a:lnTo>
                <a:lnTo>
                  <a:pt x="999" y="1405"/>
                </a:lnTo>
                <a:lnTo>
                  <a:pt x="1001" y="1405"/>
                </a:lnTo>
                <a:lnTo>
                  <a:pt x="1001" y="1407"/>
                </a:lnTo>
                <a:close/>
                <a:moveTo>
                  <a:pt x="1554" y="1987"/>
                </a:moveTo>
                <a:lnTo>
                  <a:pt x="1554" y="1985"/>
                </a:lnTo>
                <a:lnTo>
                  <a:pt x="1556" y="1985"/>
                </a:lnTo>
                <a:lnTo>
                  <a:pt x="1554" y="1985"/>
                </a:lnTo>
                <a:lnTo>
                  <a:pt x="1554" y="1987"/>
                </a:lnTo>
                <a:close/>
                <a:moveTo>
                  <a:pt x="1004" y="1411"/>
                </a:moveTo>
                <a:lnTo>
                  <a:pt x="1004" y="1413"/>
                </a:lnTo>
                <a:lnTo>
                  <a:pt x="1002" y="1413"/>
                </a:lnTo>
                <a:lnTo>
                  <a:pt x="1001" y="1413"/>
                </a:lnTo>
                <a:lnTo>
                  <a:pt x="1001" y="1411"/>
                </a:lnTo>
                <a:lnTo>
                  <a:pt x="1002" y="1411"/>
                </a:lnTo>
                <a:lnTo>
                  <a:pt x="1004" y="1411"/>
                </a:lnTo>
                <a:close/>
                <a:moveTo>
                  <a:pt x="1002" y="1409"/>
                </a:moveTo>
                <a:lnTo>
                  <a:pt x="1001" y="1409"/>
                </a:lnTo>
                <a:lnTo>
                  <a:pt x="999" y="1409"/>
                </a:lnTo>
                <a:lnTo>
                  <a:pt x="1001" y="1409"/>
                </a:lnTo>
                <a:lnTo>
                  <a:pt x="1001" y="1407"/>
                </a:lnTo>
                <a:lnTo>
                  <a:pt x="1002" y="1407"/>
                </a:lnTo>
                <a:lnTo>
                  <a:pt x="1002" y="1409"/>
                </a:lnTo>
                <a:close/>
                <a:moveTo>
                  <a:pt x="1477" y="1912"/>
                </a:moveTo>
                <a:lnTo>
                  <a:pt x="1475" y="1912"/>
                </a:lnTo>
                <a:lnTo>
                  <a:pt x="1477" y="1912"/>
                </a:lnTo>
                <a:close/>
                <a:moveTo>
                  <a:pt x="1554" y="1974"/>
                </a:moveTo>
                <a:lnTo>
                  <a:pt x="1554" y="1976"/>
                </a:lnTo>
                <a:lnTo>
                  <a:pt x="1554" y="1977"/>
                </a:lnTo>
                <a:lnTo>
                  <a:pt x="1554" y="1976"/>
                </a:lnTo>
                <a:lnTo>
                  <a:pt x="1554" y="1977"/>
                </a:lnTo>
                <a:lnTo>
                  <a:pt x="1554" y="1979"/>
                </a:lnTo>
                <a:lnTo>
                  <a:pt x="1554" y="1981"/>
                </a:lnTo>
                <a:lnTo>
                  <a:pt x="1554" y="1983"/>
                </a:lnTo>
                <a:lnTo>
                  <a:pt x="1552" y="1985"/>
                </a:lnTo>
                <a:lnTo>
                  <a:pt x="1552" y="1983"/>
                </a:lnTo>
                <a:lnTo>
                  <a:pt x="1552" y="1981"/>
                </a:lnTo>
                <a:lnTo>
                  <a:pt x="1552" y="1979"/>
                </a:lnTo>
                <a:lnTo>
                  <a:pt x="1552" y="1977"/>
                </a:lnTo>
                <a:lnTo>
                  <a:pt x="1554" y="1977"/>
                </a:lnTo>
                <a:lnTo>
                  <a:pt x="1552" y="1977"/>
                </a:lnTo>
                <a:lnTo>
                  <a:pt x="1554" y="1977"/>
                </a:lnTo>
                <a:lnTo>
                  <a:pt x="1554" y="1979"/>
                </a:lnTo>
                <a:lnTo>
                  <a:pt x="1554" y="1977"/>
                </a:lnTo>
                <a:lnTo>
                  <a:pt x="1554" y="1979"/>
                </a:lnTo>
                <a:lnTo>
                  <a:pt x="1554" y="1977"/>
                </a:lnTo>
                <a:lnTo>
                  <a:pt x="1554" y="1976"/>
                </a:lnTo>
                <a:lnTo>
                  <a:pt x="1554" y="1974"/>
                </a:lnTo>
                <a:close/>
                <a:moveTo>
                  <a:pt x="1552" y="1974"/>
                </a:moveTo>
                <a:lnTo>
                  <a:pt x="1554" y="1974"/>
                </a:lnTo>
                <a:lnTo>
                  <a:pt x="1552" y="1974"/>
                </a:lnTo>
                <a:close/>
                <a:moveTo>
                  <a:pt x="1557" y="1974"/>
                </a:moveTo>
                <a:lnTo>
                  <a:pt x="1557" y="1976"/>
                </a:lnTo>
                <a:lnTo>
                  <a:pt x="1557" y="1974"/>
                </a:lnTo>
                <a:close/>
                <a:moveTo>
                  <a:pt x="1488" y="1914"/>
                </a:moveTo>
                <a:lnTo>
                  <a:pt x="1488" y="1916"/>
                </a:lnTo>
                <a:lnTo>
                  <a:pt x="1488" y="1914"/>
                </a:lnTo>
                <a:close/>
                <a:moveTo>
                  <a:pt x="1556" y="1970"/>
                </a:moveTo>
                <a:lnTo>
                  <a:pt x="1556" y="1972"/>
                </a:lnTo>
                <a:lnTo>
                  <a:pt x="1557" y="1972"/>
                </a:lnTo>
                <a:lnTo>
                  <a:pt x="1557" y="1974"/>
                </a:lnTo>
                <a:lnTo>
                  <a:pt x="1556" y="1974"/>
                </a:lnTo>
                <a:lnTo>
                  <a:pt x="1557" y="1974"/>
                </a:lnTo>
                <a:lnTo>
                  <a:pt x="1557" y="1972"/>
                </a:lnTo>
                <a:lnTo>
                  <a:pt x="1557" y="1974"/>
                </a:lnTo>
                <a:lnTo>
                  <a:pt x="1556" y="1974"/>
                </a:lnTo>
                <a:lnTo>
                  <a:pt x="1554" y="1974"/>
                </a:lnTo>
                <a:lnTo>
                  <a:pt x="1554" y="1972"/>
                </a:lnTo>
                <a:lnTo>
                  <a:pt x="1554" y="1970"/>
                </a:lnTo>
                <a:lnTo>
                  <a:pt x="1556" y="1970"/>
                </a:lnTo>
                <a:lnTo>
                  <a:pt x="1556" y="1968"/>
                </a:lnTo>
                <a:lnTo>
                  <a:pt x="1556" y="1970"/>
                </a:lnTo>
                <a:close/>
                <a:moveTo>
                  <a:pt x="995" y="1375"/>
                </a:moveTo>
                <a:lnTo>
                  <a:pt x="993" y="1375"/>
                </a:lnTo>
                <a:lnTo>
                  <a:pt x="993" y="1373"/>
                </a:lnTo>
                <a:lnTo>
                  <a:pt x="995" y="1373"/>
                </a:lnTo>
                <a:lnTo>
                  <a:pt x="995" y="1375"/>
                </a:lnTo>
                <a:close/>
                <a:moveTo>
                  <a:pt x="995" y="1375"/>
                </a:moveTo>
                <a:lnTo>
                  <a:pt x="995" y="1377"/>
                </a:lnTo>
                <a:lnTo>
                  <a:pt x="995" y="1375"/>
                </a:lnTo>
                <a:close/>
                <a:moveTo>
                  <a:pt x="1010" y="1398"/>
                </a:moveTo>
                <a:lnTo>
                  <a:pt x="1008" y="1398"/>
                </a:lnTo>
                <a:lnTo>
                  <a:pt x="1008" y="1400"/>
                </a:lnTo>
                <a:lnTo>
                  <a:pt x="1010" y="1400"/>
                </a:lnTo>
                <a:lnTo>
                  <a:pt x="1010" y="1401"/>
                </a:lnTo>
                <a:lnTo>
                  <a:pt x="1010" y="1403"/>
                </a:lnTo>
                <a:lnTo>
                  <a:pt x="1008" y="1403"/>
                </a:lnTo>
                <a:lnTo>
                  <a:pt x="1006" y="1403"/>
                </a:lnTo>
                <a:lnTo>
                  <a:pt x="1006" y="1401"/>
                </a:lnTo>
                <a:lnTo>
                  <a:pt x="1008" y="1401"/>
                </a:lnTo>
                <a:lnTo>
                  <a:pt x="1008" y="1400"/>
                </a:lnTo>
                <a:lnTo>
                  <a:pt x="1006" y="1400"/>
                </a:lnTo>
                <a:lnTo>
                  <a:pt x="1006" y="1398"/>
                </a:lnTo>
                <a:lnTo>
                  <a:pt x="1006" y="1396"/>
                </a:lnTo>
                <a:lnTo>
                  <a:pt x="1004" y="1396"/>
                </a:lnTo>
                <a:lnTo>
                  <a:pt x="1006" y="1396"/>
                </a:lnTo>
                <a:lnTo>
                  <a:pt x="1008" y="1396"/>
                </a:lnTo>
                <a:lnTo>
                  <a:pt x="1010" y="1396"/>
                </a:lnTo>
                <a:lnTo>
                  <a:pt x="1012" y="1396"/>
                </a:lnTo>
                <a:lnTo>
                  <a:pt x="1012" y="1398"/>
                </a:lnTo>
                <a:lnTo>
                  <a:pt x="1010" y="1398"/>
                </a:lnTo>
                <a:close/>
                <a:moveTo>
                  <a:pt x="985" y="1361"/>
                </a:moveTo>
                <a:lnTo>
                  <a:pt x="985" y="1363"/>
                </a:lnTo>
                <a:lnTo>
                  <a:pt x="985" y="1365"/>
                </a:lnTo>
                <a:lnTo>
                  <a:pt x="985" y="1367"/>
                </a:lnTo>
                <a:lnTo>
                  <a:pt x="985" y="1369"/>
                </a:lnTo>
                <a:lnTo>
                  <a:pt x="985" y="1371"/>
                </a:lnTo>
                <a:lnTo>
                  <a:pt x="983" y="1371"/>
                </a:lnTo>
                <a:lnTo>
                  <a:pt x="983" y="1373"/>
                </a:lnTo>
                <a:lnTo>
                  <a:pt x="983" y="1375"/>
                </a:lnTo>
                <a:lnTo>
                  <a:pt x="981" y="1375"/>
                </a:lnTo>
                <a:lnTo>
                  <a:pt x="981" y="1377"/>
                </a:lnTo>
                <a:lnTo>
                  <a:pt x="979" y="1377"/>
                </a:lnTo>
                <a:lnTo>
                  <a:pt x="979" y="1375"/>
                </a:lnTo>
                <a:lnTo>
                  <a:pt x="979" y="1373"/>
                </a:lnTo>
                <a:lnTo>
                  <a:pt x="979" y="1371"/>
                </a:lnTo>
                <a:lnTo>
                  <a:pt x="981" y="1371"/>
                </a:lnTo>
                <a:lnTo>
                  <a:pt x="981" y="1369"/>
                </a:lnTo>
                <a:lnTo>
                  <a:pt x="979" y="1369"/>
                </a:lnTo>
                <a:lnTo>
                  <a:pt x="979" y="1367"/>
                </a:lnTo>
                <a:lnTo>
                  <a:pt x="979" y="1365"/>
                </a:lnTo>
                <a:lnTo>
                  <a:pt x="979" y="1363"/>
                </a:lnTo>
                <a:lnTo>
                  <a:pt x="979" y="1361"/>
                </a:lnTo>
                <a:lnTo>
                  <a:pt x="979" y="1359"/>
                </a:lnTo>
                <a:lnTo>
                  <a:pt x="981" y="1359"/>
                </a:lnTo>
                <a:lnTo>
                  <a:pt x="983" y="1359"/>
                </a:lnTo>
                <a:lnTo>
                  <a:pt x="983" y="1357"/>
                </a:lnTo>
                <a:lnTo>
                  <a:pt x="985" y="1357"/>
                </a:lnTo>
                <a:lnTo>
                  <a:pt x="985" y="1359"/>
                </a:lnTo>
                <a:lnTo>
                  <a:pt x="985" y="1361"/>
                </a:lnTo>
                <a:close/>
                <a:moveTo>
                  <a:pt x="1004" y="1384"/>
                </a:moveTo>
                <a:lnTo>
                  <a:pt x="1004" y="1386"/>
                </a:lnTo>
                <a:lnTo>
                  <a:pt x="1004" y="1384"/>
                </a:lnTo>
                <a:lnTo>
                  <a:pt x="1002" y="1386"/>
                </a:lnTo>
                <a:lnTo>
                  <a:pt x="1001" y="1386"/>
                </a:lnTo>
                <a:lnTo>
                  <a:pt x="999" y="1386"/>
                </a:lnTo>
                <a:lnTo>
                  <a:pt x="999" y="1384"/>
                </a:lnTo>
                <a:lnTo>
                  <a:pt x="999" y="1382"/>
                </a:lnTo>
                <a:lnTo>
                  <a:pt x="1001" y="1382"/>
                </a:lnTo>
                <a:lnTo>
                  <a:pt x="1001" y="1380"/>
                </a:lnTo>
                <a:lnTo>
                  <a:pt x="1001" y="1382"/>
                </a:lnTo>
                <a:lnTo>
                  <a:pt x="1001" y="1380"/>
                </a:lnTo>
                <a:lnTo>
                  <a:pt x="1002" y="1382"/>
                </a:lnTo>
                <a:lnTo>
                  <a:pt x="1004" y="1384"/>
                </a:lnTo>
                <a:lnTo>
                  <a:pt x="1006" y="1384"/>
                </a:lnTo>
                <a:lnTo>
                  <a:pt x="1004" y="1384"/>
                </a:lnTo>
                <a:close/>
                <a:moveTo>
                  <a:pt x="993" y="1365"/>
                </a:moveTo>
                <a:lnTo>
                  <a:pt x="993" y="1367"/>
                </a:lnTo>
                <a:lnTo>
                  <a:pt x="993" y="1369"/>
                </a:lnTo>
                <a:lnTo>
                  <a:pt x="993" y="1371"/>
                </a:lnTo>
                <a:lnTo>
                  <a:pt x="993" y="1373"/>
                </a:lnTo>
                <a:lnTo>
                  <a:pt x="993" y="1375"/>
                </a:lnTo>
                <a:lnTo>
                  <a:pt x="993" y="1377"/>
                </a:lnTo>
                <a:lnTo>
                  <a:pt x="993" y="1378"/>
                </a:lnTo>
                <a:lnTo>
                  <a:pt x="995" y="1378"/>
                </a:lnTo>
                <a:lnTo>
                  <a:pt x="995" y="1377"/>
                </a:lnTo>
                <a:lnTo>
                  <a:pt x="997" y="1377"/>
                </a:lnTo>
                <a:lnTo>
                  <a:pt x="997" y="1378"/>
                </a:lnTo>
                <a:lnTo>
                  <a:pt x="997" y="1380"/>
                </a:lnTo>
                <a:lnTo>
                  <a:pt x="997" y="1382"/>
                </a:lnTo>
                <a:lnTo>
                  <a:pt x="999" y="1382"/>
                </a:lnTo>
                <a:lnTo>
                  <a:pt x="999" y="1384"/>
                </a:lnTo>
                <a:lnTo>
                  <a:pt x="999" y="1386"/>
                </a:lnTo>
                <a:lnTo>
                  <a:pt x="997" y="1386"/>
                </a:lnTo>
                <a:lnTo>
                  <a:pt x="995" y="1386"/>
                </a:lnTo>
                <a:lnTo>
                  <a:pt x="993" y="1386"/>
                </a:lnTo>
                <a:lnTo>
                  <a:pt x="995" y="1386"/>
                </a:lnTo>
                <a:lnTo>
                  <a:pt x="993" y="1386"/>
                </a:lnTo>
                <a:lnTo>
                  <a:pt x="991" y="1386"/>
                </a:lnTo>
                <a:lnTo>
                  <a:pt x="989" y="1386"/>
                </a:lnTo>
                <a:lnTo>
                  <a:pt x="989" y="1388"/>
                </a:lnTo>
                <a:lnTo>
                  <a:pt x="987" y="1388"/>
                </a:lnTo>
                <a:lnTo>
                  <a:pt x="985" y="1388"/>
                </a:lnTo>
                <a:lnTo>
                  <a:pt x="985" y="1390"/>
                </a:lnTo>
                <a:lnTo>
                  <a:pt x="985" y="1392"/>
                </a:lnTo>
                <a:lnTo>
                  <a:pt x="983" y="1392"/>
                </a:lnTo>
                <a:lnTo>
                  <a:pt x="985" y="1392"/>
                </a:lnTo>
                <a:lnTo>
                  <a:pt x="983" y="1394"/>
                </a:lnTo>
                <a:lnTo>
                  <a:pt x="985" y="1394"/>
                </a:lnTo>
                <a:lnTo>
                  <a:pt x="985" y="1392"/>
                </a:lnTo>
                <a:lnTo>
                  <a:pt x="987" y="1392"/>
                </a:lnTo>
                <a:lnTo>
                  <a:pt x="987" y="1390"/>
                </a:lnTo>
                <a:lnTo>
                  <a:pt x="989" y="1390"/>
                </a:lnTo>
                <a:lnTo>
                  <a:pt x="991" y="1388"/>
                </a:lnTo>
                <a:lnTo>
                  <a:pt x="993" y="1388"/>
                </a:lnTo>
                <a:lnTo>
                  <a:pt x="995" y="1388"/>
                </a:lnTo>
                <a:lnTo>
                  <a:pt x="995" y="1390"/>
                </a:lnTo>
                <a:lnTo>
                  <a:pt x="995" y="1392"/>
                </a:lnTo>
                <a:lnTo>
                  <a:pt x="993" y="1392"/>
                </a:lnTo>
                <a:lnTo>
                  <a:pt x="993" y="1394"/>
                </a:lnTo>
                <a:lnTo>
                  <a:pt x="995" y="1392"/>
                </a:lnTo>
                <a:lnTo>
                  <a:pt x="997" y="1392"/>
                </a:lnTo>
                <a:lnTo>
                  <a:pt x="999" y="1392"/>
                </a:lnTo>
                <a:lnTo>
                  <a:pt x="999" y="1394"/>
                </a:lnTo>
                <a:lnTo>
                  <a:pt x="999" y="1396"/>
                </a:lnTo>
                <a:lnTo>
                  <a:pt x="997" y="1396"/>
                </a:lnTo>
                <a:lnTo>
                  <a:pt x="999" y="1396"/>
                </a:lnTo>
                <a:lnTo>
                  <a:pt x="999" y="1394"/>
                </a:lnTo>
                <a:lnTo>
                  <a:pt x="1001" y="1394"/>
                </a:lnTo>
                <a:lnTo>
                  <a:pt x="1001" y="1392"/>
                </a:lnTo>
                <a:lnTo>
                  <a:pt x="1002" y="1392"/>
                </a:lnTo>
                <a:lnTo>
                  <a:pt x="1004" y="1392"/>
                </a:lnTo>
                <a:lnTo>
                  <a:pt x="1002" y="1392"/>
                </a:lnTo>
                <a:lnTo>
                  <a:pt x="1002" y="1394"/>
                </a:lnTo>
                <a:lnTo>
                  <a:pt x="1004" y="1394"/>
                </a:lnTo>
                <a:lnTo>
                  <a:pt x="1002" y="1394"/>
                </a:lnTo>
                <a:lnTo>
                  <a:pt x="1004" y="1394"/>
                </a:lnTo>
                <a:lnTo>
                  <a:pt x="1002" y="1394"/>
                </a:lnTo>
                <a:lnTo>
                  <a:pt x="1002" y="1396"/>
                </a:lnTo>
                <a:lnTo>
                  <a:pt x="1004" y="1396"/>
                </a:lnTo>
                <a:lnTo>
                  <a:pt x="1002" y="1396"/>
                </a:lnTo>
                <a:lnTo>
                  <a:pt x="1004" y="1396"/>
                </a:lnTo>
                <a:lnTo>
                  <a:pt x="1004" y="1398"/>
                </a:lnTo>
                <a:lnTo>
                  <a:pt x="1004" y="1400"/>
                </a:lnTo>
                <a:lnTo>
                  <a:pt x="1004" y="1401"/>
                </a:lnTo>
                <a:lnTo>
                  <a:pt x="1004" y="1403"/>
                </a:lnTo>
                <a:lnTo>
                  <a:pt x="1002" y="1403"/>
                </a:lnTo>
                <a:lnTo>
                  <a:pt x="1002" y="1401"/>
                </a:lnTo>
                <a:lnTo>
                  <a:pt x="1002" y="1403"/>
                </a:lnTo>
                <a:lnTo>
                  <a:pt x="1001" y="1403"/>
                </a:lnTo>
                <a:lnTo>
                  <a:pt x="1001" y="1405"/>
                </a:lnTo>
                <a:lnTo>
                  <a:pt x="1002" y="1405"/>
                </a:lnTo>
                <a:lnTo>
                  <a:pt x="1004" y="1405"/>
                </a:lnTo>
                <a:lnTo>
                  <a:pt x="1002" y="1405"/>
                </a:lnTo>
                <a:lnTo>
                  <a:pt x="1002" y="1407"/>
                </a:lnTo>
                <a:lnTo>
                  <a:pt x="1004" y="1407"/>
                </a:lnTo>
                <a:lnTo>
                  <a:pt x="1002" y="1407"/>
                </a:lnTo>
                <a:lnTo>
                  <a:pt x="1001" y="1407"/>
                </a:lnTo>
                <a:lnTo>
                  <a:pt x="1001" y="1405"/>
                </a:lnTo>
                <a:lnTo>
                  <a:pt x="999" y="1405"/>
                </a:lnTo>
                <a:lnTo>
                  <a:pt x="997" y="1405"/>
                </a:lnTo>
                <a:lnTo>
                  <a:pt x="995" y="1405"/>
                </a:lnTo>
                <a:lnTo>
                  <a:pt x="995" y="1403"/>
                </a:lnTo>
                <a:lnTo>
                  <a:pt x="997" y="1403"/>
                </a:lnTo>
                <a:lnTo>
                  <a:pt x="997" y="1401"/>
                </a:lnTo>
                <a:lnTo>
                  <a:pt x="995" y="1401"/>
                </a:lnTo>
                <a:lnTo>
                  <a:pt x="997" y="1401"/>
                </a:lnTo>
                <a:lnTo>
                  <a:pt x="995" y="1401"/>
                </a:lnTo>
                <a:lnTo>
                  <a:pt x="997" y="1401"/>
                </a:lnTo>
                <a:lnTo>
                  <a:pt x="997" y="1403"/>
                </a:lnTo>
                <a:lnTo>
                  <a:pt x="995" y="1403"/>
                </a:lnTo>
                <a:lnTo>
                  <a:pt x="995" y="1405"/>
                </a:lnTo>
                <a:lnTo>
                  <a:pt x="993" y="1405"/>
                </a:lnTo>
                <a:lnTo>
                  <a:pt x="993" y="1403"/>
                </a:lnTo>
                <a:lnTo>
                  <a:pt x="993" y="1405"/>
                </a:lnTo>
                <a:lnTo>
                  <a:pt x="993" y="1403"/>
                </a:lnTo>
                <a:lnTo>
                  <a:pt x="991" y="1403"/>
                </a:lnTo>
                <a:lnTo>
                  <a:pt x="989" y="1403"/>
                </a:lnTo>
                <a:lnTo>
                  <a:pt x="991" y="1403"/>
                </a:lnTo>
                <a:lnTo>
                  <a:pt x="989" y="1403"/>
                </a:lnTo>
                <a:lnTo>
                  <a:pt x="989" y="1405"/>
                </a:lnTo>
                <a:lnTo>
                  <a:pt x="991" y="1405"/>
                </a:lnTo>
                <a:lnTo>
                  <a:pt x="993" y="1405"/>
                </a:lnTo>
                <a:lnTo>
                  <a:pt x="993" y="1407"/>
                </a:lnTo>
                <a:lnTo>
                  <a:pt x="993" y="1405"/>
                </a:lnTo>
                <a:lnTo>
                  <a:pt x="993" y="1407"/>
                </a:lnTo>
                <a:lnTo>
                  <a:pt x="995" y="1407"/>
                </a:lnTo>
                <a:lnTo>
                  <a:pt x="993" y="1407"/>
                </a:lnTo>
                <a:lnTo>
                  <a:pt x="991" y="1407"/>
                </a:lnTo>
                <a:lnTo>
                  <a:pt x="991" y="1409"/>
                </a:lnTo>
                <a:lnTo>
                  <a:pt x="989" y="1409"/>
                </a:lnTo>
                <a:lnTo>
                  <a:pt x="987" y="1409"/>
                </a:lnTo>
                <a:lnTo>
                  <a:pt x="985" y="1409"/>
                </a:lnTo>
                <a:lnTo>
                  <a:pt x="987" y="1409"/>
                </a:lnTo>
                <a:lnTo>
                  <a:pt x="989" y="1409"/>
                </a:lnTo>
                <a:lnTo>
                  <a:pt x="987" y="1409"/>
                </a:lnTo>
                <a:lnTo>
                  <a:pt x="989" y="1409"/>
                </a:lnTo>
                <a:lnTo>
                  <a:pt x="989" y="1411"/>
                </a:lnTo>
                <a:lnTo>
                  <a:pt x="989" y="1409"/>
                </a:lnTo>
                <a:lnTo>
                  <a:pt x="989" y="1411"/>
                </a:lnTo>
                <a:lnTo>
                  <a:pt x="991" y="1411"/>
                </a:lnTo>
                <a:lnTo>
                  <a:pt x="993" y="1411"/>
                </a:lnTo>
                <a:lnTo>
                  <a:pt x="991" y="1411"/>
                </a:lnTo>
                <a:lnTo>
                  <a:pt x="989" y="1411"/>
                </a:lnTo>
                <a:lnTo>
                  <a:pt x="989" y="1413"/>
                </a:lnTo>
                <a:lnTo>
                  <a:pt x="987" y="1413"/>
                </a:lnTo>
                <a:lnTo>
                  <a:pt x="985" y="1413"/>
                </a:lnTo>
                <a:lnTo>
                  <a:pt x="985" y="1415"/>
                </a:lnTo>
                <a:lnTo>
                  <a:pt x="987" y="1415"/>
                </a:lnTo>
                <a:lnTo>
                  <a:pt x="989" y="1415"/>
                </a:lnTo>
                <a:lnTo>
                  <a:pt x="989" y="1417"/>
                </a:lnTo>
                <a:lnTo>
                  <a:pt x="991" y="1417"/>
                </a:lnTo>
                <a:lnTo>
                  <a:pt x="993" y="1417"/>
                </a:lnTo>
                <a:lnTo>
                  <a:pt x="991" y="1417"/>
                </a:lnTo>
                <a:lnTo>
                  <a:pt x="991" y="1419"/>
                </a:lnTo>
                <a:lnTo>
                  <a:pt x="993" y="1419"/>
                </a:lnTo>
                <a:lnTo>
                  <a:pt x="993" y="1421"/>
                </a:lnTo>
                <a:lnTo>
                  <a:pt x="995" y="1421"/>
                </a:lnTo>
                <a:lnTo>
                  <a:pt x="995" y="1423"/>
                </a:lnTo>
                <a:lnTo>
                  <a:pt x="993" y="1423"/>
                </a:lnTo>
                <a:lnTo>
                  <a:pt x="993" y="1425"/>
                </a:lnTo>
                <a:lnTo>
                  <a:pt x="991" y="1425"/>
                </a:lnTo>
                <a:lnTo>
                  <a:pt x="989" y="1425"/>
                </a:lnTo>
                <a:lnTo>
                  <a:pt x="987" y="1425"/>
                </a:lnTo>
                <a:lnTo>
                  <a:pt x="985" y="1425"/>
                </a:lnTo>
                <a:lnTo>
                  <a:pt x="985" y="1423"/>
                </a:lnTo>
                <a:lnTo>
                  <a:pt x="983" y="1423"/>
                </a:lnTo>
                <a:lnTo>
                  <a:pt x="983" y="1425"/>
                </a:lnTo>
                <a:lnTo>
                  <a:pt x="981" y="1425"/>
                </a:lnTo>
                <a:lnTo>
                  <a:pt x="979" y="1425"/>
                </a:lnTo>
                <a:lnTo>
                  <a:pt x="979" y="1426"/>
                </a:lnTo>
                <a:lnTo>
                  <a:pt x="978" y="1426"/>
                </a:lnTo>
                <a:lnTo>
                  <a:pt x="978" y="1425"/>
                </a:lnTo>
                <a:lnTo>
                  <a:pt x="976" y="1425"/>
                </a:lnTo>
                <a:lnTo>
                  <a:pt x="976" y="1423"/>
                </a:lnTo>
                <a:lnTo>
                  <a:pt x="976" y="1421"/>
                </a:lnTo>
                <a:lnTo>
                  <a:pt x="974" y="1421"/>
                </a:lnTo>
                <a:lnTo>
                  <a:pt x="976" y="1421"/>
                </a:lnTo>
                <a:lnTo>
                  <a:pt x="978" y="1421"/>
                </a:lnTo>
                <a:lnTo>
                  <a:pt x="978" y="1419"/>
                </a:lnTo>
                <a:lnTo>
                  <a:pt x="976" y="1419"/>
                </a:lnTo>
                <a:lnTo>
                  <a:pt x="974" y="1419"/>
                </a:lnTo>
                <a:lnTo>
                  <a:pt x="974" y="1417"/>
                </a:lnTo>
                <a:lnTo>
                  <a:pt x="972" y="1417"/>
                </a:lnTo>
                <a:lnTo>
                  <a:pt x="972" y="1415"/>
                </a:lnTo>
                <a:lnTo>
                  <a:pt x="974" y="1415"/>
                </a:lnTo>
                <a:lnTo>
                  <a:pt x="974" y="1413"/>
                </a:lnTo>
                <a:lnTo>
                  <a:pt x="972" y="1413"/>
                </a:lnTo>
                <a:lnTo>
                  <a:pt x="972" y="1411"/>
                </a:lnTo>
                <a:lnTo>
                  <a:pt x="972" y="1409"/>
                </a:lnTo>
                <a:lnTo>
                  <a:pt x="972" y="1407"/>
                </a:lnTo>
                <a:lnTo>
                  <a:pt x="972" y="1405"/>
                </a:lnTo>
                <a:lnTo>
                  <a:pt x="970" y="1405"/>
                </a:lnTo>
                <a:lnTo>
                  <a:pt x="970" y="1403"/>
                </a:lnTo>
                <a:lnTo>
                  <a:pt x="970" y="1401"/>
                </a:lnTo>
                <a:lnTo>
                  <a:pt x="968" y="1401"/>
                </a:lnTo>
                <a:lnTo>
                  <a:pt x="968" y="1400"/>
                </a:lnTo>
                <a:lnTo>
                  <a:pt x="966" y="1400"/>
                </a:lnTo>
                <a:lnTo>
                  <a:pt x="966" y="1401"/>
                </a:lnTo>
                <a:lnTo>
                  <a:pt x="968" y="1401"/>
                </a:lnTo>
                <a:lnTo>
                  <a:pt x="968" y="1403"/>
                </a:lnTo>
                <a:lnTo>
                  <a:pt x="966" y="1403"/>
                </a:lnTo>
                <a:lnTo>
                  <a:pt x="966" y="1401"/>
                </a:lnTo>
                <a:lnTo>
                  <a:pt x="964" y="1401"/>
                </a:lnTo>
                <a:lnTo>
                  <a:pt x="964" y="1400"/>
                </a:lnTo>
                <a:lnTo>
                  <a:pt x="962" y="1400"/>
                </a:lnTo>
                <a:lnTo>
                  <a:pt x="962" y="1398"/>
                </a:lnTo>
                <a:lnTo>
                  <a:pt x="962" y="1400"/>
                </a:lnTo>
                <a:lnTo>
                  <a:pt x="964" y="1400"/>
                </a:lnTo>
                <a:lnTo>
                  <a:pt x="962" y="1400"/>
                </a:lnTo>
                <a:lnTo>
                  <a:pt x="960" y="1400"/>
                </a:lnTo>
                <a:lnTo>
                  <a:pt x="962" y="1401"/>
                </a:lnTo>
                <a:lnTo>
                  <a:pt x="964" y="1401"/>
                </a:lnTo>
                <a:lnTo>
                  <a:pt x="964" y="1403"/>
                </a:lnTo>
                <a:lnTo>
                  <a:pt x="966" y="1403"/>
                </a:lnTo>
                <a:lnTo>
                  <a:pt x="966" y="1405"/>
                </a:lnTo>
                <a:lnTo>
                  <a:pt x="968" y="1405"/>
                </a:lnTo>
                <a:lnTo>
                  <a:pt x="968" y="1407"/>
                </a:lnTo>
                <a:lnTo>
                  <a:pt x="968" y="1409"/>
                </a:lnTo>
                <a:lnTo>
                  <a:pt x="968" y="1411"/>
                </a:lnTo>
                <a:lnTo>
                  <a:pt x="968" y="1413"/>
                </a:lnTo>
                <a:lnTo>
                  <a:pt x="968" y="1415"/>
                </a:lnTo>
                <a:lnTo>
                  <a:pt x="968" y="1417"/>
                </a:lnTo>
                <a:lnTo>
                  <a:pt x="968" y="1419"/>
                </a:lnTo>
                <a:lnTo>
                  <a:pt x="966" y="1419"/>
                </a:lnTo>
                <a:lnTo>
                  <a:pt x="964" y="1419"/>
                </a:lnTo>
                <a:lnTo>
                  <a:pt x="964" y="1421"/>
                </a:lnTo>
                <a:lnTo>
                  <a:pt x="962" y="1421"/>
                </a:lnTo>
                <a:lnTo>
                  <a:pt x="960" y="1421"/>
                </a:lnTo>
                <a:lnTo>
                  <a:pt x="960" y="1419"/>
                </a:lnTo>
                <a:lnTo>
                  <a:pt x="960" y="1421"/>
                </a:lnTo>
                <a:lnTo>
                  <a:pt x="958" y="1419"/>
                </a:lnTo>
                <a:lnTo>
                  <a:pt x="960" y="1419"/>
                </a:lnTo>
                <a:lnTo>
                  <a:pt x="960" y="1417"/>
                </a:lnTo>
                <a:lnTo>
                  <a:pt x="958" y="1417"/>
                </a:lnTo>
                <a:lnTo>
                  <a:pt x="956" y="1417"/>
                </a:lnTo>
                <a:lnTo>
                  <a:pt x="954" y="1417"/>
                </a:lnTo>
                <a:lnTo>
                  <a:pt x="954" y="1415"/>
                </a:lnTo>
                <a:lnTo>
                  <a:pt x="954" y="1413"/>
                </a:lnTo>
                <a:lnTo>
                  <a:pt x="956" y="1413"/>
                </a:lnTo>
                <a:lnTo>
                  <a:pt x="954" y="1413"/>
                </a:lnTo>
                <a:lnTo>
                  <a:pt x="954" y="1411"/>
                </a:lnTo>
                <a:lnTo>
                  <a:pt x="956" y="1411"/>
                </a:lnTo>
                <a:lnTo>
                  <a:pt x="954" y="1409"/>
                </a:lnTo>
                <a:lnTo>
                  <a:pt x="956" y="1409"/>
                </a:lnTo>
                <a:lnTo>
                  <a:pt x="956" y="1411"/>
                </a:lnTo>
                <a:lnTo>
                  <a:pt x="956" y="1409"/>
                </a:lnTo>
                <a:lnTo>
                  <a:pt x="958" y="1411"/>
                </a:lnTo>
                <a:lnTo>
                  <a:pt x="958" y="1409"/>
                </a:lnTo>
                <a:lnTo>
                  <a:pt x="956" y="1409"/>
                </a:lnTo>
                <a:lnTo>
                  <a:pt x="954" y="1409"/>
                </a:lnTo>
                <a:lnTo>
                  <a:pt x="954" y="1407"/>
                </a:lnTo>
                <a:lnTo>
                  <a:pt x="954" y="1405"/>
                </a:lnTo>
                <a:lnTo>
                  <a:pt x="953" y="1405"/>
                </a:lnTo>
                <a:lnTo>
                  <a:pt x="954" y="1405"/>
                </a:lnTo>
                <a:lnTo>
                  <a:pt x="953" y="1405"/>
                </a:lnTo>
                <a:lnTo>
                  <a:pt x="953" y="1403"/>
                </a:lnTo>
                <a:lnTo>
                  <a:pt x="951" y="1403"/>
                </a:lnTo>
                <a:lnTo>
                  <a:pt x="951" y="1401"/>
                </a:lnTo>
                <a:lnTo>
                  <a:pt x="949" y="1401"/>
                </a:lnTo>
                <a:lnTo>
                  <a:pt x="951" y="1401"/>
                </a:lnTo>
                <a:lnTo>
                  <a:pt x="951" y="1400"/>
                </a:lnTo>
                <a:lnTo>
                  <a:pt x="953" y="1400"/>
                </a:lnTo>
                <a:lnTo>
                  <a:pt x="951" y="1400"/>
                </a:lnTo>
                <a:lnTo>
                  <a:pt x="949" y="1400"/>
                </a:lnTo>
                <a:lnTo>
                  <a:pt x="949" y="1401"/>
                </a:lnTo>
                <a:lnTo>
                  <a:pt x="949" y="1400"/>
                </a:lnTo>
                <a:lnTo>
                  <a:pt x="947" y="1400"/>
                </a:lnTo>
                <a:lnTo>
                  <a:pt x="947" y="1401"/>
                </a:lnTo>
                <a:lnTo>
                  <a:pt x="949" y="1401"/>
                </a:lnTo>
                <a:lnTo>
                  <a:pt x="949" y="1403"/>
                </a:lnTo>
                <a:lnTo>
                  <a:pt x="949" y="1405"/>
                </a:lnTo>
                <a:lnTo>
                  <a:pt x="951" y="1405"/>
                </a:lnTo>
                <a:lnTo>
                  <a:pt x="951" y="1407"/>
                </a:lnTo>
                <a:lnTo>
                  <a:pt x="951" y="1409"/>
                </a:lnTo>
                <a:lnTo>
                  <a:pt x="951" y="1411"/>
                </a:lnTo>
                <a:lnTo>
                  <a:pt x="949" y="1411"/>
                </a:lnTo>
                <a:lnTo>
                  <a:pt x="947" y="1411"/>
                </a:lnTo>
                <a:lnTo>
                  <a:pt x="947" y="1409"/>
                </a:lnTo>
                <a:lnTo>
                  <a:pt x="945" y="1409"/>
                </a:lnTo>
                <a:lnTo>
                  <a:pt x="943" y="1409"/>
                </a:lnTo>
                <a:lnTo>
                  <a:pt x="943" y="1407"/>
                </a:lnTo>
                <a:lnTo>
                  <a:pt x="943" y="1405"/>
                </a:lnTo>
                <a:lnTo>
                  <a:pt x="941" y="1405"/>
                </a:lnTo>
                <a:lnTo>
                  <a:pt x="941" y="1403"/>
                </a:lnTo>
                <a:lnTo>
                  <a:pt x="941" y="1401"/>
                </a:lnTo>
                <a:lnTo>
                  <a:pt x="941" y="1400"/>
                </a:lnTo>
                <a:lnTo>
                  <a:pt x="941" y="1401"/>
                </a:lnTo>
                <a:lnTo>
                  <a:pt x="939" y="1401"/>
                </a:lnTo>
                <a:lnTo>
                  <a:pt x="941" y="1401"/>
                </a:lnTo>
                <a:lnTo>
                  <a:pt x="939" y="1401"/>
                </a:lnTo>
                <a:lnTo>
                  <a:pt x="937" y="1401"/>
                </a:lnTo>
                <a:lnTo>
                  <a:pt x="935" y="1401"/>
                </a:lnTo>
                <a:lnTo>
                  <a:pt x="935" y="1400"/>
                </a:lnTo>
                <a:lnTo>
                  <a:pt x="935" y="1398"/>
                </a:lnTo>
                <a:lnTo>
                  <a:pt x="935" y="1400"/>
                </a:lnTo>
                <a:lnTo>
                  <a:pt x="933" y="1400"/>
                </a:lnTo>
                <a:lnTo>
                  <a:pt x="933" y="1401"/>
                </a:lnTo>
                <a:lnTo>
                  <a:pt x="933" y="1400"/>
                </a:lnTo>
                <a:lnTo>
                  <a:pt x="931" y="1400"/>
                </a:lnTo>
                <a:lnTo>
                  <a:pt x="929" y="1400"/>
                </a:lnTo>
                <a:lnTo>
                  <a:pt x="928" y="1400"/>
                </a:lnTo>
                <a:lnTo>
                  <a:pt x="928" y="1398"/>
                </a:lnTo>
                <a:lnTo>
                  <a:pt x="929" y="1398"/>
                </a:lnTo>
                <a:lnTo>
                  <a:pt x="928" y="1398"/>
                </a:lnTo>
                <a:lnTo>
                  <a:pt x="929" y="1398"/>
                </a:lnTo>
                <a:lnTo>
                  <a:pt x="931" y="1396"/>
                </a:lnTo>
                <a:lnTo>
                  <a:pt x="931" y="1394"/>
                </a:lnTo>
                <a:lnTo>
                  <a:pt x="929" y="1394"/>
                </a:lnTo>
                <a:lnTo>
                  <a:pt x="929" y="1396"/>
                </a:lnTo>
                <a:lnTo>
                  <a:pt x="931" y="1396"/>
                </a:lnTo>
                <a:lnTo>
                  <a:pt x="929" y="1396"/>
                </a:lnTo>
                <a:lnTo>
                  <a:pt x="928" y="1396"/>
                </a:lnTo>
                <a:lnTo>
                  <a:pt x="928" y="1398"/>
                </a:lnTo>
                <a:lnTo>
                  <a:pt x="926" y="1398"/>
                </a:lnTo>
                <a:lnTo>
                  <a:pt x="926" y="1400"/>
                </a:lnTo>
                <a:lnTo>
                  <a:pt x="924" y="1400"/>
                </a:lnTo>
                <a:lnTo>
                  <a:pt x="924" y="1398"/>
                </a:lnTo>
                <a:lnTo>
                  <a:pt x="924" y="1396"/>
                </a:lnTo>
                <a:lnTo>
                  <a:pt x="922" y="1396"/>
                </a:lnTo>
                <a:lnTo>
                  <a:pt x="922" y="1394"/>
                </a:lnTo>
                <a:lnTo>
                  <a:pt x="920" y="1394"/>
                </a:lnTo>
                <a:lnTo>
                  <a:pt x="918" y="1394"/>
                </a:lnTo>
                <a:lnTo>
                  <a:pt x="918" y="1392"/>
                </a:lnTo>
                <a:lnTo>
                  <a:pt x="916" y="1392"/>
                </a:lnTo>
                <a:lnTo>
                  <a:pt x="918" y="1392"/>
                </a:lnTo>
                <a:lnTo>
                  <a:pt x="918" y="1394"/>
                </a:lnTo>
                <a:lnTo>
                  <a:pt x="918" y="1396"/>
                </a:lnTo>
                <a:lnTo>
                  <a:pt x="920" y="1396"/>
                </a:lnTo>
                <a:lnTo>
                  <a:pt x="920" y="1398"/>
                </a:lnTo>
                <a:lnTo>
                  <a:pt x="918" y="1398"/>
                </a:lnTo>
                <a:lnTo>
                  <a:pt x="918" y="1400"/>
                </a:lnTo>
                <a:lnTo>
                  <a:pt x="918" y="1398"/>
                </a:lnTo>
                <a:lnTo>
                  <a:pt x="916" y="1398"/>
                </a:lnTo>
                <a:lnTo>
                  <a:pt x="916" y="1396"/>
                </a:lnTo>
                <a:lnTo>
                  <a:pt x="914" y="1396"/>
                </a:lnTo>
                <a:lnTo>
                  <a:pt x="914" y="1398"/>
                </a:lnTo>
                <a:lnTo>
                  <a:pt x="916" y="1398"/>
                </a:lnTo>
                <a:lnTo>
                  <a:pt x="916" y="1400"/>
                </a:lnTo>
                <a:lnTo>
                  <a:pt x="918" y="1400"/>
                </a:lnTo>
                <a:lnTo>
                  <a:pt x="918" y="1401"/>
                </a:lnTo>
                <a:lnTo>
                  <a:pt x="916" y="1401"/>
                </a:lnTo>
                <a:lnTo>
                  <a:pt x="916" y="1403"/>
                </a:lnTo>
                <a:lnTo>
                  <a:pt x="914" y="1403"/>
                </a:lnTo>
                <a:lnTo>
                  <a:pt x="914" y="1401"/>
                </a:lnTo>
                <a:lnTo>
                  <a:pt x="912" y="1401"/>
                </a:lnTo>
                <a:lnTo>
                  <a:pt x="912" y="1403"/>
                </a:lnTo>
                <a:lnTo>
                  <a:pt x="912" y="1401"/>
                </a:lnTo>
                <a:lnTo>
                  <a:pt x="910" y="1401"/>
                </a:lnTo>
                <a:lnTo>
                  <a:pt x="910" y="1400"/>
                </a:lnTo>
                <a:lnTo>
                  <a:pt x="912" y="1400"/>
                </a:lnTo>
                <a:lnTo>
                  <a:pt x="912" y="1398"/>
                </a:lnTo>
                <a:lnTo>
                  <a:pt x="910" y="1398"/>
                </a:lnTo>
                <a:lnTo>
                  <a:pt x="908" y="1398"/>
                </a:lnTo>
                <a:lnTo>
                  <a:pt x="908" y="1400"/>
                </a:lnTo>
                <a:lnTo>
                  <a:pt x="906" y="1400"/>
                </a:lnTo>
                <a:lnTo>
                  <a:pt x="905" y="1400"/>
                </a:lnTo>
                <a:lnTo>
                  <a:pt x="905" y="1398"/>
                </a:lnTo>
                <a:lnTo>
                  <a:pt x="903" y="1398"/>
                </a:lnTo>
                <a:lnTo>
                  <a:pt x="903" y="1400"/>
                </a:lnTo>
                <a:lnTo>
                  <a:pt x="905" y="1400"/>
                </a:lnTo>
                <a:lnTo>
                  <a:pt x="905" y="1401"/>
                </a:lnTo>
                <a:lnTo>
                  <a:pt x="906" y="1401"/>
                </a:lnTo>
                <a:lnTo>
                  <a:pt x="905" y="1401"/>
                </a:lnTo>
                <a:lnTo>
                  <a:pt x="906" y="1401"/>
                </a:lnTo>
                <a:lnTo>
                  <a:pt x="905" y="1401"/>
                </a:lnTo>
                <a:lnTo>
                  <a:pt x="905" y="1403"/>
                </a:lnTo>
                <a:lnTo>
                  <a:pt x="905" y="1401"/>
                </a:lnTo>
                <a:lnTo>
                  <a:pt x="903" y="1401"/>
                </a:lnTo>
                <a:lnTo>
                  <a:pt x="901" y="1401"/>
                </a:lnTo>
                <a:lnTo>
                  <a:pt x="901" y="1400"/>
                </a:lnTo>
                <a:lnTo>
                  <a:pt x="901" y="1401"/>
                </a:lnTo>
                <a:lnTo>
                  <a:pt x="901" y="1400"/>
                </a:lnTo>
                <a:lnTo>
                  <a:pt x="901" y="1398"/>
                </a:lnTo>
                <a:lnTo>
                  <a:pt x="899" y="1398"/>
                </a:lnTo>
                <a:lnTo>
                  <a:pt x="897" y="1398"/>
                </a:lnTo>
                <a:lnTo>
                  <a:pt x="895" y="1398"/>
                </a:lnTo>
                <a:lnTo>
                  <a:pt x="893" y="1398"/>
                </a:lnTo>
                <a:lnTo>
                  <a:pt x="891" y="1398"/>
                </a:lnTo>
                <a:lnTo>
                  <a:pt x="889" y="1398"/>
                </a:lnTo>
                <a:lnTo>
                  <a:pt x="889" y="1396"/>
                </a:lnTo>
                <a:lnTo>
                  <a:pt x="889" y="1394"/>
                </a:lnTo>
                <a:lnTo>
                  <a:pt x="891" y="1394"/>
                </a:lnTo>
                <a:lnTo>
                  <a:pt x="891" y="1392"/>
                </a:lnTo>
                <a:lnTo>
                  <a:pt x="893" y="1392"/>
                </a:lnTo>
                <a:lnTo>
                  <a:pt x="891" y="1392"/>
                </a:lnTo>
                <a:lnTo>
                  <a:pt x="891" y="1394"/>
                </a:lnTo>
                <a:lnTo>
                  <a:pt x="889" y="1394"/>
                </a:lnTo>
                <a:lnTo>
                  <a:pt x="887" y="1394"/>
                </a:lnTo>
                <a:lnTo>
                  <a:pt x="887" y="1392"/>
                </a:lnTo>
                <a:lnTo>
                  <a:pt x="885" y="1392"/>
                </a:lnTo>
                <a:lnTo>
                  <a:pt x="885" y="1390"/>
                </a:lnTo>
                <a:lnTo>
                  <a:pt x="887" y="1390"/>
                </a:lnTo>
                <a:lnTo>
                  <a:pt x="889" y="1390"/>
                </a:lnTo>
                <a:lnTo>
                  <a:pt x="891" y="1390"/>
                </a:lnTo>
                <a:lnTo>
                  <a:pt x="893" y="1390"/>
                </a:lnTo>
                <a:lnTo>
                  <a:pt x="895" y="1390"/>
                </a:lnTo>
                <a:lnTo>
                  <a:pt x="895" y="1392"/>
                </a:lnTo>
                <a:lnTo>
                  <a:pt x="897" y="1392"/>
                </a:lnTo>
                <a:lnTo>
                  <a:pt x="897" y="1390"/>
                </a:lnTo>
                <a:lnTo>
                  <a:pt x="899" y="1390"/>
                </a:lnTo>
                <a:lnTo>
                  <a:pt x="901" y="1390"/>
                </a:lnTo>
                <a:lnTo>
                  <a:pt x="903" y="1390"/>
                </a:lnTo>
                <a:lnTo>
                  <a:pt x="903" y="1392"/>
                </a:lnTo>
                <a:lnTo>
                  <a:pt x="905" y="1392"/>
                </a:lnTo>
                <a:lnTo>
                  <a:pt x="906" y="1392"/>
                </a:lnTo>
                <a:lnTo>
                  <a:pt x="908" y="1392"/>
                </a:lnTo>
                <a:lnTo>
                  <a:pt x="910" y="1392"/>
                </a:lnTo>
                <a:lnTo>
                  <a:pt x="910" y="1394"/>
                </a:lnTo>
                <a:lnTo>
                  <a:pt x="912" y="1394"/>
                </a:lnTo>
                <a:lnTo>
                  <a:pt x="912" y="1392"/>
                </a:lnTo>
                <a:lnTo>
                  <a:pt x="910" y="1392"/>
                </a:lnTo>
                <a:lnTo>
                  <a:pt x="908" y="1392"/>
                </a:lnTo>
                <a:lnTo>
                  <a:pt x="906" y="1392"/>
                </a:lnTo>
                <a:lnTo>
                  <a:pt x="908" y="1392"/>
                </a:lnTo>
                <a:lnTo>
                  <a:pt x="908" y="1390"/>
                </a:lnTo>
                <a:lnTo>
                  <a:pt x="910" y="1390"/>
                </a:lnTo>
                <a:lnTo>
                  <a:pt x="912" y="1390"/>
                </a:lnTo>
                <a:lnTo>
                  <a:pt x="910" y="1390"/>
                </a:lnTo>
                <a:lnTo>
                  <a:pt x="910" y="1388"/>
                </a:lnTo>
                <a:lnTo>
                  <a:pt x="912" y="1388"/>
                </a:lnTo>
                <a:lnTo>
                  <a:pt x="910" y="1388"/>
                </a:lnTo>
                <a:lnTo>
                  <a:pt x="910" y="1390"/>
                </a:lnTo>
                <a:lnTo>
                  <a:pt x="908" y="1390"/>
                </a:lnTo>
                <a:lnTo>
                  <a:pt x="906" y="1390"/>
                </a:lnTo>
                <a:lnTo>
                  <a:pt x="905" y="1390"/>
                </a:lnTo>
                <a:lnTo>
                  <a:pt x="905" y="1388"/>
                </a:lnTo>
                <a:lnTo>
                  <a:pt x="905" y="1386"/>
                </a:lnTo>
                <a:lnTo>
                  <a:pt x="906" y="1386"/>
                </a:lnTo>
                <a:lnTo>
                  <a:pt x="908" y="1386"/>
                </a:lnTo>
                <a:lnTo>
                  <a:pt x="910" y="1386"/>
                </a:lnTo>
                <a:lnTo>
                  <a:pt x="910" y="1384"/>
                </a:lnTo>
                <a:lnTo>
                  <a:pt x="912" y="1386"/>
                </a:lnTo>
                <a:lnTo>
                  <a:pt x="912" y="1384"/>
                </a:lnTo>
                <a:lnTo>
                  <a:pt x="914" y="1384"/>
                </a:lnTo>
                <a:lnTo>
                  <a:pt x="916" y="1386"/>
                </a:lnTo>
                <a:lnTo>
                  <a:pt x="918" y="1386"/>
                </a:lnTo>
                <a:lnTo>
                  <a:pt x="920" y="1386"/>
                </a:lnTo>
                <a:lnTo>
                  <a:pt x="922" y="1388"/>
                </a:lnTo>
                <a:lnTo>
                  <a:pt x="922" y="1386"/>
                </a:lnTo>
                <a:lnTo>
                  <a:pt x="922" y="1384"/>
                </a:lnTo>
                <a:lnTo>
                  <a:pt x="920" y="1384"/>
                </a:lnTo>
                <a:lnTo>
                  <a:pt x="920" y="1386"/>
                </a:lnTo>
                <a:lnTo>
                  <a:pt x="920" y="1384"/>
                </a:lnTo>
                <a:lnTo>
                  <a:pt x="918" y="1384"/>
                </a:lnTo>
                <a:lnTo>
                  <a:pt x="916" y="1384"/>
                </a:lnTo>
                <a:lnTo>
                  <a:pt x="914" y="1384"/>
                </a:lnTo>
                <a:lnTo>
                  <a:pt x="914" y="1382"/>
                </a:lnTo>
                <a:lnTo>
                  <a:pt x="912" y="1382"/>
                </a:lnTo>
                <a:lnTo>
                  <a:pt x="910" y="1382"/>
                </a:lnTo>
                <a:lnTo>
                  <a:pt x="908" y="1382"/>
                </a:lnTo>
                <a:lnTo>
                  <a:pt x="906" y="1382"/>
                </a:lnTo>
                <a:lnTo>
                  <a:pt x="905" y="1382"/>
                </a:lnTo>
                <a:lnTo>
                  <a:pt x="905" y="1384"/>
                </a:lnTo>
                <a:lnTo>
                  <a:pt x="905" y="1382"/>
                </a:lnTo>
                <a:lnTo>
                  <a:pt x="903" y="1384"/>
                </a:lnTo>
                <a:lnTo>
                  <a:pt x="903" y="1382"/>
                </a:lnTo>
                <a:lnTo>
                  <a:pt x="903" y="1384"/>
                </a:lnTo>
                <a:lnTo>
                  <a:pt x="903" y="1382"/>
                </a:lnTo>
                <a:lnTo>
                  <a:pt x="901" y="1382"/>
                </a:lnTo>
                <a:lnTo>
                  <a:pt x="903" y="1382"/>
                </a:lnTo>
                <a:lnTo>
                  <a:pt x="903" y="1380"/>
                </a:lnTo>
                <a:lnTo>
                  <a:pt x="905" y="1380"/>
                </a:lnTo>
                <a:lnTo>
                  <a:pt x="906" y="1380"/>
                </a:lnTo>
                <a:lnTo>
                  <a:pt x="906" y="1378"/>
                </a:lnTo>
                <a:lnTo>
                  <a:pt x="908" y="1378"/>
                </a:lnTo>
                <a:lnTo>
                  <a:pt x="910" y="1378"/>
                </a:lnTo>
                <a:lnTo>
                  <a:pt x="912" y="1378"/>
                </a:lnTo>
                <a:lnTo>
                  <a:pt x="912" y="1380"/>
                </a:lnTo>
                <a:lnTo>
                  <a:pt x="914" y="1380"/>
                </a:lnTo>
                <a:lnTo>
                  <a:pt x="916" y="1380"/>
                </a:lnTo>
                <a:lnTo>
                  <a:pt x="914" y="1380"/>
                </a:lnTo>
                <a:lnTo>
                  <a:pt x="914" y="1378"/>
                </a:lnTo>
                <a:lnTo>
                  <a:pt x="914" y="1377"/>
                </a:lnTo>
                <a:lnTo>
                  <a:pt x="916" y="1377"/>
                </a:lnTo>
                <a:lnTo>
                  <a:pt x="918" y="1377"/>
                </a:lnTo>
                <a:lnTo>
                  <a:pt x="918" y="1375"/>
                </a:lnTo>
                <a:lnTo>
                  <a:pt x="918" y="1373"/>
                </a:lnTo>
                <a:lnTo>
                  <a:pt x="918" y="1375"/>
                </a:lnTo>
                <a:lnTo>
                  <a:pt x="918" y="1377"/>
                </a:lnTo>
                <a:lnTo>
                  <a:pt x="916" y="1377"/>
                </a:lnTo>
                <a:lnTo>
                  <a:pt x="914" y="1377"/>
                </a:lnTo>
                <a:lnTo>
                  <a:pt x="912" y="1377"/>
                </a:lnTo>
                <a:lnTo>
                  <a:pt x="912" y="1375"/>
                </a:lnTo>
                <a:lnTo>
                  <a:pt x="912" y="1373"/>
                </a:lnTo>
                <a:lnTo>
                  <a:pt x="912" y="1371"/>
                </a:lnTo>
                <a:lnTo>
                  <a:pt x="912" y="1369"/>
                </a:lnTo>
                <a:lnTo>
                  <a:pt x="910" y="1369"/>
                </a:lnTo>
                <a:lnTo>
                  <a:pt x="908" y="1369"/>
                </a:lnTo>
                <a:lnTo>
                  <a:pt x="908" y="1367"/>
                </a:lnTo>
                <a:lnTo>
                  <a:pt x="908" y="1365"/>
                </a:lnTo>
                <a:lnTo>
                  <a:pt x="906" y="1365"/>
                </a:lnTo>
                <a:lnTo>
                  <a:pt x="905" y="1365"/>
                </a:lnTo>
                <a:lnTo>
                  <a:pt x="905" y="1363"/>
                </a:lnTo>
                <a:lnTo>
                  <a:pt x="905" y="1361"/>
                </a:lnTo>
                <a:lnTo>
                  <a:pt x="903" y="1361"/>
                </a:lnTo>
                <a:lnTo>
                  <a:pt x="901" y="1361"/>
                </a:lnTo>
                <a:lnTo>
                  <a:pt x="901" y="1363"/>
                </a:lnTo>
                <a:lnTo>
                  <a:pt x="899" y="1365"/>
                </a:lnTo>
                <a:lnTo>
                  <a:pt x="899" y="1367"/>
                </a:lnTo>
                <a:lnTo>
                  <a:pt x="901" y="1367"/>
                </a:lnTo>
                <a:lnTo>
                  <a:pt x="899" y="1369"/>
                </a:lnTo>
                <a:lnTo>
                  <a:pt x="901" y="1369"/>
                </a:lnTo>
                <a:lnTo>
                  <a:pt x="903" y="1369"/>
                </a:lnTo>
                <a:lnTo>
                  <a:pt x="905" y="1369"/>
                </a:lnTo>
                <a:lnTo>
                  <a:pt x="906" y="1369"/>
                </a:lnTo>
                <a:lnTo>
                  <a:pt x="908" y="1369"/>
                </a:lnTo>
                <a:lnTo>
                  <a:pt x="908" y="1371"/>
                </a:lnTo>
                <a:lnTo>
                  <a:pt x="908" y="1373"/>
                </a:lnTo>
                <a:lnTo>
                  <a:pt x="910" y="1373"/>
                </a:lnTo>
                <a:lnTo>
                  <a:pt x="910" y="1375"/>
                </a:lnTo>
                <a:lnTo>
                  <a:pt x="912" y="1375"/>
                </a:lnTo>
                <a:lnTo>
                  <a:pt x="912" y="1377"/>
                </a:lnTo>
                <a:lnTo>
                  <a:pt x="910" y="1377"/>
                </a:lnTo>
                <a:lnTo>
                  <a:pt x="908" y="1377"/>
                </a:lnTo>
                <a:lnTo>
                  <a:pt x="908" y="1378"/>
                </a:lnTo>
                <a:lnTo>
                  <a:pt x="906" y="1378"/>
                </a:lnTo>
                <a:lnTo>
                  <a:pt x="905" y="1378"/>
                </a:lnTo>
                <a:lnTo>
                  <a:pt x="903" y="1378"/>
                </a:lnTo>
                <a:lnTo>
                  <a:pt x="901" y="1378"/>
                </a:lnTo>
                <a:lnTo>
                  <a:pt x="901" y="1380"/>
                </a:lnTo>
                <a:lnTo>
                  <a:pt x="899" y="1380"/>
                </a:lnTo>
                <a:lnTo>
                  <a:pt x="899" y="1382"/>
                </a:lnTo>
                <a:lnTo>
                  <a:pt x="899" y="1380"/>
                </a:lnTo>
                <a:lnTo>
                  <a:pt x="897" y="1380"/>
                </a:lnTo>
                <a:lnTo>
                  <a:pt x="899" y="1380"/>
                </a:lnTo>
                <a:lnTo>
                  <a:pt x="897" y="1380"/>
                </a:lnTo>
                <a:lnTo>
                  <a:pt x="897" y="1378"/>
                </a:lnTo>
                <a:lnTo>
                  <a:pt x="895" y="1378"/>
                </a:lnTo>
                <a:lnTo>
                  <a:pt x="895" y="1380"/>
                </a:lnTo>
                <a:lnTo>
                  <a:pt x="893" y="1380"/>
                </a:lnTo>
                <a:lnTo>
                  <a:pt x="891" y="1380"/>
                </a:lnTo>
                <a:lnTo>
                  <a:pt x="891" y="1378"/>
                </a:lnTo>
                <a:lnTo>
                  <a:pt x="893" y="1378"/>
                </a:lnTo>
                <a:lnTo>
                  <a:pt x="893" y="1377"/>
                </a:lnTo>
                <a:lnTo>
                  <a:pt x="893" y="1378"/>
                </a:lnTo>
                <a:lnTo>
                  <a:pt x="891" y="1378"/>
                </a:lnTo>
                <a:lnTo>
                  <a:pt x="889" y="1380"/>
                </a:lnTo>
                <a:lnTo>
                  <a:pt x="891" y="1380"/>
                </a:lnTo>
                <a:lnTo>
                  <a:pt x="893" y="1380"/>
                </a:lnTo>
                <a:lnTo>
                  <a:pt x="893" y="1382"/>
                </a:lnTo>
                <a:lnTo>
                  <a:pt x="891" y="1382"/>
                </a:lnTo>
                <a:lnTo>
                  <a:pt x="889" y="1380"/>
                </a:lnTo>
                <a:lnTo>
                  <a:pt x="887" y="1380"/>
                </a:lnTo>
                <a:lnTo>
                  <a:pt x="889" y="1380"/>
                </a:lnTo>
                <a:lnTo>
                  <a:pt x="891" y="1378"/>
                </a:lnTo>
                <a:lnTo>
                  <a:pt x="893" y="1378"/>
                </a:lnTo>
                <a:lnTo>
                  <a:pt x="893" y="1377"/>
                </a:lnTo>
                <a:lnTo>
                  <a:pt x="893" y="1375"/>
                </a:lnTo>
                <a:lnTo>
                  <a:pt x="895" y="1375"/>
                </a:lnTo>
                <a:lnTo>
                  <a:pt x="895" y="1377"/>
                </a:lnTo>
                <a:lnTo>
                  <a:pt x="897" y="1377"/>
                </a:lnTo>
                <a:lnTo>
                  <a:pt x="897" y="1375"/>
                </a:lnTo>
                <a:lnTo>
                  <a:pt x="895" y="1375"/>
                </a:lnTo>
                <a:lnTo>
                  <a:pt x="895" y="1373"/>
                </a:lnTo>
                <a:lnTo>
                  <a:pt x="893" y="1373"/>
                </a:lnTo>
                <a:lnTo>
                  <a:pt x="893" y="1375"/>
                </a:lnTo>
                <a:lnTo>
                  <a:pt x="893" y="1373"/>
                </a:lnTo>
                <a:lnTo>
                  <a:pt x="893" y="1371"/>
                </a:lnTo>
                <a:lnTo>
                  <a:pt x="893" y="1369"/>
                </a:lnTo>
                <a:lnTo>
                  <a:pt x="893" y="1367"/>
                </a:lnTo>
                <a:lnTo>
                  <a:pt x="893" y="1365"/>
                </a:lnTo>
                <a:lnTo>
                  <a:pt x="895" y="1365"/>
                </a:lnTo>
                <a:lnTo>
                  <a:pt x="895" y="1363"/>
                </a:lnTo>
                <a:lnTo>
                  <a:pt x="897" y="1363"/>
                </a:lnTo>
                <a:lnTo>
                  <a:pt x="899" y="1363"/>
                </a:lnTo>
                <a:lnTo>
                  <a:pt x="899" y="1361"/>
                </a:lnTo>
                <a:lnTo>
                  <a:pt x="901" y="1361"/>
                </a:lnTo>
                <a:lnTo>
                  <a:pt x="901" y="1359"/>
                </a:lnTo>
                <a:lnTo>
                  <a:pt x="903" y="1359"/>
                </a:lnTo>
                <a:lnTo>
                  <a:pt x="903" y="1357"/>
                </a:lnTo>
                <a:lnTo>
                  <a:pt x="905" y="1357"/>
                </a:lnTo>
                <a:lnTo>
                  <a:pt x="906" y="1357"/>
                </a:lnTo>
                <a:lnTo>
                  <a:pt x="906" y="1355"/>
                </a:lnTo>
                <a:lnTo>
                  <a:pt x="906" y="1357"/>
                </a:lnTo>
                <a:lnTo>
                  <a:pt x="906" y="1355"/>
                </a:lnTo>
                <a:lnTo>
                  <a:pt x="906" y="1353"/>
                </a:lnTo>
                <a:lnTo>
                  <a:pt x="908" y="1353"/>
                </a:lnTo>
                <a:lnTo>
                  <a:pt x="908" y="1352"/>
                </a:lnTo>
                <a:lnTo>
                  <a:pt x="908" y="1350"/>
                </a:lnTo>
                <a:lnTo>
                  <a:pt x="908" y="1348"/>
                </a:lnTo>
                <a:lnTo>
                  <a:pt x="908" y="1346"/>
                </a:lnTo>
                <a:lnTo>
                  <a:pt x="906" y="1346"/>
                </a:lnTo>
                <a:lnTo>
                  <a:pt x="906" y="1344"/>
                </a:lnTo>
                <a:lnTo>
                  <a:pt x="906" y="1346"/>
                </a:lnTo>
                <a:lnTo>
                  <a:pt x="906" y="1344"/>
                </a:lnTo>
                <a:lnTo>
                  <a:pt x="906" y="1342"/>
                </a:lnTo>
                <a:lnTo>
                  <a:pt x="906" y="1344"/>
                </a:lnTo>
                <a:lnTo>
                  <a:pt x="908" y="1344"/>
                </a:lnTo>
                <a:lnTo>
                  <a:pt x="908" y="1342"/>
                </a:lnTo>
                <a:lnTo>
                  <a:pt x="910" y="1342"/>
                </a:lnTo>
                <a:lnTo>
                  <a:pt x="910" y="1340"/>
                </a:lnTo>
                <a:lnTo>
                  <a:pt x="912" y="1340"/>
                </a:lnTo>
                <a:lnTo>
                  <a:pt x="912" y="1342"/>
                </a:lnTo>
                <a:lnTo>
                  <a:pt x="912" y="1344"/>
                </a:lnTo>
                <a:lnTo>
                  <a:pt x="912" y="1342"/>
                </a:lnTo>
                <a:lnTo>
                  <a:pt x="914" y="1342"/>
                </a:lnTo>
                <a:lnTo>
                  <a:pt x="912" y="1342"/>
                </a:lnTo>
                <a:lnTo>
                  <a:pt x="914" y="1342"/>
                </a:lnTo>
                <a:lnTo>
                  <a:pt x="914" y="1340"/>
                </a:lnTo>
                <a:lnTo>
                  <a:pt x="916" y="1340"/>
                </a:lnTo>
                <a:lnTo>
                  <a:pt x="918" y="1340"/>
                </a:lnTo>
                <a:lnTo>
                  <a:pt x="918" y="1338"/>
                </a:lnTo>
                <a:lnTo>
                  <a:pt x="920" y="1338"/>
                </a:lnTo>
                <a:lnTo>
                  <a:pt x="920" y="1340"/>
                </a:lnTo>
                <a:lnTo>
                  <a:pt x="922" y="1340"/>
                </a:lnTo>
                <a:lnTo>
                  <a:pt x="922" y="1338"/>
                </a:lnTo>
                <a:lnTo>
                  <a:pt x="922" y="1340"/>
                </a:lnTo>
                <a:lnTo>
                  <a:pt x="922" y="1338"/>
                </a:lnTo>
                <a:lnTo>
                  <a:pt x="924" y="1338"/>
                </a:lnTo>
                <a:lnTo>
                  <a:pt x="926" y="1338"/>
                </a:lnTo>
                <a:lnTo>
                  <a:pt x="928" y="1338"/>
                </a:lnTo>
                <a:lnTo>
                  <a:pt x="928" y="1340"/>
                </a:lnTo>
                <a:lnTo>
                  <a:pt x="929" y="1340"/>
                </a:lnTo>
                <a:lnTo>
                  <a:pt x="929" y="1342"/>
                </a:lnTo>
                <a:lnTo>
                  <a:pt x="928" y="1342"/>
                </a:lnTo>
                <a:lnTo>
                  <a:pt x="929" y="1342"/>
                </a:lnTo>
                <a:lnTo>
                  <a:pt x="929" y="1340"/>
                </a:lnTo>
                <a:lnTo>
                  <a:pt x="931" y="1340"/>
                </a:lnTo>
                <a:lnTo>
                  <a:pt x="929" y="1340"/>
                </a:lnTo>
                <a:lnTo>
                  <a:pt x="931" y="1340"/>
                </a:lnTo>
                <a:lnTo>
                  <a:pt x="933" y="1338"/>
                </a:lnTo>
                <a:lnTo>
                  <a:pt x="933" y="1340"/>
                </a:lnTo>
                <a:lnTo>
                  <a:pt x="933" y="1342"/>
                </a:lnTo>
                <a:lnTo>
                  <a:pt x="935" y="1342"/>
                </a:lnTo>
                <a:lnTo>
                  <a:pt x="937" y="1342"/>
                </a:lnTo>
                <a:lnTo>
                  <a:pt x="939" y="1342"/>
                </a:lnTo>
                <a:lnTo>
                  <a:pt x="939" y="1344"/>
                </a:lnTo>
                <a:lnTo>
                  <a:pt x="941" y="1344"/>
                </a:lnTo>
                <a:lnTo>
                  <a:pt x="941" y="1342"/>
                </a:lnTo>
                <a:lnTo>
                  <a:pt x="941" y="1344"/>
                </a:lnTo>
                <a:lnTo>
                  <a:pt x="943" y="1344"/>
                </a:lnTo>
                <a:lnTo>
                  <a:pt x="943" y="1346"/>
                </a:lnTo>
                <a:lnTo>
                  <a:pt x="945" y="1346"/>
                </a:lnTo>
                <a:lnTo>
                  <a:pt x="947" y="1346"/>
                </a:lnTo>
                <a:lnTo>
                  <a:pt x="947" y="1348"/>
                </a:lnTo>
                <a:lnTo>
                  <a:pt x="947" y="1350"/>
                </a:lnTo>
                <a:lnTo>
                  <a:pt x="949" y="1352"/>
                </a:lnTo>
                <a:lnTo>
                  <a:pt x="949" y="1353"/>
                </a:lnTo>
                <a:lnTo>
                  <a:pt x="951" y="1353"/>
                </a:lnTo>
                <a:lnTo>
                  <a:pt x="949" y="1353"/>
                </a:lnTo>
                <a:lnTo>
                  <a:pt x="951" y="1353"/>
                </a:lnTo>
                <a:lnTo>
                  <a:pt x="949" y="1353"/>
                </a:lnTo>
                <a:lnTo>
                  <a:pt x="951" y="1355"/>
                </a:lnTo>
                <a:lnTo>
                  <a:pt x="949" y="1355"/>
                </a:lnTo>
                <a:lnTo>
                  <a:pt x="949" y="1357"/>
                </a:lnTo>
                <a:lnTo>
                  <a:pt x="947" y="1357"/>
                </a:lnTo>
                <a:lnTo>
                  <a:pt x="947" y="1359"/>
                </a:lnTo>
                <a:lnTo>
                  <a:pt x="945" y="1359"/>
                </a:lnTo>
                <a:lnTo>
                  <a:pt x="943" y="1359"/>
                </a:lnTo>
                <a:lnTo>
                  <a:pt x="943" y="1361"/>
                </a:lnTo>
                <a:lnTo>
                  <a:pt x="943" y="1359"/>
                </a:lnTo>
                <a:lnTo>
                  <a:pt x="941" y="1357"/>
                </a:lnTo>
                <a:lnTo>
                  <a:pt x="939" y="1357"/>
                </a:lnTo>
                <a:lnTo>
                  <a:pt x="941" y="1357"/>
                </a:lnTo>
                <a:lnTo>
                  <a:pt x="941" y="1359"/>
                </a:lnTo>
                <a:lnTo>
                  <a:pt x="943" y="1359"/>
                </a:lnTo>
                <a:lnTo>
                  <a:pt x="943" y="1361"/>
                </a:lnTo>
                <a:lnTo>
                  <a:pt x="943" y="1359"/>
                </a:lnTo>
                <a:lnTo>
                  <a:pt x="943" y="1361"/>
                </a:lnTo>
                <a:lnTo>
                  <a:pt x="945" y="1361"/>
                </a:lnTo>
                <a:lnTo>
                  <a:pt x="945" y="1363"/>
                </a:lnTo>
                <a:lnTo>
                  <a:pt x="943" y="1363"/>
                </a:lnTo>
                <a:lnTo>
                  <a:pt x="943" y="1365"/>
                </a:lnTo>
                <a:lnTo>
                  <a:pt x="941" y="1365"/>
                </a:lnTo>
                <a:lnTo>
                  <a:pt x="941" y="1367"/>
                </a:lnTo>
                <a:lnTo>
                  <a:pt x="939" y="1367"/>
                </a:lnTo>
                <a:lnTo>
                  <a:pt x="939" y="1369"/>
                </a:lnTo>
                <a:lnTo>
                  <a:pt x="937" y="1369"/>
                </a:lnTo>
                <a:lnTo>
                  <a:pt x="937" y="1371"/>
                </a:lnTo>
                <a:lnTo>
                  <a:pt x="937" y="1373"/>
                </a:lnTo>
                <a:lnTo>
                  <a:pt x="937" y="1371"/>
                </a:lnTo>
                <a:lnTo>
                  <a:pt x="937" y="1373"/>
                </a:lnTo>
                <a:lnTo>
                  <a:pt x="937" y="1375"/>
                </a:lnTo>
                <a:lnTo>
                  <a:pt x="935" y="1375"/>
                </a:lnTo>
                <a:lnTo>
                  <a:pt x="935" y="1377"/>
                </a:lnTo>
                <a:lnTo>
                  <a:pt x="933" y="1377"/>
                </a:lnTo>
                <a:lnTo>
                  <a:pt x="933" y="1378"/>
                </a:lnTo>
                <a:lnTo>
                  <a:pt x="933" y="1380"/>
                </a:lnTo>
                <a:lnTo>
                  <a:pt x="933" y="1382"/>
                </a:lnTo>
                <a:lnTo>
                  <a:pt x="933" y="1384"/>
                </a:lnTo>
                <a:lnTo>
                  <a:pt x="933" y="1386"/>
                </a:lnTo>
                <a:lnTo>
                  <a:pt x="935" y="1386"/>
                </a:lnTo>
                <a:lnTo>
                  <a:pt x="935" y="1384"/>
                </a:lnTo>
                <a:lnTo>
                  <a:pt x="935" y="1382"/>
                </a:lnTo>
                <a:lnTo>
                  <a:pt x="935" y="1380"/>
                </a:lnTo>
                <a:lnTo>
                  <a:pt x="935" y="1378"/>
                </a:lnTo>
                <a:lnTo>
                  <a:pt x="935" y="1377"/>
                </a:lnTo>
                <a:lnTo>
                  <a:pt x="937" y="1377"/>
                </a:lnTo>
                <a:lnTo>
                  <a:pt x="937" y="1375"/>
                </a:lnTo>
                <a:lnTo>
                  <a:pt x="939" y="1375"/>
                </a:lnTo>
                <a:lnTo>
                  <a:pt x="939" y="1373"/>
                </a:lnTo>
                <a:lnTo>
                  <a:pt x="941" y="1371"/>
                </a:lnTo>
                <a:lnTo>
                  <a:pt x="943" y="1371"/>
                </a:lnTo>
                <a:lnTo>
                  <a:pt x="943" y="1369"/>
                </a:lnTo>
                <a:lnTo>
                  <a:pt x="945" y="1369"/>
                </a:lnTo>
                <a:lnTo>
                  <a:pt x="945" y="1367"/>
                </a:lnTo>
                <a:lnTo>
                  <a:pt x="947" y="1367"/>
                </a:lnTo>
                <a:lnTo>
                  <a:pt x="947" y="1369"/>
                </a:lnTo>
                <a:lnTo>
                  <a:pt x="947" y="1367"/>
                </a:lnTo>
                <a:lnTo>
                  <a:pt x="947" y="1365"/>
                </a:lnTo>
                <a:lnTo>
                  <a:pt x="949" y="1365"/>
                </a:lnTo>
                <a:lnTo>
                  <a:pt x="949" y="1363"/>
                </a:lnTo>
                <a:lnTo>
                  <a:pt x="949" y="1365"/>
                </a:lnTo>
                <a:lnTo>
                  <a:pt x="951" y="1365"/>
                </a:lnTo>
                <a:lnTo>
                  <a:pt x="949" y="1365"/>
                </a:lnTo>
                <a:lnTo>
                  <a:pt x="949" y="1367"/>
                </a:lnTo>
                <a:lnTo>
                  <a:pt x="949" y="1369"/>
                </a:lnTo>
                <a:lnTo>
                  <a:pt x="949" y="1371"/>
                </a:lnTo>
                <a:lnTo>
                  <a:pt x="951" y="1371"/>
                </a:lnTo>
                <a:lnTo>
                  <a:pt x="951" y="1373"/>
                </a:lnTo>
                <a:lnTo>
                  <a:pt x="951" y="1371"/>
                </a:lnTo>
                <a:lnTo>
                  <a:pt x="951" y="1369"/>
                </a:lnTo>
                <a:lnTo>
                  <a:pt x="951" y="1367"/>
                </a:lnTo>
                <a:lnTo>
                  <a:pt x="951" y="1365"/>
                </a:lnTo>
                <a:lnTo>
                  <a:pt x="951" y="1363"/>
                </a:lnTo>
                <a:lnTo>
                  <a:pt x="953" y="1363"/>
                </a:lnTo>
                <a:lnTo>
                  <a:pt x="953" y="1361"/>
                </a:lnTo>
                <a:lnTo>
                  <a:pt x="953" y="1359"/>
                </a:lnTo>
                <a:lnTo>
                  <a:pt x="954" y="1359"/>
                </a:lnTo>
                <a:lnTo>
                  <a:pt x="954" y="1361"/>
                </a:lnTo>
                <a:lnTo>
                  <a:pt x="956" y="1363"/>
                </a:lnTo>
                <a:lnTo>
                  <a:pt x="956" y="1365"/>
                </a:lnTo>
                <a:lnTo>
                  <a:pt x="956" y="1367"/>
                </a:lnTo>
                <a:lnTo>
                  <a:pt x="958" y="1367"/>
                </a:lnTo>
                <a:lnTo>
                  <a:pt x="958" y="1369"/>
                </a:lnTo>
                <a:lnTo>
                  <a:pt x="958" y="1371"/>
                </a:lnTo>
                <a:lnTo>
                  <a:pt x="956" y="1371"/>
                </a:lnTo>
                <a:lnTo>
                  <a:pt x="956" y="1373"/>
                </a:lnTo>
                <a:lnTo>
                  <a:pt x="956" y="1371"/>
                </a:lnTo>
                <a:lnTo>
                  <a:pt x="956" y="1373"/>
                </a:lnTo>
                <a:lnTo>
                  <a:pt x="958" y="1373"/>
                </a:lnTo>
                <a:lnTo>
                  <a:pt x="958" y="1371"/>
                </a:lnTo>
                <a:lnTo>
                  <a:pt x="960" y="1371"/>
                </a:lnTo>
                <a:lnTo>
                  <a:pt x="960" y="1369"/>
                </a:lnTo>
                <a:lnTo>
                  <a:pt x="960" y="1367"/>
                </a:lnTo>
                <a:lnTo>
                  <a:pt x="960" y="1365"/>
                </a:lnTo>
                <a:lnTo>
                  <a:pt x="960" y="1363"/>
                </a:lnTo>
                <a:lnTo>
                  <a:pt x="958" y="1363"/>
                </a:lnTo>
                <a:lnTo>
                  <a:pt x="958" y="1361"/>
                </a:lnTo>
                <a:lnTo>
                  <a:pt x="958" y="1359"/>
                </a:lnTo>
                <a:lnTo>
                  <a:pt x="958" y="1357"/>
                </a:lnTo>
                <a:lnTo>
                  <a:pt x="956" y="1357"/>
                </a:lnTo>
                <a:lnTo>
                  <a:pt x="956" y="1355"/>
                </a:lnTo>
                <a:lnTo>
                  <a:pt x="958" y="1355"/>
                </a:lnTo>
                <a:lnTo>
                  <a:pt x="958" y="1353"/>
                </a:lnTo>
                <a:lnTo>
                  <a:pt x="960" y="1353"/>
                </a:lnTo>
                <a:lnTo>
                  <a:pt x="960" y="1352"/>
                </a:lnTo>
                <a:lnTo>
                  <a:pt x="962" y="1352"/>
                </a:lnTo>
                <a:lnTo>
                  <a:pt x="962" y="1350"/>
                </a:lnTo>
                <a:lnTo>
                  <a:pt x="964" y="1350"/>
                </a:lnTo>
                <a:lnTo>
                  <a:pt x="966" y="1350"/>
                </a:lnTo>
                <a:lnTo>
                  <a:pt x="966" y="1352"/>
                </a:lnTo>
                <a:lnTo>
                  <a:pt x="968" y="1352"/>
                </a:lnTo>
                <a:lnTo>
                  <a:pt x="968" y="1350"/>
                </a:lnTo>
                <a:lnTo>
                  <a:pt x="970" y="1350"/>
                </a:lnTo>
                <a:lnTo>
                  <a:pt x="970" y="1352"/>
                </a:lnTo>
                <a:lnTo>
                  <a:pt x="970" y="1353"/>
                </a:lnTo>
                <a:lnTo>
                  <a:pt x="972" y="1353"/>
                </a:lnTo>
                <a:lnTo>
                  <a:pt x="974" y="1353"/>
                </a:lnTo>
                <a:lnTo>
                  <a:pt x="974" y="1355"/>
                </a:lnTo>
                <a:lnTo>
                  <a:pt x="974" y="1357"/>
                </a:lnTo>
                <a:lnTo>
                  <a:pt x="976" y="1357"/>
                </a:lnTo>
                <a:lnTo>
                  <a:pt x="976" y="1359"/>
                </a:lnTo>
                <a:lnTo>
                  <a:pt x="974" y="1359"/>
                </a:lnTo>
                <a:lnTo>
                  <a:pt x="974" y="1357"/>
                </a:lnTo>
                <a:lnTo>
                  <a:pt x="974" y="1359"/>
                </a:lnTo>
                <a:lnTo>
                  <a:pt x="974" y="1361"/>
                </a:lnTo>
                <a:lnTo>
                  <a:pt x="974" y="1363"/>
                </a:lnTo>
                <a:lnTo>
                  <a:pt x="972" y="1363"/>
                </a:lnTo>
                <a:lnTo>
                  <a:pt x="972" y="1365"/>
                </a:lnTo>
                <a:lnTo>
                  <a:pt x="970" y="1365"/>
                </a:lnTo>
                <a:lnTo>
                  <a:pt x="970" y="1367"/>
                </a:lnTo>
                <a:lnTo>
                  <a:pt x="968" y="1367"/>
                </a:lnTo>
                <a:lnTo>
                  <a:pt x="966" y="1367"/>
                </a:lnTo>
                <a:lnTo>
                  <a:pt x="966" y="1369"/>
                </a:lnTo>
                <a:lnTo>
                  <a:pt x="964" y="1369"/>
                </a:lnTo>
                <a:lnTo>
                  <a:pt x="964" y="1371"/>
                </a:lnTo>
                <a:lnTo>
                  <a:pt x="962" y="1371"/>
                </a:lnTo>
                <a:lnTo>
                  <a:pt x="962" y="1373"/>
                </a:lnTo>
                <a:lnTo>
                  <a:pt x="962" y="1375"/>
                </a:lnTo>
                <a:lnTo>
                  <a:pt x="960" y="1375"/>
                </a:lnTo>
                <a:lnTo>
                  <a:pt x="962" y="1375"/>
                </a:lnTo>
                <a:lnTo>
                  <a:pt x="962" y="1373"/>
                </a:lnTo>
                <a:lnTo>
                  <a:pt x="964" y="1373"/>
                </a:lnTo>
                <a:lnTo>
                  <a:pt x="964" y="1371"/>
                </a:lnTo>
                <a:lnTo>
                  <a:pt x="966" y="1371"/>
                </a:lnTo>
                <a:lnTo>
                  <a:pt x="966" y="1369"/>
                </a:lnTo>
                <a:lnTo>
                  <a:pt x="968" y="1369"/>
                </a:lnTo>
                <a:lnTo>
                  <a:pt x="968" y="1371"/>
                </a:lnTo>
                <a:lnTo>
                  <a:pt x="968" y="1373"/>
                </a:lnTo>
                <a:lnTo>
                  <a:pt x="968" y="1375"/>
                </a:lnTo>
                <a:lnTo>
                  <a:pt x="968" y="1373"/>
                </a:lnTo>
                <a:lnTo>
                  <a:pt x="968" y="1371"/>
                </a:lnTo>
                <a:lnTo>
                  <a:pt x="968" y="1369"/>
                </a:lnTo>
                <a:lnTo>
                  <a:pt x="970" y="1369"/>
                </a:lnTo>
                <a:lnTo>
                  <a:pt x="972" y="1369"/>
                </a:lnTo>
                <a:lnTo>
                  <a:pt x="972" y="1367"/>
                </a:lnTo>
                <a:lnTo>
                  <a:pt x="972" y="1369"/>
                </a:lnTo>
                <a:lnTo>
                  <a:pt x="974" y="1371"/>
                </a:lnTo>
                <a:lnTo>
                  <a:pt x="972" y="1371"/>
                </a:lnTo>
                <a:lnTo>
                  <a:pt x="972" y="1373"/>
                </a:lnTo>
                <a:lnTo>
                  <a:pt x="970" y="1375"/>
                </a:lnTo>
                <a:lnTo>
                  <a:pt x="970" y="1377"/>
                </a:lnTo>
                <a:lnTo>
                  <a:pt x="972" y="1377"/>
                </a:lnTo>
                <a:lnTo>
                  <a:pt x="974" y="1377"/>
                </a:lnTo>
                <a:lnTo>
                  <a:pt x="974" y="1375"/>
                </a:lnTo>
                <a:lnTo>
                  <a:pt x="974" y="1373"/>
                </a:lnTo>
                <a:lnTo>
                  <a:pt x="974" y="1371"/>
                </a:lnTo>
                <a:lnTo>
                  <a:pt x="974" y="1369"/>
                </a:lnTo>
                <a:lnTo>
                  <a:pt x="974" y="1367"/>
                </a:lnTo>
                <a:lnTo>
                  <a:pt x="976" y="1367"/>
                </a:lnTo>
                <a:lnTo>
                  <a:pt x="976" y="1365"/>
                </a:lnTo>
                <a:lnTo>
                  <a:pt x="978" y="1365"/>
                </a:lnTo>
                <a:lnTo>
                  <a:pt x="978" y="1367"/>
                </a:lnTo>
                <a:lnTo>
                  <a:pt x="978" y="1369"/>
                </a:lnTo>
                <a:lnTo>
                  <a:pt x="978" y="1371"/>
                </a:lnTo>
                <a:lnTo>
                  <a:pt x="978" y="1373"/>
                </a:lnTo>
                <a:lnTo>
                  <a:pt x="978" y="1371"/>
                </a:lnTo>
                <a:lnTo>
                  <a:pt x="978" y="1373"/>
                </a:lnTo>
                <a:lnTo>
                  <a:pt x="978" y="1375"/>
                </a:lnTo>
                <a:lnTo>
                  <a:pt x="979" y="1375"/>
                </a:lnTo>
                <a:lnTo>
                  <a:pt x="979" y="1377"/>
                </a:lnTo>
                <a:lnTo>
                  <a:pt x="979" y="1378"/>
                </a:lnTo>
                <a:lnTo>
                  <a:pt x="978" y="1378"/>
                </a:lnTo>
                <a:lnTo>
                  <a:pt x="976" y="1378"/>
                </a:lnTo>
                <a:lnTo>
                  <a:pt x="976" y="1380"/>
                </a:lnTo>
                <a:lnTo>
                  <a:pt x="974" y="1380"/>
                </a:lnTo>
                <a:lnTo>
                  <a:pt x="974" y="1382"/>
                </a:lnTo>
                <a:lnTo>
                  <a:pt x="976" y="1382"/>
                </a:lnTo>
                <a:lnTo>
                  <a:pt x="976" y="1380"/>
                </a:lnTo>
                <a:lnTo>
                  <a:pt x="978" y="1380"/>
                </a:lnTo>
                <a:lnTo>
                  <a:pt x="978" y="1378"/>
                </a:lnTo>
                <a:lnTo>
                  <a:pt x="979" y="1378"/>
                </a:lnTo>
                <a:lnTo>
                  <a:pt x="981" y="1378"/>
                </a:lnTo>
                <a:lnTo>
                  <a:pt x="981" y="1377"/>
                </a:lnTo>
                <a:lnTo>
                  <a:pt x="983" y="1377"/>
                </a:lnTo>
                <a:lnTo>
                  <a:pt x="983" y="1375"/>
                </a:lnTo>
                <a:lnTo>
                  <a:pt x="985" y="1375"/>
                </a:lnTo>
                <a:lnTo>
                  <a:pt x="985" y="1373"/>
                </a:lnTo>
                <a:lnTo>
                  <a:pt x="985" y="1371"/>
                </a:lnTo>
                <a:lnTo>
                  <a:pt x="987" y="1371"/>
                </a:lnTo>
                <a:lnTo>
                  <a:pt x="987" y="1373"/>
                </a:lnTo>
                <a:lnTo>
                  <a:pt x="985" y="1373"/>
                </a:lnTo>
                <a:lnTo>
                  <a:pt x="987" y="1373"/>
                </a:lnTo>
                <a:lnTo>
                  <a:pt x="987" y="1375"/>
                </a:lnTo>
                <a:lnTo>
                  <a:pt x="985" y="1377"/>
                </a:lnTo>
                <a:lnTo>
                  <a:pt x="987" y="1377"/>
                </a:lnTo>
                <a:lnTo>
                  <a:pt x="985" y="1377"/>
                </a:lnTo>
                <a:lnTo>
                  <a:pt x="987" y="1377"/>
                </a:lnTo>
                <a:lnTo>
                  <a:pt x="987" y="1378"/>
                </a:lnTo>
                <a:lnTo>
                  <a:pt x="985" y="1378"/>
                </a:lnTo>
                <a:lnTo>
                  <a:pt x="985" y="1380"/>
                </a:lnTo>
                <a:lnTo>
                  <a:pt x="985" y="1382"/>
                </a:lnTo>
                <a:lnTo>
                  <a:pt x="987" y="1380"/>
                </a:lnTo>
                <a:lnTo>
                  <a:pt x="987" y="1378"/>
                </a:lnTo>
                <a:lnTo>
                  <a:pt x="987" y="1377"/>
                </a:lnTo>
                <a:lnTo>
                  <a:pt x="987" y="1375"/>
                </a:lnTo>
                <a:lnTo>
                  <a:pt x="989" y="1375"/>
                </a:lnTo>
                <a:lnTo>
                  <a:pt x="989" y="1373"/>
                </a:lnTo>
                <a:lnTo>
                  <a:pt x="989" y="1371"/>
                </a:lnTo>
                <a:lnTo>
                  <a:pt x="989" y="1369"/>
                </a:lnTo>
                <a:lnTo>
                  <a:pt x="989" y="1367"/>
                </a:lnTo>
                <a:lnTo>
                  <a:pt x="991" y="1367"/>
                </a:lnTo>
                <a:lnTo>
                  <a:pt x="991" y="1365"/>
                </a:lnTo>
                <a:lnTo>
                  <a:pt x="993" y="1365"/>
                </a:lnTo>
                <a:close/>
                <a:moveTo>
                  <a:pt x="939" y="1401"/>
                </a:moveTo>
                <a:lnTo>
                  <a:pt x="937" y="1401"/>
                </a:lnTo>
                <a:lnTo>
                  <a:pt x="939" y="1401"/>
                </a:lnTo>
                <a:close/>
                <a:moveTo>
                  <a:pt x="1002" y="1378"/>
                </a:moveTo>
                <a:lnTo>
                  <a:pt x="1001" y="1378"/>
                </a:lnTo>
                <a:lnTo>
                  <a:pt x="1001" y="1377"/>
                </a:lnTo>
                <a:lnTo>
                  <a:pt x="1001" y="1378"/>
                </a:lnTo>
                <a:lnTo>
                  <a:pt x="1002" y="1378"/>
                </a:lnTo>
                <a:close/>
                <a:moveTo>
                  <a:pt x="1582" y="1983"/>
                </a:moveTo>
                <a:lnTo>
                  <a:pt x="1580" y="1983"/>
                </a:lnTo>
                <a:lnTo>
                  <a:pt x="1580" y="1981"/>
                </a:lnTo>
                <a:lnTo>
                  <a:pt x="1582" y="1981"/>
                </a:lnTo>
                <a:lnTo>
                  <a:pt x="1582" y="1983"/>
                </a:lnTo>
                <a:close/>
                <a:moveTo>
                  <a:pt x="1559" y="1964"/>
                </a:moveTo>
                <a:lnTo>
                  <a:pt x="1559" y="1966"/>
                </a:lnTo>
                <a:lnTo>
                  <a:pt x="1559" y="1964"/>
                </a:lnTo>
                <a:close/>
                <a:moveTo>
                  <a:pt x="1584" y="1983"/>
                </a:moveTo>
                <a:lnTo>
                  <a:pt x="1582" y="1983"/>
                </a:lnTo>
                <a:lnTo>
                  <a:pt x="1584" y="1981"/>
                </a:lnTo>
                <a:lnTo>
                  <a:pt x="1586" y="1981"/>
                </a:lnTo>
                <a:lnTo>
                  <a:pt x="1586" y="1983"/>
                </a:lnTo>
                <a:lnTo>
                  <a:pt x="1584" y="1983"/>
                </a:lnTo>
                <a:close/>
                <a:moveTo>
                  <a:pt x="1586" y="1983"/>
                </a:moveTo>
                <a:lnTo>
                  <a:pt x="1586" y="1981"/>
                </a:lnTo>
                <a:lnTo>
                  <a:pt x="1588" y="1981"/>
                </a:lnTo>
                <a:lnTo>
                  <a:pt x="1588" y="1983"/>
                </a:lnTo>
                <a:lnTo>
                  <a:pt x="1586" y="1983"/>
                </a:lnTo>
                <a:close/>
                <a:moveTo>
                  <a:pt x="1523" y="1928"/>
                </a:moveTo>
                <a:lnTo>
                  <a:pt x="1521" y="1928"/>
                </a:lnTo>
                <a:lnTo>
                  <a:pt x="1523" y="1928"/>
                </a:lnTo>
                <a:close/>
                <a:moveTo>
                  <a:pt x="1488" y="1899"/>
                </a:moveTo>
                <a:lnTo>
                  <a:pt x="1486" y="1899"/>
                </a:lnTo>
                <a:lnTo>
                  <a:pt x="1488" y="1899"/>
                </a:lnTo>
                <a:lnTo>
                  <a:pt x="1488" y="1901"/>
                </a:lnTo>
                <a:lnTo>
                  <a:pt x="1488" y="1903"/>
                </a:lnTo>
                <a:lnTo>
                  <a:pt x="1488" y="1904"/>
                </a:lnTo>
                <a:lnTo>
                  <a:pt x="1488" y="1906"/>
                </a:lnTo>
                <a:lnTo>
                  <a:pt x="1488" y="1908"/>
                </a:lnTo>
                <a:lnTo>
                  <a:pt x="1486" y="1908"/>
                </a:lnTo>
                <a:lnTo>
                  <a:pt x="1484" y="1908"/>
                </a:lnTo>
                <a:lnTo>
                  <a:pt x="1484" y="1910"/>
                </a:lnTo>
                <a:lnTo>
                  <a:pt x="1483" y="1910"/>
                </a:lnTo>
                <a:lnTo>
                  <a:pt x="1483" y="1912"/>
                </a:lnTo>
                <a:lnTo>
                  <a:pt x="1481" y="1912"/>
                </a:lnTo>
                <a:lnTo>
                  <a:pt x="1481" y="1914"/>
                </a:lnTo>
                <a:lnTo>
                  <a:pt x="1479" y="1914"/>
                </a:lnTo>
                <a:lnTo>
                  <a:pt x="1477" y="1914"/>
                </a:lnTo>
                <a:lnTo>
                  <a:pt x="1477" y="1916"/>
                </a:lnTo>
                <a:lnTo>
                  <a:pt x="1475" y="1916"/>
                </a:lnTo>
                <a:lnTo>
                  <a:pt x="1475" y="1914"/>
                </a:lnTo>
                <a:lnTo>
                  <a:pt x="1477" y="1914"/>
                </a:lnTo>
                <a:lnTo>
                  <a:pt x="1477" y="1912"/>
                </a:lnTo>
                <a:lnTo>
                  <a:pt x="1477" y="1910"/>
                </a:lnTo>
                <a:lnTo>
                  <a:pt x="1479" y="1910"/>
                </a:lnTo>
                <a:lnTo>
                  <a:pt x="1479" y="1908"/>
                </a:lnTo>
                <a:lnTo>
                  <a:pt x="1479" y="1910"/>
                </a:lnTo>
                <a:lnTo>
                  <a:pt x="1479" y="1908"/>
                </a:lnTo>
                <a:lnTo>
                  <a:pt x="1481" y="1908"/>
                </a:lnTo>
                <a:lnTo>
                  <a:pt x="1479" y="1908"/>
                </a:lnTo>
                <a:lnTo>
                  <a:pt x="1477" y="1908"/>
                </a:lnTo>
                <a:lnTo>
                  <a:pt x="1479" y="1908"/>
                </a:lnTo>
                <a:lnTo>
                  <a:pt x="1477" y="1908"/>
                </a:lnTo>
                <a:lnTo>
                  <a:pt x="1479" y="1908"/>
                </a:lnTo>
                <a:lnTo>
                  <a:pt x="1477" y="1908"/>
                </a:lnTo>
                <a:lnTo>
                  <a:pt x="1475" y="1908"/>
                </a:lnTo>
                <a:lnTo>
                  <a:pt x="1477" y="1906"/>
                </a:lnTo>
                <a:lnTo>
                  <a:pt x="1479" y="1906"/>
                </a:lnTo>
                <a:lnTo>
                  <a:pt x="1477" y="1906"/>
                </a:lnTo>
                <a:lnTo>
                  <a:pt x="1479" y="1906"/>
                </a:lnTo>
                <a:lnTo>
                  <a:pt x="1477" y="1906"/>
                </a:lnTo>
                <a:lnTo>
                  <a:pt x="1479" y="1904"/>
                </a:lnTo>
                <a:lnTo>
                  <a:pt x="1481" y="1904"/>
                </a:lnTo>
                <a:lnTo>
                  <a:pt x="1481" y="1903"/>
                </a:lnTo>
                <a:lnTo>
                  <a:pt x="1483" y="1903"/>
                </a:lnTo>
                <a:lnTo>
                  <a:pt x="1481" y="1903"/>
                </a:lnTo>
                <a:lnTo>
                  <a:pt x="1481" y="1901"/>
                </a:lnTo>
                <a:lnTo>
                  <a:pt x="1483" y="1901"/>
                </a:lnTo>
                <a:lnTo>
                  <a:pt x="1483" y="1899"/>
                </a:lnTo>
                <a:lnTo>
                  <a:pt x="1484" y="1899"/>
                </a:lnTo>
                <a:lnTo>
                  <a:pt x="1486" y="1899"/>
                </a:lnTo>
                <a:lnTo>
                  <a:pt x="1486" y="1897"/>
                </a:lnTo>
                <a:lnTo>
                  <a:pt x="1486" y="1899"/>
                </a:lnTo>
                <a:lnTo>
                  <a:pt x="1488" y="1899"/>
                </a:lnTo>
                <a:close/>
                <a:moveTo>
                  <a:pt x="1569" y="1964"/>
                </a:moveTo>
                <a:lnTo>
                  <a:pt x="1567" y="1964"/>
                </a:lnTo>
                <a:lnTo>
                  <a:pt x="1567" y="1966"/>
                </a:lnTo>
                <a:lnTo>
                  <a:pt x="1567" y="1964"/>
                </a:lnTo>
                <a:lnTo>
                  <a:pt x="1567" y="1962"/>
                </a:lnTo>
                <a:lnTo>
                  <a:pt x="1567" y="1964"/>
                </a:lnTo>
                <a:lnTo>
                  <a:pt x="1569" y="1964"/>
                </a:lnTo>
                <a:close/>
                <a:moveTo>
                  <a:pt x="1523" y="1928"/>
                </a:moveTo>
                <a:lnTo>
                  <a:pt x="1523" y="1926"/>
                </a:lnTo>
                <a:lnTo>
                  <a:pt x="1523" y="1928"/>
                </a:lnTo>
                <a:close/>
                <a:moveTo>
                  <a:pt x="1001" y="1363"/>
                </a:moveTo>
                <a:lnTo>
                  <a:pt x="1001" y="1365"/>
                </a:lnTo>
                <a:lnTo>
                  <a:pt x="1002" y="1365"/>
                </a:lnTo>
                <a:lnTo>
                  <a:pt x="1002" y="1367"/>
                </a:lnTo>
                <a:lnTo>
                  <a:pt x="1002" y="1369"/>
                </a:lnTo>
                <a:lnTo>
                  <a:pt x="1001" y="1369"/>
                </a:lnTo>
                <a:lnTo>
                  <a:pt x="1001" y="1371"/>
                </a:lnTo>
                <a:lnTo>
                  <a:pt x="999" y="1371"/>
                </a:lnTo>
                <a:lnTo>
                  <a:pt x="999" y="1373"/>
                </a:lnTo>
                <a:lnTo>
                  <a:pt x="1001" y="1373"/>
                </a:lnTo>
                <a:lnTo>
                  <a:pt x="1001" y="1375"/>
                </a:lnTo>
                <a:lnTo>
                  <a:pt x="1001" y="1377"/>
                </a:lnTo>
                <a:lnTo>
                  <a:pt x="1001" y="1378"/>
                </a:lnTo>
                <a:lnTo>
                  <a:pt x="999" y="1378"/>
                </a:lnTo>
                <a:lnTo>
                  <a:pt x="999" y="1377"/>
                </a:lnTo>
                <a:lnTo>
                  <a:pt x="999" y="1375"/>
                </a:lnTo>
                <a:lnTo>
                  <a:pt x="999" y="1373"/>
                </a:lnTo>
                <a:lnTo>
                  <a:pt x="997" y="1373"/>
                </a:lnTo>
                <a:lnTo>
                  <a:pt x="997" y="1371"/>
                </a:lnTo>
                <a:lnTo>
                  <a:pt x="997" y="1369"/>
                </a:lnTo>
                <a:lnTo>
                  <a:pt x="997" y="1367"/>
                </a:lnTo>
                <a:lnTo>
                  <a:pt x="997" y="1365"/>
                </a:lnTo>
                <a:lnTo>
                  <a:pt x="997" y="1363"/>
                </a:lnTo>
                <a:lnTo>
                  <a:pt x="999" y="1363"/>
                </a:lnTo>
                <a:lnTo>
                  <a:pt x="997" y="1363"/>
                </a:lnTo>
                <a:lnTo>
                  <a:pt x="997" y="1361"/>
                </a:lnTo>
                <a:lnTo>
                  <a:pt x="999" y="1361"/>
                </a:lnTo>
                <a:lnTo>
                  <a:pt x="997" y="1361"/>
                </a:lnTo>
                <a:lnTo>
                  <a:pt x="997" y="1363"/>
                </a:lnTo>
                <a:lnTo>
                  <a:pt x="997" y="1365"/>
                </a:lnTo>
                <a:lnTo>
                  <a:pt x="997" y="1363"/>
                </a:lnTo>
                <a:lnTo>
                  <a:pt x="995" y="1363"/>
                </a:lnTo>
                <a:lnTo>
                  <a:pt x="995" y="1361"/>
                </a:lnTo>
                <a:lnTo>
                  <a:pt x="993" y="1361"/>
                </a:lnTo>
                <a:lnTo>
                  <a:pt x="993" y="1359"/>
                </a:lnTo>
                <a:lnTo>
                  <a:pt x="993" y="1357"/>
                </a:lnTo>
                <a:lnTo>
                  <a:pt x="995" y="1357"/>
                </a:lnTo>
                <a:lnTo>
                  <a:pt x="997" y="1357"/>
                </a:lnTo>
                <a:lnTo>
                  <a:pt x="999" y="1357"/>
                </a:lnTo>
                <a:lnTo>
                  <a:pt x="1001" y="1357"/>
                </a:lnTo>
                <a:lnTo>
                  <a:pt x="1002" y="1357"/>
                </a:lnTo>
                <a:lnTo>
                  <a:pt x="1002" y="1359"/>
                </a:lnTo>
                <a:lnTo>
                  <a:pt x="1002" y="1361"/>
                </a:lnTo>
                <a:lnTo>
                  <a:pt x="1001" y="1361"/>
                </a:lnTo>
                <a:lnTo>
                  <a:pt x="1001" y="1363"/>
                </a:lnTo>
                <a:close/>
                <a:moveTo>
                  <a:pt x="1525" y="1924"/>
                </a:moveTo>
                <a:lnTo>
                  <a:pt x="1523" y="1924"/>
                </a:lnTo>
                <a:lnTo>
                  <a:pt x="1525" y="1924"/>
                </a:lnTo>
                <a:close/>
                <a:moveTo>
                  <a:pt x="1532" y="1929"/>
                </a:moveTo>
                <a:lnTo>
                  <a:pt x="1532" y="1928"/>
                </a:lnTo>
                <a:lnTo>
                  <a:pt x="1532" y="1929"/>
                </a:lnTo>
                <a:close/>
                <a:moveTo>
                  <a:pt x="1494" y="1897"/>
                </a:moveTo>
                <a:lnTo>
                  <a:pt x="1496" y="1897"/>
                </a:lnTo>
                <a:lnTo>
                  <a:pt x="1494" y="1897"/>
                </a:lnTo>
                <a:lnTo>
                  <a:pt x="1494" y="1899"/>
                </a:lnTo>
                <a:lnTo>
                  <a:pt x="1494" y="1897"/>
                </a:lnTo>
                <a:close/>
                <a:moveTo>
                  <a:pt x="1556" y="1947"/>
                </a:moveTo>
                <a:lnTo>
                  <a:pt x="1556" y="1945"/>
                </a:lnTo>
                <a:lnTo>
                  <a:pt x="1556" y="1947"/>
                </a:lnTo>
                <a:close/>
                <a:moveTo>
                  <a:pt x="906" y="1202"/>
                </a:moveTo>
                <a:lnTo>
                  <a:pt x="905" y="1202"/>
                </a:lnTo>
                <a:lnTo>
                  <a:pt x="906" y="1202"/>
                </a:lnTo>
                <a:close/>
                <a:moveTo>
                  <a:pt x="1498" y="1895"/>
                </a:moveTo>
                <a:lnTo>
                  <a:pt x="1496" y="1895"/>
                </a:lnTo>
                <a:lnTo>
                  <a:pt x="1498" y="1895"/>
                </a:lnTo>
                <a:close/>
                <a:moveTo>
                  <a:pt x="912" y="1209"/>
                </a:moveTo>
                <a:lnTo>
                  <a:pt x="912" y="1211"/>
                </a:lnTo>
                <a:lnTo>
                  <a:pt x="912" y="1209"/>
                </a:lnTo>
                <a:lnTo>
                  <a:pt x="910" y="1209"/>
                </a:lnTo>
                <a:lnTo>
                  <a:pt x="912" y="1209"/>
                </a:lnTo>
                <a:close/>
                <a:moveTo>
                  <a:pt x="1540" y="1929"/>
                </a:moveTo>
                <a:lnTo>
                  <a:pt x="1538" y="1929"/>
                </a:lnTo>
                <a:lnTo>
                  <a:pt x="1540" y="1929"/>
                </a:lnTo>
                <a:close/>
                <a:moveTo>
                  <a:pt x="1509" y="1904"/>
                </a:moveTo>
                <a:lnTo>
                  <a:pt x="1508" y="1904"/>
                </a:lnTo>
                <a:lnTo>
                  <a:pt x="1508" y="1903"/>
                </a:lnTo>
                <a:lnTo>
                  <a:pt x="1509" y="1903"/>
                </a:lnTo>
                <a:lnTo>
                  <a:pt x="1509" y="1904"/>
                </a:lnTo>
                <a:close/>
                <a:moveTo>
                  <a:pt x="1540" y="1931"/>
                </a:moveTo>
                <a:lnTo>
                  <a:pt x="1540" y="1933"/>
                </a:lnTo>
                <a:lnTo>
                  <a:pt x="1540" y="1931"/>
                </a:lnTo>
                <a:lnTo>
                  <a:pt x="1540" y="1929"/>
                </a:lnTo>
                <a:lnTo>
                  <a:pt x="1540" y="1931"/>
                </a:lnTo>
                <a:lnTo>
                  <a:pt x="1540" y="1929"/>
                </a:lnTo>
                <a:lnTo>
                  <a:pt x="1542" y="1929"/>
                </a:lnTo>
                <a:lnTo>
                  <a:pt x="1540" y="1929"/>
                </a:lnTo>
                <a:lnTo>
                  <a:pt x="1540" y="1931"/>
                </a:lnTo>
                <a:close/>
                <a:moveTo>
                  <a:pt x="1500" y="1895"/>
                </a:moveTo>
                <a:lnTo>
                  <a:pt x="1498" y="1893"/>
                </a:lnTo>
                <a:lnTo>
                  <a:pt x="1500" y="1893"/>
                </a:lnTo>
                <a:lnTo>
                  <a:pt x="1500" y="1895"/>
                </a:lnTo>
                <a:close/>
                <a:moveTo>
                  <a:pt x="1544" y="1929"/>
                </a:moveTo>
                <a:lnTo>
                  <a:pt x="1542" y="1929"/>
                </a:lnTo>
                <a:lnTo>
                  <a:pt x="1542" y="1928"/>
                </a:lnTo>
                <a:lnTo>
                  <a:pt x="1542" y="1929"/>
                </a:lnTo>
                <a:lnTo>
                  <a:pt x="1544" y="1929"/>
                </a:lnTo>
                <a:close/>
                <a:moveTo>
                  <a:pt x="1554" y="1937"/>
                </a:moveTo>
                <a:lnTo>
                  <a:pt x="1556" y="1937"/>
                </a:lnTo>
                <a:lnTo>
                  <a:pt x="1554" y="1937"/>
                </a:lnTo>
                <a:close/>
                <a:moveTo>
                  <a:pt x="1047" y="1405"/>
                </a:moveTo>
                <a:lnTo>
                  <a:pt x="1045" y="1405"/>
                </a:lnTo>
                <a:lnTo>
                  <a:pt x="1045" y="1407"/>
                </a:lnTo>
                <a:lnTo>
                  <a:pt x="1043" y="1407"/>
                </a:lnTo>
                <a:lnTo>
                  <a:pt x="1041" y="1407"/>
                </a:lnTo>
                <a:lnTo>
                  <a:pt x="1039" y="1407"/>
                </a:lnTo>
                <a:lnTo>
                  <a:pt x="1039" y="1405"/>
                </a:lnTo>
                <a:lnTo>
                  <a:pt x="1039" y="1407"/>
                </a:lnTo>
                <a:lnTo>
                  <a:pt x="1041" y="1407"/>
                </a:lnTo>
                <a:lnTo>
                  <a:pt x="1041" y="1405"/>
                </a:lnTo>
                <a:lnTo>
                  <a:pt x="1039" y="1405"/>
                </a:lnTo>
                <a:lnTo>
                  <a:pt x="1041" y="1405"/>
                </a:lnTo>
                <a:lnTo>
                  <a:pt x="1041" y="1403"/>
                </a:lnTo>
                <a:lnTo>
                  <a:pt x="1043" y="1403"/>
                </a:lnTo>
                <a:lnTo>
                  <a:pt x="1045" y="1403"/>
                </a:lnTo>
                <a:lnTo>
                  <a:pt x="1047" y="1403"/>
                </a:lnTo>
                <a:lnTo>
                  <a:pt x="1047" y="1405"/>
                </a:lnTo>
                <a:close/>
                <a:moveTo>
                  <a:pt x="1502" y="1893"/>
                </a:moveTo>
                <a:lnTo>
                  <a:pt x="1504" y="1893"/>
                </a:lnTo>
                <a:lnTo>
                  <a:pt x="1504" y="1895"/>
                </a:lnTo>
                <a:lnTo>
                  <a:pt x="1502" y="1895"/>
                </a:lnTo>
                <a:lnTo>
                  <a:pt x="1502" y="1893"/>
                </a:lnTo>
                <a:lnTo>
                  <a:pt x="1502" y="1895"/>
                </a:lnTo>
                <a:lnTo>
                  <a:pt x="1500" y="1895"/>
                </a:lnTo>
                <a:lnTo>
                  <a:pt x="1500" y="1893"/>
                </a:lnTo>
                <a:lnTo>
                  <a:pt x="1500" y="1891"/>
                </a:lnTo>
                <a:lnTo>
                  <a:pt x="1502" y="1891"/>
                </a:lnTo>
                <a:lnTo>
                  <a:pt x="1502" y="1893"/>
                </a:lnTo>
                <a:lnTo>
                  <a:pt x="1502" y="1891"/>
                </a:lnTo>
                <a:lnTo>
                  <a:pt x="1502" y="1893"/>
                </a:lnTo>
                <a:close/>
                <a:moveTo>
                  <a:pt x="1556" y="1937"/>
                </a:moveTo>
                <a:lnTo>
                  <a:pt x="1556" y="1935"/>
                </a:lnTo>
                <a:lnTo>
                  <a:pt x="1556" y="1937"/>
                </a:lnTo>
                <a:close/>
                <a:moveTo>
                  <a:pt x="1521" y="1908"/>
                </a:moveTo>
                <a:lnTo>
                  <a:pt x="1521" y="1910"/>
                </a:lnTo>
                <a:lnTo>
                  <a:pt x="1521" y="1912"/>
                </a:lnTo>
                <a:lnTo>
                  <a:pt x="1521" y="1914"/>
                </a:lnTo>
                <a:lnTo>
                  <a:pt x="1523" y="1914"/>
                </a:lnTo>
                <a:lnTo>
                  <a:pt x="1523" y="1916"/>
                </a:lnTo>
                <a:lnTo>
                  <a:pt x="1523" y="1918"/>
                </a:lnTo>
                <a:lnTo>
                  <a:pt x="1523" y="1916"/>
                </a:lnTo>
                <a:lnTo>
                  <a:pt x="1525" y="1916"/>
                </a:lnTo>
                <a:lnTo>
                  <a:pt x="1525" y="1918"/>
                </a:lnTo>
                <a:lnTo>
                  <a:pt x="1525" y="1920"/>
                </a:lnTo>
                <a:lnTo>
                  <a:pt x="1523" y="1920"/>
                </a:lnTo>
                <a:lnTo>
                  <a:pt x="1525" y="1920"/>
                </a:lnTo>
                <a:lnTo>
                  <a:pt x="1525" y="1922"/>
                </a:lnTo>
                <a:lnTo>
                  <a:pt x="1523" y="1922"/>
                </a:lnTo>
                <a:lnTo>
                  <a:pt x="1523" y="1924"/>
                </a:lnTo>
                <a:lnTo>
                  <a:pt x="1521" y="1924"/>
                </a:lnTo>
                <a:lnTo>
                  <a:pt x="1519" y="1924"/>
                </a:lnTo>
                <a:lnTo>
                  <a:pt x="1519" y="1926"/>
                </a:lnTo>
                <a:lnTo>
                  <a:pt x="1519" y="1924"/>
                </a:lnTo>
                <a:lnTo>
                  <a:pt x="1517" y="1924"/>
                </a:lnTo>
                <a:lnTo>
                  <a:pt x="1517" y="1926"/>
                </a:lnTo>
                <a:lnTo>
                  <a:pt x="1515" y="1926"/>
                </a:lnTo>
                <a:lnTo>
                  <a:pt x="1513" y="1926"/>
                </a:lnTo>
                <a:lnTo>
                  <a:pt x="1513" y="1924"/>
                </a:lnTo>
                <a:lnTo>
                  <a:pt x="1511" y="1924"/>
                </a:lnTo>
                <a:lnTo>
                  <a:pt x="1511" y="1922"/>
                </a:lnTo>
                <a:lnTo>
                  <a:pt x="1509" y="1922"/>
                </a:lnTo>
                <a:lnTo>
                  <a:pt x="1509" y="1924"/>
                </a:lnTo>
                <a:lnTo>
                  <a:pt x="1509" y="1922"/>
                </a:lnTo>
                <a:lnTo>
                  <a:pt x="1511" y="1924"/>
                </a:lnTo>
                <a:lnTo>
                  <a:pt x="1513" y="1924"/>
                </a:lnTo>
                <a:lnTo>
                  <a:pt x="1513" y="1926"/>
                </a:lnTo>
                <a:lnTo>
                  <a:pt x="1511" y="1926"/>
                </a:lnTo>
                <a:lnTo>
                  <a:pt x="1511" y="1924"/>
                </a:lnTo>
                <a:lnTo>
                  <a:pt x="1511" y="1926"/>
                </a:lnTo>
                <a:lnTo>
                  <a:pt x="1511" y="1924"/>
                </a:lnTo>
                <a:lnTo>
                  <a:pt x="1511" y="1926"/>
                </a:lnTo>
                <a:lnTo>
                  <a:pt x="1511" y="1924"/>
                </a:lnTo>
                <a:lnTo>
                  <a:pt x="1511" y="1926"/>
                </a:lnTo>
                <a:lnTo>
                  <a:pt x="1511" y="1928"/>
                </a:lnTo>
                <a:lnTo>
                  <a:pt x="1513" y="1928"/>
                </a:lnTo>
                <a:lnTo>
                  <a:pt x="1511" y="1928"/>
                </a:lnTo>
                <a:lnTo>
                  <a:pt x="1511" y="1929"/>
                </a:lnTo>
                <a:lnTo>
                  <a:pt x="1509" y="1929"/>
                </a:lnTo>
                <a:lnTo>
                  <a:pt x="1509" y="1928"/>
                </a:lnTo>
                <a:lnTo>
                  <a:pt x="1509" y="1926"/>
                </a:lnTo>
                <a:lnTo>
                  <a:pt x="1508" y="1926"/>
                </a:lnTo>
                <a:lnTo>
                  <a:pt x="1509" y="1926"/>
                </a:lnTo>
                <a:lnTo>
                  <a:pt x="1508" y="1926"/>
                </a:lnTo>
                <a:lnTo>
                  <a:pt x="1506" y="1926"/>
                </a:lnTo>
                <a:lnTo>
                  <a:pt x="1506" y="1924"/>
                </a:lnTo>
                <a:lnTo>
                  <a:pt x="1504" y="1924"/>
                </a:lnTo>
                <a:lnTo>
                  <a:pt x="1506" y="1924"/>
                </a:lnTo>
                <a:lnTo>
                  <a:pt x="1506" y="1926"/>
                </a:lnTo>
                <a:lnTo>
                  <a:pt x="1504" y="1926"/>
                </a:lnTo>
                <a:lnTo>
                  <a:pt x="1506" y="1926"/>
                </a:lnTo>
                <a:lnTo>
                  <a:pt x="1508" y="1926"/>
                </a:lnTo>
                <a:lnTo>
                  <a:pt x="1508" y="1928"/>
                </a:lnTo>
                <a:lnTo>
                  <a:pt x="1508" y="1929"/>
                </a:lnTo>
                <a:lnTo>
                  <a:pt x="1509" y="1929"/>
                </a:lnTo>
                <a:lnTo>
                  <a:pt x="1508" y="1931"/>
                </a:lnTo>
                <a:lnTo>
                  <a:pt x="1509" y="1931"/>
                </a:lnTo>
                <a:lnTo>
                  <a:pt x="1509" y="1929"/>
                </a:lnTo>
                <a:lnTo>
                  <a:pt x="1511" y="1929"/>
                </a:lnTo>
                <a:lnTo>
                  <a:pt x="1511" y="1931"/>
                </a:lnTo>
                <a:lnTo>
                  <a:pt x="1513" y="1931"/>
                </a:lnTo>
                <a:lnTo>
                  <a:pt x="1513" y="1929"/>
                </a:lnTo>
                <a:lnTo>
                  <a:pt x="1515" y="1929"/>
                </a:lnTo>
                <a:lnTo>
                  <a:pt x="1515" y="1928"/>
                </a:lnTo>
                <a:lnTo>
                  <a:pt x="1517" y="1928"/>
                </a:lnTo>
                <a:lnTo>
                  <a:pt x="1519" y="1928"/>
                </a:lnTo>
                <a:lnTo>
                  <a:pt x="1521" y="1928"/>
                </a:lnTo>
                <a:lnTo>
                  <a:pt x="1523" y="1928"/>
                </a:lnTo>
                <a:lnTo>
                  <a:pt x="1521" y="1928"/>
                </a:lnTo>
                <a:lnTo>
                  <a:pt x="1523" y="1928"/>
                </a:lnTo>
                <a:lnTo>
                  <a:pt x="1523" y="1929"/>
                </a:lnTo>
                <a:lnTo>
                  <a:pt x="1523" y="1928"/>
                </a:lnTo>
                <a:lnTo>
                  <a:pt x="1523" y="1929"/>
                </a:lnTo>
                <a:lnTo>
                  <a:pt x="1525" y="1929"/>
                </a:lnTo>
                <a:lnTo>
                  <a:pt x="1523" y="1929"/>
                </a:lnTo>
                <a:lnTo>
                  <a:pt x="1523" y="1928"/>
                </a:lnTo>
                <a:lnTo>
                  <a:pt x="1523" y="1929"/>
                </a:lnTo>
                <a:lnTo>
                  <a:pt x="1523" y="1928"/>
                </a:lnTo>
                <a:lnTo>
                  <a:pt x="1525" y="1928"/>
                </a:lnTo>
                <a:lnTo>
                  <a:pt x="1523" y="1928"/>
                </a:lnTo>
                <a:lnTo>
                  <a:pt x="1523" y="1926"/>
                </a:lnTo>
                <a:lnTo>
                  <a:pt x="1525" y="1926"/>
                </a:lnTo>
                <a:lnTo>
                  <a:pt x="1527" y="1926"/>
                </a:lnTo>
                <a:lnTo>
                  <a:pt x="1527" y="1928"/>
                </a:lnTo>
                <a:lnTo>
                  <a:pt x="1527" y="1929"/>
                </a:lnTo>
                <a:lnTo>
                  <a:pt x="1529" y="1929"/>
                </a:lnTo>
                <a:lnTo>
                  <a:pt x="1527" y="1929"/>
                </a:lnTo>
                <a:lnTo>
                  <a:pt x="1527" y="1931"/>
                </a:lnTo>
                <a:lnTo>
                  <a:pt x="1527" y="1929"/>
                </a:lnTo>
                <a:lnTo>
                  <a:pt x="1527" y="1931"/>
                </a:lnTo>
                <a:lnTo>
                  <a:pt x="1527" y="1933"/>
                </a:lnTo>
                <a:lnTo>
                  <a:pt x="1529" y="1933"/>
                </a:lnTo>
                <a:lnTo>
                  <a:pt x="1527" y="1933"/>
                </a:lnTo>
                <a:lnTo>
                  <a:pt x="1527" y="1931"/>
                </a:lnTo>
                <a:lnTo>
                  <a:pt x="1529" y="1931"/>
                </a:lnTo>
                <a:lnTo>
                  <a:pt x="1529" y="1933"/>
                </a:lnTo>
                <a:lnTo>
                  <a:pt x="1531" y="1933"/>
                </a:lnTo>
                <a:lnTo>
                  <a:pt x="1531" y="1935"/>
                </a:lnTo>
                <a:lnTo>
                  <a:pt x="1532" y="1935"/>
                </a:lnTo>
                <a:lnTo>
                  <a:pt x="1532" y="1937"/>
                </a:lnTo>
                <a:lnTo>
                  <a:pt x="1534" y="1937"/>
                </a:lnTo>
                <a:lnTo>
                  <a:pt x="1534" y="1939"/>
                </a:lnTo>
                <a:lnTo>
                  <a:pt x="1532" y="1939"/>
                </a:lnTo>
                <a:lnTo>
                  <a:pt x="1532" y="1941"/>
                </a:lnTo>
                <a:lnTo>
                  <a:pt x="1534" y="1941"/>
                </a:lnTo>
                <a:lnTo>
                  <a:pt x="1534" y="1943"/>
                </a:lnTo>
                <a:lnTo>
                  <a:pt x="1536" y="1943"/>
                </a:lnTo>
                <a:lnTo>
                  <a:pt x="1536" y="1945"/>
                </a:lnTo>
                <a:lnTo>
                  <a:pt x="1536" y="1947"/>
                </a:lnTo>
                <a:lnTo>
                  <a:pt x="1534" y="1947"/>
                </a:lnTo>
                <a:lnTo>
                  <a:pt x="1534" y="1949"/>
                </a:lnTo>
                <a:lnTo>
                  <a:pt x="1534" y="1951"/>
                </a:lnTo>
                <a:lnTo>
                  <a:pt x="1532" y="1949"/>
                </a:lnTo>
                <a:lnTo>
                  <a:pt x="1532" y="1951"/>
                </a:lnTo>
                <a:lnTo>
                  <a:pt x="1532" y="1952"/>
                </a:lnTo>
                <a:lnTo>
                  <a:pt x="1531" y="1952"/>
                </a:lnTo>
                <a:lnTo>
                  <a:pt x="1529" y="1952"/>
                </a:lnTo>
                <a:lnTo>
                  <a:pt x="1527" y="1952"/>
                </a:lnTo>
                <a:lnTo>
                  <a:pt x="1527" y="1954"/>
                </a:lnTo>
                <a:lnTo>
                  <a:pt x="1527" y="1956"/>
                </a:lnTo>
                <a:lnTo>
                  <a:pt x="1527" y="1958"/>
                </a:lnTo>
                <a:lnTo>
                  <a:pt x="1527" y="1956"/>
                </a:lnTo>
                <a:lnTo>
                  <a:pt x="1527" y="1954"/>
                </a:lnTo>
                <a:lnTo>
                  <a:pt x="1527" y="1952"/>
                </a:lnTo>
                <a:lnTo>
                  <a:pt x="1525" y="1951"/>
                </a:lnTo>
                <a:lnTo>
                  <a:pt x="1527" y="1951"/>
                </a:lnTo>
                <a:lnTo>
                  <a:pt x="1525" y="1951"/>
                </a:lnTo>
                <a:lnTo>
                  <a:pt x="1525" y="1949"/>
                </a:lnTo>
                <a:lnTo>
                  <a:pt x="1525" y="1947"/>
                </a:lnTo>
                <a:lnTo>
                  <a:pt x="1525" y="1945"/>
                </a:lnTo>
                <a:lnTo>
                  <a:pt x="1523" y="1945"/>
                </a:lnTo>
                <a:lnTo>
                  <a:pt x="1523" y="1943"/>
                </a:lnTo>
                <a:lnTo>
                  <a:pt x="1523" y="1945"/>
                </a:lnTo>
                <a:lnTo>
                  <a:pt x="1523" y="1943"/>
                </a:lnTo>
                <a:lnTo>
                  <a:pt x="1523" y="1945"/>
                </a:lnTo>
                <a:lnTo>
                  <a:pt x="1523" y="1947"/>
                </a:lnTo>
                <a:lnTo>
                  <a:pt x="1523" y="1949"/>
                </a:lnTo>
                <a:lnTo>
                  <a:pt x="1523" y="1951"/>
                </a:lnTo>
                <a:lnTo>
                  <a:pt x="1525" y="1952"/>
                </a:lnTo>
                <a:lnTo>
                  <a:pt x="1523" y="1952"/>
                </a:lnTo>
                <a:lnTo>
                  <a:pt x="1523" y="1954"/>
                </a:lnTo>
                <a:lnTo>
                  <a:pt x="1525" y="1954"/>
                </a:lnTo>
                <a:lnTo>
                  <a:pt x="1523" y="1954"/>
                </a:lnTo>
                <a:lnTo>
                  <a:pt x="1523" y="1956"/>
                </a:lnTo>
                <a:lnTo>
                  <a:pt x="1525" y="1956"/>
                </a:lnTo>
                <a:lnTo>
                  <a:pt x="1523" y="1956"/>
                </a:lnTo>
                <a:lnTo>
                  <a:pt x="1525" y="1956"/>
                </a:lnTo>
                <a:lnTo>
                  <a:pt x="1525" y="1958"/>
                </a:lnTo>
                <a:lnTo>
                  <a:pt x="1525" y="1960"/>
                </a:lnTo>
                <a:lnTo>
                  <a:pt x="1523" y="1960"/>
                </a:lnTo>
                <a:lnTo>
                  <a:pt x="1521" y="1960"/>
                </a:lnTo>
                <a:lnTo>
                  <a:pt x="1521" y="1958"/>
                </a:lnTo>
                <a:lnTo>
                  <a:pt x="1519" y="1958"/>
                </a:lnTo>
                <a:lnTo>
                  <a:pt x="1519" y="1956"/>
                </a:lnTo>
                <a:lnTo>
                  <a:pt x="1517" y="1956"/>
                </a:lnTo>
                <a:lnTo>
                  <a:pt x="1515" y="1956"/>
                </a:lnTo>
                <a:lnTo>
                  <a:pt x="1515" y="1954"/>
                </a:lnTo>
                <a:lnTo>
                  <a:pt x="1513" y="1954"/>
                </a:lnTo>
                <a:lnTo>
                  <a:pt x="1515" y="1954"/>
                </a:lnTo>
                <a:lnTo>
                  <a:pt x="1513" y="1954"/>
                </a:lnTo>
                <a:lnTo>
                  <a:pt x="1513" y="1952"/>
                </a:lnTo>
                <a:lnTo>
                  <a:pt x="1513" y="1951"/>
                </a:lnTo>
                <a:lnTo>
                  <a:pt x="1511" y="1951"/>
                </a:lnTo>
                <a:lnTo>
                  <a:pt x="1511" y="1949"/>
                </a:lnTo>
                <a:lnTo>
                  <a:pt x="1511" y="1947"/>
                </a:lnTo>
                <a:lnTo>
                  <a:pt x="1511" y="1945"/>
                </a:lnTo>
                <a:lnTo>
                  <a:pt x="1511" y="1943"/>
                </a:lnTo>
                <a:lnTo>
                  <a:pt x="1509" y="1941"/>
                </a:lnTo>
                <a:lnTo>
                  <a:pt x="1509" y="1939"/>
                </a:lnTo>
                <a:lnTo>
                  <a:pt x="1509" y="1937"/>
                </a:lnTo>
                <a:lnTo>
                  <a:pt x="1508" y="1937"/>
                </a:lnTo>
                <a:lnTo>
                  <a:pt x="1508" y="1935"/>
                </a:lnTo>
                <a:lnTo>
                  <a:pt x="1508" y="1933"/>
                </a:lnTo>
                <a:lnTo>
                  <a:pt x="1506" y="1931"/>
                </a:lnTo>
                <a:lnTo>
                  <a:pt x="1506" y="1929"/>
                </a:lnTo>
                <a:lnTo>
                  <a:pt x="1504" y="1928"/>
                </a:lnTo>
                <a:lnTo>
                  <a:pt x="1504" y="1926"/>
                </a:lnTo>
                <a:lnTo>
                  <a:pt x="1504" y="1924"/>
                </a:lnTo>
                <a:lnTo>
                  <a:pt x="1504" y="1922"/>
                </a:lnTo>
                <a:lnTo>
                  <a:pt x="1502" y="1922"/>
                </a:lnTo>
                <a:lnTo>
                  <a:pt x="1504" y="1922"/>
                </a:lnTo>
                <a:lnTo>
                  <a:pt x="1504" y="1924"/>
                </a:lnTo>
                <a:lnTo>
                  <a:pt x="1504" y="1926"/>
                </a:lnTo>
                <a:lnTo>
                  <a:pt x="1504" y="1928"/>
                </a:lnTo>
                <a:lnTo>
                  <a:pt x="1502" y="1928"/>
                </a:lnTo>
                <a:lnTo>
                  <a:pt x="1504" y="1928"/>
                </a:lnTo>
                <a:lnTo>
                  <a:pt x="1504" y="1929"/>
                </a:lnTo>
                <a:lnTo>
                  <a:pt x="1502" y="1929"/>
                </a:lnTo>
                <a:lnTo>
                  <a:pt x="1504" y="1929"/>
                </a:lnTo>
                <a:lnTo>
                  <a:pt x="1504" y="1931"/>
                </a:lnTo>
                <a:lnTo>
                  <a:pt x="1506" y="1931"/>
                </a:lnTo>
                <a:lnTo>
                  <a:pt x="1506" y="1933"/>
                </a:lnTo>
                <a:lnTo>
                  <a:pt x="1506" y="1935"/>
                </a:lnTo>
                <a:lnTo>
                  <a:pt x="1506" y="1937"/>
                </a:lnTo>
                <a:lnTo>
                  <a:pt x="1508" y="1937"/>
                </a:lnTo>
                <a:lnTo>
                  <a:pt x="1506" y="1937"/>
                </a:lnTo>
                <a:lnTo>
                  <a:pt x="1504" y="1937"/>
                </a:lnTo>
                <a:lnTo>
                  <a:pt x="1506" y="1939"/>
                </a:lnTo>
                <a:lnTo>
                  <a:pt x="1508" y="1939"/>
                </a:lnTo>
                <a:lnTo>
                  <a:pt x="1508" y="1941"/>
                </a:lnTo>
                <a:lnTo>
                  <a:pt x="1506" y="1941"/>
                </a:lnTo>
                <a:lnTo>
                  <a:pt x="1504" y="1941"/>
                </a:lnTo>
                <a:lnTo>
                  <a:pt x="1506" y="1941"/>
                </a:lnTo>
                <a:lnTo>
                  <a:pt x="1506" y="1943"/>
                </a:lnTo>
                <a:lnTo>
                  <a:pt x="1506" y="1941"/>
                </a:lnTo>
                <a:lnTo>
                  <a:pt x="1508" y="1941"/>
                </a:lnTo>
                <a:lnTo>
                  <a:pt x="1508" y="1943"/>
                </a:lnTo>
                <a:lnTo>
                  <a:pt x="1508" y="1945"/>
                </a:lnTo>
                <a:lnTo>
                  <a:pt x="1509" y="1945"/>
                </a:lnTo>
                <a:lnTo>
                  <a:pt x="1509" y="1947"/>
                </a:lnTo>
                <a:lnTo>
                  <a:pt x="1509" y="1949"/>
                </a:lnTo>
                <a:lnTo>
                  <a:pt x="1509" y="1951"/>
                </a:lnTo>
                <a:lnTo>
                  <a:pt x="1508" y="1951"/>
                </a:lnTo>
                <a:lnTo>
                  <a:pt x="1508" y="1949"/>
                </a:lnTo>
                <a:lnTo>
                  <a:pt x="1506" y="1949"/>
                </a:lnTo>
                <a:lnTo>
                  <a:pt x="1508" y="1949"/>
                </a:lnTo>
                <a:lnTo>
                  <a:pt x="1508" y="1951"/>
                </a:lnTo>
                <a:lnTo>
                  <a:pt x="1509" y="1951"/>
                </a:lnTo>
                <a:lnTo>
                  <a:pt x="1509" y="1952"/>
                </a:lnTo>
                <a:lnTo>
                  <a:pt x="1508" y="1952"/>
                </a:lnTo>
                <a:lnTo>
                  <a:pt x="1506" y="1952"/>
                </a:lnTo>
                <a:lnTo>
                  <a:pt x="1506" y="1951"/>
                </a:lnTo>
                <a:lnTo>
                  <a:pt x="1504" y="1951"/>
                </a:lnTo>
                <a:lnTo>
                  <a:pt x="1504" y="1952"/>
                </a:lnTo>
                <a:lnTo>
                  <a:pt x="1506" y="1952"/>
                </a:lnTo>
                <a:lnTo>
                  <a:pt x="1506" y="1954"/>
                </a:lnTo>
                <a:lnTo>
                  <a:pt x="1508" y="1954"/>
                </a:lnTo>
                <a:lnTo>
                  <a:pt x="1509" y="1954"/>
                </a:lnTo>
                <a:lnTo>
                  <a:pt x="1509" y="1956"/>
                </a:lnTo>
                <a:lnTo>
                  <a:pt x="1511" y="1956"/>
                </a:lnTo>
                <a:lnTo>
                  <a:pt x="1509" y="1958"/>
                </a:lnTo>
                <a:lnTo>
                  <a:pt x="1511" y="1958"/>
                </a:lnTo>
                <a:lnTo>
                  <a:pt x="1513" y="1958"/>
                </a:lnTo>
                <a:lnTo>
                  <a:pt x="1515" y="1960"/>
                </a:lnTo>
                <a:lnTo>
                  <a:pt x="1515" y="1958"/>
                </a:lnTo>
                <a:lnTo>
                  <a:pt x="1517" y="1958"/>
                </a:lnTo>
                <a:lnTo>
                  <a:pt x="1517" y="1960"/>
                </a:lnTo>
                <a:lnTo>
                  <a:pt x="1519" y="1960"/>
                </a:lnTo>
                <a:lnTo>
                  <a:pt x="1519" y="1962"/>
                </a:lnTo>
                <a:lnTo>
                  <a:pt x="1521" y="1962"/>
                </a:lnTo>
                <a:lnTo>
                  <a:pt x="1523" y="1962"/>
                </a:lnTo>
                <a:lnTo>
                  <a:pt x="1523" y="1964"/>
                </a:lnTo>
                <a:lnTo>
                  <a:pt x="1521" y="1966"/>
                </a:lnTo>
                <a:lnTo>
                  <a:pt x="1521" y="1968"/>
                </a:lnTo>
                <a:lnTo>
                  <a:pt x="1519" y="1968"/>
                </a:lnTo>
                <a:lnTo>
                  <a:pt x="1519" y="1970"/>
                </a:lnTo>
                <a:lnTo>
                  <a:pt x="1517" y="1970"/>
                </a:lnTo>
                <a:lnTo>
                  <a:pt x="1519" y="1970"/>
                </a:lnTo>
                <a:lnTo>
                  <a:pt x="1519" y="1972"/>
                </a:lnTo>
                <a:lnTo>
                  <a:pt x="1517" y="1972"/>
                </a:lnTo>
                <a:lnTo>
                  <a:pt x="1517" y="1974"/>
                </a:lnTo>
                <a:lnTo>
                  <a:pt x="1517" y="1976"/>
                </a:lnTo>
                <a:lnTo>
                  <a:pt x="1517" y="1977"/>
                </a:lnTo>
                <a:lnTo>
                  <a:pt x="1515" y="1977"/>
                </a:lnTo>
                <a:lnTo>
                  <a:pt x="1515" y="1979"/>
                </a:lnTo>
                <a:lnTo>
                  <a:pt x="1513" y="1979"/>
                </a:lnTo>
                <a:lnTo>
                  <a:pt x="1513" y="1981"/>
                </a:lnTo>
                <a:lnTo>
                  <a:pt x="1513" y="1983"/>
                </a:lnTo>
                <a:lnTo>
                  <a:pt x="1511" y="1983"/>
                </a:lnTo>
                <a:lnTo>
                  <a:pt x="1511" y="1981"/>
                </a:lnTo>
                <a:lnTo>
                  <a:pt x="1509" y="1981"/>
                </a:lnTo>
                <a:lnTo>
                  <a:pt x="1511" y="1979"/>
                </a:lnTo>
                <a:lnTo>
                  <a:pt x="1511" y="1981"/>
                </a:lnTo>
                <a:lnTo>
                  <a:pt x="1511" y="1979"/>
                </a:lnTo>
                <a:lnTo>
                  <a:pt x="1509" y="1979"/>
                </a:lnTo>
                <a:lnTo>
                  <a:pt x="1509" y="1977"/>
                </a:lnTo>
                <a:lnTo>
                  <a:pt x="1509" y="1976"/>
                </a:lnTo>
                <a:lnTo>
                  <a:pt x="1509" y="1977"/>
                </a:lnTo>
                <a:lnTo>
                  <a:pt x="1509" y="1979"/>
                </a:lnTo>
                <a:lnTo>
                  <a:pt x="1509" y="1981"/>
                </a:lnTo>
                <a:lnTo>
                  <a:pt x="1509" y="1983"/>
                </a:lnTo>
                <a:lnTo>
                  <a:pt x="1508" y="1983"/>
                </a:lnTo>
                <a:lnTo>
                  <a:pt x="1506" y="1981"/>
                </a:lnTo>
                <a:lnTo>
                  <a:pt x="1504" y="1981"/>
                </a:lnTo>
                <a:lnTo>
                  <a:pt x="1504" y="1979"/>
                </a:lnTo>
                <a:lnTo>
                  <a:pt x="1502" y="1977"/>
                </a:lnTo>
                <a:lnTo>
                  <a:pt x="1502" y="1976"/>
                </a:lnTo>
                <a:lnTo>
                  <a:pt x="1502" y="1974"/>
                </a:lnTo>
                <a:lnTo>
                  <a:pt x="1502" y="1972"/>
                </a:lnTo>
                <a:lnTo>
                  <a:pt x="1502" y="1970"/>
                </a:lnTo>
                <a:lnTo>
                  <a:pt x="1502" y="1968"/>
                </a:lnTo>
                <a:lnTo>
                  <a:pt x="1500" y="1966"/>
                </a:lnTo>
                <a:lnTo>
                  <a:pt x="1500" y="1964"/>
                </a:lnTo>
                <a:lnTo>
                  <a:pt x="1500" y="1962"/>
                </a:lnTo>
                <a:lnTo>
                  <a:pt x="1498" y="1962"/>
                </a:lnTo>
                <a:lnTo>
                  <a:pt x="1498" y="1960"/>
                </a:lnTo>
                <a:lnTo>
                  <a:pt x="1498" y="1958"/>
                </a:lnTo>
                <a:lnTo>
                  <a:pt x="1498" y="1956"/>
                </a:lnTo>
                <a:lnTo>
                  <a:pt x="1498" y="1954"/>
                </a:lnTo>
                <a:lnTo>
                  <a:pt x="1496" y="1954"/>
                </a:lnTo>
                <a:lnTo>
                  <a:pt x="1496" y="1952"/>
                </a:lnTo>
                <a:lnTo>
                  <a:pt x="1498" y="1952"/>
                </a:lnTo>
                <a:lnTo>
                  <a:pt x="1496" y="1952"/>
                </a:lnTo>
                <a:lnTo>
                  <a:pt x="1496" y="1951"/>
                </a:lnTo>
                <a:lnTo>
                  <a:pt x="1496" y="1949"/>
                </a:lnTo>
                <a:lnTo>
                  <a:pt x="1496" y="1947"/>
                </a:lnTo>
                <a:lnTo>
                  <a:pt x="1496" y="1945"/>
                </a:lnTo>
                <a:lnTo>
                  <a:pt x="1494" y="1945"/>
                </a:lnTo>
                <a:lnTo>
                  <a:pt x="1494" y="1943"/>
                </a:lnTo>
                <a:lnTo>
                  <a:pt x="1494" y="1941"/>
                </a:lnTo>
                <a:lnTo>
                  <a:pt x="1494" y="1939"/>
                </a:lnTo>
                <a:lnTo>
                  <a:pt x="1492" y="1939"/>
                </a:lnTo>
                <a:lnTo>
                  <a:pt x="1492" y="1937"/>
                </a:lnTo>
                <a:lnTo>
                  <a:pt x="1492" y="1939"/>
                </a:lnTo>
                <a:lnTo>
                  <a:pt x="1492" y="1941"/>
                </a:lnTo>
                <a:lnTo>
                  <a:pt x="1492" y="1943"/>
                </a:lnTo>
                <a:lnTo>
                  <a:pt x="1494" y="1943"/>
                </a:lnTo>
                <a:lnTo>
                  <a:pt x="1494" y="1945"/>
                </a:lnTo>
                <a:lnTo>
                  <a:pt x="1492" y="1945"/>
                </a:lnTo>
                <a:lnTo>
                  <a:pt x="1492" y="1943"/>
                </a:lnTo>
                <a:lnTo>
                  <a:pt x="1492" y="1945"/>
                </a:lnTo>
                <a:lnTo>
                  <a:pt x="1492" y="1947"/>
                </a:lnTo>
                <a:lnTo>
                  <a:pt x="1492" y="1945"/>
                </a:lnTo>
                <a:lnTo>
                  <a:pt x="1490" y="1945"/>
                </a:lnTo>
                <a:lnTo>
                  <a:pt x="1490" y="1947"/>
                </a:lnTo>
                <a:lnTo>
                  <a:pt x="1488" y="1947"/>
                </a:lnTo>
                <a:lnTo>
                  <a:pt x="1486" y="1945"/>
                </a:lnTo>
                <a:lnTo>
                  <a:pt x="1486" y="1947"/>
                </a:lnTo>
                <a:lnTo>
                  <a:pt x="1488" y="1947"/>
                </a:lnTo>
                <a:lnTo>
                  <a:pt x="1490" y="1947"/>
                </a:lnTo>
                <a:lnTo>
                  <a:pt x="1490" y="1949"/>
                </a:lnTo>
                <a:lnTo>
                  <a:pt x="1490" y="1951"/>
                </a:lnTo>
                <a:lnTo>
                  <a:pt x="1490" y="1952"/>
                </a:lnTo>
                <a:lnTo>
                  <a:pt x="1492" y="1952"/>
                </a:lnTo>
                <a:lnTo>
                  <a:pt x="1492" y="1954"/>
                </a:lnTo>
                <a:lnTo>
                  <a:pt x="1492" y="1956"/>
                </a:lnTo>
                <a:lnTo>
                  <a:pt x="1492" y="1958"/>
                </a:lnTo>
                <a:lnTo>
                  <a:pt x="1490" y="1958"/>
                </a:lnTo>
                <a:lnTo>
                  <a:pt x="1490" y="1956"/>
                </a:lnTo>
                <a:lnTo>
                  <a:pt x="1488" y="1956"/>
                </a:lnTo>
                <a:lnTo>
                  <a:pt x="1486" y="1956"/>
                </a:lnTo>
                <a:lnTo>
                  <a:pt x="1488" y="1956"/>
                </a:lnTo>
                <a:lnTo>
                  <a:pt x="1490" y="1956"/>
                </a:lnTo>
                <a:lnTo>
                  <a:pt x="1488" y="1956"/>
                </a:lnTo>
                <a:lnTo>
                  <a:pt x="1490" y="1958"/>
                </a:lnTo>
                <a:lnTo>
                  <a:pt x="1490" y="1960"/>
                </a:lnTo>
                <a:lnTo>
                  <a:pt x="1488" y="1960"/>
                </a:lnTo>
                <a:lnTo>
                  <a:pt x="1488" y="1962"/>
                </a:lnTo>
                <a:lnTo>
                  <a:pt x="1488" y="1964"/>
                </a:lnTo>
                <a:lnTo>
                  <a:pt x="1486" y="1964"/>
                </a:lnTo>
                <a:lnTo>
                  <a:pt x="1486" y="1966"/>
                </a:lnTo>
                <a:lnTo>
                  <a:pt x="1484" y="1966"/>
                </a:lnTo>
                <a:lnTo>
                  <a:pt x="1484" y="1964"/>
                </a:lnTo>
                <a:lnTo>
                  <a:pt x="1483" y="1964"/>
                </a:lnTo>
                <a:lnTo>
                  <a:pt x="1483" y="1962"/>
                </a:lnTo>
                <a:lnTo>
                  <a:pt x="1483" y="1964"/>
                </a:lnTo>
                <a:lnTo>
                  <a:pt x="1483" y="1966"/>
                </a:lnTo>
                <a:lnTo>
                  <a:pt x="1481" y="1966"/>
                </a:lnTo>
                <a:lnTo>
                  <a:pt x="1479" y="1966"/>
                </a:lnTo>
                <a:lnTo>
                  <a:pt x="1479" y="1964"/>
                </a:lnTo>
                <a:lnTo>
                  <a:pt x="1479" y="1966"/>
                </a:lnTo>
                <a:lnTo>
                  <a:pt x="1479" y="1968"/>
                </a:lnTo>
                <a:lnTo>
                  <a:pt x="1479" y="1966"/>
                </a:lnTo>
                <a:lnTo>
                  <a:pt x="1477" y="1966"/>
                </a:lnTo>
                <a:lnTo>
                  <a:pt x="1475" y="1966"/>
                </a:lnTo>
                <a:lnTo>
                  <a:pt x="1475" y="1964"/>
                </a:lnTo>
                <a:lnTo>
                  <a:pt x="1475" y="1962"/>
                </a:lnTo>
                <a:lnTo>
                  <a:pt x="1473" y="1962"/>
                </a:lnTo>
                <a:lnTo>
                  <a:pt x="1473" y="1960"/>
                </a:lnTo>
                <a:lnTo>
                  <a:pt x="1473" y="1958"/>
                </a:lnTo>
                <a:lnTo>
                  <a:pt x="1473" y="1956"/>
                </a:lnTo>
                <a:lnTo>
                  <a:pt x="1473" y="1954"/>
                </a:lnTo>
                <a:lnTo>
                  <a:pt x="1473" y="1952"/>
                </a:lnTo>
                <a:lnTo>
                  <a:pt x="1471" y="1952"/>
                </a:lnTo>
                <a:lnTo>
                  <a:pt x="1473" y="1952"/>
                </a:lnTo>
                <a:lnTo>
                  <a:pt x="1473" y="1951"/>
                </a:lnTo>
                <a:lnTo>
                  <a:pt x="1473" y="1949"/>
                </a:lnTo>
                <a:lnTo>
                  <a:pt x="1473" y="1947"/>
                </a:lnTo>
                <a:lnTo>
                  <a:pt x="1473" y="1949"/>
                </a:lnTo>
                <a:lnTo>
                  <a:pt x="1475" y="1949"/>
                </a:lnTo>
                <a:lnTo>
                  <a:pt x="1475" y="1951"/>
                </a:lnTo>
                <a:lnTo>
                  <a:pt x="1475" y="1952"/>
                </a:lnTo>
                <a:lnTo>
                  <a:pt x="1475" y="1954"/>
                </a:lnTo>
                <a:lnTo>
                  <a:pt x="1475" y="1956"/>
                </a:lnTo>
                <a:lnTo>
                  <a:pt x="1477" y="1956"/>
                </a:lnTo>
                <a:lnTo>
                  <a:pt x="1477" y="1958"/>
                </a:lnTo>
                <a:lnTo>
                  <a:pt x="1477" y="1956"/>
                </a:lnTo>
                <a:lnTo>
                  <a:pt x="1477" y="1958"/>
                </a:lnTo>
                <a:lnTo>
                  <a:pt x="1477" y="1956"/>
                </a:lnTo>
                <a:lnTo>
                  <a:pt x="1477" y="1954"/>
                </a:lnTo>
                <a:lnTo>
                  <a:pt x="1477" y="1952"/>
                </a:lnTo>
                <a:lnTo>
                  <a:pt x="1477" y="1951"/>
                </a:lnTo>
                <a:lnTo>
                  <a:pt x="1475" y="1951"/>
                </a:lnTo>
                <a:lnTo>
                  <a:pt x="1475" y="1949"/>
                </a:lnTo>
                <a:lnTo>
                  <a:pt x="1477" y="1949"/>
                </a:lnTo>
                <a:lnTo>
                  <a:pt x="1479" y="1949"/>
                </a:lnTo>
                <a:lnTo>
                  <a:pt x="1477" y="1949"/>
                </a:lnTo>
                <a:lnTo>
                  <a:pt x="1475" y="1949"/>
                </a:lnTo>
                <a:lnTo>
                  <a:pt x="1475" y="1947"/>
                </a:lnTo>
                <a:lnTo>
                  <a:pt x="1477" y="1947"/>
                </a:lnTo>
                <a:lnTo>
                  <a:pt x="1479" y="1947"/>
                </a:lnTo>
                <a:lnTo>
                  <a:pt x="1479" y="1949"/>
                </a:lnTo>
                <a:lnTo>
                  <a:pt x="1479" y="1947"/>
                </a:lnTo>
                <a:lnTo>
                  <a:pt x="1481" y="1947"/>
                </a:lnTo>
                <a:lnTo>
                  <a:pt x="1479" y="1947"/>
                </a:lnTo>
                <a:lnTo>
                  <a:pt x="1479" y="1945"/>
                </a:lnTo>
                <a:lnTo>
                  <a:pt x="1479" y="1947"/>
                </a:lnTo>
                <a:lnTo>
                  <a:pt x="1479" y="1945"/>
                </a:lnTo>
                <a:lnTo>
                  <a:pt x="1479" y="1943"/>
                </a:lnTo>
                <a:lnTo>
                  <a:pt x="1479" y="1945"/>
                </a:lnTo>
                <a:lnTo>
                  <a:pt x="1479" y="1947"/>
                </a:lnTo>
                <a:lnTo>
                  <a:pt x="1477" y="1947"/>
                </a:lnTo>
                <a:lnTo>
                  <a:pt x="1475" y="1947"/>
                </a:lnTo>
                <a:lnTo>
                  <a:pt x="1475" y="1945"/>
                </a:lnTo>
                <a:lnTo>
                  <a:pt x="1475" y="1943"/>
                </a:lnTo>
                <a:lnTo>
                  <a:pt x="1477" y="1943"/>
                </a:lnTo>
                <a:lnTo>
                  <a:pt x="1475" y="1943"/>
                </a:lnTo>
                <a:lnTo>
                  <a:pt x="1475" y="1941"/>
                </a:lnTo>
                <a:lnTo>
                  <a:pt x="1477" y="1941"/>
                </a:lnTo>
                <a:lnTo>
                  <a:pt x="1475" y="1941"/>
                </a:lnTo>
                <a:lnTo>
                  <a:pt x="1477" y="1941"/>
                </a:lnTo>
                <a:lnTo>
                  <a:pt x="1479" y="1941"/>
                </a:lnTo>
                <a:lnTo>
                  <a:pt x="1477" y="1941"/>
                </a:lnTo>
                <a:lnTo>
                  <a:pt x="1477" y="1943"/>
                </a:lnTo>
                <a:lnTo>
                  <a:pt x="1477" y="1941"/>
                </a:lnTo>
                <a:lnTo>
                  <a:pt x="1477" y="1943"/>
                </a:lnTo>
                <a:lnTo>
                  <a:pt x="1477" y="1945"/>
                </a:lnTo>
                <a:lnTo>
                  <a:pt x="1477" y="1943"/>
                </a:lnTo>
                <a:lnTo>
                  <a:pt x="1479" y="1943"/>
                </a:lnTo>
                <a:lnTo>
                  <a:pt x="1479" y="1941"/>
                </a:lnTo>
                <a:lnTo>
                  <a:pt x="1479" y="1943"/>
                </a:lnTo>
                <a:lnTo>
                  <a:pt x="1481" y="1943"/>
                </a:lnTo>
                <a:lnTo>
                  <a:pt x="1479" y="1941"/>
                </a:lnTo>
                <a:lnTo>
                  <a:pt x="1479" y="1939"/>
                </a:lnTo>
                <a:lnTo>
                  <a:pt x="1477" y="1939"/>
                </a:lnTo>
                <a:lnTo>
                  <a:pt x="1477" y="1937"/>
                </a:lnTo>
                <a:lnTo>
                  <a:pt x="1479" y="1937"/>
                </a:lnTo>
                <a:lnTo>
                  <a:pt x="1477" y="1937"/>
                </a:lnTo>
                <a:lnTo>
                  <a:pt x="1477" y="1939"/>
                </a:lnTo>
                <a:lnTo>
                  <a:pt x="1475" y="1939"/>
                </a:lnTo>
                <a:lnTo>
                  <a:pt x="1475" y="1937"/>
                </a:lnTo>
                <a:lnTo>
                  <a:pt x="1475" y="1935"/>
                </a:lnTo>
                <a:lnTo>
                  <a:pt x="1477" y="1935"/>
                </a:lnTo>
                <a:lnTo>
                  <a:pt x="1475" y="1935"/>
                </a:lnTo>
                <a:lnTo>
                  <a:pt x="1477" y="1935"/>
                </a:lnTo>
                <a:lnTo>
                  <a:pt x="1477" y="1937"/>
                </a:lnTo>
                <a:lnTo>
                  <a:pt x="1477" y="1935"/>
                </a:lnTo>
                <a:lnTo>
                  <a:pt x="1479" y="1935"/>
                </a:lnTo>
                <a:lnTo>
                  <a:pt x="1479" y="1933"/>
                </a:lnTo>
                <a:lnTo>
                  <a:pt x="1481" y="1933"/>
                </a:lnTo>
                <a:lnTo>
                  <a:pt x="1479" y="1933"/>
                </a:lnTo>
                <a:lnTo>
                  <a:pt x="1479" y="1931"/>
                </a:lnTo>
                <a:lnTo>
                  <a:pt x="1479" y="1929"/>
                </a:lnTo>
                <a:lnTo>
                  <a:pt x="1479" y="1928"/>
                </a:lnTo>
                <a:lnTo>
                  <a:pt x="1481" y="1928"/>
                </a:lnTo>
                <a:lnTo>
                  <a:pt x="1481" y="1926"/>
                </a:lnTo>
                <a:lnTo>
                  <a:pt x="1481" y="1928"/>
                </a:lnTo>
                <a:lnTo>
                  <a:pt x="1481" y="1926"/>
                </a:lnTo>
                <a:lnTo>
                  <a:pt x="1481" y="1928"/>
                </a:lnTo>
                <a:lnTo>
                  <a:pt x="1479" y="1928"/>
                </a:lnTo>
                <a:lnTo>
                  <a:pt x="1481" y="1928"/>
                </a:lnTo>
                <a:lnTo>
                  <a:pt x="1479" y="1928"/>
                </a:lnTo>
                <a:lnTo>
                  <a:pt x="1479" y="1926"/>
                </a:lnTo>
                <a:lnTo>
                  <a:pt x="1481" y="1926"/>
                </a:lnTo>
                <a:lnTo>
                  <a:pt x="1479" y="1926"/>
                </a:lnTo>
                <a:lnTo>
                  <a:pt x="1479" y="1924"/>
                </a:lnTo>
                <a:lnTo>
                  <a:pt x="1479" y="1926"/>
                </a:lnTo>
                <a:lnTo>
                  <a:pt x="1477" y="1926"/>
                </a:lnTo>
                <a:lnTo>
                  <a:pt x="1477" y="1924"/>
                </a:lnTo>
                <a:lnTo>
                  <a:pt x="1479" y="1924"/>
                </a:lnTo>
                <a:lnTo>
                  <a:pt x="1479" y="1922"/>
                </a:lnTo>
                <a:lnTo>
                  <a:pt x="1479" y="1924"/>
                </a:lnTo>
                <a:lnTo>
                  <a:pt x="1477" y="1924"/>
                </a:lnTo>
                <a:lnTo>
                  <a:pt x="1477" y="1922"/>
                </a:lnTo>
                <a:lnTo>
                  <a:pt x="1477" y="1920"/>
                </a:lnTo>
                <a:lnTo>
                  <a:pt x="1479" y="1920"/>
                </a:lnTo>
                <a:lnTo>
                  <a:pt x="1477" y="1918"/>
                </a:lnTo>
                <a:lnTo>
                  <a:pt x="1475" y="1918"/>
                </a:lnTo>
                <a:lnTo>
                  <a:pt x="1477" y="1918"/>
                </a:lnTo>
                <a:lnTo>
                  <a:pt x="1477" y="1916"/>
                </a:lnTo>
                <a:lnTo>
                  <a:pt x="1479" y="1916"/>
                </a:lnTo>
                <a:lnTo>
                  <a:pt x="1479" y="1914"/>
                </a:lnTo>
                <a:lnTo>
                  <a:pt x="1481" y="1914"/>
                </a:lnTo>
                <a:lnTo>
                  <a:pt x="1483" y="1914"/>
                </a:lnTo>
                <a:lnTo>
                  <a:pt x="1484" y="1914"/>
                </a:lnTo>
                <a:lnTo>
                  <a:pt x="1484" y="1916"/>
                </a:lnTo>
                <a:lnTo>
                  <a:pt x="1484" y="1918"/>
                </a:lnTo>
                <a:lnTo>
                  <a:pt x="1484" y="1916"/>
                </a:lnTo>
                <a:lnTo>
                  <a:pt x="1484" y="1914"/>
                </a:lnTo>
                <a:lnTo>
                  <a:pt x="1484" y="1912"/>
                </a:lnTo>
                <a:lnTo>
                  <a:pt x="1483" y="1912"/>
                </a:lnTo>
                <a:lnTo>
                  <a:pt x="1484" y="1912"/>
                </a:lnTo>
                <a:lnTo>
                  <a:pt x="1484" y="1910"/>
                </a:lnTo>
                <a:lnTo>
                  <a:pt x="1486" y="1910"/>
                </a:lnTo>
                <a:lnTo>
                  <a:pt x="1486" y="1908"/>
                </a:lnTo>
                <a:lnTo>
                  <a:pt x="1488" y="1908"/>
                </a:lnTo>
                <a:lnTo>
                  <a:pt x="1488" y="1910"/>
                </a:lnTo>
                <a:lnTo>
                  <a:pt x="1488" y="1912"/>
                </a:lnTo>
                <a:lnTo>
                  <a:pt x="1488" y="1914"/>
                </a:lnTo>
                <a:lnTo>
                  <a:pt x="1488" y="1916"/>
                </a:lnTo>
                <a:lnTo>
                  <a:pt x="1488" y="1918"/>
                </a:lnTo>
                <a:lnTo>
                  <a:pt x="1488" y="1920"/>
                </a:lnTo>
                <a:lnTo>
                  <a:pt x="1488" y="1922"/>
                </a:lnTo>
                <a:lnTo>
                  <a:pt x="1488" y="1924"/>
                </a:lnTo>
                <a:lnTo>
                  <a:pt x="1488" y="1926"/>
                </a:lnTo>
                <a:lnTo>
                  <a:pt x="1488" y="1928"/>
                </a:lnTo>
                <a:lnTo>
                  <a:pt x="1490" y="1928"/>
                </a:lnTo>
                <a:lnTo>
                  <a:pt x="1490" y="1926"/>
                </a:lnTo>
                <a:lnTo>
                  <a:pt x="1488" y="1926"/>
                </a:lnTo>
                <a:lnTo>
                  <a:pt x="1490" y="1926"/>
                </a:lnTo>
                <a:lnTo>
                  <a:pt x="1488" y="1924"/>
                </a:lnTo>
                <a:lnTo>
                  <a:pt x="1488" y="1922"/>
                </a:lnTo>
                <a:lnTo>
                  <a:pt x="1490" y="1920"/>
                </a:lnTo>
                <a:lnTo>
                  <a:pt x="1488" y="1920"/>
                </a:lnTo>
                <a:lnTo>
                  <a:pt x="1490" y="1920"/>
                </a:lnTo>
                <a:lnTo>
                  <a:pt x="1488" y="1920"/>
                </a:lnTo>
                <a:lnTo>
                  <a:pt x="1488" y="1918"/>
                </a:lnTo>
                <a:lnTo>
                  <a:pt x="1490" y="1918"/>
                </a:lnTo>
                <a:lnTo>
                  <a:pt x="1488" y="1918"/>
                </a:lnTo>
                <a:lnTo>
                  <a:pt x="1490" y="1918"/>
                </a:lnTo>
                <a:lnTo>
                  <a:pt x="1490" y="1916"/>
                </a:lnTo>
                <a:lnTo>
                  <a:pt x="1488" y="1916"/>
                </a:lnTo>
                <a:lnTo>
                  <a:pt x="1488" y="1914"/>
                </a:lnTo>
                <a:lnTo>
                  <a:pt x="1490" y="1914"/>
                </a:lnTo>
                <a:lnTo>
                  <a:pt x="1490" y="1912"/>
                </a:lnTo>
                <a:lnTo>
                  <a:pt x="1488" y="1912"/>
                </a:lnTo>
                <a:lnTo>
                  <a:pt x="1488" y="1910"/>
                </a:lnTo>
                <a:lnTo>
                  <a:pt x="1490" y="1910"/>
                </a:lnTo>
                <a:lnTo>
                  <a:pt x="1490" y="1908"/>
                </a:lnTo>
                <a:lnTo>
                  <a:pt x="1490" y="1906"/>
                </a:lnTo>
                <a:lnTo>
                  <a:pt x="1490" y="1904"/>
                </a:lnTo>
                <a:lnTo>
                  <a:pt x="1488" y="1904"/>
                </a:lnTo>
                <a:lnTo>
                  <a:pt x="1488" y="1903"/>
                </a:lnTo>
                <a:lnTo>
                  <a:pt x="1488" y="1901"/>
                </a:lnTo>
                <a:lnTo>
                  <a:pt x="1490" y="1901"/>
                </a:lnTo>
                <a:lnTo>
                  <a:pt x="1490" y="1899"/>
                </a:lnTo>
                <a:lnTo>
                  <a:pt x="1492" y="1899"/>
                </a:lnTo>
                <a:lnTo>
                  <a:pt x="1494" y="1899"/>
                </a:lnTo>
                <a:lnTo>
                  <a:pt x="1494" y="1901"/>
                </a:lnTo>
                <a:lnTo>
                  <a:pt x="1494" y="1903"/>
                </a:lnTo>
                <a:lnTo>
                  <a:pt x="1496" y="1903"/>
                </a:lnTo>
                <a:lnTo>
                  <a:pt x="1496" y="1904"/>
                </a:lnTo>
                <a:lnTo>
                  <a:pt x="1494" y="1904"/>
                </a:lnTo>
                <a:lnTo>
                  <a:pt x="1496" y="1904"/>
                </a:lnTo>
                <a:lnTo>
                  <a:pt x="1496" y="1903"/>
                </a:lnTo>
                <a:lnTo>
                  <a:pt x="1496" y="1901"/>
                </a:lnTo>
                <a:lnTo>
                  <a:pt x="1498" y="1901"/>
                </a:lnTo>
                <a:lnTo>
                  <a:pt x="1498" y="1903"/>
                </a:lnTo>
                <a:lnTo>
                  <a:pt x="1498" y="1901"/>
                </a:lnTo>
                <a:lnTo>
                  <a:pt x="1496" y="1901"/>
                </a:lnTo>
                <a:lnTo>
                  <a:pt x="1496" y="1899"/>
                </a:lnTo>
                <a:lnTo>
                  <a:pt x="1498" y="1899"/>
                </a:lnTo>
                <a:lnTo>
                  <a:pt x="1498" y="1897"/>
                </a:lnTo>
                <a:lnTo>
                  <a:pt x="1498" y="1895"/>
                </a:lnTo>
                <a:lnTo>
                  <a:pt x="1500" y="1895"/>
                </a:lnTo>
                <a:lnTo>
                  <a:pt x="1500" y="1897"/>
                </a:lnTo>
                <a:lnTo>
                  <a:pt x="1502" y="1897"/>
                </a:lnTo>
                <a:lnTo>
                  <a:pt x="1500" y="1897"/>
                </a:lnTo>
                <a:lnTo>
                  <a:pt x="1500" y="1899"/>
                </a:lnTo>
                <a:lnTo>
                  <a:pt x="1500" y="1901"/>
                </a:lnTo>
                <a:lnTo>
                  <a:pt x="1500" y="1903"/>
                </a:lnTo>
                <a:lnTo>
                  <a:pt x="1500" y="1904"/>
                </a:lnTo>
                <a:lnTo>
                  <a:pt x="1498" y="1904"/>
                </a:lnTo>
                <a:lnTo>
                  <a:pt x="1498" y="1906"/>
                </a:lnTo>
                <a:lnTo>
                  <a:pt x="1498" y="1908"/>
                </a:lnTo>
                <a:lnTo>
                  <a:pt x="1498" y="1910"/>
                </a:lnTo>
                <a:lnTo>
                  <a:pt x="1498" y="1912"/>
                </a:lnTo>
                <a:lnTo>
                  <a:pt x="1500" y="1912"/>
                </a:lnTo>
                <a:lnTo>
                  <a:pt x="1500" y="1910"/>
                </a:lnTo>
                <a:lnTo>
                  <a:pt x="1498" y="1910"/>
                </a:lnTo>
                <a:lnTo>
                  <a:pt x="1498" y="1908"/>
                </a:lnTo>
                <a:lnTo>
                  <a:pt x="1498" y="1906"/>
                </a:lnTo>
                <a:lnTo>
                  <a:pt x="1500" y="1906"/>
                </a:lnTo>
                <a:lnTo>
                  <a:pt x="1500" y="1904"/>
                </a:lnTo>
                <a:lnTo>
                  <a:pt x="1502" y="1904"/>
                </a:lnTo>
                <a:lnTo>
                  <a:pt x="1502" y="1903"/>
                </a:lnTo>
                <a:lnTo>
                  <a:pt x="1502" y="1901"/>
                </a:lnTo>
                <a:lnTo>
                  <a:pt x="1504" y="1901"/>
                </a:lnTo>
                <a:lnTo>
                  <a:pt x="1506" y="1901"/>
                </a:lnTo>
                <a:lnTo>
                  <a:pt x="1508" y="1901"/>
                </a:lnTo>
                <a:lnTo>
                  <a:pt x="1508" y="1903"/>
                </a:lnTo>
                <a:lnTo>
                  <a:pt x="1508" y="1904"/>
                </a:lnTo>
                <a:lnTo>
                  <a:pt x="1508" y="1906"/>
                </a:lnTo>
                <a:lnTo>
                  <a:pt x="1509" y="1906"/>
                </a:lnTo>
                <a:lnTo>
                  <a:pt x="1509" y="1908"/>
                </a:lnTo>
                <a:lnTo>
                  <a:pt x="1509" y="1906"/>
                </a:lnTo>
                <a:lnTo>
                  <a:pt x="1511" y="1906"/>
                </a:lnTo>
                <a:lnTo>
                  <a:pt x="1509" y="1906"/>
                </a:lnTo>
                <a:lnTo>
                  <a:pt x="1511" y="1906"/>
                </a:lnTo>
                <a:lnTo>
                  <a:pt x="1513" y="1906"/>
                </a:lnTo>
                <a:lnTo>
                  <a:pt x="1515" y="1906"/>
                </a:lnTo>
                <a:lnTo>
                  <a:pt x="1517" y="1906"/>
                </a:lnTo>
                <a:lnTo>
                  <a:pt x="1519" y="1906"/>
                </a:lnTo>
                <a:lnTo>
                  <a:pt x="1521" y="1906"/>
                </a:lnTo>
                <a:lnTo>
                  <a:pt x="1521" y="1908"/>
                </a:lnTo>
                <a:close/>
                <a:moveTo>
                  <a:pt x="1567" y="1943"/>
                </a:moveTo>
                <a:lnTo>
                  <a:pt x="1567" y="1941"/>
                </a:lnTo>
                <a:lnTo>
                  <a:pt x="1567" y="1943"/>
                </a:lnTo>
                <a:close/>
                <a:moveTo>
                  <a:pt x="1498" y="1885"/>
                </a:moveTo>
                <a:lnTo>
                  <a:pt x="1498" y="1887"/>
                </a:lnTo>
                <a:lnTo>
                  <a:pt x="1498" y="1885"/>
                </a:lnTo>
                <a:close/>
                <a:moveTo>
                  <a:pt x="1513" y="1899"/>
                </a:moveTo>
                <a:lnTo>
                  <a:pt x="1513" y="1901"/>
                </a:lnTo>
                <a:lnTo>
                  <a:pt x="1511" y="1901"/>
                </a:lnTo>
                <a:lnTo>
                  <a:pt x="1511" y="1899"/>
                </a:lnTo>
                <a:lnTo>
                  <a:pt x="1509" y="1899"/>
                </a:lnTo>
                <a:lnTo>
                  <a:pt x="1509" y="1901"/>
                </a:lnTo>
                <a:lnTo>
                  <a:pt x="1509" y="1899"/>
                </a:lnTo>
                <a:lnTo>
                  <a:pt x="1508" y="1899"/>
                </a:lnTo>
                <a:lnTo>
                  <a:pt x="1508" y="1897"/>
                </a:lnTo>
                <a:lnTo>
                  <a:pt x="1509" y="1897"/>
                </a:lnTo>
                <a:lnTo>
                  <a:pt x="1511" y="1897"/>
                </a:lnTo>
                <a:lnTo>
                  <a:pt x="1513" y="1897"/>
                </a:lnTo>
                <a:lnTo>
                  <a:pt x="1515" y="1897"/>
                </a:lnTo>
                <a:lnTo>
                  <a:pt x="1513" y="1899"/>
                </a:lnTo>
                <a:close/>
                <a:moveTo>
                  <a:pt x="1534" y="1914"/>
                </a:moveTo>
                <a:lnTo>
                  <a:pt x="1534" y="1912"/>
                </a:lnTo>
                <a:lnTo>
                  <a:pt x="1534" y="1914"/>
                </a:lnTo>
                <a:close/>
                <a:moveTo>
                  <a:pt x="1037" y="1382"/>
                </a:moveTo>
                <a:lnTo>
                  <a:pt x="1035" y="1382"/>
                </a:lnTo>
                <a:lnTo>
                  <a:pt x="1035" y="1380"/>
                </a:lnTo>
                <a:lnTo>
                  <a:pt x="1037" y="1380"/>
                </a:lnTo>
                <a:lnTo>
                  <a:pt x="1037" y="1382"/>
                </a:lnTo>
                <a:close/>
                <a:moveTo>
                  <a:pt x="1026" y="1363"/>
                </a:moveTo>
                <a:lnTo>
                  <a:pt x="1026" y="1365"/>
                </a:lnTo>
                <a:lnTo>
                  <a:pt x="1026" y="1367"/>
                </a:lnTo>
                <a:lnTo>
                  <a:pt x="1024" y="1369"/>
                </a:lnTo>
                <a:lnTo>
                  <a:pt x="1024" y="1367"/>
                </a:lnTo>
                <a:lnTo>
                  <a:pt x="1024" y="1365"/>
                </a:lnTo>
                <a:lnTo>
                  <a:pt x="1022" y="1365"/>
                </a:lnTo>
                <a:lnTo>
                  <a:pt x="1022" y="1363"/>
                </a:lnTo>
                <a:lnTo>
                  <a:pt x="1022" y="1361"/>
                </a:lnTo>
                <a:lnTo>
                  <a:pt x="1024" y="1361"/>
                </a:lnTo>
                <a:lnTo>
                  <a:pt x="1026" y="1363"/>
                </a:lnTo>
                <a:close/>
                <a:moveTo>
                  <a:pt x="1567" y="1937"/>
                </a:moveTo>
                <a:lnTo>
                  <a:pt x="1567" y="1939"/>
                </a:lnTo>
                <a:lnTo>
                  <a:pt x="1567" y="1941"/>
                </a:lnTo>
                <a:lnTo>
                  <a:pt x="1567" y="1943"/>
                </a:lnTo>
                <a:lnTo>
                  <a:pt x="1567" y="1945"/>
                </a:lnTo>
                <a:lnTo>
                  <a:pt x="1567" y="1947"/>
                </a:lnTo>
                <a:lnTo>
                  <a:pt x="1567" y="1949"/>
                </a:lnTo>
                <a:lnTo>
                  <a:pt x="1569" y="1949"/>
                </a:lnTo>
                <a:lnTo>
                  <a:pt x="1569" y="1951"/>
                </a:lnTo>
                <a:lnTo>
                  <a:pt x="1569" y="1952"/>
                </a:lnTo>
                <a:lnTo>
                  <a:pt x="1567" y="1954"/>
                </a:lnTo>
                <a:lnTo>
                  <a:pt x="1567" y="1952"/>
                </a:lnTo>
                <a:lnTo>
                  <a:pt x="1565" y="1952"/>
                </a:lnTo>
                <a:lnTo>
                  <a:pt x="1565" y="1951"/>
                </a:lnTo>
                <a:lnTo>
                  <a:pt x="1565" y="1949"/>
                </a:lnTo>
                <a:lnTo>
                  <a:pt x="1563" y="1949"/>
                </a:lnTo>
                <a:lnTo>
                  <a:pt x="1563" y="1947"/>
                </a:lnTo>
                <a:lnTo>
                  <a:pt x="1563" y="1945"/>
                </a:lnTo>
                <a:lnTo>
                  <a:pt x="1561" y="1945"/>
                </a:lnTo>
                <a:lnTo>
                  <a:pt x="1559" y="1945"/>
                </a:lnTo>
                <a:lnTo>
                  <a:pt x="1559" y="1943"/>
                </a:lnTo>
                <a:lnTo>
                  <a:pt x="1559" y="1941"/>
                </a:lnTo>
                <a:lnTo>
                  <a:pt x="1557" y="1941"/>
                </a:lnTo>
                <a:lnTo>
                  <a:pt x="1557" y="1939"/>
                </a:lnTo>
                <a:lnTo>
                  <a:pt x="1557" y="1937"/>
                </a:lnTo>
                <a:lnTo>
                  <a:pt x="1559" y="1937"/>
                </a:lnTo>
                <a:lnTo>
                  <a:pt x="1559" y="1935"/>
                </a:lnTo>
                <a:lnTo>
                  <a:pt x="1561" y="1935"/>
                </a:lnTo>
                <a:lnTo>
                  <a:pt x="1563" y="1935"/>
                </a:lnTo>
                <a:lnTo>
                  <a:pt x="1565" y="1935"/>
                </a:lnTo>
                <a:lnTo>
                  <a:pt x="1565" y="1937"/>
                </a:lnTo>
                <a:lnTo>
                  <a:pt x="1567" y="1937"/>
                </a:lnTo>
                <a:close/>
                <a:moveTo>
                  <a:pt x="1567" y="1937"/>
                </a:moveTo>
                <a:lnTo>
                  <a:pt x="1567" y="1935"/>
                </a:lnTo>
                <a:lnTo>
                  <a:pt x="1565" y="1935"/>
                </a:lnTo>
                <a:lnTo>
                  <a:pt x="1567" y="1935"/>
                </a:lnTo>
                <a:lnTo>
                  <a:pt x="1567" y="1937"/>
                </a:lnTo>
                <a:close/>
                <a:moveTo>
                  <a:pt x="1531" y="1904"/>
                </a:moveTo>
                <a:lnTo>
                  <a:pt x="1532" y="1904"/>
                </a:lnTo>
                <a:lnTo>
                  <a:pt x="1532" y="1906"/>
                </a:lnTo>
                <a:lnTo>
                  <a:pt x="1532" y="1908"/>
                </a:lnTo>
                <a:lnTo>
                  <a:pt x="1532" y="1910"/>
                </a:lnTo>
                <a:lnTo>
                  <a:pt x="1531" y="1910"/>
                </a:lnTo>
                <a:lnTo>
                  <a:pt x="1531" y="1908"/>
                </a:lnTo>
                <a:lnTo>
                  <a:pt x="1529" y="1908"/>
                </a:lnTo>
                <a:lnTo>
                  <a:pt x="1529" y="1906"/>
                </a:lnTo>
                <a:lnTo>
                  <a:pt x="1527" y="1906"/>
                </a:lnTo>
                <a:lnTo>
                  <a:pt x="1527" y="1904"/>
                </a:lnTo>
                <a:lnTo>
                  <a:pt x="1527" y="1903"/>
                </a:lnTo>
                <a:lnTo>
                  <a:pt x="1529" y="1903"/>
                </a:lnTo>
                <a:lnTo>
                  <a:pt x="1531" y="1903"/>
                </a:lnTo>
                <a:lnTo>
                  <a:pt x="1531" y="1904"/>
                </a:lnTo>
                <a:close/>
                <a:moveTo>
                  <a:pt x="1045" y="1384"/>
                </a:moveTo>
                <a:lnTo>
                  <a:pt x="1043" y="1384"/>
                </a:lnTo>
                <a:lnTo>
                  <a:pt x="1045" y="1384"/>
                </a:lnTo>
                <a:lnTo>
                  <a:pt x="1043" y="1384"/>
                </a:lnTo>
                <a:lnTo>
                  <a:pt x="1045" y="1384"/>
                </a:lnTo>
                <a:close/>
                <a:moveTo>
                  <a:pt x="1554" y="1926"/>
                </a:moveTo>
                <a:lnTo>
                  <a:pt x="1554" y="1928"/>
                </a:lnTo>
                <a:lnTo>
                  <a:pt x="1554" y="1929"/>
                </a:lnTo>
                <a:lnTo>
                  <a:pt x="1554" y="1928"/>
                </a:lnTo>
                <a:lnTo>
                  <a:pt x="1556" y="1928"/>
                </a:lnTo>
                <a:lnTo>
                  <a:pt x="1556" y="1926"/>
                </a:lnTo>
                <a:lnTo>
                  <a:pt x="1556" y="1928"/>
                </a:lnTo>
                <a:lnTo>
                  <a:pt x="1556" y="1929"/>
                </a:lnTo>
                <a:lnTo>
                  <a:pt x="1556" y="1931"/>
                </a:lnTo>
                <a:lnTo>
                  <a:pt x="1556" y="1933"/>
                </a:lnTo>
                <a:lnTo>
                  <a:pt x="1554" y="1933"/>
                </a:lnTo>
                <a:lnTo>
                  <a:pt x="1556" y="1935"/>
                </a:lnTo>
                <a:lnTo>
                  <a:pt x="1556" y="1937"/>
                </a:lnTo>
                <a:lnTo>
                  <a:pt x="1554" y="1937"/>
                </a:lnTo>
                <a:lnTo>
                  <a:pt x="1556" y="1937"/>
                </a:lnTo>
                <a:lnTo>
                  <a:pt x="1554" y="1935"/>
                </a:lnTo>
                <a:lnTo>
                  <a:pt x="1554" y="1937"/>
                </a:lnTo>
                <a:lnTo>
                  <a:pt x="1554" y="1939"/>
                </a:lnTo>
                <a:lnTo>
                  <a:pt x="1554" y="1941"/>
                </a:lnTo>
                <a:lnTo>
                  <a:pt x="1552" y="1941"/>
                </a:lnTo>
                <a:lnTo>
                  <a:pt x="1552" y="1943"/>
                </a:lnTo>
                <a:lnTo>
                  <a:pt x="1552" y="1945"/>
                </a:lnTo>
                <a:lnTo>
                  <a:pt x="1554" y="1945"/>
                </a:lnTo>
                <a:lnTo>
                  <a:pt x="1556" y="1945"/>
                </a:lnTo>
                <a:lnTo>
                  <a:pt x="1556" y="1947"/>
                </a:lnTo>
                <a:lnTo>
                  <a:pt x="1557" y="1947"/>
                </a:lnTo>
                <a:lnTo>
                  <a:pt x="1556" y="1947"/>
                </a:lnTo>
                <a:lnTo>
                  <a:pt x="1557" y="1947"/>
                </a:lnTo>
                <a:lnTo>
                  <a:pt x="1557" y="1945"/>
                </a:lnTo>
                <a:lnTo>
                  <a:pt x="1557" y="1947"/>
                </a:lnTo>
                <a:lnTo>
                  <a:pt x="1557" y="1949"/>
                </a:lnTo>
                <a:lnTo>
                  <a:pt x="1559" y="1949"/>
                </a:lnTo>
                <a:lnTo>
                  <a:pt x="1559" y="1951"/>
                </a:lnTo>
                <a:lnTo>
                  <a:pt x="1561" y="1951"/>
                </a:lnTo>
                <a:lnTo>
                  <a:pt x="1561" y="1952"/>
                </a:lnTo>
                <a:lnTo>
                  <a:pt x="1561" y="1954"/>
                </a:lnTo>
                <a:lnTo>
                  <a:pt x="1563" y="1954"/>
                </a:lnTo>
                <a:lnTo>
                  <a:pt x="1561" y="1956"/>
                </a:lnTo>
                <a:lnTo>
                  <a:pt x="1563" y="1956"/>
                </a:lnTo>
                <a:lnTo>
                  <a:pt x="1563" y="1954"/>
                </a:lnTo>
                <a:lnTo>
                  <a:pt x="1565" y="1956"/>
                </a:lnTo>
                <a:lnTo>
                  <a:pt x="1567" y="1956"/>
                </a:lnTo>
                <a:lnTo>
                  <a:pt x="1569" y="1956"/>
                </a:lnTo>
                <a:lnTo>
                  <a:pt x="1569" y="1958"/>
                </a:lnTo>
                <a:lnTo>
                  <a:pt x="1567" y="1958"/>
                </a:lnTo>
                <a:lnTo>
                  <a:pt x="1567" y="1960"/>
                </a:lnTo>
                <a:lnTo>
                  <a:pt x="1569" y="1960"/>
                </a:lnTo>
                <a:lnTo>
                  <a:pt x="1567" y="1960"/>
                </a:lnTo>
                <a:lnTo>
                  <a:pt x="1565" y="1960"/>
                </a:lnTo>
                <a:lnTo>
                  <a:pt x="1565" y="1958"/>
                </a:lnTo>
                <a:lnTo>
                  <a:pt x="1565" y="1960"/>
                </a:lnTo>
                <a:lnTo>
                  <a:pt x="1565" y="1962"/>
                </a:lnTo>
                <a:lnTo>
                  <a:pt x="1565" y="1964"/>
                </a:lnTo>
                <a:lnTo>
                  <a:pt x="1565" y="1966"/>
                </a:lnTo>
                <a:lnTo>
                  <a:pt x="1565" y="1968"/>
                </a:lnTo>
                <a:lnTo>
                  <a:pt x="1565" y="1970"/>
                </a:lnTo>
                <a:lnTo>
                  <a:pt x="1563" y="1970"/>
                </a:lnTo>
                <a:lnTo>
                  <a:pt x="1563" y="1972"/>
                </a:lnTo>
                <a:lnTo>
                  <a:pt x="1563" y="1974"/>
                </a:lnTo>
                <a:lnTo>
                  <a:pt x="1563" y="1976"/>
                </a:lnTo>
                <a:lnTo>
                  <a:pt x="1563" y="1977"/>
                </a:lnTo>
                <a:lnTo>
                  <a:pt x="1563" y="1979"/>
                </a:lnTo>
                <a:lnTo>
                  <a:pt x="1561" y="1979"/>
                </a:lnTo>
                <a:lnTo>
                  <a:pt x="1561" y="1981"/>
                </a:lnTo>
                <a:lnTo>
                  <a:pt x="1561" y="1983"/>
                </a:lnTo>
                <a:lnTo>
                  <a:pt x="1561" y="1985"/>
                </a:lnTo>
                <a:lnTo>
                  <a:pt x="1561" y="1987"/>
                </a:lnTo>
                <a:lnTo>
                  <a:pt x="1561" y="1989"/>
                </a:lnTo>
                <a:lnTo>
                  <a:pt x="1559" y="1989"/>
                </a:lnTo>
                <a:lnTo>
                  <a:pt x="1559" y="1991"/>
                </a:lnTo>
                <a:lnTo>
                  <a:pt x="1557" y="1991"/>
                </a:lnTo>
                <a:lnTo>
                  <a:pt x="1557" y="1993"/>
                </a:lnTo>
                <a:lnTo>
                  <a:pt x="1557" y="1995"/>
                </a:lnTo>
                <a:lnTo>
                  <a:pt x="1556" y="1995"/>
                </a:lnTo>
                <a:lnTo>
                  <a:pt x="1556" y="1997"/>
                </a:lnTo>
                <a:lnTo>
                  <a:pt x="1554" y="1997"/>
                </a:lnTo>
                <a:lnTo>
                  <a:pt x="1554" y="1999"/>
                </a:lnTo>
                <a:lnTo>
                  <a:pt x="1554" y="2000"/>
                </a:lnTo>
                <a:lnTo>
                  <a:pt x="1554" y="2002"/>
                </a:lnTo>
                <a:lnTo>
                  <a:pt x="1556" y="2002"/>
                </a:lnTo>
                <a:lnTo>
                  <a:pt x="1554" y="2002"/>
                </a:lnTo>
                <a:lnTo>
                  <a:pt x="1554" y="2004"/>
                </a:lnTo>
                <a:lnTo>
                  <a:pt x="1552" y="2006"/>
                </a:lnTo>
                <a:lnTo>
                  <a:pt x="1552" y="2004"/>
                </a:lnTo>
                <a:lnTo>
                  <a:pt x="1552" y="2002"/>
                </a:lnTo>
                <a:lnTo>
                  <a:pt x="1552" y="2000"/>
                </a:lnTo>
                <a:lnTo>
                  <a:pt x="1554" y="2000"/>
                </a:lnTo>
                <a:lnTo>
                  <a:pt x="1554" y="1999"/>
                </a:lnTo>
                <a:lnTo>
                  <a:pt x="1554" y="1997"/>
                </a:lnTo>
                <a:lnTo>
                  <a:pt x="1552" y="1997"/>
                </a:lnTo>
                <a:lnTo>
                  <a:pt x="1554" y="1997"/>
                </a:lnTo>
                <a:lnTo>
                  <a:pt x="1554" y="1995"/>
                </a:lnTo>
                <a:lnTo>
                  <a:pt x="1552" y="1995"/>
                </a:lnTo>
                <a:lnTo>
                  <a:pt x="1552" y="1993"/>
                </a:lnTo>
                <a:lnTo>
                  <a:pt x="1554" y="1993"/>
                </a:lnTo>
                <a:lnTo>
                  <a:pt x="1554" y="1991"/>
                </a:lnTo>
                <a:lnTo>
                  <a:pt x="1554" y="1989"/>
                </a:lnTo>
                <a:lnTo>
                  <a:pt x="1554" y="1987"/>
                </a:lnTo>
                <a:lnTo>
                  <a:pt x="1556" y="1987"/>
                </a:lnTo>
                <a:lnTo>
                  <a:pt x="1556" y="1985"/>
                </a:lnTo>
                <a:lnTo>
                  <a:pt x="1557" y="1985"/>
                </a:lnTo>
                <a:lnTo>
                  <a:pt x="1557" y="1983"/>
                </a:lnTo>
                <a:lnTo>
                  <a:pt x="1556" y="1983"/>
                </a:lnTo>
                <a:lnTo>
                  <a:pt x="1556" y="1981"/>
                </a:lnTo>
                <a:lnTo>
                  <a:pt x="1556" y="1979"/>
                </a:lnTo>
                <a:lnTo>
                  <a:pt x="1556" y="1981"/>
                </a:lnTo>
                <a:lnTo>
                  <a:pt x="1556" y="1979"/>
                </a:lnTo>
                <a:lnTo>
                  <a:pt x="1557" y="1979"/>
                </a:lnTo>
                <a:lnTo>
                  <a:pt x="1556" y="1979"/>
                </a:lnTo>
                <a:lnTo>
                  <a:pt x="1556" y="1977"/>
                </a:lnTo>
                <a:lnTo>
                  <a:pt x="1557" y="1977"/>
                </a:lnTo>
                <a:lnTo>
                  <a:pt x="1557" y="1976"/>
                </a:lnTo>
                <a:lnTo>
                  <a:pt x="1557" y="1974"/>
                </a:lnTo>
                <a:lnTo>
                  <a:pt x="1559" y="1974"/>
                </a:lnTo>
                <a:lnTo>
                  <a:pt x="1559" y="1972"/>
                </a:lnTo>
                <a:lnTo>
                  <a:pt x="1559" y="1970"/>
                </a:lnTo>
                <a:lnTo>
                  <a:pt x="1559" y="1968"/>
                </a:lnTo>
                <a:lnTo>
                  <a:pt x="1559" y="1966"/>
                </a:lnTo>
                <a:lnTo>
                  <a:pt x="1559" y="1964"/>
                </a:lnTo>
                <a:lnTo>
                  <a:pt x="1559" y="1966"/>
                </a:lnTo>
                <a:lnTo>
                  <a:pt x="1561" y="1966"/>
                </a:lnTo>
                <a:lnTo>
                  <a:pt x="1561" y="1968"/>
                </a:lnTo>
                <a:lnTo>
                  <a:pt x="1561" y="1970"/>
                </a:lnTo>
                <a:lnTo>
                  <a:pt x="1559" y="1970"/>
                </a:lnTo>
                <a:lnTo>
                  <a:pt x="1561" y="1970"/>
                </a:lnTo>
                <a:lnTo>
                  <a:pt x="1561" y="1968"/>
                </a:lnTo>
                <a:lnTo>
                  <a:pt x="1561" y="1966"/>
                </a:lnTo>
                <a:lnTo>
                  <a:pt x="1561" y="1968"/>
                </a:lnTo>
                <a:lnTo>
                  <a:pt x="1561" y="1966"/>
                </a:lnTo>
                <a:lnTo>
                  <a:pt x="1561" y="1964"/>
                </a:lnTo>
                <a:lnTo>
                  <a:pt x="1561" y="1962"/>
                </a:lnTo>
                <a:lnTo>
                  <a:pt x="1561" y="1960"/>
                </a:lnTo>
                <a:lnTo>
                  <a:pt x="1561" y="1962"/>
                </a:lnTo>
                <a:lnTo>
                  <a:pt x="1561" y="1960"/>
                </a:lnTo>
                <a:lnTo>
                  <a:pt x="1561" y="1958"/>
                </a:lnTo>
                <a:lnTo>
                  <a:pt x="1559" y="1958"/>
                </a:lnTo>
                <a:lnTo>
                  <a:pt x="1559" y="1960"/>
                </a:lnTo>
                <a:lnTo>
                  <a:pt x="1559" y="1962"/>
                </a:lnTo>
                <a:lnTo>
                  <a:pt x="1559" y="1964"/>
                </a:lnTo>
                <a:lnTo>
                  <a:pt x="1557" y="1962"/>
                </a:lnTo>
                <a:lnTo>
                  <a:pt x="1557" y="1964"/>
                </a:lnTo>
                <a:lnTo>
                  <a:pt x="1557" y="1966"/>
                </a:lnTo>
                <a:lnTo>
                  <a:pt x="1557" y="1968"/>
                </a:lnTo>
                <a:lnTo>
                  <a:pt x="1557" y="1970"/>
                </a:lnTo>
                <a:lnTo>
                  <a:pt x="1557" y="1968"/>
                </a:lnTo>
                <a:lnTo>
                  <a:pt x="1556" y="1968"/>
                </a:lnTo>
                <a:lnTo>
                  <a:pt x="1556" y="1966"/>
                </a:lnTo>
                <a:lnTo>
                  <a:pt x="1556" y="1964"/>
                </a:lnTo>
                <a:lnTo>
                  <a:pt x="1554" y="1964"/>
                </a:lnTo>
                <a:lnTo>
                  <a:pt x="1554" y="1966"/>
                </a:lnTo>
                <a:lnTo>
                  <a:pt x="1554" y="1968"/>
                </a:lnTo>
                <a:lnTo>
                  <a:pt x="1554" y="1970"/>
                </a:lnTo>
                <a:lnTo>
                  <a:pt x="1554" y="1972"/>
                </a:lnTo>
                <a:lnTo>
                  <a:pt x="1552" y="1972"/>
                </a:lnTo>
                <a:lnTo>
                  <a:pt x="1552" y="1974"/>
                </a:lnTo>
                <a:lnTo>
                  <a:pt x="1550" y="1974"/>
                </a:lnTo>
                <a:lnTo>
                  <a:pt x="1548" y="1974"/>
                </a:lnTo>
                <a:lnTo>
                  <a:pt x="1548" y="1976"/>
                </a:lnTo>
                <a:lnTo>
                  <a:pt x="1548" y="1977"/>
                </a:lnTo>
                <a:lnTo>
                  <a:pt x="1548" y="1976"/>
                </a:lnTo>
                <a:lnTo>
                  <a:pt x="1550" y="1976"/>
                </a:lnTo>
                <a:lnTo>
                  <a:pt x="1552" y="1976"/>
                </a:lnTo>
                <a:lnTo>
                  <a:pt x="1552" y="1977"/>
                </a:lnTo>
                <a:lnTo>
                  <a:pt x="1552" y="1979"/>
                </a:lnTo>
                <a:lnTo>
                  <a:pt x="1552" y="1981"/>
                </a:lnTo>
                <a:lnTo>
                  <a:pt x="1550" y="1981"/>
                </a:lnTo>
                <a:lnTo>
                  <a:pt x="1552" y="1981"/>
                </a:lnTo>
                <a:lnTo>
                  <a:pt x="1550" y="1981"/>
                </a:lnTo>
                <a:lnTo>
                  <a:pt x="1550" y="1983"/>
                </a:lnTo>
                <a:lnTo>
                  <a:pt x="1550" y="1985"/>
                </a:lnTo>
                <a:lnTo>
                  <a:pt x="1550" y="1987"/>
                </a:lnTo>
                <a:lnTo>
                  <a:pt x="1550" y="1989"/>
                </a:lnTo>
                <a:lnTo>
                  <a:pt x="1550" y="1991"/>
                </a:lnTo>
                <a:lnTo>
                  <a:pt x="1550" y="1993"/>
                </a:lnTo>
                <a:lnTo>
                  <a:pt x="1548" y="1993"/>
                </a:lnTo>
                <a:lnTo>
                  <a:pt x="1546" y="1993"/>
                </a:lnTo>
                <a:lnTo>
                  <a:pt x="1546" y="1995"/>
                </a:lnTo>
                <a:lnTo>
                  <a:pt x="1546" y="1993"/>
                </a:lnTo>
                <a:lnTo>
                  <a:pt x="1548" y="1993"/>
                </a:lnTo>
                <a:lnTo>
                  <a:pt x="1548" y="1995"/>
                </a:lnTo>
                <a:lnTo>
                  <a:pt x="1550" y="1995"/>
                </a:lnTo>
                <a:lnTo>
                  <a:pt x="1550" y="1997"/>
                </a:lnTo>
                <a:lnTo>
                  <a:pt x="1548" y="1997"/>
                </a:lnTo>
                <a:lnTo>
                  <a:pt x="1550" y="1997"/>
                </a:lnTo>
                <a:lnTo>
                  <a:pt x="1550" y="1999"/>
                </a:lnTo>
                <a:lnTo>
                  <a:pt x="1550" y="2000"/>
                </a:lnTo>
                <a:lnTo>
                  <a:pt x="1548" y="2000"/>
                </a:lnTo>
                <a:lnTo>
                  <a:pt x="1548" y="2002"/>
                </a:lnTo>
                <a:lnTo>
                  <a:pt x="1546" y="2002"/>
                </a:lnTo>
                <a:lnTo>
                  <a:pt x="1546" y="2004"/>
                </a:lnTo>
                <a:lnTo>
                  <a:pt x="1546" y="2006"/>
                </a:lnTo>
                <a:lnTo>
                  <a:pt x="1546" y="2008"/>
                </a:lnTo>
                <a:lnTo>
                  <a:pt x="1546" y="2010"/>
                </a:lnTo>
                <a:lnTo>
                  <a:pt x="1544" y="2012"/>
                </a:lnTo>
                <a:lnTo>
                  <a:pt x="1544" y="2010"/>
                </a:lnTo>
                <a:lnTo>
                  <a:pt x="1544" y="2008"/>
                </a:lnTo>
                <a:lnTo>
                  <a:pt x="1544" y="2006"/>
                </a:lnTo>
                <a:lnTo>
                  <a:pt x="1546" y="2006"/>
                </a:lnTo>
                <a:lnTo>
                  <a:pt x="1546" y="2004"/>
                </a:lnTo>
                <a:lnTo>
                  <a:pt x="1544" y="2004"/>
                </a:lnTo>
                <a:lnTo>
                  <a:pt x="1544" y="2006"/>
                </a:lnTo>
                <a:lnTo>
                  <a:pt x="1544" y="2008"/>
                </a:lnTo>
                <a:lnTo>
                  <a:pt x="1542" y="2008"/>
                </a:lnTo>
                <a:lnTo>
                  <a:pt x="1542" y="2010"/>
                </a:lnTo>
                <a:lnTo>
                  <a:pt x="1542" y="2008"/>
                </a:lnTo>
                <a:lnTo>
                  <a:pt x="1544" y="2008"/>
                </a:lnTo>
                <a:lnTo>
                  <a:pt x="1544" y="2010"/>
                </a:lnTo>
                <a:lnTo>
                  <a:pt x="1542" y="2010"/>
                </a:lnTo>
                <a:lnTo>
                  <a:pt x="1542" y="2008"/>
                </a:lnTo>
                <a:lnTo>
                  <a:pt x="1542" y="2006"/>
                </a:lnTo>
                <a:lnTo>
                  <a:pt x="1540" y="2006"/>
                </a:lnTo>
                <a:lnTo>
                  <a:pt x="1540" y="2004"/>
                </a:lnTo>
                <a:lnTo>
                  <a:pt x="1540" y="2002"/>
                </a:lnTo>
                <a:lnTo>
                  <a:pt x="1538" y="2002"/>
                </a:lnTo>
                <a:lnTo>
                  <a:pt x="1538" y="2004"/>
                </a:lnTo>
                <a:lnTo>
                  <a:pt x="1538" y="2006"/>
                </a:lnTo>
                <a:lnTo>
                  <a:pt x="1538" y="2004"/>
                </a:lnTo>
                <a:lnTo>
                  <a:pt x="1536" y="2004"/>
                </a:lnTo>
                <a:lnTo>
                  <a:pt x="1536" y="2006"/>
                </a:lnTo>
                <a:lnTo>
                  <a:pt x="1538" y="2006"/>
                </a:lnTo>
                <a:lnTo>
                  <a:pt x="1538" y="2008"/>
                </a:lnTo>
                <a:lnTo>
                  <a:pt x="1540" y="2008"/>
                </a:lnTo>
                <a:lnTo>
                  <a:pt x="1540" y="2010"/>
                </a:lnTo>
                <a:lnTo>
                  <a:pt x="1538" y="2010"/>
                </a:lnTo>
                <a:lnTo>
                  <a:pt x="1538" y="2012"/>
                </a:lnTo>
                <a:lnTo>
                  <a:pt x="1536" y="2012"/>
                </a:lnTo>
                <a:lnTo>
                  <a:pt x="1538" y="2012"/>
                </a:lnTo>
                <a:lnTo>
                  <a:pt x="1540" y="2012"/>
                </a:lnTo>
                <a:lnTo>
                  <a:pt x="1540" y="2014"/>
                </a:lnTo>
                <a:lnTo>
                  <a:pt x="1540" y="2012"/>
                </a:lnTo>
                <a:lnTo>
                  <a:pt x="1542" y="2012"/>
                </a:lnTo>
                <a:lnTo>
                  <a:pt x="1542" y="2014"/>
                </a:lnTo>
                <a:lnTo>
                  <a:pt x="1540" y="2014"/>
                </a:lnTo>
                <a:lnTo>
                  <a:pt x="1540" y="2016"/>
                </a:lnTo>
                <a:lnTo>
                  <a:pt x="1540" y="2018"/>
                </a:lnTo>
                <a:lnTo>
                  <a:pt x="1538" y="2018"/>
                </a:lnTo>
                <a:lnTo>
                  <a:pt x="1536" y="2018"/>
                </a:lnTo>
                <a:lnTo>
                  <a:pt x="1534" y="2018"/>
                </a:lnTo>
                <a:lnTo>
                  <a:pt x="1534" y="2020"/>
                </a:lnTo>
                <a:lnTo>
                  <a:pt x="1532" y="2020"/>
                </a:lnTo>
                <a:lnTo>
                  <a:pt x="1532" y="2018"/>
                </a:lnTo>
                <a:lnTo>
                  <a:pt x="1534" y="2018"/>
                </a:lnTo>
                <a:lnTo>
                  <a:pt x="1532" y="2018"/>
                </a:lnTo>
                <a:lnTo>
                  <a:pt x="1532" y="2016"/>
                </a:lnTo>
                <a:lnTo>
                  <a:pt x="1531" y="2016"/>
                </a:lnTo>
                <a:lnTo>
                  <a:pt x="1531" y="2014"/>
                </a:lnTo>
                <a:lnTo>
                  <a:pt x="1532" y="2012"/>
                </a:lnTo>
                <a:lnTo>
                  <a:pt x="1531" y="2012"/>
                </a:lnTo>
                <a:lnTo>
                  <a:pt x="1531" y="2014"/>
                </a:lnTo>
                <a:lnTo>
                  <a:pt x="1529" y="2014"/>
                </a:lnTo>
                <a:lnTo>
                  <a:pt x="1531" y="2014"/>
                </a:lnTo>
                <a:lnTo>
                  <a:pt x="1531" y="2012"/>
                </a:lnTo>
                <a:lnTo>
                  <a:pt x="1529" y="2012"/>
                </a:lnTo>
                <a:lnTo>
                  <a:pt x="1531" y="2012"/>
                </a:lnTo>
                <a:lnTo>
                  <a:pt x="1531" y="2010"/>
                </a:lnTo>
                <a:lnTo>
                  <a:pt x="1531" y="2008"/>
                </a:lnTo>
                <a:lnTo>
                  <a:pt x="1529" y="2008"/>
                </a:lnTo>
                <a:lnTo>
                  <a:pt x="1529" y="2006"/>
                </a:lnTo>
                <a:lnTo>
                  <a:pt x="1529" y="2008"/>
                </a:lnTo>
                <a:lnTo>
                  <a:pt x="1529" y="2010"/>
                </a:lnTo>
                <a:lnTo>
                  <a:pt x="1529" y="2012"/>
                </a:lnTo>
                <a:lnTo>
                  <a:pt x="1527" y="2012"/>
                </a:lnTo>
                <a:lnTo>
                  <a:pt x="1527" y="2010"/>
                </a:lnTo>
                <a:lnTo>
                  <a:pt x="1527" y="2012"/>
                </a:lnTo>
                <a:lnTo>
                  <a:pt x="1529" y="2012"/>
                </a:lnTo>
                <a:lnTo>
                  <a:pt x="1529" y="2014"/>
                </a:lnTo>
                <a:lnTo>
                  <a:pt x="1527" y="2014"/>
                </a:lnTo>
                <a:lnTo>
                  <a:pt x="1527" y="2016"/>
                </a:lnTo>
                <a:lnTo>
                  <a:pt x="1527" y="2018"/>
                </a:lnTo>
                <a:lnTo>
                  <a:pt x="1525" y="2018"/>
                </a:lnTo>
                <a:lnTo>
                  <a:pt x="1525" y="2020"/>
                </a:lnTo>
                <a:lnTo>
                  <a:pt x="1525" y="2018"/>
                </a:lnTo>
                <a:lnTo>
                  <a:pt x="1525" y="2016"/>
                </a:lnTo>
                <a:lnTo>
                  <a:pt x="1525" y="2018"/>
                </a:lnTo>
                <a:lnTo>
                  <a:pt x="1523" y="2018"/>
                </a:lnTo>
                <a:lnTo>
                  <a:pt x="1523" y="2020"/>
                </a:lnTo>
                <a:lnTo>
                  <a:pt x="1521" y="2020"/>
                </a:lnTo>
                <a:lnTo>
                  <a:pt x="1519" y="2020"/>
                </a:lnTo>
                <a:lnTo>
                  <a:pt x="1519" y="2022"/>
                </a:lnTo>
                <a:lnTo>
                  <a:pt x="1517" y="2020"/>
                </a:lnTo>
                <a:lnTo>
                  <a:pt x="1515" y="2020"/>
                </a:lnTo>
                <a:lnTo>
                  <a:pt x="1515" y="2018"/>
                </a:lnTo>
                <a:lnTo>
                  <a:pt x="1517" y="2018"/>
                </a:lnTo>
                <a:lnTo>
                  <a:pt x="1517" y="2016"/>
                </a:lnTo>
                <a:lnTo>
                  <a:pt x="1519" y="2016"/>
                </a:lnTo>
                <a:lnTo>
                  <a:pt x="1519" y="2014"/>
                </a:lnTo>
                <a:lnTo>
                  <a:pt x="1517" y="2014"/>
                </a:lnTo>
                <a:lnTo>
                  <a:pt x="1517" y="2016"/>
                </a:lnTo>
                <a:lnTo>
                  <a:pt x="1515" y="2018"/>
                </a:lnTo>
                <a:lnTo>
                  <a:pt x="1515" y="2020"/>
                </a:lnTo>
                <a:lnTo>
                  <a:pt x="1513" y="2020"/>
                </a:lnTo>
                <a:lnTo>
                  <a:pt x="1515" y="2020"/>
                </a:lnTo>
                <a:lnTo>
                  <a:pt x="1513" y="2020"/>
                </a:lnTo>
                <a:lnTo>
                  <a:pt x="1513" y="2022"/>
                </a:lnTo>
                <a:lnTo>
                  <a:pt x="1513" y="2020"/>
                </a:lnTo>
                <a:lnTo>
                  <a:pt x="1511" y="2018"/>
                </a:lnTo>
                <a:lnTo>
                  <a:pt x="1511" y="2020"/>
                </a:lnTo>
                <a:lnTo>
                  <a:pt x="1511" y="2022"/>
                </a:lnTo>
                <a:lnTo>
                  <a:pt x="1511" y="2020"/>
                </a:lnTo>
                <a:lnTo>
                  <a:pt x="1509" y="2020"/>
                </a:lnTo>
                <a:lnTo>
                  <a:pt x="1508" y="2020"/>
                </a:lnTo>
                <a:lnTo>
                  <a:pt x="1509" y="2020"/>
                </a:lnTo>
                <a:lnTo>
                  <a:pt x="1508" y="2020"/>
                </a:lnTo>
                <a:lnTo>
                  <a:pt x="1508" y="2022"/>
                </a:lnTo>
                <a:lnTo>
                  <a:pt x="1506" y="2022"/>
                </a:lnTo>
                <a:lnTo>
                  <a:pt x="1504" y="2022"/>
                </a:lnTo>
                <a:lnTo>
                  <a:pt x="1502" y="2022"/>
                </a:lnTo>
                <a:lnTo>
                  <a:pt x="1500" y="2022"/>
                </a:lnTo>
                <a:lnTo>
                  <a:pt x="1500" y="2020"/>
                </a:lnTo>
                <a:lnTo>
                  <a:pt x="1500" y="2022"/>
                </a:lnTo>
                <a:lnTo>
                  <a:pt x="1498" y="2022"/>
                </a:lnTo>
                <a:lnTo>
                  <a:pt x="1500" y="2020"/>
                </a:lnTo>
                <a:lnTo>
                  <a:pt x="1498" y="2020"/>
                </a:lnTo>
                <a:lnTo>
                  <a:pt x="1498" y="2022"/>
                </a:lnTo>
                <a:lnTo>
                  <a:pt x="1498" y="2020"/>
                </a:lnTo>
                <a:lnTo>
                  <a:pt x="1496" y="2020"/>
                </a:lnTo>
                <a:lnTo>
                  <a:pt x="1496" y="2018"/>
                </a:lnTo>
                <a:lnTo>
                  <a:pt x="1498" y="2018"/>
                </a:lnTo>
                <a:lnTo>
                  <a:pt x="1498" y="2016"/>
                </a:lnTo>
                <a:lnTo>
                  <a:pt x="1500" y="2014"/>
                </a:lnTo>
                <a:lnTo>
                  <a:pt x="1500" y="2012"/>
                </a:lnTo>
                <a:lnTo>
                  <a:pt x="1502" y="2012"/>
                </a:lnTo>
                <a:lnTo>
                  <a:pt x="1504" y="2012"/>
                </a:lnTo>
                <a:lnTo>
                  <a:pt x="1504" y="2010"/>
                </a:lnTo>
                <a:lnTo>
                  <a:pt x="1504" y="2008"/>
                </a:lnTo>
                <a:lnTo>
                  <a:pt x="1504" y="2006"/>
                </a:lnTo>
                <a:lnTo>
                  <a:pt x="1506" y="2006"/>
                </a:lnTo>
                <a:lnTo>
                  <a:pt x="1506" y="2004"/>
                </a:lnTo>
                <a:lnTo>
                  <a:pt x="1508" y="2004"/>
                </a:lnTo>
                <a:lnTo>
                  <a:pt x="1508" y="2006"/>
                </a:lnTo>
                <a:lnTo>
                  <a:pt x="1508" y="2008"/>
                </a:lnTo>
                <a:lnTo>
                  <a:pt x="1509" y="2008"/>
                </a:lnTo>
                <a:lnTo>
                  <a:pt x="1509" y="2006"/>
                </a:lnTo>
                <a:lnTo>
                  <a:pt x="1508" y="2006"/>
                </a:lnTo>
                <a:lnTo>
                  <a:pt x="1508" y="2004"/>
                </a:lnTo>
                <a:lnTo>
                  <a:pt x="1509" y="2004"/>
                </a:lnTo>
                <a:lnTo>
                  <a:pt x="1509" y="2002"/>
                </a:lnTo>
                <a:lnTo>
                  <a:pt x="1509" y="2004"/>
                </a:lnTo>
                <a:lnTo>
                  <a:pt x="1511" y="2004"/>
                </a:lnTo>
                <a:lnTo>
                  <a:pt x="1511" y="2002"/>
                </a:lnTo>
                <a:lnTo>
                  <a:pt x="1513" y="2002"/>
                </a:lnTo>
                <a:lnTo>
                  <a:pt x="1513" y="2004"/>
                </a:lnTo>
                <a:lnTo>
                  <a:pt x="1515" y="2004"/>
                </a:lnTo>
                <a:lnTo>
                  <a:pt x="1515" y="2006"/>
                </a:lnTo>
                <a:lnTo>
                  <a:pt x="1517" y="2006"/>
                </a:lnTo>
                <a:lnTo>
                  <a:pt x="1517" y="2004"/>
                </a:lnTo>
                <a:lnTo>
                  <a:pt x="1515" y="2004"/>
                </a:lnTo>
                <a:lnTo>
                  <a:pt x="1517" y="2004"/>
                </a:lnTo>
                <a:lnTo>
                  <a:pt x="1515" y="2004"/>
                </a:lnTo>
                <a:lnTo>
                  <a:pt x="1515" y="2002"/>
                </a:lnTo>
                <a:lnTo>
                  <a:pt x="1517" y="2002"/>
                </a:lnTo>
                <a:lnTo>
                  <a:pt x="1515" y="2002"/>
                </a:lnTo>
                <a:lnTo>
                  <a:pt x="1515" y="2000"/>
                </a:lnTo>
                <a:lnTo>
                  <a:pt x="1513" y="2000"/>
                </a:lnTo>
                <a:lnTo>
                  <a:pt x="1513" y="1999"/>
                </a:lnTo>
                <a:lnTo>
                  <a:pt x="1515" y="1999"/>
                </a:lnTo>
                <a:lnTo>
                  <a:pt x="1515" y="1997"/>
                </a:lnTo>
                <a:lnTo>
                  <a:pt x="1517" y="1997"/>
                </a:lnTo>
                <a:lnTo>
                  <a:pt x="1519" y="1997"/>
                </a:lnTo>
                <a:lnTo>
                  <a:pt x="1519" y="1999"/>
                </a:lnTo>
                <a:lnTo>
                  <a:pt x="1517" y="1999"/>
                </a:lnTo>
                <a:lnTo>
                  <a:pt x="1517" y="2000"/>
                </a:lnTo>
                <a:lnTo>
                  <a:pt x="1519" y="2000"/>
                </a:lnTo>
                <a:lnTo>
                  <a:pt x="1519" y="2002"/>
                </a:lnTo>
                <a:lnTo>
                  <a:pt x="1521" y="2002"/>
                </a:lnTo>
                <a:lnTo>
                  <a:pt x="1521" y="2004"/>
                </a:lnTo>
                <a:lnTo>
                  <a:pt x="1521" y="2006"/>
                </a:lnTo>
                <a:lnTo>
                  <a:pt x="1523" y="2006"/>
                </a:lnTo>
                <a:lnTo>
                  <a:pt x="1523" y="2008"/>
                </a:lnTo>
                <a:lnTo>
                  <a:pt x="1523" y="2006"/>
                </a:lnTo>
                <a:lnTo>
                  <a:pt x="1523" y="2004"/>
                </a:lnTo>
                <a:lnTo>
                  <a:pt x="1521" y="2004"/>
                </a:lnTo>
                <a:lnTo>
                  <a:pt x="1523" y="2004"/>
                </a:lnTo>
                <a:lnTo>
                  <a:pt x="1521" y="2002"/>
                </a:lnTo>
                <a:lnTo>
                  <a:pt x="1523" y="2002"/>
                </a:lnTo>
                <a:lnTo>
                  <a:pt x="1521" y="2002"/>
                </a:lnTo>
                <a:lnTo>
                  <a:pt x="1523" y="2002"/>
                </a:lnTo>
                <a:lnTo>
                  <a:pt x="1523" y="2004"/>
                </a:lnTo>
                <a:lnTo>
                  <a:pt x="1525" y="2004"/>
                </a:lnTo>
                <a:lnTo>
                  <a:pt x="1525" y="2002"/>
                </a:lnTo>
                <a:lnTo>
                  <a:pt x="1523" y="2002"/>
                </a:lnTo>
                <a:lnTo>
                  <a:pt x="1521" y="2002"/>
                </a:lnTo>
                <a:lnTo>
                  <a:pt x="1521" y="2000"/>
                </a:lnTo>
                <a:lnTo>
                  <a:pt x="1519" y="2000"/>
                </a:lnTo>
                <a:lnTo>
                  <a:pt x="1521" y="2000"/>
                </a:lnTo>
                <a:lnTo>
                  <a:pt x="1519" y="2000"/>
                </a:lnTo>
                <a:lnTo>
                  <a:pt x="1519" y="1999"/>
                </a:lnTo>
                <a:lnTo>
                  <a:pt x="1521" y="1999"/>
                </a:lnTo>
                <a:lnTo>
                  <a:pt x="1521" y="1997"/>
                </a:lnTo>
                <a:lnTo>
                  <a:pt x="1521" y="1995"/>
                </a:lnTo>
                <a:lnTo>
                  <a:pt x="1521" y="1993"/>
                </a:lnTo>
                <a:lnTo>
                  <a:pt x="1521" y="1991"/>
                </a:lnTo>
                <a:lnTo>
                  <a:pt x="1521" y="1989"/>
                </a:lnTo>
                <a:lnTo>
                  <a:pt x="1521" y="1991"/>
                </a:lnTo>
                <a:lnTo>
                  <a:pt x="1523" y="1991"/>
                </a:lnTo>
                <a:lnTo>
                  <a:pt x="1523" y="1993"/>
                </a:lnTo>
                <a:lnTo>
                  <a:pt x="1523" y="1995"/>
                </a:lnTo>
                <a:lnTo>
                  <a:pt x="1521" y="1995"/>
                </a:lnTo>
                <a:lnTo>
                  <a:pt x="1523" y="1995"/>
                </a:lnTo>
                <a:lnTo>
                  <a:pt x="1523" y="1993"/>
                </a:lnTo>
                <a:lnTo>
                  <a:pt x="1523" y="1991"/>
                </a:lnTo>
                <a:lnTo>
                  <a:pt x="1525" y="1991"/>
                </a:lnTo>
                <a:lnTo>
                  <a:pt x="1523" y="1991"/>
                </a:lnTo>
                <a:lnTo>
                  <a:pt x="1525" y="1991"/>
                </a:lnTo>
                <a:lnTo>
                  <a:pt x="1523" y="1991"/>
                </a:lnTo>
                <a:lnTo>
                  <a:pt x="1525" y="1991"/>
                </a:lnTo>
                <a:lnTo>
                  <a:pt x="1527" y="1991"/>
                </a:lnTo>
                <a:lnTo>
                  <a:pt x="1529" y="1991"/>
                </a:lnTo>
                <a:lnTo>
                  <a:pt x="1527" y="1991"/>
                </a:lnTo>
                <a:lnTo>
                  <a:pt x="1529" y="1991"/>
                </a:lnTo>
                <a:lnTo>
                  <a:pt x="1527" y="1991"/>
                </a:lnTo>
                <a:lnTo>
                  <a:pt x="1525" y="1991"/>
                </a:lnTo>
                <a:lnTo>
                  <a:pt x="1527" y="1991"/>
                </a:lnTo>
                <a:lnTo>
                  <a:pt x="1527" y="1993"/>
                </a:lnTo>
                <a:lnTo>
                  <a:pt x="1525" y="1993"/>
                </a:lnTo>
                <a:lnTo>
                  <a:pt x="1525" y="1995"/>
                </a:lnTo>
                <a:lnTo>
                  <a:pt x="1527" y="1995"/>
                </a:lnTo>
                <a:lnTo>
                  <a:pt x="1527" y="1993"/>
                </a:lnTo>
                <a:lnTo>
                  <a:pt x="1527" y="1995"/>
                </a:lnTo>
                <a:lnTo>
                  <a:pt x="1529" y="1995"/>
                </a:lnTo>
                <a:lnTo>
                  <a:pt x="1527" y="1995"/>
                </a:lnTo>
                <a:lnTo>
                  <a:pt x="1527" y="1993"/>
                </a:lnTo>
                <a:lnTo>
                  <a:pt x="1529" y="1993"/>
                </a:lnTo>
                <a:lnTo>
                  <a:pt x="1531" y="1993"/>
                </a:lnTo>
                <a:lnTo>
                  <a:pt x="1532" y="1993"/>
                </a:lnTo>
                <a:lnTo>
                  <a:pt x="1534" y="1993"/>
                </a:lnTo>
                <a:lnTo>
                  <a:pt x="1532" y="1993"/>
                </a:lnTo>
                <a:lnTo>
                  <a:pt x="1532" y="1991"/>
                </a:lnTo>
                <a:lnTo>
                  <a:pt x="1534" y="1991"/>
                </a:lnTo>
                <a:lnTo>
                  <a:pt x="1532" y="1991"/>
                </a:lnTo>
                <a:lnTo>
                  <a:pt x="1532" y="1989"/>
                </a:lnTo>
                <a:lnTo>
                  <a:pt x="1531" y="1989"/>
                </a:lnTo>
                <a:lnTo>
                  <a:pt x="1532" y="1991"/>
                </a:lnTo>
                <a:lnTo>
                  <a:pt x="1532" y="1993"/>
                </a:lnTo>
                <a:lnTo>
                  <a:pt x="1531" y="1993"/>
                </a:lnTo>
                <a:lnTo>
                  <a:pt x="1532" y="1991"/>
                </a:lnTo>
                <a:lnTo>
                  <a:pt x="1531" y="1991"/>
                </a:lnTo>
                <a:lnTo>
                  <a:pt x="1529" y="1991"/>
                </a:lnTo>
                <a:lnTo>
                  <a:pt x="1529" y="1989"/>
                </a:lnTo>
                <a:lnTo>
                  <a:pt x="1529" y="1991"/>
                </a:lnTo>
                <a:lnTo>
                  <a:pt x="1529" y="1989"/>
                </a:lnTo>
                <a:lnTo>
                  <a:pt x="1527" y="1989"/>
                </a:lnTo>
                <a:lnTo>
                  <a:pt x="1525" y="1989"/>
                </a:lnTo>
                <a:lnTo>
                  <a:pt x="1523" y="1989"/>
                </a:lnTo>
                <a:lnTo>
                  <a:pt x="1525" y="1989"/>
                </a:lnTo>
                <a:lnTo>
                  <a:pt x="1523" y="1989"/>
                </a:lnTo>
                <a:lnTo>
                  <a:pt x="1521" y="1989"/>
                </a:lnTo>
                <a:lnTo>
                  <a:pt x="1521" y="1987"/>
                </a:lnTo>
                <a:lnTo>
                  <a:pt x="1523" y="1987"/>
                </a:lnTo>
                <a:lnTo>
                  <a:pt x="1523" y="1985"/>
                </a:lnTo>
                <a:lnTo>
                  <a:pt x="1523" y="1983"/>
                </a:lnTo>
                <a:lnTo>
                  <a:pt x="1523" y="1981"/>
                </a:lnTo>
                <a:lnTo>
                  <a:pt x="1525" y="1981"/>
                </a:lnTo>
                <a:lnTo>
                  <a:pt x="1525" y="1979"/>
                </a:lnTo>
                <a:lnTo>
                  <a:pt x="1525" y="1977"/>
                </a:lnTo>
                <a:lnTo>
                  <a:pt x="1527" y="1976"/>
                </a:lnTo>
                <a:lnTo>
                  <a:pt x="1527" y="1974"/>
                </a:lnTo>
                <a:lnTo>
                  <a:pt x="1527" y="1976"/>
                </a:lnTo>
                <a:lnTo>
                  <a:pt x="1527" y="1974"/>
                </a:lnTo>
                <a:lnTo>
                  <a:pt x="1527" y="1972"/>
                </a:lnTo>
                <a:lnTo>
                  <a:pt x="1529" y="1972"/>
                </a:lnTo>
                <a:lnTo>
                  <a:pt x="1529" y="1970"/>
                </a:lnTo>
                <a:lnTo>
                  <a:pt x="1531" y="1970"/>
                </a:lnTo>
                <a:lnTo>
                  <a:pt x="1531" y="1968"/>
                </a:lnTo>
                <a:lnTo>
                  <a:pt x="1532" y="1968"/>
                </a:lnTo>
                <a:lnTo>
                  <a:pt x="1532" y="1966"/>
                </a:lnTo>
                <a:lnTo>
                  <a:pt x="1534" y="1966"/>
                </a:lnTo>
                <a:lnTo>
                  <a:pt x="1534" y="1964"/>
                </a:lnTo>
                <a:lnTo>
                  <a:pt x="1534" y="1962"/>
                </a:lnTo>
                <a:lnTo>
                  <a:pt x="1536" y="1962"/>
                </a:lnTo>
                <a:lnTo>
                  <a:pt x="1536" y="1960"/>
                </a:lnTo>
                <a:lnTo>
                  <a:pt x="1536" y="1958"/>
                </a:lnTo>
                <a:lnTo>
                  <a:pt x="1538" y="1958"/>
                </a:lnTo>
                <a:lnTo>
                  <a:pt x="1538" y="1956"/>
                </a:lnTo>
                <a:lnTo>
                  <a:pt x="1538" y="1954"/>
                </a:lnTo>
                <a:lnTo>
                  <a:pt x="1540" y="1954"/>
                </a:lnTo>
                <a:lnTo>
                  <a:pt x="1540" y="1952"/>
                </a:lnTo>
                <a:lnTo>
                  <a:pt x="1540" y="1951"/>
                </a:lnTo>
                <a:lnTo>
                  <a:pt x="1540" y="1949"/>
                </a:lnTo>
                <a:lnTo>
                  <a:pt x="1542" y="1949"/>
                </a:lnTo>
                <a:lnTo>
                  <a:pt x="1542" y="1947"/>
                </a:lnTo>
                <a:lnTo>
                  <a:pt x="1542" y="1949"/>
                </a:lnTo>
                <a:lnTo>
                  <a:pt x="1542" y="1947"/>
                </a:lnTo>
                <a:lnTo>
                  <a:pt x="1544" y="1947"/>
                </a:lnTo>
                <a:lnTo>
                  <a:pt x="1546" y="1947"/>
                </a:lnTo>
                <a:lnTo>
                  <a:pt x="1546" y="1945"/>
                </a:lnTo>
                <a:lnTo>
                  <a:pt x="1546" y="1947"/>
                </a:lnTo>
                <a:lnTo>
                  <a:pt x="1546" y="1945"/>
                </a:lnTo>
                <a:lnTo>
                  <a:pt x="1544" y="1945"/>
                </a:lnTo>
                <a:lnTo>
                  <a:pt x="1546" y="1945"/>
                </a:lnTo>
                <a:lnTo>
                  <a:pt x="1546" y="1943"/>
                </a:lnTo>
                <a:lnTo>
                  <a:pt x="1546" y="1941"/>
                </a:lnTo>
                <a:lnTo>
                  <a:pt x="1546" y="1939"/>
                </a:lnTo>
                <a:lnTo>
                  <a:pt x="1546" y="1937"/>
                </a:lnTo>
                <a:lnTo>
                  <a:pt x="1546" y="1935"/>
                </a:lnTo>
                <a:lnTo>
                  <a:pt x="1548" y="1933"/>
                </a:lnTo>
                <a:lnTo>
                  <a:pt x="1550" y="1933"/>
                </a:lnTo>
                <a:lnTo>
                  <a:pt x="1550" y="1931"/>
                </a:lnTo>
                <a:lnTo>
                  <a:pt x="1550" y="1933"/>
                </a:lnTo>
                <a:lnTo>
                  <a:pt x="1548" y="1933"/>
                </a:lnTo>
                <a:lnTo>
                  <a:pt x="1548" y="1931"/>
                </a:lnTo>
                <a:lnTo>
                  <a:pt x="1548" y="1929"/>
                </a:lnTo>
                <a:lnTo>
                  <a:pt x="1550" y="1929"/>
                </a:lnTo>
                <a:lnTo>
                  <a:pt x="1550" y="1928"/>
                </a:lnTo>
                <a:lnTo>
                  <a:pt x="1552" y="1928"/>
                </a:lnTo>
                <a:lnTo>
                  <a:pt x="1552" y="1926"/>
                </a:lnTo>
                <a:lnTo>
                  <a:pt x="1552" y="1924"/>
                </a:lnTo>
                <a:lnTo>
                  <a:pt x="1554" y="1924"/>
                </a:lnTo>
                <a:lnTo>
                  <a:pt x="1554" y="1922"/>
                </a:lnTo>
                <a:lnTo>
                  <a:pt x="1556" y="1922"/>
                </a:lnTo>
                <a:lnTo>
                  <a:pt x="1556" y="1924"/>
                </a:lnTo>
                <a:lnTo>
                  <a:pt x="1554" y="1926"/>
                </a:lnTo>
                <a:close/>
                <a:moveTo>
                  <a:pt x="1557" y="1918"/>
                </a:moveTo>
                <a:lnTo>
                  <a:pt x="1557" y="1916"/>
                </a:lnTo>
                <a:lnTo>
                  <a:pt x="1557" y="1918"/>
                </a:lnTo>
                <a:close/>
                <a:moveTo>
                  <a:pt x="1037" y="1365"/>
                </a:moveTo>
                <a:lnTo>
                  <a:pt x="1037" y="1363"/>
                </a:lnTo>
                <a:lnTo>
                  <a:pt x="1037" y="1365"/>
                </a:lnTo>
                <a:lnTo>
                  <a:pt x="1039" y="1365"/>
                </a:lnTo>
                <a:lnTo>
                  <a:pt x="1037" y="1365"/>
                </a:lnTo>
                <a:close/>
                <a:moveTo>
                  <a:pt x="1041" y="1365"/>
                </a:moveTo>
                <a:lnTo>
                  <a:pt x="1039" y="1365"/>
                </a:lnTo>
                <a:lnTo>
                  <a:pt x="1041" y="1365"/>
                </a:lnTo>
                <a:lnTo>
                  <a:pt x="1041" y="1367"/>
                </a:lnTo>
                <a:lnTo>
                  <a:pt x="1039" y="1367"/>
                </a:lnTo>
                <a:lnTo>
                  <a:pt x="1041" y="1367"/>
                </a:lnTo>
                <a:lnTo>
                  <a:pt x="1041" y="1369"/>
                </a:lnTo>
                <a:lnTo>
                  <a:pt x="1043" y="1369"/>
                </a:lnTo>
                <a:lnTo>
                  <a:pt x="1043" y="1371"/>
                </a:lnTo>
                <a:lnTo>
                  <a:pt x="1041" y="1371"/>
                </a:lnTo>
                <a:lnTo>
                  <a:pt x="1039" y="1373"/>
                </a:lnTo>
                <a:lnTo>
                  <a:pt x="1037" y="1373"/>
                </a:lnTo>
                <a:lnTo>
                  <a:pt x="1039" y="1373"/>
                </a:lnTo>
                <a:lnTo>
                  <a:pt x="1039" y="1375"/>
                </a:lnTo>
                <a:lnTo>
                  <a:pt x="1037" y="1375"/>
                </a:lnTo>
                <a:lnTo>
                  <a:pt x="1039" y="1375"/>
                </a:lnTo>
                <a:lnTo>
                  <a:pt x="1037" y="1375"/>
                </a:lnTo>
                <a:lnTo>
                  <a:pt x="1035" y="1377"/>
                </a:lnTo>
                <a:lnTo>
                  <a:pt x="1035" y="1378"/>
                </a:lnTo>
                <a:lnTo>
                  <a:pt x="1035" y="1377"/>
                </a:lnTo>
                <a:lnTo>
                  <a:pt x="1037" y="1377"/>
                </a:lnTo>
                <a:lnTo>
                  <a:pt x="1037" y="1378"/>
                </a:lnTo>
                <a:lnTo>
                  <a:pt x="1035" y="1378"/>
                </a:lnTo>
                <a:lnTo>
                  <a:pt x="1037" y="1378"/>
                </a:lnTo>
                <a:lnTo>
                  <a:pt x="1037" y="1377"/>
                </a:lnTo>
                <a:lnTo>
                  <a:pt x="1037" y="1378"/>
                </a:lnTo>
                <a:lnTo>
                  <a:pt x="1037" y="1377"/>
                </a:lnTo>
                <a:lnTo>
                  <a:pt x="1039" y="1377"/>
                </a:lnTo>
                <a:lnTo>
                  <a:pt x="1037" y="1377"/>
                </a:lnTo>
                <a:lnTo>
                  <a:pt x="1037" y="1378"/>
                </a:lnTo>
                <a:lnTo>
                  <a:pt x="1037" y="1380"/>
                </a:lnTo>
                <a:lnTo>
                  <a:pt x="1035" y="1380"/>
                </a:lnTo>
                <a:lnTo>
                  <a:pt x="1033" y="1380"/>
                </a:lnTo>
                <a:lnTo>
                  <a:pt x="1035" y="1380"/>
                </a:lnTo>
                <a:lnTo>
                  <a:pt x="1035" y="1382"/>
                </a:lnTo>
                <a:lnTo>
                  <a:pt x="1035" y="1380"/>
                </a:lnTo>
                <a:lnTo>
                  <a:pt x="1035" y="1382"/>
                </a:lnTo>
                <a:lnTo>
                  <a:pt x="1037" y="1382"/>
                </a:lnTo>
                <a:lnTo>
                  <a:pt x="1037" y="1380"/>
                </a:lnTo>
                <a:lnTo>
                  <a:pt x="1039" y="1380"/>
                </a:lnTo>
                <a:lnTo>
                  <a:pt x="1039" y="1378"/>
                </a:lnTo>
                <a:lnTo>
                  <a:pt x="1039" y="1380"/>
                </a:lnTo>
                <a:lnTo>
                  <a:pt x="1041" y="1378"/>
                </a:lnTo>
                <a:lnTo>
                  <a:pt x="1041" y="1380"/>
                </a:lnTo>
                <a:lnTo>
                  <a:pt x="1041" y="1378"/>
                </a:lnTo>
                <a:lnTo>
                  <a:pt x="1041" y="1380"/>
                </a:lnTo>
                <a:lnTo>
                  <a:pt x="1041" y="1378"/>
                </a:lnTo>
                <a:lnTo>
                  <a:pt x="1043" y="1378"/>
                </a:lnTo>
                <a:lnTo>
                  <a:pt x="1043" y="1377"/>
                </a:lnTo>
                <a:lnTo>
                  <a:pt x="1043" y="1378"/>
                </a:lnTo>
                <a:lnTo>
                  <a:pt x="1043" y="1380"/>
                </a:lnTo>
                <a:lnTo>
                  <a:pt x="1043" y="1382"/>
                </a:lnTo>
                <a:lnTo>
                  <a:pt x="1043" y="1380"/>
                </a:lnTo>
                <a:lnTo>
                  <a:pt x="1045" y="1380"/>
                </a:lnTo>
                <a:lnTo>
                  <a:pt x="1045" y="1378"/>
                </a:lnTo>
                <a:lnTo>
                  <a:pt x="1045" y="1380"/>
                </a:lnTo>
                <a:lnTo>
                  <a:pt x="1045" y="1382"/>
                </a:lnTo>
                <a:lnTo>
                  <a:pt x="1043" y="1382"/>
                </a:lnTo>
                <a:lnTo>
                  <a:pt x="1045" y="1382"/>
                </a:lnTo>
                <a:lnTo>
                  <a:pt x="1043" y="1384"/>
                </a:lnTo>
                <a:lnTo>
                  <a:pt x="1043" y="1382"/>
                </a:lnTo>
                <a:lnTo>
                  <a:pt x="1043" y="1384"/>
                </a:lnTo>
                <a:lnTo>
                  <a:pt x="1041" y="1384"/>
                </a:lnTo>
                <a:lnTo>
                  <a:pt x="1041" y="1386"/>
                </a:lnTo>
                <a:lnTo>
                  <a:pt x="1041" y="1384"/>
                </a:lnTo>
                <a:lnTo>
                  <a:pt x="1043" y="1384"/>
                </a:lnTo>
                <a:lnTo>
                  <a:pt x="1043" y="1386"/>
                </a:lnTo>
                <a:lnTo>
                  <a:pt x="1041" y="1386"/>
                </a:lnTo>
                <a:lnTo>
                  <a:pt x="1041" y="1388"/>
                </a:lnTo>
                <a:lnTo>
                  <a:pt x="1041" y="1386"/>
                </a:lnTo>
                <a:lnTo>
                  <a:pt x="1043" y="1386"/>
                </a:lnTo>
                <a:lnTo>
                  <a:pt x="1045" y="1386"/>
                </a:lnTo>
                <a:lnTo>
                  <a:pt x="1047" y="1386"/>
                </a:lnTo>
                <a:lnTo>
                  <a:pt x="1047" y="1388"/>
                </a:lnTo>
                <a:lnTo>
                  <a:pt x="1047" y="1386"/>
                </a:lnTo>
                <a:lnTo>
                  <a:pt x="1047" y="1388"/>
                </a:lnTo>
                <a:lnTo>
                  <a:pt x="1047" y="1390"/>
                </a:lnTo>
                <a:lnTo>
                  <a:pt x="1045" y="1390"/>
                </a:lnTo>
                <a:lnTo>
                  <a:pt x="1043" y="1390"/>
                </a:lnTo>
                <a:lnTo>
                  <a:pt x="1041" y="1392"/>
                </a:lnTo>
                <a:lnTo>
                  <a:pt x="1039" y="1392"/>
                </a:lnTo>
                <a:lnTo>
                  <a:pt x="1037" y="1392"/>
                </a:lnTo>
                <a:lnTo>
                  <a:pt x="1037" y="1394"/>
                </a:lnTo>
                <a:lnTo>
                  <a:pt x="1035" y="1394"/>
                </a:lnTo>
                <a:lnTo>
                  <a:pt x="1035" y="1396"/>
                </a:lnTo>
                <a:lnTo>
                  <a:pt x="1037" y="1396"/>
                </a:lnTo>
                <a:lnTo>
                  <a:pt x="1037" y="1394"/>
                </a:lnTo>
                <a:lnTo>
                  <a:pt x="1039" y="1394"/>
                </a:lnTo>
                <a:lnTo>
                  <a:pt x="1041" y="1394"/>
                </a:lnTo>
                <a:lnTo>
                  <a:pt x="1041" y="1392"/>
                </a:lnTo>
                <a:lnTo>
                  <a:pt x="1043" y="1392"/>
                </a:lnTo>
                <a:lnTo>
                  <a:pt x="1043" y="1394"/>
                </a:lnTo>
                <a:lnTo>
                  <a:pt x="1041" y="1394"/>
                </a:lnTo>
                <a:lnTo>
                  <a:pt x="1041" y="1396"/>
                </a:lnTo>
                <a:lnTo>
                  <a:pt x="1043" y="1396"/>
                </a:lnTo>
                <a:lnTo>
                  <a:pt x="1045" y="1396"/>
                </a:lnTo>
                <a:lnTo>
                  <a:pt x="1045" y="1394"/>
                </a:lnTo>
                <a:lnTo>
                  <a:pt x="1047" y="1394"/>
                </a:lnTo>
                <a:lnTo>
                  <a:pt x="1049" y="1394"/>
                </a:lnTo>
                <a:lnTo>
                  <a:pt x="1047" y="1396"/>
                </a:lnTo>
                <a:lnTo>
                  <a:pt x="1045" y="1398"/>
                </a:lnTo>
                <a:lnTo>
                  <a:pt x="1043" y="1398"/>
                </a:lnTo>
                <a:lnTo>
                  <a:pt x="1043" y="1400"/>
                </a:lnTo>
                <a:lnTo>
                  <a:pt x="1041" y="1400"/>
                </a:lnTo>
                <a:lnTo>
                  <a:pt x="1039" y="1400"/>
                </a:lnTo>
                <a:lnTo>
                  <a:pt x="1037" y="1400"/>
                </a:lnTo>
                <a:lnTo>
                  <a:pt x="1035" y="1400"/>
                </a:lnTo>
                <a:lnTo>
                  <a:pt x="1033" y="1400"/>
                </a:lnTo>
                <a:lnTo>
                  <a:pt x="1031" y="1400"/>
                </a:lnTo>
                <a:lnTo>
                  <a:pt x="1031" y="1398"/>
                </a:lnTo>
                <a:lnTo>
                  <a:pt x="1033" y="1398"/>
                </a:lnTo>
                <a:lnTo>
                  <a:pt x="1033" y="1396"/>
                </a:lnTo>
                <a:lnTo>
                  <a:pt x="1031" y="1396"/>
                </a:lnTo>
                <a:lnTo>
                  <a:pt x="1031" y="1394"/>
                </a:lnTo>
                <a:lnTo>
                  <a:pt x="1031" y="1392"/>
                </a:lnTo>
                <a:lnTo>
                  <a:pt x="1033" y="1392"/>
                </a:lnTo>
                <a:lnTo>
                  <a:pt x="1033" y="1394"/>
                </a:lnTo>
                <a:lnTo>
                  <a:pt x="1033" y="1392"/>
                </a:lnTo>
                <a:lnTo>
                  <a:pt x="1033" y="1394"/>
                </a:lnTo>
                <a:lnTo>
                  <a:pt x="1033" y="1392"/>
                </a:lnTo>
                <a:lnTo>
                  <a:pt x="1035" y="1392"/>
                </a:lnTo>
                <a:lnTo>
                  <a:pt x="1033" y="1392"/>
                </a:lnTo>
                <a:lnTo>
                  <a:pt x="1033" y="1390"/>
                </a:lnTo>
                <a:lnTo>
                  <a:pt x="1035" y="1390"/>
                </a:lnTo>
                <a:lnTo>
                  <a:pt x="1037" y="1388"/>
                </a:lnTo>
                <a:lnTo>
                  <a:pt x="1035" y="1388"/>
                </a:lnTo>
                <a:lnTo>
                  <a:pt x="1035" y="1390"/>
                </a:lnTo>
                <a:lnTo>
                  <a:pt x="1033" y="1390"/>
                </a:lnTo>
                <a:lnTo>
                  <a:pt x="1035" y="1390"/>
                </a:lnTo>
                <a:lnTo>
                  <a:pt x="1035" y="1388"/>
                </a:lnTo>
                <a:lnTo>
                  <a:pt x="1033" y="1388"/>
                </a:lnTo>
                <a:lnTo>
                  <a:pt x="1033" y="1390"/>
                </a:lnTo>
                <a:lnTo>
                  <a:pt x="1033" y="1388"/>
                </a:lnTo>
                <a:lnTo>
                  <a:pt x="1033" y="1386"/>
                </a:lnTo>
                <a:lnTo>
                  <a:pt x="1033" y="1388"/>
                </a:lnTo>
                <a:lnTo>
                  <a:pt x="1031" y="1388"/>
                </a:lnTo>
                <a:lnTo>
                  <a:pt x="1029" y="1388"/>
                </a:lnTo>
                <a:lnTo>
                  <a:pt x="1029" y="1390"/>
                </a:lnTo>
                <a:lnTo>
                  <a:pt x="1029" y="1388"/>
                </a:lnTo>
                <a:lnTo>
                  <a:pt x="1031" y="1388"/>
                </a:lnTo>
                <a:lnTo>
                  <a:pt x="1031" y="1390"/>
                </a:lnTo>
                <a:lnTo>
                  <a:pt x="1029" y="1390"/>
                </a:lnTo>
                <a:lnTo>
                  <a:pt x="1029" y="1392"/>
                </a:lnTo>
                <a:lnTo>
                  <a:pt x="1029" y="1390"/>
                </a:lnTo>
                <a:lnTo>
                  <a:pt x="1027" y="1390"/>
                </a:lnTo>
                <a:lnTo>
                  <a:pt x="1029" y="1388"/>
                </a:lnTo>
                <a:lnTo>
                  <a:pt x="1027" y="1388"/>
                </a:lnTo>
                <a:lnTo>
                  <a:pt x="1027" y="1390"/>
                </a:lnTo>
                <a:lnTo>
                  <a:pt x="1027" y="1392"/>
                </a:lnTo>
                <a:lnTo>
                  <a:pt x="1026" y="1392"/>
                </a:lnTo>
                <a:lnTo>
                  <a:pt x="1027" y="1392"/>
                </a:lnTo>
                <a:lnTo>
                  <a:pt x="1027" y="1394"/>
                </a:lnTo>
                <a:lnTo>
                  <a:pt x="1026" y="1394"/>
                </a:lnTo>
                <a:lnTo>
                  <a:pt x="1024" y="1394"/>
                </a:lnTo>
                <a:lnTo>
                  <a:pt x="1022" y="1394"/>
                </a:lnTo>
                <a:lnTo>
                  <a:pt x="1024" y="1394"/>
                </a:lnTo>
                <a:lnTo>
                  <a:pt x="1024" y="1392"/>
                </a:lnTo>
                <a:lnTo>
                  <a:pt x="1024" y="1390"/>
                </a:lnTo>
                <a:lnTo>
                  <a:pt x="1022" y="1390"/>
                </a:lnTo>
                <a:lnTo>
                  <a:pt x="1024" y="1390"/>
                </a:lnTo>
                <a:lnTo>
                  <a:pt x="1022" y="1390"/>
                </a:lnTo>
                <a:lnTo>
                  <a:pt x="1022" y="1388"/>
                </a:lnTo>
                <a:lnTo>
                  <a:pt x="1020" y="1386"/>
                </a:lnTo>
                <a:lnTo>
                  <a:pt x="1020" y="1388"/>
                </a:lnTo>
                <a:lnTo>
                  <a:pt x="1020" y="1386"/>
                </a:lnTo>
                <a:lnTo>
                  <a:pt x="1018" y="1386"/>
                </a:lnTo>
                <a:lnTo>
                  <a:pt x="1018" y="1388"/>
                </a:lnTo>
                <a:lnTo>
                  <a:pt x="1016" y="1388"/>
                </a:lnTo>
                <a:lnTo>
                  <a:pt x="1016" y="1386"/>
                </a:lnTo>
                <a:lnTo>
                  <a:pt x="1016" y="1388"/>
                </a:lnTo>
                <a:lnTo>
                  <a:pt x="1016" y="1386"/>
                </a:lnTo>
                <a:lnTo>
                  <a:pt x="1018" y="1384"/>
                </a:lnTo>
                <a:lnTo>
                  <a:pt x="1020" y="1384"/>
                </a:lnTo>
                <a:lnTo>
                  <a:pt x="1018" y="1384"/>
                </a:lnTo>
                <a:lnTo>
                  <a:pt x="1020" y="1384"/>
                </a:lnTo>
                <a:lnTo>
                  <a:pt x="1020" y="1382"/>
                </a:lnTo>
                <a:lnTo>
                  <a:pt x="1022" y="1382"/>
                </a:lnTo>
                <a:lnTo>
                  <a:pt x="1022" y="1380"/>
                </a:lnTo>
                <a:lnTo>
                  <a:pt x="1024" y="1380"/>
                </a:lnTo>
                <a:lnTo>
                  <a:pt x="1022" y="1380"/>
                </a:lnTo>
                <a:lnTo>
                  <a:pt x="1024" y="1380"/>
                </a:lnTo>
                <a:lnTo>
                  <a:pt x="1022" y="1380"/>
                </a:lnTo>
                <a:lnTo>
                  <a:pt x="1020" y="1380"/>
                </a:lnTo>
                <a:lnTo>
                  <a:pt x="1020" y="1382"/>
                </a:lnTo>
                <a:lnTo>
                  <a:pt x="1018" y="1382"/>
                </a:lnTo>
                <a:lnTo>
                  <a:pt x="1016" y="1382"/>
                </a:lnTo>
                <a:lnTo>
                  <a:pt x="1016" y="1384"/>
                </a:lnTo>
                <a:lnTo>
                  <a:pt x="1014" y="1384"/>
                </a:lnTo>
                <a:lnTo>
                  <a:pt x="1012" y="1384"/>
                </a:lnTo>
                <a:lnTo>
                  <a:pt x="1012" y="1382"/>
                </a:lnTo>
                <a:lnTo>
                  <a:pt x="1012" y="1384"/>
                </a:lnTo>
                <a:lnTo>
                  <a:pt x="1010" y="1384"/>
                </a:lnTo>
                <a:lnTo>
                  <a:pt x="1010" y="1382"/>
                </a:lnTo>
                <a:lnTo>
                  <a:pt x="1008" y="1382"/>
                </a:lnTo>
                <a:lnTo>
                  <a:pt x="1008" y="1380"/>
                </a:lnTo>
                <a:lnTo>
                  <a:pt x="1010" y="1380"/>
                </a:lnTo>
                <a:lnTo>
                  <a:pt x="1010" y="1378"/>
                </a:lnTo>
                <a:lnTo>
                  <a:pt x="1008" y="1378"/>
                </a:lnTo>
                <a:lnTo>
                  <a:pt x="1008" y="1380"/>
                </a:lnTo>
                <a:lnTo>
                  <a:pt x="1008" y="1382"/>
                </a:lnTo>
                <a:lnTo>
                  <a:pt x="1006" y="1382"/>
                </a:lnTo>
                <a:lnTo>
                  <a:pt x="1004" y="1382"/>
                </a:lnTo>
                <a:lnTo>
                  <a:pt x="1002" y="1382"/>
                </a:lnTo>
                <a:lnTo>
                  <a:pt x="1002" y="1380"/>
                </a:lnTo>
                <a:lnTo>
                  <a:pt x="1002" y="1378"/>
                </a:lnTo>
                <a:lnTo>
                  <a:pt x="1002" y="1377"/>
                </a:lnTo>
                <a:lnTo>
                  <a:pt x="1002" y="1375"/>
                </a:lnTo>
                <a:lnTo>
                  <a:pt x="1002" y="1373"/>
                </a:lnTo>
                <a:lnTo>
                  <a:pt x="1002" y="1371"/>
                </a:lnTo>
                <a:lnTo>
                  <a:pt x="1002" y="1369"/>
                </a:lnTo>
                <a:lnTo>
                  <a:pt x="1004" y="1367"/>
                </a:lnTo>
                <a:lnTo>
                  <a:pt x="1004" y="1369"/>
                </a:lnTo>
                <a:lnTo>
                  <a:pt x="1004" y="1367"/>
                </a:lnTo>
                <a:lnTo>
                  <a:pt x="1004" y="1369"/>
                </a:lnTo>
                <a:lnTo>
                  <a:pt x="1006" y="1369"/>
                </a:lnTo>
                <a:lnTo>
                  <a:pt x="1006" y="1367"/>
                </a:lnTo>
                <a:lnTo>
                  <a:pt x="1004" y="1367"/>
                </a:lnTo>
                <a:lnTo>
                  <a:pt x="1004" y="1365"/>
                </a:lnTo>
                <a:lnTo>
                  <a:pt x="1002" y="1365"/>
                </a:lnTo>
                <a:lnTo>
                  <a:pt x="1002" y="1363"/>
                </a:lnTo>
                <a:lnTo>
                  <a:pt x="1004" y="1363"/>
                </a:lnTo>
                <a:lnTo>
                  <a:pt x="1004" y="1361"/>
                </a:lnTo>
                <a:lnTo>
                  <a:pt x="1004" y="1359"/>
                </a:lnTo>
                <a:lnTo>
                  <a:pt x="1006" y="1359"/>
                </a:lnTo>
                <a:lnTo>
                  <a:pt x="1006" y="1357"/>
                </a:lnTo>
                <a:lnTo>
                  <a:pt x="1008" y="1357"/>
                </a:lnTo>
                <a:lnTo>
                  <a:pt x="1008" y="1359"/>
                </a:lnTo>
                <a:lnTo>
                  <a:pt x="1010" y="1359"/>
                </a:lnTo>
                <a:lnTo>
                  <a:pt x="1010" y="1361"/>
                </a:lnTo>
                <a:lnTo>
                  <a:pt x="1010" y="1363"/>
                </a:lnTo>
                <a:lnTo>
                  <a:pt x="1012" y="1363"/>
                </a:lnTo>
                <a:lnTo>
                  <a:pt x="1012" y="1365"/>
                </a:lnTo>
                <a:lnTo>
                  <a:pt x="1010" y="1367"/>
                </a:lnTo>
                <a:lnTo>
                  <a:pt x="1012" y="1367"/>
                </a:lnTo>
                <a:lnTo>
                  <a:pt x="1012" y="1365"/>
                </a:lnTo>
                <a:lnTo>
                  <a:pt x="1012" y="1367"/>
                </a:lnTo>
                <a:lnTo>
                  <a:pt x="1012" y="1369"/>
                </a:lnTo>
                <a:lnTo>
                  <a:pt x="1012" y="1371"/>
                </a:lnTo>
                <a:lnTo>
                  <a:pt x="1012" y="1373"/>
                </a:lnTo>
                <a:lnTo>
                  <a:pt x="1014" y="1373"/>
                </a:lnTo>
                <a:lnTo>
                  <a:pt x="1014" y="1371"/>
                </a:lnTo>
                <a:lnTo>
                  <a:pt x="1014" y="1369"/>
                </a:lnTo>
                <a:lnTo>
                  <a:pt x="1014" y="1367"/>
                </a:lnTo>
                <a:lnTo>
                  <a:pt x="1012" y="1367"/>
                </a:lnTo>
                <a:lnTo>
                  <a:pt x="1012" y="1365"/>
                </a:lnTo>
                <a:lnTo>
                  <a:pt x="1014" y="1365"/>
                </a:lnTo>
                <a:lnTo>
                  <a:pt x="1014" y="1363"/>
                </a:lnTo>
                <a:lnTo>
                  <a:pt x="1014" y="1361"/>
                </a:lnTo>
                <a:lnTo>
                  <a:pt x="1014" y="1359"/>
                </a:lnTo>
                <a:lnTo>
                  <a:pt x="1016" y="1359"/>
                </a:lnTo>
                <a:lnTo>
                  <a:pt x="1018" y="1359"/>
                </a:lnTo>
                <a:lnTo>
                  <a:pt x="1020" y="1359"/>
                </a:lnTo>
                <a:lnTo>
                  <a:pt x="1020" y="1361"/>
                </a:lnTo>
                <a:lnTo>
                  <a:pt x="1020" y="1363"/>
                </a:lnTo>
                <a:lnTo>
                  <a:pt x="1020" y="1365"/>
                </a:lnTo>
                <a:lnTo>
                  <a:pt x="1020" y="1367"/>
                </a:lnTo>
                <a:lnTo>
                  <a:pt x="1020" y="1365"/>
                </a:lnTo>
                <a:lnTo>
                  <a:pt x="1020" y="1367"/>
                </a:lnTo>
                <a:lnTo>
                  <a:pt x="1022" y="1365"/>
                </a:lnTo>
                <a:lnTo>
                  <a:pt x="1022" y="1367"/>
                </a:lnTo>
                <a:lnTo>
                  <a:pt x="1024" y="1367"/>
                </a:lnTo>
                <a:lnTo>
                  <a:pt x="1024" y="1369"/>
                </a:lnTo>
                <a:lnTo>
                  <a:pt x="1022" y="1371"/>
                </a:lnTo>
                <a:lnTo>
                  <a:pt x="1022" y="1373"/>
                </a:lnTo>
                <a:lnTo>
                  <a:pt x="1022" y="1371"/>
                </a:lnTo>
                <a:lnTo>
                  <a:pt x="1024" y="1371"/>
                </a:lnTo>
                <a:lnTo>
                  <a:pt x="1024" y="1373"/>
                </a:lnTo>
                <a:lnTo>
                  <a:pt x="1024" y="1371"/>
                </a:lnTo>
                <a:lnTo>
                  <a:pt x="1024" y="1369"/>
                </a:lnTo>
                <a:lnTo>
                  <a:pt x="1024" y="1371"/>
                </a:lnTo>
                <a:lnTo>
                  <a:pt x="1024" y="1369"/>
                </a:lnTo>
                <a:lnTo>
                  <a:pt x="1026" y="1369"/>
                </a:lnTo>
                <a:lnTo>
                  <a:pt x="1027" y="1369"/>
                </a:lnTo>
                <a:lnTo>
                  <a:pt x="1026" y="1367"/>
                </a:lnTo>
                <a:lnTo>
                  <a:pt x="1027" y="1367"/>
                </a:lnTo>
                <a:lnTo>
                  <a:pt x="1027" y="1365"/>
                </a:lnTo>
                <a:lnTo>
                  <a:pt x="1027" y="1367"/>
                </a:lnTo>
                <a:lnTo>
                  <a:pt x="1027" y="1369"/>
                </a:lnTo>
                <a:lnTo>
                  <a:pt x="1029" y="1369"/>
                </a:lnTo>
                <a:lnTo>
                  <a:pt x="1029" y="1367"/>
                </a:lnTo>
                <a:lnTo>
                  <a:pt x="1029" y="1365"/>
                </a:lnTo>
                <a:lnTo>
                  <a:pt x="1029" y="1363"/>
                </a:lnTo>
                <a:lnTo>
                  <a:pt x="1027" y="1363"/>
                </a:lnTo>
                <a:lnTo>
                  <a:pt x="1029" y="1363"/>
                </a:lnTo>
                <a:lnTo>
                  <a:pt x="1027" y="1361"/>
                </a:lnTo>
                <a:lnTo>
                  <a:pt x="1029" y="1361"/>
                </a:lnTo>
                <a:lnTo>
                  <a:pt x="1029" y="1359"/>
                </a:lnTo>
                <a:lnTo>
                  <a:pt x="1029" y="1361"/>
                </a:lnTo>
                <a:lnTo>
                  <a:pt x="1031" y="1361"/>
                </a:lnTo>
                <a:lnTo>
                  <a:pt x="1031" y="1363"/>
                </a:lnTo>
                <a:lnTo>
                  <a:pt x="1033" y="1363"/>
                </a:lnTo>
                <a:lnTo>
                  <a:pt x="1031" y="1363"/>
                </a:lnTo>
                <a:lnTo>
                  <a:pt x="1031" y="1365"/>
                </a:lnTo>
                <a:lnTo>
                  <a:pt x="1031" y="1363"/>
                </a:lnTo>
                <a:lnTo>
                  <a:pt x="1033" y="1363"/>
                </a:lnTo>
                <a:lnTo>
                  <a:pt x="1035" y="1363"/>
                </a:lnTo>
                <a:lnTo>
                  <a:pt x="1037" y="1363"/>
                </a:lnTo>
                <a:lnTo>
                  <a:pt x="1037" y="1365"/>
                </a:lnTo>
                <a:lnTo>
                  <a:pt x="1035" y="1365"/>
                </a:lnTo>
                <a:lnTo>
                  <a:pt x="1035" y="1367"/>
                </a:lnTo>
                <a:lnTo>
                  <a:pt x="1037" y="1367"/>
                </a:lnTo>
                <a:lnTo>
                  <a:pt x="1037" y="1365"/>
                </a:lnTo>
                <a:lnTo>
                  <a:pt x="1037" y="1367"/>
                </a:lnTo>
                <a:lnTo>
                  <a:pt x="1037" y="1365"/>
                </a:lnTo>
                <a:lnTo>
                  <a:pt x="1039" y="1365"/>
                </a:lnTo>
                <a:lnTo>
                  <a:pt x="1041" y="1365"/>
                </a:lnTo>
                <a:close/>
                <a:moveTo>
                  <a:pt x="1561" y="1918"/>
                </a:moveTo>
                <a:lnTo>
                  <a:pt x="1559" y="1920"/>
                </a:lnTo>
                <a:lnTo>
                  <a:pt x="1559" y="1922"/>
                </a:lnTo>
                <a:lnTo>
                  <a:pt x="1559" y="1924"/>
                </a:lnTo>
                <a:lnTo>
                  <a:pt x="1559" y="1926"/>
                </a:lnTo>
                <a:lnTo>
                  <a:pt x="1559" y="1928"/>
                </a:lnTo>
                <a:lnTo>
                  <a:pt x="1557" y="1928"/>
                </a:lnTo>
                <a:lnTo>
                  <a:pt x="1557" y="1926"/>
                </a:lnTo>
                <a:lnTo>
                  <a:pt x="1557" y="1924"/>
                </a:lnTo>
                <a:lnTo>
                  <a:pt x="1557" y="1922"/>
                </a:lnTo>
                <a:lnTo>
                  <a:pt x="1559" y="1922"/>
                </a:lnTo>
                <a:lnTo>
                  <a:pt x="1559" y="1920"/>
                </a:lnTo>
                <a:lnTo>
                  <a:pt x="1559" y="1918"/>
                </a:lnTo>
                <a:lnTo>
                  <a:pt x="1561" y="1918"/>
                </a:lnTo>
                <a:close/>
                <a:moveTo>
                  <a:pt x="1529" y="1893"/>
                </a:moveTo>
                <a:lnTo>
                  <a:pt x="1527" y="1893"/>
                </a:lnTo>
                <a:lnTo>
                  <a:pt x="1527" y="1891"/>
                </a:lnTo>
                <a:lnTo>
                  <a:pt x="1525" y="1891"/>
                </a:lnTo>
                <a:lnTo>
                  <a:pt x="1527" y="1891"/>
                </a:lnTo>
                <a:lnTo>
                  <a:pt x="1529" y="1891"/>
                </a:lnTo>
                <a:lnTo>
                  <a:pt x="1529" y="1893"/>
                </a:lnTo>
                <a:close/>
                <a:moveTo>
                  <a:pt x="1525" y="1889"/>
                </a:moveTo>
                <a:lnTo>
                  <a:pt x="1527" y="1889"/>
                </a:lnTo>
                <a:lnTo>
                  <a:pt x="1525" y="1889"/>
                </a:lnTo>
                <a:lnTo>
                  <a:pt x="1527" y="1889"/>
                </a:lnTo>
                <a:lnTo>
                  <a:pt x="1527" y="1891"/>
                </a:lnTo>
                <a:lnTo>
                  <a:pt x="1525" y="1891"/>
                </a:lnTo>
                <a:lnTo>
                  <a:pt x="1525" y="1889"/>
                </a:lnTo>
                <a:lnTo>
                  <a:pt x="1525" y="1891"/>
                </a:lnTo>
                <a:lnTo>
                  <a:pt x="1525" y="1889"/>
                </a:lnTo>
                <a:lnTo>
                  <a:pt x="1523" y="1889"/>
                </a:lnTo>
                <a:lnTo>
                  <a:pt x="1525" y="1889"/>
                </a:lnTo>
                <a:lnTo>
                  <a:pt x="1525" y="1887"/>
                </a:lnTo>
                <a:lnTo>
                  <a:pt x="1525" y="1889"/>
                </a:lnTo>
                <a:lnTo>
                  <a:pt x="1527" y="1889"/>
                </a:lnTo>
                <a:lnTo>
                  <a:pt x="1525" y="1889"/>
                </a:lnTo>
                <a:close/>
                <a:moveTo>
                  <a:pt x="1527" y="1889"/>
                </a:moveTo>
                <a:lnTo>
                  <a:pt x="1529" y="1889"/>
                </a:lnTo>
                <a:lnTo>
                  <a:pt x="1529" y="1891"/>
                </a:lnTo>
                <a:lnTo>
                  <a:pt x="1527" y="1891"/>
                </a:lnTo>
                <a:lnTo>
                  <a:pt x="1527" y="1889"/>
                </a:lnTo>
                <a:close/>
                <a:moveTo>
                  <a:pt x="1047" y="1371"/>
                </a:moveTo>
                <a:lnTo>
                  <a:pt x="1049" y="1373"/>
                </a:lnTo>
                <a:lnTo>
                  <a:pt x="1047" y="1373"/>
                </a:lnTo>
                <a:lnTo>
                  <a:pt x="1045" y="1373"/>
                </a:lnTo>
                <a:lnTo>
                  <a:pt x="1045" y="1371"/>
                </a:lnTo>
                <a:lnTo>
                  <a:pt x="1047" y="1371"/>
                </a:lnTo>
                <a:close/>
                <a:moveTo>
                  <a:pt x="1559" y="1914"/>
                </a:moveTo>
                <a:lnTo>
                  <a:pt x="1559" y="1916"/>
                </a:lnTo>
                <a:lnTo>
                  <a:pt x="1559" y="1918"/>
                </a:lnTo>
                <a:lnTo>
                  <a:pt x="1557" y="1918"/>
                </a:lnTo>
                <a:lnTo>
                  <a:pt x="1557" y="1916"/>
                </a:lnTo>
                <a:lnTo>
                  <a:pt x="1557" y="1914"/>
                </a:lnTo>
                <a:lnTo>
                  <a:pt x="1557" y="1912"/>
                </a:lnTo>
                <a:lnTo>
                  <a:pt x="1559" y="1912"/>
                </a:lnTo>
                <a:lnTo>
                  <a:pt x="1559" y="1914"/>
                </a:lnTo>
                <a:close/>
                <a:moveTo>
                  <a:pt x="1531" y="1891"/>
                </a:moveTo>
                <a:lnTo>
                  <a:pt x="1529" y="1891"/>
                </a:lnTo>
                <a:lnTo>
                  <a:pt x="1531" y="1889"/>
                </a:lnTo>
                <a:lnTo>
                  <a:pt x="1531" y="1891"/>
                </a:lnTo>
                <a:close/>
                <a:moveTo>
                  <a:pt x="1527" y="1885"/>
                </a:moveTo>
                <a:lnTo>
                  <a:pt x="1527" y="1887"/>
                </a:lnTo>
                <a:lnTo>
                  <a:pt x="1525" y="1887"/>
                </a:lnTo>
                <a:lnTo>
                  <a:pt x="1525" y="1885"/>
                </a:lnTo>
                <a:lnTo>
                  <a:pt x="1527" y="1885"/>
                </a:lnTo>
                <a:close/>
                <a:moveTo>
                  <a:pt x="1054" y="1378"/>
                </a:moveTo>
                <a:lnTo>
                  <a:pt x="1052" y="1378"/>
                </a:lnTo>
                <a:lnTo>
                  <a:pt x="1054" y="1378"/>
                </a:lnTo>
                <a:lnTo>
                  <a:pt x="1054" y="1377"/>
                </a:lnTo>
                <a:lnTo>
                  <a:pt x="1054" y="1378"/>
                </a:lnTo>
                <a:close/>
                <a:moveTo>
                  <a:pt x="1559" y="1912"/>
                </a:moveTo>
                <a:lnTo>
                  <a:pt x="1557" y="1912"/>
                </a:lnTo>
                <a:lnTo>
                  <a:pt x="1559" y="1912"/>
                </a:lnTo>
                <a:lnTo>
                  <a:pt x="1559" y="1910"/>
                </a:lnTo>
                <a:lnTo>
                  <a:pt x="1559" y="1912"/>
                </a:lnTo>
                <a:close/>
                <a:moveTo>
                  <a:pt x="1531" y="1887"/>
                </a:moveTo>
                <a:lnTo>
                  <a:pt x="1531" y="1889"/>
                </a:lnTo>
                <a:lnTo>
                  <a:pt x="1531" y="1887"/>
                </a:lnTo>
                <a:close/>
                <a:moveTo>
                  <a:pt x="1523" y="1880"/>
                </a:moveTo>
                <a:lnTo>
                  <a:pt x="1523" y="1881"/>
                </a:lnTo>
                <a:lnTo>
                  <a:pt x="1523" y="1880"/>
                </a:lnTo>
                <a:close/>
                <a:moveTo>
                  <a:pt x="1529" y="1885"/>
                </a:moveTo>
                <a:lnTo>
                  <a:pt x="1531" y="1885"/>
                </a:lnTo>
                <a:lnTo>
                  <a:pt x="1529" y="1885"/>
                </a:lnTo>
                <a:lnTo>
                  <a:pt x="1531" y="1885"/>
                </a:lnTo>
                <a:lnTo>
                  <a:pt x="1531" y="1883"/>
                </a:lnTo>
                <a:lnTo>
                  <a:pt x="1531" y="1885"/>
                </a:lnTo>
                <a:lnTo>
                  <a:pt x="1529" y="1885"/>
                </a:lnTo>
                <a:close/>
                <a:moveTo>
                  <a:pt x="1531" y="1887"/>
                </a:moveTo>
                <a:lnTo>
                  <a:pt x="1531" y="1885"/>
                </a:lnTo>
                <a:lnTo>
                  <a:pt x="1532" y="1885"/>
                </a:lnTo>
                <a:lnTo>
                  <a:pt x="1532" y="1887"/>
                </a:lnTo>
                <a:lnTo>
                  <a:pt x="1531" y="1887"/>
                </a:lnTo>
                <a:close/>
                <a:moveTo>
                  <a:pt x="1565" y="1912"/>
                </a:moveTo>
                <a:lnTo>
                  <a:pt x="1565" y="1914"/>
                </a:lnTo>
                <a:lnTo>
                  <a:pt x="1565" y="1912"/>
                </a:lnTo>
                <a:close/>
                <a:moveTo>
                  <a:pt x="1532" y="1883"/>
                </a:moveTo>
                <a:lnTo>
                  <a:pt x="1532" y="1885"/>
                </a:lnTo>
                <a:lnTo>
                  <a:pt x="1531" y="1885"/>
                </a:lnTo>
                <a:lnTo>
                  <a:pt x="1532" y="1885"/>
                </a:lnTo>
                <a:lnTo>
                  <a:pt x="1531" y="1885"/>
                </a:lnTo>
                <a:lnTo>
                  <a:pt x="1531" y="1883"/>
                </a:lnTo>
                <a:lnTo>
                  <a:pt x="1532" y="1883"/>
                </a:lnTo>
                <a:close/>
                <a:moveTo>
                  <a:pt x="1557" y="1904"/>
                </a:moveTo>
                <a:lnTo>
                  <a:pt x="1556" y="1904"/>
                </a:lnTo>
                <a:lnTo>
                  <a:pt x="1557" y="1903"/>
                </a:lnTo>
                <a:lnTo>
                  <a:pt x="1557" y="1904"/>
                </a:lnTo>
                <a:close/>
                <a:moveTo>
                  <a:pt x="1527" y="1878"/>
                </a:moveTo>
                <a:lnTo>
                  <a:pt x="1527" y="1880"/>
                </a:lnTo>
                <a:lnTo>
                  <a:pt x="1525" y="1880"/>
                </a:lnTo>
                <a:lnTo>
                  <a:pt x="1525" y="1881"/>
                </a:lnTo>
                <a:lnTo>
                  <a:pt x="1525" y="1880"/>
                </a:lnTo>
                <a:lnTo>
                  <a:pt x="1525" y="1878"/>
                </a:lnTo>
                <a:lnTo>
                  <a:pt x="1525" y="1876"/>
                </a:lnTo>
                <a:lnTo>
                  <a:pt x="1527" y="1876"/>
                </a:lnTo>
                <a:lnTo>
                  <a:pt x="1527" y="1878"/>
                </a:lnTo>
                <a:close/>
                <a:moveTo>
                  <a:pt x="1026" y="1327"/>
                </a:moveTo>
                <a:lnTo>
                  <a:pt x="1027" y="1327"/>
                </a:lnTo>
                <a:lnTo>
                  <a:pt x="1026" y="1327"/>
                </a:lnTo>
                <a:close/>
                <a:moveTo>
                  <a:pt x="1557" y="1903"/>
                </a:moveTo>
                <a:lnTo>
                  <a:pt x="1557" y="1901"/>
                </a:lnTo>
                <a:lnTo>
                  <a:pt x="1557" y="1903"/>
                </a:lnTo>
                <a:close/>
                <a:moveTo>
                  <a:pt x="883" y="1092"/>
                </a:moveTo>
                <a:lnTo>
                  <a:pt x="883" y="1094"/>
                </a:lnTo>
                <a:lnTo>
                  <a:pt x="881" y="1094"/>
                </a:lnTo>
                <a:lnTo>
                  <a:pt x="881" y="1092"/>
                </a:lnTo>
                <a:lnTo>
                  <a:pt x="883" y="1092"/>
                </a:lnTo>
                <a:lnTo>
                  <a:pt x="883" y="1090"/>
                </a:lnTo>
                <a:lnTo>
                  <a:pt x="883" y="1092"/>
                </a:lnTo>
                <a:close/>
                <a:moveTo>
                  <a:pt x="1557" y="1903"/>
                </a:moveTo>
                <a:lnTo>
                  <a:pt x="1559" y="1903"/>
                </a:lnTo>
                <a:lnTo>
                  <a:pt x="1557" y="1903"/>
                </a:lnTo>
                <a:close/>
                <a:moveTo>
                  <a:pt x="1050" y="1361"/>
                </a:moveTo>
                <a:lnTo>
                  <a:pt x="1050" y="1363"/>
                </a:lnTo>
                <a:lnTo>
                  <a:pt x="1049" y="1363"/>
                </a:lnTo>
                <a:lnTo>
                  <a:pt x="1050" y="1363"/>
                </a:lnTo>
                <a:lnTo>
                  <a:pt x="1049" y="1363"/>
                </a:lnTo>
                <a:lnTo>
                  <a:pt x="1047" y="1363"/>
                </a:lnTo>
                <a:lnTo>
                  <a:pt x="1047" y="1361"/>
                </a:lnTo>
                <a:lnTo>
                  <a:pt x="1049" y="1361"/>
                </a:lnTo>
                <a:lnTo>
                  <a:pt x="1047" y="1361"/>
                </a:lnTo>
                <a:lnTo>
                  <a:pt x="1045" y="1361"/>
                </a:lnTo>
                <a:lnTo>
                  <a:pt x="1047" y="1361"/>
                </a:lnTo>
                <a:lnTo>
                  <a:pt x="1047" y="1359"/>
                </a:lnTo>
                <a:lnTo>
                  <a:pt x="1045" y="1361"/>
                </a:lnTo>
                <a:lnTo>
                  <a:pt x="1045" y="1359"/>
                </a:lnTo>
                <a:lnTo>
                  <a:pt x="1047" y="1359"/>
                </a:lnTo>
                <a:lnTo>
                  <a:pt x="1047" y="1361"/>
                </a:lnTo>
                <a:lnTo>
                  <a:pt x="1047" y="1359"/>
                </a:lnTo>
                <a:lnTo>
                  <a:pt x="1049" y="1361"/>
                </a:lnTo>
                <a:lnTo>
                  <a:pt x="1049" y="1359"/>
                </a:lnTo>
                <a:lnTo>
                  <a:pt x="1049" y="1361"/>
                </a:lnTo>
                <a:lnTo>
                  <a:pt x="1047" y="1361"/>
                </a:lnTo>
                <a:lnTo>
                  <a:pt x="1049" y="1361"/>
                </a:lnTo>
                <a:lnTo>
                  <a:pt x="1049" y="1359"/>
                </a:lnTo>
                <a:lnTo>
                  <a:pt x="1049" y="1361"/>
                </a:lnTo>
                <a:lnTo>
                  <a:pt x="1050" y="1361"/>
                </a:lnTo>
                <a:lnTo>
                  <a:pt x="1052" y="1361"/>
                </a:lnTo>
                <a:lnTo>
                  <a:pt x="1050" y="1361"/>
                </a:lnTo>
                <a:close/>
                <a:moveTo>
                  <a:pt x="1527" y="1876"/>
                </a:moveTo>
                <a:lnTo>
                  <a:pt x="1527" y="1874"/>
                </a:lnTo>
                <a:lnTo>
                  <a:pt x="1527" y="1876"/>
                </a:lnTo>
                <a:close/>
                <a:moveTo>
                  <a:pt x="1058" y="1369"/>
                </a:moveTo>
                <a:lnTo>
                  <a:pt x="1056" y="1369"/>
                </a:lnTo>
                <a:lnTo>
                  <a:pt x="1054" y="1369"/>
                </a:lnTo>
                <a:lnTo>
                  <a:pt x="1056" y="1369"/>
                </a:lnTo>
                <a:lnTo>
                  <a:pt x="1056" y="1371"/>
                </a:lnTo>
                <a:lnTo>
                  <a:pt x="1054" y="1371"/>
                </a:lnTo>
                <a:lnTo>
                  <a:pt x="1052" y="1371"/>
                </a:lnTo>
                <a:lnTo>
                  <a:pt x="1050" y="1371"/>
                </a:lnTo>
                <a:lnTo>
                  <a:pt x="1050" y="1373"/>
                </a:lnTo>
                <a:lnTo>
                  <a:pt x="1050" y="1371"/>
                </a:lnTo>
                <a:lnTo>
                  <a:pt x="1049" y="1371"/>
                </a:lnTo>
                <a:lnTo>
                  <a:pt x="1049" y="1373"/>
                </a:lnTo>
                <a:lnTo>
                  <a:pt x="1049" y="1371"/>
                </a:lnTo>
                <a:lnTo>
                  <a:pt x="1050" y="1371"/>
                </a:lnTo>
                <a:lnTo>
                  <a:pt x="1049" y="1371"/>
                </a:lnTo>
                <a:lnTo>
                  <a:pt x="1047" y="1371"/>
                </a:lnTo>
                <a:lnTo>
                  <a:pt x="1045" y="1371"/>
                </a:lnTo>
                <a:lnTo>
                  <a:pt x="1043" y="1371"/>
                </a:lnTo>
                <a:lnTo>
                  <a:pt x="1043" y="1369"/>
                </a:lnTo>
                <a:lnTo>
                  <a:pt x="1043" y="1367"/>
                </a:lnTo>
                <a:lnTo>
                  <a:pt x="1043" y="1365"/>
                </a:lnTo>
                <a:lnTo>
                  <a:pt x="1041" y="1365"/>
                </a:lnTo>
                <a:lnTo>
                  <a:pt x="1043" y="1365"/>
                </a:lnTo>
                <a:lnTo>
                  <a:pt x="1043" y="1363"/>
                </a:lnTo>
                <a:lnTo>
                  <a:pt x="1043" y="1365"/>
                </a:lnTo>
                <a:lnTo>
                  <a:pt x="1041" y="1363"/>
                </a:lnTo>
                <a:lnTo>
                  <a:pt x="1043" y="1363"/>
                </a:lnTo>
                <a:lnTo>
                  <a:pt x="1041" y="1363"/>
                </a:lnTo>
                <a:lnTo>
                  <a:pt x="1043" y="1363"/>
                </a:lnTo>
                <a:lnTo>
                  <a:pt x="1045" y="1363"/>
                </a:lnTo>
                <a:lnTo>
                  <a:pt x="1043" y="1363"/>
                </a:lnTo>
                <a:lnTo>
                  <a:pt x="1045" y="1361"/>
                </a:lnTo>
                <a:lnTo>
                  <a:pt x="1043" y="1361"/>
                </a:lnTo>
                <a:lnTo>
                  <a:pt x="1045" y="1361"/>
                </a:lnTo>
                <a:lnTo>
                  <a:pt x="1047" y="1363"/>
                </a:lnTo>
                <a:lnTo>
                  <a:pt x="1045" y="1363"/>
                </a:lnTo>
                <a:lnTo>
                  <a:pt x="1047" y="1363"/>
                </a:lnTo>
                <a:lnTo>
                  <a:pt x="1047" y="1365"/>
                </a:lnTo>
                <a:lnTo>
                  <a:pt x="1047" y="1363"/>
                </a:lnTo>
                <a:lnTo>
                  <a:pt x="1049" y="1363"/>
                </a:lnTo>
                <a:lnTo>
                  <a:pt x="1050" y="1363"/>
                </a:lnTo>
                <a:lnTo>
                  <a:pt x="1049" y="1363"/>
                </a:lnTo>
                <a:lnTo>
                  <a:pt x="1047" y="1363"/>
                </a:lnTo>
                <a:lnTo>
                  <a:pt x="1049" y="1363"/>
                </a:lnTo>
                <a:lnTo>
                  <a:pt x="1049" y="1365"/>
                </a:lnTo>
                <a:lnTo>
                  <a:pt x="1050" y="1365"/>
                </a:lnTo>
                <a:lnTo>
                  <a:pt x="1049" y="1365"/>
                </a:lnTo>
                <a:lnTo>
                  <a:pt x="1050" y="1365"/>
                </a:lnTo>
                <a:lnTo>
                  <a:pt x="1050" y="1363"/>
                </a:lnTo>
                <a:lnTo>
                  <a:pt x="1050" y="1365"/>
                </a:lnTo>
                <a:lnTo>
                  <a:pt x="1050" y="1363"/>
                </a:lnTo>
                <a:lnTo>
                  <a:pt x="1050" y="1365"/>
                </a:lnTo>
                <a:lnTo>
                  <a:pt x="1052" y="1365"/>
                </a:lnTo>
                <a:lnTo>
                  <a:pt x="1052" y="1367"/>
                </a:lnTo>
                <a:lnTo>
                  <a:pt x="1052" y="1365"/>
                </a:lnTo>
                <a:lnTo>
                  <a:pt x="1054" y="1365"/>
                </a:lnTo>
                <a:lnTo>
                  <a:pt x="1054" y="1363"/>
                </a:lnTo>
                <a:lnTo>
                  <a:pt x="1054" y="1365"/>
                </a:lnTo>
                <a:lnTo>
                  <a:pt x="1054" y="1367"/>
                </a:lnTo>
                <a:lnTo>
                  <a:pt x="1052" y="1367"/>
                </a:lnTo>
                <a:lnTo>
                  <a:pt x="1052" y="1365"/>
                </a:lnTo>
                <a:lnTo>
                  <a:pt x="1050" y="1365"/>
                </a:lnTo>
                <a:lnTo>
                  <a:pt x="1050" y="1367"/>
                </a:lnTo>
                <a:lnTo>
                  <a:pt x="1052" y="1367"/>
                </a:lnTo>
                <a:lnTo>
                  <a:pt x="1050" y="1367"/>
                </a:lnTo>
                <a:lnTo>
                  <a:pt x="1052" y="1367"/>
                </a:lnTo>
                <a:lnTo>
                  <a:pt x="1054" y="1367"/>
                </a:lnTo>
                <a:lnTo>
                  <a:pt x="1056" y="1367"/>
                </a:lnTo>
                <a:lnTo>
                  <a:pt x="1058" y="1367"/>
                </a:lnTo>
                <a:lnTo>
                  <a:pt x="1058" y="1369"/>
                </a:lnTo>
                <a:close/>
                <a:moveTo>
                  <a:pt x="1058" y="1367"/>
                </a:moveTo>
                <a:lnTo>
                  <a:pt x="1058" y="1369"/>
                </a:lnTo>
                <a:lnTo>
                  <a:pt x="1058" y="1367"/>
                </a:lnTo>
                <a:close/>
                <a:moveTo>
                  <a:pt x="1481" y="1835"/>
                </a:moveTo>
                <a:lnTo>
                  <a:pt x="1481" y="1833"/>
                </a:lnTo>
                <a:lnTo>
                  <a:pt x="1481" y="1835"/>
                </a:lnTo>
                <a:close/>
                <a:moveTo>
                  <a:pt x="1052" y="1361"/>
                </a:moveTo>
                <a:lnTo>
                  <a:pt x="1052" y="1359"/>
                </a:lnTo>
                <a:lnTo>
                  <a:pt x="1054" y="1359"/>
                </a:lnTo>
                <a:lnTo>
                  <a:pt x="1054" y="1361"/>
                </a:lnTo>
                <a:lnTo>
                  <a:pt x="1052" y="1361"/>
                </a:lnTo>
                <a:close/>
                <a:moveTo>
                  <a:pt x="1532" y="1878"/>
                </a:moveTo>
                <a:lnTo>
                  <a:pt x="1534" y="1878"/>
                </a:lnTo>
                <a:lnTo>
                  <a:pt x="1532" y="1878"/>
                </a:lnTo>
                <a:close/>
                <a:moveTo>
                  <a:pt x="1525" y="1874"/>
                </a:moveTo>
                <a:lnTo>
                  <a:pt x="1525" y="1872"/>
                </a:lnTo>
                <a:lnTo>
                  <a:pt x="1525" y="1870"/>
                </a:lnTo>
                <a:lnTo>
                  <a:pt x="1527" y="1870"/>
                </a:lnTo>
                <a:lnTo>
                  <a:pt x="1527" y="1872"/>
                </a:lnTo>
                <a:lnTo>
                  <a:pt x="1525" y="1872"/>
                </a:lnTo>
                <a:lnTo>
                  <a:pt x="1525" y="1874"/>
                </a:lnTo>
                <a:close/>
                <a:moveTo>
                  <a:pt x="1536" y="1874"/>
                </a:moveTo>
                <a:lnTo>
                  <a:pt x="1536" y="1872"/>
                </a:lnTo>
                <a:lnTo>
                  <a:pt x="1536" y="1874"/>
                </a:lnTo>
                <a:close/>
                <a:moveTo>
                  <a:pt x="1534" y="1872"/>
                </a:moveTo>
                <a:lnTo>
                  <a:pt x="1536" y="1872"/>
                </a:lnTo>
                <a:lnTo>
                  <a:pt x="1534" y="1872"/>
                </a:lnTo>
                <a:close/>
                <a:moveTo>
                  <a:pt x="881" y="1079"/>
                </a:moveTo>
                <a:lnTo>
                  <a:pt x="881" y="1081"/>
                </a:lnTo>
                <a:lnTo>
                  <a:pt x="880" y="1081"/>
                </a:lnTo>
                <a:lnTo>
                  <a:pt x="880" y="1079"/>
                </a:lnTo>
                <a:lnTo>
                  <a:pt x="880" y="1081"/>
                </a:lnTo>
                <a:lnTo>
                  <a:pt x="880" y="1079"/>
                </a:lnTo>
                <a:lnTo>
                  <a:pt x="881" y="1079"/>
                </a:lnTo>
                <a:lnTo>
                  <a:pt x="881" y="1077"/>
                </a:lnTo>
                <a:lnTo>
                  <a:pt x="883" y="1077"/>
                </a:lnTo>
                <a:lnTo>
                  <a:pt x="883" y="1075"/>
                </a:lnTo>
                <a:lnTo>
                  <a:pt x="885" y="1075"/>
                </a:lnTo>
                <a:lnTo>
                  <a:pt x="885" y="1077"/>
                </a:lnTo>
                <a:lnTo>
                  <a:pt x="883" y="1077"/>
                </a:lnTo>
                <a:lnTo>
                  <a:pt x="881" y="1079"/>
                </a:lnTo>
                <a:close/>
                <a:moveTo>
                  <a:pt x="1536" y="1872"/>
                </a:moveTo>
                <a:lnTo>
                  <a:pt x="1536" y="1874"/>
                </a:lnTo>
                <a:lnTo>
                  <a:pt x="1536" y="1872"/>
                </a:lnTo>
                <a:close/>
                <a:moveTo>
                  <a:pt x="878" y="1073"/>
                </a:moveTo>
                <a:lnTo>
                  <a:pt x="880" y="1073"/>
                </a:lnTo>
                <a:lnTo>
                  <a:pt x="880" y="1071"/>
                </a:lnTo>
                <a:lnTo>
                  <a:pt x="881" y="1071"/>
                </a:lnTo>
                <a:lnTo>
                  <a:pt x="883" y="1071"/>
                </a:lnTo>
                <a:lnTo>
                  <a:pt x="883" y="1073"/>
                </a:lnTo>
                <a:lnTo>
                  <a:pt x="881" y="1073"/>
                </a:lnTo>
                <a:lnTo>
                  <a:pt x="880" y="1073"/>
                </a:lnTo>
                <a:lnTo>
                  <a:pt x="878" y="1073"/>
                </a:lnTo>
                <a:close/>
                <a:moveTo>
                  <a:pt x="1523" y="1858"/>
                </a:moveTo>
                <a:lnTo>
                  <a:pt x="1523" y="1856"/>
                </a:lnTo>
                <a:lnTo>
                  <a:pt x="1523" y="1858"/>
                </a:lnTo>
                <a:close/>
                <a:moveTo>
                  <a:pt x="1532" y="1868"/>
                </a:moveTo>
                <a:lnTo>
                  <a:pt x="1532" y="1866"/>
                </a:lnTo>
                <a:lnTo>
                  <a:pt x="1534" y="1866"/>
                </a:lnTo>
                <a:lnTo>
                  <a:pt x="1532" y="1868"/>
                </a:lnTo>
                <a:close/>
                <a:moveTo>
                  <a:pt x="1525" y="1858"/>
                </a:moveTo>
                <a:lnTo>
                  <a:pt x="1525" y="1856"/>
                </a:lnTo>
                <a:lnTo>
                  <a:pt x="1525" y="1858"/>
                </a:lnTo>
                <a:close/>
                <a:moveTo>
                  <a:pt x="1538" y="1868"/>
                </a:moveTo>
                <a:lnTo>
                  <a:pt x="1538" y="1866"/>
                </a:lnTo>
                <a:lnTo>
                  <a:pt x="1538" y="1868"/>
                </a:lnTo>
                <a:close/>
                <a:moveTo>
                  <a:pt x="881" y="1058"/>
                </a:moveTo>
                <a:lnTo>
                  <a:pt x="880" y="1058"/>
                </a:lnTo>
                <a:lnTo>
                  <a:pt x="878" y="1058"/>
                </a:lnTo>
                <a:lnTo>
                  <a:pt x="876" y="1058"/>
                </a:lnTo>
                <a:lnTo>
                  <a:pt x="874" y="1058"/>
                </a:lnTo>
                <a:lnTo>
                  <a:pt x="872" y="1058"/>
                </a:lnTo>
                <a:lnTo>
                  <a:pt x="872" y="1060"/>
                </a:lnTo>
                <a:lnTo>
                  <a:pt x="870" y="1058"/>
                </a:lnTo>
                <a:lnTo>
                  <a:pt x="870" y="1060"/>
                </a:lnTo>
                <a:lnTo>
                  <a:pt x="868" y="1060"/>
                </a:lnTo>
                <a:lnTo>
                  <a:pt x="868" y="1058"/>
                </a:lnTo>
                <a:lnTo>
                  <a:pt x="866" y="1060"/>
                </a:lnTo>
                <a:lnTo>
                  <a:pt x="864" y="1060"/>
                </a:lnTo>
                <a:lnTo>
                  <a:pt x="862" y="1060"/>
                </a:lnTo>
                <a:lnTo>
                  <a:pt x="860" y="1060"/>
                </a:lnTo>
                <a:lnTo>
                  <a:pt x="860" y="1058"/>
                </a:lnTo>
                <a:lnTo>
                  <a:pt x="858" y="1058"/>
                </a:lnTo>
                <a:lnTo>
                  <a:pt x="858" y="1056"/>
                </a:lnTo>
                <a:lnTo>
                  <a:pt x="858" y="1054"/>
                </a:lnTo>
                <a:lnTo>
                  <a:pt x="857" y="1054"/>
                </a:lnTo>
                <a:lnTo>
                  <a:pt x="857" y="1052"/>
                </a:lnTo>
                <a:lnTo>
                  <a:pt x="858" y="1052"/>
                </a:lnTo>
                <a:lnTo>
                  <a:pt x="860" y="1052"/>
                </a:lnTo>
                <a:lnTo>
                  <a:pt x="860" y="1050"/>
                </a:lnTo>
                <a:lnTo>
                  <a:pt x="862" y="1050"/>
                </a:lnTo>
                <a:lnTo>
                  <a:pt x="862" y="1048"/>
                </a:lnTo>
                <a:lnTo>
                  <a:pt x="864" y="1044"/>
                </a:lnTo>
                <a:lnTo>
                  <a:pt x="864" y="1046"/>
                </a:lnTo>
                <a:lnTo>
                  <a:pt x="862" y="1050"/>
                </a:lnTo>
                <a:lnTo>
                  <a:pt x="864" y="1050"/>
                </a:lnTo>
                <a:lnTo>
                  <a:pt x="864" y="1048"/>
                </a:lnTo>
                <a:lnTo>
                  <a:pt x="866" y="1050"/>
                </a:lnTo>
                <a:lnTo>
                  <a:pt x="866" y="1048"/>
                </a:lnTo>
                <a:lnTo>
                  <a:pt x="868" y="1048"/>
                </a:lnTo>
                <a:lnTo>
                  <a:pt x="866" y="1048"/>
                </a:lnTo>
                <a:lnTo>
                  <a:pt x="868" y="1048"/>
                </a:lnTo>
                <a:lnTo>
                  <a:pt x="870" y="1050"/>
                </a:lnTo>
                <a:lnTo>
                  <a:pt x="872" y="1050"/>
                </a:lnTo>
                <a:lnTo>
                  <a:pt x="872" y="1052"/>
                </a:lnTo>
                <a:lnTo>
                  <a:pt x="874" y="1052"/>
                </a:lnTo>
                <a:lnTo>
                  <a:pt x="874" y="1054"/>
                </a:lnTo>
                <a:lnTo>
                  <a:pt x="876" y="1054"/>
                </a:lnTo>
                <a:lnTo>
                  <a:pt x="878" y="1054"/>
                </a:lnTo>
                <a:lnTo>
                  <a:pt x="878" y="1056"/>
                </a:lnTo>
                <a:lnTo>
                  <a:pt x="880" y="1056"/>
                </a:lnTo>
                <a:lnTo>
                  <a:pt x="881" y="1056"/>
                </a:lnTo>
                <a:lnTo>
                  <a:pt x="881" y="1058"/>
                </a:lnTo>
                <a:lnTo>
                  <a:pt x="883" y="1058"/>
                </a:lnTo>
                <a:lnTo>
                  <a:pt x="881" y="1058"/>
                </a:lnTo>
                <a:close/>
                <a:moveTo>
                  <a:pt x="1577" y="1895"/>
                </a:moveTo>
                <a:lnTo>
                  <a:pt x="1575" y="1895"/>
                </a:lnTo>
                <a:lnTo>
                  <a:pt x="1577" y="1895"/>
                </a:lnTo>
                <a:lnTo>
                  <a:pt x="1577" y="1893"/>
                </a:lnTo>
                <a:lnTo>
                  <a:pt x="1577" y="1895"/>
                </a:lnTo>
                <a:close/>
                <a:moveTo>
                  <a:pt x="1577" y="1893"/>
                </a:moveTo>
                <a:lnTo>
                  <a:pt x="1577" y="1895"/>
                </a:lnTo>
                <a:lnTo>
                  <a:pt x="1577" y="1893"/>
                </a:lnTo>
                <a:lnTo>
                  <a:pt x="1577" y="1895"/>
                </a:lnTo>
                <a:lnTo>
                  <a:pt x="1577" y="1893"/>
                </a:lnTo>
                <a:lnTo>
                  <a:pt x="1575" y="1893"/>
                </a:lnTo>
                <a:lnTo>
                  <a:pt x="1577" y="1893"/>
                </a:lnTo>
                <a:lnTo>
                  <a:pt x="1579" y="1893"/>
                </a:lnTo>
                <a:lnTo>
                  <a:pt x="1577" y="1893"/>
                </a:lnTo>
                <a:close/>
                <a:moveTo>
                  <a:pt x="895" y="1073"/>
                </a:moveTo>
                <a:lnTo>
                  <a:pt x="895" y="1075"/>
                </a:lnTo>
                <a:lnTo>
                  <a:pt x="895" y="1077"/>
                </a:lnTo>
                <a:lnTo>
                  <a:pt x="893" y="1077"/>
                </a:lnTo>
                <a:lnTo>
                  <a:pt x="893" y="1075"/>
                </a:lnTo>
                <a:lnTo>
                  <a:pt x="895" y="1075"/>
                </a:lnTo>
                <a:lnTo>
                  <a:pt x="895" y="1073"/>
                </a:lnTo>
                <a:close/>
                <a:moveTo>
                  <a:pt x="1083" y="1367"/>
                </a:moveTo>
                <a:lnTo>
                  <a:pt x="1081" y="1367"/>
                </a:lnTo>
                <a:lnTo>
                  <a:pt x="1081" y="1365"/>
                </a:lnTo>
                <a:lnTo>
                  <a:pt x="1083" y="1365"/>
                </a:lnTo>
                <a:lnTo>
                  <a:pt x="1083" y="1367"/>
                </a:lnTo>
                <a:close/>
                <a:moveTo>
                  <a:pt x="1527" y="1849"/>
                </a:moveTo>
                <a:lnTo>
                  <a:pt x="1527" y="1847"/>
                </a:lnTo>
                <a:lnTo>
                  <a:pt x="1529" y="1847"/>
                </a:lnTo>
                <a:lnTo>
                  <a:pt x="1527" y="1847"/>
                </a:lnTo>
                <a:lnTo>
                  <a:pt x="1527" y="1849"/>
                </a:lnTo>
                <a:close/>
                <a:moveTo>
                  <a:pt x="1550" y="1864"/>
                </a:moveTo>
                <a:lnTo>
                  <a:pt x="1550" y="1866"/>
                </a:lnTo>
                <a:lnTo>
                  <a:pt x="1552" y="1866"/>
                </a:lnTo>
                <a:lnTo>
                  <a:pt x="1550" y="1866"/>
                </a:lnTo>
                <a:lnTo>
                  <a:pt x="1548" y="1866"/>
                </a:lnTo>
                <a:lnTo>
                  <a:pt x="1548" y="1864"/>
                </a:lnTo>
                <a:lnTo>
                  <a:pt x="1550" y="1864"/>
                </a:lnTo>
                <a:close/>
                <a:moveTo>
                  <a:pt x="1079" y="1359"/>
                </a:moveTo>
                <a:lnTo>
                  <a:pt x="1077" y="1359"/>
                </a:lnTo>
                <a:lnTo>
                  <a:pt x="1079" y="1359"/>
                </a:lnTo>
                <a:close/>
                <a:moveTo>
                  <a:pt x="1087" y="1367"/>
                </a:moveTo>
                <a:lnTo>
                  <a:pt x="1085" y="1367"/>
                </a:lnTo>
                <a:lnTo>
                  <a:pt x="1085" y="1365"/>
                </a:lnTo>
                <a:lnTo>
                  <a:pt x="1085" y="1367"/>
                </a:lnTo>
                <a:lnTo>
                  <a:pt x="1085" y="1365"/>
                </a:lnTo>
                <a:lnTo>
                  <a:pt x="1087" y="1367"/>
                </a:lnTo>
                <a:close/>
                <a:moveTo>
                  <a:pt x="1521" y="1839"/>
                </a:moveTo>
                <a:lnTo>
                  <a:pt x="1521" y="1837"/>
                </a:lnTo>
                <a:lnTo>
                  <a:pt x="1519" y="1837"/>
                </a:lnTo>
                <a:lnTo>
                  <a:pt x="1521" y="1837"/>
                </a:lnTo>
                <a:lnTo>
                  <a:pt x="1521" y="1835"/>
                </a:lnTo>
                <a:lnTo>
                  <a:pt x="1523" y="1837"/>
                </a:lnTo>
                <a:lnTo>
                  <a:pt x="1521" y="1837"/>
                </a:lnTo>
                <a:lnTo>
                  <a:pt x="1521" y="1839"/>
                </a:lnTo>
                <a:close/>
                <a:moveTo>
                  <a:pt x="1087" y="1365"/>
                </a:moveTo>
                <a:lnTo>
                  <a:pt x="1085" y="1365"/>
                </a:lnTo>
                <a:lnTo>
                  <a:pt x="1085" y="1363"/>
                </a:lnTo>
                <a:lnTo>
                  <a:pt x="1083" y="1365"/>
                </a:lnTo>
                <a:lnTo>
                  <a:pt x="1083" y="1363"/>
                </a:lnTo>
                <a:lnTo>
                  <a:pt x="1085" y="1363"/>
                </a:lnTo>
                <a:lnTo>
                  <a:pt x="1087" y="1363"/>
                </a:lnTo>
                <a:lnTo>
                  <a:pt x="1087" y="1365"/>
                </a:lnTo>
                <a:close/>
                <a:moveTo>
                  <a:pt x="970" y="1188"/>
                </a:moveTo>
                <a:lnTo>
                  <a:pt x="972" y="1188"/>
                </a:lnTo>
                <a:lnTo>
                  <a:pt x="970" y="1188"/>
                </a:lnTo>
                <a:close/>
                <a:moveTo>
                  <a:pt x="1081" y="1353"/>
                </a:moveTo>
                <a:lnTo>
                  <a:pt x="1081" y="1355"/>
                </a:lnTo>
                <a:lnTo>
                  <a:pt x="1081" y="1357"/>
                </a:lnTo>
                <a:lnTo>
                  <a:pt x="1081" y="1359"/>
                </a:lnTo>
                <a:lnTo>
                  <a:pt x="1083" y="1359"/>
                </a:lnTo>
                <a:lnTo>
                  <a:pt x="1081" y="1359"/>
                </a:lnTo>
                <a:lnTo>
                  <a:pt x="1081" y="1357"/>
                </a:lnTo>
                <a:lnTo>
                  <a:pt x="1079" y="1357"/>
                </a:lnTo>
                <a:lnTo>
                  <a:pt x="1077" y="1357"/>
                </a:lnTo>
                <a:lnTo>
                  <a:pt x="1077" y="1355"/>
                </a:lnTo>
                <a:lnTo>
                  <a:pt x="1075" y="1355"/>
                </a:lnTo>
                <a:lnTo>
                  <a:pt x="1077" y="1355"/>
                </a:lnTo>
                <a:lnTo>
                  <a:pt x="1075" y="1353"/>
                </a:lnTo>
                <a:lnTo>
                  <a:pt x="1077" y="1353"/>
                </a:lnTo>
                <a:lnTo>
                  <a:pt x="1077" y="1355"/>
                </a:lnTo>
                <a:lnTo>
                  <a:pt x="1079" y="1355"/>
                </a:lnTo>
                <a:lnTo>
                  <a:pt x="1079" y="1353"/>
                </a:lnTo>
                <a:lnTo>
                  <a:pt x="1081" y="1353"/>
                </a:lnTo>
                <a:lnTo>
                  <a:pt x="1079" y="1353"/>
                </a:lnTo>
                <a:lnTo>
                  <a:pt x="1081" y="1353"/>
                </a:lnTo>
                <a:close/>
                <a:moveTo>
                  <a:pt x="1085" y="1359"/>
                </a:moveTo>
                <a:lnTo>
                  <a:pt x="1085" y="1357"/>
                </a:lnTo>
                <a:lnTo>
                  <a:pt x="1085" y="1359"/>
                </a:lnTo>
                <a:close/>
                <a:moveTo>
                  <a:pt x="1056" y="1315"/>
                </a:moveTo>
                <a:lnTo>
                  <a:pt x="1056" y="1313"/>
                </a:lnTo>
                <a:lnTo>
                  <a:pt x="1058" y="1315"/>
                </a:lnTo>
                <a:lnTo>
                  <a:pt x="1056" y="1315"/>
                </a:lnTo>
                <a:close/>
                <a:moveTo>
                  <a:pt x="943" y="1133"/>
                </a:moveTo>
                <a:lnTo>
                  <a:pt x="943" y="1135"/>
                </a:lnTo>
                <a:lnTo>
                  <a:pt x="943" y="1133"/>
                </a:lnTo>
                <a:lnTo>
                  <a:pt x="943" y="1135"/>
                </a:lnTo>
                <a:lnTo>
                  <a:pt x="943" y="1133"/>
                </a:lnTo>
                <a:lnTo>
                  <a:pt x="943" y="1135"/>
                </a:lnTo>
                <a:lnTo>
                  <a:pt x="941" y="1135"/>
                </a:lnTo>
                <a:lnTo>
                  <a:pt x="941" y="1133"/>
                </a:lnTo>
                <a:lnTo>
                  <a:pt x="943" y="1133"/>
                </a:lnTo>
                <a:lnTo>
                  <a:pt x="941" y="1133"/>
                </a:lnTo>
                <a:lnTo>
                  <a:pt x="943" y="1133"/>
                </a:lnTo>
                <a:close/>
                <a:moveTo>
                  <a:pt x="1571" y="1878"/>
                </a:moveTo>
                <a:lnTo>
                  <a:pt x="1571" y="1880"/>
                </a:lnTo>
                <a:lnTo>
                  <a:pt x="1569" y="1880"/>
                </a:lnTo>
                <a:lnTo>
                  <a:pt x="1569" y="1881"/>
                </a:lnTo>
                <a:lnTo>
                  <a:pt x="1569" y="1880"/>
                </a:lnTo>
                <a:lnTo>
                  <a:pt x="1571" y="1878"/>
                </a:lnTo>
                <a:lnTo>
                  <a:pt x="1569" y="1878"/>
                </a:lnTo>
                <a:lnTo>
                  <a:pt x="1571" y="1878"/>
                </a:lnTo>
                <a:lnTo>
                  <a:pt x="1571" y="1876"/>
                </a:lnTo>
                <a:lnTo>
                  <a:pt x="1571" y="1874"/>
                </a:lnTo>
                <a:lnTo>
                  <a:pt x="1573" y="1874"/>
                </a:lnTo>
                <a:lnTo>
                  <a:pt x="1573" y="1872"/>
                </a:lnTo>
                <a:lnTo>
                  <a:pt x="1575" y="1872"/>
                </a:lnTo>
                <a:lnTo>
                  <a:pt x="1575" y="1874"/>
                </a:lnTo>
                <a:lnTo>
                  <a:pt x="1573" y="1874"/>
                </a:lnTo>
                <a:lnTo>
                  <a:pt x="1573" y="1876"/>
                </a:lnTo>
                <a:lnTo>
                  <a:pt x="1573" y="1878"/>
                </a:lnTo>
                <a:lnTo>
                  <a:pt x="1571" y="1878"/>
                </a:lnTo>
                <a:close/>
                <a:moveTo>
                  <a:pt x="1577" y="1876"/>
                </a:moveTo>
                <a:lnTo>
                  <a:pt x="1577" y="1874"/>
                </a:lnTo>
                <a:lnTo>
                  <a:pt x="1577" y="1876"/>
                </a:lnTo>
                <a:close/>
                <a:moveTo>
                  <a:pt x="1577" y="1874"/>
                </a:moveTo>
                <a:lnTo>
                  <a:pt x="1577" y="1872"/>
                </a:lnTo>
                <a:lnTo>
                  <a:pt x="1577" y="1874"/>
                </a:lnTo>
                <a:close/>
                <a:moveTo>
                  <a:pt x="1579" y="1872"/>
                </a:moveTo>
                <a:lnTo>
                  <a:pt x="1577" y="1872"/>
                </a:lnTo>
                <a:lnTo>
                  <a:pt x="1579" y="1872"/>
                </a:lnTo>
                <a:lnTo>
                  <a:pt x="1579" y="1870"/>
                </a:lnTo>
                <a:lnTo>
                  <a:pt x="1579" y="1872"/>
                </a:lnTo>
                <a:close/>
                <a:moveTo>
                  <a:pt x="1052" y="1298"/>
                </a:moveTo>
                <a:lnTo>
                  <a:pt x="1052" y="1296"/>
                </a:lnTo>
                <a:lnTo>
                  <a:pt x="1052" y="1298"/>
                </a:lnTo>
                <a:close/>
                <a:moveTo>
                  <a:pt x="949" y="1131"/>
                </a:moveTo>
                <a:lnTo>
                  <a:pt x="949" y="1129"/>
                </a:lnTo>
                <a:lnTo>
                  <a:pt x="949" y="1131"/>
                </a:lnTo>
                <a:close/>
                <a:moveTo>
                  <a:pt x="1054" y="1300"/>
                </a:moveTo>
                <a:lnTo>
                  <a:pt x="1054" y="1298"/>
                </a:lnTo>
                <a:lnTo>
                  <a:pt x="1054" y="1300"/>
                </a:lnTo>
                <a:close/>
                <a:moveTo>
                  <a:pt x="1479" y="1782"/>
                </a:moveTo>
                <a:lnTo>
                  <a:pt x="1479" y="1784"/>
                </a:lnTo>
                <a:lnTo>
                  <a:pt x="1479" y="1782"/>
                </a:lnTo>
                <a:lnTo>
                  <a:pt x="1477" y="1782"/>
                </a:lnTo>
                <a:lnTo>
                  <a:pt x="1477" y="1780"/>
                </a:lnTo>
                <a:lnTo>
                  <a:pt x="1477" y="1782"/>
                </a:lnTo>
                <a:lnTo>
                  <a:pt x="1479" y="1782"/>
                </a:lnTo>
                <a:close/>
                <a:moveTo>
                  <a:pt x="887" y="1014"/>
                </a:moveTo>
                <a:lnTo>
                  <a:pt x="887" y="1016"/>
                </a:lnTo>
                <a:lnTo>
                  <a:pt x="887" y="1014"/>
                </a:lnTo>
                <a:lnTo>
                  <a:pt x="887" y="1016"/>
                </a:lnTo>
                <a:lnTo>
                  <a:pt x="887" y="1014"/>
                </a:lnTo>
                <a:close/>
                <a:moveTo>
                  <a:pt x="887" y="1016"/>
                </a:moveTo>
                <a:lnTo>
                  <a:pt x="889" y="1016"/>
                </a:lnTo>
                <a:lnTo>
                  <a:pt x="887" y="1016"/>
                </a:lnTo>
                <a:close/>
                <a:moveTo>
                  <a:pt x="1108" y="1369"/>
                </a:moveTo>
                <a:lnTo>
                  <a:pt x="1106" y="1369"/>
                </a:lnTo>
                <a:lnTo>
                  <a:pt x="1104" y="1369"/>
                </a:lnTo>
                <a:lnTo>
                  <a:pt x="1104" y="1367"/>
                </a:lnTo>
                <a:lnTo>
                  <a:pt x="1106" y="1367"/>
                </a:lnTo>
                <a:lnTo>
                  <a:pt x="1108" y="1367"/>
                </a:lnTo>
                <a:lnTo>
                  <a:pt x="1106" y="1367"/>
                </a:lnTo>
                <a:lnTo>
                  <a:pt x="1108" y="1369"/>
                </a:lnTo>
                <a:close/>
                <a:moveTo>
                  <a:pt x="1114" y="1375"/>
                </a:moveTo>
                <a:lnTo>
                  <a:pt x="1112" y="1377"/>
                </a:lnTo>
                <a:lnTo>
                  <a:pt x="1112" y="1375"/>
                </a:lnTo>
                <a:lnTo>
                  <a:pt x="1112" y="1373"/>
                </a:lnTo>
                <a:lnTo>
                  <a:pt x="1112" y="1371"/>
                </a:lnTo>
                <a:lnTo>
                  <a:pt x="1112" y="1373"/>
                </a:lnTo>
                <a:lnTo>
                  <a:pt x="1114" y="1373"/>
                </a:lnTo>
                <a:lnTo>
                  <a:pt x="1114" y="1375"/>
                </a:lnTo>
                <a:close/>
                <a:moveTo>
                  <a:pt x="1106" y="1361"/>
                </a:moveTo>
                <a:lnTo>
                  <a:pt x="1106" y="1363"/>
                </a:lnTo>
                <a:lnTo>
                  <a:pt x="1104" y="1363"/>
                </a:lnTo>
                <a:lnTo>
                  <a:pt x="1104" y="1361"/>
                </a:lnTo>
                <a:lnTo>
                  <a:pt x="1104" y="1359"/>
                </a:lnTo>
                <a:lnTo>
                  <a:pt x="1106" y="1359"/>
                </a:lnTo>
                <a:lnTo>
                  <a:pt x="1108" y="1359"/>
                </a:lnTo>
                <a:lnTo>
                  <a:pt x="1108" y="1361"/>
                </a:lnTo>
                <a:lnTo>
                  <a:pt x="1106" y="1361"/>
                </a:lnTo>
                <a:close/>
                <a:moveTo>
                  <a:pt x="1465" y="1743"/>
                </a:moveTo>
                <a:lnTo>
                  <a:pt x="1467" y="1743"/>
                </a:lnTo>
                <a:lnTo>
                  <a:pt x="1467" y="1745"/>
                </a:lnTo>
                <a:lnTo>
                  <a:pt x="1465" y="1743"/>
                </a:lnTo>
                <a:close/>
                <a:moveTo>
                  <a:pt x="1154" y="1400"/>
                </a:moveTo>
                <a:lnTo>
                  <a:pt x="1152" y="1398"/>
                </a:lnTo>
                <a:lnTo>
                  <a:pt x="1152" y="1400"/>
                </a:lnTo>
                <a:lnTo>
                  <a:pt x="1152" y="1398"/>
                </a:lnTo>
                <a:lnTo>
                  <a:pt x="1154" y="1398"/>
                </a:lnTo>
                <a:lnTo>
                  <a:pt x="1154" y="1400"/>
                </a:lnTo>
                <a:close/>
                <a:moveTo>
                  <a:pt x="1118" y="1350"/>
                </a:moveTo>
                <a:lnTo>
                  <a:pt x="1118" y="1348"/>
                </a:lnTo>
                <a:lnTo>
                  <a:pt x="1118" y="1350"/>
                </a:lnTo>
                <a:close/>
                <a:moveTo>
                  <a:pt x="1156" y="1400"/>
                </a:moveTo>
                <a:lnTo>
                  <a:pt x="1154" y="1400"/>
                </a:lnTo>
                <a:lnTo>
                  <a:pt x="1156" y="1400"/>
                </a:lnTo>
                <a:lnTo>
                  <a:pt x="1154" y="1398"/>
                </a:lnTo>
                <a:lnTo>
                  <a:pt x="1156" y="1398"/>
                </a:lnTo>
                <a:lnTo>
                  <a:pt x="1156" y="1400"/>
                </a:lnTo>
                <a:lnTo>
                  <a:pt x="1156" y="1398"/>
                </a:lnTo>
                <a:lnTo>
                  <a:pt x="1158" y="1398"/>
                </a:lnTo>
                <a:lnTo>
                  <a:pt x="1156" y="1400"/>
                </a:lnTo>
                <a:close/>
                <a:moveTo>
                  <a:pt x="1079" y="1292"/>
                </a:moveTo>
                <a:lnTo>
                  <a:pt x="1077" y="1292"/>
                </a:lnTo>
                <a:lnTo>
                  <a:pt x="1077" y="1290"/>
                </a:lnTo>
                <a:lnTo>
                  <a:pt x="1079" y="1290"/>
                </a:lnTo>
                <a:lnTo>
                  <a:pt x="1079" y="1292"/>
                </a:lnTo>
                <a:close/>
                <a:moveTo>
                  <a:pt x="1083" y="1294"/>
                </a:moveTo>
                <a:lnTo>
                  <a:pt x="1085" y="1294"/>
                </a:lnTo>
                <a:lnTo>
                  <a:pt x="1085" y="1296"/>
                </a:lnTo>
                <a:lnTo>
                  <a:pt x="1083" y="1296"/>
                </a:lnTo>
                <a:lnTo>
                  <a:pt x="1083" y="1298"/>
                </a:lnTo>
                <a:lnTo>
                  <a:pt x="1083" y="1300"/>
                </a:lnTo>
                <a:lnTo>
                  <a:pt x="1081" y="1300"/>
                </a:lnTo>
                <a:lnTo>
                  <a:pt x="1079" y="1300"/>
                </a:lnTo>
                <a:lnTo>
                  <a:pt x="1079" y="1298"/>
                </a:lnTo>
                <a:lnTo>
                  <a:pt x="1077" y="1298"/>
                </a:lnTo>
                <a:lnTo>
                  <a:pt x="1079" y="1298"/>
                </a:lnTo>
                <a:lnTo>
                  <a:pt x="1077" y="1298"/>
                </a:lnTo>
                <a:lnTo>
                  <a:pt x="1077" y="1296"/>
                </a:lnTo>
                <a:lnTo>
                  <a:pt x="1075" y="1296"/>
                </a:lnTo>
                <a:lnTo>
                  <a:pt x="1075" y="1294"/>
                </a:lnTo>
                <a:lnTo>
                  <a:pt x="1077" y="1294"/>
                </a:lnTo>
                <a:lnTo>
                  <a:pt x="1077" y="1292"/>
                </a:lnTo>
                <a:lnTo>
                  <a:pt x="1077" y="1294"/>
                </a:lnTo>
                <a:lnTo>
                  <a:pt x="1077" y="1292"/>
                </a:lnTo>
                <a:lnTo>
                  <a:pt x="1079" y="1292"/>
                </a:lnTo>
                <a:lnTo>
                  <a:pt x="1081" y="1292"/>
                </a:lnTo>
                <a:lnTo>
                  <a:pt x="1081" y="1294"/>
                </a:lnTo>
                <a:lnTo>
                  <a:pt x="1083" y="1294"/>
                </a:lnTo>
                <a:lnTo>
                  <a:pt x="1085" y="1294"/>
                </a:lnTo>
                <a:lnTo>
                  <a:pt x="1083" y="1294"/>
                </a:lnTo>
                <a:close/>
                <a:moveTo>
                  <a:pt x="1152" y="1390"/>
                </a:moveTo>
                <a:lnTo>
                  <a:pt x="1150" y="1390"/>
                </a:lnTo>
                <a:lnTo>
                  <a:pt x="1150" y="1392"/>
                </a:lnTo>
                <a:lnTo>
                  <a:pt x="1148" y="1392"/>
                </a:lnTo>
                <a:lnTo>
                  <a:pt x="1146" y="1392"/>
                </a:lnTo>
                <a:lnTo>
                  <a:pt x="1145" y="1392"/>
                </a:lnTo>
                <a:lnTo>
                  <a:pt x="1143" y="1392"/>
                </a:lnTo>
                <a:lnTo>
                  <a:pt x="1141" y="1392"/>
                </a:lnTo>
                <a:lnTo>
                  <a:pt x="1143" y="1392"/>
                </a:lnTo>
                <a:lnTo>
                  <a:pt x="1143" y="1390"/>
                </a:lnTo>
                <a:lnTo>
                  <a:pt x="1143" y="1392"/>
                </a:lnTo>
                <a:lnTo>
                  <a:pt x="1143" y="1390"/>
                </a:lnTo>
                <a:lnTo>
                  <a:pt x="1141" y="1390"/>
                </a:lnTo>
                <a:lnTo>
                  <a:pt x="1143" y="1388"/>
                </a:lnTo>
                <a:lnTo>
                  <a:pt x="1141" y="1388"/>
                </a:lnTo>
                <a:lnTo>
                  <a:pt x="1143" y="1388"/>
                </a:lnTo>
                <a:lnTo>
                  <a:pt x="1143" y="1390"/>
                </a:lnTo>
                <a:lnTo>
                  <a:pt x="1143" y="1388"/>
                </a:lnTo>
                <a:lnTo>
                  <a:pt x="1145" y="1388"/>
                </a:lnTo>
                <a:lnTo>
                  <a:pt x="1146" y="1388"/>
                </a:lnTo>
                <a:lnTo>
                  <a:pt x="1148" y="1388"/>
                </a:lnTo>
                <a:lnTo>
                  <a:pt x="1150" y="1388"/>
                </a:lnTo>
                <a:lnTo>
                  <a:pt x="1150" y="1386"/>
                </a:lnTo>
                <a:lnTo>
                  <a:pt x="1148" y="1386"/>
                </a:lnTo>
                <a:lnTo>
                  <a:pt x="1150" y="1386"/>
                </a:lnTo>
                <a:lnTo>
                  <a:pt x="1150" y="1388"/>
                </a:lnTo>
                <a:lnTo>
                  <a:pt x="1152" y="1388"/>
                </a:lnTo>
                <a:lnTo>
                  <a:pt x="1152" y="1390"/>
                </a:lnTo>
                <a:close/>
                <a:moveTo>
                  <a:pt x="1463" y="1730"/>
                </a:moveTo>
                <a:lnTo>
                  <a:pt x="1461" y="1730"/>
                </a:lnTo>
                <a:lnTo>
                  <a:pt x="1461" y="1728"/>
                </a:lnTo>
                <a:lnTo>
                  <a:pt x="1463" y="1728"/>
                </a:lnTo>
                <a:lnTo>
                  <a:pt x="1463" y="1730"/>
                </a:lnTo>
                <a:close/>
                <a:moveTo>
                  <a:pt x="1162" y="1398"/>
                </a:moveTo>
                <a:lnTo>
                  <a:pt x="1164" y="1398"/>
                </a:lnTo>
                <a:lnTo>
                  <a:pt x="1162" y="1398"/>
                </a:lnTo>
                <a:lnTo>
                  <a:pt x="1162" y="1400"/>
                </a:lnTo>
                <a:lnTo>
                  <a:pt x="1160" y="1400"/>
                </a:lnTo>
                <a:lnTo>
                  <a:pt x="1162" y="1400"/>
                </a:lnTo>
                <a:lnTo>
                  <a:pt x="1162" y="1398"/>
                </a:lnTo>
                <a:lnTo>
                  <a:pt x="1160" y="1398"/>
                </a:lnTo>
                <a:lnTo>
                  <a:pt x="1160" y="1396"/>
                </a:lnTo>
                <a:lnTo>
                  <a:pt x="1158" y="1396"/>
                </a:lnTo>
                <a:lnTo>
                  <a:pt x="1158" y="1398"/>
                </a:lnTo>
                <a:lnTo>
                  <a:pt x="1156" y="1398"/>
                </a:lnTo>
                <a:lnTo>
                  <a:pt x="1156" y="1396"/>
                </a:lnTo>
                <a:lnTo>
                  <a:pt x="1158" y="1396"/>
                </a:lnTo>
                <a:lnTo>
                  <a:pt x="1158" y="1394"/>
                </a:lnTo>
                <a:lnTo>
                  <a:pt x="1160" y="1394"/>
                </a:lnTo>
                <a:lnTo>
                  <a:pt x="1160" y="1396"/>
                </a:lnTo>
                <a:lnTo>
                  <a:pt x="1160" y="1394"/>
                </a:lnTo>
                <a:lnTo>
                  <a:pt x="1160" y="1396"/>
                </a:lnTo>
                <a:lnTo>
                  <a:pt x="1162" y="1396"/>
                </a:lnTo>
                <a:lnTo>
                  <a:pt x="1160" y="1396"/>
                </a:lnTo>
                <a:lnTo>
                  <a:pt x="1162" y="1398"/>
                </a:lnTo>
                <a:lnTo>
                  <a:pt x="1162" y="1396"/>
                </a:lnTo>
                <a:lnTo>
                  <a:pt x="1164" y="1396"/>
                </a:lnTo>
                <a:lnTo>
                  <a:pt x="1162" y="1396"/>
                </a:lnTo>
                <a:lnTo>
                  <a:pt x="1162" y="1398"/>
                </a:lnTo>
                <a:close/>
                <a:moveTo>
                  <a:pt x="1264" y="1528"/>
                </a:moveTo>
                <a:lnTo>
                  <a:pt x="1264" y="1526"/>
                </a:lnTo>
                <a:lnTo>
                  <a:pt x="1266" y="1526"/>
                </a:lnTo>
                <a:lnTo>
                  <a:pt x="1267" y="1526"/>
                </a:lnTo>
                <a:lnTo>
                  <a:pt x="1269" y="1526"/>
                </a:lnTo>
                <a:lnTo>
                  <a:pt x="1267" y="1528"/>
                </a:lnTo>
                <a:lnTo>
                  <a:pt x="1267" y="1526"/>
                </a:lnTo>
                <a:lnTo>
                  <a:pt x="1266" y="1528"/>
                </a:lnTo>
                <a:lnTo>
                  <a:pt x="1264" y="1528"/>
                </a:lnTo>
                <a:close/>
                <a:moveTo>
                  <a:pt x="1137" y="1355"/>
                </a:moveTo>
                <a:lnTo>
                  <a:pt x="1135" y="1353"/>
                </a:lnTo>
                <a:lnTo>
                  <a:pt x="1137" y="1353"/>
                </a:lnTo>
                <a:lnTo>
                  <a:pt x="1137" y="1355"/>
                </a:lnTo>
                <a:close/>
                <a:moveTo>
                  <a:pt x="1139" y="1355"/>
                </a:moveTo>
                <a:lnTo>
                  <a:pt x="1137" y="1355"/>
                </a:lnTo>
                <a:lnTo>
                  <a:pt x="1137" y="1353"/>
                </a:lnTo>
                <a:lnTo>
                  <a:pt x="1139" y="1353"/>
                </a:lnTo>
                <a:lnTo>
                  <a:pt x="1139" y="1355"/>
                </a:lnTo>
                <a:close/>
                <a:moveTo>
                  <a:pt x="1168" y="1388"/>
                </a:moveTo>
                <a:lnTo>
                  <a:pt x="1168" y="1390"/>
                </a:lnTo>
                <a:lnTo>
                  <a:pt x="1168" y="1388"/>
                </a:lnTo>
                <a:close/>
                <a:moveTo>
                  <a:pt x="1463" y="1716"/>
                </a:moveTo>
                <a:lnTo>
                  <a:pt x="1465" y="1716"/>
                </a:lnTo>
                <a:lnTo>
                  <a:pt x="1463" y="1716"/>
                </a:lnTo>
                <a:close/>
                <a:moveTo>
                  <a:pt x="1465" y="1718"/>
                </a:moveTo>
                <a:lnTo>
                  <a:pt x="1465" y="1716"/>
                </a:lnTo>
                <a:lnTo>
                  <a:pt x="1465" y="1718"/>
                </a:lnTo>
                <a:close/>
                <a:moveTo>
                  <a:pt x="1465" y="1716"/>
                </a:moveTo>
                <a:lnTo>
                  <a:pt x="1467" y="1716"/>
                </a:lnTo>
                <a:lnTo>
                  <a:pt x="1465" y="1716"/>
                </a:lnTo>
                <a:close/>
                <a:moveTo>
                  <a:pt x="1467" y="1716"/>
                </a:moveTo>
                <a:lnTo>
                  <a:pt x="1465" y="1716"/>
                </a:lnTo>
                <a:lnTo>
                  <a:pt x="1467" y="1716"/>
                </a:lnTo>
                <a:close/>
                <a:moveTo>
                  <a:pt x="1150" y="1359"/>
                </a:moveTo>
                <a:lnTo>
                  <a:pt x="1148" y="1359"/>
                </a:lnTo>
                <a:lnTo>
                  <a:pt x="1150" y="1359"/>
                </a:lnTo>
                <a:close/>
                <a:moveTo>
                  <a:pt x="1469" y="1718"/>
                </a:moveTo>
                <a:lnTo>
                  <a:pt x="1469" y="1716"/>
                </a:lnTo>
                <a:lnTo>
                  <a:pt x="1469" y="1718"/>
                </a:lnTo>
                <a:close/>
                <a:moveTo>
                  <a:pt x="1467" y="1716"/>
                </a:moveTo>
                <a:lnTo>
                  <a:pt x="1467" y="1714"/>
                </a:lnTo>
                <a:lnTo>
                  <a:pt x="1467" y="1716"/>
                </a:lnTo>
                <a:close/>
                <a:moveTo>
                  <a:pt x="1469" y="1716"/>
                </a:moveTo>
                <a:lnTo>
                  <a:pt x="1467" y="1716"/>
                </a:lnTo>
                <a:lnTo>
                  <a:pt x="1469" y="1716"/>
                </a:lnTo>
                <a:close/>
                <a:moveTo>
                  <a:pt x="1467" y="1714"/>
                </a:moveTo>
                <a:lnTo>
                  <a:pt x="1467" y="1716"/>
                </a:lnTo>
                <a:lnTo>
                  <a:pt x="1467" y="1714"/>
                </a:lnTo>
                <a:close/>
                <a:moveTo>
                  <a:pt x="1467" y="1714"/>
                </a:moveTo>
                <a:lnTo>
                  <a:pt x="1467" y="1716"/>
                </a:lnTo>
                <a:lnTo>
                  <a:pt x="1467" y="1714"/>
                </a:lnTo>
                <a:lnTo>
                  <a:pt x="1467" y="1716"/>
                </a:lnTo>
                <a:lnTo>
                  <a:pt x="1465" y="1716"/>
                </a:lnTo>
                <a:lnTo>
                  <a:pt x="1465" y="1714"/>
                </a:lnTo>
                <a:lnTo>
                  <a:pt x="1467" y="1714"/>
                </a:lnTo>
                <a:close/>
                <a:moveTo>
                  <a:pt x="1191" y="1411"/>
                </a:moveTo>
                <a:lnTo>
                  <a:pt x="1191" y="1413"/>
                </a:lnTo>
                <a:lnTo>
                  <a:pt x="1189" y="1411"/>
                </a:lnTo>
                <a:lnTo>
                  <a:pt x="1191" y="1411"/>
                </a:lnTo>
                <a:close/>
                <a:moveTo>
                  <a:pt x="1469" y="1716"/>
                </a:moveTo>
                <a:lnTo>
                  <a:pt x="1469" y="1714"/>
                </a:lnTo>
                <a:lnTo>
                  <a:pt x="1467" y="1714"/>
                </a:lnTo>
                <a:lnTo>
                  <a:pt x="1469" y="1714"/>
                </a:lnTo>
                <a:lnTo>
                  <a:pt x="1469" y="1716"/>
                </a:lnTo>
                <a:close/>
                <a:moveTo>
                  <a:pt x="1469" y="1714"/>
                </a:moveTo>
                <a:lnTo>
                  <a:pt x="1469" y="1716"/>
                </a:lnTo>
                <a:lnTo>
                  <a:pt x="1467" y="1716"/>
                </a:lnTo>
                <a:lnTo>
                  <a:pt x="1469" y="1716"/>
                </a:lnTo>
                <a:lnTo>
                  <a:pt x="1469" y="1714"/>
                </a:lnTo>
                <a:close/>
                <a:moveTo>
                  <a:pt x="1098" y="1282"/>
                </a:moveTo>
                <a:lnTo>
                  <a:pt x="1098" y="1284"/>
                </a:lnTo>
                <a:lnTo>
                  <a:pt x="1098" y="1282"/>
                </a:lnTo>
                <a:close/>
                <a:moveTo>
                  <a:pt x="1471" y="1716"/>
                </a:moveTo>
                <a:lnTo>
                  <a:pt x="1469" y="1714"/>
                </a:lnTo>
                <a:lnTo>
                  <a:pt x="1471" y="1714"/>
                </a:lnTo>
                <a:lnTo>
                  <a:pt x="1471" y="1716"/>
                </a:lnTo>
                <a:close/>
                <a:moveTo>
                  <a:pt x="1469" y="1714"/>
                </a:moveTo>
                <a:lnTo>
                  <a:pt x="1469" y="1712"/>
                </a:lnTo>
                <a:lnTo>
                  <a:pt x="1469" y="1714"/>
                </a:lnTo>
                <a:lnTo>
                  <a:pt x="1467" y="1714"/>
                </a:lnTo>
                <a:lnTo>
                  <a:pt x="1469" y="1714"/>
                </a:lnTo>
                <a:lnTo>
                  <a:pt x="1467" y="1714"/>
                </a:lnTo>
                <a:lnTo>
                  <a:pt x="1465" y="1714"/>
                </a:lnTo>
                <a:lnTo>
                  <a:pt x="1465" y="1716"/>
                </a:lnTo>
                <a:lnTo>
                  <a:pt x="1465" y="1714"/>
                </a:lnTo>
                <a:lnTo>
                  <a:pt x="1465" y="1716"/>
                </a:lnTo>
                <a:lnTo>
                  <a:pt x="1465" y="1714"/>
                </a:lnTo>
                <a:lnTo>
                  <a:pt x="1465" y="1716"/>
                </a:lnTo>
                <a:lnTo>
                  <a:pt x="1465" y="1714"/>
                </a:lnTo>
                <a:lnTo>
                  <a:pt x="1463" y="1714"/>
                </a:lnTo>
                <a:lnTo>
                  <a:pt x="1465" y="1714"/>
                </a:lnTo>
                <a:lnTo>
                  <a:pt x="1463" y="1714"/>
                </a:lnTo>
                <a:lnTo>
                  <a:pt x="1463" y="1716"/>
                </a:lnTo>
                <a:lnTo>
                  <a:pt x="1463" y="1714"/>
                </a:lnTo>
                <a:lnTo>
                  <a:pt x="1463" y="1716"/>
                </a:lnTo>
                <a:lnTo>
                  <a:pt x="1463" y="1714"/>
                </a:lnTo>
                <a:lnTo>
                  <a:pt x="1465" y="1714"/>
                </a:lnTo>
                <a:lnTo>
                  <a:pt x="1467" y="1714"/>
                </a:lnTo>
                <a:lnTo>
                  <a:pt x="1467" y="1712"/>
                </a:lnTo>
                <a:lnTo>
                  <a:pt x="1469" y="1712"/>
                </a:lnTo>
                <a:lnTo>
                  <a:pt x="1469" y="1714"/>
                </a:lnTo>
                <a:close/>
                <a:moveTo>
                  <a:pt x="1193" y="1411"/>
                </a:moveTo>
                <a:lnTo>
                  <a:pt x="1194" y="1411"/>
                </a:lnTo>
                <a:lnTo>
                  <a:pt x="1193" y="1411"/>
                </a:lnTo>
                <a:close/>
                <a:moveTo>
                  <a:pt x="1193" y="1409"/>
                </a:moveTo>
                <a:lnTo>
                  <a:pt x="1194" y="1409"/>
                </a:lnTo>
                <a:lnTo>
                  <a:pt x="1193" y="1409"/>
                </a:lnTo>
                <a:close/>
                <a:moveTo>
                  <a:pt x="1191" y="1407"/>
                </a:moveTo>
                <a:lnTo>
                  <a:pt x="1191" y="1405"/>
                </a:lnTo>
                <a:lnTo>
                  <a:pt x="1193" y="1405"/>
                </a:lnTo>
                <a:lnTo>
                  <a:pt x="1193" y="1407"/>
                </a:lnTo>
                <a:lnTo>
                  <a:pt x="1191" y="1407"/>
                </a:lnTo>
                <a:close/>
                <a:moveTo>
                  <a:pt x="1471" y="1712"/>
                </a:moveTo>
                <a:lnTo>
                  <a:pt x="1473" y="1712"/>
                </a:lnTo>
                <a:lnTo>
                  <a:pt x="1471" y="1712"/>
                </a:lnTo>
                <a:close/>
                <a:moveTo>
                  <a:pt x="1189" y="1403"/>
                </a:moveTo>
                <a:lnTo>
                  <a:pt x="1189" y="1405"/>
                </a:lnTo>
                <a:lnTo>
                  <a:pt x="1187" y="1405"/>
                </a:lnTo>
                <a:lnTo>
                  <a:pt x="1187" y="1407"/>
                </a:lnTo>
                <a:lnTo>
                  <a:pt x="1187" y="1405"/>
                </a:lnTo>
                <a:lnTo>
                  <a:pt x="1187" y="1403"/>
                </a:lnTo>
                <a:lnTo>
                  <a:pt x="1189" y="1403"/>
                </a:lnTo>
                <a:lnTo>
                  <a:pt x="1189" y="1401"/>
                </a:lnTo>
                <a:lnTo>
                  <a:pt x="1189" y="1403"/>
                </a:lnTo>
                <a:close/>
                <a:moveTo>
                  <a:pt x="1193" y="1409"/>
                </a:moveTo>
                <a:lnTo>
                  <a:pt x="1191" y="1409"/>
                </a:lnTo>
                <a:lnTo>
                  <a:pt x="1193" y="1409"/>
                </a:lnTo>
                <a:lnTo>
                  <a:pt x="1193" y="1407"/>
                </a:lnTo>
                <a:lnTo>
                  <a:pt x="1194" y="1407"/>
                </a:lnTo>
                <a:lnTo>
                  <a:pt x="1194" y="1405"/>
                </a:lnTo>
                <a:lnTo>
                  <a:pt x="1194" y="1407"/>
                </a:lnTo>
                <a:lnTo>
                  <a:pt x="1193" y="1407"/>
                </a:lnTo>
                <a:lnTo>
                  <a:pt x="1193" y="1409"/>
                </a:lnTo>
                <a:close/>
                <a:moveTo>
                  <a:pt x="1479" y="1716"/>
                </a:moveTo>
                <a:lnTo>
                  <a:pt x="1479" y="1714"/>
                </a:lnTo>
                <a:lnTo>
                  <a:pt x="1479" y="1716"/>
                </a:lnTo>
                <a:close/>
                <a:moveTo>
                  <a:pt x="885" y="904"/>
                </a:moveTo>
                <a:lnTo>
                  <a:pt x="885" y="902"/>
                </a:lnTo>
                <a:lnTo>
                  <a:pt x="885" y="900"/>
                </a:lnTo>
                <a:lnTo>
                  <a:pt x="887" y="900"/>
                </a:lnTo>
                <a:lnTo>
                  <a:pt x="885" y="900"/>
                </a:lnTo>
                <a:lnTo>
                  <a:pt x="885" y="902"/>
                </a:lnTo>
                <a:lnTo>
                  <a:pt x="885" y="904"/>
                </a:lnTo>
                <a:close/>
                <a:moveTo>
                  <a:pt x="1479" y="1714"/>
                </a:moveTo>
                <a:lnTo>
                  <a:pt x="1479" y="1712"/>
                </a:lnTo>
                <a:lnTo>
                  <a:pt x="1477" y="1712"/>
                </a:lnTo>
                <a:lnTo>
                  <a:pt x="1479" y="1712"/>
                </a:lnTo>
                <a:lnTo>
                  <a:pt x="1479" y="1711"/>
                </a:lnTo>
                <a:lnTo>
                  <a:pt x="1481" y="1711"/>
                </a:lnTo>
                <a:lnTo>
                  <a:pt x="1481" y="1712"/>
                </a:lnTo>
                <a:lnTo>
                  <a:pt x="1481" y="1714"/>
                </a:lnTo>
                <a:lnTo>
                  <a:pt x="1479" y="1714"/>
                </a:lnTo>
                <a:close/>
                <a:moveTo>
                  <a:pt x="889" y="893"/>
                </a:moveTo>
                <a:lnTo>
                  <a:pt x="889" y="891"/>
                </a:lnTo>
                <a:lnTo>
                  <a:pt x="891" y="889"/>
                </a:lnTo>
                <a:lnTo>
                  <a:pt x="891" y="891"/>
                </a:lnTo>
                <a:lnTo>
                  <a:pt x="889" y="891"/>
                </a:lnTo>
                <a:lnTo>
                  <a:pt x="889" y="893"/>
                </a:lnTo>
                <a:close/>
                <a:moveTo>
                  <a:pt x="891" y="889"/>
                </a:moveTo>
                <a:lnTo>
                  <a:pt x="891" y="887"/>
                </a:lnTo>
                <a:lnTo>
                  <a:pt x="893" y="887"/>
                </a:lnTo>
                <a:lnTo>
                  <a:pt x="893" y="885"/>
                </a:lnTo>
                <a:lnTo>
                  <a:pt x="895" y="885"/>
                </a:lnTo>
                <a:lnTo>
                  <a:pt x="893" y="887"/>
                </a:lnTo>
                <a:lnTo>
                  <a:pt x="891" y="887"/>
                </a:lnTo>
                <a:lnTo>
                  <a:pt x="891" y="889"/>
                </a:lnTo>
                <a:close/>
                <a:moveTo>
                  <a:pt x="1266" y="1471"/>
                </a:moveTo>
                <a:lnTo>
                  <a:pt x="1264" y="1471"/>
                </a:lnTo>
                <a:lnTo>
                  <a:pt x="1264" y="1469"/>
                </a:lnTo>
                <a:lnTo>
                  <a:pt x="1266" y="1469"/>
                </a:lnTo>
                <a:lnTo>
                  <a:pt x="1266" y="1471"/>
                </a:lnTo>
                <a:close/>
                <a:moveTo>
                  <a:pt x="895" y="883"/>
                </a:moveTo>
                <a:lnTo>
                  <a:pt x="895" y="881"/>
                </a:lnTo>
                <a:lnTo>
                  <a:pt x="897" y="881"/>
                </a:lnTo>
                <a:lnTo>
                  <a:pt x="895" y="881"/>
                </a:lnTo>
                <a:lnTo>
                  <a:pt x="895" y="883"/>
                </a:lnTo>
                <a:close/>
                <a:moveTo>
                  <a:pt x="897" y="881"/>
                </a:moveTo>
                <a:lnTo>
                  <a:pt x="897" y="879"/>
                </a:lnTo>
                <a:lnTo>
                  <a:pt x="899" y="879"/>
                </a:lnTo>
                <a:lnTo>
                  <a:pt x="897" y="881"/>
                </a:lnTo>
                <a:close/>
                <a:moveTo>
                  <a:pt x="1360" y="1561"/>
                </a:moveTo>
                <a:lnTo>
                  <a:pt x="1358" y="1561"/>
                </a:lnTo>
                <a:lnTo>
                  <a:pt x="1356" y="1561"/>
                </a:lnTo>
                <a:lnTo>
                  <a:pt x="1354" y="1561"/>
                </a:lnTo>
                <a:lnTo>
                  <a:pt x="1352" y="1561"/>
                </a:lnTo>
                <a:lnTo>
                  <a:pt x="1350" y="1561"/>
                </a:lnTo>
                <a:lnTo>
                  <a:pt x="1348" y="1561"/>
                </a:lnTo>
                <a:lnTo>
                  <a:pt x="1346" y="1561"/>
                </a:lnTo>
                <a:lnTo>
                  <a:pt x="1344" y="1561"/>
                </a:lnTo>
                <a:lnTo>
                  <a:pt x="1342" y="1561"/>
                </a:lnTo>
                <a:lnTo>
                  <a:pt x="1340" y="1561"/>
                </a:lnTo>
                <a:lnTo>
                  <a:pt x="1339" y="1561"/>
                </a:lnTo>
                <a:lnTo>
                  <a:pt x="1337" y="1561"/>
                </a:lnTo>
                <a:lnTo>
                  <a:pt x="1339" y="1559"/>
                </a:lnTo>
                <a:lnTo>
                  <a:pt x="1340" y="1559"/>
                </a:lnTo>
                <a:lnTo>
                  <a:pt x="1342" y="1559"/>
                </a:lnTo>
                <a:lnTo>
                  <a:pt x="1344" y="1559"/>
                </a:lnTo>
                <a:lnTo>
                  <a:pt x="1346" y="1559"/>
                </a:lnTo>
                <a:lnTo>
                  <a:pt x="1348" y="1559"/>
                </a:lnTo>
                <a:lnTo>
                  <a:pt x="1350" y="1557"/>
                </a:lnTo>
                <a:lnTo>
                  <a:pt x="1350" y="1559"/>
                </a:lnTo>
                <a:lnTo>
                  <a:pt x="1352" y="1559"/>
                </a:lnTo>
                <a:lnTo>
                  <a:pt x="1354" y="1559"/>
                </a:lnTo>
                <a:lnTo>
                  <a:pt x="1356" y="1559"/>
                </a:lnTo>
                <a:lnTo>
                  <a:pt x="1358" y="1559"/>
                </a:lnTo>
                <a:lnTo>
                  <a:pt x="1358" y="1561"/>
                </a:lnTo>
                <a:lnTo>
                  <a:pt x="1360" y="1561"/>
                </a:lnTo>
                <a:close/>
                <a:moveTo>
                  <a:pt x="1356" y="1557"/>
                </a:moveTo>
                <a:lnTo>
                  <a:pt x="1354" y="1557"/>
                </a:lnTo>
                <a:lnTo>
                  <a:pt x="1354" y="1555"/>
                </a:lnTo>
                <a:lnTo>
                  <a:pt x="1356" y="1555"/>
                </a:lnTo>
                <a:lnTo>
                  <a:pt x="1356" y="1553"/>
                </a:lnTo>
                <a:lnTo>
                  <a:pt x="1358" y="1553"/>
                </a:lnTo>
                <a:lnTo>
                  <a:pt x="1356" y="1555"/>
                </a:lnTo>
                <a:lnTo>
                  <a:pt x="1356" y="1557"/>
                </a:lnTo>
                <a:close/>
                <a:moveTo>
                  <a:pt x="1262" y="1442"/>
                </a:moveTo>
                <a:lnTo>
                  <a:pt x="1260" y="1442"/>
                </a:lnTo>
                <a:lnTo>
                  <a:pt x="1262" y="1442"/>
                </a:lnTo>
                <a:close/>
                <a:moveTo>
                  <a:pt x="1266" y="1446"/>
                </a:moveTo>
                <a:lnTo>
                  <a:pt x="1266" y="1448"/>
                </a:lnTo>
                <a:lnTo>
                  <a:pt x="1264" y="1448"/>
                </a:lnTo>
                <a:lnTo>
                  <a:pt x="1262" y="1448"/>
                </a:lnTo>
                <a:lnTo>
                  <a:pt x="1260" y="1449"/>
                </a:lnTo>
                <a:lnTo>
                  <a:pt x="1258" y="1449"/>
                </a:lnTo>
                <a:lnTo>
                  <a:pt x="1258" y="1448"/>
                </a:lnTo>
                <a:lnTo>
                  <a:pt x="1256" y="1448"/>
                </a:lnTo>
                <a:lnTo>
                  <a:pt x="1254" y="1448"/>
                </a:lnTo>
                <a:lnTo>
                  <a:pt x="1254" y="1446"/>
                </a:lnTo>
                <a:lnTo>
                  <a:pt x="1252" y="1446"/>
                </a:lnTo>
                <a:lnTo>
                  <a:pt x="1254" y="1446"/>
                </a:lnTo>
                <a:lnTo>
                  <a:pt x="1254" y="1444"/>
                </a:lnTo>
                <a:lnTo>
                  <a:pt x="1256" y="1444"/>
                </a:lnTo>
                <a:lnTo>
                  <a:pt x="1258" y="1444"/>
                </a:lnTo>
                <a:lnTo>
                  <a:pt x="1258" y="1446"/>
                </a:lnTo>
                <a:lnTo>
                  <a:pt x="1256" y="1446"/>
                </a:lnTo>
                <a:lnTo>
                  <a:pt x="1258" y="1446"/>
                </a:lnTo>
                <a:lnTo>
                  <a:pt x="1258" y="1444"/>
                </a:lnTo>
                <a:lnTo>
                  <a:pt x="1260" y="1444"/>
                </a:lnTo>
                <a:lnTo>
                  <a:pt x="1260" y="1446"/>
                </a:lnTo>
                <a:lnTo>
                  <a:pt x="1262" y="1444"/>
                </a:lnTo>
                <a:lnTo>
                  <a:pt x="1262" y="1446"/>
                </a:lnTo>
                <a:lnTo>
                  <a:pt x="1262" y="1444"/>
                </a:lnTo>
                <a:lnTo>
                  <a:pt x="1264" y="1444"/>
                </a:lnTo>
                <a:lnTo>
                  <a:pt x="1266" y="1444"/>
                </a:lnTo>
                <a:lnTo>
                  <a:pt x="1266" y="1446"/>
                </a:lnTo>
                <a:close/>
                <a:moveTo>
                  <a:pt x="1367" y="1553"/>
                </a:moveTo>
                <a:lnTo>
                  <a:pt x="1367" y="1551"/>
                </a:lnTo>
                <a:lnTo>
                  <a:pt x="1367" y="1553"/>
                </a:lnTo>
                <a:close/>
                <a:moveTo>
                  <a:pt x="1363" y="1547"/>
                </a:moveTo>
                <a:lnTo>
                  <a:pt x="1363" y="1549"/>
                </a:lnTo>
                <a:lnTo>
                  <a:pt x="1363" y="1547"/>
                </a:lnTo>
                <a:lnTo>
                  <a:pt x="1363" y="1549"/>
                </a:lnTo>
                <a:lnTo>
                  <a:pt x="1363" y="1551"/>
                </a:lnTo>
                <a:lnTo>
                  <a:pt x="1362" y="1551"/>
                </a:lnTo>
                <a:lnTo>
                  <a:pt x="1362" y="1549"/>
                </a:lnTo>
                <a:lnTo>
                  <a:pt x="1363" y="1549"/>
                </a:lnTo>
                <a:lnTo>
                  <a:pt x="1363" y="1547"/>
                </a:lnTo>
                <a:close/>
                <a:moveTo>
                  <a:pt x="1266" y="1440"/>
                </a:moveTo>
                <a:lnTo>
                  <a:pt x="1267" y="1440"/>
                </a:lnTo>
                <a:lnTo>
                  <a:pt x="1267" y="1442"/>
                </a:lnTo>
                <a:lnTo>
                  <a:pt x="1266" y="1442"/>
                </a:lnTo>
                <a:lnTo>
                  <a:pt x="1264" y="1442"/>
                </a:lnTo>
                <a:lnTo>
                  <a:pt x="1262" y="1442"/>
                </a:lnTo>
                <a:lnTo>
                  <a:pt x="1262" y="1440"/>
                </a:lnTo>
                <a:lnTo>
                  <a:pt x="1260" y="1440"/>
                </a:lnTo>
                <a:lnTo>
                  <a:pt x="1258" y="1440"/>
                </a:lnTo>
                <a:lnTo>
                  <a:pt x="1260" y="1440"/>
                </a:lnTo>
                <a:lnTo>
                  <a:pt x="1258" y="1440"/>
                </a:lnTo>
                <a:lnTo>
                  <a:pt x="1256" y="1440"/>
                </a:lnTo>
                <a:lnTo>
                  <a:pt x="1256" y="1442"/>
                </a:lnTo>
                <a:lnTo>
                  <a:pt x="1254" y="1442"/>
                </a:lnTo>
                <a:lnTo>
                  <a:pt x="1256" y="1442"/>
                </a:lnTo>
                <a:lnTo>
                  <a:pt x="1258" y="1442"/>
                </a:lnTo>
                <a:lnTo>
                  <a:pt x="1260" y="1442"/>
                </a:lnTo>
                <a:lnTo>
                  <a:pt x="1260" y="1444"/>
                </a:lnTo>
                <a:lnTo>
                  <a:pt x="1258" y="1444"/>
                </a:lnTo>
                <a:lnTo>
                  <a:pt x="1256" y="1444"/>
                </a:lnTo>
                <a:lnTo>
                  <a:pt x="1254" y="1444"/>
                </a:lnTo>
                <a:lnTo>
                  <a:pt x="1252" y="1444"/>
                </a:lnTo>
                <a:lnTo>
                  <a:pt x="1250" y="1444"/>
                </a:lnTo>
                <a:lnTo>
                  <a:pt x="1250" y="1442"/>
                </a:lnTo>
                <a:lnTo>
                  <a:pt x="1248" y="1442"/>
                </a:lnTo>
                <a:lnTo>
                  <a:pt x="1246" y="1440"/>
                </a:lnTo>
                <a:lnTo>
                  <a:pt x="1248" y="1440"/>
                </a:lnTo>
                <a:lnTo>
                  <a:pt x="1246" y="1440"/>
                </a:lnTo>
                <a:lnTo>
                  <a:pt x="1248" y="1440"/>
                </a:lnTo>
                <a:lnTo>
                  <a:pt x="1248" y="1442"/>
                </a:lnTo>
                <a:lnTo>
                  <a:pt x="1250" y="1442"/>
                </a:lnTo>
                <a:lnTo>
                  <a:pt x="1250" y="1440"/>
                </a:lnTo>
                <a:lnTo>
                  <a:pt x="1248" y="1440"/>
                </a:lnTo>
                <a:lnTo>
                  <a:pt x="1248" y="1438"/>
                </a:lnTo>
                <a:lnTo>
                  <a:pt x="1248" y="1440"/>
                </a:lnTo>
                <a:lnTo>
                  <a:pt x="1250" y="1440"/>
                </a:lnTo>
                <a:lnTo>
                  <a:pt x="1250" y="1438"/>
                </a:lnTo>
                <a:lnTo>
                  <a:pt x="1252" y="1440"/>
                </a:lnTo>
                <a:lnTo>
                  <a:pt x="1252" y="1438"/>
                </a:lnTo>
                <a:lnTo>
                  <a:pt x="1252" y="1440"/>
                </a:lnTo>
                <a:lnTo>
                  <a:pt x="1252" y="1438"/>
                </a:lnTo>
                <a:lnTo>
                  <a:pt x="1250" y="1438"/>
                </a:lnTo>
                <a:lnTo>
                  <a:pt x="1252" y="1438"/>
                </a:lnTo>
                <a:lnTo>
                  <a:pt x="1252" y="1440"/>
                </a:lnTo>
                <a:lnTo>
                  <a:pt x="1254" y="1440"/>
                </a:lnTo>
                <a:lnTo>
                  <a:pt x="1254" y="1438"/>
                </a:lnTo>
                <a:lnTo>
                  <a:pt x="1256" y="1438"/>
                </a:lnTo>
                <a:lnTo>
                  <a:pt x="1256" y="1440"/>
                </a:lnTo>
                <a:lnTo>
                  <a:pt x="1256" y="1438"/>
                </a:lnTo>
                <a:lnTo>
                  <a:pt x="1258" y="1438"/>
                </a:lnTo>
                <a:lnTo>
                  <a:pt x="1260" y="1438"/>
                </a:lnTo>
                <a:lnTo>
                  <a:pt x="1262" y="1438"/>
                </a:lnTo>
                <a:lnTo>
                  <a:pt x="1264" y="1438"/>
                </a:lnTo>
                <a:lnTo>
                  <a:pt x="1266" y="1438"/>
                </a:lnTo>
                <a:lnTo>
                  <a:pt x="1264" y="1438"/>
                </a:lnTo>
                <a:lnTo>
                  <a:pt x="1266" y="1438"/>
                </a:lnTo>
                <a:lnTo>
                  <a:pt x="1267" y="1438"/>
                </a:lnTo>
                <a:lnTo>
                  <a:pt x="1267" y="1436"/>
                </a:lnTo>
                <a:lnTo>
                  <a:pt x="1267" y="1438"/>
                </a:lnTo>
                <a:lnTo>
                  <a:pt x="1266" y="1438"/>
                </a:lnTo>
                <a:lnTo>
                  <a:pt x="1266" y="1440"/>
                </a:lnTo>
                <a:close/>
                <a:moveTo>
                  <a:pt x="1358" y="1540"/>
                </a:moveTo>
                <a:lnTo>
                  <a:pt x="1360" y="1540"/>
                </a:lnTo>
                <a:lnTo>
                  <a:pt x="1358" y="1540"/>
                </a:lnTo>
                <a:close/>
                <a:moveTo>
                  <a:pt x="951" y="946"/>
                </a:moveTo>
                <a:lnTo>
                  <a:pt x="951" y="948"/>
                </a:lnTo>
                <a:lnTo>
                  <a:pt x="953" y="948"/>
                </a:lnTo>
                <a:lnTo>
                  <a:pt x="951" y="948"/>
                </a:lnTo>
                <a:lnTo>
                  <a:pt x="949" y="948"/>
                </a:lnTo>
                <a:lnTo>
                  <a:pt x="949" y="950"/>
                </a:lnTo>
                <a:lnTo>
                  <a:pt x="947" y="950"/>
                </a:lnTo>
                <a:lnTo>
                  <a:pt x="947" y="948"/>
                </a:lnTo>
                <a:lnTo>
                  <a:pt x="947" y="950"/>
                </a:lnTo>
                <a:lnTo>
                  <a:pt x="947" y="948"/>
                </a:lnTo>
                <a:lnTo>
                  <a:pt x="947" y="946"/>
                </a:lnTo>
                <a:lnTo>
                  <a:pt x="949" y="946"/>
                </a:lnTo>
                <a:lnTo>
                  <a:pt x="949" y="945"/>
                </a:lnTo>
                <a:lnTo>
                  <a:pt x="951" y="945"/>
                </a:lnTo>
                <a:lnTo>
                  <a:pt x="951" y="946"/>
                </a:lnTo>
                <a:close/>
                <a:moveTo>
                  <a:pt x="1267" y="1434"/>
                </a:moveTo>
                <a:lnTo>
                  <a:pt x="1267" y="1436"/>
                </a:lnTo>
                <a:lnTo>
                  <a:pt x="1266" y="1436"/>
                </a:lnTo>
                <a:lnTo>
                  <a:pt x="1266" y="1434"/>
                </a:lnTo>
                <a:lnTo>
                  <a:pt x="1267" y="1434"/>
                </a:lnTo>
                <a:lnTo>
                  <a:pt x="1269" y="1434"/>
                </a:lnTo>
                <a:lnTo>
                  <a:pt x="1267" y="1434"/>
                </a:lnTo>
                <a:close/>
                <a:moveTo>
                  <a:pt x="953" y="946"/>
                </a:moveTo>
                <a:lnTo>
                  <a:pt x="953" y="948"/>
                </a:lnTo>
                <a:lnTo>
                  <a:pt x="951" y="948"/>
                </a:lnTo>
                <a:lnTo>
                  <a:pt x="951" y="946"/>
                </a:lnTo>
                <a:lnTo>
                  <a:pt x="951" y="945"/>
                </a:lnTo>
                <a:lnTo>
                  <a:pt x="953" y="945"/>
                </a:lnTo>
                <a:lnTo>
                  <a:pt x="953" y="946"/>
                </a:lnTo>
                <a:close/>
                <a:moveTo>
                  <a:pt x="1269" y="1432"/>
                </a:moveTo>
                <a:lnTo>
                  <a:pt x="1267" y="1432"/>
                </a:lnTo>
                <a:lnTo>
                  <a:pt x="1267" y="1434"/>
                </a:lnTo>
                <a:lnTo>
                  <a:pt x="1266" y="1434"/>
                </a:lnTo>
                <a:lnTo>
                  <a:pt x="1264" y="1434"/>
                </a:lnTo>
                <a:lnTo>
                  <a:pt x="1262" y="1434"/>
                </a:lnTo>
                <a:lnTo>
                  <a:pt x="1262" y="1436"/>
                </a:lnTo>
                <a:lnTo>
                  <a:pt x="1260" y="1436"/>
                </a:lnTo>
                <a:lnTo>
                  <a:pt x="1258" y="1436"/>
                </a:lnTo>
                <a:lnTo>
                  <a:pt x="1256" y="1438"/>
                </a:lnTo>
                <a:lnTo>
                  <a:pt x="1254" y="1438"/>
                </a:lnTo>
                <a:lnTo>
                  <a:pt x="1254" y="1436"/>
                </a:lnTo>
                <a:lnTo>
                  <a:pt x="1252" y="1436"/>
                </a:lnTo>
                <a:lnTo>
                  <a:pt x="1250" y="1434"/>
                </a:lnTo>
                <a:lnTo>
                  <a:pt x="1252" y="1434"/>
                </a:lnTo>
                <a:lnTo>
                  <a:pt x="1250" y="1434"/>
                </a:lnTo>
                <a:lnTo>
                  <a:pt x="1250" y="1432"/>
                </a:lnTo>
                <a:lnTo>
                  <a:pt x="1252" y="1432"/>
                </a:lnTo>
                <a:lnTo>
                  <a:pt x="1252" y="1434"/>
                </a:lnTo>
                <a:lnTo>
                  <a:pt x="1254" y="1434"/>
                </a:lnTo>
                <a:lnTo>
                  <a:pt x="1254" y="1436"/>
                </a:lnTo>
                <a:lnTo>
                  <a:pt x="1256" y="1436"/>
                </a:lnTo>
                <a:lnTo>
                  <a:pt x="1254" y="1434"/>
                </a:lnTo>
                <a:lnTo>
                  <a:pt x="1252" y="1434"/>
                </a:lnTo>
                <a:lnTo>
                  <a:pt x="1252" y="1432"/>
                </a:lnTo>
                <a:lnTo>
                  <a:pt x="1254" y="1432"/>
                </a:lnTo>
                <a:lnTo>
                  <a:pt x="1256" y="1432"/>
                </a:lnTo>
                <a:lnTo>
                  <a:pt x="1256" y="1434"/>
                </a:lnTo>
                <a:lnTo>
                  <a:pt x="1258" y="1434"/>
                </a:lnTo>
                <a:lnTo>
                  <a:pt x="1256" y="1434"/>
                </a:lnTo>
                <a:lnTo>
                  <a:pt x="1258" y="1434"/>
                </a:lnTo>
                <a:lnTo>
                  <a:pt x="1256" y="1434"/>
                </a:lnTo>
                <a:lnTo>
                  <a:pt x="1256" y="1432"/>
                </a:lnTo>
                <a:lnTo>
                  <a:pt x="1256" y="1430"/>
                </a:lnTo>
                <a:lnTo>
                  <a:pt x="1258" y="1430"/>
                </a:lnTo>
                <a:lnTo>
                  <a:pt x="1260" y="1430"/>
                </a:lnTo>
                <a:lnTo>
                  <a:pt x="1260" y="1432"/>
                </a:lnTo>
                <a:lnTo>
                  <a:pt x="1260" y="1430"/>
                </a:lnTo>
                <a:lnTo>
                  <a:pt x="1260" y="1432"/>
                </a:lnTo>
                <a:lnTo>
                  <a:pt x="1262" y="1432"/>
                </a:lnTo>
                <a:lnTo>
                  <a:pt x="1264" y="1432"/>
                </a:lnTo>
                <a:lnTo>
                  <a:pt x="1264" y="1434"/>
                </a:lnTo>
                <a:lnTo>
                  <a:pt x="1262" y="1434"/>
                </a:lnTo>
                <a:lnTo>
                  <a:pt x="1264" y="1434"/>
                </a:lnTo>
                <a:lnTo>
                  <a:pt x="1266" y="1434"/>
                </a:lnTo>
                <a:lnTo>
                  <a:pt x="1266" y="1432"/>
                </a:lnTo>
                <a:lnTo>
                  <a:pt x="1267" y="1432"/>
                </a:lnTo>
                <a:lnTo>
                  <a:pt x="1269" y="1432"/>
                </a:lnTo>
                <a:close/>
                <a:moveTo>
                  <a:pt x="795" y="551"/>
                </a:moveTo>
                <a:lnTo>
                  <a:pt x="797" y="551"/>
                </a:lnTo>
                <a:lnTo>
                  <a:pt x="795" y="551"/>
                </a:lnTo>
                <a:close/>
                <a:moveTo>
                  <a:pt x="1354" y="1528"/>
                </a:moveTo>
                <a:lnTo>
                  <a:pt x="1352" y="1528"/>
                </a:lnTo>
                <a:lnTo>
                  <a:pt x="1352" y="1526"/>
                </a:lnTo>
                <a:lnTo>
                  <a:pt x="1352" y="1524"/>
                </a:lnTo>
                <a:lnTo>
                  <a:pt x="1350" y="1524"/>
                </a:lnTo>
                <a:lnTo>
                  <a:pt x="1350" y="1522"/>
                </a:lnTo>
                <a:lnTo>
                  <a:pt x="1350" y="1524"/>
                </a:lnTo>
                <a:lnTo>
                  <a:pt x="1352" y="1524"/>
                </a:lnTo>
                <a:lnTo>
                  <a:pt x="1352" y="1526"/>
                </a:lnTo>
                <a:lnTo>
                  <a:pt x="1354" y="1526"/>
                </a:lnTo>
                <a:lnTo>
                  <a:pt x="1354" y="1528"/>
                </a:lnTo>
                <a:close/>
                <a:moveTo>
                  <a:pt x="1356" y="1528"/>
                </a:moveTo>
                <a:lnTo>
                  <a:pt x="1356" y="1530"/>
                </a:lnTo>
                <a:lnTo>
                  <a:pt x="1356" y="1532"/>
                </a:lnTo>
                <a:lnTo>
                  <a:pt x="1358" y="1532"/>
                </a:lnTo>
                <a:lnTo>
                  <a:pt x="1356" y="1532"/>
                </a:lnTo>
                <a:lnTo>
                  <a:pt x="1356" y="1530"/>
                </a:lnTo>
                <a:lnTo>
                  <a:pt x="1356" y="1528"/>
                </a:lnTo>
                <a:close/>
                <a:moveTo>
                  <a:pt x="1348" y="1521"/>
                </a:moveTo>
                <a:lnTo>
                  <a:pt x="1348" y="1519"/>
                </a:lnTo>
                <a:lnTo>
                  <a:pt x="1348" y="1521"/>
                </a:lnTo>
                <a:lnTo>
                  <a:pt x="1348" y="1519"/>
                </a:lnTo>
                <a:lnTo>
                  <a:pt x="1348" y="1517"/>
                </a:lnTo>
                <a:lnTo>
                  <a:pt x="1346" y="1517"/>
                </a:lnTo>
                <a:lnTo>
                  <a:pt x="1348" y="1517"/>
                </a:lnTo>
                <a:lnTo>
                  <a:pt x="1348" y="1519"/>
                </a:lnTo>
                <a:lnTo>
                  <a:pt x="1348" y="1521"/>
                </a:lnTo>
                <a:close/>
                <a:moveTo>
                  <a:pt x="1363" y="1532"/>
                </a:moveTo>
                <a:lnTo>
                  <a:pt x="1363" y="1534"/>
                </a:lnTo>
                <a:lnTo>
                  <a:pt x="1362" y="1534"/>
                </a:lnTo>
                <a:lnTo>
                  <a:pt x="1362" y="1532"/>
                </a:lnTo>
                <a:lnTo>
                  <a:pt x="1363" y="1532"/>
                </a:lnTo>
                <a:close/>
                <a:moveTo>
                  <a:pt x="1277" y="1432"/>
                </a:moveTo>
                <a:lnTo>
                  <a:pt x="1275" y="1432"/>
                </a:lnTo>
                <a:lnTo>
                  <a:pt x="1275" y="1434"/>
                </a:lnTo>
                <a:lnTo>
                  <a:pt x="1273" y="1434"/>
                </a:lnTo>
                <a:lnTo>
                  <a:pt x="1275" y="1434"/>
                </a:lnTo>
                <a:lnTo>
                  <a:pt x="1275" y="1432"/>
                </a:lnTo>
                <a:lnTo>
                  <a:pt x="1273" y="1434"/>
                </a:lnTo>
                <a:lnTo>
                  <a:pt x="1273" y="1432"/>
                </a:lnTo>
                <a:lnTo>
                  <a:pt x="1275" y="1432"/>
                </a:lnTo>
                <a:lnTo>
                  <a:pt x="1277" y="1432"/>
                </a:lnTo>
                <a:close/>
                <a:moveTo>
                  <a:pt x="1344" y="1511"/>
                </a:moveTo>
                <a:lnTo>
                  <a:pt x="1344" y="1513"/>
                </a:lnTo>
                <a:lnTo>
                  <a:pt x="1346" y="1515"/>
                </a:lnTo>
                <a:lnTo>
                  <a:pt x="1346" y="1517"/>
                </a:lnTo>
                <a:lnTo>
                  <a:pt x="1344" y="1517"/>
                </a:lnTo>
                <a:lnTo>
                  <a:pt x="1344" y="1515"/>
                </a:lnTo>
                <a:lnTo>
                  <a:pt x="1344" y="1513"/>
                </a:lnTo>
                <a:lnTo>
                  <a:pt x="1344" y="1511"/>
                </a:lnTo>
                <a:close/>
                <a:moveTo>
                  <a:pt x="1279" y="1432"/>
                </a:moveTo>
                <a:lnTo>
                  <a:pt x="1277" y="1432"/>
                </a:lnTo>
                <a:lnTo>
                  <a:pt x="1279" y="1432"/>
                </a:lnTo>
                <a:close/>
                <a:moveTo>
                  <a:pt x="1292" y="1448"/>
                </a:moveTo>
                <a:lnTo>
                  <a:pt x="1291" y="1448"/>
                </a:lnTo>
                <a:lnTo>
                  <a:pt x="1292" y="1448"/>
                </a:lnTo>
                <a:close/>
                <a:moveTo>
                  <a:pt x="1294" y="1449"/>
                </a:moveTo>
                <a:lnTo>
                  <a:pt x="1292" y="1449"/>
                </a:lnTo>
                <a:lnTo>
                  <a:pt x="1291" y="1449"/>
                </a:lnTo>
                <a:lnTo>
                  <a:pt x="1289" y="1449"/>
                </a:lnTo>
                <a:lnTo>
                  <a:pt x="1287" y="1449"/>
                </a:lnTo>
                <a:lnTo>
                  <a:pt x="1285" y="1449"/>
                </a:lnTo>
                <a:lnTo>
                  <a:pt x="1285" y="1448"/>
                </a:lnTo>
                <a:lnTo>
                  <a:pt x="1287" y="1448"/>
                </a:lnTo>
                <a:lnTo>
                  <a:pt x="1287" y="1446"/>
                </a:lnTo>
                <a:lnTo>
                  <a:pt x="1289" y="1448"/>
                </a:lnTo>
                <a:lnTo>
                  <a:pt x="1291" y="1448"/>
                </a:lnTo>
                <a:lnTo>
                  <a:pt x="1292" y="1448"/>
                </a:lnTo>
                <a:lnTo>
                  <a:pt x="1292" y="1449"/>
                </a:lnTo>
                <a:lnTo>
                  <a:pt x="1294" y="1449"/>
                </a:lnTo>
                <a:close/>
                <a:moveTo>
                  <a:pt x="1352" y="1515"/>
                </a:moveTo>
                <a:lnTo>
                  <a:pt x="1350" y="1515"/>
                </a:lnTo>
                <a:lnTo>
                  <a:pt x="1352" y="1515"/>
                </a:lnTo>
                <a:lnTo>
                  <a:pt x="1350" y="1515"/>
                </a:lnTo>
                <a:lnTo>
                  <a:pt x="1352" y="1515"/>
                </a:lnTo>
                <a:close/>
                <a:moveTo>
                  <a:pt x="1352" y="1513"/>
                </a:moveTo>
                <a:lnTo>
                  <a:pt x="1352" y="1515"/>
                </a:lnTo>
                <a:lnTo>
                  <a:pt x="1350" y="1515"/>
                </a:lnTo>
                <a:lnTo>
                  <a:pt x="1350" y="1513"/>
                </a:lnTo>
                <a:lnTo>
                  <a:pt x="1352" y="1513"/>
                </a:lnTo>
                <a:close/>
                <a:moveTo>
                  <a:pt x="1352" y="1515"/>
                </a:moveTo>
                <a:lnTo>
                  <a:pt x="1354" y="1515"/>
                </a:lnTo>
                <a:lnTo>
                  <a:pt x="1352" y="1515"/>
                </a:lnTo>
                <a:close/>
                <a:moveTo>
                  <a:pt x="1354" y="1517"/>
                </a:moveTo>
                <a:lnTo>
                  <a:pt x="1352" y="1517"/>
                </a:lnTo>
                <a:lnTo>
                  <a:pt x="1352" y="1515"/>
                </a:lnTo>
                <a:lnTo>
                  <a:pt x="1354" y="1515"/>
                </a:lnTo>
                <a:lnTo>
                  <a:pt x="1354" y="1517"/>
                </a:lnTo>
                <a:close/>
                <a:moveTo>
                  <a:pt x="1342" y="1505"/>
                </a:moveTo>
                <a:lnTo>
                  <a:pt x="1340" y="1505"/>
                </a:lnTo>
                <a:lnTo>
                  <a:pt x="1340" y="1503"/>
                </a:lnTo>
                <a:lnTo>
                  <a:pt x="1340" y="1501"/>
                </a:lnTo>
                <a:lnTo>
                  <a:pt x="1342" y="1501"/>
                </a:lnTo>
                <a:lnTo>
                  <a:pt x="1342" y="1499"/>
                </a:lnTo>
                <a:lnTo>
                  <a:pt x="1342" y="1501"/>
                </a:lnTo>
                <a:lnTo>
                  <a:pt x="1342" y="1503"/>
                </a:lnTo>
                <a:lnTo>
                  <a:pt x="1344" y="1505"/>
                </a:lnTo>
                <a:lnTo>
                  <a:pt x="1342" y="1505"/>
                </a:lnTo>
                <a:close/>
                <a:moveTo>
                  <a:pt x="1354" y="1513"/>
                </a:moveTo>
                <a:lnTo>
                  <a:pt x="1354" y="1515"/>
                </a:lnTo>
                <a:lnTo>
                  <a:pt x="1352" y="1515"/>
                </a:lnTo>
                <a:lnTo>
                  <a:pt x="1352" y="1513"/>
                </a:lnTo>
                <a:lnTo>
                  <a:pt x="1350" y="1513"/>
                </a:lnTo>
                <a:lnTo>
                  <a:pt x="1350" y="1511"/>
                </a:lnTo>
                <a:lnTo>
                  <a:pt x="1350" y="1509"/>
                </a:lnTo>
                <a:lnTo>
                  <a:pt x="1350" y="1511"/>
                </a:lnTo>
                <a:lnTo>
                  <a:pt x="1352" y="1511"/>
                </a:lnTo>
                <a:lnTo>
                  <a:pt x="1354" y="1511"/>
                </a:lnTo>
                <a:lnTo>
                  <a:pt x="1354" y="1513"/>
                </a:lnTo>
                <a:lnTo>
                  <a:pt x="1356" y="1513"/>
                </a:lnTo>
                <a:lnTo>
                  <a:pt x="1354" y="1513"/>
                </a:lnTo>
                <a:close/>
                <a:moveTo>
                  <a:pt x="1344" y="1501"/>
                </a:moveTo>
                <a:lnTo>
                  <a:pt x="1344" y="1499"/>
                </a:lnTo>
                <a:lnTo>
                  <a:pt x="1342" y="1499"/>
                </a:lnTo>
                <a:lnTo>
                  <a:pt x="1344" y="1499"/>
                </a:lnTo>
                <a:lnTo>
                  <a:pt x="1344" y="1501"/>
                </a:lnTo>
                <a:close/>
                <a:moveTo>
                  <a:pt x="1354" y="1513"/>
                </a:moveTo>
                <a:lnTo>
                  <a:pt x="1356" y="1513"/>
                </a:lnTo>
                <a:lnTo>
                  <a:pt x="1354" y="1513"/>
                </a:lnTo>
                <a:close/>
                <a:moveTo>
                  <a:pt x="1354" y="1517"/>
                </a:moveTo>
                <a:lnTo>
                  <a:pt x="1356" y="1517"/>
                </a:lnTo>
                <a:lnTo>
                  <a:pt x="1358" y="1517"/>
                </a:lnTo>
                <a:lnTo>
                  <a:pt x="1358" y="1515"/>
                </a:lnTo>
                <a:lnTo>
                  <a:pt x="1358" y="1517"/>
                </a:lnTo>
                <a:lnTo>
                  <a:pt x="1360" y="1515"/>
                </a:lnTo>
                <a:lnTo>
                  <a:pt x="1360" y="1517"/>
                </a:lnTo>
                <a:lnTo>
                  <a:pt x="1358" y="1517"/>
                </a:lnTo>
                <a:lnTo>
                  <a:pt x="1356" y="1517"/>
                </a:lnTo>
                <a:lnTo>
                  <a:pt x="1354" y="1517"/>
                </a:lnTo>
                <a:close/>
                <a:moveTo>
                  <a:pt x="1363" y="1521"/>
                </a:moveTo>
                <a:lnTo>
                  <a:pt x="1362" y="1521"/>
                </a:lnTo>
                <a:lnTo>
                  <a:pt x="1363" y="1521"/>
                </a:lnTo>
                <a:close/>
                <a:moveTo>
                  <a:pt x="1363" y="1521"/>
                </a:moveTo>
                <a:lnTo>
                  <a:pt x="1362" y="1521"/>
                </a:lnTo>
                <a:lnTo>
                  <a:pt x="1363" y="1521"/>
                </a:lnTo>
                <a:close/>
                <a:moveTo>
                  <a:pt x="1362" y="1519"/>
                </a:moveTo>
                <a:lnTo>
                  <a:pt x="1363" y="1519"/>
                </a:lnTo>
                <a:lnTo>
                  <a:pt x="1362" y="1519"/>
                </a:lnTo>
                <a:close/>
                <a:moveTo>
                  <a:pt x="1362" y="1521"/>
                </a:moveTo>
                <a:lnTo>
                  <a:pt x="1363" y="1521"/>
                </a:lnTo>
                <a:lnTo>
                  <a:pt x="1362" y="1521"/>
                </a:lnTo>
                <a:close/>
                <a:moveTo>
                  <a:pt x="1362" y="1519"/>
                </a:moveTo>
                <a:lnTo>
                  <a:pt x="1363" y="1519"/>
                </a:lnTo>
                <a:lnTo>
                  <a:pt x="1362" y="1519"/>
                </a:lnTo>
                <a:close/>
                <a:moveTo>
                  <a:pt x="1302" y="1453"/>
                </a:moveTo>
                <a:lnTo>
                  <a:pt x="1300" y="1453"/>
                </a:lnTo>
                <a:lnTo>
                  <a:pt x="1302" y="1453"/>
                </a:lnTo>
                <a:lnTo>
                  <a:pt x="1302" y="1455"/>
                </a:lnTo>
                <a:lnTo>
                  <a:pt x="1304" y="1455"/>
                </a:lnTo>
                <a:lnTo>
                  <a:pt x="1304" y="1457"/>
                </a:lnTo>
                <a:lnTo>
                  <a:pt x="1304" y="1455"/>
                </a:lnTo>
                <a:lnTo>
                  <a:pt x="1304" y="1457"/>
                </a:lnTo>
                <a:lnTo>
                  <a:pt x="1302" y="1457"/>
                </a:lnTo>
                <a:lnTo>
                  <a:pt x="1300" y="1457"/>
                </a:lnTo>
                <a:lnTo>
                  <a:pt x="1298" y="1457"/>
                </a:lnTo>
                <a:lnTo>
                  <a:pt x="1296" y="1457"/>
                </a:lnTo>
                <a:lnTo>
                  <a:pt x="1296" y="1459"/>
                </a:lnTo>
                <a:lnTo>
                  <a:pt x="1298" y="1459"/>
                </a:lnTo>
                <a:lnTo>
                  <a:pt x="1300" y="1459"/>
                </a:lnTo>
                <a:lnTo>
                  <a:pt x="1302" y="1459"/>
                </a:lnTo>
                <a:lnTo>
                  <a:pt x="1302" y="1461"/>
                </a:lnTo>
                <a:lnTo>
                  <a:pt x="1304" y="1461"/>
                </a:lnTo>
                <a:lnTo>
                  <a:pt x="1306" y="1461"/>
                </a:lnTo>
                <a:lnTo>
                  <a:pt x="1306" y="1463"/>
                </a:lnTo>
                <a:lnTo>
                  <a:pt x="1304" y="1463"/>
                </a:lnTo>
                <a:lnTo>
                  <a:pt x="1302" y="1463"/>
                </a:lnTo>
                <a:lnTo>
                  <a:pt x="1300" y="1463"/>
                </a:lnTo>
                <a:lnTo>
                  <a:pt x="1298" y="1463"/>
                </a:lnTo>
                <a:lnTo>
                  <a:pt x="1296" y="1463"/>
                </a:lnTo>
                <a:lnTo>
                  <a:pt x="1294" y="1463"/>
                </a:lnTo>
                <a:lnTo>
                  <a:pt x="1292" y="1463"/>
                </a:lnTo>
                <a:lnTo>
                  <a:pt x="1292" y="1461"/>
                </a:lnTo>
                <a:lnTo>
                  <a:pt x="1291" y="1461"/>
                </a:lnTo>
                <a:lnTo>
                  <a:pt x="1289" y="1461"/>
                </a:lnTo>
                <a:lnTo>
                  <a:pt x="1287" y="1461"/>
                </a:lnTo>
                <a:lnTo>
                  <a:pt x="1285" y="1461"/>
                </a:lnTo>
                <a:lnTo>
                  <a:pt x="1283" y="1461"/>
                </a:lnTo>
                <a:lnTo>
                  <a:pt x="1281" y="1461"/>
                </a:lnTo>
                <a:lnTo>
                  <a:pt x="1279" y="1461"/>
                </a:lnTo>
                <a:lnTo>
                  <a:pt x="1277" y="1461"/>
                </a:lnTo>
                <a:lnTo>
                  <a:pt x="1275" y="1463"/>
                </a:lnTo>
                <a:lnTo>
                  <a:pt x="1273" y="1463"/>
                </a:lnTo>
                <a:lnTo>
                  <a:pt x="1273" y="1465"/>
                </a:lnTo>
                <a:lnTo>
                  <a:pt x="1271" y="1465"/>
                </a:lnTo>
                <a:lnTo>
                  <a:pt x="1271" y="1467"/>
                </a:lnTo>
                <a:lnTo>
                  <a:pt x="1271" y="1465"/>
                </a:lnTo>
                <a:lnTo>
                  <a:pt x="1269" y="1465"/>
                </a:lnTo>
                <a:lnTo>
                  <a:pt x="1269" y="1463"/>
                </a:lnTo>
                <a:lnTo>
                  <a:pt x="1267" y="1463"/>
                </a:lnTo>
                <a:lnTo>
                  <a:pt x="1266" y="1463"/>
                </a:lnTo>
                <a:lnTo>
                  <a:pt x="1266" y="1465"/>
                </a:lnTo>
                <a:lnTo>
                  <a:pt x="1266" y="1467"/>
                </a:lnTo>
                <a:lnTo>
                  <a:pt x="1264" y="1467"/>
                </a:lnTo>
                <a:lnTo>
                  <a:pt x="1264" y="1469"/>
                </a:lnTo>
                <a:lnTo>
                  <a:pt x="1262" y="1469"/>
                </a:lnTo>
                <a:lnTo>
                  <a:pt x="1260" y="1469"/>
                </a:lnTo>
                <a:lnTo>
                  <a:pt x="1260" y="1467"/>
                </a:lnTo>
                <a:lnTo>
                  <a:pt x="1260" y="1465"/>
                </a:lnTo>
                <a:lnTo>
                  <a:pt x="1258" y="1465"/>
                </a:lnTo>
                <a:lnTo>
                  <a:pt x="1256" y="1465"/>
                </a:lnTo>
                <a:lnTo>
                  <a:pt x="1256" y="1463"/>
                </a:lnTo>
                <a:lnTo>
                  <a:pt x="1256" y="1465"/>
                </a:lnTo>
                <a:lnTo>
                  <a:pt x="1254" y="1465"/>
                </a:lnTo>
                <a:lnTo>
                  <a:pt x="1252" y="1465"/>
                </a:lnTo>
                <a:lnTo>
                  <a:pt x="1254" y="1465"/>
                </a:lnTo>
                <a:lnTo>
                  <a:pt x="1252" y="1463"/>
                </a:lnTo>
                <a:lnTo>
                  <a:pt x="1250" y="1463"/>
                </a:lnTo>
                <a:lnTo>
                  <a:pt x="1250" y="1461"/>
                </a:lnTo>
                <a:lnTo>
                  <a:pt x="1248" y="1461"/>
                </a:lnTo>
                <a:lnTo>
                  <a:pt x="1246" y="1461"/>
                </a:lnTo>
                <a:lnTo>
                  <a:pt x="1246" y="1459"/>
                </a:lnTo>
                <a:lnTo>
                  <a:pt x="1244" y="1459"/>
                </a:lnTo>
                <a:lnTo>
                  <a:pt x="1246" y="1459"/>
                </a:lnTo>
                <a:lnTo>
                  <a:pt x="1246" y="1457"/>
                </a:lnTo>
                <a:lnTo>
                  <a:pt x="1248" y="1457"/>
                </a:lnTo>
                <a:lnTo>
                  <a:pt x="1248" y="1455"/>
                </a:lnTo>
                <a:lnTo>
                  <a:pt x="1250" y="1455"/>
                </a:lnTo>
                <a:lnTo>
                  <a:pt x="1252" y="1455"/>
                </a:lnTo>
                <a:lnTo>
                  <a:pt x="1254" y="1455"/>
                </a:lnTo>
                <a:lnTo>
                  <a:pt x="1254" y="1457"/>
                </a:lnTo>
                <a:lnTo>
                  <a:pt x="1256" y="1457"/>
                </a:lnTo>
                <a:lnTo>
                  <a:pt x="1256" y="1459"/>
                </a:lnTo>
                <a:lnTo>
                  <a:pt x="1258" y="1459"/>
                </a:lnTo>
                <a:lnTo>
                  <a:pt x="1258" y="1457"/>
                </a:lnTo>
                <a:lnTo>
                  <a:pt x="1256" y="1457"/>
                </a:lnTo>
                <a:lnTo>
                  <a:pt x="1256" y="1455"/>
                </a:lnTo>
                <a:lnTo>
                  <a:pt x="1258" y="1455"/>
                </a:lnTo>
                <a:lnTo>
                  <a:pt x="1260" y="1455"/>
                </a:lnTo>
                <a:lnTo>
                  <a:pt x="1262" y="1455"/>
                </a:lnTo>
                <a:lnTo>
                  <a:pt x="1262" y="1457"/>
                </a:lnTo>
                <a:lnTo>
                  <a:pt x="1264" y="1457"/>
                </a:lnTo>
                <a:lnTo>
                  <a:pt x="1264" y="1455"/>
                </a:lnTo>
                <a:lnTo>
                  <a:pt x="1266" y="1455"/>
                </a:lnTo>
                <a:lnTo>
                  <a:pt x="1264" y="1455"/>
                </a:lnTo>
                <a:lnTo>
                  <a:pt x="1266" y="1453"/>
                </a:lnTo>
                <a:lnTo>
                  <a:pt x="1266" y="1455"/>
                </a:lnTo>
                <a:lnTo>
                  <a:pt x="1267" y="1455"/>
                </a:lnTo>
                <a:lnTo>
                  <a:pt x="1269" y="1455"/>
                </a:lnTo>
                <a:lnTo>
                  <a:pt x="1271" y="1455"/>
                </a:lnTo>
                <a:lnTo>
                  <a:pt x="1273" y="1455"/>
                </a:lnTo>
                <a:lnTo>
                  <a:pt x="1275" y="1455"/>
                </a:lnTo>
                <a:lnTo>
                  <a:pt x="1275" y="1457"/>
                </a:lnTo>
                <a:lnTo>
                  <a:pt x="1277" y="1457"/>
                </a:lnTo>
                <a:lnTo>
                  <a:pt x="1279" y="1457"/>
                </a:lnTo>
                <a:lnTo>
                  <a:pt x="1281" y="1457"/>
                </a:lnTo>
                <a:lnTo>
                  <a:pt x="1283" y="1457"/>
                </a:lnTo>
                <a:lnTo>
                  <a:pt x="1283" y="1455"/>
                </a:lnTo>
                <a:lnTo>
                  <a:pt x="1285" y="1455"/>
                </a:lnTo>
                <a:lnTo>
                  <a:pt x="1287" y="1455"/>
                </a:lnTo>
                <a:lnTo>
                  <a:pt x="1289" y="1455"/>
                </a:lnTo>
                <a:lnTo>
                  <a:pt x="1289" y="1453"/>
                </a:lnTo>
                <a:lnTo>
                  <a:pt x="1291" y="1453"/>
                </a:lnTo>
                <a:lnTo>
                  <a:pt x="1291" y="1455"/>
                </a:lnTo>
                <a:lnTo>
                  <a:pt x="1289" y="1455"/>
                </a:lnTo>
                <a:lnTo>
                  <a:pt x="1289" y="1453"/>
                </a:lnTo>
                <a:lnTo>
                  <a:pt x="1289" y="1455"/>
                </a:lnTo>
                <a:lnTo>
                  <a:pt x="1291" y="1455"/>
                </a:lnTo>
                <a:lnTo>
                  <a:pt x="1292" y="1455"/>
                </a:lnTo>
                <a:lnTo>
                  <a:pt x="1292" y="1457"/>
                </a:lnTo>
                <a:lnTo>
                  <a:pt x="1294" y="1457"/>
                </a:lnTo>
                <a:lnTo>
                  <a:pt x="1294" y="1455"/>
                </a:lnTo>
                <a:lnTo>
                  <a:pt x="1296" y="1455"/>
                </a:lnTo>
                <a:lnTo>
                  <a:pt x="1296" y="1453"/>
                </a:lnTo>
                <a:lnTo>
                  <a:pt x="1298" y="1453"/>
                </a:lnTo>
                <a:lnTo>
                  <a:pt x="1298" y="1451"/>
                </a:lnTo>
                <a:lnTo>
                  <a:pt x="1300" y="1451"/>
                </a:lnTo>
                <a:lnTo>
                  <a:pt x="1302" y="1451"/>
                </a:lnTo>
                <a:lnTo>
                  <a:pt x="1304" y="1451"/>
                </a:lnTo>
                <a:lnTo>
                  <a:pt x="1304" y="1453"/>
                </a:lnTo>
                <a:lnTo>
                  <a:pt x="1302" y="1453"/>
                </a:lnTo>
                <a:close/>
                <a:moveTo>
                  <a:pt x="1363" y="1521"/>
                </a:moveTo>
                <a:lnTo>
                  <a:pt x="1363" y="1519"/>
                </a:lnTo>
                <a:lnTo>
                  <a:pt x="1363" y="1521"/>
                </a:lnTo>
                <a:lnTo>
                  <a:pt x="1363" y="1519"/>
                </a:lnTo>
                <a:lnTo>
                  <a:pt x="1363" y="1521"/>
                </a:lnTo>
                <a:close/>
                <a:moveTo>
                  <a:pt x="1281" y="1425"/>
                </a:moveTo>
                <a:lnTo>
                  <a:pt x="1281" y="1426"/>
                </a:lnTo>
                <a:lnTo>
                  <a:pt x="1279" y="1426"/>
                </a:lnTo>
                <a:lnTo>
                  <a:pt x="1277" y="1426"/>
                </a:lnTo>
                <a:lnTo>
                  <a:pt x="1277" y="1428"/>
                </a:lnTo>
                <a:lnTo>
                  <a:pt x="1275" y="1428"/>
                </a:lnTo>
                <a:lnTo>
                  <a:pt x="1273" y="1428"/>
                </a:lnTo>
                <a:lnTo>
                  <a:pt x="1273" y="1426"/>
                </a:lnTo>
                <a:lnTo>
                  <a:pt x="1271" y="1426"/>
                </a:lnTo>
                <a:lnTo>
                  <a:pt x="1271" y="1425"/>
                </a:lnTo>
                <a:lnTo>
                  <a:pt x="1271" y="1426"/>
                </a:lnTo>
                <a:lnTo>
                  <a:pt x="1273" y="1426"/>
                </a:lnTo>
                <a:lnTo>
                  <a:pt x="1273" y="1425"/>
                </a:lnTo>
                <a:lnTo>
                  <a:pt x="1271" y="1425"/>
                </a:lnTo>
                <a:lnTo>
                  <a:pt x="1273" y="1425"/>
                </a:lnTo>
                <a:lnTo>
                  <a:pt x="1273" y="1423"/>
                </a:lnTo>
                <a:lnTo>
                  <a:pt x="1275" y="1423"/>
                </a:lnTo>
                <a:lnTo>
                  <a:pt x="1275" y="1425"/>
                </a:lnTo>
                <a:lnTo>
                  <a:pt x="1275" y="1423"/>
                </a:lnTo>
                <a:lnTo>
                  <a:pt x="1277" y="1423"/>
                </a:lnTo>
                <a:lnTo>
                  <a:pt x="1275" y="1423"/>
                </a:lnTo>
                <a:lnTo>
                  <a:pt x="1277" y="1425"/>
                </a:lnTo>
                <a:lnTo>
                  <a:pt x="1277" y="1423"/>
                </a:lnTo>
                <a:lnTo>
                  <a:pt x="1279" y="1423"/>
                </a:lnTo>
                <a:lnTo>
                  <a:pt x="1277" y="1423"/>
                </a:lnTo>
                <a:lnTo>
                  <a:pt x="1279" y="1423"/>
                </a:lnTo>
                <a:lnTo>
                  <a:pt x="1279" y="1425"/>
                </a:lnTo>
                <a:lnTo>
                  <a:pt x="1279" y="1423"/>
                </a:lnTo>
                <a:lnTo>
                  <a:pt x="1281" y="1423"/>
                </a:lnTo>
                <a:lnTo>
                  <a:pt x="1281" y="1425"/>
                </a:lnTo>
                <a:close/>
                <a:moveTo>
                  <a:pt x="1363" y="1519"/>
                </a:moveTo>
                <a:lnTo>
                  <a:pt x="1362" y="1519"/>
                </a:lnTo>
                <a:lnTo>
                  <a:pt x="1363" y="1519"/>
                </a:lnTo>
                <a:close/>
                <a:moveTo>
                  <a:pt x="1365" y="1519"/>
                </a:moveTo>
                <a:lnTo>
                  <a:pt x="1365" y="1521"/>
                </a:lnTo>
                <a:lnTo>
                  <a:pt x="1363" y="1521"/>
                </a:lnTo>
                <a:lnTo>
                  <a:pt x="1363" y="1519"/>
                </a:lnTo>
                <a:lnTo>
                  <a:pt x="1365" y="1519"/>
                </a:lnTo>
                <a:close/>
                <a:moveTo>
                  <a:pt x="1356" y="1515"/>
                </a:moveTo>
                <a:lnTo>
                  <a:pt x="1354" y="1515"/>
                </a:lnTo>
                <a:lnTo>
                  <a:pt x="1354" y="1513"/>
                </a:lnTo>
                <a:lnTo>
                  <a:pt x="1356" y="1513"/>
                </a:lnTo>
                <a:lnTo>
                  <a:pt x="1358" y="1513"/>
                </a:lnTo>
                <a:lnTo>
                  <a:pt x="1360" y="1513"/>
                </a:lnTo>
                <a:lnTo>
                  <a:pt x="1358" y="1513"/>
                </a:lnTo>
                <a:lnTo>
                  <a:pt x="1358" y="1515"/>
                </a:lnTo>
                <a:lnTo>
                  <a:pt x="1356" y="1515"/>
                </a:lnTo>
                <a:close/>
                <a:moveTo>
                  <a:pt x="1344" y="1497"/>
                </a:moveTo>
                <a:lnTo>
                  <a:pt x="1344" y="1496"/>
                </a:lnTo>
                <a:lnTo>
                  <a:pt x="1344" y="1497"/>
                </a:lnTo>
                <a:lnTo>
                  <a:pt x="1344" y="1496"/>
                </a:lnTo>
                <a:lnTo>
                  <a:pt x="1344" y="1497"/>
                </a:lnTo>
                <a:close/>
                <a:moveTo>
                  <a:pt x="1358" y="1511"/>
                </a:moveTo>
                <a:lnTo>
                  <a:pt x="1356" y="1513"/>
                </a:lnTo>
                <a:lnTo>
                  <a:pt x="1356" y="1511"/>
                </a:lnTo>
                <a:lnTo>
                  <a:pt x="1356" y="1513"/>
                </a:lnTo>
                <a:lnTo>
                  <a:pt x="1356" y="1511"/>
                </a:lnTo>
                <a:lnTo>
                  <a:pt x="1358" y="1511"/>
                </a:lnTo>
                <a:lnTo>
                  <a:pt x="1360" y="1511"/>
                </a:lnTo>
                <a:lnTo>
                  <a:pt x="1358" y="1511"/>
                </a:lnTo>
                <a:close/>
                <a:moveTo>
                  <a:pt x="1339" y="1492"/>
                </a:moveTo>
                <a:lnTo>
                  <a:pt x="1340" y="1492"/>
                </a:lnTo>
                <a:lnTo>
                  <a:pt x="1340" y="1494"/>
                </a:lnTo>
                <a:lnTo>
                  <a:pt x="1340" y="1492"/>
                </a:lnTo>
                <a:lnTo>
                  <a:pt x="1340" y="1494"/>
                </a:lnTo>
                <a:lnTo>
                  <a:pt x="1340" y="1496"/>
                </a:lnTo>
                <a:lnTo>
                  <a:pt x="1339" y="1496"/>
                </a:lnTo>
                <a:lnTo>
                  <a:pt x="1339" y="1494"/>
                </a:lnTo>
                <a:lnTo>
                  <a:pt x="1339" y="1492"/>
                </a:lnTo>
                <a:lnTo>
                  <a:pt x="1337" y="1492"/>
                </a:lnTo>
                <a:lnTo>
                  <a:pt x="1337" y="1490"/>
                </a:lnTo>
                <a:lnTo>
                  <a:pt x="1337" y="1488"/>
                </a:lnTo>
                <a:lnTo>
                  <a:pt x="1339" y="1488"/>
                </a:lnTo>
                <a:lnTo>
                  <a:pt x="1339" y="1490"/>
                </a:lnTo>
                <a:lnTo>
                  <a:pt x="1339" y="1492"/>
                </a:lnTo>
                <a:close/>
                <a:moveTo>
                  <a:pt x="1358" y="1513"/>
                </a:moveTo>
                <a:lnTo>
                  <a:pt x="1358" y="1511"/>
                </a:lnTo>
                <a:lnTo>
                  <a:pt x="1358" y="1513"/>
                </a:lnTo>
                <a:lnTo>
                  <a:pt x="1358" y="1511"/>
                </a:lnTo>
                <a:lnTo>
                  <a:pt x="1360" y="1511"/>
                </a:lnTo>
                <a:lnTo>
                  <a:pt x="1360" y="1513"/>
                </a:lnTo>
                <a:lnTo>
                  <a:pt x="1358" y="1513"/>
                </a:lnTo>
                <a:close/>
                <a:moveTo>
                  <a:pt x="1360" y="1509"/>
                </a:moveTo>
                <a:lnTo>
                  <a:pt x="1358" y="1509"/>
                </a:lnTo>
                <a:lnTo>
                  <a:pt x="1356" y="1509"/>
                </a:lnTo>
                <a:lnTo>
                  <a:pt x="1358" y="1509"/>
                </a:lnTo>
                <a:lnTo>
                  <a:pt x="1358" y="1511"/>
                </a:lnTo>
                <a:lnTo>
                  <a:pt x="1358" y="1509"/>
                </a:lnTo>
                <a:lnTo>
                  <a:pt x="1356" y="1511"/>
                </a:lnTo>
                <a:lnTo>
                  <a:pt x="1356" y="1509"/>
                </a:lnTo>
                <a:lnTo>
                  <a:pt x="1358" y="1509"/>
                </a:lnTo>
                <a:lnTo>
                  <a:pt x="1356" y="1509"/>
                </a:lnTo>
                <a:lnTo>
                  <a:pt x="1356" y="1511"/>
                </a:lnTo>
                <a:lnTo>
                  <a:pt x="1354" y="1511"/>
                </a:lnTo>
                <a:lnTo>
                  <a:pt x="1354" y="1509"/>
                </a:lnTo>
                <a:lnTo>
                  <a:pt x="1352" y="1509"/>
                </a:lnTo>
                <a:lnTo>
                  <a:pt x="1352" y="1511"/>
                </a:lnTo>
                <a:lnTo>
                  <a:pt x="1354" y="1511"/>
                </a:lnTo>
                <a:lnTo>
                  <a:pt x="1352" y="1511"/>
                </a:lnTo>
                <a:lnTo>
                  <a:pt x="1352" y="1509"/>
                </a:lnTo>
                <a:lnTo>
                  <a:pt x="1350" y="1509"/>
                </a:lnTo>
                <a:lnTo>
                  <a:pt x="1350" y="1511"/>
                </a:lnTo>
                <a:lnTo>
                  <a:pt x="1350" y="1509"/>
                </a:lnTo>
                <a:lnTo>
                  <a:pt x="1348" y="1509"/>
                </a:lnTo>
                <a:lnTo>
                  <a:pt x="1350" y="1509"/>
                </a:lnTo>
                <a:lnTo>
                  <a:pt x="1352" y="1509"/>
                </a:lnTo>
                <a:lnTo>
                  <a:pt x="1352" y="1507"/>
                </a:lnTo>
                <a:lnTo>
                  <a:pt x="1352" y="1509"/>
                </a:lnTo>
                <a:lnTo>
                  <a:pt x="1352" y="1507"/>
                </a:lnTo>
                <a:lnTo>
                  <a:pt x="1350" y="1507"/>
                </a:lnTo>
                <a:lnTo>
                  <a:pt x="1350" y="1509"/>
                </a:lnTo>
                <a:lnTo>
                  <a:pt x="1350" y="1507"/>
                </a:lnTo>
                <a:lnTo>
                  <a:pt x="1348" y="1507"/>
                </a:lnTo>
                <a:lnTo>
                  <a:pt x="1348" y="1505"/>
                </a:lnTo>
                <a:lnTo>
                  <a:pt x="1348" y="1503"/>
                </a:lnTo>
                <a:lnTo>
                  <a:pt x="1350" y="1503"/>
                </a:lnTo>
                <a:lnTo>
                  <a:pt x="1348" y="1503"/>
                </a:lnTo>
                <a:lnTo>
                  <a:pt x="1350" y="1503"/>
                </a:lnTo>
                <a:lnTo>
                  <a:pt x="1350" y="1505"/>
                </a:lnTo>
                <a:lnTo>
                  <a:pt x="1352" y="1505"/>
                </a:lnTo>
                <a:lnTo>
                  <a:pt x="1350" y="1505"/>
                </a:lnTo>
                <a:lnTo>
                  <a:pt x="1350" y="1503"/>
                </a:lnTo>
                <a:lnTo>
                  <a:pt x="1348" y="1503"/>
                </a:lnTo>
                <a:lnTo>
                  <a:pt x="1348" y="1501"/>
                </a:lnTo>
                <a:lnTo>
                  <a:pt x="1348" y="1499"/>
                </a:lnTo>
                <a:lnTo>
                  <a:pt x="1348" y="1501"/>
                </a:lnTo>
                <a:lnTo>
                  <a:pt x="1348" y="1499"/>
                </a:lnTo>
                <a:lnTo>
                  <a:pt x="1350" y="1499"/>
                </a:lnTo>
                <a:lnTo>
                  <a:pt x="1350" y="1501"/>
                </a:lnTo>
                <a:lnTo>
                  <a:pt x="1352" y="1501"/>
                </a:lnTo>
                <a:lnTo>
                  <a:pt x="1352" y="1503"/>
                </a:lnTo>
                <a:lnTo>
                  <a:pt x="1354" y="1503"/>
                </a:lnTo>
                <a:lnTo>
                  <a:pt x="1354" y="1505"/>
                </a:lnTo>
                <a:lnTo>
                  <a:pt x="1356" y="1505"/>
                </a:lnTo>
                <a:lnTo>
                  <a:pt x="1356" y="1507"/>
                </a:lnTo>
                <a:lnTo>
                  <a:pt x="1358" y="1507"/>
                </a:lnTo>
                <a:lnTo>
                  <a:pt x="1358" y="1509"/>
                </a:lnTo>
                <a:lnTo>
                  <a:pt x="1360" y="1509"/>
                </a:lnTo>
                <a:close/>
                <a:moveTo>
                  <a:pt x="1358" y="1511"/>
                </a:moveTo>
                <a:lnTo>
                  <a:pt x="1358" y="1509"/>
                </a:lnTo>
                <a:lnTo>
                  <a:pt x="1360" y="1509"/>
                </a:lnTo>
                <a:lnTo>
                  <a:pt x="1360" y="1511"/>
                </a:lnTo>
                <a:lnTo>
                  <a:pt x="1362" y="1511"/>
                </a:lnTo>
                <a:lnTo>
                  <a:pt x="1360" y="1511"/>
                </a:lnTo>
                <a:lnTo>
                  <a:pt x="1358" y="1511"/>
                </a:lnTo>
                <a:close/>
                <a:moveTo>
                  <a:pt x="1365" y="1517"/>
                </a:moveTo>
                <a:lnTo>
                  <a:pt x="1365" y="1515"/>
                </a:lnTo>
                <a:lnTo>
                  <a:pt x="1365" y="1517"/>
                </a:lnTo>
                <a:close/>
                <a:moveTo>
                  <a:pt x="1367" y="1519"/>
                </a:moveTo>
                <a:lnTo>
                  <a:pt x="1369" y="1519"/>
                </a:lnTo>
                <a:lnTo>
                  <a:pt x="1367" y="1519"/>
                </a:lnTo>
                <a:close/>
                <a:moveTo>
                  <a:pt x="1365" y="1515"/>
                </a:moveTo>
                <a:lnTo>
                  <a:pt x="1365" y="1517"/>
                </a:lnTo>
                <a:lnTo>
                  <a:pt x="1365" y="1515"/>
                </a:lnTo>
                <a:lnTo>
                  <a:pt x="1367" y="1515"/>
                </a:lnTo>
                <a:lnTo>
                  <a:pt x="1365" y="1515"/>
                </a:lnTo>
                <a:close/>
                <a:moveTo>
                  <a:pt x="905" y="799"/>
                </a:moveTo>
                <a:lnTo>
                  <a:pt x="903" y="799"/>
                </a:lnTo>
                <a:lnTo>
                  <a:pt x="901" y="799"/>
                </a:lnTo>
                <a:lnTo>
                  <a:pt x="901" y="801"/>
                </a:lnTo>
                <a:lnTo>
                  <a:pt x="901" y="802"/>
                </a:lnTo>
                <a:lnTo>
                  <a:pt x="899" y="802"/>
                </a:lnTo>
                <a:lnTo>
                  <a:pt x="899" y="801"/>
                </a:lnTo>
                <a:lnTo>
                  <a:pt x="899" y="802"/>
                </a:lnTo>
                <a:lnTo>
                  <a:pt x="897" y="802"/>
                </a:lnTo>
                <a:lnTo>
                  <a:pt x="899" y="802"/>
                </a:lnTo>
                <a:lnTo>
                  <a:pt x="899" y="804"/>
                </a:lnTo>
                <a:lnTo>
                  <a:pt x="899" y="806"/>
                </a:lnTo>
                <a:lnTo>
                  <a:pt x="901" y="806"/>
                </a:lnTo>
                <a:lnTo>
                  <a:pt x="901" y="808"/>
                </a:lnTo>
                <a:lnTo>
                  <a:pt x="903" y="808"/>
                </a:lnTo>
                <a:lnTo>
                  <a:pt x="903" y="810"/>
                </a:lnTo>
                <a:lnTo>
                  <a:pt x="903" y="812"/>
                </a:lnTo>
                <a:lnTo>
                  <a:pt x="903" y="814"/>
                </a:lnTo>
                <a:lnTo>
                  <a:pt x="903" y="816"/>
                </a:lnTo>
                <a:lnTo>
                  <a:pt x="903" y="814"/>
                </a:lnTo>
                <a:lnTo>
                  <a:pt x="903" y="816"/>
                </a:lnTo>
                <a:lnTo>
                  <a:pt x="903" y="818"/>
                </a:lnTo>
                <a:lnTo>
                  <a:pt x="901" y="818"/>
                </a:lnTo>
                <a:lnTo>
                  <a:pt x="901" y="820"/>
                </a:lnTo>
                <a:lnTo>
                  <a:pt x="899" y="820"/>
                </a:lnTo>
                <a:lnTo>
                  <a:pt x="899" y="818"/>
                </a:lnTo>
                <a:lnTo>
                  <a:pt x="897" y="818"/>
                </a:lnTo>
                <a:lnTo>
                  <a:pt x="897" y="820"/>
                </a:lnTo>
                <a:lnTo>
                  <a:pt x="895" y="820"/>
                </a:lnTo>
                <a:lnTo>
                  <a:pt x="897" y="822"/>
                </a:lnTo>
                <a:lnTo>
                  <a:pt x="895" y="822"/>
                </a:lnTo>
                <a:lnTo>
                  <a:pt x="893" y="822"/>
                </a:lnTo>
                <a:lnTo>
                  <a:pt x="891" y="822"/>
                </a:lnTo>
                <a:lnTo>
                  <a:pt x="891" y="820"/>
                </a:lnTo>
                <a:lnTo>
                  <a:pt x="891" y="822"/>
                </a:lnTo>
                <a:lnTo>
                  <a:pt x="891" y="824"/>
                </a:lnTo>
                <a:lnTo>
                  <a:pt x="889" y="824"/>
                </a:lnTo>
                <a:lnTo>
                  <a:pt x="891" y="824"/>
                </a:lnTo>
                <a:lnTo>
                  <a:pt x="889" y="824"/>
                </a:lnTo>
                <a:lnTo>
                  <a:pt x="889" y="826"/>
                </a:lnTo>
                <a:lnTo>
                  <a:pt x="889" y="824"/>
                </a:lnTo>
                <a:lnTo>
                  <a:pt x="889" y="826"/>
                </a:lnTo>
                <a:lnTo>
                  <a:pt x="887" y="826"/>
                </a:lnTo>
                <a:lnTo>
                  <a:pt x="885" y="826"/>
                </a:lnTo>
                <a:lnTo>
                  <a:pt x="885" y="824"/>
                </a:lnTo>
                <a:lnTo>
                  <a:pt x="883" y="824"/>
                </a:lnTo>
                <a:lnTo>
                  <a:pt x="883" y="826"/>
                </a:lnTo>
                <a:lnTo>
                  <a:pt x="885" y="826"/>
                </a:lnTo>
                <a:lnTo>
                  <a:pt x="883" y="826"/>
                </a:lnTo>
                <a:lnTo>
                  <a:pt x="885" y="826"/>
                </a:lnTo>
                <a:lnTo>
                  <a:pt x="883" y="826"/>
                </a:lnTo>
                <a:lnTo>
                  <a:pt x="883" y="827"/>
                </a:lnTo>
                <a:lnTo>
                  <a:pt x="883" y="826"/>
                </a:lnTo>
                <a:lnTo>
                  <a:pt x="883" y="827"/>
                </a:lnTo>
                <a:lnTo>
                  <a:pt x="881" y="827"/>
                </a:lnTo>
                <a:lnTo>
                  <a:pt x="883" y="829"/>
                </a:lnTo>
                <a:lnTo>
                  <a:pt x="881" y="829"/>
                </a:lnTo>
                <a:lnTo>
                  <a:pt x="880" y="829"/>
                </a:lnTo>
                <a:lnTo>
                  <a:pt x="880" y="831"/>
                </a:lnTo>
                <a:lnTo>
                  <a:pt x="878" y="831"/>
                </a:lnTo>
                <a:lnTo>
                  <a:pt x="880" y="831"/>
                </a:lnTo>
                <a:lnTo>
                  <a:pt x="880" y="833"/>
                </a:lnTo>
                <a:lnTo>
                  <a:pt x="881" y="833"/>
                </a:lnTo>
                <a:lnTo>
                  <a:pt x="880" y="833"/>
                </a:lnTo>
                <a:lnTo>
                  <a:pt x="878" y="833"/>
                </a:lnTo>
                <a:lnTo>
                  <a:pt x="878" y="835"/>
                </a:lnTo>
                <a:lnTo>
                  <a:pt x="876" y="835"/>
                </a:lnTo>
                <a:lnTo>
                  <a:pt x="874" y="835"/>
                </a:lnTo>
                <a:lnTo>
                  <a:pt x="874" y="833"/>
                </a:lnTo>
                <a:lnTo>
                  <a:pt x="874" y="831"/>
                </a:lnTo>
                <a:lnTo>
                  <a:pt x="872" y="831"/>
                </a:lnTo>
                <a:lnTo>
                  <a:pt x="874" y="831"/>
                </a:lnTo>
                <a:lnTo>
                  <a:pt x="872" y="831"/>
                </a:lnTo>
                <a:lnTo>
                  <a:pt x="872" y="829"/>
                </a:lnTo>
                <a:lnTo>
                  <a:pt x="874" y="829"/>
                </a:lnTo>
                <a:lnTo>
                  <a:pt x="872" y="827"/>
                </a:lnTo>
                <a:lnTo>
                  <a:pt x="870" y="827"/>
                </a:lnTo>
                <a:lnTo>
                  <a:pt x="870" y="826"/>
                </a:lnTo>
                <a:lnTo>
                  <a:pt x="868" y="826"/>
                </a:lnTo>
                <a:lnTo>
                  <a:pt x="868" y="824"/>
                </a:lnTo>
                <a:lnTo>
                  <a:pt x="866" y="824"/>
                </a:lnTo>
                <a:lnTo>
                  <a:pt x="868" y="824"/>
                </a:lnTo>
                <a:lnTo>
                  <a:pt x="866" y="822"/>
                </a:lnTo>
                <a:lnTo>
                  <a:pt x="866" y="820"/>
                </a:lnTo>
                <a:lnTo>
                  <a:pt x="868" y="820"/>
                </a:lnTo>
                <a:lnTo>
                  <a:pt x="866" y="820"/>
                </a:lnTo>
                <a:lnTo>
                  <a:pt x="866" y="822"/>
                </a:lnTo>
                <a:lnTo>
                  <a:pt x="864" y="820"/>
                </a:lnTo>
                <a:lnTo>
                  <a:pt x="862" y="818"/>
                </a:lnTo>
                <a:lnTo>
                  <a:pt x="862" y="816"/>
                </a:lnTo>
                <a:lnTo>
                  <a:pt x="860" y="816"/>
                </a:lnTo>
                <a:lnTo>
                  <a:pt x="862" y="816"/>
                </a:lnTo>
                <a:lnTo>
                  <a:pt x="860" y="814"/>
                </a:lnTo>
                <a:lnTo>
                  <a:pt x="862" y="814"/>
                </a:lnTo>
                <a:lnTo>
                  <a:pt x="860" y="814"/>
                </a:lnTo>
                <a:lnTo>
                  <a:pt x="860" y="812"/>
                </a:lnTo>
                <a:lnTo>
                  <a:pt x="858" y="812"/>
                </a:lnTo>
                <a:lnTo>
                  <a:pt x="858" y="810"/>
                </a:lnTo>
                <a:lnTo>
                  <a:pt x="858" y="812"/>
                </a:lnTo>
                <a:lnTo>
                  <a:pt x="857" y="812"/>
                </a:lnTo>
                <a:lnTo>
                  <a:pt x="858" y="812"/>
                </a:lnTo>
                <a:lnTo>
                  <a:pt x="858" y="814"/>
                </a:lnTo>
                <a:lnTo>
                  <a:pt x="857" y="814"/>
                </a:lnTo>
                <a:lnTo>
                  <a:pt x="858" y="816"/>
                </a:lnTo>
                <a:lnTo>
                  <a:pt x="858" y="818"/>
                </a:lnTo>
                <a:lnTo>
                  <a:pt x="858" y="820"/>
                </a:lnTo>
                <a:lnTo>
                  <a:pt x="857" y="820"/>
                </a:lnTo>
                <a:lnTo>
                  <a:pt x="855" y="820"/>
                </a:lnTo>
                <a:lnTo>
                  <a:pt x="855" y="818"/>
                </a:lnTo>
                <a:lnTo>
                  <a:pt x="853" y="818"/>
                </a:lnTo>
                <a:lnTo>
                  <a:pt x="853" y="816"/>
                </a:lnTo>
                <a:lnTo>
                  <a:pt x="855" y="816"/>
                </a:lnTo>
                <a:lnTo>
                  <a:pt x="855" y="814"/>
                </a:lnTo>
                <a:lnTo>
                  <a:pt x="857" y="814"/>
                </a:lnTo>
                <a:lnTo>
                  <a:pt x="857" y="812"/>
                </a:lnTo>
                <a:lnTo>
                  <a:pt x="857" y="810"/>
                </a:lnTo>
                <a:lnTo>
                  <a:pt x="857" y="808"/>
                </a:lnTo>
                <a:lnTo>
                  <a:pt x="857" y="806"/>
                </a:lnTo>
                <a:lnTo>
                  <a:pt x="857" y="804"/>
                </a:lnTo>
                <a:lnTo>
                  <a:pt x="857" y="802"/>
                </a:lnTo>
                <a:lnTo>
                  <a:pt x="855" y="802"/>
                </a:lnTo>
                <a:lnTo>
                  <a:pt x="857" y="802"/>
                </a:lnTo>
                <a:lnTo>
                  <a:pt x="855" y="802"/>
                </a:lnTo>
                <a:lnTo>
                  <a:pt x="855" y="801"/>
                </a:lnTo>
                <a:lnTo>
                  <a:pt x="857" y="801"/>
                </a:lnTo>
                <a:lnTo>
                  <a:pt x="857" y="802"/>
                </a:lnTo>
                <a:lnTo>
                  <a:pt x="857" y="801"/>
                </a:lnTo>
                <a:lnTo>
                  <a:pt x="855" y="801"/>
                </a:lnTo>
                <a:lnTo>
                  <a:pt x="855" y="799"/>
                </a:lnTo>
                <a:lnTo>
                  <a:pt x="855" y="797"/>
                </a:lnTo>
                <a:lnTo>
                  <a:pt x="855" y="795"/>
                </a:lnTo>
                <a:lnTo>
                  <a:pt x="855" y="793"/>
                </a:lnTo>
                <a:lnTo>
                  <a:pt x="855" y="791"/>
                </a:lnTo>
                <a:lnTo>
                  <a:pt x="855" y="789"/>
                </a:lnTo>
                <a:lnTo>
                  <a:pt x="857" y="789"/>
                </a:lnTo>
                <a:lnTo>
                  <a:pt x="857" y="787"/>
                </a:lnTo>
                <a:lnTo>
                  <a:pt x="857" y="785"/>
                </a:lnTo>
                <a:lnTo>
                  <a:pt x="857" y="783"/>
                </a:lnTo>
                <a:lnTo>
                  <a:pt x="858" y="783"/>
                </a:lnTo>
                <a:lnTo>
                  <a:pt x="857" y="781"/>
                </a:lnTo>
                <a:lnTo>
                  <a:pt x="858" y="781"/>
                </a:lnTo>
                <a:lnTo>
                  <a:pt x="858" y="779"/>
                </a:lnTo>
                <a:lnTo>
                  <a:pt x="858" y="778"/>
                </a:lnTo>
                <a:lnTo>
                  <a:pt x="858" y="776"/>
                </a:lnTo>
                <a:lnTo>
                  <a:pt x="857" y="776"/>
                </a:lnTo>
                <a:lnTo>
                  <a:pt x="858" y="776"/>
                </a:lnTo>
                <a:lnTo>
                  <a:pt x="857" y="776"/>
                </a:lnTo>
                <a:lnTo>
                  <a:pt x="857" y="774"/>
                </a:lnTo>
                <a:lnTo>
                  <a:pt x="857" y="772"/>
                </a:lnTo>
                <a:lnTo>
                  <a:pt x="858" y="770"/>
                </a:lnTo>
                <a:lnTo>
                  <a:pt x="858" y="768"/>
                </a:lnTo>
                <a:lnTo>
                  <a:pt x="860" y="768"/>
                </a:lnTo>
                <a:lnTo>
                  <a:pt x="860" y="766"/>
                </a:lnTo>
                <a:lnTo>
                  <a:pt x="858" y="766"/>
                </a:lnTo>
                <a:lnTo>
                  <a:pt x="858" y="764"/>
                </a:lnTo>
                <a:lnTo>
                  <a:pt x="858" y="762"/>
                </a:lnTo>
                <a:lnTo>
                  <a:pt x="860" y="762"/>
                </a:lnTo>
                <a:lnTo>
                  <a:pt x="860" y="764"/>
                </a:lnTo>
                <a:lnTo>
                  <a:pt x="860" y="762"/>
                </a:lnTo>
                <a:lnTo>
                  <a:pt x="862" y="762"/>
                </a:lnTo>
                <a:lnTo>
                  <a:pt x="864" y="762"/>
                </a:lnTo>
                <a:lnTo>
                  <a:pt x="864" y="760"/>
                </a:lnTo>
                <a:lnTo>
                  <a:pt x="864" y="758"/>
                </a:lnTo>
                <a:lnTo>
                  <a:pt x="866" y="758"/>
                </a:lnTo>
                <a:lnTo>
                  <a:pt x="866" y="756"/>
                </a:lnTo>
                <a:lnTo>
                  <a:pt x="868" y="756"/>
                </a:lnTo>
                <a:lnTo>
                  <a:pt x="868" y="754"/>
                </a:lnTo>
                <a:lnTo>
                  <a:pt x="868" y="756"/>
                </a:lnTo>
                <a:lnTo>
                  <a:pt x="870" y="758"/>
                </a:lnTo>
                <a:lnTo>
                  <a:pt x="872" y="758"/>
                </a:lnTo>
                <a:lnTo>
                  <a:pt x="872" y="760"/>
                </a:lnTo>
                <a:lnTo>
                  <a:pt x="872" y="762"/>
                </a:lnTo>
                <a:lnTo>
                  <a:pt x="874" y="762"/>
                </a:lnTo>
                <a:lnTo>
                  <a:pt x="874" y="764"/>
                </a:lnTo>
                <a:lnTo>
                  <a:pt x="874" y="766"/>
                </a:lnTo>
                <a:lnTo>
                  <a:pt x="876" y="766"/>
                </a:lnTo>
                <a:lnTo>
                  <a:pt x="876" y="768"/>
                </a:lnTo>
                <a:lnTo>
                  <a:pt x="874" y="768"/>
                </a:lnTo>
                <a:lnTo>
                  <a:pt x="874" y="770"/>
                </a:lnTo>
                <a:lnTo>
                  <a:pt x="876" y="772"/>
                </a:lnTo>
                <a:lnTo>
                  <a:pt x="878" y="774"/>
                </a:lnTo>
                <a:lnTo>
                  <a:pt x="876" y="774"/>
                </a:lnTo>
                <a:lnTo>
                  <a:pt x="876" y="776"/>
                </a:lnTo>
                <a:lnTo>
                  <a:pt x="878" y="776"/>
                </a:lnTo>
                <a:lnTo>
                  <a:pt x="878" y="778"/>
                </a:lnTo>
                <a:lnTo>
                  <a:pt x="876" y="778"/>
                </a:lnTo>
                <a:lnTo>
                  <a:pt x="876" y="776"/>
                </a:lnTo>
                <a:lnTo>
                  <a:pt x="876" y="778"/>
                </a:lnTo>
                <a:lnTo>
                  <a:pt x="878" y="778"/>
                </a:lnTo>
                <a:lnTo>
                  <a:pt x="880" y="778"/>
                </a:lnTo>
                <a:lnTo>
                  <a:pt x="881" y="778"/>
                </a:lnTo>
                <a:lnTo>
                  <a:pt x="881" y="776"/>
                </a:lnTo>
                <a:lnTo>
                  <a:pt x="883" y="776"/>
                </a:lnTo>
                <a:lnTo>
                  <a:pt x="883" y="778"/>
                </a:lnTo>
                <a:lnTo>
                  <a:pt x="883" y="776"/>
                </a:lnTo>
                <a:lnTo>
                  <a:pt x="885" y="778"/>
                </a:lnTo>
                <a:lnTo>
                  <a:pt x="883" y="778"/>
                </a:lnTo>
                <a:lnTo>
                  <a:pt x="885" y="778"/>
                </a:lnTo>
                <a:lnTo>
                  <a:pt x="887" y="778"/>
                </a:lnTo>
                <a:lnTo>
                  <a:pt x="887" y="779"/>
                </a:lnTo>
                <a:lnTo>
                  <a:pt x="885" y="779"/>
                </a:lnTo>
                <a:lnTo>
                  <a:pt x="887" y="779"/>
                </a:lnTo>
                <a:lnTo>
                  <a:pt x="889" y="779"/>
                </a:lnTo>
                <a:lnTo>
                  <a:pt x="887" y="779"/>
                </a:lnTo>
                <a:lnTo>
                  <a:pt x="889" y="781"/>
                </a:lnTo>
                <a:lnTo>
                  <a:pt x="889" y="779"/>
                </a:lnTo>
                <a:lnTo>
                  <a:pt x="889" y="781"/>
                </a:lnTo>
                <a:lnTo>
                  <a:pt x="889" y="783"/>
                </a:lnTo>
                <a:lnTo>
                  <a:pt x="891" y="783"/>
                </a:lnTo>
                <a:lnTo>
                  <a:pt x="893" y="783"/>
                </a:lnTo>
                <a:lnTo>
                  <a:pt x="895" y="785"/>
                </a:lnTo>
                <a:lnTo>
                  <a:pt x="895" y="783"/>
                </a:lnTo>
                <a:lnTo>
                  <a:pt x="895" y="785"/>
                </a:lnTo>
                <a:lnTo>
                  <a:pt x="897" y="785"/>
                </a:lnTo>
                <a:lnTo>
                  <a:pt x="895" y="785"/>
                </a:lnTo>
                <a:lnTo>
                  <a:pt x="897" y="785"/>
                </a:lnTo>
                <a:lnTo>
                  <a:pt x="897" y="787"/>
                </a:lnTo>
                <a:lnTo>
                  <a:pt x="897" y="789"/>
                </a:lnTo>
                <a:lnTo>
                  <a:pt x="897" y="791"/>
                </a:lnTo>
                <a:lnTo>
                  <a:pt x="895" y="791"/>
                </a:lnTo>
                <a:lnTo>
                  <a:pt x="895" y="789"/>
                </a:lnTo>
                <a:lnTo>
                  <a:pt x="893" y="789"/>
                </a:lnTo>
                <a:lnTo>
                  <a:pt x="895" y="789"/>
                </a:lnTo>
                <a:lnTo>
                  <a:pt x="895" y="791"/>
                </a:lnTo>
                <a:lnTo>
                  <a:pt x="895" y="789"/>
                </a:lnTo>
                <a:lnTo>
                  <a:pt x="895" y="791"/>
                </a:lnTo>
                <a:lnTo>
                  <a:pt x="897" y="791"/>
                </a:lnTo>
                <a:lnTo>
                  <a:pt x="899" y="793"/>
                </a:lnTo>
                <a:lnTo>
                  <a:pt x="901" y="793"/>
                </a:lnTo>
                <a:lnTo>
                  <a:pt x="901" y="795"/>
                </a:lnTo>
                <a:lnTo>
                  <a:pt x="899" y="795"/>
                </a:lnTo>
                <a:lnTo>
                  <a:pt x="901" y="795"/>
                </a:lnTo>
                <a:lnTo>
                  <a:pt x="901" y="797"/>
                </a:lnTo>
                <a:lnTo>
                  <a:pt x="901" y="795"/>
                </a:lnTo>
                <a:lnTo>
                  <a:pt x="899" y="795"/>
                </a:lnTo>
                <a:lnTo>
                  <a:pt x="899" y="797"/>
                </a:lnTo>
                <a:lnTo>
                  <a:pt x="897" y="797"/>
                </a:lnTo>
                <a:lnTo>
                  <a:pt x="899" y="797"/>
                </a:lnTo>
                <a:lnTo>
                  <a:pt x="901" y="797"/>
                </a:lnTo>
                <a:lnTo>
                  <a:pt x="901" y="799"/>
                </a:lnTo>
                <a:lnTo>
                  <a:pt x="903" y="799"/>
                </a:lnTo>
                <a:lnTo>
                  <a:pt x="903" y="797"/>
                </a:lnTo>
                <a:lnTo>
                  <a:pt x="905" y="797"/>
                </a:lnTo>
                <a:lnTo>
                  <a:pt x="906" y="797"/>
                </a:lnTo>
                <a:lnTo>
                  <a:pt x="905" y="797"/>
                </a:lnTo>
                <a:lnTo>
                  <a:pt x="905" y="799"/>
                </a:lnTo>
                <a:close/>
                <a:moveTo>
                  <a:pt x="1363" y="1511"/>
                </a:moveTo>
                <a:lnTo>
                  <a:pt x="1362" y="1511"/>
                </a:lnTo>
                <a:lnTo>
                  <a:pt x="1363" y="1511"/>
                </a:lnTo>
                <a:close/>
                <a:moveTo>
                  <a:pt x="1292" y="1428"/>
                </a:moveTo>
                <a:lnTo>
                  <a:pt x="1291" y="1428"/>
                </a:lnTo>
                <a:lnTo>
                  <a:pt x="1292" y="1428"/>
                </a:lnTo>
                <a:close/>
                <a:moveTo>
                  <a:pt x="1367" y="1519"/>
                </a:moveTo>
                <a:lnTo>
                  <a:pt x="1369" y="1519"/>
                </a:lnTo>
                <a:lnTo>
                  <a:pt x="1371" y="1519"/>
                </a:lnTo>
                <a:lnTo>
                  <a:pt x="1369" y="1519"/>
                </a:lnTo>
                <a:lnTo>
                  <a:pt x="1367" y="1521"/>
                </a:lnTo>
                <a:lnTo>
                  <a:pt x="1367" y="1519"/>
                </a:lnTo>
                <a:close/>
                <a:moveTo>
                  <a:pt x="1365" y="1515"/>
                </a:moveTo>
                <a:lnTo>
                  <a:pt x="1365" y="1513"/>
                </a:lnTo>
                <a:lnTo>
                  <a:pt x="1367" y="1513"/>
                </a:lnTo>
                <a:lnTo>
                  <a:pt x="1367" y="1515"/>
                </a:lnTo>
                <a:lnTo>
                  <a:pt x="1365" y="1515"/>
                </a:lnTo>
                <a:close/>
                <a:moveTo>
                  <a:pt x="1371" y="1519"/>
                </a:moveTo>
                <a:lnTo>
                  <a:pt x="1369" y="1519"/>
                </a:lnTo>
                <a:lnTo>
                  <a:pt x="1369" y="1517"/>
                </a:lnTo>
                <a:lnTo>
                  <a:pt x="1371" y="1519"/>
                </a:lnTo>
                <a:close/>
                <a:moveTo>
                  <a:pt x="1369" y="1515"/>
                </a:moveTo>
                <a:lnTo>
                  <a:pt x="1367" y="1515"/>
                </a:lnTo>
                <a:lnTo>
                  <a:pt x="1367" y="1517"/>
                </a:lnTo>
                <a:lnTo>
                  <a:pt x="1365" y="1517"/>
                </a:lnTo>
                <a:lnTo>
                  <a:pt x="1367" y="1515"/>
                </a:lnTo>
                <a:lnTo>
                  <a:pt x="1369" y="1515"/>
                </a:lnTo>
                <a:close/>
                <a:moveTo>
                  <a:pt x="1373" y="1521"/>
                </a:moveTo>
                <a:lnTo>
                  <a:pt x="1371" y="1521"/>
                </a:lnTo>
                <a:lnTo>
                  <a:pt x="1371" y="1519"/>
                </a:lnTo>
                <a:lnTo>
                  <a:pt x="1373" y="1519"/>
                </a:lnTo>
                <a:lnTo>
                  <a:pt x="1373" y="1521"/>
                </a:lnTo>
                <a:close/>
                <a:moveTo>
                  <a:pt x="1367" y="1515"/>
                </a:moveTo>
                <a:lnTo>
                  <a:pt x="1367" y="1513"/>
                </a:lnTo>
                <a:lnTo>
                  <a:pt x="1367" y="1515"/>
                </a:lnTo>
                <a:close/>
                <a:moveTo>
                  <a:pt x="1367" y="1513"/>
                </a:moveTo>
                <a:lnTo>
                  <a:pt x="1365" y="1513"/>
                </a:lnTo>
                <a:lnTo>
                  <a:pt x="1367" y="1513"/>
                </a:lnTo>
                <a:close/>
                <a:moveTo>
                  <a:pt x="1339" y="1482"/>
                </a:moveTo>
                <a:lnTo>
                  <a:pt x="1339" y="1480"/>
                </a:lnTo>
                <a:lnTo>
                  <a:pt x="1339" y="1482"/>
                </a:lnTo>
                <a:close/>
                <a:moveTo>
                  <a:pt x="1369" y="1515"/>
                </a:moveTo>
                <a:lnTo>
                  <a:pt x="1367" y="1515"/>
                </a:lnTo>
                <a:lnTo>
                  <a:pt x="1369" y="1515"/>
                </a:lnTo>
                <a:close/>
                <a:moveTo>
                  <a:pt x="1365" y="1511"/>
                </a:moveTo>
                <a:lnTo>
                  <a:pt x="1363" y="1511"/>
                </a:lnTo>
                <a:lnTo>
                  <a:pt x="1365" y="1509"/>
                </a:lnTo>
                <a:lnTo>
                  <a:pt x="1365" y="1511"/>
                </a:lnTo>
                <a:close/>
                <a:moveTo>
                  <a:pt x="1369" y="1517"/>
                </a:moveTo>
                <a:lnTo>
                  <a:pt x="1371" y="1517"/>
                </a:lnTo>
                <a:lnTo>
                  <a:pt x="1371" y="1515"/>
                </a:lnTo>
                <a:lnTo>
                  <a:pt x="1371" y="1517"/>
                </a:lnTo>
                <a:lnTo>
                  <a:pt x="1369" y="1517"/>
                </a:lnTo>
                <a:close/>
                <a:moveTo>
                  <a:pt x="1365" y="1511"/>
                </a:moveTo>
                <a:lnTo>
                  <a:pt x="1365" y="1509"/>
                </a:lnTo>
                <a:lnTo>
                  <a:pt x="1365" y="1511"/>
                </a:lnTo>
                <a:close/>
                <a:moveTo>
                  <a:pt x="1369" y="1513"/>
                </a:moveTo>
                <a:lnTo>
                  <a:pt x="1369" y="1515"/>
                </a:lnTo>
                <a:lnTo>
                  <a:pt x="1369" y="1513"/>
                </a:lnTo>
                <a:close/>
                <a:moveTo>
                  <a:pt x="1367" y="1511"/>
                </a:moveTo>
                <a:lnTo>
                  <a:pt x="1365" y="1511"/>
                </a:lnTo>
                <a:lnTo>
                  <a:pt x="1367" y="1511"/>
                </a:lnTo>
                <a:lnTo>
                  <a:pt x="1365" y="1511"/>
                </a:lnTo>
                <a:lnTo>
                  <a:pt x="1367" y="1511"/>
                </a:lnTo>
                <a:close/>
                <a:moveTo>
                  <a:pt x="1371" y="1515"/>
                </a:moveTo>
                <a:lnTo>
                  <a:pt x="1371" y="1517"/>
                </a:lnTo>
                <a:lnTo>
                  <a:pt x="1369" y="1517"/>
                </a:lnTo>
                <a:lnTo>
                  <a:pt x="1369" y="1515"/>
                </a:lnTo>
                <a:lnTo>
                  <a:pt x="1371" y="1515"/>
                </a:lnTo>
                <a:close/>
                <a:moveTo>
                  <a:pt x="1369" y="1515"/>
                </a:moveTo>
                <a:lnTo>
                  <a:pt x="1369" y="1517"/>
                </a:lnTo>
                <a:lnTo>
                  <a:pt x="1369" y="1515"/>
                </a:lnTo>
                <a:close/>
                <a:moveTo>
                  <a:pt x="1369" y="1515"/>
                </a:moveTo>
                <a:lnTo>
                  <a:pt x="1371" y="1515"/>
                </a:lnTo>
                <a:lnTo>
                  <a:pt x="1369" y="1515"/>
                </a:lnTo>
                <a:close/>
                <a:moveTo>
                  <a:pt x="1327" y="1465"/>
                </a:moveTo>
                <a:lnTo>
                  <a:pt x="1325" y="1465"/>
                </a:lnTo>
                <a:lnTo>
                  <a:pt x="1327" y="1465"/>
                </a:lnTo>
                <a:lnTo>
                  <a:pt x="1327" y="1467"/>
                </a:lnTo>
                <a:lnTo>
                  <a:pt x="1327" y="1465"/>
                </a:lnTo>
                <a:lnTo>
                  <a:pt x="1327" y="1467"/>
                </a:lnTo>
                <a:lnTo>
                  <a:pt x="1327" y="1469"/>
                </a:lnTo>
                <a:lnTo>
                  <a:pt x="1327" y="1467"/>
                </a:lnTo>
                <a:lnTo>
                  <a:pt x="1327" y="1469"/>
                </a:lnTo>
                <a:lnTo>
                  <a:pt x="1327" y="1467"/>
                </a:lnTo>
                <a:lnTo>
                  <a:pt x="1327" y="1469"/>
                </a:lnTo>
                <a:lnTo>
                  <a:pt x="1329" y="1469"/>
                </a:lnTo>
                <a:lnTo>
                  <a:pt x="1331" y="1469"/>
                </a:lnTo>
                <a:lnTo>
                  <a:pt x="1329" y="1469"/>
                </a:lnTo>
                <a:lnTo>
                  <a:pt x="1331" y="1469"/>
                </a:lnTo>
                <a:lnTo>
                  <a:pt x="1331" y="1471"/>
                </a:lnTo>
                <a:lnTo>
                  <a:pt x="1331" y="1469"/>
                </a:lnTo>
                <a:lnTo>
                  <a:pt x="1331" y="1471"/>
                </a:lnTo>
                <a:lnTo>
                  <a:pt x="1329" y="1471"/>
                </a:lnTo>
                <a:lnTo>
                  <a:pt x="1329" y="1473"/>
                </a:lnTo>
                <a:lnTo>
                  <a:pt x="1327" y="1473"/>
                </a:lnTo>
                <a:lnTo>
                  <a:pt x="1325" y="1474"/>
                </a:lnTo>
                <a:lnTo>
                  <a:pt x="1325" y="1473"/>
                </a:lnTo>
                <a:lnTo>
                  <a:pt x="1325" y="1474"/>
                </a:lnTo>
                <a:lnTo>
                  <a:pt x="1327" y="1474"/>
                </a:lnTo>
                <a:lnTo>
                  <a:pt x="1329" y="1474"/>
                </a:lnTo>
                <a:lnTo>
                  <a:pt x="1329" y="1476"/>
                </a:lnTo>
                <a:lnTo>
                  <a:pt x="1331" y="1476"/>
                </a:lnTo>
                <a:lnTo>
                  <a:pt x="1331" y="1478"/>
                </a:lnTo>
                <a:lnTo>
                  <a:pt x="1333" y="1478"/>
                </a:lnTo>
                <a:lnTo>
                  <a:pt x="1333" y="1480"/>
                </a:lnTo>
                <a:lnTo>
                  <a:pt x="1333" y="1482"/>
                </a:lnTo>
                <a:lnTo>
                  <a:pt x="1333" y="1480"/>
                </a:lnTo>
                <a:lnTo>
                  <a:pt x="1331" y="1480"/>
                </a:lnTo>
                <a:lnTo>
                  <a:pt x="1329" y="1480"/>
                </a:lnTo>
                <a:lnTo>
                  <a:pt x="1331" y="1480"/>
                </a:lnTo>
                <a:lnTo>
                  <a:pt x="1331" y="1482"/>
                </a:lnTo>
                <a:lnTo>
                  <a:pt x="1333" y="1482"/>
                </a:lnTo>
                <a:lnTo>
                  <a:pt x="1331" y="1482"/>
                </a:lnTo>
                <a:lnTo>
                  <a:pt x="1329" y="1482"/>
                </a:lnTo>
                <a:lnTo>
                  <a:pt x="1329" y="1480"/>
                </a:lnTo>
                <a:lnTo>
                  <a:pt x="1327" y="1480"/>
                </a:lnTo>
                <a:lnTo>
                  <a:pt x="1327" y="1482"/>
                </a:lnTo>
                <a:lnTo>
                  <a:pt x="1325" y="1482"/>
                </a:lnTo>
                <a:lnTo>
                  <a:pt x="1325" y="1480"/>
                </a:lnTo>
                <a:lnTo>
                  <a:pt x="1323" y="1478"/>
                </a:lnTo>
                <a:lnTo>
                  <a:pt x="1321" y="1478"/>
                </a:lnTo>
                <a:lnTo>
                  <a:pt x="1321" y="1476"/>
                </a:lnTo>
                <a:lnTo>
                  <a:pt x="1319" y="1476"/>
                </a:lnTo>
                <a:lnTo>
                  <a:pt x="1317" y="1476"/>
                </a:lnTo>
                <a:lnTo>
                  <a:pt x="1315" y="1476"/>
                </a:lnTo>
                <a:lnTo>
                  <a:pt x="1314" y="1476"/>
                </a:lnTo>
                <a:lnTo>
                  <a:pt x="1312" y="1476"/>
                </a:lnTo>
                <a:lnTo>
                  <a:pt x="1312" y="1474"/>
                </a:lnTo>
                <a:lnTo>
                  <a:pt x="1310" y="1474"/>
                </a:lnTo>
                <a:lnTo>
                  <a:pt x="1308" y="1474"/>
                </a:lnTo>
                <a:lnTo>
                  <a:pt x="1308" y="1473"/>
                </a:lnTo>
                <a:lnTo>
                  <a:pt x="1310" y="1473"/>
                </a:lnTo>
                <a:lnTo>
                  <a:pt x="1308" y="1473"/>
                </a:lnTo>
                <a:lnTo>
                  <a:pt x="1308" y="1471"/>
                </a:lnTo>
                <a:lnTo>
                  <a:pt x="1310" y="1471"/>
                </a:lnTo>
                <a:lnTo>
                  <a:pt x="1312" y="1471"/>
                </a:lnTo>
                <a:lnTo>
                  <a:pt x="1314" y="1471"/>
                </a:lnTo>
                <a:lnTo>
                  <a:pt x="1315" y="1471"/>
                </a:lnTo>
                <a:lnTo>
                  <a:pt x="1315" y="1473"/>
                </a:lnTo>
                <a:lnTo>
                  <a:pt x="1315" y="1471"/>
                </a:lnTo>
                <a:lnTo>
                  <a:pt x="1315" y="1473"/>
                </a:lnTo>
                <a:lnTo>
                  <a:pt x="1315" y="1471"/>
                </a:lnTo>
                <a:lnTo>
                  <a:pt x="1317" y="1471"/>
                </a:lnTo>
                <a:lnTo>
                  <a:pt x="1317" y="1473"/>
                </a:lnTo>
                <a:lnTo>
                  <a:pt x="1319" y="1473"/>
                </a:lnTo>
                <a:lnTo>
                  <a:pt x="1321" y="1473"/>
                </a:lnTo>
                <a:lnTo>
                  <a:pt x="1319" y="1473"/>
                </a:lnTo>
                <a:lnTo>
                  <a:pt x="1319" y="1471"/>
                </a:lnTo>
                <a:lnTo>
                  <a:pt x="1317" y="1471"/>
                </a:lnTo>
                <a:lnTo>
                  <a:pt x="1317" y="1469"/>
                </a:lnTo>
                <a:lnTo>
                  <a:pt x="1315" y="1469"/>
                </a:lnTo>
                <a:lnTo>
                  <a:pt x="1317" y="1469"/>
                </a:lnTo>
                <a:lnTo>
                  <a:pt x="1315" y="1469"/>
                </a:lnTo>
                <a:lnTo>
                  <a:pt x="1315" y="1467"/>
                </a:lnTo>
                <a:lnTo>
                  <a:pt x="1314" y="1467"/>
                </a:lnTo>
                <a:lnTo>
                  <a:pt x="1314" y="1469"/>
                </a:lnTo>
                <a:lnTo>
                  <a:pt x="1315" y="1469"/>
                </a:lnTo>
                <a:lnTo>
                  <a:pt x="1314" y="1469"/>
                </a:lnTo>
                <a:lnTo>
                  <a:pt x="1314" y="1467"/>
                </a:lnTo>
                <a:lnTo>
                  <a:pt x="1314" y="1465"/>
                </a:lnTo>
                <a:lnTo>
                  <a:pt x="1315" y="1465"/>
                </a:lnTo>
                <a:lnTo>
                  <a:pt x="1315" y="1463"/>
                </a:lnTo>
                <a:lnTo>
                  <a:pt x="1315" y="1465"/>
                </a:lnTo>
                <a:lnTo>
                  <a:pt x="1315" y="1463"/>
                </a:lnTo>
                <a:lnTo>
                  <a:pt x="1317" y="1463"/>
                </a:lnTo>
                <a:lnTo>
                  <a:pt x="1319" y="1463"/>
                </a:lnTo>
                <a:lnTo>
                  <a:pt x="1319" y="1465"/>
                </a:lnTo>
                <a:lnTo>
                  <a:pt x="1321" y="1465"/>
                </a:lnTo>
                <a:lnTo>
                  <a:pt x="1321" y="1463"/>
                </a:lnTo>
                <a:lnTo>
                  <a:pt x="1319" y="1463"/>
                </a:lnTo>
                <a:lnTo>
                  <a:pt x="1321" y="1463"/>
                </a:lnTo>
                <a:lnTo>
                  <a:pt x="1323" y="1463"/>
                </a:lnTo>
                <a:lnTo>
                  <a:pt x="1325" y="1461"/>
                </a:lnTo>
                <a:lnTo>
                  <a:pt x="1325" y="1463"/>
                </a:lnTo>
                <a:lnTo>
                  <a:pt x="1327" y="1463"/>
                </a:lnTo>
                <a:lnTo>
                  <a:pt x="1327" y="1465"/>
                </a:lnTo>
                <a:close/>
                <a:moveTo>
                  <a:pt x="1363" y="1513"/>
                </a:moveTo>
                <a:lnTo>
                  <a:pt x="1363" y="1511"/>
                </a:lnTo>
                <a:lnTo>
                  <a:pt x="1363" y="1513"/>
                </a:lnTo>
                <a:lnTo>
                  <a:pt x="1363" y="1511"/>
                </a:lnTo>
                <a:lnTo>
                  <a:pt x="1365" y="1511"/>
                </a:lnTo>
                <a:lnTo>
                  <a:pt x="1367" y="1511"/>
                </a:lnTo>
                <a:lnTo>
                  <a:pt x="1369" y="1511"/>
                </a:lnTo>
                <a:lnTo>
                  <a:pt x="1369" y="1513"/>
                </a:lnTo>
                <a:lnTo>
                  <a:pt x="1367" y="1513"/>
                </a:lnTo>
                <a:lnTo>
                  <a:pt x="1365" y="1513"/>
                </a:lnTo>
                <a:lnTo>
                  <a:pt x="1363" y="1513"/>
                </a:lnTo>
                <a:close/>
                <a:moveTo>
                  <a:pt x="1367" y="1511"/>
                </a:moveTo>
                <a:lnTo>
                  <a:pt x="1369" y="1511"/>
                </a:lnTo>
                <a:lnTo>
                  <a:pt x="1367" y="1511"/>
                </a:lnTo>
                <a:close/>
                <a:moveTo>
                  <a:pt x="1373" y="1515"/>
                </a:moveTo>
                <a:lnTo>
                  <a:pt x="1373" y="1517"/>
                </a:lnTo>
                <a:lnTo>
                  <a:pt x="1371" y="1517"/>
                </a:lnTo>
                <a:lnTo>
                  <a:pt x="1373" y="1517"/>
                </a:lnTo>
                <a:lnTo>
                  <a:pt x="1373" y="1515"/>
                </a:lnTo>
                <a:lnTo>
                  <a:pt x="1371" y="1515"/>
                </a:lnTo>
                <a:lnTo>
                  <a:pt x="1373" y="1515"/>
                </a:lnTo>
                <a:close/>
                <a:moveTo>
                  <a:pt x="1298" y="1428"/>
                </a:moveTo>
                <a:lnTo>
                  <a:pt x="1298" y="1430"/>
                </a:lnTo>
                <a:lnTo>
                  <a:pt x="1296" y="1430"/>
                </a:lnTo>
                <a:lnTo>
                  <a:pt x="1296" y="1428"/>
                </a:lnTo>
                <a:lnTo>
                  <a:pt x="1298" y="1428"/>
                </a:lnTo>
                <a:close/>
                <a:moveTo>
                  <a:pt x="1367" y="1511"/>
                </a:moveTo>
                <a:lnTo>
                  <a:pt x="1369" y="1511"/>
                </a:lnTo>
                <a:lnTo>
                  <a:pt x="1367" y="1511"/>
                </a:lnTo>
                <a:close/>
                <a:moveTo>
                  <a:pt x="1371" y="1511"/>
                </a:moveTo>
                <a:lnTo>
                  <a:pt x="1371" y="1513"/>
                </a:lnTo>
                <a:lnTo>
                  <a:pt x="1369" y="1513"/>
                </a:lnTo>
                <a:lnTo>
                  <a:pt x="1367" y="1513"/>
                </a:lnTo>
                <a:lnTo>
                  <a:pt x="1369" y="1513"/>
                </a:lnTo>
                <a:lnTo>
                  <a:pt x="1367" y="1513"/>
                </a:lnTo>
                <a:lnTo>
                  <a:pt x="1369" y="1513"/>
                </a:lnTo>
                <a:lnTo>
                  <a:pt x="1369" y="1511"/>
                </a:lnTo>
                <a:lnTo>
                  <a:pt x="1371" y="1511"/>
                </a:lnTo>
                <a:close/>
                <a:moveTo>
                  <a:pt x="1373" y="1515"/>
                </a:moveTo>
                <a:lnTo>
                  <a:pt x="1371" y="1515"/>
                </a:lnTo>
                <a:lnTo>
                  <a:pt x="1373" y="1515"/>
                </a:lnTo>
                <a:lnTo>
                  <a:pt x="1373" y="1513"/>
                </a:lnTo>
                <a:lnTo>
                  <a:pt x="1373" y="1515"/>
                </a:lnTo>
                <a:close/>
                <a:moveTo>
                  <a:pt x="1189" y="1298"/>
                </a:moveTo>
                <a:lnTo>
                  <a:pt x="1189" y="1296"/>
                </a:lnTo>
                <a:lnTo>
                  <a:pt x="1187" y="1296"/>
                </a:lnTo>
                <a:lnTo>
                  <a:pt x="1185" y="1296"/>
                </a:lnTo>
                <a:lnTo>
                  <a:pt x="1183" y="1296"/>
                </a:lnTo>
                <a:lnTo>
                  <a:pt x="1183" y="1298"/>
                </a:lnTo>
                <a:lnTo>
                  <a:pt x="1181" y="1298"/>
                </a:lnTo>
                <a:lnTo>
                  <a:pt x="1181" y="1296"/>
                </a:lnTo>
                <a:lnTo>
                  <a:pt x="1179" y="1296"/>
                </a:lnTo>
                <a:lnTo>
                  <a:pt x="1177" y="1296"/>
                </a:lnTo>
                <a:lnTo>
                  <a:pt x="1179" y="1296"/>
                </a:lnTo>
                <a:lnTo>
                  <a:pt x="1179" y="1294"/>
                </a:lnTo>
                <a:lnTo>
                  <a:pt x="1179" y="1296"/>
                </a:lnTo>
                <a:lnTo>
                  <a:pt x="1181" y="1296"/>
                </a:lnTo>
                <a:lnTo>
                  <a:pt x="1183" y="1296"/>
                </a:lnTo>
                <a:lnTo>
                  <a:pt x="1183" y="1294"/>
                </a:lnTo>
                <a:lnTo>
                  <a:pt x="1185" y="1294"/>
                </a:lnTo>
                <a:lnTo>
                  <a:pt x="1185" y="1296"/>
                </a:lnTo>
                <a:lnTo>
                  <a:pt x="1185" y="1294"/>
                </a:lnTo>
                <a:lnTo>
                  <a:pt x="1187" y="1294"/>
                </a:lnTo>
                <a:lnTo>
                  <a:pt x="1189" y="1294"/>
                </a:lnTo>
                <a:lnTo>
                  <a:pt x="1189" y="1292"/>
                </a:lnTo>
                <a:lnTo>
                  <a:pt x="1191" y="1292"/>
                </a:lnTo>
                <a:lnTo>
                  <a:pt x="1193" y="1292"/>
                </a:lnTo>
                <a:lnTo>
                  <a:pt x="1193" y="1294"/>
                </a:lnTo>
                <a:lnTo>
                  <a:pt x="1193" y="1296"/>
                </a:lnTo>
                <a:lnTo>
                  <a:pt x="1191" y="1296"/>
                </a:lnTo>
                <a:lnTo>
                  <a:pt x="1189" y="1296"/>
                </a:lnTo>
                <a:lnTo>
                  <a:pt x="1189" y="1298"/>
                </a:lnTo>
                <a:close/>
                <a:moveTo>
                  <a:pt x="1296" y="1428"/>
                </a:moveTo>
                <a:lnTo>
                  <a:pt x="1296" y="1430"/>
                </a:lnTo>
                <a:lnTo>
                  <a:pt x="1294" y="1430"/>
                </a:lnTo>
                <a:lnTo>
                  <a:pt x="1296" y="1430"/>
                </a:lnTo>
                <a:lnTo>
                  <a:pt x="1294" y="1430"/>
                </a:lnTo>
                <a:lnTo>
                  <a:pt x="1296" y="1430"/>
                </a:lnTo>
                <a:lnTo>
                  <a:pt x="1298" y="1430"/>
                </a:lnTo>
                <a:lnTo>
                  <a:pt x="1296" y="1430"/>
                </a:lnTo>
                <a:lnTo>
                  <a:pt x="1296" y="1432"/>
                </a:lnTo>
                <a:lnTo>
                  <a:pt x="1294" y="1432"/>
                </a:lnTo>
                <a:lnTo>
                  <a:pt x="1294" y="1434"/>
                </a:lnTo>
                <a:lnTo>
                  <a:pt x="1292" y="1434"/>
                </a:lnTo>
                <a:lnTo>
                  <a:pt x="1292" y="1432"/>
                </a:lnTo>
                <a:lnTo>
                  <a:pt x="1291" y="1432"/>
                </a:lnTo>
                <a:lnTo>
                  <a:pt x="1289" y="1432"/>
                </a:lnTo>
                <a:lnTo>
                  <a:pt x="1287" y="1432"/>
                </a:lnTo>
                <a:lnTo>
                  <a:pt x="1289" y="1432"/>
                </a:lnTo>
                <a:lnTo>
                  <a:pt x="1289" y="1434"/>
                </a:lnTo>
                <a:lnTo>
                  <a:pt x="1291" y="1434"/>
                </a:lnTo>
                <a:lnTo>
                  <a:pt x="1291" y="1436"/>
                </a:lnTo>
                <a:lnTo>
                  <a:pt x="1292" y="1436"/>
                </a:lnTo>
                <a:lnTo>
                  <a:pt x="1291" y="1436"/>
                </a:lnTo>
                <a:lnTo>
                  <a:pt x="1291" y="1438"/>
                </a:lnTo>
                <a:lnTo>
                  <a:pt x="1289" y="1438"/>
                </a:lnTo>
                <a:lnTo>
                  <a:pt x="1287" y="1438"/>
                </a:lnTo>
                <a:lnTo>
                  <a:pt x="1287" y="1436"/>
                </a:lnTo>
                <a:lnTo>
                  <a:pt x="1287" y="1438"/>
                </a:lnTo>
                <a:lnTo>
                  <a:pt x="1285" y="1438"/>
                </a:lnTo>
                <a:lnTo>
                  <a:pt x="1283" y="1438"/>
                </a:lnTo>
                <a:lnTo>
                  <a:pt x="1281" y="1440"/>
                </a:lnTo>
                <a:lnTo>
                  <a:pt x="1281" y="1438"/>
                </a:lnTo>
                <a:lnTo>
                  <a:pt x="1279" y="1438"/>
                </a:lnTo>
                <a:lnTo>
                  <a:pt x="1281" y="1438"/>
                </a:lnTo>
                <a:lnTo>
                  <a:pt x="1279" y="1438"/>
                </a:lnTo>
                <a:lnTo>
                  <a:pt x="1279" y="1440"/>
                </a:lnTo>
                <a:lnTo>
                  <a:pt x="1281" y="1440"/>
                </a:lnTo>
                <a:lnTo>
                  <a:pt x="1281" y="1442"/>
                </a:lnTo>
                <a:lnTo>
                  <a:pt x="1279" y="1442"/>
                </a:lnTo>
                <a:lnTo>
                  <a:pt x="1277" y="1442"/>
                </a:lnTo>
                <a:lnTo>
                  <a:pt x="1277" y="1440"/>
                </a:lnTo>
                <a:lnTo>
                  <a:pt x="1277" y="1442"/>
                </a:lnTo>
                <a:lnTo>
                  <a:pt x="1275" y="1442"/>
                </a:lnTo>
                <a:lnTo>
                  <a:pt x="1273" y="1444"/>
                </a:lnTo>
                <a:lnTo>
                  <a:pt x="1273" y="1442"/>
                </a:lnTo>
                <a:lnTo>
                  <a:pt x="1275" y="1442"/>
                </a:lnTo>
                <a:lnTo>
                  <a:pt x="1275" y="1440"/>
                </a:lnTo>
                <a:lnTo>
                  <a:pt x="1273" y="1440"/>
                </a:lnTo>
                <a:lnTo>
                  <a:pt x="1273" y="1438"/>
                </a:lnTo>
                <a:lnTo>
                  <a:pt x="1273" y="1440"/>
                </a:lnTo>
                <a:lnTo>
                  <a:pt x="1275" y="1440"/>
                </a:lnTo>
                <a:lnTo>
                  <a:pt x="1275" y="1438"/>
                </a:lnTo>
                <a:lnTo>
                  <a:pt x="1275" y="1440"/>
                </a:lnTo>
                <a:lnTo>
                  <a:pt x="1275" y="1438"/>
                </a:lnTo>
                <a:lnTo>
                  <a:pt x="1277" y="1438"/>
                </a:lnTo>
                <a:lnTo>
                  <a:pt x="1277" y="1440"/>
                </a:lnTo>
                <a:lnTo>
                  <a:pt x="1277" y="1438"/>
                </a:lnTo>
                <a:lnTo>
                  <a:pt x="1279" y="1438"/>
                </a:lnTo>
                <a:lnTo>
                  <a:pt x="1277" y="1438"/>
                </a:lnTo>
                <a:lnTo>
                  <a:pt x="1275" y="1438"/>
                </a:lnTo>
                <a:lnTo>
                  <a:pt x="1275" y="1436"/>
                </a:lnTo>
                <a:lnTo>
                  <a:pt x="1273" y="1436"/>
                </a:lnTo>
                <a:lnTo>
                  <a:pt x="1273" y="1434"/>
                </a:lnTo>
                <a:lnTo>
                  <a:pt x="1273" y="1436"/>
                </a:lnTo>
                <a:lnTo>
                  <a:pt x="1273" y="1434"/>
                </a:lnTo>
                <a:lnTo>
                  <a:pt x="1275" y="1434"/>
                </a:lnTo>
                <a:lnTo>
                  <a:pt x="1277" y="1434"/>
                </a:lnTo>
                <a:lnTo>
                  <a:pt x="1279" y="1434"/>
                </a:lnTo>
                <a:lnTo>
                  <a:pt x="1277" y="1434"/>
                </a:lnTo>
                <a:lnTo>
                  <a:pt x="1277" y="1432"/>
                </a:lnTo>
                <a:lnTo>
                  <a:pt x="1279" y="1432"/>
                </a:lnTo>
                <a:lnTo>
                  <a:pt x="1281" y="1432"/>
                </a:lnTo>
                <a:lnTo>
                  <a:pt x="1279" y="1434"/>
                </a:lnTo>
                <a:lnTo>
                  <a:pt x="1281" y="1434"/>
                </a:lnTo>
                <a:lnTo>
                  <a:pt x="1281" y="1436"/>
                </a:lnTo>
                <a:lnTo>
                  <a:pt x="1281" y="1434"/>
                </a:lnTo>
                <a:lnTo>
                  <a:pt x="1283" y="1434"/>
                </a:lnTo>
                <a:lnTo>
                  <a:pt x="1283" y="1436"/>
                </a:lnTo>
                <a:lnTo>
                  <a:pt x="1283" y="1434"/>
                </a:lnTo>
                <a:lnTo>
                  <a:pt x="1285" y="1434"/>
                </a:lnTo>
                <a:lnTo>
                  <a:pt x="1285" y="1436"/>
                </a:lnTo>
                <a:lnTo>
                  <a:pt x="1285" y="1434"/>
                </a:lnTo>
                <a:lnTo>
                  <a:pt x="1283" y="1434"/>
                </a:lnTo>
                <a:lnTo>
                  <a:pt x="1283" y="1432"/>
                </a:lnTo>
                <a:lnTo>
                  <a:pt x="1281" y="1432"/>
                </a:lnTo>
                <a:lnTo>
                  <a:pt x="1281" y="1430"/>
                </a:lnTo>
                <a:lnTo>
                  <a:pt x="1283" y="1430"/>
                </a:lnTo>
                <a:lnTo>
                  <a:pt x="1283" y="1432"/>
                </a:lnTo>
                <a:lnTo>
                  <a:pt x="1285" y="1432"/>
                </a:lnTo>
                <a:lnTo>
                  <a:pt x="1285" y="1430"/>
                </a:lnTo>
                <a:lnTo>
                  <a:pt x="1283" y="1430"/>
                </a:lnTo>
                <a:lnTo>
                  <a:pt x="1285" y="1430"/>
                </a:lnTo>
                <a:lnTo>
                  <a:pt x="1285" y="1428"/>
                </a:lnTo>
                <a:lnTo>
                  <a:pt x="1285" y="1430"/>
                </a:lnTo>
                <a:lnTo>
                  <a:pt x="1287" y="1430"/>
                </a:lnTo>
                <a:lnTo>
                  <a:pt x="1289" y="1430"/>
                </a:lnTo>
                <a:lnTo>
                  <a:pt x="1287" y="1430"/>
                </a:lnTo>
                <a:lnTo>
                  <a:pt x="1289" y="1430"/>
                </a:lnTo>
                <a:lnTo>
                  <a:pt x="1289" y="1428"/>
                </a:lnTo>
                <a:lnTo>
                  <a:pt x="1289" y="1430"/>
                </a:lnTo>
                <a:lnTo>
                  <a:pt x="1287" y="1430"/>
                </a:lnTo>
                <a:lnTo>
                  <a:pt x="1287" y="1428"/>
                </a:lnTo>
                <a:lnTo>
                  <a:pt x="1285" y="1428"/>
                </a:lnTo>
                <a:lnTo>
                  <a:pt x="1287" y="1428"/>
                </a:lnTo>
                <a:lnTo>
                  <a:pt x="1289" y="1428"/>
                </a:lnTo>
                <a:lnTo>
                  <a:pt x="1289" y="1426"/>
                </a:lnTo>
                <a:lnTo>
                  <a:pt x="1291" y="1426"/>
                </a:lnTo>
                <a:lnTo>
                  <a:pt x="1289" y="1426"/>
                </a:lnTo>
                <a:lnTo>
                  <a:pt x="1291" y="1426"/>
                </a:lnTo>
                <a:lnTo>
                  <a:pt x="1292" y="1426"/>
                </a:lnTo>
                <a:lnTo>
                  <a:pt x="1294" y="1426"/>
                </a:lnTo>
                <a:lnTo>
                  <a:pt x="1292" y="1426"/>
                </a:lnTo>
                <a:lnTo>
                  <a:pt x="1291" y="1428"/>
                </a:lnTo>
                <a:lnTo>
                  <a:pt x="1289" y="1428"/>
                </a:lnTo>
                <a:lnTo>
                  <a:pt x="1291" y="1428"/>
                </a:lnTo>
                <a:lnTo>
                  <a:pt x="1292" y="1428"/>
                </a:lnTo>
                <a:lnTo>
                  <a:pt x="1292" y="1430"/>
                </a:lnTo>
                <a:lnTo>
                  <a:pt x="1291" y="1430"/>
                </a:lnTo>
                <a:lnTo>
                  <a:pt x="1292" y="1430"/>
                </a:lnTo>
                <a:lnTo>
                  <a:pt x="1294" y="1430"/>
                </a:lnTo>
                <a:lnTo>
                  <a:pt x="1294" y="1428"/>
                </a:lnTo>
                <a:lnTo>
                  <a:pt x="1294" y="1430"/>
                </a:lnTo>
                <a:lnTo>
                  <a:pt x="1294" y="1428"/>
                </a:lnTo>
                <a:lnTo>
                  <a:pt x="1296" y="1426"/>
                </a:lnTo>
                <a:lnTo>
                  <a:pt x="1298" y="1426"/>
                </a:lnTo>
                <a:lnTo>
                  <a:pt x="1298" y="1428"/>
                </a:lnTo>
                <a:lnTo>
                  <a:pt x="1296" y="1428"/>
                </a:lnTo>
                <a:close/>
                <a:moveTo>
                  <a:pt x="1371" y="1513"/>
                </a:moveTo>
                <a:lnTo>
                  <a:pt x="1373" y="1513"/>
                </a:lnTo>
                <a:lnTo>
                  <a:pt x="1371" y="1513"/>
                </a:lnTo>
                <a:close/>
                <a:moveTo>
                  <a:pt x="1371" y="1513"/>
                </a:moveTo>
                <a:lnTo>
                  <a:pt x="1373" y="1513"/>
                </a:lnTo>
                <a:lnTo>
                  <a:pt x="1371" y="1513"/>
                </a:lnTo>
                <a:close/>
                <a:moveTo>
                  <a:pt x="1373" y="1517"/>
                </a:moveTo>
                <a:lnTo>
                  <a:pt x="1371" y="1517"/>
                </a:lnTo>
                <a:lnTo>
                  <a:pt x="1373" y="1517"/>
                </a:lnTo>
                <a:lnTo>
                  <a:pt x="1373" y="1515"/>
                </a:lnTo>
                <a:lnTo>
                  <a:pt x="1373" y="1513"/>
                </a:lnTo>
                <a:lnTo>
                  <a:pt x="1373" y="1515"/>
                </a:lnTo>
                <a:lnTo>
                  <a:pt x="1373" y="1517"/>
                </a:lnTo>
                <a:close/>
                <a:moveTo>
                  <a:pt x="1304" y="1436"/>
                </a:moveTo>
                <a:lnTo>
                  <a:pt x="1304" y="1434"/>
                </a:lnTo>
                <a:lnTo>
                  <a:pt x="1306" y="1434"/>
                </a:lnTo>
                <a:lnTo>
                  <a:pt x="1306" y="1436"/>
                </a:lnTo>
                <a:lnTo>
                  <a:pt x="1304" y="1436"/>
                </a:lnTo>
                <a:close/>
                <a:moveTo>
                  <a:pt x="1369" y="1509"/>
                </a:moveTo>
                <a:lnTo>
                  <a:pt x="1371" y="1509"/>
                </a:lnTo>
                <a:lnTo>
                  <a:pt x="1371" y="1511"/>
                </a:lnTo>
                <a:lnTo>
                  <a:pt x="1369" y="1511"/>
                </a:lnTo>
                <a:lnTo>
                  <a:pt x="1369" y="1509"/>
                </a:lnTo>
                <a:close/>
                <a:moveTo>
                  <a:pt x="1373" y="1515"/>
                </a:moveTo>
                <a:lnTo>
                  <a:pt x="1373" y="1513"/>
                </a:lnTo>
                <a:lnTo>
                  <a:pt x="1373" y="1515"/>
                </a:lnTo>
                <a:close/>
                <a:moveTo>
                  <a:pt x="1308" y="1438"/>
                </a:moveTo>
                <a:lnTo>
                  <a:pt x="1308" y="1436"/>
                </a:lnTo>
                <a:lnTo>
                  <a:pt x="1306" y="1436"/>
                </a:lnTo>
                <a:lnTo>
                  <a:pt x="1308" y="1438"/>
                </a:lnTo>
                <a:close/>
                <a:moveTo>
                  <a:pt x="1300" y="1430"/>
                </a:moveTo>
                <a:lnTo>
                  <a:pt x="1300" y="1428"/>
                </a:lnTo>
                <a:lnTo>
                  <a:pt x="1300" y="1430"/>
                </a:lnTo>
                <a:close/>
                <a:moveTo>
                  <a:pt x="1375" y="1515"/>
                </a:moveTo>
                <a:lnTo>
                  <a:pt x="1373" y="1515"/>
                </a:lnTo>
                <a:lnTo>
                  <a:pt x="1373" y="1517"/>
                </a:lnTo>
                <a:lnTo>
                  <a:pt x="1373" y="1515"/>
                </a:lnTo>
                <a:lnTo>
                  <a:pt x="1373" y="1513"/>
                </a:lnTo>
                <a:lnTo>
                  <a:pt x="1375" y="1513"/>
                </a:lnTo>
                <a:lnTo>
                  <a:pt x="1375" y="1515"/>
                </a:lnTo>
                <a:close/>
                <a:moveTo>
                  <a:pt x="1300" y="1430"/>
                </a:moveTo>
                <a:lnTo>
                  <a:pt x="1298" y="1430"/>
                </a:lnTo>
                <a:lnTo>
                  <a:pt x="1298" y="1428"/>
                </a:lnTo>
                <a:lnTo>
                  <a:pt x="1300" y="1426"/>
                </a:lnTo>
                <a:lnTo>
                  <a:pt x="1300" y="1428"/>
                </a:lnTo>
                <a:lnTo>
                  <a:pt x="1300" y="1430"/>
                </a:lnTo>
                <a:close/>
                <a:moveTo>
                  <a:pt x="941" y="854"/>
                </a:moveTo>
                <a:lnTo>
                  <a:pt x="939" y="854"/>
                </a:lnTo>
                <a:lnTo>
                  <a:pt x="939" y="852"/>
                </a:lnTo>
                <a:lnTo>
                  <a:pt x="941" y="852"/>
                </a:lnTo>
                <a:lnTo>
                  <a:pt x="941" y="854"/>
                </a:lnTo>
                <a:close/>
                <a:moveTo>
                  <a:pt x="1304" y="1428"/>
                </a:moveTo>
                <a:lnTo>
                  <a:pt x="1306" y="1428"/>
                </a:lnTo>
                <a:lnTo>
                  <a:pt x="1304" y="1428"/>
                </a:lnTo>
                <a:lnTo>
                  <a:pt x="1302" y="1430"/>
                </a:lnTo>
                <a:lnTo>
                  <a:pt x="1302" y="1428"/>
                </a:lnTo>
                <a:lnTo>
                  <a:pt x="1302" y="1430"/>
                </a:lnTo>
                <a:lnTo>
                  <a:pt x="1300" y="1430"/>
                </a:lnTo>
                <a:lnTo>
                  <a:pt x="1300" y="1428"/>
                </a:lnTo>
                <a:lnTo>
                  <a:pt x="1302" y="1428"/>
                </a:lnTo>
                <a:lnTo>
                  <a:pt x="1302" y="1426"/>
                </a:lnTo>
                <a:lnTo>
                  <a:pt x="1304" y="1426"/>
                </a:lnTo>
                <a:lnTo>
                  <a:pt x="1302" y="1426"/>
                </a:lnTo>
                <a:lnTo>
                  <a:pt x="1302" y="1428"/>
                </a:lnTo>
                <a:lnTo>
                  <a:pt x="1304" y="1428"/>
                </a:lnTo>
                <a:lnTo>
                  <a:pt x="1302" y="1428"/>
                </a:lnTo>
                <a:lnTo>
                  <a:pt x="1304" y="1428"/>
                </a:lnTo>
                <a:lnTo>
                  <a:pt x="1304" y="1426"/>
                </a:lnTo>
                <a:lnTo>
                  <a:pt x="1306" y="1428"/>
                </a:lnTo>
                <a:lnTo>
                  <a:pt x="1304" y="1428"/>
                </a:lnTo>
                <a:close/>
                <a:moveTo>
                  <a:pt x="1377" y="1511"/>
                </a:moveTo>
                <a:lnTo>
                  <a:pt x="1379" y="1511"/>
                </a:lnTo>
                <a:lnTo>
                  <a:pt x="1377" y="1511"/>
                </a:lnTo>
                <a:close/>
                <a:moveTo>
                  <a:pt x="826" y="536"/>
                </a:moveTo>
                <a:lnTo>
                  <a:pt x="824" y="536"/>
                </a:lnTo>
                <a:lnTo>
                  <a:pt x="822" y="536"/>
                </a:lnTo>
                <a:lnTo>
                  <a:pt x="820" y="538"/>
                </a:lnTo>
                <a:lnTo>
                  <a:pt x="818" y="538"/>
                </a:lnTo>
                <a:lnTo>
                  <a:pt x="818" y="539"/>
                </a:lnTo>
                <a:lnTo>
                  <a:pt x="816" y="539"/>
                </a:lnTo>
                <a:lnTo>
                  <a:pt x="816" y="541"/>
                </a:lnTo>
                <a:lnTo>
                  <a:pt x="816" y="543"/>
                </a:lnTo>
                <a:lnTo>
                  <a:pt x="814" y="543"/>
                </a:lnTo>
                <a:lnTo>
                  <a:pt x="814" y="545"/>
                </a:lnTo>
                <a:lnTo>
                  <a:pt x="814" y="547"/>
                </a:lnTo>
                <a:lnTo>
                  <a:pt x="812" y="549"/>
                </a:lnTo>
                <a:lnTo>
                  <a:pt x="812" y="551"/>
                </a:lnTo>
                <a:lnTo>
                  <a:pt x="812" y="553"/>
                </a:lnTo>
                <a:lnTo>
                  <a:pt x="812" y="555"/>
                </a:lnTo>
                <a:lnTo>
                  <a:pt x="812" y="557"/>
                </a:lnTo>
                <a:lnTo>
                  <a:pt x="812" y="559"/>
                </a:lnTo>
                <a:lnTo>
                  <a:pt x="814" y="559"/>
                </a:lnTo>
                <a:lnTo>
                  <a:pt x="814" y="561"/>
                </a:lnTo>
                <a:lnTo>
                  <a:pt x="814" y="563"/>
                </a:lnTo>
                <a:lnTo>
                  <a:pt x="812" y="563"/>
                </a:lnTo>
                <a:lnTo>
                  <a:pt x="812" y="564"/>
                </a:lnTo>
                <a:lnTo>
                  <a:pt x="812" y="566"/>
                </a:lnTo>
                <a:lnTo>
                  <a:pt x="810" y="566"/>
                </a:lnTo>
                <a:lnTo>
                  <a:pt x="810" y="568"/>
                </a:lnTo>
                <a:lnTo>
                  <a:pt x="810" y="570"/>
                </a:lnTo>
                <a:lnTo>
                  <a:pt x="809" y="568"/>
                </a:lnTo>
                <a:lnTo>
                  <a:pt x="809" y="566"/>
                </a:lnTo>
                <a:lnTo>
                  <a:pt x="810" y="566"/>
                </a:lnTo>
                <a:lnTo>
                  <a:pt x="810" y="564"/>
                </a:lnTo>
                <a:lnTo>
                  <a:pt x="810" y="563"/>
                </a:lnTo>
                <a:lnTo>
                  <a:pt x="810" y="561"/>
                </a:lnTo>
                <a:lnTo>
                  <a:pt x="809" y="561"/>
                </a:lnTo>
                <a:lnTo>
                  <a:pt x="809" y="559"/>
                </a:lnTo>
                <a:lnTo>
                  <a:pt x="809" y="557"/>
                </a:lnTo>
                <a:lnTo>
                  <a:pt x="807" y="557"/>
                </a:lnTo>
                <a:lnTo>
                  <a:pt x="807" y="555"/>
                </a:lnTo>
                <a:lnTo>
                  <a:pt x="807" y="553"/>
                </a:lnTo>
                <a:lnTo>
                  <a:pt x="807" y="551"/>
                </a:lnTo>
                <a:lnTo>
                  <a:pt x="809" y="551"/>
                </a:lnTo>
                <a:lnTo>
                  <a:pt x="809" y="549"/>
                </a:lnTo>
                <a:lnTo>
                  <a:pt x="809" y="547"/>
                </a:lnTo>
                <a:lnTo>
                  <a:pt x="810" y="547"/>
                </a:lnTo>
                <a:lnTo>
                  <a:pt x="810" y="545"/>
                </a:lnTo>
                <a:lnTo>
                  <a:pt x="810" y="543"/>
                </a:lnTo>
                <a:lnTo>
                  <a:pt x="812" y="541"/>
                </a:lnTo>
                <a:lnTo>
                  <a:pt x="812" y="539"/>
                </a:lnTo>
                <a:lnTo>
                  <a:pt x="814" y="539"/>
                </a:lnTo>
                <a:lnTo>
                  <a:pt x="814" y="538"/>
                </a:lnTo>
                <a:lnTo>
                  <a:pt x="814" y="536"/>
                </a:lnTo>
                <a:lnTo>
                  <a:pt x="814" y="534"/>
                </a:lnTo>
                <a:lnTo>
                  <a:pt x="814" y="532"/>
                </a:lnTo>
                <a:lnTo>
                  <a:pt x="816" y="532"/>
                </a:lnTo>
                <a:lnTo>
                  <a:pt x="818" y="532"/>
                </a:lnTo>
                <a:lnTo>
                  <a:pt x="820" y="532"/>
                </a:lnTo>
                <a:lnTo>
                  <a:pt x="822" y="532"/>
                </a:lnTo>
                <a:lnTo>
                  <a:pt x="822" y="534"/>
                </a:lnTo>
                <a:lnTo>
                  <a:pt x="824" y="534"/>
                </a:lnTo>
                <a:lnTo>
                  <a:pt x="824" y="536"/>
                </a:lnTo>
                <a:lnTo>
                  <a:pt x="826" y="536"/>
                </a:lnTo>
                <a:close/>
                <a:moveTo>
                  <a:pt x="1381" y="1511"/>
                </a:moveTo>
                <a:lnTo>
                  <a:pt x="1379" y="1511"/>
                </a:lnTo>
                <a:lnTo>
                  <a:pt x="1377" y="1511"/>
                </a:lnTo>
                <a:lnTo>
                  <a:pt x="1379" y="1511"/>
                </a:lnTo>
                <a:lnTo>
                  <a:pt x="1381" y="1509"/>
                </a:lnTo>
                <a:lnTo>
                  <a:pt x="1381" y="1511"/>
                </a:lnTo>
                <a:close/>
                <a:moveTo>
                  <a:pt x="1354" y="1480"/>
                </a:moveTo>
                <a:lnTo>
                  <a:pt x="1352" y="1480"/>
                </a:lnTo>
                <a:lnTo>
                  <a:pt x="1352" y="1482"/>
                </a:lnTo>
                <a:lnTo>
                  <a:pt x="1352" y="1480"/>
                </a:lnTo>
                <a:lnTo>
                  <a:pt x="1352" y="1482"/>
                </a:lnTo>
                <a:lnTo>
                  <a:pt x="1354" y="1482"/>
                </a:lnTo>
                <a:lnTo>
                  <a:pt x="1352" y="1482"/>
                </a:lnTo>
                <a:lnTo>
                  <a:pt x="1350" y="1482"/>
                </a:lnTo>
                <a:lnTo>
                  <a:pt x="1348" y="1482"/>
                </a:lnTo>
                <a:lnTo>
                  <a:pt x="1346" y="1482"/>
                </a:lnTo>
                <a:lnTo>
                  <a:pt x="1346" y="1480"/>
                </a:lnTo>
                <a:lnTo>
                  <a:pt x="1344" y="1480"/>
                </a:lnTo>
                <a:lnTo>
                  <a:pt x="1342" y="1480"/>
                </a:lnTo>
                <a:lnTo>
                  <a:pt x="1342" y="1478"/>
                </a:lnTo>
                <a:lnTo>
                  <a:pt x="1342" y="1480"/>
                </a:lnTo>
                <a:lnTo>
                  <a:pt x="1340" y="1480"/>
                </a:lnTo>
                <a:lnTo>
                  <a:pt x="1340" y="1478"/>
                </a:lnTo>
                <a:lnTo>
                  <a:pt x="1339" y="1478"/>
                </a:lnTo>
                <a:lnTo>
                  <a:pt x="1337" y="1478"/>
                </a:lnTo>
                <a:lnTo>
                  <a:pt x="1335" y="1478"/>
                </a:lnTo>
                <a:lnTo>
                  <a:pt x="1335" y="1476"/>
                </a:lnTo>
                <a:lnTo>
                  <a:pt x="1333" y="1476"/>
                </a:lnTo>
                <a:lnTo>
                  <a:pt x="1333" y="1474"/>
                </a:lnTo>
                <a:lnTo>
                  <a:pt x="1331" y="1474"/>
                </a:lnTo>
                <a:lnTo>
                  <a:pt x="1331" y="1473"/>
                </a:lnTo>
                <a:lnTo>
                  <a:pt x="1331" y="1471"/>
                </a:lnTo>
                <a:lnTo>
                  <a:pt x="1333" y="1471"/>
                </a:lnTo>
                <a:lnTo>
                  <a:pt x="1335" y="1471"/>
                </a:lnTo>
                <a:lnTo>
                  <a:pt x="1337" y="1473"/>
                </a:lnTo>
                <a:lnTo>
                  <a:pt x="1339" y="1473"/>
                </a:lnTo>
                <a:lnTo>
                  <a:pt x="1339" y="1474"/>
                </a:lnTo>
                <a:lnTo>
                  <a:pt x="1339" y="1476"/>
                </a:lnTo>
                <a:lnTo>
                  <a:pt x="1340" y="1476"/>
                </a:lnTo>
                <a:lnTo>
                  <a:pt x="1339" y="1476"/>
                </a:lnTo>
                <a:lnTo>
                  <a:pt x="1340" y="1476"/>
                </a:lnTo>
                <a:lnTo>
                  <a:pt x="1340" y="1478"/>
                </a:lnTo>
                <a:lnTo>
                  <a:pt x="1340" y="1476"/>
                </a:lnTo>
                <a:lnTo>
                  <a:pt x="1340" y="1474"/>
                </a:lnTo>
                <a:lnTo>
                  <a:pt x="1340" y="1476"/>
                </a:lnTo>
                <a:lnTo>
                  <a:pt x="1339" y="1474"/>
                </a:lnTo>
                <a:lnTo>
                  <a:pt x="1340" y="1474"/>
                </a:lnTo>
                <a:lnTo>
                  <a:pt x="1340" y="1476"/>
                </a:lnTo>
                <a:lnTo>
                  <a:pt x="1340" y="1474"/>
                </a:lnTo>
                <a:lnTo>
                  <a:pt x="1342" y="1474"/>
                </a:lnTo>
                <a:lnTo>
                  <a:pt x="1342" y="1476"/>
                </a:lnTo>
                <a:lnTo>
                  <a:pt x="1344" y="1476"/>
                </a:lnTo>
                <a:lnTo>
                  <a:pt x="1342" y="1476"/>
                </a:lnTo>
                <a:lnTo>
                  <a:pt x="1344" y="1476"/>
                </a:lnTo>
                <a:lnTo>
                  <a:pt x="1346" y="1476"/>
                </a:lnTo>
                <a:lnTo>
                  <a:pt x="1344" y="1476"/>
                </a:lnTo>
                <a:lnTo>
                  <a:pt x="1346" y="1476"/>
                </a:lnTo>
                <a:lnTo>
                  <a:pt x="1346" y="1478"/>
                </a:lnTo>
                <a:lnTo>
                  <a:pt x="1346" y="1476"/>
                </a:lnTo>
                <a:lnTo>
                  <a:pt x="1348" y="1476"/>
                </a:lnTo>
                <a:lnTo>
                  <a:pt x="1348" y="1478"/>
                </a:lnTo>
                <a:lnTo>
                  <a:pt x="1350" y="1478"/>
                </a:lnTo>
                <a:lnTo>
                  <a:pt x="1350" y="1480"/>
                </a:lnTo>
                <a:lnTo>
                  <a:pt x="1352" y="1480"/>
                </a:lnTo>
                <a:lnTo>
                  <a:pt x="1354" y="1480"/>
                </a:lnTo>
                <a:close/>
                <a:moveTo>
                  <a:pt x="1356" y="1482"/>
                </a:moveTo>
                <a:lnTo>
                  <a:pt x="1356" y="1480"/>
                </a:lnTo>
                <a:lnTo>
                  <a:pt x="1356" y="1482"/>
                </a:lnTo>
                <a:close/>
                <a:moveTo>
                  <a:pt x="1381" y="1509"/>
                </a:moveTo>
                <a:lnTo>
                  <a:pt x="1383" y="1509"/>
                </a:lnTo>
                <a:lnTo>
                  <a:pt x="1381" y="1509"/>
                </a:lnTo>
                <a:close/>
                <a:moveTo>
                  <a:pt x="1292" y="1407"/>
                </a:moveTo>
                <a:lnTo>
                  <a:pt x="1294" y="1407"/>
                </a:lnTo>
                <a:lnTo>
                  <a:pt x="1292" y="1407"/>
                </a:lnTo>
                <a:close/>
                <a:moveTo>
                  <a:pt x="1356" y="1471"/>
                </a:moveTo>
                <a:lnTo>
                  <a:pt x="1354" y="1473"/>
                </a:lnTo>
                <a:lnTo>
                  <a:pt x="1354" y="1471"/>
                </a:lnTo>
                <a:lnTo>
                  <a:pt x="1356" y="1471"/>
                </a:lnTo>
                <a:close/>
                <a:moveTo>
                  <a:pt x="1306" y="1417"/>
                </a:moveTo>
                <a:lnTo>
                  <a:pt x="1304" y="1417"/>
                </a:lnTo>
                <a:lnTo>
                  <a:pt x="1306" y="1417"/>
                </a:lnTo>
                <a:lnTo>
                  <a:pt x="1308" y="1415"/>
                </a:lnTo>
                <a:lnTo>
                  <a:pt x="1308" y="1417"/>
                </a:lnTo>
                <a:lnTo>
                  <a:pt x="1306" y="1417"/>
                </a:lnTo>
                <a:close/>
                <a:moveTo>
                  <a:pt x="1315" y="1426"/>
                </a:moveTo>
                <a:lnTo>
                  <a:pt x="1315" y="1428"/>
                </a:lnTo>
                <a:lnTo>
                  <a:pt x="1314" y="1430"/>
                </a:lnTo>
                <a:lnTo>
                  <a:pt x="1315" y="1430"/>
                </a:lnTo>
                <a:lnTo>
                  <a:pt x="1317" y="1430"/>
                </a:lnTo>
                <a:lnTo>
                  <a:pt x="1317" y="1432"/>
                </a:lnTo>
                <a:lnTo>
                  <a:pt x="1317" y="1430"/>
                </a:lnTo>
                <a:lnTo>
                  <a:pt x="1315" y="1430"/>
                </a:lnTo>
                <a:lnTo>
                  <a:pt x="1315" y="1432"/>
                </a:lnTo>
                <a:lnTo>
                  <a:pt x="1314" y="1432"/>
                </a:lnTo>
                <a:lnTo>
                  <a:pt x="1314" y="1430"/>
                </a:lnTo>
                <a:lnTo>
                  <a:pt x="1314" y="1428"/>
                </a:lnTo>
                <a:lnTo>
                  <a:pt x="1312" y="1428"/>
                </a:lnTo>
                <a:lnTo>
                  <a:pt x="1310" y="1428"/>
                </a:lnTo>
                <a:lnTo>
                  <a:pt x="1312" y="1428"/>
                </a:lnTo>
                <a:lnTo>
                  <a:pt x="1314" y="1428"/>
                </a:lnTo>
                <a:lnTo>
                  <a:pt x="1312" y="1426"/>
                </a:lnTo>
                <a:lnTo>
                  <a:pt x="1314" y="1426"/>
                </a:lnTo>
                <a:lnTo>
                  <a:pt x="1314" y="1428"/>
                </a:lnTo>
                <a:lnTo>
                  <a:pt x="1314" y="1426"/>
                </a:lnTo>
                <a:lnTo>
                  <a:pt x="1314" y="1425"/>
                </a:lnTo>
                <a:lnTo>
                  <a:pt x="1315" y="1425"/>
                </a:lnTo>
                <a:lnTo>
                  <a:pt x="1314" y="1425"/>
                </a:lnTo>
                <a:lnTo>
                  <a:pt x="1315" y="1425"/>
                </a:lnTo>
                <a:lnTo>
                  <a:pt x="1315" y="1426"/>
                </a:lnTo>
                <a:close/>
                <a:moveTo>
                  <a:pt x="830" y="528"/>
                </a:moveTo>
                <a:lnTo>
                  <a:pt x="828" y="528"/>
                </a:lnTo>
                <a:lnTo>
                  <a:pt x="828" y="530"/>
                </a:lnTo>
                <a:lnTo>
                  <a:pt x="828" y="528"/>
                </a:lnTo>
                <a:lnTo>
                  <a:pt x="828" y="530"/>
                </a:lnTo>
                <a:lnTo>
                  <a:pt x="826" y="530"/>
                </a:lnTo>
                <a:lnTo>
                  <a:pt x="824" y="530"/>
                </a:lnTo>
                <a:lnTo>
                  <a:pt x="826" y="530"/>
                </a:lnTo>
                <a:lnTo>
                  <a:pt x="826" y="528"/>
                </a:lnTo>
                <a:lnTo>
                  <a:pt x="826" y="526"/>
                </a:lnTo>
                <a:lnTo>
                  <a:pt x="828" y="526"/>
                </a:lnTo>
                <a:lnTo>
                  <a:pt x="830" y="526"/>
                </a:lnTo>
                <a:lnTo>
                  <a:pt x="832" y="526"/>
                </a:lnTo>
                <a:lnTo>
                  <a:pt x="830" y="528"/>
                </a:lnTo>
                <a:close/>
                <a:moveTo>
                  <a:pt x="1319" y="1426"/>
                </a:moveTo>
                <a:lnTo>
                  <a:pt x="1317" y="1426"/>
                </a:lnTo>
                <a:lnTo>
                  <a:pt x="1317" y="1428"/>
                </a:lnTo>
                <a:lnTo>
                  <a:pt x="1315" y="1428"/>
                </a:lnTo>
                <a:lnTo>
                  <a:pt x="1315" y="1426"/>
                </a:lnTo>
                <a:lnTo>
                  <a:pt x="1317" y="1426"/>
                </a:lnTo>
                <a:lnTo>
                  <a:pt x="1315" y="1426"/>
                </a:lnTo>
                <a:lnTo>
                  <a:pt x="1317" y="1426"/>
                </a:lnTo>
                <a:lnTo>
                  <a:pt x="1317" y="1425"/>
                </a:lnTo>
                <a:lnTo>
                  <a:pt x="1317" y="1426"/>
                </a:lnTo>
                <a:lnTo>
                  <a:pt x="1319" y="1426"/>
                </a:lnTo>
                <a:close/>
                <a:moveTo>
                  <a:pt x="1287" y="1388"/>
                </a:moveTo>
                <a:lnTo>
                  <a:pt x="1285" y="1388"/>
                </a:lnTo>
                <a:lnTo>
                  <a:pt x="1283" y="1388"/>
                </a:lnTo>
                <a:lnTo>
                  <a:pt x="1285" y="1388"/>
                </a:lnTo>
                <a:lnTo>
                  <a:pt x="1285" y="1386"/>
                </a:lnTo>
                <a:lnTo>
                  <a:pt x="1287" y="1386"/>
                </a:lnTo>
                <a:lnTo>
                  <a:pt x="1287" y="1388"/>
                </a:lnTo>
                <a:close/>
                <a:moveTo>
                  <a:pt x="1335" y="1448"/>
                </a:moveTo>
                <a:lnTo>
                  <a:pt x="1335" y="1446"/>
                </a:lnTo>
                <a:lnTo>
                  <a:pt x="1337" y="1446"/>
                </a:lnTo>
                <a:lnTo>
                  <a:pt x="1335" y="1446"/>
                </a:lnTo>
                <a:lnTo>
                  <a:pt x="1335" y="1448"/>
                </a:lnTo>
                <a:close/>
                <a:moveTo>
                  <a:pt x="1319" y="1425"/>
                </a:moveTo>
                <a:lnTo>
                  <a:pt x="1317" y="1425"/>
                </a:lnTo>
                <a:lnTo>
                  <a:pt x="1317" y="1423"/>
                </a:lnTo>
                <a:lnTo>
                  <a:pt x="1319" y="1423"/>
                </a:lnTo>
                <a:lnTo>
                  <a:pt x="1319" y="1425"/>
                </a:lnTo>
                <a:close/>
                <a:moveTo>
                  <a:pt x="1304" y="1407"/>
                </a:moveTo>
                <a:lnTo>
                  <a:pt x="1304" y="1409"/>
                </a:lnTo>
                <a:lnTo>
                  <a:pt x="1306" y="1409"/>
                </a:lnTo>
                <a:lnTo>
                  <a:pt x="1306" y="1407"/>
                </a:lnTo>
                <a:lnTo>
                  <a:pt x="1306" y="1409"/>
                </a:lnTo>
                <a:lnTo>
                  <a:pt x="1306" y="1411"/>
                </a:lnTo>
                <a:lnTo>
                  <a:pt x="1306" y="1413"/>
                </a:lnTo>
                <a:lnTo>
                  <a:pt x="1304" y="1413"/>
                </a:lnTo>
                <a:lnTo>
                  <a:pt x="1302" y="1413"/>
                </a:lnTo>
                <a:lnTo>
                  <a:pt x="1304" y="1413"/>
                </a:lnTo>
                <a:lnTo>
                  <a:pt x="1302" y="1413"/>
                </a:lnTo>
                <a:lnTo>
                  <a:pt x="1302" y="1411"/>
                </a:lnTo>
                <a:lnTo>
                  <a:pt x="1304" y="1411"/>
                </a:lnTo>
                <a:lnTo>
                  <a:pt x="1302" y="1411"/>
                </a:lnTo>
                <a:lnTo>
                  <a:pt x="1300" y="1411"/>
                </a:lnTo>
                <a:lnTo>
                  <a:pt x="1300" y="1413"/>
                </a:lnTo>
                <a:lnTo>
                  <a:pt x="1300" y="1411"/>
                </a:lnTo>
                <a:lnTo>
                  <a:pt x="1300" y="1409"/>
                </a:lnTo>
                <a:lnTo>
                  <a:pt x="1302" y="1409"/>
                </a:lnTo>
                <a:lnTo>
                  <a:pt x="1300" y="1409"/>
                </a:lnTo>
                <a:lnTo>
                  <a:pt x="1300" y="1407"/>
                </a:lnTo>
                <a:lnTo>
                  <a:pt x="1302" y="1407"/>
                </a:lnTo>
                <a:lnTo>
                  <a:pt x="1302" y="1405"/>
                </a:lnTo>
                <a:lnTo>
                  <a:pt x="1304" y="1405"/>
                </a:lnTo>
                <a:lnTo>
                  <a:pt x="1304" y="1407"/>
                </a:lnTo>
                <a:lnTo>
                  <a:pt x="1302" y="1407"/>
                </a:lnTo>
                <a:lnTo>
                  <a:pt x="1304" y="1407"/>
                </a:lnTo>
                <a:lnTo>
                  <a:pt x="1302" y="1407"/>
                </a:lnTo>
                <a:lnTo>
                  <a:pt x="1302" y="1409"/>
                </a:lnTo>
                <a:lnTo>
                  <a:pt x="1304" y="1409"/>
                </a:lnTo>
                <a:lnTo>
                  <a:pt x="1304" y="1407"/>
                </a:lnTo>
                <a:lnTo>
                  <a:pt x="1304" y="1405"/>
                </a:lnTo>
                <a:lnTo>
                  <a:pt x="1306" y="1405"/>
                </a:lnTo>
                <a:lnTo>
                  <a:pt x="1306" y="1407"/>
                </a:lnTo>
                <a:lnTo>
                  <a:pt x="1304" y="1407"/>
                </a:lnTo>
                <a:close/>
                <a:moveTo>
                  <a:pt x="1300" y="1398"/>
                </a:moveTo>
                <a:lnTo>
                  <a:pt x="1300" y="1400"/>
                </a:lnTo>
                <a:lnTo>
                  <a:pt x="1302" y="1400"/>
                </a:lnTo>
                <a:lnTo>
                  <a:pt x="1300" y="1400"/>
                </a:lnTo>
                <a:lnTo>
                  <a:pt x="1302" y="1401"/>
                </a:lnTo>
                <a:lnTo>
                  <a:pt x="1302" y="1403"/>
                </a:lnTo>
                <a:lnTo>
                  <a:pt x="1300" y="1403"/>
                </a:lnTo>
                <a:lnTo>
                  <a:pt x="1298" y="1403"/>
                </a:lnTo>
                <a:lnTo>
                  <a:pt x="1298" y="1401"/>
                </a:lnTo>
                <a:lnTo>
                  <a:pt x="1298" y="1403"/>
                </a:lnTo>
                <a:lnTo>
                  <a:pt x="1298" y="1405"/>
                </a:lnTo>
                <a:lnTo>
                  <a:pt x="1296" y="1405"/>
                </a:lnTo>
                <a:lnTo>
                  <a:pt x="1296" y="1407"/>
                </a:lnTo>
                <a:lnTo>
                  <a:pt x="1298" y="1407"/>
                </a:lnTo>
                <a:lnTo>
                  <a:pt x="1296" y="1407"/>
                </a:lnTo>
                <a:lnTo>
                  <a:pt x="1294" y="1407"/>
                </a:lnTo>
                <a:lnTo>
                  <a:pt x="1294" y="1405"/>
                </a:lnTo>
                <a:lnTo>
                  <a:pt x="1294" y="1407"/>
                </a:lnTo>
                <a:lnTo>
                  <a:pt x="1292" y="1407"/>
                </a:lnTo>
                <a:lnTo>
                  <a:pt x="1292" y="1405"/>
                </a:lnTo>
                <a:lnTo>
                  <a:pt x="1294" y="1405"/>
                </a:lnTo>
                <a:lnTo>
                  <a:pt x="1294" y="1403"/>
                </a:lnTo>
                <a:lnTo>
                  <a:pt x="1294" y="1401"/>
                </a:lnTo>
                <a:lnTo>
                  <a:pt x="1296" y="1401"/>
                </a:lnTo>
                <a:lnTo>
                  <a:pt x="1294" y="1400"/>
                </a:lnTo>
                <a:lnTo>
                  <a:pt x="1296" y="1400"/>
                </a:lnTo>
                <a:lnTo>
                  <a:pt x="1298" y="1400"/>
                </a:lnTo>
                <a:lnTo>
                  <a:pt x="1296" y="1400"/>
                </a:lnTo>
                <a:lnTo>
                  <a:pt x="1298" y="1400"/>
                </a:lnTo>
                <a:lnTo>
                  <a:pt x="1300" y="1400"/>
                </a:lnTo>
                <a:lnTo>
                  <a:pt x="1298" y="1400"/>
                </a:lnTo>
                <a:lnTo>
                  <a:pt x="1298" y="1398"/>
                </a:lnTo>
                <a:lnTo>
                  <a:pt x="1300" y="1398"/>
                </a:lnTo>
                <a:close/>
                <a:moveTo>
                  <a:pt x="1312" y="1411"/>
                </a:moveTo>
                <a:lnTo>
                  <a:pt x="1310" y="1411"/>
                </a:lnTo>
                <a:lnTo>
                  <a:pt x="1312" y="1411"/>
                </a:lnTo>
                <a:close/>
                <a:moveTo>
                  <a:pt x="1314" y="1411"/>
                </a:moveTo>
                <a:lnTo>
                  <a:pt x="1314" y="1413"/>
                </a:lnTo>
                <a:lnTo>
                  <a:pt x="1314" y="1411"/>
                </a:lnTo>
                <a:lnTo>
                  <a:pt x="1315" y="1411"/>
                </a:lnTo>
                <a:lnTo>
                  <a:pt x="1314" y="1411"/>
                </a:lnTo>
                <a:close/>
                <a:moveTo>
                  <a:pt x="1315" y="1413"/>
                </a:moveTo>
                <a:lnTo>
                  <a:pt x="1317" y="1413"/>
                </a:lnTo>
                <a:lnTo>
                  <a:pt x="1315" y="1413"/>
                </a:lnTo>
                <a:close/>
                <a:moveTo>
                  <a:pt x="1317" y="1411"/>
                </a:moveTo>
                <a:lnTo>
                  <a:pt x="1315" y="1411"/>
                </a:lnTo>
                <a:lnTo>
                  <a:pt x="1317" y="1411"/>
                </a:lnTo>
                <a:close/>
                <a:moveTo>
                  <a:pt x="1315" y="1409"/>
                </a:moveTo>
                <a:lnTo>
                  <a:pt x="1317" y="1409"/>
                </a:lnTo>
                <a:lnTo>
                  <a:pt x="1315" y="1409"/>
                </a:lnTo>
                <a:lnTo>
                  <a:pt x="1317" y="1409"/>
                </a:lnTo>
                <a:lnTo>
                  <a:pt x="1315" y="1409"/>
                </a:lnTo>
                <a:close/>
                <a:moveTo>
                  <a:pt x="1325" y="1417"/>
                </a:moveTo>
                <a:lnTo>
                  <a:pt x="1325" y="1415"/>
                </a:lnTo>
                <a:lnTo>
                  <a:pt x="1325" y="1417"/>
                </a:lnTo>
                <a:lnTo>
                  <a:pt x="1325" y="1415"/>
                </a:lnTo>
                <a:lnTo>
                  <a:pt x="1325" y="1417"/>
                </a:lnTo>
                <a:close/>
                <a:moveTo>
                  <a:pt x="962" y="841"/>
                </a:moveTo>
                <a:lnTo>
                  <a:pt x="960" y="841"/>
                </a:lnTo>
                <a:lnTo>
                  <a:pt x="960" y="839"/>
                </a:lnTo>
                <a:lnTo>
                  <a:pt x="960" y="837"/>
                </a:lnTo>
                <a:lnTo>
                  <a:pt x="962" y="837"/>
                </a:lnTo>
                <a:lnTo>
                  <a:pt x="962" y="839"/>
                </a:lnTo>
                <a:lnTo>
                  <a:pt x="962" y="841"/>
                </a:lnTo>
                <a:close/>
                <a:moveTo>
                  <a:pt x="956" y="829"/>
                </a:moveTo>
                <a:lnTo>
                  <a:pt x="954" y="829"/>
                </a:lnTo>
                <a:lnTo>
                  <a:pt x="954" y="827"/>
                </a:lnTo>
                <a:lnTo>
                  <a:pt x="953" y="827"/>
                </a:lnTo>
                <a:lnTo>
                  <a:pt x="953" y="826"/>
                </a:lnTo>
                <a:lnTo>
                  <a:pt x="953" y="824"/>
                </a:lnTo>
                <a:lnTo>
                  <a:pt x="954" y="824"/>
                </a:lnTo>
                <a:lnTo>
                  <a:pt x="956" y="824"/>
                </a:lnTo>
                <a:lnTo>
                  <a:pt x="956" y="826"/>
                </a:lnTo>
                <a:lnTo>
                  <a:pt x="956" y="827"/>
                </a:lnTo>
                <a:lnTo>
                  <a:pt x="956" y="829"/>
                </a:lnTo>
                <a:close/>
                <a:moveTo>
                  <a:pt x="1323" y="1413"/>
                </a:moveTo>
                <a:lnTo>
                  <a:pt x="1323" y="1411"/>
                </a:lnTo>
                <a:lnTo>
                  <a:pt x="1323" y="1413"/>
                </a:lnTo>
                <a:close/>
                <a:moveTo>
                  <a:pt x="1327" y="1417"/>
                </a:moveTo>
                <a:lnTo>
                  <a:pt x="1327" y="1415"/>
                </a:lnTo>
                <a:lnTo>
                  <a:pt x="1327" y="1417"/>
                </a:lnTo>
                <a:close/>
                <a:moveTo>
                  <a:pt x="1325" y="1411"/>
                </a:moveTo>
                <a:lnTo>
                  <a:pt x="1327" y="1411"/>
                </a:lnTo>
                <a:lnTo>
                  <a:pt x="1325" y="1411"/>
                </a:lnTo>
                <a:close/>
                <a:moveTo>
                  <a:pt x="1327" y="1413"/>
                </a:moveTo>
                <a:lnTo>
                  <a:pt x="1329" y="1413"/>
                </a:lnTo>
                <a:lnTo>
                  <a:pt x="1327" y="1413"/>
                </a:lnTo>
                <a:close/>
                <a:moveTo>
                  <a:pt x="1337" y="1423"/>
                </a:moveTo>
                <a:lnTo>
                  <a:pt x="1337" y="1425"/>
                </a:lnTo>
                <a:lnTo>
                  <a:pt x="1335" y="1425"/>
                </a:lnTo>
                <a:lnTo>
                  <a:pt x="1337" y="1425"/>
                </a:lnTo>
                <a:lnTo>
                  <a:pt x="1337" y="1426"/>
                </a:lnTo>
                <a:lnTo>
                  <a:pt x="1337" y="1425"/>
                </a:lnTo>
                <a:lnTo>
                  <a:pt x="1337" y="1426"/>
                </a:lnTo>
                <a:lnTo>
                  <a:pt x="1339" y="1426"/>
                </a:lnTo>
                <a:lnTo>
                  <a:pt x="1337" y="1428"/>
                </a:lnTo>
                <a:lnTo>
                  <a:pt x="1335" y="1428"/>
                </a:lnTo>
                <a:lnTo>
                  <a:pt x="1333" y="1426"/>
                </a:lnTo>
                <a:lnTo>
                  <a:pt x="1333" y="1425"/>
                </a:lnTo>
                <a:lnTo>
                  <a:pt x="1335" y="1425"/>
                </a:lnTo>
                <a:lnTo>
                  <a:pt x="1335" y="1423"/>
                </a:lnTo>
                <a:lnTo>
                  <a:pt x="1333" y="1423"/>
                </a:lnTo>
                <a:lnTo>
                  <a:pt x="1331" y="1423"/>
                </a:lnTo>
                <a:lnTo>
                  <a:pt x="1331" y="1421"/>
                </a:lnTo>
                <a:lnTo>
                  <a:pt x="1331" y="1419"/>
                </a:lnTo>
                <a:lnTo>
                  <a:pt x="1331" y="1421"/>
                </a:lnTo>
                <a:lnTo>
                  <a:pt x="1331" y="1419"/>
                </a:lnTo>
                <a:lnTo>
                  <a:pt x="1333" y="1421"/>
                </a:lnTo>
                <a:lnTo>
                  <a:pt x="1335" y="1421"/>
                </a:lnTo>
                <a:lnTo>
                  <a:pt x="1333" y="1423"/>
                </a:lnTo>
                <a:lnTo>
                  <a:pt x="1335" y="1423"/>
                </a:lnTo>
                <a:lnTo>
                  <a:pt x="1335" y="1421"/>
                </a:lnTo>
                <a:lnTo>
                  <a:pt x="1335" y="1423"/>
                </a:lnTo>
                <a:lnTo>
                  <a:pt x="1337" y="1423"/>
                </a:lnTo>
                <a:lnTo>
                  <a:pt x="1335" y="1423"/>
                </a:lnTo>
                <a:lnTo>
                  <a:pt x="1337" y="1423"/>
                </a:lnTo>
                <a:close/>
                <a:moveTo>
                  <a:pt x="962" y="826"/>
                </a:moveTo>
                <a:lnTo>
                  <a:pt x="960" y="826"/>
                </a:lnTo>
                <a:lnTo>
                  <a:pt x="960" y="827"/>
                </a:lnTo>
                <a:lnTo>
                  <a:pt x="958" y="827"/>
                </a:lnTo>
                <a:lnTo>
                  <a:pt x="958" y="829"/>
                </a:lnTo>
                <a:lnTo>
                  <a:pt x="958" y="831"/>
                </a:lnTo>
                <a:lnTo>
                  <a:pt x="960" y="831"/>
                </a:lnTo>
                <a:lnTo>
                  <a:pt x="962" y="831"/>
                </a:lnTo>
                <a:lnTo>
                  <a:pt x="962" y="833"/>
                </a:lnTo>
                <a:lnTo>
                  <a:pt x="964" y="833"/>
                </a:lnTo>
                <a:lnTo>
                  <a:pt x="964" y="835"/>
                </a:lnTo>
                <a:lnTo>
                  <a:pt x="962" y="835"/>
                </a:lnTo>
                <a:lnTo>
                  <a:pt x="964" y="835"/>
                </a:lnTo>
                <a:lnTo>
                  <a:pt x="964" y="837"/>
                </a:lnTo>
                <a:lnTo>
                  <a:pt x="962" y="837"/>
                </a:lnTo>
                <a:lnTo>
                  <a:pt x="962" y="835"/>
                </a:lnTo>
                <a:lnTo>
                  <a:pt x="960" y="835"/>
                </a:lnTo>
                <a:lnTo>
                  <a:pt x="960" y="837"/>
                </a:lnTo>
                <a:lnTo>
                  <a:pt x="958" y="837"/>
                </a:lnTo>
                <a:lnTo>
                  <a:pt x="958" y="839"/>
                </a:lnTo>
                <a:lnTo>
                  <a:pt x="960" y="841"/>
                </a:lnTo>
                <a:lnTo>
                  <a:pt x="958" y="841"/>
                </a:lnTo>
                <a:lnTo>
                  <a:pt x="960" y="841"/>
                </a:lnTo>
                <a:lnTo>
                  <a:pt x="960" y="843"/>
                </a:lnTo>
                <a:lnTo>
                  <a:pt x="960" y="845"/>
                </a:lnTo>
                <a:lnTo>
                  <a:pt x="962" y="845"/>
                </a:lnTo>
                <a:lnTo>
                  <a:pt x="962" y="847"/>
                </a:lnTo>
                <a:lnTo>
                  <a:pt x="962" y="849"/>
                </a:lnTo>
                <a:lnTo>
                  <a:pt x="960" y="849"/>
                </a:lnTo>
                <a:lnTo>
                  <a:pt x="962" y="849"/>
                </a:lnTo>
                <a:lnTo>
                  <a:pt x="962" y="850"/>
                </a:lnTo>
                <a:lnTo>
                  <a:pt x="962" y="852"/>
                </a:lnTo>
                <a:lnTo>
                  <a:pt x="962" y="854"/>
                </a:lnTo>
                <a:lnTo>
                  <a:pt x="960" y="854"/>
                </a:lnTo>
                <a:lnTo>
                  <a:pt x="960" y="856"/>
                </a:lnTo>
                <a:lnTo>
                  <a:pt x="958" y="856"/>
                </a:lnTo>
                <a:lnTo>
                  <a:pt x="958" y="858"/>
                </a:lnTo>
                <a:lnTo>
                  <a:pt x="958" y="856"/>
                </a:lnTo>
                <a:lnTo>
                  <a:pt x="956" y="858"/>
                </a:lnTo>
                <a:lnTo>
                  <a:pt x="956" y="860"/>
                </a:lnTo>
                <a:lnTo>
                  <a:pt x="954" y="860"/>
                </a:lnTo>
                <a:lnTo>
                  <a:pt x="954" y="858"/>
                </a:lnTo>
                <a:lnTo>
                  <a:pt x="953" y="856"/>
                </a:lnTo>
                <a:lnTo>
                  <a:pt x="951" y="856"/>
                </a:lnTo>
                <a:lnTo>
                  <a:pt x="949" y="858"/>
                </a:lnTo>
                <a:lnTo>
                  <a:pt x="949" y="856"/>
                </a:lnTo>
                <a:lnTo>
                  <a:pt x="947" y="856"/>
                </a:lnTo>
                <a:lnTo>
                  <a:pt x="945" y="856"/>
                </a:lnTo>
                <a:lnTo>
                  <a:pt x="943" y="856"/>
                </a:lnTo>
                <a:lnTo>
                  <a:pt x="943" y="854"/>
                </a:lnTo>
                <a:lnTo>
                  <a:pt x="943" y="852"/>
                </a:lnTo>
                <a:lnTo>
                  <a:pt x="941" y="852"/>
                </a:lnTo>
                <a:lnTo>
                  <a:pt x="939" y="852"/>
                </a:lnTo>
                <a:lnTo>
                  <a:pt x="939" y="854"/>
                </a:lnTo>
                <a:lnTo>
                  <a:pt x="939" y="856"/>
                </a:lnTo>
                <a:lnTo>
                  <a:pt x="939" y="858"/>
                </a:lnTo>
                <a:lnTo>
                  <a:pt x="937" y="858"/>
                </a:lnTo>
                <a:lnTo>
                  <a:pt x="935" y="856"/>
                </a:lnTo>
                <a:lnTo>
                  <a:pt x="933" y="856"/>
                </a:lnTo>
                <a:lnTo>
                  <a:pt x="933" y="854"/>
                </a:lnTo>
                <a:lnTo>
                  <a:pt x="931" y="854"/>
                </a:lnTo>
                <a:lnTo>
                  <a:pt x="929" y="856"/>
                </a:lnTo>
                <a:lnTo>
                  <a:pt x="928" y="856"/>
                </a:lnTo>
                <a:lnTo>
                  <a:pt x="926" y="854"/>
                </a:lnTo>
                <a:lnTo>
                  <a:pt x="924" y="854"/>
                </a:lnTo>
                <a:lnTo>
                  <a:pt x="926" y="854"/>
                </a:lnTo>
                <a:lnTo>
                  <a:pt x="924" y="854"/>
                </a:lnTo>
                <a:lnTo>
                  <a:pt x="924" y="856"/>
                </a:lnTo>
                <a:lnTo>
                  <a:pt x="922" y="856"/>
                </a:lnTo>
                <a:lnTo>
                  <a:pt x="922" y="854"/>
                </a:lnTo>
                <a:lnTo>
                  <a:pt x="920" y="854"/>
                </a:lnTo>
                <a:lnTo>
                  <a:pt x="918" y="854"/>
                </a:lnTo>
                <a:lnTo>
                  <a:pt x="918" y="852"/>
                </a:lnTo>
                <a:lnTo>
                  <a:pt x="916" y="852"/>
                </a:lnTo>
                <a:lnTo>
                  <a:pt x="916" y="850"/>
                </a:lnTo>
                <a:lnTo>
                  <a:pt x="916" y="849"/>
                </a:lnTo>
                <a:lnTo>
                  <a:pt x="916" y="847"/>
                </a:lnTo>
                <a:lnTo>
                  <a:pt x="916" y="845"/>
                </a:lnTo>
                <a:lnTo>
                  <a:pt x="918" y="845"/>
                </a:lnTo>
                <a:lnTo>
                  <a:pt x="918" y="843"/>
                </a:lnTo>
                <a:lnTo>
                  <a:pt x="918" y="841"/>
                </a:lnTo>
                <a:lnTo>
                  <a:pt x="918" y="839"/>
                </a:lnTo>
                <a:lnTo>
                  <a:pt x="920" y="839"/>
                </a:lnTo>
                <a:lnTo>
                  <a:pt x="920" y="835"/>
                </a:lnTo>
                <a:lnTo>
                  <a:pt x="922" y="833"/>
                </a:lnTo>
                <a:lnTo>
                  <a:pt x="924" y="833"/>
                </a:lnTo>
                <a:lnTo>
                  <a:pt x="924" y="835"/>
                </a:lnTo>
                <a:lnTo>
                  <a:pt x="926" y="835"/>
                </a:lnTo>
                <a:lnTo>
                  <a:pt x="924" y="835"/>
                </a:lnTo>
                <a:lnTo>
                  <a:pt x="926" y="835"/>
                </a:lnTo>
                <a:lnTo>
                  <a:pt x="926" y="837"/>
                </a:lnTo>
                <a:lnTo>
                  <a:pt x="928" y="837"/>
                </a:lnTo>
                <a:lnTo>
                  <a:pt x="929" y="837"/>
                </a:lnTo>
                <a:lnTo>
                  <a:pt x="931" y="837"/>
                </a:lnTo>
                <a:lnTo>
                  <a:pt x="931" y="835"/>
                </a:lnTo>
                <a:lnTo>
                  <a:pt x="931" y="833"/>
                </a:lnTo>
                <a:lnTo>
                  <a:pt x="929" y="833"/>
                </a:lnTo>
                <a:lnTo>
                  <a:pt x="929" y="831"/>
                </a:lnTo>
                <a:lnTo>
                  <a:pt x="928" y="831"/>
                </a:lnTo>
                <a:lnTo>
                  <a:pt x="928" y="829"/>
                </a:lnTo>
                <a:lnTo>
                  <a:pt x="928" y="831"/>
                </a:lnTo>
                <a:lnTo>
                  <a:pt x="926" y="831"/>
                </a:lnTo>
                <a:lnTo>
                  <a:pt x="926" y="829"/>
                </a:lnTo>
                <a:lnTo>
                  <a:pt x="926" y="827"/>
                </a:lnTo>
                <a:lnTo>
                  <a:pt x="924" y="827"/>
                </a:lnTo>
                <a:lnTo>
                  <a:pt x="924" y="826"/>
                </a:lnTo>
                <a:lnTo>
                  <a:pt x="924" y="824"/>
                </a:lnTo>
                <a:lnTo>
                  <a:pt x="924" y="822"/>
                </a:lnTo>
                <a:lnTo>
                  <a:pt x="924" y="820"/>
                </a:lnTo>
                <a:lnTo>
                  <a:pt x="926" y="820"/>
                </a:lnTo>
                <a:lnTo>
                  <a:pt x="928" y="820"/>
                </a:lnTo>
                <a:lnTo>
                  <a:pt x="929" y="820"/>
                </a:lnTo>
                <a:lnTo>
                  <a:pt x="929" y="822"/>
                </a:lnTo>
                <a:lnTo>
                  <a:pt x="929" y="824"/>
                </a:lnTo>
                <a:lnTo>
                  <a:pt x="931" y="824"/>
                </a:lnTo>
                <a:lnTo>
                  <a:pt x="933" y="824"/>
                </a:lnTo>
                <a:lnTo>
                  <a:pt x="933" y="826"/>
                </a:lnTo>
                <a:lnTo>
                  <a:pt x="935" y="826"/>
                </a:lnTo>
                <a:lnTo>
                  <a:pt x="937" y="826"/>
                </a:lnTo>
                <a:lnTo>
                  <a:pt x="939" y="827"/>
                </a:lnTo>
                <a:lnTo>
                  <a:pt x="941" y="827"/>
                </a:lnTo>
                <a:lnTo>
                  <a:pt x="943" y="829"/>
                </a:lnTo>
                <a:lnTo>
                  <a:pt x="941" y="829"/>
                </a:lnTo>
                <a:lnTo>
                  <a:pt x="943" y="829"/>
                </a:lnTo>
                <a:lnTo>
                  <a:pt x="943" y="831"/>
                </a:lnTo>
                <a:lnTo>
                  <a:pt x="945" y="831"/>
                </a:lnTo>
                <a:lnTo>
                  <a:pt x="947" y="831"/>
                </a:lnTo>
                <a:lnTo>
                  <a:pt x="947" y="829"/>
                </a:lnTo>
                <a:lnTo>
                  <a:pt x="947" y="827"/>
                </a:lnTo>
                <a:lnTo>
                  <a:pt x="949" y="827"/>
                </a:lnTo>
                <a:lnTo>
                  <a:pt x="949" y="826"/>
                </a:lnTo>
                <a:lnTo>
                  <a:pt x="951" y="826"/>
                </a:lnTo>
                <a:lnTo>
                  <a:pt x="951" y="827"/>
                </a:lnTo>
                <a:lnTo>
                  <a:pt x="953" y="829"/>
                </a:lnTo>
                <a:lnTo>
                  <a:pt x="954" y="829"/>
                </a:lnTo>
                <a:lnTo>
                  <a:pt x="954" y="831"/>
                </a:lnTo>
                <a:lnTo>
                  <a:pt x="954" y="829"/>
                </a:lnTo>
                <a:lnTo>
                  <a:pt x="956" y="829"/>
                </a:lnTo>
                <a:lnTo>
                  <a:pt x="956" y="831"/>
                </a:lnTo>
                <a:lnTo>
                  <a:pt x="954" y="831"/>
                </a:lnTo>
                <a:lnTo>
                  <a:pt x="956" y="831"/>
                </a:lnTo>
                <a:lnTo>
                  <a:pt x="956" y="829"/>
                </a:lnTo>
                <a:lnTo>
                  <a:pt x="956" y="831"/>
                </a:lnTo>
                <a:lnTo>
                  <a:pt x="956" y="829"/>
                </a:lnTo>
                <a:lnTo>
                  <a:pt x="958" y="829"/>
                </a:lnTo>
                <a:lnTo>
                  <a:pt x="958" y="827"/>
                </a:lnTo>
                <a:lnTo>
                  <a:pt x="958" y="826"/>
                </a:lnTo>
                <a:lnTo>
                  <a:pt x="960" y="826"/>
                </a:lnTo>
                <a:lnTo>
                  <a:pt x="960" y="824"/>
                </a:lnTo>
                <a:lnTo>
                  <a:pt x="960" y="826"/>
                </a:lnTo>
                <a:lnTo>
                  <a:pt x="962" y="826"/>
                </a:lnTo>
                <a:close/>
                <a:moveTo>
                  <a:pt x="1337" y="1417"/>
                </a:moveTo>
                <a:lnTo>
                  <a:pt x="1339" y="1417"/>
                </a:lnTo>
                <a:lnTo>
                  <a:pt x="1337" y="1417"/>
                </a:lnTo>
                <a:close/>
                <a:moveTo>
                  <a:pt x="1335" y="1413"/>
                </a:moveTo>
                <a:lnTo>
                  <a:pt x="1335" y="1411"/>
                </a:lnTo>
                <a:lnTo>
                  <a:pt x="1335" y="1413"/>
                </a:lnTo>
                <a:close/>
                <a:moveTo>
                  <a:pt x="1340" y="1421"/>
                </a:moveTo>
                <a:lnTo>
                  <a:pt x="1340" y="1419"/>
                </a:lnTo>
                <a:lnTo>
                  <a:pt x="1340" y="1421"/>
                </a:lnTo>
                <a:close/>
                <a:moveTo>
                  <a:pt x="1344" y="1423"/>
                </a:moveTo>
                <a:lnTo>
                  <a:pt x="1342" y="1423"/>
                </a:lnTo>
                <a:lnTo>
                  <a:pt x="1344" y="1423"/>
                </a:lnTo>
                <a:close/>
                <a:moveTo>
                  <a:pt x="1371" y="1436"/>
                </a:moveTo>
                <a:lnTo>
                  <a:pt x="1371" y="1438"/>
                </a:lnTo>
                <a:lnTo>
                  <a:pt x="1371" y="1436"/>
                </a:lnTo>
                <a:close/>
                <a:moveTo>
                  <a:pt x="1273" y="1317"/>
                </a:moveTo>
                <a:lnTo>
                  <a:pt x="1273" y="1315"/>
                </a:lnTo>
                <a:lnTo>
                  <a:pt x="1275" y="1315"/>
                </a:lnTo>
                <a:lnTo>
                  <a:pt x="1277" y="1315"/>
                </a:lnTo>
                <a:lnTo>
                  <a:pt x="1279" y="1315"/>
                </a:lnTo>
                <a:lnTo>
                  <a:pt x="1279" y="1317"/>
                </a:lnTo>
                <a:lnTo>
                  <a:pt x="1277" y="1317"/>
                </a:lnTo>
                <a:lnTo>
                  <a:pt x="1275" y="1317"/>
                </a:lnTo>
                <a:lnTo>
                  <a:pt x="1273" y="1317"/>
                </a:lnTo>
                <a:close/>
                <a:moveTo>
                  <a:pt x="1275" y="1298"/>
                </a:moveTo>
                <a:lnTo>
                  <a:pt x="1277" y="1298"/>
                </a:lnTo>
                <a:lnTo>
                  <a:pt x="1275" y="1300"/>
                </a:lnTo>
                <a:lnTo>
                  <a:pt x="1275" y="1298"/>
                </a:lnTo>
                <a:close/>
                <a:moveTo>
                  <a:pt x="1277" y="1296"/>
                </a:moveTo>
                <a:lnTo>
                  <a:pt x="1279" y="1296"/>
                </a:lnTo>
                <a:lnTo>
                  <a:pt x="1277" y="1296"/>
                </a:lnTo>
                <a:close/>
                <a:moveTo>
                  <a:pt x="1279" y="1296"/>
                </a:moveTo>
                <a:lnTo>
                  <a:pt x="1277" y="1296"/>
                </a:lnTo>
                <a:lnTo>
                  <a:pt x="1279" y="1296"/>
                </a:lnTo>
                <a:lnTo>
                  <a:pt x="1279" y="1294"/>
                </a:lnTo>
                <a:lnTo>
                  <a:pt x="1279" y="1296"/>
                </a:lnTo>
                <a:close/>
                <a:moveTo>
                  <a:pt x="1279" y="1294"/>
                </a:moveTo>
                <a:lnTo>
                  <a:pt x="1279" y="1296"/>
                </a:lnTo>
                <a:lnTo>
                  <a:pt x="1279" y="1294"/>
                </a:lnTo>
                <a:close/>
                <a:moveTo>
                  <a:pt x="1281" y="1294"/>
                </a:moveTo>
                <a:lnTo>
                  <a:pt x="1281" y="1296"/>
                </a:lnTo>
                <a:lnTo>
                  <a:pt x="1279" y="1296"/>
                </a:lnTo>
                <a:lnTo>
                  <a:pt x="1279" y="1294"/>
                </a:lnTo>
                <a:lnTo>
                  <a:pt x="1281" y="1294"/>
                </a:lnTo>
                <a:close/>
                <a:moveTo>
                  <a:pt x="1281" y="1296"/>
                </a:moveTo>
                <a:lnTo>
                  <a:pt x="1281" y="1294"/>
                </a:lnTo>
                <a:lnTo>
                  <a:pt x="1281" y="1296"/>
                </a:lnTo>
                <a:close/>
                <a:moveTo>
                  <a:pt x="1317" y="1325"/>
                </a:moveTo>
                <a:lnTo>
                  <a:pt x="1315" y="1325"/>
                </a:lnTo>
                <a:lnTo>
                  <a:pt x="1317" y="1325"/>
                </a:lnTo>
                <a:close/>
                <a:moveTo>
                  <a:pt x="1317" y="1327"/>
                </a:moveTo>
                <a:lnTo>
                  <a:pt x="1317" y="1325"/>
                </a:lnTo>
                <a:lnTo>
                  <a:pt x="1317" y="1327"/>
                </a:lnTo>
                <a:close/>
                <a:moveTo>
                  <a:pt x="1317" y="1327"/>
                </a:moveTo>
                <a:lnTo>
                  <a:pt x="1317" y="1325"/>
                </a:lnTo>
                <a:lnTo>
                  <a:pt x="1317" y="1327"/>
                </a:lnTo>
                <a:close/>
                <a:moveTo>
                  <a:pt x="1319" y="1327"/>
                </a:moveTo>
                <a:lnTo>
                  <a:pt x="1317" y="1327"/>
                </a:lnTo>
                <a:lnTo>
                  <a:pt x="1319" y="1327"/>
                </a:lnTo>
                <a:close/>
                <a:moveTo>
                  <a:pt x="1321" y="1329"/>
                </a:moveTo>
                <a:lnTo>
                  <a:pt x="1319" y="1329"/>
                </a:lnTo>
                <a:lnTo>
                  <a:pt x="1321" y="1329"/>
                </a:lnTo>
                <a:close/>
                <a:moveTo>
                  <a:pt x="1006" y="754"/>
                </a:moveTo>
                <a:lnTo>
                  <a:pt x="1004" y="754"/>
                </a:lnTo>
                <a:lnTo>
                  <a:pt x="1004" y="756"/>
                </a:lnTo>
                <a:lnTo>
                  <a:pt x="1004" y="754"/>
                </a:lnTo>
                <a:lnTo>
                  <a:pt x="1004" y="756"/>
                </a:lnTo>
                <a:lnTo>
                  <a:pt x="1004" y="754"/>
                </a:lnTo>
                <a:lnTo>
                  <a:pt x="1004" y="756"/>
                </a:lnTo>
                <a:lnTo>
                  <a:pt x="1004" y="754"/>
                </a:lnTo>
                <a:lnTo>
                  <a:pt x="1006" y="754"/>
                </a:lnTo>
                <a:lnTo>
                  <a:pt x="1008" y="754"/>
                </a:lnTo>
                <a:lnTo>
                  <a:pt x="1006" y="754"/>
                </a:lnTo>
                <a:close/>
                <a:moveTo>
                  <a:pt x="1024" y="754"/>
                </a:moveTo>
                <a:lnTo>
                  <a:pt x="1024" y="753"/>
                </a:lnTo>
                <a:lnTo>
                  <a:pt x="1024" y="754"/>
                </a:lnTo>
                <a:lnTo>
                  <a:pt x="1022" y="754"/>
                </a:lnTo>
                <a:lnTo>
                  <a:pt x="1020" y="754"/>
                </a:lnTo>
                <a:lnTo>
                  <a:pt x="1018" y="754"/>
                </a:lnTo>
                <a:lnTo>
                  <a:pt x="1018" y="756"/>
                </a:lnTo>
                <a:lnTo>
                  <a:pt x="1016" y="756"/>
                </a:lnTo>
                <a:lnTo>
                  <a:pt x="1016" y="754"/>
                </a:lnTo>
                <a:lnTo>
                  <a:pt x="1018" y="754"/>
                </a:lnTo>
                <a:lnTo>
                  <a:pt x="1020" y="754"/>
                </a:lnTo>
                <a:lnTo>
                  <a:pt x="1022" y="754"/>
                </a:lnTo>
                <a:lnTo>
                  <a:pt x="1024" y="753"/>
                </a:lnTo>
                <a:lnTo>
                  <a:pt x="1024" y="754"/>
                </a:lnTo>
                <a:close/>
                <a:moveTo>
                  <a:pt x="1031" y="751"/>
                </a:moveTo>
                <a:lnTo>
                  <a:pt x="1029" y="751"/>
                </a:lnTo>
                <a:lnTo>
                  <a:pt x="1027" y="751"/>
                </a:lnTo>
                <a:lnTo>
                  <a:pt x="1027" y="753"/>
                </a:lnTo>
                <a:lnTo>
                  <a:pt x="1027" y="751"/>
                </a:lnTo>
                <a:lnTo>
                  <a:pt x="1026" y="751"/>
                </a:lnTo>
                <a:lnTo>
                  <a:pt x="1027" y="751"/>
                </a:lnTo>
                <a:lnTo>
                  <a:pt x="1029" y="751"/>
                </a:lnTo>
                <a:lnTo>
                  <a:pt x="1031" y="751"/>
                </a:lnTo>
                <a:close/>
                <a:moveTo>
                  <a:pt x="1083" y="772"/>
                </a:moveTo>
                <a:lnTo>
                  <a:pt x="1083" y="770"/>
                </a:lnTo>
                <a:lnTo>
                  <a:pt x="1085" y="772"/>
                </a:lnTo>
                <a:lnTo>
                  <a:pt x="1083" y="772"/>
                </a:lnTo>
                <a:close/>
                <a:moveTo>
                  <a:pt x="1083" y="774"/>
                </a:moveTo>
                <a:lnTo>
                  <a:pt x="1083" y="772"/>
                </a:lnTo>
                <a:lnTo>
                  <a:pt x="1085" y="772"/>
                </a:lnTo>
                <a:lnTo>
                  <a:pt x="1083" y="772"/>
                </a:lnTo>
                <a:lnTo>
                  <a:pt x="1083" y="774"/>
                </a:lnTo>
                <a:close/>
                <a:moveTo>
                  <a:pt x="1089" y="770"/>
                </a:moveTo>
                <a:lnTo>
                  <a:pt x="1089" y="772"/>
                </a:lnTo>
                <a:lnTo>
                  <a:pt x="1087" y="772"/>
                </a:lnTo>
                <a:lnTo>
                  <a:pt x="1087" y="770"/>
                </a:lnTo>
                <a:lnTo>
                  <a:pt x="1089" y="770"/>
                </a:lnTo>
                <a:close/>
                <a:moveTo>
                  <a:pt x="1087" y="770"/>
                </a:moveTo>
                <a:lnTo>
                  <a:pt x="1087" y="768"/>
                </a:lnTo>
                <a:lnTo>
                  <a:pt x="1089" y="768"/>
                </a:lnTo>
                <a:lnTo>
                  <a:pt x="1089" y="770"/>
                </a:lnTo>
                <a:lnTo>
                  <a:pt x="1087" y="770"/>
                </a:lnTo>
                <a:close/>
                <a:moveTo>
                  <a:pt x="1089" y="770"/>
                </a:moveTo>
                <a:lnTo>
                  <a:pt x="1089" y="772"/>
                </a:lnTo>
                <a:lnTo>
                  <a:pt x="1089" y="770"/>
                </a:lnTo>
                <a:close/>
                <a:moveTo>
                  <a:pt x="1091" y="770"/>
                </a:moveTo>
                <a:lnTo>
                  <a:pt x="1089" y="770"/>
                </a:lnTo>
                <a:lnTo>
                  <a:pt x="1089" y="768"/>
                </a:lnTo>
                <a:lnTo>
                  <a:pt x="1091" y="768"/>
                </a:lnTo>
                <a:lnTo>
                  <a:pt x="1091" y="770"/>
                </a:lnTo>
                <a:lnTo>
                  <a:pt x="1091" y="768"/>
                </a:lnTo>
                <a:lnTo>
                  <a:pt x="1091" y="770"/>
                </a:lnTo>
                <a:close/>
                <a:moveTo>
                  <a:pt x="1091" y="768"/>
                </a:moveTo>
                <a:lnTo>
                  <a:pt x="1089" y="768"/>
                </a:lnTo>
                <a:lnTo>
                  <a:pt x="1091" y="768"/>
                </a:lnTo>
                <a:close/>
                <a:moveTo>
                  <a:pt x="1089" y="772"/>
                </a:moveTo>
                <a:lnTo>
                  <a:pt x="1089" y="770"/>
                </a:lnTo>
                <a:lnTo>
                  <a:pt x="1091" y="770"/>
                </a:lnTo>
                <a:lnTo>
                  <a:pt x="1089" y="772"/>
                </a:lnTo>
                <a:close/>
                <a:moveTo>
                  <a:pt x="1091" y="768"/>
                </a:moveTo>
                <a:lnTo>
                  <a:pt x="1091" y="766"/>
                </a:lnTo>
                <a:lnTo>
                  <a:pt x="1091" y="768"/>
                </a:lnTo>
                <a:close/>
                <a:moveTo>
                  <a:pt x="1100" y="768"/>
                </a:moveTo>
                <a:lnTo>
                  <a:pt x="1100" y="766"/>
                </a:lnTo>
                <a:lnTo>
                  <a:pt x="1100" y="764"/>
                </a:lnTo>
                <a:lnTo>
                  <a:pt x="1102" y="764"/>
                </a:lnTo>
                <a:lnTo>
                  <a:pt x="1102" y="766"/>
                </a:lnTo>
                <a:lnTo>
                  <a:pt x="1102" y="768"/>
                </a:lnTo>
                <a:lnTo>
                  <a:pt x="1100" y="768"/>
                </a:lnTo>
                <a:close/>
                <a:moveTo>
                  <a:pt x="1123" y="764"/>
                </a:moveTo>
                <a:lnTo>
                  <a:pt x="1123" y="766"/>
                </a:lnTo>
                <a:lnTo>
                  <a:pt x="1123" y="764"/>
                </a:lnTo>
                <a:close/>
                <a:moveTo>
                  <a:pt x="1125" y="768"/>
                </a:moveTo>
                <a:lnTo>
                  <a:pt x="1125" y="770"/>
                </a:lnTo>
                <a:lnTo>
                  <a:pt x="1125" y="768"/>
                </a:lnTo>
                <a:close/>
                <a:moveTo>
                  <a:pt x="1141" y="802"/>
                </a:moveTo>
                <a:lnTo>
                  <a:pt x="1141" y="801"/>
                </a:lnTo>
                <a:lnTo>
                  <a:pt x="1141" y="802"/>
                </a:lnTo>
                <a:close/>
                <a:moveTo>
                  <a:pt x="1127" y="770"/>
                </a:moveTo>
                <a:lnTo>
                  <a:pt x="1125" y="770"/>
                </a:lnTo>
                <a:lnTo>
                  <a:pt x="1125" y="768"/>
                </a:lnTo>
                <a:lnTo>
                  <a:pt x="1127" y="770"/>
                </a:lnTo>
                <a:close/>
                <a:moveTo>
                  <a:pt x="1143" y="802"/>
                </a:moveTo>
                <a:lnTo>
                  <a:pt x="1141" y="802"/>
                </a:lnTo>
                <a:lnTo>
                  <a:pt x="1143" y="802"/>
                </a:lnTo>
                <a:lnTo>
                  <a:pt x="1143" y="804"/>
                </a:lnTo>
                <a:lnTo>
                  <a:pt x="1143" y="802"/>
                </a:lnTo>
                <a:close/>
                <a:moveTo>
                  <a:pt x="1129" y="774"/>
                </a:moveTo>
                <a:lnTo>
                  <a:pt x="1127" y="774"/>
                </a:lnTo>
                <a:lnTo>
                  <a:pt x="1129" y="774"/>
                </a:lnTo>
                <a:lnTo>
                  <a:pt x="1129" y="772"/>
                </a:lnTo>
                <a:lnTo>
                  <a:pt x="1129" y="774"/>
                </a:lnTo>
                <a:close/>
                <a:moveTo>
                  <a:pt x="1125" y="766"/>
                </a:moveTo>
                <a:lnTo>
                  <a:pt x="1123" y="766"/>
                </a:lnTo>
                <a:lnTo>
                  <a:pt x="1123" y="764"/>
                </a:lnTo>
                <a:lnTo>
                  <a:pt x="1125" y="764"/>
                </a:lnTo>
                <a:lnTo>
                  <a:pt x="1125" y="766"/>
                </a:lnTo>
                <a:close/>
                <a:moveTo>
                  <a:pt x="1125" y="768"/>
                </a:moveTo>
                <a:lnTo>
                  <a:pt x="1127" y="768"/>
                </a:lnTo>
                <a:lnTo>
                  <a:pt x="1127" y="770"/>
                </a:lnTo>
                <a:lnTo>
                  <a:pt x="1127" y="768"/>
                </a:lnTo>
                <a:lnTo>
                  <a:pt x="1125" y="768"/>
                </a:lnTo>
                <a:close/>
                <a:moveTo>
                  <a:pt x="1127" y="768"/>
                </a:moveTo>
                <a:lnTo>
                  <a:pt x="1129" y="768"/>
                </a:lnTo>
                <a:lnTo>
                  <a:pt x="1129" y="770"/>
                </a:lnTo>
                <a:lnTo>
                  <a:pt x="1127" y="770"/>
                </a:lnTo>
                <a:lnTo>
                  <a:pt x="1127" y="768"/>
                </a:lnTo>
                <a:close/>
                <a:moveTo>
                  <a:pt x="1127" y="774"/>
                </a:moveTo>
                <a:lnTo>
                  <a:pt x="1127" y="772"/>
                </a:lnTo>
                <a:lnTo>
                  <a:pt x="1127" y="770"/>
                </a:lnTo>
                <a:lnTo>
                  <a:pt x="1129" y="770"/>
                </a:lnTo>
                <a:lnTo>
                  <a:pt x="1129" y="772"/>
                </a:lnTo>
                <a:lnTo>
                  <a:pt x="1129" y="774"/>
                </a:lnTo>
                <a:lnTo>
                  <a:pt x="1127" y="774"/>
                </a:lnTo>
                <a:close/>
                <a:moveTo>
                  <a:pt x="1143" y="797"/>
                </a:moveTo>
                <a:lnTo>
                  <a:pt x="1143" y="799"/>
                </a:lnTo>
                <a:lnTo>
                  <a:pt x="1141" y="799"/>
                </a:lnTo>
                <a:lnTo>
                  <a:pt x="1141" y="797"/>
                </a:lnTo>
                <a:lnTo>
                  <a:pt x="1143" y="797"/>
                </a:lnTo>
                <a:close/>
                <a:moveTo>
                  <a:pt x="1145" y="806"/>
                </a:moveTo>
                <a:lnTo>
                  <a:pt x="1143" y="806"/>
                </a:lnTo>
                <a:lnTo>
                  <a:pt x="1145" y="806"/>
                </a:lnTo>
                <a:lnTo>
                  <a:pt x="1143" y="804"/>
                </a:lnTo>
                <a:lnTo>
                  <a:pt x="1143" y="802"/>
                </a:lnTo>
                <a:lnTo>
                  <a:pt x="1145" y="802"/>
                </a:lnTo>
                <a:lnTo>
                  <a:pt x="1145" y="804"/>
                </a:lnTo>
                <a:lnTo>
                  <a:pt x="1146" y="804"/>
                </a:lnTo>
                <a:lnTo>
                  <a:pt x="1145" y="804"/>
                </a:lnTo>
                <a:lnTo>
                  <a:pt x="1145" y="806"/>
                </a:lnTo>
                <a:close/>
                <a:moveTo>
                  <a:pt x="1127" y="766"/>
                </a:moveTo>
                <a:lnTo>
                  <a:pt x="1127" y="768"/>
                </a:lnTo>
                <a:lnTo>
                  <a:pt x="1129" y="768"/>
                </a:lnTo>
                <a:lnTo>
                  <a:pt x="1127" y="768"/>
                </a:lnTo>
                <a:lnTo>
                  <a:pt x="1127" y="766"/>
                </a:lnTo>
                <a:lnTo>
                  <a:pt x="1127" y="764"/>
                </a:lnTo>
                <a:lnTo>
                  <a:pt x="1127" y="766"/>
                </a:lnTo>
                <a:close/>
                <a:moveTo>
                  <a:pt x="1145" y="802"/>
                </a:moveTo>
                <a:lnTo>
                  <a:pt x="1143" y="802"/>
                </a:lnTo>
                <a:lnTo>
                  <a:pt x="1141" y="801"/>
                </a:lnTo>
                <a:lnTo>
                  <a:pt x="1143" y="801"/>
                </a:lnTo>
                <a:lnTo>
                  <a:pt x="1145" y="801"/>
                </a:lnTo>
                <a:lnTo>
                  <a:pt x="1145" y="802"/>
                </a:lnTo>
                <a:lnTo>
                  <a:pt x="1146" y="802"/>
                </a:lnTo>
                <a:lnTo>
                  <a:pt x="1145" y="802"/>
                </a:lnTo>
                <a:close/>
                <a:moveTo>
                  <a:pt x="1145" y="802"/>
                </a:moveTo>
                <a:lnTo>
                  <a:pt x="1146" y="802"/>
                </a:lnTo>
                <a:lnTo>
                  <a:pt x="1146" y="804"/>
                </a:lnTo>
                <a:lnTo>
                  <a:pt x="1146" y="802"/>
                </a:lnTo>
                <a:lnTo>
                  <a:pt x="1145" y="802"/>
                </a:lnTo>
                <a:close/>
                <a:moveTo>
                  <a:pt x="1129" y="766"/>
                </a:moveTo>
                <a:lnTo>
                  <a:pt x="1129" y="768"/>
                </a:lnTo>
                <a:lnTo>
                  <a:pt x="1129" y="766"/>
                </a:lnTo>
                <a:lnTo>
                  <a:pt x="1127" y="766"/>
                </a:lnTo>
                <a:lnTo>
                  <a:pt x="1127" y="764"/>
                </a:lnTo>
                <a:lnTo>
                  <a:pt x="1129" y="764"/>
                </a:lnTo>
                <a:lnTo>
                  <a:pt x="1129" y="766"/>
                </a:lnTo>
                <a:close/>
                <a:moveTo>
                  <a:pt x="1145" y="802"/>
                </a:moveTo>
                <a:lnTo>
                  <a:pt x="1145" y="801"/>
                </a:lnTo>
                <a:lnTo>
                  <a:pt x="1146" y="801"/>
                </a:lnTo>
                <a:lnTo>
                  <a:pt x="1146" y="802"/>
                </a:lnTo>
                <a:lnTo>
                  <a:pt x="1145" y="802"/>
                </a:lnTo>
                <a:close/>
                <a:moveTo>
                  <a:pt x="1129" y="764"/>
                </a:moveTo>
                <a:lnTo>
                  <a:pt x="1127" y="764"/>
                </a:lnTo>
                <a:lnTo>
                  <a:pt x="1127" y="762"/>
                </a:lnTo>
                <a:lnTo>
                  <a:pt x="1125" y="762"/>
                </a:lnTo>
                <a:lnTo>
                  <a:pt x="1127" y="762"/>
                </a:lnTo>
                <a:lnTo>
                  <a:pt x="1129" y="762"/>
                </a:lnTo>
                <a:lnTo>
                  <a:pt x="1129" y="764"/>
                </a:lnTo>
                <a:close/>
                <a:moveTo>
                  <a:pt x="1143" y="797"/>
                </a:moveTo>
                <a:lnTo>
                  <a:pt x="1143" y="795"/>
                </a:lnTo>
                <a:lnTo>
                  <a:pt x="1145" y="795"/>
                </a:lnTo>
                <a:lnTo>
                  <a:pt x="1145" y="797"/>
                </a:lnTo>
                <a:lnTo>
                  <a:pt x="1146" y="797"/>
                </a:lnTo>
                <a:lnTo>
                  <a:pt x="1145" y="797"/>
                </a:lnTo>
                <a:lnTo>
                  <a:pt x="1143" y="797"/>
                </a:lnTo>
                <a:close/>
                <a:moveTo>
                  <a:pt x="1145" y="797"/>
                </a:moveTo>
                <a:lnTo>
                  <a:pt x="1146" y="797"/>
                </a:lnTo>
                <a:lnTo>
                  <a:pt x="1145" y="797"/>
                </a:lnTo>
                <a:close/>
                <a:moveTo>
                  <a:pt x="1146" y="799"/>
                </a:moveTo>
                <a:lnTo>
                  <a:pt x="1145" y="799"/>
                </a:lnTo>
                <a:lnTo>
                  <a:pt x="1146" y="799"/>
                </a:lnTo>
                <a:lnTo>
                  <a:pt x="1146" y="797"/>
                </a:lnTo>
                <a:lnTo>
                  <a:pt x="1148" y="797"/>
                </a:lnTo>
                <a:lnTo>
                  <a:pt x="1148" y="799"/>
                </a:lnTo>
                <a:lnTo>
                  <a:pt x="1146" y="799"/>
                </a:lnTo>
                <a:close/>
                <a:moveTo>
                  <a:pt x="1133" y="764"/>
                </a:moveTo>
                <a:lnTo>
                  <a:pt x="1133" y="766"/>
                </a:lnTo>
                <a:lnTo>
                  <a:pt x="1131" y="766"/>
                </a:lnTo>
                <a:lnTo>
                  <a:pt x="1129" y="766"/>
                </a:lnTo>
                <a:lnTo>
                  <a:pt x="1129" y="768"/>
                </a:lnTo>
                <a:lnTo>
                  <a:pt x="1129" y="766"/>
                </a:lnTo>
                <a:lnTo>
                  <a:pt x="1129" y="764"/>
                </a:lnTo>
                <a:lnTo>
                  <a:pt x="1131" y="764"/>
                </a:lnTo>
                <a:lnTo>
                  <a:pt x="1131" y="762"/>
                </a:lnTo>
                <a:lnTo>
                  <a:pt x="1131" y="764"/>
                </a:lnTo>
                <a:lnTo>
                  <a:pt x="1131" y="762"/>
                </a:lnTo>
                <a:lnTo>
                  <a:pt x="1133" y="762"/>
                </a:lnTo>
                <a:lnTo>
                  <a:pt x="1133" y="764"/>
                </a:lnTo>
                <a:close/>
                <a:moveTo>
                  <a:pt x="1146" y="797"/>
                </a:moveTo>
                <a:lnTo>
                  <a:pt x="1146" y="795"/>
                </a:lnTo>
                <a:lnTo>
                  <a:pt x="1146" y="797"/>
                </a:lnTo>
                <a:lnTo>
                  <a:pt x="1146" y="795"/>
                </a:lnTo>
                <a:lnTo>
                  <a:pt x="1148" y="795"/>
                </a:lnTo>
                <a:lnTo>
                  <a:pt x="1148" y="797"/>
                </a:lnTo>
                <a:lnTo>
                  <a:pt x="1146" y="797"/>
                </a:lnTo>
                <a:close/>
                <a:moveTo>
                  <a:pt x="1146" y="795"/>
                </a:moveTo>
                <a:lnTo>
                  <a:pt x="1145" y="795"/>
                </a:lnTo>
                <a:lnTo>
                  <a:pt x="1145" y="793"/>
                </a:lnTo>
                <a:lnTo>
                  <a:pt x="1146" y="793"/>
                </a:lnTo>
                <a:lnTo>
                  <a:pt x="1148" y="793"/>
                </a:lnTo>
                <a:lnTo>
                  <a:pt x="1148" y="795"/>
                </a:lnTo>
                <a:lnTo>
                  <a:pt x="1146" y="795"/>
                </a:lnTo>
                <a:close/>
                <a:moveTo>
                  <a:pt x="1148" y="793"/>
                </a:moveTo>
                <a:lnTo>
                  <a:pt x="1146" y="793"/>
                </a:lnTo>
                <a:lnTo>
                  <a:pt x="1145" y="793"/>
                </a:lnTo>
                <a:lnTo>
                  <a:pt x="1143" y="793"/>
                </a:lnTo>
                <a:lnTo>
                  <a:pt x="1143" y="791"/>
                </a:lnTo>
                <a:lnTo>
                  <a:pt x="1145" y="791"/>
                </a:lnTo>
                <a:lnTo>
                  <a:pt x="1146" y="791"/>
                </a:lnTo>
                <a:lnTo>
                  <a:pt x="1148" y="791"/>
                </a:lnTo>
                <a:lnTo>
                  <a:pt x="1148" y="793"/>
                </a:lnTo>
                <a:close/>
                <a:moveTo>
                  <a:pt x="1146" y="791"/>
                </a:moveTo>
                <a:lnTo>
                  <a:pt x="1145" y="791"/>
                </a:lnTo>
                <a:lnTo>
                  <a:pt x="1146" y="791"/>
                </a:lnTo>
                <a:lnTo>
                  <a:pt x="1148" y="791"/>
                </a:lnTo>
                <a:lnTo>
                  <a:pt x="1146" y="791"/>
                </a:lnTo>
                <a:close/>
                <a:moveTo>
                  <a:pt x="1148" y="791"/>
                </a:moveTo>
                <a:lnTo>
                  <a:pt x="1146" y="791"/>
                </a:lnTo>
                <a:lnTo>
                  <a:pt x="1145" y="791"/>
                </a:lnTo>
                <a:lnTo>
                  <a:pt x="1143" y="791"/>
                </a:lnTo>
                <a:lnTo>
                  <a:pt x="1143" y="789"/>
                </a:lnTo>
                <a:lnTo>
                  <a:pt x="1145" y="789"/>
                </a:lnTo>
                <a:lnTo>
                  <a:pt x="1146" y="789"/>
                </a:lnTo>
                <a:lnTo>
                  <a:pt x="1148" y="789"/>
                </a:lnTo>
                <a:lnTo>
                  <a:pt x="1148" y="791"/>
                </a:lnTo>
                <a:close/>
                <a:moveTo>
                  <a:pt x="1148" y="789"/>
                </a:moveTo>
                <a:lnTo>
                  <a:pt x="1150" y="789"/>
                </a:lnTo>
                <a:lnTo>
                  <a:pt x="1148" y="789"/>
                </a:lnTo>
                <a:lnTo>
                  <a:pt x="1146" y="789"/>
                </a:lnTo>
                <a:lnTo>
                  <a:pt x="1146" y="787"/>
                </a:lnTo>
                <a:lnTo>
                  <a:pt x="1146" y="789"/>
                </a:lnTo>
                <a:lnTo>
                  <a:pt x="1148" y="789"/>
                </a:lnTo>
                <a:lnTo>
                  <a:pt x="1148" y="787"/>
                </a:lnTo>
                <a:lnTo>
                  <a:pt x="1150" y="789"/>
                </a:lnTo>
                <a:lnTo>
                  <a:pt x="1148" y="789"/>
                </a:lnTo>
                <a:close/>
                <a:moveTo>
                  <a:pt x="1150" y="789"/>
                </a:moveTo>
                <a:lnTo>
                  <a:pt x="1150" y="787"/>
                </a:lnTo>
                <a:lnTo>
                  <a:pt x="1150" y="789"/>
                </a:lnTo>
                <a:close/>
                <a:moveTo>
                  <a:pt x="1194" y="839"/>
                </a:moveTo>
                <a:lnTo>
                  <a:pt x="1194" y="837"/>
                </a:lnTo>
                <a:lnTo>
                  <a:pt x="1196" y="837"/>
                </a:lnTo>
                <a:lnTo>
                  <a:pt x="1196" y="839"/>
                </a:lnTo>
                <a:lnTo>
                  <a:pt x="1194" y="839"/>
                </a:lnTo>
                <a:close/>
                <a:moveTo>
                  <a:pt x="1196" y="835"/>
                </a:moveTo>
                <a:lnTo>
                  <a:pt x="1194" y="835"/>
                </a:lnTo>
                <a:lnTo>
                  <a:pt x="1196" y="835"/>
                </a:lnTo>
                <a:lnTo>
                  <a:pt x="1194" y="835"/>
                </a:lnTo>
                <a:lnTo>
                  <a:pt x="1196" y="835"/>
                </a:lnTo>
                <a:close/>
                <a:moveTo>
                  <a:pt x="1200" y="812"/>
                </a:moveTo>
                <a:lnTo>
                  <a:pt x="1200" y="814"/>
                </a:lnTo>
                <a:lnTo>
                  <a:pt x="1200" y="816"/>
                </a:lnTo>
                <a:lnTo>
                  <a:pt x="1198" y="816"/>
                </a:lnTo>
                <a:lnTo>
                  <a:pt x="1196" y="816"/>
                </a:lnTo>
                <a:lnTo>
                  <a:pt x="1194" y="816"/>
                </a:lnTo>
                <a:lnTo>
                  <a:pt x="1196" y="816"/>
                </a:lnTo>
                <a:lnTo>
                  <a:pt x="1194" y="816"/>
                </a:lnTo>
                <a:lnTo>
                  <a:pt x="1194" y="814"/>
                </a:lnTo>
                <a:lnTo>
                  <a:pt x="1194" y="816"/>
                </a:lnTo>
                <a:lnTo>
                  <a:pt x="1193" y="816"/>
                </a:lnTo>
                <a:lnTo>
                  <a:pt x="1193" y="814"/>
                </a:lnTo>
                <a:lnTo>
                  <a:pt x="1193" y="812"/>
                </a:lnTo>
                <a:lnTo>
                  <a:pt x="1193" y="810"/>
                </a:lnTo>
                <a:lnTo>
                  <a:pt x="1194" y="810"/>
                </a:lnTo>
                <a:lnTo>
                  <a:pt x="1194" y="808"/>
                </a:lnTo>
                <a:lnTo>
                  <a:pt x="1194" y="810"/>
                </a:lnTo>
                <a:lnTo>
                  <a:pt x="1196" y="810"/>
                </a:lnTo>
                <a:lnTo>
                  <a:pt x="1198" y="810"/>
                </a:lnTo>
                <a:lnTo>
                  <a:pt x="1198" y="812"/>
                </a:lnTo>
                <a:lnTo>
                  <a:pt x="1200" y="812"/>
                </a:lnTo>
                <a:close/>
                <a:moveTo>
                  <a:pt x="1202" y="816"/>
                </a:moveTo>
                <a:lnTo>
                  <a:pt x="1202" y="818"/>
                </a:lnTo>
                <a:lnTo>
                  <a:pt x="1202" y="820"/>
                </a:lnTo>
                <a:lnTo>
                  <a:pt x="1202" y="818"/>
                </a:lnTo>
                <a:lnTo>
                  <a:pt x="1202" y="820"/>
                </a:lnTo>
                <a:lnTo>
                  <a:pt x="1200" y="820"/>
                </a:lnTo>
                <a:lnTo>
                  <a:pt x="1200" y="822"/>
                </a:lnTo>
                <a:lnTo>
                  <a:pt x="1198" y="822"/>
                </a:lnTo>
                <a:lnTo>
                  <a:pt x="1196" y="822"/>
                </a:lnTo>
                <a:lnTo>
                  <a:pt x="1198" y="822"/>
                </a:lnTo>
                <a:lnTo>
                  <a:pt x="1198" y="820"/>
                </a:lnTo>
                <a:lnTo>
                  <a:pt x="1196" y="820"/>
                </a:lnTo>
                <a:lnTo>
                  <a:pt x="1194" y="820"/>
                </a:lnTo>
                <a:lnTo>
                  <a:pt x="1196" y="820"/>
                </a:lnTo>
                <a:lnTo>
                  <a:pt x="1194" y="820"/>
                </a:lnTo>
                <a:lnTo>
                  <a:pt x="1196" y="818"/>
                </a:lnTo>
                <a:lnTo>
                  <a:pt x="1194" y="818"/>
                </a:lnTo>
                <a:lnTo>
                  <a:pt x="1194" y="816"/>
                </a:lnTo>
                <a:lnTo>
                  <a:pt x="1194" y="814"/>
                </a:lnTo>
                <a:lnTo>
                  <a:pt x="1194" y="816"/>
                </a:lnTo>
                <a:lnTo>
                  <a:pt x="1196" y="816"/>
                </a:lnTo>
                <a:lnTo>
                  <a:pt x="1198" y="816"/>
                </a:lnTo>
                <a:lnTo>
                  <a:pt x="1200" y="816"/>
                </a:lnTo>
                <a:lnTo>
                  <a:pt x="1200" y="814"/>
                </a:lnTo>
                <a:lnTo>
                  <a:pt x="1200" y="816"/>
                </a:lnTo>
                <a:lnTo>
                  <a:pt x="1202" y="816"/>
                </a:lnTo>
                <a:close/>
                <a:moveTo>
                  <a:pt x="1087" y="503"/>
                </a:moveTo>
                <a:lnTo>
                  <a:pt x="1085" y="503"/>
                </a:lnTo>
                <a:lnTo>
                  <a:pt x="1085" y="505"/>
                </a:lnTo>
                <a:lnTo>
                  <a:pt x="1083" y="505"/>
                </a:lnTo>
                <a:lnTo>
                  <a:pt x="1081" y="505"/>
                </a:lnTo>
                <a:lnTo>
                  <a:pt x="1079" y="505"/>
                </a:lnTo>
                <a:lnTo>
                  <a:pt x="1079" y="507"/>
                </a:lnTo>
                <a:lnTo>
                  <a:pt x="1079" y="509"/>
                </a:lnTo>
                <a:lnTo>
                  <a:pt x="1079" y="511"/>
                </a:lnTo>
                <a:lnTo>
                  <a:pt x="1079" y="509"/>
                </a:lnTo>
                <a:lnTo>
                  <a:pt x="1077" y="509"/>
                </a:lnTo>
                <a:lnTo>
                  <a:pt x="1077" y="507"/>
                </a:lnTo>
                <a:lnTo>
                  <a:pt x="1075" y="507"/>
                </a:lnTo>
                <a:lnTo>
                  <a:pt x="1074" y="507"/>
                </a:lnTo>
                <a:lnTo>
                  <a:pt x="1074" y="509"/>
                </a:lnTo>
                <a:lnTo>
                  <a:pt x="1075" y="509"/>
                </a:lnTo>
                <a:lnTo>
                  <a:pt x="1077" y="509"/>
                </a:lnTo>
                <a:lnTo>
                  <a:pt x="1077" y="511"/>
                </a:lnTo>
                <a:lnTo>
                  <a:pt x="1079" y="509"/>
                </a:lnTo>
                <a:lnTo>
                  <a:pt x="1079" y="511"/>
                </a:lnTo>
                <a:lnTo>
                  <a:pt x="1079" y="513"/>
                </a:lnTo>
                <a:lnTo>
                  <a:pt x="1079" y="515"/>
                </a:lnTo>
                <a:lnTo>
                  <a:pt x="1079" y="516"/>
                </a:lnTo>
                <a:lnTo>
                  <a:pt x="1077" y="516"/>
                </a:lnTo>
                <a:lnTo>
                  <a:pt x="1077" y="515"/>
                </a:lnTo>
                <a:lnTo>
                  <a:pt x="1077" y="513"/>
                </a:lnTo>
                <a:lnTo>
                  <a:pt x="1079" y="513"/>
                </a:lnTo>
                <a:lnTo>
                  <a:pt x="1077" y="513"/>
                </a:lnTo>
                <a:lnTo>
                  <a:pt x="1077" y="511"/>
                </a:lnTo>
                <a:lnTo>
                  <a:pt x="1075" y="511"/>
                </a:lnTo>
                <a:lnTo>
                  <a:pt x="1075" y="513"/>
                </a:lnTo>
                <a:lnTo>
                  <a:pt x="1074" y="513"/>
                </a:lnTo>
                <a:lnTo>
                  <a:pt x="1074" y="515"/>
                </a:lnTo>
                <a:lnTo>
                  <a:pt x="1075" y="515"/>
                </a:lnTo>
                <a:lnTo>
                  <a:pt x="1075" y="516"/>
                </a:lnTo>
                <a:lnTo>
                  <a:pt x="1075" y="518"/>
                </a:lnTo>
                <a:lnTo>
                  <a:pt x="1077" y="518"/>
                </a:lnTo>
                <a:lnTo>
                  <a:pt x="1077" y="520"/>
                </a:lnTo>
                <a:lnTo>
                  <a:pt x="1077" y="518"/>
                </a:lnTo>
                <a:lnTo>
                  <a:pt x="1077" y="516"/>
                </a:lnTo>
                <a:lnTo>
                  <a:pt x="1079" y="518"/>
                </a:lnTo>
                <a:lnTo>
                  <a:pt x="1079" y="520"/>
                </a:lnTo>
                <a:lnTo>
                  <a:pt x="1077" y="520"/>
                </a:lnTo>
                <a:lnTo>
                  <a:pt x="1079" y="520"/>
                </a:lnTo>
                <a:lnTo>
                  <a:pt x="1079" y="522"/>
                </a:lnTo>
                <a:lnTo>
                  <a:pt x="1079" y="524"/>
                </a:lnTo>
                <a:lnTo>
                  <a:pt x="1079" y="526"/>
                </a:lnTo>
                <a:lnTo>
                  <a:pt x="1077" y="526"/>
                </a:lnTo>
                <a:lnTo>
                  <a:pt x="1077" y="528"/>
                </a:lnTo>
                <a:lnTo>
                  <a:pt x="1077" y="530"/>
                </a:lnTo>
                <a:lnTo>
                  <a:pt x="1077" y="528"/>
                </a:lnTo>
                <a:lnTo>
                  <a:pt x="1077" y="526"/>
                </a:lnTo>
                <a:lnTo>
                  <a:pt x="1077" y="524"/>
                </a:lnTo>
                <a:lnTo>
                  <a:pt x="1077" y="526"/>
                </a:lnTo>
                <a:lnTo>
                  <a:pt x="1077" y="528"/>
                </a:lnTo>
                <a:lnTo>
                  <a:pt x="1077" y="530"/>
                </a:lnTo>
                <a:lnTo>
                  <a:pt x="1079" y="530"/>
                </a:lnTo>
                <a:lnTo>
                  <a:pt x="1079" y="532"/>
                </a:lnTo>
                <a:lnTo>
                  <a:pt x="1077" y="532"/>
                </a:lnTo>
                <a:lnTo>
                  <a:pt x="1077" y="530"/>
                </a:lnTo>
                <a:lnTo>
                  <a:pt x="1077" y="532"/>
                </a:lnTo>
                <a:lnTo>
                  <a:pt x="1077" y="534"/>
                </a:lnTo>
                <a:lnTo>
                  <a:pt x="1079" y="534"/>
                </a:lnTo>
                <a:lnTo>
                  <a:pt x="1077" y="534"/>
                </a:lnTo>
                <a:lnTo>
                  <a:pt x="1079" y="534"/>
                </a:lnTo>
                <a:lnTo>
                  <a:pt x="1079" y="532"/>
                </a:lnTo>
                <a:lnTo>
                  <a:pt x="1079" y="534"/>
                </a:lnTo>
                <a:lnTo>
                  <a:pt x="1081" y="534"/>
                </a:lnTo>
                <a:lnTo>
                  <a:pt x="1081" y="536"/>
                </a:lnTo>
                <a:lnTo>
                  <a:pt x="1083" y="536"/>
                </a:lnTo>
                <a:lnTo>
                  <a:pt x="1083" y="538"/>
                </a:lnTo>
                <a:lnTo>
                  <a:pt x="1085" y="538"/>
                </a:lnTo>
                <a:lnTo>
                  <a:pt x="1087" y="538"/>
                </a:lnTo>
                <a:lnTo>
                  <a:pt x="1087" y="539"/>
                </a:lnTo>
                <a:lnTo>
                  <a:pt x="1089" y="539"/>
                </a:lnTo>
                <a:lnTo>
                  <a:pt x="1089" y="541"/>
                </a:lnTo>
                <a:lnTo>
                  <a:pt x="1091" y="541"/>
                </a:lnTo>
                <a:lnTo>
                  <a:pt x="1091" y="543"/>
                </a:lnTo>
                <a:lnTo>
                  <a:pt x="1093" y="543"/>
                </a:lnTo>
                <a:lnTo>
                  <a:pt x="1093" y="545"/>
                </a:lnTo>
                <a:lnTo>
                  <a:pt x="1095" y="545"/>
                </a:lnTo>
                <a:lnTo>
                  <a:pt x="1095" y="547"/>
                </a:lnTo>
                <a:lnTo>
                  <a:pt x="1095" y="549"/>
                </a:lnTo>
                <a:lnTo>
                  <a:pt x="1095" y="551"/>
                </a:lnTo>
                <a:lnTo>
                  <a:pt x="1095" y="553"/>
                </a:lnTo>
                <a:lnTo>
                  <a:pt x="1095" y="555"/>
                </a:lnTo>
                <a:lnTo>
                  <a:pt x="1095" y="557"/>
                </a:lnTo>
                <a:lnTo>
                  <a:pt x="1093" y="557"/>
                </a:lnTo>
                <a:lnTo>
                  <a:pt x="1093" y="559"/>
                </a:lnTo>
                <a:lnTo>
                  <a:pt x="1093" y="561"/>
                </a:lnTo>
                <a:lnTo>
                  <a:pt x="1091" y="561"/>
                </a:lnTo>
                <a:lnTo>
                  <a:pt x="1091" y="563"/>
                </a:lnTo>
                <a:lnTo>
                  <a:pt x="1089" y="563"/>
                </a:lnTo>
                <a:lnTo>
                  <a:pt x="1089" y="564"/>
                </a:lnTo>
                <a:lnTo>
                  <a:pt x="1087" y="564"/>
                </a:lnTo>
                <a:lnTo>
                  <a:pt x="1085" y="564"/>
                </a:lnTo>
                <a:lnTo>
                  <a:pt x="1083" y="564"/>
                </a:lnTo>
                <a:lnTo>
                  <a:pt x="1083" y="566"/>
                </a:lnTo>
                <a:lnTo>
                  <a:pt x="1083" y="568"/>
                </a:lnTo>
                <a:lnTo>
                  <a:pt x="1083" y="570"/>
                </a:lnTo>
                <a:lnTo>
                  <a:pt x="1083" y="572"/>
                </a:lnTo>
                <a:lnTo>
                  <a:pt x="1081" y="572"/>
                </a:lnTo>
                <a:lnTo>
                  <a:pt x="1081" y="574"/>
                </a:lnTo>
                <a:lnTo>
                  <a:pt x="1081" y="576"/>
                </a:lnTo>
                <a:lnTo>
                  <a:pt x="1083" y="576"/>
                </a:lnTo>
                <a:lnTo>
                  <a:pt x="1083" y="578"/>
                </a:lnTo>
                <a:lnTo>
                  <a:pt x="1083" y="576"/>
                </a:lnTo>
                <a:lnTo>
                  <a:pt x="1081" y="576"/>
                </a:lnTo>
                <a:lnTo>
                  <a:pt x="1081" y="574"/>
                </a:lnTo>
                <a:lnTo>
                  <a:pt x="1081" y="576"/>
                </a:lnTo>
                <a:lnTo>
                  <a:pt x="1081" y="578"/>
                </a:lnTo>
                <a:lnTo>
                  <a:pt x="1083" y="578"/>
                </a:lnTo>
                <a:lnTo>
                  <a:pt x="1083" y="580"/>
                </a:lnTo>
                <a:lnTo>
                  <a:pt x="1083" y="582"/>
                </a:lnTo>
                <a:lnTo>
                  <a:pt x="1083" y="584"/>
                </a:lnTo>
                <a:lnTo>
                  <a:pt x="1083" y="586"/>
                </a:lnTo>
                <a:lnTo>
                  <a:pt x="1081" y="586"/>
                </a:lnTo>
                <a:lnTo>
                  <a:pt x="1079" y="586"/>
                </a:lnTo>
                <a:lnTo>
                  <a:pt x="1079" y="587"/>
                </a:lnTo>
                <a:lnTo>
                  <a:pt x="1079" y="589"/>
                </a:lnTo>
                <a:lnTo>
                  <a:pt x="1079" y="591"/>
                </a:lnTo>
                <a:lnTo>
                  <a:pt x="1081" y="591"/>
                </a:lnTo>
                <a:lnTo>
                  <a:pt x="1081" y="589"/>
                </a:lnTo>
                <a:lnTo>
                  <a:pt x="1079" y="587"/>
                </a:lnTo>
                <a:lnTo>
                  <a:pt x="1079" y="586"/>
                </a:lnTo>
                <a:lnTo>
                  <a:pt x="1081" y="586"/>
                </a:lnTo>
                <a:lnTo>
                  <a:pt x="1081" y="587"/>
                </a:lnTo>
                <a:lnTo>
                  <a:pt x="1079" y="587"/>
                </a:lnTo>
                <a:lnTo>
                  <a:pt x="1081" y="587"/>
                </a:lnTo>
                <a:lnTo>
                  <a:pt x="1081" y="589"/>
                </a:lnTo>
                <a:lnTo>
                  <a:pt x="1081" y="591"/>
                </a:lnTo>
                <a:lnTo>
                  <a:pt x="1081" y="593"/>
                </a:lnTo>
                <a:lnTo>
                  <a:pt x="1081" y="595"/>
                </a:lnTo>
                <a:lnTo>
                  <a:pt x="1081" y="597"/>
                </a:lnTo>
                <a:lnTo>
                  <a:pt x="1081" y="599"/>
                </a:lnTo>
                <a:lnTo>
                  <a:pt x="1079" y="599"/>
                </a:lnTo>
                <a:lnTo>
                  <a:pt x="1079" y="601"/>
                </a:lnTo>
                <a:lnTo>
                  <a:pt x="1079" y="603"/>
                </a:lnTo>
                <a:lnTo>
                  <a:pt x="1081" y="603"/>
                </a:lnTo>
                <a:lnTo>
                  <a:pt x="1083" y="603"/>
                </a:lnTo>
                <a:lnTo>
                  <a:pt x="1083" y="601"/>
                </a:lnTo>
                <a:lnTo>
                  <a:pt x="1083" y="599"/>
                </a:lnTo>
                <a:lnTo>
                  <a:pt x="1081" y="599"/>
                </a:lnTo>
                <a:lnTo>
                  <a:pt x="1081" y="597"/>
                </a:lnTo>
                <a:lnTo>
                  <a:pt x="1083" y="603"/>
                </a:lnTo>
                <a:lnTo>
                  <a:pt x="1085" y="605"/>
                </a:lnTo>
                <a:lnTo>
                  <a:pt x="1085" y="607"/>
                </a:lnTo>
                <a:lnTo>
                  <a:pt x="1085" y="609"/>
                </a:lnTo>
                <a:lnTo>
                  <a:pt x="1085" y="610"/>
                </a:lnTo>
                <a:lnTo>
                  <a:pt x="1085" y="612"/>
                </a:lnTo>
                <a:lnTo>
                  <a:pt x="1085" y="614"/>
                </a:lnTo>
                <a:lnTo>
                  <a:pt x="1085" y="616"/>
                </a:lnTo>
                <a:lnTo>
                  <a:pt x="1085" y="618"/>
                </a:lnTo>
                <a:lnTo>
                  <a:pt x="1083" y="618"/>
                </a:lnTo>
                <a:lnTo>
                  <a:pt x="1081" y="618"/>
                </a:lnTo>
                <a:lnTo>
                  <a:pt x="1079" y="618"/>
                </a:lnTo>
                <a:lnTo>
                  <a:pt x="1077" y="618"/>
                </a:lnTo>
                <a:lnTo>
                  <a:pt x="1075" y="618"/>
                </a:lnTo>
                <a:lnTo>
                  <a:pt x="1074" y="618"/>
                </a:lnTo>
                <a:lnTo>
                  <a:pt x="1074" y="616"/>
                </a:lnTo>
                <a:lnTo>
                  <a:pt x="1072" y="616"/>
                </a:lnTo>
                <a:lnTo>
                  <a:pt x="1072" y="614"/>
                </a:lnTo>
                <a:lnTo>
                  <a:pt x="1072" y="612"/>
                </a:lnTo>
                <a:lnTo>
                  <a:pt x="1072" y="609"/>
                </a:lnTo>
                <a:lnTo>
                  <a:pt x="1072" y="607"/>
                </a:lnTo>
                <a:lnTo>
                  <a:pt x="1070" y="605"/>
                </a:lnTo>
                <a:lnTo>
                  <a:pt x="1068" y="601"/>
                </a:lnTo>
                <a:lnTo>
                  <a:pt x="1066" y="599"/>
                </a:lnTo>
                <a:lnTo>
                  <a:pt x="1064" y="599"/>
                </a:lnTo>
                <a:lnTo>
                  <a:pt x="1062" y="597"/>
                </a:lnTo>
                <a:lnTo>
                  <a:pt x="1060" y="597"/>
                </a:lnTo>
                <a:lnTo>
                  <a:pt x="1060" y="595"/>
                </a:lnTo>
                <a:lnTo>
                  <a:pt x="1058" y="595"/>
                </a:lnTo>
                <a:lnTo>
                  <a:pt x="1056" y="595"/>
                </a:lnTo>
                <a:lnTo>
                  <a:pt x="1054" y="595"/>
                </a:lnTo>
                <a:lnTo>
                  <a:pt x="1056" y="595"/>
                </a:lnTo>
                <a:lnTo>
                  <a:pt x="1054" y="595"/>
                </a:lnTo>
                <a:lnTo>
                  <a:pt x="1052" y="595"/>
                </a:lnTo>
                <a:lnTo>
                  <a:pt x="1052" y="597"/>
                </a:lnTo>
                <a:lnTo>
                  <a:pt x="1050" y="597"/>
                </a:lnTo>
                <a:lnTo>
                  <a:pt x="1049" y="597"/>
                </a:lnTo>
                <a:lnTo>
                  <a:pt x="1049" y="595"/>
                </a:lnTo>
                <a:lnTo>
                  <a:pt x="1047" y="595"/>
                </a:lnTo>
                <a:lnTo>
                  <a:pt x="1047" y="593"/>
                </a:lnTo>
                <a:lnTo>
                  <a:pt x="1047" y="591"/>
                </a:lnTo>
                <a:lnTo>
                  <a:pt x="1047" y="589"/>
                </a:lnTo>
                <a:lnTo>
                  <a:pt x="1047" y="591"/>
                </a:lnTo>
                <a:lnTo>
                  <a:pt x="1049" y="589"/>
                </a:lnTo>
                <a:lnTo>
                  <a:pt x="1050" y="589"/>
                </a:lnTo>
                <a:lnTo>
                  <a:pt x="1050" y="587"/>
                </a:lnTo>
                <a:lnTo>
                  <a:pt x="1052" y="587"/>
                </a:lnTo>
                <a:lnTo>
                  <a:pt x="1052" y="586"/>
                </a:lnTo>
                <a:lnTo>
                  <a:pt x="1054" y="586"/>
                </a:lnTo>
                <a:lnTo>
                  <a:pt x="1054" y="584"/>
                </a:lnTo>
                <a:lnTo>
                  <a:pt x="1056" y="584"/>
                </a:lnTo>
                <a:lnTo>
                  <a:pt x="1056" y="582"/>
                </a:lnTo>
                <a:lnTo>
                  <a:pt x="1056" y="580"/>
                </a:lnTo>
                <a:lnTo>
                  <a:pt x="1058" y="578"/>
                </a:lnTo>
                <a:lnTo>
                  <a:pt x="1056" y="578"/>
                </a:lnTo>
                <a:lnTo>
                  <a:pt x="1056" y="576"/>
                </a:lnTo>
                <a:lnTo>
                  <a:pt x="1058" y="576"/>
                </a:lnTo>
                <a:lnTo>
                  <a:pt x="1058" y="574"/>
                </a:lnTo>
                <a:lnTo>
                  <a:pt x="1058" y="572"/>
                </a:lnTo>
                <a:lnTo>
                  <a:pt x="1058" y="570"/>
                </a:lnTo>
                <a:lnTo>
                  <a:pt x="1058" y="568"/>
                </a:lnTo>
                <a:lnTo>
                  <a:pt x="1056" y="568"/>
                </a:lnTo>
                <a:lnTo>
                  <a:pt x="1056" y="566"/>
                </a:lnTo>
                <a:lnTo>
                  <a:pt x="1056" y="564"/>
                </a:lnTo>
                <a:lnTo>
                  <a:pt x="1058" y="564"/>
                </a:lnTo>
                <a:lnTo>
                  <a:pt x="1058" y="566"/>
                </a:lnTo>
                <a:lnTo>
                  <a:pt x="1058" y="564"/>
                </a:lnTo>
                <a:lnTo>
                  <a:pt x="1060" y="564"/>
                </a:lnTo>
                <a:lnTo>
                  <a:pt x="1062" y="563"/>
                </a:lnTo>
                <a:lnTo>
                  <a:pt x="1064" y="561"/>
                </a:lnTo>
                <a:lnTo>
                  <a:pt x="1066" y="557"/>
                </a:lnTo>
                <a:lnTo>
                  <a:pt x="1066" y="553"/>
                </a:lnTo>
                <a:lnTo>
                  <a:pt x="1066" y="551"/>
                </a:lnTo>
                <a:lnTo>
                  <a:pt x="1068" y="549"/>
                </a:lnTo>
                <a:lnTo>
                  <a:pt x="1068" y="547"/>
                </a:lnTo>
                <a:lnTo>
                  <a:pt x="1068" y="545"/>
                </a:lnTo>
                <a:lnTo>
                  <a:pt x="1068" y="543"/>
                </a:lnTo>
                <a:lnTo>
                  <a:pt x="1068" y="541"/>
                </a:lnTo>
                <a:lnTo>
                  <a:pt x="1068" y="539"/>
                </a:lnTo>
                <a:lnTo>
                  <a:pt x="1068" y="538"/>
                </a:lnTo>
                <a:lnTo>
                  <a:pt x="1068" y="536"/>
                </a:lnTo>
                <a:lnTo>
                  <a:pt x="1066" y="536"/>
                </a:lnTo>
                <a:lnTo>
                  <a:pt x="1066" y="534"/>
                </a:lnTo>
                <a:lnTo>
                  <a:pt x="1066" y="532"/>
                </a:lnTo>
                <a:lnTo>
                  <a:pt x="1066" y="530"/>
                </a:lnTo>
                <a:lnTo>
                  <a:pt x="1064" y="530"/>
                </a:lnTo>
                <a:lnTo>
                  <a:pt x="1062" y="530"/>
                </a:lnTo>
                <a:lnTo>
                  <a:pt x="1062" y="528"/>
                </a:lnTo>
                <a:lnTo>
                  <a:pt x="1062" y="526"/>
                </a:lnTo>
                <a:lnTo>
                  <a:pt x="1060" y="526"/>
                </a:lnTo>
                <a:lnTo>
                  <a:pt x="1058" y="526"/>
                </a:lnTo>
                <a:lnTo>
                  <a:pt x="1056" y="526"/>
                </a:lnTo>
                <a:lnTo>
                  <a:pt x="1056" y="524"/>
                </a:lnTo>
                <a:lnTo>
                  <a:pt x="1054" y="524"/>
                </a:lnTo>
                <a:lnTo>
                  <a:pt x="1054" y="522"/>
                </a:lnTo>
                <a:lnTo>
                  <a:pt x="1052" y="522"/>
                </a:lnTo>
                <a:lnTo>
                  <a:pt x="1052" y="520"/>
                </a:lnTo>
                <a:lnTo>
                  <a:pt x="1052" y="518"/>
                </a:lnTo>
                <a:lnTo>
                  <a:pt x="1052" y="516"/>
                </a:lnTo>
                <a:lnTo>
                  <a:pt x="1054" y="516"/>
                </a:lnTo>
                <a:lnTo>
                  <a:pt x="1052" y="516"/>
                </a:lnTo>
                <a:lnTo>
                  <a:pt x="1052" y="515"/>
                </a:lnTo>
                <a:lnTo>
                  <a:pt x="1054" y="515"/>
                </a:lnTo>
                <a:lnTo>
                  <a:pt x="1052" y="515"/>
                </a:lnTo>
                <a:lnTo>
                  <a:pt x="1054" y="515"/>
                </a:lnTo>
                <a:lnTo>
                  <a:pt x="1054" y="513"/>
                </a:lnTo>
                <a:lnTo>
                  <a:pt x="1054" y="511"/>
                </a:lnTo>
                <a:lnTo>
                  <a:pt x="1054" y="509"/>
                </a:lnTo>
                <a:lnTo>
                  <a:pt x="1056" y="509"/>
                </a:lnTo>
                <a:lnTo>
                  <a:pt x="1056" y="507"/>
                </a:lnTo>
                <a:lnTo>
                  <a:pt x="1058" y="507"/>
                </a:lnTo>
                <a:lnTo>
                  <a:pt x="1058" y="505"/>
                </a:lnTo>
                <a:lnTo>
                  <a:pt x="1060" y="505"/>
                </a:lnTo>
                <a:lnTo>
                  <a:pt x="1062" y="505"/>
                </a:lnTo>
                <a:lnTo>
                  <a:pt x="1062" y="503"/>
                </a:lnTo>
                <a:lnTo>
                  <a:pt x="1064" y="503"/>
                </a:lnTo>
                <a:lnTo>
                  <a:pt x="1066" y="503"/>
                </a:lnTo>
                <a:lnTo>
                  <a:pt x="1068" y="503"/>
                </a:lnTo>
                <a:lnTo>
                  <a:pt x="1068" y="501"/>
                </a:lnTo>
                <a:lnTo>
                  <a:pt x="1070" y="501"/>
                </a:lnTo>
                <a:lnTo>
                  <a:pt x="1070" y="503"/>
                </a:lnTo>
                <a:lnTo>
                  <a:pt x="1070" y="501"/>
                </a:lnTo>
                <a:lnTo>
                  <a:pt x="1070" y="503"/>
                </a:lnTo>
                <a:lnTo>
                  <a:pt x="1072" y="503"/>
                </a:lnTo>
                <a:lnTo>
                  <a:pt x="1074" y="503"/>
                </a:lnTo>
                <a:lnTo>
                  <a:pt x="1074" y="501"/>
                </a:lnTo>
                <a:lnTo>
                  <a:pt x="1074" y="503"/>
                </a:lnTo>
                <a:lnTo>
                  <a:pt x="1075" y="503"/>
                </a:lnTo>
                <a:lnTo>
                  <a:pt x="1077" y="503"/>
                </a:lnTo>
                <a:lnTo>
                  <a:pt x="1077" y="501"/>
                </a:lnTo>
                <a:lnTo>
                  <a:pt x="1079" y="501"/>
                </a:lnTo>
                <a:lnTo>
                  <a:pt x="1081" y="501"/>
                </a:lnTo>
                <a:lnTo>
                  <a:pt x="1083" y="501"/>
                </a:lnTo>
                <a:lnTo>
                  <a:pt x="1085" y="501"/>
                </a:lnTo>
                <a:lnTo>
                  <a:pt x="1085" y="499"/>
                </a:lnTo>
                <a:lnTo>
                  <a:pt x="1087" y="499"/>
                </a:lnTo>
                <a:lnTo>
                  <a:pt x="1087" y="501"/>
                </a:lnTo>
                <a:lnTo>
                  <a:pt x="1087" y="503"/>
                </a:lnTo>
                <a:close/>
                <a:moveTo>
                  <a:pt x="1083" y="501"/>
                </a:moveTo>
                <a:lnTo>
                  <a:pt x="1085" y="501"/>
                </a:lnTo>
                <a:lnTo>
                  <a:pt x="1083" y="501"/>
                </a:lnTo>
                <a:close/>
                <a:moveTo>
                  <a:pt x="1074" y="545"/>
                </a:moveTo>
                <a:lnTo>
                  <a:pt x="1072" y="545"/>
                </a:lnTo>
                <a:lnTo>
                  <a:pt x="1070" y="545"/>
                </a:lnTo>
                <a:lnTo>
                  <a:pt x="1070" y="547"/>
                </a:lnTo>
                <a:lnTo>
                  <a:pt x="1068" y="547"/>
                </a:lnTo>
                <a:lnTo>
                  <a:pt x="1068" y="545"/>
                </a:lnTo>
                <a:lnTo>
                  <a:pt x="1070" y="545"/>
                </a:lnTo>
                <a:lnTo>
                  <a:pt x="1068" y="545"/>
                </a:lnTo>
                <a:lnTo>
                  <a:pt x="1068" y="543"/>
                </a:lnTo>
                <a:lnTo>
                  <a:pt x="1068" y="541"/>
                </a:lnTo>
                <a:lnTo>
                  <a:pt x="1070" y="541"/>
                </a:lnTo>
                <a:lnTo>
                  <a:pt x="1070" y="539"/>
                </a:lnTo>
                <a:lnTo>
                  <a:pt x="1072" y="539"/>
                </a:lnTo>
                <a:lnTo>
                  <a:pt x="1070" y="539"/>
                </a:lnTo>
                <a:lnTo>
                  <a:pt x="1070" y="538"/>
                </a:lnTo>
                <a:lnTo>
                  <a:pt x="1068" y="538"/>
                </a:lnTo>
                <a:lnTo>
                  <a:pt x="1068" y="536"/>
                </a:lnTo>
                <a:lnTo>
                  <a:pt x="1068" y="534"/>
                </a:lnTo>
                <a:lnTo>
                  <a:pt x="1066" y="534"/>
                </a:lnTo>
                <a:lnTo>
                  <a:pt x="1066" y="532"/>
                </a:lnTo>
                <a:lnTo>
                  <a:pt x="1066" y="534"/>
                </a:lnTo>
                <a:lnTo>
                  <a:pt x="1068" y="534"/>
                </a:lnTo>
                <a:lnTo>
                  <a:pt x="1066" y="534"/>
                </a:lnTo>
                <a:lnTo>
                  <a:pt x="1068" y="534"/>
                </a:lnTo>
                <a:lnTo>
                  <a:pt x="1068" y="536"/>
                </a:lnTo>
                <a:lnTo>
                  <a:pt x="1068" y="538"/>
                </a:lnTo>
                <a:lnTo>
                  <a:pt x="1068" y="539"/>
                </a:lnTo>
                <a:lnTo>
                  <a:pt x="1068" y="541"/>
                </a:lnTo>
                <a:lnTo>
                  <a:pt x="1068" y="543"/>
                </a:lnTo>
                <a:lnTo>
                  <a:pt x="1068" y="545"/>
                </a:lnTo>
                <a:lnTo>
                  <a:pt x="1068" y="547"/>
                </a:lnTo>
                <a:lnTo>
                  <a:pt x="1068" y="549"/>
                </a:lnTo>
                <a:lnTo>
                  <a:pt x="1068" y="551"/>
                </a:lnTo>
                <a:lnTo>
                  <a:pt x="1068" y="553"/>
                </a:lnTo>
                <a:lnTo>
                  <a:pt x="1066" y="553"/>
                </a:lnTo>
                <a:lnTo>
                  <a:pt x="1066" y="555"/>
                </a:lnTo>
                <a:lnTo>
                  <a:pt x="1066" y="557"/>
                </a:lnTo>
                <a:lnTo>
                  <a:pt x="1066" y="559"/>
                </a:lnTo>
                <a:lnTo>
                  <a:pt x="1064" y="559"/>
                </a:lnTo>
                <a:lnTo>
                  <a:pt x="1064" y="561"/>
                </a:lnTo>
                <a:lnTo>
                  <a:pt x="1064" y="563"/>
                </a:lnTo>
                <a:lnTo>
                  <a:pt x="1062" y="563"/>
                </a:lnTo>
                <a:lnTo>
                  <a:pt x="1062" y="564"/>
                </a:lnTo>
                <a:lnTo>
                  <a:pt x="1060" y="564"/>
                </a:lnTo>
                <a:lnTo>
                  <a:pt x="1058" y="566"/>
                </a:lnTo>
                <a:lnTo>
                  <a:pt x="1056" y="566"/>
                </a:lnTo>
                <a:lnTo>
                  <a:pt x="1058" y="566"/>
                </a:lnTo>
                <a:lnTo>
                  <a:pt x="1058" y="568"/>
                </a:lnTo>
                <a:lnTo>
                  <a:pt x="1060" y="568"/>
                </a:lnTo>
                <a:lnTo>
                  <a:pt x="1058" y="566"/>
                </a:lnTo>
                <a:lnTo>
                  <a:pt x="1060" y="566"/>
                </a:lnTo>
                <a:lnTo>
                  <a:pt x="1060" y="568"/>
                </a:lnTo>
                <a:lnTo>
                  <a:pt x="1060" y="566"/>
                </a:lnTo>
                <a:lnTo>
                  <a:pt x="1062" y="566"/>
                </a:lnTo>
                <a:lnTo>
                  <a:pt x="1064" y="566"/>
                </a:lnTo>
                <a:lnTo>
                  <a:pt x="1064" y="564"/>
                </a:lnTo>
                <a:lnTo>
                  <a:pt x="1064" y="563"/>
                </a:lnTo>
                <a:lnTo>
                  <a:pt x="1066" y="563"/>
                </a:lnTo>
                <a:lnTo>
                  <a:pt x="1064" y="563"/>
                </a:lnTo>
                <a:lnTo>
                  <a:pt x="1064" y="561"/>
                </a:lnTo>
                <a:lnTo>
                  <a:pt x="1066" y="561"/>
                </a:lnTo>
                <a:lnTo>
                  <a:pt x="1066" y="559"/>
                </a:lnTo>
                <a:lnTo>
                  <a:pt x="1066" y="557"/>
                </a:lnTo>
                <a:lnTo>
                  <a:pt x="1068" y="557"/>
                </a:lnTo>
                <a:lnTo>
                  <a:pt x="1068" y="555"/>
                </a:lnTo>
                <a:lnTo>
                  <a:pt x="1068" y="553"/>
                </a:lnTo>
                <a:lnTo>
                  <a:pt x="1068" y="551"/>
                </a:lnTo>
                <a:lnTo>
                  <a:pt x="1070" y="551"/>
                </a:lnTo>
                <a:lnTo>
                  <a:pt x="1070" y="549"/>
                </a:lnTo>
                <a:lnTo>
                  <a:pt x="1068" y="549"/>
                </a:lnTo>
                <a:lnTo>
                  <a:pt x="1068" y="547"/>
                </a:lnTo>
                <a:lnTo>
                  <a:pt x="1070" y="547"/>
                </a:lnTo>
                <a:lnTo>
                  <a:pt x="1070" y="545"/>
                </a:lnTo>
                <a:lnTo>
                  <a:pt x="1072" y="545"/>
                </a:lnTo>
                <a:lnTo>
                  <a:pt x="1072" y="547"/>
                </a:lnTo>
                <a:lnTo>
                  <a:pt x="1072" y="545"/>
                </a:lnTo>
                <a:lnTo>
                  <a:pt x="1074" y="547"/>
                </a:lnTo>
                <a:lnTo>
                  <a:pt x="1074" y="545"/>
                </a:lnTo>
                <a:lnTo>
                  <a:pt x="1075" y="545"/>
                </a:lnTo>
                <a:lnTo>
                  <a:pt x="1074" y="545"/>
                </a:lnTo>
                <a:lnTo>
                  <a:pt x="1074" y="547"/>
                </a:lnTo>
                <a:lnTo>
                  <a:pt x="1075" y="547"/>
                </a:lnTo>
                <a:lnTo>
                  <a:pt x="1075" y="545"/>
                </a:lnTo>
                <a:lnTo>
                  <a:pt x="1074" y="545"/>
                </a:lnTo>
                <a:close/>
                <a:moveTo>
                  <a:pt x="1077" y="618"/>
                </a:moveTo>
                <a:lnTo>
                  <a:pt x="1077" y="616"/>
                </a:lnTo>
                <a:lnTo>
                  <a:pt x="1075" y="618"/>
                </a:lnTo>
                <a:lnTo>
                  <a:pt x="1075" y="616"/>
                </a:lnTo>
                <a:lnTo>
                  <a:pt x="1074" y="616"/>
                </a:lnTo>
                <a:lnTo>
                  <a:pt x="1074" y="614"/>
                </a:lnTo>
                <a:lnTo>
                  <a:pt x="1072" y="614"/>
                </a:lnTo>
                <a:lnTo>
                  <a:pt x="1072" y="612"/>
                </a:lnTo>
                <a:lnTo>
                  <a:pt x="1072" y="614"/>
                </a:lnTo>
                <a:lnTo>
                  <a:pt x="1072" y="616"/>
                </a:lnTo>
                <a:lnTo>
                  <a:pt x="1074" y="616"/>
                </a:lnTo>
                <a:lnTo>
                  <a:pt x="1074" y="618"/>
                </a:lnTo>
                <a:lnTo>
                  <a:pt x="1075" y="618"/>
                </a:lnTo>
                <a:lnTo>
                  <a:pt x="1077" y="618"/>
                </a:lnTo>
                <a:lnTo>
                  <a:pt x="1079" y="618"/>
                </a:lnTo>
                <a:lnTo>
                  <a:pt x="1077" y="618"/>
                </a:lnTo>
                <a:close/>
                <a:moveTo>
                  <a:pt x="1074" y="610"/>
                </a:moveTo>
                <a:lnTo>
                  <a:pt x="1074" y="609"/>
                </a:lnTo>
                <a:lnTo>
                  <a:pt x="1072" y="609"/>
                </a:lnTo>
                <a:lnTo>
                  <a:pt x="1074" y="609"/>
                </a:lnTo>
                <a:lnTo>
                  <a:pt x="1074" y="607"/>
                </a:lnTo>
                <a:lnTo>
                  <a:pt x="1072" y="607"/>
                </a:lnTo>
                <a:lnTo>
                  <a:pt x="1072" y="609"/>
                </a:lnTo>
                <a:lnTo>
                  <a:pt x="1072" y="610"/>
                </a:lnTo>
                <a:lnTo>
                  <a:pt x="1074" y="610"/>
                </a:lnTo>
                <a:close/>
                <a:moveTo>
                  <a:pt x="1070" y="605"/>
                </a:moveTo>
                <a:lnTo>
                  <a:pt x="1072" y="605"/>
                </a:lnTo>
                <a:lnTo>
                  <a:pt x="1070" y="605"/>
                </a:lnTo>
                <a:lnTo>
                  <a:pt x="1072" y="605"/>
                </a:lnTo>
                <a:lnTo>
                  <a:pt x="1072" y="607"/>
                </a:lnTo>
                <a:lnTo>
                  <a:pt x="1072" y="605"/>
                </a:lnTo>
                <a:lnTo>
                  <a:pt x="1072" y="603"/>
                </a:lnTo>
                <a:lnTo>
                  <a:pt x="1070" y="603"/>
                </a:lnTo>
                <a:lnTo>
                  <a:pt x="1070" y="601"/>
                </a:lnTo>
                <a:lnTo>
                  <a:pt x="1068" y="601"/>
                </a:lnTo>
                <a:lnTo>
                  <a:pt x="1068" y="599"/>
                </a:lnTo>
                <a:lnTo>
                  <a:pt x="1070" y="599"/>
                </a:lnTo>
                <a:lnTo>
                  <a:pt x="1068" y="599"/>
                </a:lnTo>
                <a:lnTo>
                  <a:pt x="1066" y="599"/>
                </a:lnTo>
                <a:lnTo>
                  <a:pt x="1068" y="599"/>
                </a:lnTo>
                <a:lnTo>
                  <a:pt x="1068" y="601"/>
                </a:lnTo>
                <a:lnTo>
                  <a:pt x="1068" y="599"/>
                </a:lnTo>
                <a:lnTo>
                  <a:pt x="1068" y="601"/>
                </a:lnTo>
                <a:lnTo>
                  <a:pt x="1070" y="601"/>
                </a:lnTo>
                <a:lnTo>
                  <a:pt x="1070" y="603"/>
                </a:lnTo>
                <a:lnTo>
                  <a:pt x="1070" y="605"/>
                </a:lnTo>
                <a:close/>
                <a:moveTo>
                  <a:pt x="1246" y="864"/>
                </a:moveTo>
                <a:lnTo>
                  <a:pt x="1248" y="864"/>
                </a:lnTo>
                <a:lnTo>
                  <a:pt x="1246" y="864"/>
                </a:lnTo>
                <a:close/>
                <a:moveTo>
                  <a:pt x="1248" y="862"/>
                </a:moveTo>
                <a:lnTo>
                  <a:pt x="1248" y="864"/>
                </a:lnTo>
                <a:lnTo>
                  <a:pt x="1246" y="864"/>
                </a:lnTo>
                <a:lnTo>
                  <a:pt x="1246" y="862"/>
                </a:lnTo>
                <a:lnTo>
                  <a:pt x="1248" y="862"/>
                </a:lnTo>
                <a:close/>
                <a:moveTo>
                  <a:pt x="1246" y="862"/>
                </a:moveTo>
                <a:lnTo>
                  <a:pt x="1248" y="862"/>
                </a:lnTo>
                <a:lnTo>
                  <a:pt x="1246" y="862"/>
                </a:lnTo>
                <a:lnTo>
                  <a:pt x="1246" y="864"/>
                </a:lnTo>
                <a:lnTo>
                  <a:pt x="1246" y="862"/>
                </a:lnTo>
                <a:lnTo>
                  <a:pt x="1246" y="864"/>
                </a:lnTo>
                <a:lnTo>
                  <a:pt x="1246" y="862"/>
                </a:lnTo>
                <a:lnTo>
                  <a:pt x="1246" y="860"/>
                </a:lnTo>
                <a:lnTo>
                  <a:pt x="1246" y="862"/>
                </a:lnTo>
                <a:close/>
                <a:moveTo>
                  <a:pt x="1248" y="862"/>
                </a:moveTo>
                <a:lnTo>
                  <a:pt x="1246" y="862"/>
                </a:lnTo>
                <a:lnTo>
                  <a:pt x="1248" y="862"/>
                </a:lnTo>
                <a:close/>
                <a:moveTo>
                  <a:pt x="1246" y="860"/>
                </a:moveTo>
                <a:lnTo>
                  <a:pt x="1246" y="862"/>
                </a:lnTo>
                <a:lnTo>
                  <a:pt x="1246" y="860"/>
                </a:lnTo>
                <a:close/>
                <a:moveTo>
                  <a:pt x="1248" y="860"/>
                </a:moveTo>
                <a:lnTo>
                  <a:pt x="1248" y="862"/>
                </a:lnTo>
                <a:lnTo>
                  <a:pt x="1248" y="860"/>
                </a:lnTo>
                <a:lnTo>
                  <a:pt x="1248" y="862"/>
                </a:lnTo>
                <a:lnTo>
                  <a:pt x="1248" y="860"/>
                </a:lnTo>
                <a:close/>
                <a:moveTo>
                  <a:pt x="1248" y="862"/>
                </a:moveTo>
                <a:lnTo>
                  <a:pt x="1248" y="860"/>
                </a:lnTo>
                <a:lnTo>
                  <a:pt x="1248" y="862"/>
                </a:lnTo>
                <a:close/>
                <a:moveTo>
                  <a:pt x="1258" y="833"/>
                </a:moveTo>
                <a:lnTo>
                  <a:pt x="1258" y="835"/>
                </a:lnTo>
                <a:lnTo>
                  <a:pt x="1256" y="835"/>
                </a:lnTo>
                <a:lnTo>
                  <a:pt x="1256" y="833"/>
                </a:lnTo>
                <a:lnTo>
                  <a:pt x="1258" y="833"/>
                </a:lnTo>
                <a:close/>
                <a:moveTo>
                  <a:pt x="1277" y="822"/>
                </a:moveTo>
                <a:lnTo>
                  <a:pt x="1277" y="824"/>
                </a:lnTo>
                <a:lnTo>
                  <a:pt x="1277" y="822"/>
                </a:lnTo>
                <a:lnTo>
                  <a:pt x="1277" y="820"/>
                </a:lnTo>
                <a:lnTo>
                  <a:pt x="1277" y="822"/>
                </a:lnTo>
                <a:close/>
                <a:moveTo>
                  <a:pt x="1277" y="822"/>
                </a:moveTo>
                <a:lnTo>
                  <a:pt x="1277" y="820"/>
                </a:lnTo>
                <a:lnTo>
                  <a:pt x="1277" y="822"/>
                </a:lnTo>
                <a:close/>
                <a:moveTo>
                  <a:pt x="1279" y="822"/>
                </a:moveTo>
                <a:lnTo>
                  <a:pt x="1277" y="822"/>
                </a:lnTo>
                <a:lnTo>
                  <a:pt x="1277" y="820"/>
                </a:lnTo>
                <a:lnTo>
                  <a:pt x="1277" y="822"/>
                </a:lnTo>
                <a:lnTo>
                  <a:pt x="1279" y="822"/>
                </a:lnTo>
                <a:lnTo>
                  <a:pt x="1279" y="820"/>
                </a:lnTo>
                <a:lnTo>
                  <a:pt x="1279" y="822"/>
                </a:lnTo>
                <a:close/>
                <a:moveTo>
                  <a:pt x="1210" y="664"/>
                </a:moveTo>
                <a:lnTo>
                  <a:pt x="1208" y="664"/>
                </a:lnTo>
                <a:lnTo>
                  <a:pt x="1210" y="664"/>
                </a:lnTo>
                <a:close/>
                <a:moveTo>
                  <a:pt x="1258" y="766"/>
                </a:moveTo>
                <a:lnTo>
                  <a:pt x="1258" y="764"/>
                </a:lnTo>
                <a:lnTo>
                  <a:pt x="1258" y="766"/>
                </a:lnTo>
                <a:close/>
                <a:moveTo>
                  <a:pt x="1239" y="720"/>
                </a:moveTo>
                <a:lnTo>
                  <a:pt x="1237" y="720"/>
                </a:lnTo>
                <a:lnTo>
                  <a:pt x="1237" y="718"/>
                </a:lnTo>
                <a:lnTo>
                  <a:pt x="1235" y="718"/>
                </a:lnTo>
                <a:lnTo>
                  <a:pt x="1235" y="716"/>
                </a:lnTo>
                <a:lnTo>
                  <a:pt x="1233" y="716"/>
                </a:lnTo>
                <a:lnTo>
                  <a:pt x="1233" y="714"/>
                </a:lnTo>
                <a:lnTo>
                  <a:pt x="1231" y="714"/>
                </a:lnTo>
                <a:lnTo>
                  <a:pt x="1229" y="714"/>
                </a:lnTo>
                <a:lnTo>
                  <a:pt x="1229" y="712"/>
                </a:lnTo>
                <a:lnTo>
                  <a:pt x="1231" y="714"/>
                </a:lnTo>
                <a:lnTo>
                  <a:pt x="1233" y="714"/>
                </a:lnTo>
                <a:lnTo>
                  <a:pt x="1233" y="716"/>
                </a:lnTo>
                <a:lnTo>
                  <a:pt x="1235" y="716"/>
                </a:lnTo>
                <a:lnTo>
                  <a:pt x="1235" y="718"/>
                </a:lnTo>
                <a:lnTo>
                  <a:pt x="1237" y="718"/>
                </a:lnTo>
                <a:lnTo>
                  <a:pt x="1239" y="718"/>
                </a:lnTo>
                <a:lnTo>
                  <a:pt x="1239" y="720"/>
                </a:lnTo>
                <a:close/>
                <a:moveTo>
                  <a:pt x="1258" y="753"/>
                </a:moveTo>
                <a:lnTo>
                  <a:pt x="1258" y="751"/>
                </a:lnTo>
                <a:lnTo>
                  <a:pt x="1258" y="753"/>
                </a:lnTo>
                <a:close/>
                <a:moveTo>
                  <a:pt x="1258" y="753"/>
                </a:moveTo>
                <a:lnTo>
                  <a:pt x="1260" y="753"/>
                </a:lnTo>
                <a:lnTo>
                  <a:pt x="1258" y="753"/>
                </a:lnTo>
                <a:close/>
                <a:moveTo>
                  <a:pt x="1260" y="753"/>
                </a:moveTo>
                <a:lnTo>
                  <a:pt x="1260" y="754"/>
                </a:lnTo>
                <a:lnTo>
                  <a:pt x="1260" y="753"/>
                </a:lnTo>
                <a:close/>
                <a:moveTo>
                  <a:pt x="1260" y="754"/>
                </a:moveTo>
                <a:lnTo>
                  <a:pt x="1260" y="753"/>
                </a:lnTo>
                <a:lnTo>
                  <a:pt x="1260" y="754"/>
                </a:lnTo>
                <a:close/>
                <a:moveTo>
                  <a:pt x="1262" y="754"/>
                </a:moveTo>
                <a:lnTo>
                  <a:pt x="1262" y="753"/>
                </a:lnTo>
                <a:lnTo>
                  <a:pt x="1262" y="754"/>
                </a:lnTo>
                <a:close/>
                <a:moveTo>
                  <a:pt x="1260" y="749"/>
                </a:moveTo>
                <a:lnTo>
                  <a:pt x="1262" y="749"/>
                </a:lnTo>
                <a:lnTo>
                  <a:pt x="1260" y="749"/>
                </a:lnTo>
                <a:close/>
                <a:moveTo>
                  <a:pt x="1264" y="751"/>
                </a:moveTo>
                <a:lnTo>
                  <a:pt x="1262" y="751"/>
                </a:lnTo>
                <a:lnTo>
                  <a:pt x="1264" y="753"/>
                </a:lnTo>
                <a:lnTo>
                  <a:pt x="1264" y="754"/>
                </a:lnTo>
                <a:lnTo>
                  <a:pt x="1262" y="754"/>
                </a:lnTo>
                <a:lnTo>
                  <a:pt x="1264" y="754"/>
                </a:lnTo>
                <a:lnTo>
                  <a:pt x="1262" y="754"/>
                </a:lnTo>
                <a:lnTo>
                  <a:pt x="1262" y="753"/>
                </a:lnTo>
                <a:lnTo>
                  <a:pt x="1260" y="754"/>
                </a:lnTo>
                <a:lnTo>
                  <a:pt x="1260" y="753"/>
                </a:lnTo>
                <a:lnTo>
                  <a:pt x="1258" y="751"/>
                </a:lnTo>
                <a:lnTo>
                  <a:pt x="1260" y="751"/>
                </a:lnTo>
                <a:lnTo>
                  <a:pt x="1260" y="749"/>
                </a:lnTo>
                <a:lnTo>
                  <a:pt x="1260" y="751"/>
                </a:lnTo>
                <a:lnTo>
                  <a:pt x="1262" y="751"/>
                </a:lnTo>
                <a:lnTo>
                  <a:pt x="1262" y="749"/>
                </a:lnTo>
                <a:lnTo>
                  <a:pt x="1264" y="749"/>
                </a:lnTo>
                <a:lnTo>
                  <a:pt x="1264" y="751"/>
                </a:lnTo>
                <a:close/>
                <a:moveTo>
                  <a:pt x="1317" y="812"/>
                </a:moveTo>
                <a:lnTo>
                  <a:pt x="1319" y="812"/>
                </a:lnTo>
                <a:lnTo>
                  <a:pt x="1319" y="814"/>
                </a:lnTo>
                <a:lnTo>
                  <a:pt x="1317" y="814"/>
                </a:lnTo>
                <a:lnTo>
                  <a:pt x="1317" y="812"/>
                </a:lnTo>
                <a:close/>
                <a:moveTo>
                  <a:pt x="1223" y="589"/>
                </a:moveTo>
                <a:lnTo>
                  <a:pt x="1223" y="591"/>
                </a:lnTo>
                <a:lnTo>
                  <a:pt x="1221" y="591"/>
                </a:lnTo>
                <a:lnTo>
                  <a:pt x="1221" y="589"/>
                </a:lnTo>
                <a:lnTo>
                  <a:pt x="1219" y="589"/>
                </a:lnTo>
                <a:lnTo>
                  <a:pt x="1221" y="587"/>
                </a:lnTo>
                <a:lnTo>
                  <a:pt x="1223" y="589"/>
                </a:lnTo>
                <a:close/>
                <a:moveTo>
                  <a:pt x="1262" y="549"/>
                </a:moveTo>
                <a:lnTo>
                  <a:pt x="1264" y="549"/>
                </a:lnTo>
                <a:lnTo>
                  <a:pt x="1262" y="549"/>
                </a:lnTo>
                <a:close/>
                <a:moveTo>
                  <a:pt x="1269" y="541"/>
                </a:moveTo>
                <a:lnTo>
                  <a:pt x="1269" y="539"/>
                </a:lnTo>
                <a:lnTo>
                  <a:pt x="1269" y="538"/>
                </a:lnTo>
                <a:lnTo>
                  <a:pt x="1271" y="538"/>
                </a:lnTo>
                <a:lnTo>
                  <a:pt x="1271" y="539"/>
                </a:lnTo>
                <a:lnTo>
                  <a:pt x="1269" y="539"/>
                </a:lnTo>
                <a:lnTo>
                  <a:pt x="1269" y="541"/>
                </a:lnTo>
                <a:close/>
                <a:moveTo>
                  <a:pt x="1287" y="576"/>
                </a:moveTo>
                <a:lnTo>
                  <a:pt x="1285" y="576"/>
                </a:lnTo>
                <a:lnTo>
                  <a:pt x="1285" y="574"/>
                </a:lnTo>
                <a:lnTo>
                  <a:pt x="1283" y="574"/>
                </a:lnTo>
                <a:lnTo>
                  <a:pt x="1285" y="574"/>
                </a:lnTo>
                <a:lnTo>
                  <a:pt x="1287" y="576"/>
                </a:lnTo>
                <a:close/>
                <a:moveTo>
                  <a:pt x="1292" y="580"/>
                </a:moveTo>
                <a:lnTo>
                  <a:pt x="1291" y="580"/>
                </a:lnTo>
                <a:lnTo>
                  <a:pt x="1289" y="578"/>
                </a:lnTo>
                <a:lnTo>
                  <a:pt x="1287" y="578"/>
                </a:lnTo>
                <a:lnTo>
                  <a:pt x="1287" y="580"/>
                </a:lnTo>
                <a:lnTo>
                  <a:pt x="1289" y="580"/>
                </a:lnTo>
                <a:lnTo>
                  <a:pt x="1287" y="580"/>
                </a:lnTo>
                <a:lnTo>
                  <a:pt x="1287" y="578"/>
                </a:lnTo>
                <a:lnTo>
                  <a:pt x="1285" y="578"/>
                </a:lnTo>
                <a:lnTo>
                  <a:pt x="1283" y="578"/>
                </a:lnTo>
                <a:lnTo>
                  <a:pt x="1285" y="576"/>
                </a:lnTo>
                <a:lnTo>
                  <a:pt x="1285" y="578"/>
                </a:lnTo>
                <a:lnTo>
                  <a:pt x="1287" y="578"/>
                </a:lnTo>
                <a:lnTo>
                  <a:pt x="1287" y="576"/>
                </a:lnTo>
                <a:lnTo>
                  <a:pt x="1289" y="576"/>
                </a:lnTo>
                <a:lnTo>
                  <a:pt x="1291" y="580"/>
                </a:lnTo>
                <a:lnTo>
                  <a:pt x="1292" y="580"/>
                </a:lnTo>
                <a:close/>
                <a:moveTo>
                  <a:pt x="1317" y="595"/>
                </a:moveTo>
                <a:lnTo>
                  <a:pt x="1315" y="595"/>
                </a:lnTo>
                <a:lnTo>
                  <a:pt x="1315" y="593"/>
                </a:lnTo>
                <a:lnTo>
                  <a:pt x="1314" y="593"/>
                </a:lnTo>
                <a:lnTo>
                  <a:pt x="1312" y="593"/>
                </a:lnTo>
                <a:lnTo>
                  <a:pt x="1312" y="591"/>
                </a:lnTo>
                <a:lnTo>
                  <a:pt x="1310" y="591"/>
                </a:lnTo>
                <a:lnTo>
                  <a:pt x="1308" y="591"/>
                </a:lnTo>
                <a:lnTo>
                  <a:pt x="1308" y="589"/>
                </a:lnTo>
                <a:lnTo>
                  <a:pt x="1306" y="589"/>
                </a:lnTo>
                <a:lnTo>
                  <a:pt x="1304" y="587"/>
                </a:lnTo>
                <a:lnTo>
                  <a:pt x="1302" y="587"/>
                </a:lnTo>
                <a:lnTo>
                  <a:pt x="1304" y="587"/>
                </a:lnTo>
                <a:lnTo>
                  <a:pt x="1302" y="587"/>
                </a:lnTo>
                <a:lnTo>
                  <a:pt x="1304" y="587"/>
                </a:lnTo>
                <a:lnTo>
                  <a:pt x="1306" y="589"/>
                </a:lnTo>
                <a:lnTo>
                  <a:pt x="1308" y="589"/>
                </a:lnTo>
                <a:lnTo>
                  <a:pt x="1310" y="591"/>
                </a:lnTo>
                <a:lnTo>
                  <a:pt x="1314" y="593"/>
                </a:lnTo>
                <a:lnTo>
                  <a:pt x="1315" y="593"/>
                </a:lnTo>
                <a:lnTo>
                  <a:pt x="1315" y="595"/>
                </a:lnTo>
                <a:lnTo>
                  <a:pt x="1317" y="595"/>
                </a:lnTo>
                <a:lnTo>
                  <a:pt x="1319" y="595"/>
                </a:lnTo>
                <a:lnTo>
                  <a:pt x="1317" y="595"/>
                </a:lnTo>
                <a:close/>
                <a:moveTo>
                  <a:pt x="1387" y="747"/>
                </a:moveTo>
                <a:lnTo>
                  <a:pt x="1388" y="747"/>
                </a:lnTo>
                <a:lnTo>
                  <a:pt x="1388" y="749"/>
                </a:lnTo>
                <a:lnTo>
                  <a:pt x="1387" y="749"/>
                </a:lnTo>
                <a:lnTo>
                  <a:pt x="1387" y="747"/>
                </a:lnTo>
                <a:close/>
                <a:moveTo>
                  <a:pt x="1390" y="749"/>
                </a:moveTo>
                <a:lnTo>
                  <a:pt x="1388" y="749"/>
                </a:lnTo>
                <a:lnTo>
                  <a:pt x="1388" y="747"/>
                </a:lnTo>
                <a:lnTo>
                  <a:pt x="1390" y="747"/>
                </a:lnTo>
                <a:lnTo>
                  <a:pt x="1390" y="749"/>
                </a:lnTo>
                <a:close/>
                <a:moveTo>
                  <a:pt x="1362" y="687"/>
                </a:moveTo>
                <a:lnTo>
                  <a:pt x="1362" y="689"/>
                </a:lnTo>
                <a:lnTo>
                  <a:pt x="1362" y="687"/>
                </a:lnTo>
                <a:close/>
                <a:moveTo>
                  <a:pt x="1319" y="597"/>
                </a:moveTo>
                <a:lnTo>
                  <a:pt x="1319" y="595"/>
                </a:lnTo>
                <a:lnTo>
                  <a:pt x="1319" y="597"/>
                </a:lnTo>
                <a:lnTo>
                  <a:pt x="1321" y="597"/>
                </a:lnTo>
                <a:lnTo>
                  <a:pt x="1323" y="599"/>
                </a:lnTo>
                <a:lnTo>
                  <a:pt x="1321" y="599"/>
                </a:lnTo>
                <a:lnTo>
                  <a:pt x="1321" y="597"/>
                </a:lnTo>
                <a:lnTo>
                  <a:pt x="1319" y="597"/>
                </a:lnTo>
                <a:close/>
                <a:moveTo>
                  <a:pt x="1404" y="764"/>
                </a:moveTo>
                <a:lnTo>
                  <a:pt x="1402" y="764"/>
                </a:lnTo>
                <a:lnTo>
                  <a:pt x="1404" y="764"/>
                </a:lnTo>
                <a:close/>
                <a:moveTo>
                  <a:pt x="1404" y="766"/>
                </a:moveTo>
                <a:lnTo>
                  <a:pt x="1404" y="764"/>
                </a:lnTo>
                <a:lnTo>
                  <a:pt x="1404" y="766"/>
                </a:lnTo>
                <a:lnTo>
                  <a:pt x="1406" y="766"/>
                </a:lnTo>
                <a:lnTo>
                  <a:pt x="1406" y="764"/>
                </a:lnTo>
                <a:lnTo>
                  <a:pt x="1406" y="766"/>
                </a:lnTo>
                <a:lnTo>
                  <a:pt x="1404" y="766"/>
                </a:lnTo>
                <a:close/>
                <a:moveTo>
                  <a:pt x="1406" y="766"/>
                </a:moveTo>
                <a:lnTo>
                  <a:pt x="1406" y="764"/>
                </a:lnTo>
                <a:lnTo>
                  <a:pt x="1406" y="766"/>
                </a:lnTo>
                <a:close/>
                <a:moveTo>
                  <a:pt x="1408" y="766"/>
                </a:moveTo>
                <a:lnTo>
                  <a:pt x="1406" y="766"/>
                </a:lnTo>
                <a:lnTo>
                  <a:pt x="1408" y="766"/>
                </a:lnTo>
                <a:close/>
                <a:moveTo>
                  <a:pt x="1408" y="764"/>
                </a:moveTo>
                <a:lnTo>
                  <a:pt x="1408" y="762"/>
                </a:lnTo>
                <a:lnTo>
                  <a:pt x="1410" y="762"/>
                </a:lnTo>
                <a:lnTo>
                  <a:pt x="1410" y="764"/>
                </a:lnTo>
                <a:lnTo>
                  <a:pt x="1408" y="764"/>
                </a:lnTo>
                <a:close/>
                <a:moveTo>
                  <a:pt x="1410" y="764"/>
                </a:moveTo>
                <a:lnTo>
                  <a:pt x="1408" y="764"/>
                </a:lnTo>
                <a:lnTo>
                  <a:pt x="1408" y="766"/>
                </a:lnTo>
                <a:lnTo>
                  <a:pt x="1406" y="766"/>
                </a:lnTo>
                <a:lnTo>
                  <a:pt x="1406" y="764"/>
                </a:lnTo>
                <a:lnTo>
                  <a:pt x="1408" y="764"/>
                </a:lnTo>
                <a:lnTo>
                  <a:pt x="1410" y="764"/>
                </a:lnTo>
                <a:lnTo>
                  <a:pt x="1411" y="764"/>
                </a:lnTo>
                <a:lnTo>
                  <a:pt x="1410" y="764"/>
                </a:lnTo>
                <a:close/>
                <a:moveTo>
                  <a:pt x="1411" y="766"/>
                </a:moveTo>
                <a:lnTo>
                  <a:pt x="1410" y="766"/>
                </a:lnTo>
                <a:lnTo>
                  <a:pt x="1411" y="766"/>
                </a:lnTo>
                <a:lnTo>
                  <a:pt x="1411" y="764"/>
                </a:lnTo>
                <a:lnTo>
                  <a:pt x="1411" y="766"/>
                </a:lnTo>
                <a:close/>
                <a:moveTo>
                  <a:pt x="1411" y="764"/>
                </a:moveTo>
                <a:lnTo>
                  <a:pt x="1413" y="764"/>
                </a:lnTo>
                <a:lnTo>
                  <a:pt x="1411" y="764"/>
                </a:lnTo>
                <a:close/>
                <a:moveTo>
                  <a:pt x="1339" y="610"/>
                </a:moveTo>
                <a:lnTo>
                  <a:pt x="1339" y="609"/>
                </a:lnTo>
                <a:lnTo>
                  <a:pt x="1337" y="609"/>
                </a:lnTo>
                <a:lnTo>
                  <a:pt x="1337" y="607"/>
                </a:lnTo>
                <a:lnTo>
                  <a:pt x="1335" y="607"/>
                </a:lnTo>
                <a:lnTo>
                  <a:pt x="1333" y="607"/>
                </a:lnTo>
                <a:lnTo>
                  <a:pt x="1333" y="605"/>
                </a:lnTo>
                <a:lnTo>
                  <a:pt x="1331" y="605"/>
                </a:lnTo>
                <a:lnTo>
                  <a:pt x="1331" y="603"/>
                </a:lnTo>
                <a:lnTo>
                  <a:pt x="1329" y="603"/>
                </a:lnTo>
                <a:lnTo>
                  <a:pt x="1327" y="601"/>
                </a:lnTo>
                <a:lnTo>
                  <a:pt x="1325" y="601"/>
                </a:lnTo>
                <a:lnTo>
                  <a:pt x="1325" y="599"/>
                </a:lnTo>
                <a:lnTo>
                  <a:pt x="1325" y="601"/>
                </a:lnTo>
                <a:lnTo>
                  <a:pt x="1325" y="599"/>
                </a:lnTo>
                <a:lnTo>
                  <a:pt x="1323" y="599"/>
                </a:lnTo>
                <a:lnTo>
                  <a:pt x="1329" y="601"/>
                </a:lnTo>
                <a:lnTo>
                  <a:pt x="1331" y="603"/>
                </a:lnTo>
                <a:lnTo>
                  <a:pt x="1333" y="605"/>
                </a:lnTo>
                <a:lnTo>
                  <a:pt x="1335" y="605"/>
                </a:lnTo>
                <a:lnTo>
                  <a:pt x="1335" y="607"/>
                </a:lnTo>
                <a:lnTo>
                  <a:pt x="1337" y="607"/>
                </a:lnTo>
                <a:lnTo>
                  <a:pt x="1337" y="609"/>
                </a:lnTo>
                <a:lnTo>
                  <a:pt x="1339" y="609"/>
                </a:lnTo>
                <a:lnTo>
                  <a:pt x="1340" y="610"/>
                </a:lnTo>
                <a:lnTo>
                  <a:pt x="1339" y="610"/>
                </a:lnTo>
                <a:close/>
                <a:moveTo>
                  <a:pt x="1411" y="764"/>
                </a:moveTo>
                <a:lnTo>
                  <a:pt x="1413" y="764"/>
                </a:lnTo>
                <a:lnTo>
                  <a:pt x="1411" y="764"/>
                </a:lnTo>
                <a:close/>
                <a:moveTo>
                  <a:pt x="1342" y="614"/>
                </a:moveTo>
                <a:lnTo>
                  <a:pt x="1340" y="614"/>
                </a:lnTo>
                <a:lnTo>
                  <a:pt x="1342" y="614"/>
                </a:lnTo>
                <a:close/>
                <a:moveTo>
                  <a:pt x="1400" y="741"/>
                </a:moveTo>
                <a:lnTo>
                  <a:pt x="1400" y="739"/>
                </a:lnTo>
                <a:lnTo>
                  <a:pt x="1400" y="741"/>
                </a:lnTo>
                <a:lnTo>
                  <a:pt x="1402" y="741"/>
                </a:lnTo>
                <a:lnTo>
                  <a:pt x="1400" y="741"/>
                </a:lnTo>
                <a:close/>
                <a:moveTo>
                  <a:pt x="1344" y="612"/>
                </a:moveTo>
                <a:lnTo>
                  <a:pt x="1342" y="612"/>
                </a:lnTo>
                <a:lnTo>
                  <a:pt x="1340" y="610"/>
                </a:lnTo>
                <a:lnTo>
                  <a:pt x="1342" y="610"/>
                </a:lnTo>
                <a:lnTo>
                  <a:pt x="1344" y="612"/>
                </a:lnTo>
                <a:close/>
                <a:moveTo>
                  <a:pt x="1350" y="616"/>
                </a:moveTo>
                <a:lnTo>
                  <a:pt x="1348" y="616"/>
                </a:lnTo>
                <a:lnTo>
                  <a:pt x="1346" y="616"/>
                </a:lnTo>
                <a:lnTo>
                  <a:pt x="1346" y="614"/>
                </a:lnTo>
                <a:lnTo>
                  <a:pt x="1344" y="614"/>
                </a:lnTo>
                <a:lnTo>
                  <a:pt x="1344" y="612"/>
                </a:lnTo>
                <a:lnTo>
                  <a:pt x="1346" y="612"/>
                </a:lnTo>
                <a:lnTo>
                  <a:pt x="1346" y="614"/>
                </a:lnTo>
                <a:lnTo>
                  <a:pt x="1348" y="614"/>
                </a:lnTo>
                <a:lnTo>
                  <a:pt x="1350" y="616"/>
                </a:lnTo>
                <a:lnTo>
                  <a:pt x="1352" y="616"/>
                </a:lnTo>
                <a:lnTo>
                  <a:pt x="1352" y="618"/>
                </a:lnTo>
                <a:lnTo>
                  <a:pt x="1354" y="618"/>
                </a:lnTo>
                <a:lnTo>
                  <a:pt x="1352" y="618"/>
                </a:lnTo>
                <a:lnTo>
                  <a:pt x="1350" y="616"/>
                </a:lnTo>
                <a:close/>
                <a:moveTo>
                  <a:pt x="1362" y="626"/>
                </a:moveTo>
                <a:lnTo>
                  <a:pt x="1362" y="624"/>
                </a:lnTo>
                <a:lnTo>
                  <a:pt x="1360" y="624"/>
                </a:lnTo>
                <a:lnTo>
                  <a:pt x="1358" y="624"/>
                </a:lnTo>
                <a:lnTo>
                  <a:pt x="1358" y="622"/>
                </a:lnTo>
                <a:lnTo>
                  <a:pt x="1356" y="622"/>
                </a:lnTo>
                <a:lnTo>
                  <a:pt x="1356" y="620"/>
                </a:lnTo>
                <a:lnTo>
                  <a:pt x="1354" y="620"/>
                </a:lnTo>
                <a:lnTo>
                  <a:pt x="1354" y="618"/>
                </a:lnTo>
                <a:lnTo>
                  <a:pt x="1356" y="620"/>
                </a:lnTo>
                <a:lnTo>
                  <a:pt x="1358" y="620"/>
                </a:lnTo>
                <a:lnTo>
                  <a:pt x="1358" y="622"/>
                </a:lnTo>
                <a:lnTo>
                  <a:pt x="1360" y="622"/>
                </a:lnTo>
                <a:lnTo>
                  <a:pt x="1360" y="624"/>
                </a:lnTo>
                <a:lnTo>
                  <a:pt x="1362" y="624"/>
                </a:lnTo>
                <a:lnTo>
                  <a:pt x="1362" y="626"/>
                </a:lnTo>
                <a:close/>
                <a:moveTo>
                  <a:pt x="1444" y="778"/>
                </a:moveTo>
                <a:lnTo>
                  <a:pt x="1444" y="776"/>
                </a:lnTo>
                <a:lnTo>
                  <a:pt x="1446" y="776"/>
                </a:lnTo>
                <a:lnTo>
                  <a:pt x="1444" y="778"/>
                </a:lnTo>
                <a:close/>
                <a:moveTo>
                  <a:pt x="1383" y="643"/>
                </a:moveTo>
                <a:lnTo>
                  <a:pt x="1381" y="643"/>
                </a:lnTo>
                <a:lnTo>
                  <a:pt x="1381" y="641"/>
                </a:lnTo>
                <a:lnTo>
                  <a:pt x="1381" y="643"/>
                </a:lnTo>
                <a:lnTo>
                  <a:pt x="1381" y="641"/>
                </a:lnTo>
                <a:lnTo>
                  <a:pt x="1379" y="639"/>
                </a:lnTo>
                <a:lnTo>
                  <a:pt x="1379" y="641"/>
                </a:lnTo>
                <a:lnTo>
                  <a:pt x="1377" y="641"/>
                </a:lnTo>
                <a:lnTo>
                  <a:pt x="1377" y="639"/>
                </a:lnTo>
                <a:lnTo>
                  <a:pt x="1377" y="637"/>
                </a:lnTo>
                <a:lnTo>
                  <a:pt x="1377" y="639"/>
                </a:lnTo>
                <a:lnTo>
                  <a:pt x="1377" y="637"/>
                </a:lnTo>
                <a:lnTo>
                  <a:pt x="1375" y="637"/>
                </a:lnTo>
                <a:lnTo>
                  <a:pt x="1373" y="635"/>
                </a:lnTo>
                <a:lnTo>
                  <a:pt x="1373" y="634"/>
                </a:lnTo>
                <a:lnTo>
                  <a:pt x="1371" y="634"/>
                </a:lnTo>
                <a:lnTo>
                  <a:pt x="1369" y="634"/>
                </a:lnTo>
                <a:lnTo>
                  <a:pt x="1369" y="632"/>
                </a:lnTo>
                <a:lnTo>
                  <a:pt x="1367" y="632"/>
                </a:lnTo>
                <a:lnTo>
                  <a:pt x="1367" y="630"/>
                </a:lnTo>
                <a:lnTo>
                  <a:pt x="1367" y="628"/>
                </a:lnTo>
                <a:lnTo>
                  <a:pt x="1365" y="628"/>
                </a:lnTo>
                <a:lnTo>
                  <a:pt x="1365" y="630"/>
                </a:lnTo>
                <a:lnTo>
                  <a:pt x="1365" y="628"/>
                </a:lnTo>
                <a:lnTo>
                  <a:pt x="1363" y="628"/>
                </a:lnTo>
                <a:lnTo>
                  <a:pt x="1363" y="626"/>
                </a:lnTo>
                <a:lnTo>
                  <a:pt x="1362" y="626"/>
                </a:lnTo>
                <a:lnTo>
                  <a:pt x="1363" y="626"/>
                </a:lnTo>
                <a:lnTo>
                  <a:pt x="1365" y="626"/>
                </a:lnTo>
                <a:lnTo>
                  <a:pt x="1365" y="628"/>
                </a:lnTo>
                <a:lnTo>
                  <a:pt x="1367" y="628"/>
                </a:lnTo>
                <a:lnTo>
                  <a:pt x="1367" y="630"/>
                </a:lnTo>
                <a:lnTo>
                  <a:pt x="1369" y="630"/>
                </a:lnTo>
                <a:lnTo>
                  <a:pt x="1369" y="632"/>
                </a:lnTo>
                <a:lnTo>
                  <a:pt x="1371" y="632"/>
                </a:lnTo>
                <a:lnTo>
                  <a:pt x="1371" y="634"/>
                </a:lnTo>
                <a:lnTo>
                  <a:pt x="1373" y="634"/>
                </a:lnTo>
                <a:lnTo>
                  <a:pt x="1375" y="635"/>
                </a:lnTo>
                <a:lnTo>
                  <a:pt x="1377" y="637"/>
                </a:lnTo>
                <a:lnTo>
                  <a:pt x="1379" y="639"/>
                </a:lnTo>
                <a:lnTo>
                  <a:pt x="1381" y="639"/>
                </a:lnTo>
                <a:lnTo>
                  <a:pt x="1381" y="641"/>
                </a:lnTo>
                <a:lnTo>
                  <a:pt x="1383" y="641"/>
                </a:lnTo>
                <a:lnTo>
                  <a:pt x="1383" y="643"/>
                </a:lnTo>
                <a:close/>
                <a:moveTo>
                  <a:pt x="1433" y="745"/>
                </a:moveTo>
                <a:lnTo>
                  <a:pt x="1435" y="745"/>
                </a:lnTo>
                <a:lnTo>
                  <a:pt x="1433" y="745"/>
                </a:lnTo>
                <a:close/>
                <a:moveTo>
                  <a:pt x="1431" y="739"/>
                </a:moveTo>
                <a:lnTo>
                  <a:pt x="1429" y="739"/>
                </a:lnTo>
                <a:lnTo>
                  <a:pt x="1429" y="737"/>
                </a:lnTo>
                <a:lnTo>
                  <a:pt x="1429" y="735"/>
                </a:lnTo>
                <a:lnTo>
                  <a:pt x="1429" y="737"/>
                </a:lnTo>
                <a:lnTo>
                  <a:pt x="1431" y="737"/>
                </a:lnTo>
                <a:lnTo>
                  <a:pt x="1431" y="739"/>
                </a:lnTo>
                <a:close/>
                <a:moveTo>
                  <a:pt x="1400" y="672"/>
                </a:moveTo>
                <a:lnTo>
                  <a:pt x="1400" y="674"/>
                </a:lnTo>
                <a:lnTo>
                  <a:pt x="1400" y="676"/>
                </a:lnTo>
                <a:lnTo>
                  <a:pt x="1398" y="674"/>
                </a:lnTo>
                <a:lnTo>
                  <a:pt x="1398" y="672"/>
                </a:lnTo>
                <a:lnTo>
                  <a:pt x="1398" y="670"/>
                </a:lnTo>
                <a:lnTo>
                  <a:pt x="1398" y="668"/>
                </a:lnTo>
                <a:lnTo>
                  <a:pt x="1398" y="666"/>
                </a:lnTo>
                <a:lnTo>
                  <a:pt x="1398" y="668"/>
                </a:lnTo>
                <a:lnTo>
                  <a:pt x="1400" y="668"/>
                </a:lnTo>
                <a:lnTo>
                  <a:pt x="1400" y="670"/>
                </a:lnTo>
                <a:lnTo>
                  <a:pt x="1400" y="672"/>
                </a:lnTo>
                <a:close/>
                <a:moveTo>
                  <a:pt x="1398" y="664"/>
                </a:moveTo>
                <a:lnTo>
                  <a:pt x="1398" y="666"/>
                </a:lnTo>
                <a:lnTo>
                  <a:pt x="1396" y="666"/>
                </a:lnTo>
                <a:lnTo>
                  <a:pt x="1396" y="664"/>
                </a:lnTo>
                <a:lnTo>
                  <a:pt x="1398" y="664"/>
                </a:lnTo>
                <a:close/>
                <a:moveTo>
                  <a:pt x="1452" y="770"/>
                </a:moveTo>
                <a:lnTo>
                  <a:pt x="1450" y="770"/>
                </a:lnTo>
                <a:lnTo>
                  <a:pt x="1452" y="770"/>
                </a:lnTo>
                <a:close/>
                <a:moveTo>
                  <a:pt x="1461" y="779"/>
                </a:moveTo>
                <a:lnTo>
                  <a:pt x="1461" y="781"/>
                </a:lnTo>
                <a:lnTo>
                  <a:pt x="1461" y="779"/>
                </a:lnTo>
                <a:lnTo>
                  <a:pt x="1461" y="778"/>
                </a:lnTo>
                <a:lnTo>
                  <a:pt x="1461" y="779"/>
                </a:lnTo>
                <a:close/>
                <a:moveTo>
                  <a:pt x="1431" y="708"/>
                </a:moveTo>
                <a:lnTo>
                  <a:pt x="1431" y="706"/>
                </a:lnTo>
                <a:lnTo>
                  <a:pt x="1431" y="708"/>
                </a:lnTo>
                <a:close/>
                <a:moveTo>
                  <a:pt x="1438" y="693"/>
                </a:moveTo>
                <a:lnTo>
                  <a:pt x="1440" y="693"/>
                </a:lnTo>
                <a:lnTo>
                  <a:pt x="1438" y="693"/>
                </a:lnTo>
                <a:close/>
                <a:moveTo>
                  <a:pt x="1456" y="716"/>
                </a:moveTo>
                <a:lnTo>
                  <a:pt x="1458" y="716"/>
                </a:lnTo>
                <a:lnTo>
                  <a:pt x="1456" y="718"/>
                </a:lnTo>
                <a:lnTo>
                  <a:pt x="1456" y="716"/>
                </a:lnTo>
                <a:close/>
                <a:moveTo>
                  <a:pt x="1459" y="716"/>
                </a:moveTo>
                <a:lnTo>
                  <a:pt x="1458" y="716"/>
                </a:lnTo>
                <a:lnTo>
                  <a:pt x="1458" y="714"/>
                </a:lnTo>
                <a:lnTo>
                  <a:pt x="1459" y="714"/>
                </a:lnTo>
                <a:lnTo>
                  <a:pt x="1459" y="716"/>
                </a:lnTo>
                <a:close/>
                <a:moveTo>
                  <a:pt x="1448" y="687"/>
                </a:moveTo>
                <a:lnTo>
                  <a:pt x="1448" y="689"/>
                </a:lnTo>
                <a:lnTo>
                  <a:pt x="1446" y="687"/>
                </a:lnTo>
                <a:lnTo>
                  <a:pt x="1448" y="687"/>
                </a:lnTo>
                <a:lnTo>
                  <a:pt x="1448" y="685"/>
                </a:lnTo>
                <a:lnTo>
                  <a:pt x="1448" y="687"/>
                </a:lnTo>
                <a:close/>
                <a:moveTo>
                  <a:pt x="1448" y="682"/>
                </a:moveTo>
                <a:lnTo>
                  <a:pt x="1446" y="682"/>
                </a:lnTo>
                <a:lnTo>
                  <a:pt x="1448" y="682"/>
                </a:lnTo>
                <a:close/>
                <a:moveTo>
                  <a:pt x="1450" y="693"/>
                </a:moveTo>
                <a:lnTo>
                  <a:pt x="1448" y="691"/>
                </a:lnTo>
                <a:lnTo>
                  <a:pt x="1450" y="691"/>
                </a:lnTo>
                <a:lnTo>
                  <a:pt x="1452" y="691"/>
                </a:lnTo>
                <a:lnTo>
                  <a:pt x="1452" y="693"/>
                </a:lnTo>
                <a:lnTo>
                  <a:pt x="1450" y="693"/>
                </a:lnTo>
                <a:close/>
                <a:moveTo>
                  <a:pt x="1446" y="683"/>
                </a:moveTo>
                <a:lnTo>
                  <a:pt x="1448" y="683"/>
                </a:lnTo>
                <a:lnTo>
                  <a:pt x="1446" y="683"/>
                </a:lnTo>
                <a:close/>
                <a:moveTo>
                  <a:pt x="1475" y="610"/>
                </a:moveTo>
                <a:lnTo>
                  <a:pt x="1473" y="610"/>
                </a:lnTo>
                <a:lnTo>
                  <a:pt x="1473" y="609"/>
                </a:lnTo>
                <a:lnTo>
                  <a:pt x="1475" y="609"/>
                </a:lnTo>
                <a:lnTo>
                  <a:pt x="1475" y="610"/>
                </a:lnTo>
                <a:lnTo>
                  <a:pt x="1475" y="609"/>
                </a:lnTo>
                <a:lnTo>
                  <a:pt x="1475" y="610"/>
                </a:lnTo>
                <a:close/>
                <a:moveTo>
                  <a:pt x="1477" y="603"/>
                </a:moveTo>
                <a:lnTo>
                  <a:pt x="1477" y="605"/>
                </a:lnTo>
                <a:lnTo>
                  <a:pt x="1475" y="605"/>
                </a:lnTo>
                <a:lnTo>
                  <a:pt x="1475" y="607"/>
                </a:lnTo>
                <a:lnTo>
                  <a:pt x="1475" y="609"/>
                </a:lnTo>
                <a:lnTo>
                  <a:pt x="1473" y="609"/>
                </a:lnTo>
                <a:lnTo>
                  <a:pt x="1475" y="609"/>
                </a:lnTo>
                <a:lnTo>
                  <a:pt x="1475" y="607"/>
                </a:lnTo>
                <a:lnTo>
                  <a:pt x="1475" y="605"/>
                </a:lnTo>
                <a:lnTo>
                  <a:pt x="1477" y="603"/>
                </a:lnTo>
                <a:close/>
                <a:moveTo>
                  <a:pt x="1502" y="536"/>
                </a:moveTo>
                <a:lnTo>
                  <a:pt x="1500" y="536"/>
                </a:lnTo>
                <a:lnTo>
                  <a:pt x="1502" y="536"/>
                </a:lnTo>
                <a:lnTo>
                  <a:pt x="1502" y="538"/>
                </a:lnTo>
                <a:lnTo>
                  <a:pt x="1500" y="538"/>
                </a:lnTo>
                <a:lnTo>
                  <a:pt x="1500" y="539"/>
                </a:lnTo>
                <a:lnTo>
                  <a:pt x="1502" y="539"/>
                </a:lnTo>
                <a:lnTo>
                  <a:pt x="1500" y="539"/>
                </a:lnTo>
                <a:lnTo>
                  <a:pt x="1500" y="538"/>
                </a:lnTo>
                <a:lnTo>
                  <a:pt x="1500" y="536"/>
                </a:lnTo>
                <a:lnTo>
                  <a:pt x="1500" y="534"/>
                </a:lnTo>
                <a:lnTo>
                  <a:pt x="1502" y="534"/>
                </a:lnTo>
                <a:lnTo>
                  <a:pt x="1502" y="536"/>
                </a:lnTo>
                <a:close/>
                <a:moveTo>
                  <a:pt x="1619" y="587"/>
                </a:moveTo>
                <a:lnTo>
                  <a:pt x="1617" y="587"/>
                </a:lnTo>
                <a:lnTo>
                  <a:pt x="1619" y="587"/>
                </a:lnTo>
                <a:close/>
                <a:moveTo>
                  <a:pt x="1619" y="587"/>
                </a:moveTo>
                <a:lnTo>
                  <a:pt x="1617" y="587"/>
                </a:lnTo>
                <a:lnTo>
                  <a:pt x="1619" y="587"/>
                </a:lnTo>
                <a:lnTo>
                  <a:pt x="1619" y="586"/>
                </a:lnTo>
                <a:lnTo>
                  <a:pt x="1621" y="586"/>
                </a:lnTo>
                <a:lnTo>
                  <a:pt x="1619" y="586"/>
                </a:lnTo>
                <a:lnTo>
                  <a:pt x="1619" y="587"/>
                </a:lnTo>
                <a:close/>
                <a:moveTo>
                  <a:pt x="1621" y="586"/>
                </a:moveTo>
                <a:lnTo>
                  <a:pt x="1623" y="584"/>
                </a:lnTo>
                <a:lnTo>
                  <a:pt x="1625" y="584"/>
                </a:lnTo>
                <a:lnTo>
                  <a:pt x="1627" y="582"/>
                </a:lnTo>
                <a:lnTo>
                  <a:pt x="1628" y="582"/>
                </a:lnTo>
                <a:lnTo>
                  <a:pt x="1630" y="580"/>
                </a:lnTo>
                <a:lnTo>
                  <a:pt x="1632" y="580"/>
                </a:lnTo>
                <a:lnTo>
                  <a:pt x="1634" y="580"/>
                </a:lnTo>
                <a:lnTo>
                  <a:pt x="1636" y="580"/>
                </a:lnTo>
                <a:lnTo>
                  <a:pt x="1634" y="580"/>
                </a:lnTo>
                <a:lnTo>
                  <a:pt x="1632" y="580"/>
                </a:lnTo>
                <a:lnTo>
                  <a:pt x="1630" y="580"/>
                </a:lnTo>
                <a:lnTo>
                  <a:pt x="1628" y="582"/>
                </a:lnTo>
                <a:lnTo>
                  <a:pt x="1627" y="584"/>
                </a:lnTo>
                <a:lnTo>
                  <a:pt x="1625" y="584"/>
                </a:lnTo>
                <a:lnTo>
                  <a:pt x="1623" y="584"/>
                </a:lnTo>
                <a:lnTo>
                  <a:pt x="1623" y="586"/>
                </a:lnTo>
                <a:lnTo>
                  <a:pt x="1621" y="586"/>
                </a:lnTo>
                <a:close/>
                <a:moveTo>
                  <a:pt x="1646" y="580"/>
                </a:moveTo>
                <a:lnTo>
                  <a:pt x="1646" y="578"/>
                </a:lnTo>
                <a:lnTo>
                  <a:pt x="1646" y="580"/>
                </a:lnTo>
                <a:close/>
                <a:moveTo>
                  <a:pt x="1648" y="580"/>
                </a:moveTo>
                <a:lnTo>
                  <a:pt x="1648" y="578"/>
                </a:lnTo>
                <a:lnTo>
                  <a:pt x="1648" y="580"/>
                </a:lnTo>
                <a:close/>
                <a:moveTo>
                  <a:pt x="1997" y="1079"/>
                </a:moveTo>
                <a:lnTo>
                  <a:pt x="1997" y="1081"/>
                </a:lnTo>
                <a:lnTo>
                  <a:pt x="1997" y="1079"/>
                </a:lnTo>
                <a:lnTo>
                  <a:pt x="1995" y="1079"/>
                </a:lnTo>
                <a:lnTo>
                  <a:pt x="1995" y="1077"/>
                </a:lnTo>
                <a:lnTo>
                  <a:pt x="1997" y="1075"/>
                </a:lnTo>
                <a:lnTo>
                  <a:pt x="1997" y="1073"/>
                </a:lnTo>
                <a:lnTo>
                  <a:pt x="1997" y="1071"/>
                </a:lnTo>
                <a:lnTo>
                  <a:pt x="1997" y="1069"/>
                </a:lnTo>
                <a:lnTo>
                  <a:pt x="1995" y="1069"/>
                </a:lnTo>
                <a:lnTo>
                  <a:pt x="1995" y="1067"/>
                </a:lnTo>
                <a:lnTo>
                  <a:pt x="1995" y="1066"/>
                </a:lnTo>
                <a:lnTo>
                  <a:pt x="1995" y="1064"/>
                </a:lnTo>
                <a:lnTo>
                  <a:pt x="1995" y="1066"/>
                </a:lnTo>
                <a:lnTo>
                  <a:pt x="1995" y="1067"/>
                </a:lnTo>
                <a:lnTo>
                  <a:pt x="1997" y="1069"/>
                </a:lnTo>
                <a:lnTo>
                  <a:pt x="1997" y="1071"/>
                </a:lnTo>
                <a:lnTo>
                  <a:pt x="1997" y="1073"/>
                </a:lnTo>
                <a:lnTo>
                  <a:pt x="1997" y="1075"/>
                </a:lnTo>
                <a:lnTo>
                  <a:pt x="1997" y="1077"/>
                </a:lnTo>
                <a:lnTo>
                  <a:pt x="1997" y="1079"/>
                </a:lnTo>
                <a:close/>
                <a:moveTo>
                  <a:pt x="1636" y="580"/>
                </a:moveTo>
                <a:lnTo>
                  <a:pt x="1636" y="578"/>
                </a:lnTo>
                <a:lnTo>
                  <a:pt x="1638" y="578"/>
                </a:lnTo>
                <a:lnTo>
                  <a:pt x="1640" y="578"/>
                </a:lnTo>
                <a:lnTo>
                  <a:pt x="1644" y="578"/>
                </a:lnTo>
                <a:lnTo>
                  <a:pt x="1646" y="576"/>
                </a:lnTo>
                <a:lnTo>
                  <a:pt x="1648" y="576"/>
                </a:lnTo>
                <a:lnTo>
                  <a:pt x="1650" y="576"/>
                </a:lnTo>
                <a:lnTo>
                  <a:pt x="1652" y="576"/>
                </a:lnTo>
                <a:lnTo>
                  <a:pt x="1653" y="576"/>
                </a:lnTo>
                <a:lnTo>
                  <a:pt x="1653" y="578"/>
                </a:lnTo>
                <a:lnTo>
                  <a:pt x="1655" y="578"/>
                </a:lnTo>
                <a:lnTo>
                  <a:pt x="1653" y="578"/>
                </a:lnTo>
                <a:lnTo>
                  <a:pt x="1652" y="578"/>
                </a:lnTo>
                <a:lnTo>
                  <a:pt x="1650" y="578"/>
                </a:lnTo>
                <a:lnTo>
                  <a:pt x="1650" y="576"/>
                </a:lnTo>
                <a:lnTo>
                  <a:pt x="1648" y="576"/>
                </a:lnTo>
                <a:lnTo>
                  <a:pt x="1646" y="578"/>
                </a:lnTo>
                <a:lnTo>
                  <a:pt x="1646" y="576"/>
                </a:lnTo>
                <a:lnTo>
                  <a:pt x="1646" y="578"/>
                </a:lnTo>
                <a:lnTo>
                  <a:pt x="1644" y="578"/>
                </a:lnTo>
                <a:lnTo>
                  <a:pt x="1642" y="578"/>
                </a:lnTo>
                <a:lnTo>
                  <a:pt x="1640" y="578"/>
                </a:lnTo>
                <a:lnTo>
                  <a:pt x="1638" y="578"/>
                </a:lnTo>
                <a:lnTo>
                  <a:pt x="1636" y="580"/>
                </a:lnTo>
                <a:close/>
                <a:moveTo>
                  <a:pt x="1993" y="1056"/>
                </a:moveTo>
                <a:lnTo>
                  <a:pt x="1991" y="1056"/>
                </a:lnTo>
                <a:lnTo>
                  <a:pt x="1991" y="1054"/>
                </a:lnTo>
                <a:lnTo>
                  <a:pt x="1991" y="1052"/>
                </a:lnTo>
                <a:lnTo>
                  <a:pt x="1991" y="1050"/>
                </a:lnTo>
                <a:lnTo>
                  <a:pt x="1991" y="1048"/>
                </a:lnTo>
                <a:lnTo>
                  <a:pt x="1991" y="1050"/>
                </a:lnTo>
                <a:lnTo>
                  <a:pt x="1991" y="1052"/>
                </a:lnTo>
                <a:lnTo>
                  <a:pt x="1991" y="1054"/>
                </a:lnTo>
                <a:lnTo>
                  <a:pt x="1991" y="1056"/>
                </a:lnTo>
                <a:lnTo>
                  <a:pt x="1993" y="1056"/>
                </a:lnTo>
                <a:close/>
                <a:moveTo>
                  <a:pt x="1657" y="578"/>
                </a:moveTo>
                <a:lnTo>
                  <a:pt x="1659" y="578"/>
                </a:lnTo>
                <a:lnTo>
                  <a:pt x="1657" y="578"/>
                </a:lnTo>
                <a:close/>
                <a:moveTo>
                  <a:pt x="1665" y="578"/>
                </a:moveTo>
                <a:lnTo>
                  <a:pt x="1663" y="578"/>
                </a:lnTo>
                <a:lnTo>
                  <a:pt x="1661" y="578"/>
                </a:lnTo>
                <a:lnTo>
                  <a:pt x="1659" y="578"/>
                </a:lnTo>
                <a:lnTo>
                  <a:pt x="1661" y="578"/>
                </a:lnTo>
                <a:lnTo>
                  <a:pt x="1663" y="578"/>
                </a:lnTo>
                <a:lnTo>
                  <a:pt x="1665" y="578"/>
                </a:lnTo>
                <a:lnTo>
                  <a:pt x="1667" y="578"/>
                </a:lnTo>
                <a:lnTo>
                  <a:pt x="1665" y="578"/>
                </a:lnTo>
                <a:close/>
                <a:moveTo>
                  <a:pt x="1936" y="973"/>
                </a:moveTo>
                <a:lnTo>
                  <a:pt x="1938" y="973"/>
                </a:lnTo>
                <a:lnTo>
                  <a:pt x="1936" y="973"/>
                </a:lnTo>
                <a:close/>
                <a:moveTo>
                  <a:pt x="1673" y="586"/>
                </a:moveTo>
                <a:lnTo>
                  <a:pt x="1675" y="586"/>
                </a:lnTo>
                <a:lnTo>
                  <a:pt x="1675" y="584"/>
                </a:lnTo>
                <a:lnTo>
                  <a:pt x="1675" y="586"/>
                </a:lnTo>
                <a:lnTo>
                  <a:pt x="1673" y="586"/>
                </a:lnTo>
                <a:close/>
                <a:moveTo>
                  <a:pt x="1938" y="973"/>
                </a:moveTo>
                <a:lnTo>
                  <a:pt x="1936" y="973"/>
                </a:lnTo>
                <a:lnTo>
                  <a:pt x="1938" y="973"/>
                </a:lnTo>
                <a:close/>
                <a:moveTo>
                  <a:pt x="1938" y="973"/>
                </a:moveTo>
                <a:lnTo>
                  <a:pt x="1940" y="973"/>
                </a:lnTo>
                <a:lnTo>
                  <a:pt x="1940" y="975"/>
                </a:lnTo>
                <a:lnTo>
                  <a:pt x="1940" y="973"/>
                </a:lnTo>
                <a:lnTo>
                  <a:pt x="1938" y="973"/>
                </a:lnTo>
                <a:close/>
                <a:moveTo>
                  <a:pt x="1940" y="973"/>
                </a:moveTo>
                <a:lnTo>
                  <a:pt x="1938" y="973"/>
                </a:lnTo>
                <a:lnTo>
                  <a:pt x="1940" y="973"/>
                </a:lnTo>
                <a:lnTo>
                  <a:pt x="1938" y="973"/>
                </a:lnTo>
                <a:lnTo>
                  <a:pt x="1940" y="973"/>
                </a:lnTo>
                <a:close/>
                <a:moveTo>
                  <a:pt x="1988" y="1027"/>
                </a:moveTo>
                <a:lnTo>
                  <a:pt x="1990" y="1027"/>
                </a:lnTo>
                <a:lnTo>
                  <a:pt x="1988" y="1027"/>
                </a:lnTo>
                <a:close/>
                <a:moveTo>
                  <a:pt x="1966" y="1004"/>
                </a:moveTo>
                <a:lnTo>
                  <a:pt x="1968" y="1004"/>
                </a:lnTo>
                <a:lnTo>
                  <a:pt x="1966" y="1004"/>
                </a:lnTo>
                <a:close/>
                <a:moveTo>
                  <a:pt x="1667" y="578"/>
                </a:moveTo>
                <a:lnTo>
                  <a:pt x="1669" y="578"/>
                </a:lnTo>
                <a:lnTo>
                  <a:pt x="1671" y="578"/>
                </a:lnTo>
                <a:lnTo>
                  <a:pt x="1673" y="578"/>
                </a:lnTo>
                <a:lnTo>
                  <a:pt x="1675" y="580"/>
                </a:lnTo>
                <a:lnTo>
                  <a:pt x="1673" y="580"/>
                </a:lnTo>
                <a:lnTo>
                  <a:pt x="1673" y="578"/>
                </a:lnTo>
                <a:lnTo>
                  <a:pt x="1671" y="578"/>
                </a:lnTo>
                <a:lnTo>
                  <a:pt x="1669" y="578"/>
                </a:lnTo>
                <a:lnTo>
                  <a:pt x="1667" y="578"/>
                </a:lnTo>
                <a:close/>
                <a:moveTo>
                  <a:pt x="1968" y="1004"/>
                </a:moveTo>
                <a:lnTo>
                  <a:pt x="1968" y="1006"/>
                </a:lnTo>
                <a:lnTo>
                  <a:pt x="1966" y="1006"/>
                </a:lnTo>
                <a:lnTo>
                  <a:pt x="1968" y="1004"/>
                </a:lnTo>
                <a:close/>
                <a:moveTo>
                  <a:pt x="1968" y="1004"/>
                </a:moveTo>
                <a:lnTo>
                  <a:pt x="1966" y="1004"/>
                </a:lnTo>
                <a:lnTo>
                  <a:pt x="1968" y="1004"/>
                </a:lnTo>
                <a:close/>
                <a:moveTo>
                  <a:pt x="1988" y="1023"/>
                </a:moveTo>
                <a:lnTo>
                  <a:pt x="1988" y="1025"/>
                </a:lnTo>
                <a:lnTo>
                  <a:pt x="1990" y="1025"/>
                </a:lnTo>
                <a:lnTo>
                  <a:pt x="1990" y="1027"/>
                </a:lnTo>
                <a:lnTo>
                  <a:pt x="1988" y="1027"/>
                </a:lnTo>
                <a:lnTo>
                  <a:pt x="1988" y="1025"/>
                </a:lnTo>
                <a:lnTo>
                  <a:pt x="1988" y="1023"/>
                </a:lnTo>
                <a:lnTo>
                  <a:pt x="1988" y="1021"/>
                </a:lnTo>
                <a:lnTo>
                  <a:pt x="1988" y="1023"/>
                </a:lnTo>
                <a:close/>
                <a:moveTo>
                  <a:pt x="1988" y="1019"/>
                </a:moveTo>
                <a:lnTo>
                  <a:pt x="1988" y="1021"/>
                </a:lnTo>
                <a:lnTo>
                  <a:pt x="1988" y="1019"/>
                </a:lnTo>
                <a:lnTo>
                  <a:pt x="1988" y="1018"/>
                </a:lnTo>
                <a:lnTo>
                  <a:pt x="1988" y="1019"/>
                </a:lnTo>
                <a:close/>
                <a:moveTo>
                  <a:pt x="1974" y="1004"/>
                </a:moveTo>
                <a:lnTo>
                  <a:pt x="1974" y="1006"/>
                </a:lnTo>
                <a:lnTo>
                  <a:pt x="1974" y="1008"/>
                </a:lnTo>
                <a:lnTo>
                  <a:pt x="1974" y="1006"/>
                </a:lnTo>
                <a:lnTo>
                  <a:pt x="1974" y="1004"/>
                </a:lnTo>
                <a:lnTo>
                  <a:pt x="1972" y="1004"/>
                </a:lnTo>
                <a:lnTo>
                  <a:pt x="1970" y="1004"/>
                </a:lnTo>
                <a:lnTo>
                  <a:pt x="1968" y="1004"/>
                </a:lnTo>
                <a:lnTo>
                  <a:pt x="1970" y="1004"/>
                </a:lnTo>
                <a:lnTo>
                  <a:pt x="1972" y="1004"/>
                </a:lnTo>
                <a:lnTo>
                  <a:pt x="1974" y="1004"/>
                </a:lnTo>
                <a:close/>
                <a:moveTo>
                  <a:pt x="1980" y="1010"/>
                </a:moveTo>
                <a:lnTo>
                  <a:pt x="1978" y="1010"/>
                </a:lnTo>
                <a:lnTo>
                  <a:pt x="1976" y="1010"/>
                </a:lnTo>
                <a:lnTo>
                  <a:pt x="1978" y="1010"/>
                </a:lnTo>
                <a:lnTo>
                  <a:pt x="1976" y="1010"/>
                </a:lnTo>
                <a:lnTo>
                  <a:pt x="1976" y="1008"/>
                </a:lnTo>
                <a:lnTo>
                  <a:pt x="1976" y="1006"/>
                </a:lnTo>
                <a:lnTo>
                  <a:pt x="1978" y="1006"/>
                </a:lnTo>
                <a:lnTo>
                  <a:pt x="1978" y="1008"/>
                </a:lnTo>
                <a:lnTo>
                  <a:pt x="1980" y="1008"/>
                </a:lnTo>
                <a:lnTo>
                  <a:pt x="1980" y="1010"/>
                </a:lnTo>
                <a:close/>
                <a:moveTo>
                  <a:pt x="1988" y="1018"/>
                </a:moveTo>
                <a:lnTo>
                  <a:pt x="1988" y="1016"/>
                </a:lnTo>
                <a:lnTo>
                  <a:pt x="1988" y="1018"/>
                </a:lnTo>
                <a:close/>
                <a:moveTo>
                  <a:pt x="1982" y="1010"/>
                </a:moveTo>
                <a:lnTo>
                  <a:pt x="1982" y="1012"/>
                </a:lnTo>
                <a:lnTo>
                  <a:pt x="1982" y="1014"/>
                </a:lnTo>
                <a:lnTo>
                  <a:pt x="1982" y="1012"/>
                </a:lnTo>
                <a:lnTo>
                  <a:pt x="1982" y="1010"/>
                </a:lnTo>
                <a:lnTo>
                  <a:pt x="1980" y="1010"/>
                </a:lnTo>
                <a:lnTo>
                  <a:pt x="1982" y="1010"/>
                </a:lnTo>
                <a:lnTo>
                  <a:pt x="1980" y="1010"/>
                </a:lnTo>
                <a:lnTo>
                  <a:pt x="1980" y="1008"/>
                </a:lnTo>
                <a:lnTo>
                  <a:pt x="1980" y="1010"/>
                </a:lnTo>
                <a:lnTo>
                  <a:pt x="1982" y="1010"/>
                </a:lnTo>
                <a:close/>
                <a:moveTo>
                  <a:pt x="1980" y="1010"/>
                </a:moveTo>
                <a:lnTo>
                  <a:pt x="1982" y="1010"/>
                </a:lnTo>
                <a:lnTo>
                  <a:pt x="1980" y="1010"/>
                </a:lnTo>
                <a:close/>
                <a:moveTo>
                  <a:pt x="1988" y="1016"/>
                </a:moveTo>
                <a:lnTo>
                  <a:pt x="1986" y="1016"/>
                </a:lnTo>
                <a:lnTo>
                  <a:pt x="1986" y="1014"/>
                </a:lnTo>
                <a:lnTo>
                  <a:pt x="1986" y="1016"/>
                </a:lnTo>
                <a:lnTo>
                  <a:pt x="1988" y="1016"/>
                </a:lnTo>
                <a:close/>
                <a:moveTo>
                  <a:pt x="1915" y="929"/>
                </a:moveTo>
                <a:lnTo>
                  <a:pt x="1915" y="931"/>
                </a:lnTo>
                <a:lnTo>
                  <a:pt x="1915" y="929"/>
                </a:lnTo>
                <a:close/>
                <a:moveTo>
                  <a:pt x="1936" y="954"/>
                </a:moveTo>
                <a:lnTo>
                  <a:pt x="1936" y="952"/>
                </a:lnTo>
                <a:lnTo>
                  <a:pt x="1934" y="952"/>
                </a:lnTo>
                <a:lnTo>
                  <a:pt x="1936" y="952"/>
                </a:lnTo>
                <a:lnTo>
                  <a:pt x="1934" y="952"/>
                </a:lnTo>
                <a:lnTo>
                  <a:pt x="1936" y="952"/>
                </a:lnTo>
                <a:lnTo>
                  <a:pt x="1936" y="954"/>
                </a:lnTo>
                <a:close/>
                <a:moveTo>
                  <a:pt x="1918" y="931"/>
                </a:moveTo>
                <a:lnTo>
                  <a:pt x="1917" y="931"/>
                </a:lnTo>
                <a:lnTo>
                  <a:pt x="1918" y="931"/>
                </a:lnTo>
                <a:lnTo>
                  <a:pt x="1917" y="931"/>
                </a:lnTo>
                <a:lnTo>
                  <a:pt x="1917" y="929"/>
                </a:lnTo>
                <a:lnTo>
                  <a:pt x="1918" y="929"/>
                </a:lnTo>
                <a:lnTo>
                  <a:pt x="1918" y="931"/>
                </a:lnTo>
                <a:close/>
                <a:moveTo>
                  <a:pt x="1918" y="927"/>
                </a:moveTo>
                <a:lnTo>
                  <a:pt x="1918" y="929"/>
                </a:lnTo>
                <a:lnTo>
                  <a:pt x="1918" y="927"/>
                </a:lnTo>
                <a:close/>
                <a:moveTo>
                  <a:pt x="1690" y="582"/>
                </a:moveTo>
                <a:lnTo>
                  <a:pt x="1688" y="582"/>
                </a:lnTo>
                <a:lnTo>
                  <a:pt x="1690" y="582"/>
                </a:lnTo>
                <a:lnTo>
                  <a:pt x="1688" y="582"/>
                </a:lnTo>
                <a:lnTo>
                  <a:pt x="1686" y="582"/>
                </a:lnTo>
                <a:lnTo>
                  <a:pt x="1686" y="580"/>
                </a:lnTo>
                <a:lnTo>
                  <a:pt x="1684" y="580"/>
                </a:lnTo>
                <a:lnTo>
                  <a:pt x="1682" y="580"/>
                </a:lnTo>
                <a:lnTo>
                  <a:pt x="1680" y="580"/>
                </a:lnTo>
                <a:lnTo>
                  <a:pt x="1678" y="580"/>
                </a:lnTo>
                <a:lnTo>
                  <a:pt x="1678" y="578"/>
                </a:lnTo>
                <a:lnTo>
                  <a:pt x="1678" y="580"/>
                </a:lnTo>
                <a:lnTo>
                  <a:pt x="1678" y="578"/>
                </a:lnTo>
                <a:lnTo>
                  <a:pt x="1676" y="578"/>
                </a:lnTo>
                <a:lnTo>
                  <a:pt x="1676" y="580"/>
                </a:lnTo>
                <a:lnTo>
                  <a:pt x="1675" y="580"/>
                </a:lnTo>
                <a:lnTo>
                  <a:pt x="1675" y="578"/>
                </a:lnTo>
                <a:lnTo>
                  <a:pt x="1676" y="578"/>
                </a:lnTo>
                <a:lnTo>
                  <a:pt x="1678" y="578"/>
                </a:lnTo>
                <a:lnTo>
                  <a:pt x="1680" y="578"/>
                </a:lnTo>
                <a:lnTo>
                  <a:pt x="1680" y="580"/>
                </a:lnTo>
                <a:lnTo>
                  <a:pt x="1682" y="580"/>
                </a:lnTo>
                <a:lnTo>
                  <a:pt x="1684" y="580"/>
                </a:lnTo>
                <a:lnTo>
                  <a:pt x="1686" y="580"/>
                </a:lnTo>
                <a:lnTo>
                  <a:pt x="1688" y="580"/>
                </a:lnTo>
                <a:lnTo>
                  <a:pt x="1688" y="582"/>
                </a:lnTo>
                <a:lnTo>
                  <a:pt x="1690" y="582"/>
                </a:lnTo>
                <a:lnTo>
                  <a:pt x="1692" y="582"/>
                </a:lnTo>
                <a:lnTo>
                  <a:pt x="1694" y="584"/>
                </a:lnTo>
                <a:lnTo>
                  <a:pt x="1692" y="584"/>
                </a:lnTo>
                <a:lnTo>
                  <a:pt x="1692" y="582"/>
                </a:lnTo>
                <a:lnTo>
                  <a:pt x="1690" y="582"/>
                </a:lnTo>
                <a:close/>
                <a:moveTo>
                  <a:pt x="1909" y="912"/>
                </a:moveTo>
                <a:lnTo>
                  <a:pt x="1907" y="912"/>
                </a:lnTo>
                <a:lnTo>
                  <a:pt x="1909" y="912"/>
                </a:lnTo>
                <a:close/>
                <a:moveTo>
                  <a:pt x="1907" y="912"/>
                </a:moveTo>
                <a:lnTo>
                  <a:pt x="1909" y="912"/>
                </a:lnTo>
                <a:lnTo>
                  <a:pt x="1907" y="912"/>
                </a:lnTo>
                <a:close/>
                <a:moveTo>
                  <a:pt x="1907" y="910"/>
                </a:moveTo>
                <a:lnTo>
                  <a:pt x="1909" y="910"/>
                </a:lnTo>
                <a:lnTo>
                  <a:pt x="1907" y="910"/>
                </a:lnTo>
                <a:close/>
                <a:moveTo>
                  <a:pt x="1909" y="912"/>
                </a:moveTo>
                <a:lnTo>
                  <a:pt x="1911" y="912"/>
                </a:lnTo>
                <a:lnTo>
                  <a:pt x="1909" y="912"/>
                </a:lnTo>
                <a:close/>
                <a:moveTo>
                  <a:pt x="1694" y="584"/>
                </a:moveTo>
                <a:lnTo>
                  <a:pt x="1696" y="584"/>
                </a:lnTo>
                <a:lnTo>
                  <a:pt x="1698" y="586"/>
                </a:lnTo>
                <a:lnTo>
                  <a:pt x="1696" y="586"/>
                </a:lnTo>
                <a:lnTo>
                  <a:pt x="1696" y="584"/>
                </a:lnTo>
                <a:lnTo>
                  <a:pt x="1694" y="584"/>
                </a:lnTo>
                <a:close/>
                <a:moveTo>
                  <a:pt x="1909" y="910"/>
                </a:moveTo>
                <a:lnTo>
                  <a:pt x="1911" y="910"/>
                </a:lnTo>
                <a:lnTo>
                  <a:pt x="1911" y="912"/>
                </a:lnTo>
                <a:lnTo>
                  <a:pt x="1909" y="912"/>
                </a:lnTo>
                <a:lnTo>
                  <a:pt x="1909" y="910"/>
                </a:lnTo>
                <a:close/>
                <a:moveTo>
                  <a:pt x="1911" y="910"/>
                </a:moveTo>
                <a:lnTo>
                  <a:pt x="1909" y="910"/>
                </a:lnTo>
                <a:lnTo>
                  <a:pt x="1911" y="910"/>
                </a:lnTo>
                <a:close/>
                <a:moveTo>
                  <a:pt x="1926" y="927"/>
                </a:moveTo>
                <a:lnTo>
                  <a:pt x="1926" y="929"/>
                </a:lnTo>
                <a:lnTo>
                  <a:pt x="1924" y="927"/>
                </a:lnTo>
                <a:lnTo>
                  <a:pt x="1926" y="927"/>
                </a:lnTo>
                <a:lnTo>
                  <a:pt x="1926" y="929"/>
                </a:lnTo>
                <a:lnTo>
                  <a:pt x="1926" y="927"/>
                </a:lnTo>
                <a:lnTo>
                  <a:pt x="1924" y="927"/>
                </a:lnTo>
                <a:lnTo>
                  <a:pt x="1926" y="927"/>
                </a:lnTo>
                <a:close/>
                <a:moveTo>
                  <a:pt x="1901" y="898"/>
                </a:moveTo>
                <a:lnTo>
                  <a:pt x="1901" y="897"/>
                </a:lnTo>
                <a:lnTo>
                  <a:pt x="1901" y="898"/>
                </a:lnTo>
                <a:close/>
                <a:moveTo>
                  <a:pt x="1909" y="908"/>
                </a:moveTo>
                <a:lnTo>
                  <a:pt x="1909" y="906"/>
                </a:lnTo>
                <a:lnTo>
                  <a:pt x="1909" y="908"/>
                </a:lnTo>
                <a:close/>
                <a:moveTo>
                  <a:pt x="1911" y="908"/>
                </a:moveTo>
                <a:lnTo>
                  <a:pt x="1909" y="908"/>
                </a:lnTo>
                <a:lnTo>
                  <a:pt x="1911" y="908"/>
                </a:lnTo>
                <a:close/>
                <a:moveTo>
                  <a:pt x="1707" y="603"/>
                </a:moveTo>
                <a:lnTo>
                  <a:pt x="1705" y="603"/>
                </a:lnTo>
                <a:lnTo>
                  <a:pt x="1707" y="603"/>
                </a:lnTo>
                <a:lnTo>
                  <a:pt x="1707" y="605"/>
                </a:lnTo>
                <a:lnTo>
                  <a:pt x="1709" y="605"/>
                </a:lnTo>
                <a:lnTo>
                  <a:pt x="1711" y="605"/>
                </a:lnTo>
                <a:lnTo>
                  <a:pt x="1709" y="605"/>
                </a:lnTo>
                <a:lnTo>
                  <a:pt x="1707" y="605"/>
                </a:lnTo>
                <a:lnTo>
                  <a:pt x="1707" y="603"/>
                </a:lnTo>
                <a:close/>
                <a:moveTo>
                  <a:pt x="1701" y="587"/>
                </a:moveTo>
                <a:lnTo>
                  <a:pt x="1701" y="589"/>
                </a:lnTo>
                <a:lnTo>
                  <a:pt x="1701" y="591"/>
                </a:lnTo>
                <a:lnTo>
                  <a:pt x="1701" y="593"/>
                </a:lnTo>
                <a:lnTo>
                  <a:pt x="1703" y="595"/>
                </a:lnTo>
                <a:lnTo>
                  <a:pt x="1703" y="597"/>
                </a:lnTo>
                <a:lnTo>
                  <a:pt x="1703" y="599"/>
                </a:lnTo>
                <a:lnTo>
                  <a:pt x="1703" y="601"/>
                </a:lnTo>
                <a:lnTo>
                  <a:pt x="1705" y="601"/>
                </a:lnTo>
                <a:lnTo>
                  <a:pt x="1703" y="601"/>
                </a:lnTo>
                <a:lnTo>
                  <a:pt x="1703" y="599"/>
                </a:lnTo>
                <a:lnTo>
                  <a:pt x="1703" y="597"/>
                </a:lnTo>
                <a:lnTo>
                  <a:pt x="1701" y="597"/>
                </a:lnTo>
                <a:lnTo>
                  <a:pt x="1701" y="595"/>
                </a:lnTo>
                <a:lnTo>
                  <a:pt x="1701" y="593"/>
                </a:lnTo>
                <a:lnTo>
                  <a:pt x="1701" y="591"/>
                </a:lnTo>
                <a:lnTo>
                  <a:pt x="1701" y="589"/>
                </a:lnTo>
                <a:lnTo>
                  <a:pt x="1701" y="587"/>
                </a:lnTo>
                <a:lnTo>
                  <a:pt x="1700" y="587"/>
                </a:lnTo>
                <a:lnTo>
                  <a:pt x="1700" y="586"/>
                </a:lnTo>
                <a:lnTo>
                  <a:pt x="1698" y="586"/>
                </a:lnTo>
                <a:lnTo>
                  <a:pt x="1700" y="586"/>
                </a:lnTo>
                <a:lnTo>
                  <a:pt x="1701" y="586"/>
                </a:lnTo>
                <a:lnTo>
                  <a:pt x="1701" y="587"/>
                </a:lnTo>
                <a:close/>
                <a:moveTo>
                  <a:pt x="1922" y="918"/>
                </a:moveTo>
                <a:lnTo>
                  <a:pt x="1922" y="920"/>
                </a:lnTo>
                <a:lnTo>
                  <a:pt x="1924" y="920"/>
                </a:lnTo>
                <a:lnTo>
                  <a:pt x="1922" y="920"/>
                </a:lnTo>
                <a:lnTo>
                  <a:pt x="1922" y="918"/>
                </a:lnTo>
                <a:close/>
                <a:moveTo>
                  <a:pt x="1711" y="607"/>
                </a:moveTo>
                <a:lnTo>
                  <a:pt x="1713" y="607"/>
                </a:lnTo>
                <a:lnTo>
                  <a:pt x="1713" y="609"/>
                </a:lnTo>
                <a:lnTo>
                  <a:pt x="1715" y="609"/>
                </a:lnTo>
                <a:lnTo>
                  <a:pt x="1717" y="610"/>
                </a:lnTo>
                <a:lnTo>
                  <a:pt x="1715" y="610"/>
                </a:lnTo>
                <a:lnTo>
                  <a:pt x="1715" y="609"/>
                </a:lnTo>
                <a:lnTo>
                  <a:pt x="1713" y="609"/>
                </a:lnTo>
                <a:lnTo>
                  <a:pt x="1713" y="607"/>
                </a:lnTo>
                <a:lnTo>
                  <a:pt x="1711" y="607"/>
                </a:lnTo>
                <a:close/>
                <a:moveTo>
                  <a:pt x="1728" y="632"/>
                </a:moveTo>
                <a:lnTo>
                  <a:pt x="1728" y="630"/>
                </a:lnTo>
                <a:lnTo>
                  <a:pt x="1728" y="632"/>
                </a:lnTo>
                <a:close/>
                <a:moveTo>
                  <a:pt x="1924" y="914"/>
                </a:moveTo>
                <a:lnTo>
                  <a:pt x="1924" y="916"/>
                </a:lnTo>
                <a:lnTo>
                  <a:pt x="1922" y="916"/>
                </a:lnTo>
                <a:lnTo>
                  <a:pt x="1924" y="916"/>
                </a:lnTo>
                <a:lnTo>
                  <a:pt x="1924" y="914"/>
                </a:lnTo>
                <a:lnTo>
                  <a:pt x="1922" y="914"/>
                </a:lnTo>
                <a:lnTo>
                  <a:pt x="1924" y="914"/>
                </a:lnTo>
                <a:close/>
                <a:moveTo>
                  <a:pt x="1901" y="885"/>
                </a:moveTo>
                <a:lnTo>
                  <a:pt x="1901" y="887"/>
                </a:lnTo>
                <a:lnTo>
                  <a:pt x="1901" y="885"/>
                </a:lnTo>
                <a:lnTo>
                  <a:pt x="1899" y="885"/>
                </a:lnTo>
                <a:lnTo>
                  <a:pt x="1901" y="885"/>
                </a:lnTo>
                <a:close/>
                <a:moveTo>
                  <a:pt x="1901" y="885"/>
                </a:moveTo>
                <a:lnTo>
                  <a:pt x="1899" y="885"/>
                </a:lnTo>
                <a:lnTo>
                  <a:pt x="1901" y="885"/>
                </a:lnTo>
                <a:lnTo>
                  <a:pt x="1899" y="885"/>
                </a:lnTo>
                <a:lnTo>
                  <a:pt x="1897" y="885"/>
                </a:lnTo>
                <a:lnTo>
                  <a:pt x="1899" y="885"/>
                </a:lnTo>
                <a:lnTo>
                  <a:pt x="1901" y="885"/>
                </a:lnTo>
                <a:close/>
                <a:moveTo>
                  <a:pt x="1901" y="883"/>
                </a:moveTo>
                <a:lnTo>
                  <a:pt x="1901" y="885"/>
                </a:lnTo>
                <a:lnTo>
                  <a:pt x="1901" y="883"/>
                </a:lnTo>
                <a:lnTo>
                  <a:pt x="1901" y="885"/>
                </a:lnTo>
                <a:lnTo>
                  <a:pt x="1901" y="883"/>
                </a:lnTo>
                <a:lnTo>
                  <a:pt x="1899" y="885"/>
                </a:lnTo>
                <a:lnTo>
                  <a:pt x="1899" y="883"/>
                </a:lnTo>
                <a:lnTo>
                  <a:pt x="1901" y="883"/>
                </a:lnTo>
                <a:close/>
                <a:moveTo>
                  <a:pt x="1905" y="889"/>
                </a:moveTo>
                <a:lnTo>
                  <a:pt x="1905" y="891"/>
                </a:lnTo>
                <a:lnTo>
                  <a:pt x="1905" y="889"/>
                </a:lnTo>
                <a:lnTo>
                  <a:pt x="1905" y="887"/>
                </a:lnTo>
                <a:lnTo>
                  <a:pt x="1905" y="889"/>
                </a:lnTo>
                <a:close/>
                <a:moveTo>
                  <a:pt x="1901" y="883"/>
                </a:moveTo>
                <a:lnTo>
                  <a:pt x="1899" y="883"/>
                </a:lnTo>
                <a:lnTo>
                  <a:pt x="1901" y="883"/>
                </a:lnTo>
                <a:lnTo>
                  <a:pt x="1899" y="883"/>
                </a:lnTo>
                <a:lnTo>
                  <a:pt x="1901" y="883"/>
                </a:lnTo>
                <a:close/>
                <a:moveTo>
                  <a:pt x="1863" y="835"/>
                </a:moveTo>
                <a:lnTo>
                  <a:pt x="1863" y="833"/>
                </a:lnTo>
                <a:lnTo>
                  <a:pt x="1865" y="833"/>
                </a:lnTo>
                <a:lnTo>
                  <a:pt x="1865" y="835"/>
                </a:lnTo>
                <a:lnTo>
                  <a:pt x="1863" y="835"/>
                </a:lnTo>
                <a:close/>
                <a:moveTo>
                  <a:pt x="1905" y="887"/>
                </a:moveTo>
                <a:lnTo>
                  <a:pt x="1905" y="885"/>
                </a:lnTo>
                <a:lnTo>
                  <a:pt x="1905" y="887"/>
                </a:lnTo>
                <a:close/>
                <a:moveTo>
                  <a:pt x="1915" y="891"/>
                </a:moveTo>
                <a:lnTo>
                  <a:pt x="1915" y="893"/>
                </a:lnTo>
                <a:lnTo>
                  <a:pt x="1915" y="891"/>
                </a:lnTo>
                <a:close/>
                <a:moveTo>
                  <a:pt x="1903" y="877"/>
                </a:moveTo>
                <a:lnTo>
                  <a:pt x="1903" y="879"/>
                </a:lnTo>
                <a:lnTo>
                  <a:pt x="1905" y="879"/>
                </a:lnTo>
                <a:lnTo>
                  <a:pt x="1905" y="881"/>
                </a:lnTo>
                <a:lnTo>
                  <a:pt x="1905" y="883"/>
                </a:lnTo>
                <a:lnTo>
                  <a:pt x="1905" y="881"/>
                </a:lnTo>
                <a:lnTo>
                  <a:pt x="1905" y="879"/>
                </a:lnTo>
                <a:lnTo>
                  <a:pt x="1903" y="879"/>
                </a:lnTo>
                <a:lnTo>
                  <a:pt x="1903" y="877"/>
                </a:lnTo>
                <a:close/>
                <a:moveTo>
                  <a:pt x="1922" y="900"/>
                </a:moveTo>
                <a:lnTo>
                  <a:pt x="1920" y="900"/>
                </a:lnTo>
                <a:lnTo>
                  <a:pt x="1922" y="900"/>
                </a:lnTo>
                <a:lnTo>
                  <a:pt x="1920" y="900"/>
                </a:lnTo>
                <a:lnTo>
                  <a:pt x="1922" y="900"/>
                </a:lnTo>
                <a:lnTo>
                  <a:pt x="1920" y="898"/>
                </a:lnTo>
                <a:lnTo>
                  <a:pt x="1922" y="898"/>
                </a:lnTo>
                <a:lnTo>
                  <a:pt x="1922" y="900"/>
                </a:lnTo>
                <a:close/>
                <a:moveTo>
                  <a:pt x="1903" y="872"/>
                </a:moveTo>
                <a:lnTo>
                  <a:pt x="1903" y="874"/>
                </a:lnTo>
                <a:lnTo>
                  <a:pt x="1903" y="875"/>
                </a:lnTo>
                <a:lnTo>
                  <a:pt x="1901" y="875"/>
                </a:lnTo>
                <a:lnTo>
                  <a:pt x="1903" y="875"/>
                </a:lnTo>
                <a:lnTo>
                  <a:pt x="1901" y="875"/>
                </a:lnTo>
                <a:lnTo>
                  <a:pt x="1903" y="875"/>
                </a:lnTo>
                <a:lnTo>
                  <a:pt x="1903" y="874"/>
                </a:lnTo>
                <a:lnTo>
                  <a:pt x="1903" y="872"/>
                </a:lnTo>
                <a:lnTo>
                  <a:pt x="1901" y="872"/>
                </a:lnTo>
                <a:lnTo>
                  <a:pt x="1903" y="872"/>
                </a:lnTo>
                <a:close/>
                <a:moveTo>
                  <a:pt x="1901" y="870"/>
                </a:moveTo>
                <a:lnTo>
                  <a:pt x="1901" y="868"/>
                </a:lnTo>
                <a:lnTo>
                  <a:pt x="1901" y="870"/>
                </a:lnTo>
                <a:close/>
                <a:moveTo>
                  <a:pt x="1893" y="856"/>
                </a:moveTo>
                <a:lnTo>
                  <a:pt x="1893" y="858"/>
                </a:lnTo>
                <a:lnTo>
                  <a:pt x="1893" y="856"/>
                </a:lnTo>
                <a:lnTo>
                  <a:pt x="1893" y="854"/>
                </a:lnTo>
                <a:lnTo>
                  <a:pt x="1892" y="854"/>
                </a:lnTo>
                <a:lnTo>
                  <a:pt x="1893" y="854"/>
                </a:lnTo>
                <a:lnTo>
                  <a:pt x="1893" y="856"/>
                </a:lnTo>
                <a:close/>
                <a:moveTo>
                  <a:pt x="1899" y="864"/>
                </a:moveTo>
                <a:lnTo>
                  <a:pt x="1899" y="866"/>
                </a:lnTo>
                <a:lnTo>
                  <a:pt x="1899" y="864"/>
                </a:lnTo>
                <a:lnTo>
                  <a:pt x="1899" y="862"/>
                </a:lnTo>
                <a:lnTo>
                  <a:pt x="1897" y="862"/>
                </a:lnTo>
                <a:lnTo>
                  <a:pt x="1897" y="860"/>
                </a:lnTo>
                <a:lnTo>
                  <a:pt x="1897" y="862"/>
                </a:lnTo>
                <a:lnTo>
                  <a:pt x="1899" y="862"/>
                </a:lnTo>
                <a:lnTo>
                  <a:pt x="1899" y="864"/>
                </a:lnTo>
                <a:close/>
                <a:moveTo>
                  <a:pt x="1897" y="858"/>
                </a:moveTo>
                <a:lnTo>
                  <a:pt x="1897" y="860"/>
                </a:lnTo>
                <a:lnTo>
                  <a:pt x="1897" y="858"/>
                </a:lnTo>
                <a:lnTo>
                  <a:pt x="1895" y="858"/>
                </a:lnTo>
                <a:lnTo>
                  <a:pt x="1897" y="858"/>
                </a:lnTo>
                <a:close/>
                <a:moveTo>
                  <a:pt x="1861" y="810"/>
                </a:moveTo>
                <a:lnTo>
                  <a:pt x="1861" y="808"/>
                </a:lnTo>
                <a:lnTo>
                  <a:pt x="1861" y="810"/>
                </a:lnTo>
                <a:close/>
                <a:moveTo>
                  <a:pt x="1861" y="808"/>
                </a:moveTo>
                <a:lnTo>
                  <a:pt x="1859" y="808"/>
                </a:lnTo>
                <a:lnTo>
                  <a:pt x="1861" y="808"/>
                </a:lnTo>
                <a:close/>
                <a:moveTo>
                  <a:pt x="1857" y="799"/>
                </a:moveTo>
                <a:lnTo>
                  <a:pt x="1855" y="799"/>
                </a:lnTo>
                <a:lnTo>
                  <a:pt x="1857" y="799"/>
                </a:lnTo>
                <a:close/>
                <a:moveTo>
                  <a:pt x="1824" y="718"/>
                </a:moveTo>
                <a:lnTo>
                  <a:pt x="1822" y="718"/>
                </a:lnTo>
                <a:lnTo>
                  <a:pt x="1824" y="718"/>
                </a:lnTo>
                <a:lnTo>
                  <a:pt x="1822" y="718"/>
                </a:lnTo>
                <a:lnTo>
                  <a:pt x="1824" y="718"/>
                </a:lnTo>
                <a:close/>
                <a:moveTo>
                  <a:pt x="1821" y="714"/>
                </a:moveTo>
                <a:lnTo>
                  <a:pt x="1822" y="714"/>
                </a:lnTo>
                <a:lnTo>
                  <a:pt x="1822" y="712"/>
                </a:lnTo>
                <a:lnTo>
                  <a:pt x="1824" y="712"/>
                </a:lnTo>
                <a:lnTo>
                  <a:pt x="1822" y="714"/>
                </a:lnTo>
                <a:lnTo>
                  <a:pt x="1821" y="714"/>
                </a:lnTo>
                <a:close/>
                <a:moveTo>
                  <a:pt x="1867" y="778"/>
                </a:moveTo>
                <a:lnTo>
                  <a:pt x="1867" y="776"/>
                </a:lnTo>
                <a:lnTo>
                  <a:pt x="1869" y="776"/>
                </a:lnTo>
                <a:lnTo>
                  <a:pt x="1869" y="778"/>
                </a:lnTo>
                <a:lnTo>
                  <a:pt x="1867" y="778"/>
                </a:lnTo>
                <a:close/>
                <a:moveTo>
                  <a:pt x="1867" y="776"/>
                </a:moveTo>
                <a:lnTo>
                  <a:pt x="1869" y="776"/>
                </a:lnTo>
                <a:lnTo>
                  <a:pt x="1867" y="776"/>
                </a:lnTo>
                <a:lnTo>
                  <a:pt x="1867" y="774"/>
                </a:lnTo>
                <a:lnTo>
                  <a:pt x="1869" y="774"/>
                </a:lnTo>
                <a:lnTo>
                  <a:pt x="1867" y="774"/>
                </a:lnTo>
                <a:lnTo>
                  <a:pt x="1867" y="776"/>
                </a:lnTo>
                <a:close/>
                <a:moveTo>
                  <a:pt x="1782" y="637"/>
                </a:moveTo>
                <a:lnTo>
                  <a:pt x="1780" y="637"/>
                </a:lnTo>
                <a:lnTo>
                  <a:pt x="1780" y="635"/>
                </a:lnTo>
                <a:lnTo>
                  <a:pt x="1778" y="635"/>
                </a:lnTo>
                <a:lnTo>
                  <a:pt x="1778" y="634"/>
                </a:lnTo>
                <a:lnTo>
                  <a:pt x="1776" y="634"/>
                </a:lnTo>
                <a:lnTo>
                  <a:pt x="1776" y="632"/>
                </a:lnTo>
                <a:lnTo>
                  <a:pt x="1778" y="634"/>
                </a:lnTo>
                <a:lnTo>
                  <a:pt x="1778" y="635"/>
                </a:lnTo>
                <a:lnTo>
                  <a:pt x="1780" y="635"/>
                </a:lnTo>
                <a:lnTo>
                  <a:pt x="1782" y="635"/>
                </a:lnTo>
                <a:lnTo>
                  <a:pt x="1782" y="637"/>
                </a:lnTo>
                <a:close/>
                <a:moveTo>
                  <a:pt x="1865" y="768"/>
                </a:moveTo>
                <a:lnTo>
                  <a:pt x="1863" y="768"/>
                </a:lnTo>
                <a:lnTo>
                  <a:pt x="1865" y="768"/>
                </a:lnTo>
                <a:close/>
                <a:moveTo>
                  <a:pt x="1828" y="708"/>
                </a:moveTo>
                <a:lnTo>
                  <a:pt x="1828" y="710"/>
                </a:lnTo>
                <a:lnTo>
                  <a:pt x="1828" y="708"/>
                </a:lnTo>
                <a:lnTo>
                  <a:pt x="1828" y="710"/>
                </a:lnTo>
                <a:lnTo>
                  <a:pt x="1826" y="710"/>
                </a:lnTo>
                <a:lnTo>
                  <a:pt x="1828" y="710"/>
                </a:lnTo>
                <a:lnTo>
                  <a:pt x="1826" y="710"/>
                </a:lnTo>
                <a:lnTo>
                  <a:pt x="1826" y="708"/>
                </a:lnTo>
                <a:lnTo>
                  <a:pt x="1828" y="706"/>
                </a:lnTo>
                <a:lnTo>
                  <a:pt x="1828" y="708"/>
                </a:lnTo>
                <a:lnTo>
                  <a:pt x="1830" y="708"/>
                </a:lnTo>
                <a:lnTo>
                  <a:pt x="1828" y="708"/>
                </a:lnTo>
                <a:close/>
                <a:moveTo>
                  <a:pt x="1832" y="708"/>
                </a:moveTo>
                <a:lnTo>
                  <a:pt x="1832" y="706"/>
                </a:lnTo>
                <a:lnTo>
                  <a:pt x="1834" y="706"/>
                </a:lnTo>
                <a:lnTo>
                  <a:pt x="1834" y="708"/>
                </a:lnTo>
                <a:lnTo>
                  <a:pt x="1832" y="708"/>
                </a:lnTo>
                <a:close/>
                <a:moveTo>
                  <a:pt x="1851" y="712"/>
                </a:moveTo>
                <a:lnTo>
                  <a:pt x="1851" y="714"/>
                </a:lnTo>
                <a:lnTo>
                  <a:pt x="1851" y="712"/>
                </a:lnTo>
                <a:lnTo>
                  <a:pt x="1851" y="710"/>
                </a:lnTo>
                <a:lnTo>
                  <a:pt x="1851" y="712"/>
                </a:lnTo>
                <a:close/>
                <a:moveTo>
                  <a:pt x="1851" y="708"/>
                </a:moveTo>
                <a:lnTo>
                  <a:pt x="1851" y="710"/>
                </a:lnTo>
                <a:lnTo>
                  <a:pt x="1851" y="708"/>
                </a:lnTo>
                <a:close/>
                <a:moveTo>
                  <a:pt x="1849" y="697"/>
                </a:moveTo>
                <a:lnTo>
                  <a:pt x="1849" y="699"/>
                </a:lnTo>
                <a:lnTo>
                  <a:pt x="1849" y="701"/>
                </a:lnTo>
                <a:lnTo>
                  <a:pt x="1849" y="703"/>
                </a:lnTo>
                <a:lnTo>
                  <a:pt x="1849" y="701"/>
                </a:lnTo>
                <a:lnTo>
                  <a:pt x="1849" y="699"/>
                </a:lnTo>
                <a:lnTo>
                  <a:pt x="1849" y="697"/>
                </a:lnTo>
                <a:close/>
                <a:moveTo>
                  <a:pt x="1849" y="695"/>
                </a:moveTo>
                <a:lnTo>
                  <a:pt x="1849" y="697"/>
                </a:lnTo>
                <a:lnTo>
                  <a:pt x="1849" y="695"/>
                </a:lnTo>
                <a:lnTo>
                  <a:pt x="1847" y="695"/>
                </a:lnTo>
                <a:lnTo>
                  <a:pt x="1847" y="693"/>
                </a:lnTo>
                <a:lnTo>
                  <a:pt x="1849" y="695"/>
                </a:lnTo>
                <a:close/>
                <a:moveTo>
                  <a:pt x="1847" y="687"/>
                </a:moveTo>
                <a:lnTo>
                  <a:pt x="1849" y="687"/>
                </a:lnTo>
                <a:lnTo>
                  <a:pt x="1849" y="685"/>
                </a:lnTo>
                <a:lnTo>
                  <a:pt x="1849" y="687"/>
                </a:lnTo>
                <a:lnTo>
                  <a:pt x="1847" y="687"/>
                </a:lnTo>
                <a:close/>
                <a:moveTo>
                  <a:pt x="1849" y="685"/>
                </a:moveTo>
                <a:lnTo>
                  <a:pt x="1849" y="683"/>
                </a:lnTo>
                <a:lnTo>
                  <a:pt x="1849" y="682"/>
                </a:lnTo>
                <a:lnTo>
                  <a:pt x="1849" y="683"/>
                </a:lnTo>
                <a:lnTo>
                  <a:pt x="1849" y="685"/>
                </a:lnTo>
                <a:close/>
                <a:moveTo>
                  <a:pt x="1849" y="682"/>
                </a:moveTo>
                <a:lnTo>
                  <a:pt x="1849" y="680"/>
                </a:lnTo>
                <a:lnTo>
                  <a:pt x="1849" y="682"/>
                </a:lnTo>
                <a:close/>
                <a:moveTo>
                  <a:pt x="1849" y="680"/>
                </a:moveTo>
                <a:lnTo>
                  <a:pt x="1847" y="680"/>
                </a:lnTo>
                <a:lnTo>
                  <a:pt x="1849" y="680"/>
                </a:lnTo>
                <a:close/>
                <a:moveTo>
                  <a:pt x="1847" y="676"/>
                </a:moveTo>
                <a:lnTo>
                  <a:pt x="1847" y="678"/>
                </a:lnTo>
                <a:lnTo>
                  <a:pt x="1847" y="676"/>
                </a:lnTo>
                <a:close/>
                <a:moveTo>
                  <a:pt x="782" y="1204"/>
                </a:moveTo>
                <a:lnTo>
                  <a:pt x="780" y="1204"/>
                </a:lnTo>
                <a:lnTo>
                  <a:pt x="780" y="1202"/>
                </a:lnTo>
                <a:lnTo>
                  <a:pt x="778" y="1202"/>
                </a:lnTo>
                <a:lnTo>
                  <a:pt x="776" y="1202"/>
                </a:lnTo>
                <a:lnTo>
                  <a:pt x="774" y="1202"/>
                </a:lnTo>
                <a:lnTo>
                  <a:pt x="774" y="1204"/>
                </a:lnTo>
                <a:lnTo>
                  <a:pt x="772" y="1206"/>
                </a:lnTo>
                <a:lnTo>
                  <a:pt x="772" y="1208"/>
                </a:lnTo>
                <a:lnTo>
                  <a:pt x="774" y="1208"/>
                </a:lnTo>
                <a:lnTo>
                  <a:pt x="776" y="1208"/>
                </a:lnTo>
                <a:lnTo>
                  <a:pt x="776" y="1206"/>
                </a:lnTo>
                <a:lnTo>
                  <a:pt x="776" y="1208"/>
                </a:lnTo>
                <a:lnTo>
                  <a:pt x="776" y="1209"/>
                </a:lnTo>
                <a:lnTo>
                  <a:pt x="778" y="1209"/>
                </a:lnTo>
                <a:lnTo>
                  <a:pt x="778" y="1211"/>
                </a:lnTo>
                <a:lnTo>
                  <a:pt x="778" y="1209"/>
                </a:lnTo>
                <a:lnTo>
                  <a:pt x="778" y="1211"/>
                </a:lnTo>
                <a:lnTo>
                  <a:pt x="778" y="1213"/>
                </a:lnTo>
                <a:lnTo>
                  <a:pt x="780" y="1213"/>
                </a:lnTo>
                <a:lnTo>
                  <a:pt x="778" y="1213"/>
                </a:lnTo>
                <a:lnTo>
                  <a:pt x="780" y="1213"/>
                </a:lnTo>
                <a:lnTo>
                  <a:pt x="780" y="1215"/>
                </a:lnTo>
                <a:lnTo>
                  <a:pt x="780" y="1217"/>
                </a:lnTo>
                <a:lnTo>
                  <a:pt x="780" y="1215"/>
                </a:lnTo>
                <a:lnTo>
                  <a:pt x="780" y="1217"/>
                </a:lnTo>
                <a:lnTo>
                  <a:pt x="780" y="1219"/>
                </a:lnTo>
                <a:lnTo>
                  <a:pt x="780" y="1221"/>
                </a:lnTo>
                <a:lnTo>
                  <a:pt x="780" y="1219"/>
                </a:lnTo>
                <a:lnTo>
                  <a:pt x="780" y="1217"/>
                </a:lnTo>
                <a:lnTo>
                  <a:pt x="782" y="1217"/>
                </a:lnTo>
                <a:lnTo>
                  <a:pt x="782" y="1215"/>
                </a:lnTo>
                <a:lnTo>
                  <a:pt x="784" y="1215"/>
                </a:lnTo>
                <a:lnTo>
                  <a:pt x="785" y="1215"/>
                </a:lnTo>
                <a:lnTo>
                  <a:pt x="785" y="1213"/>
                </a:lnTo>
                <a:lnTo>
                  <a:pt x="785" y="1211"/>
                </a:lnTo>
                <a:lnTo>
                  <a:pt x="787" y="1211"/>
                </a:lnTo>
                <a:lnTo>
                  <a:pt x="787" y="1209"/>
                </a:lnTo>
                <a:lnTo>
                  <a:pt x="787" y="1211"/>
                </a:lnTo>
                <a:lnTo>
                  <a:pt x="787" y="1209"/>
                </a:lnTo>
                <a:lnTo>
                  <a:pt x="787" y="1211"/>
                </a:lnTo>
                <a:lnTo>
                  <a:pt x="787" y="1209"/>
                </a:lnTo>
                <a:lnTo>
                  <a:pt x="789" y="1209"/>
                </a:lnTo>
                <a:lnTo>
                  <a:pt x="791" y="1209"/>
                </a:lnTo>
                <a:lnTo>
                  <a:pt x="791" y="1208"/>
                </a:lnTo>
                <a:lnTo>
                  <a:pt x="793" y="1208"/>
                </a:lnTo>
                <a:lnTo>
                  <a:pt x="795" y="1208"/>
                </a:lnTo>
                <a:lnTo>
                  <a:pt x="797" y="1206"/>
                </a:lnTo>
                <a:lnTo>
                  <a:pt x="799" y="1206"/>
                </a:lnTo>
                <a:lnTo>
                  <a:pt x="801" y="1206"/>
                </a:lnTo>
                <a:lnTo>
                  <a:pt x="803" y="1206"/>
                </a:lnTo>
                <a:lnTo>
                  <a:pt x="805" y="1206"/>
                </a:lnTo>
                <a:lnTo>
                  <a:pt x="807" y="1206"/>
                </a:lnTo>
                <a:lnTo>
                  <a:pt x="809" y="1206"/>
                </a:lnTo>
                <a:lnTo>
                  <a:pt x="810" y="1206"/>
                </a:lnTo>
                <a:lnTo>
                  <a:pt x="812" y="1206"/>
                </a:lnTo>
                <a:lnTo>
                  <a:pt x="814" y="1206"/>
                </a:lnTo>
                <a:lnTo>
                  <a:pt x="816" y="1208"/>
                </a:lnTo>
                <a:lnTo>
                  <a:pt x="818" y="1208"/>
                </a:lnTo>
                <a:lnTo>
                  <a:pt x="820" y="1208"/>
                </a:lnTo>
                <a:lnTo>
                  <a:pt x="822" y="1208"/>
                </a:lnTo>
                <a:lnTo>
                  <a:pt x="824" y="1208"/>
                </a:lnTo>
                <a:lnTo>
                  <a:pt x="824" y="1209"/>
                </a:lnTo>
                <a:lnTo>
                  <a:pt x="822" y="1208"/>
                </a:lnTo>
                <a:lnTo>
                  <a:pt x="822" y="1209"/>
                </a:lnTo>
                <a:lnTo>
                  <a:pt x="824" y="1209"/>
                </a:lnTo>
                <a:lnTo>
                  <a:pt x="826" y="1209"/>
                </a:lnTo>
                <a:lnTo>
                  <a:pt x="828" y="1209"/>
                </a:lnTo>
                <a:lnTo>
                  <a:pt x="828" y="1211"/>
                </a:lnTo>
                <a:lnTo>
                  <a:pt x="830" y="1211"/>
                </a:lnTo>
                <a:lnTo>
                  <a:pt x="832" y="1213"/>
                </a:lnTo>
                <a:lnTo>
                  <a:pt x="833" y="1213"/>
                </a:lnTo>
                <a:lnTo>
                  <a:pt x="833" y="1215"/>
                </a:lnTo>
                <a:lnTo>
                  <a:pt x="833" y="1217"/>
                </a:lnTo>
                <a:lnTo>
                  <a:pt x="835" y="1217"/>
                </a:lnTo>
                <a:lnTo>
                  <a:pt x="835" y="1215"/>
                </a:lnTo>
                <a:lnTo>
                  <a:pt x="833" y="1215"/>
                </a:lnTo>
                <a:lnTo>
                  <a:pt x="833" y="1213"/>
                </a:lnTo>
                <a:lnTo>
                  <a:pt x="835" y="1213"/>
                </a:lnTo>
                <a:lnTo>
                  <a:pt x="835" y="1215"/>
                </a:lnTo>
                <a:lnTo>
                  <a:pt x="837" y="1215"/>
                </a:lnTo>
                <a:lnTo>
                  <a:pt x="835" y="1215"/>
                </a:lnTo>
                <a:lnTo>
                  <a:pt x="837" y="1215"/>
                </a:lnTo>
                <a:lnTo>
                  <a:pt x="839" y="1215"/>
                </a:lnTo>
                <a:lnTo>
                  <a:pt x="841" y="1215"/>
                </a:lnTo>
                <a:lnTo>
                  <a:pt x="843" y="1215"/>
                </a:lnTo>
                <a:lnTo>
                  <a:pt x="845" y="1215"/>
                </a:lnTo>
                <a:lnTo>
                  <a:pt x="847" y="1215"/>
                </a:lnTo>
                <a:lnTo>
                  <a:pt x="847" y="1217"/>
                </a:lnTo>
                <a:lnTo>
                  <a:pt x="849" y="1217"/>
                </a:lnTo>
                <a:lnTo>
                  <a:pt x="851" y="1217"/>
                </a:lnTo>
                <a:lnTo>
                  <a:pt x="853" y="1217"/>
                </a:lnTo>
                <a:lnTo>
                  <a:pt x="853" y="1219"/>
                </a:lnTo>
                <a:lnTo>
                  <a:pt x="851" y="1219"/>
                </a:lnTo>
                <a:lnTo>
                  <a:pt x="853" y="1219"/>
                </a:lnTo>
                <a:lnTo>
                  <a:pt x="855" y="1219"/>
                </a:lnTo>
                <a:lnTo>
                  <a:pt x="857" y="1219"/>
                </a:lnTo>
                <a:lnTo>
                  <a:pt x="857" y="1221"/>
                </a:lnTo>
                <a:lnTo>
                  <a:pt x="855" y="1219"/>
                </a:lnTo>
                <a:lnTo>
                  <a:pt x="855" y="1221"/>
                </a:lnTo>
                <a:lnTo>
                  <a:pt x="857" y="1221"/>
                </a:lnTo>
                <a:lnTo>
                  <a:pt x="858" y="1221"/>
                </a:lnTo>
                <a:lnTo>
                  <a:pt x="857" y="1221"/>
                </a:lnTo>
                <a:lnTo>
                  <a:pt x="857" y="1223"/>
                </a:lnTo>
                <a:lnTo>
                  <a:pt x="855" y="1223"/>
                </a:lnTo>
                <a:lnTo>
                  <a:pt x="855" y="1225"/>
                </a:lnTo>
                <a:lnTo>
                  <a:pt x="853" y="1225"/>
                </a:lnTo>
                <a:lnTo>
                  <a:pt x="853" y="1227"/>
                </a:lnTo>
                <a:lnTo>
                  <a:pt x="851" y="1227"/>
                </a:lnTo>
                <a:lnTo>
                  <a:pt x="849" y="1227"/>
                </a:lnTo>
                <a:lnTo>
                  <a:pt x="851" y="1227"/>
                </a:lnTo>
                <a:lnTo>
                  <a:pt x="853" y="1227"/>
                </a:lnTo>
                <a:lnTo>
                  <a:pt x="855" y="1227"/>
                </a:lnTo>
                <a:lnTo>
                  <a:pt x="855" y="1229"/>
                </a:lnTo>
                <a:lnTo>
                  <a:pt x="853" y="1229"/>
                </a:lnTo>
                <a:lnTo>
                  <a:pt x="853" y="1231"/>
                </a:lnTo>
                <a:lnTo>
                  <a:pt x="855" y="1231"/>
                </a:lnTo>
                <a:lnTo>
                  <a:pt x="855" y="1233"/>
                </a:lnTo>
                <a:lnTo>
                  <a:pt x="855" y="1234"/>
                </a:lnTo>
                <a:lnTo>
                  <a:pt x="857" y="1234"/>
                </a:lnTo>
                <a:lnTo>
                  <a:pt x="857" y="1236"/>
                </a:lnTo>
                <a:lnTo>
                  <a:pt x="858" y="1236"/>
                </a:lnTo>
                <a:lnTo>
                  <a:pt x="857" y="1234"/>
                </a:lnTo>
                <a:lnTo>
                  <a:pt x="857" y="1233"/>
                </a:lnTo>
                <a:lnTo>
                  <a:pt x="857" y="1231"/>
                </a:lnTo>
                <a:lnTo>
                  <a:pt x="855" y="1231"/>
                </a:lnTo>
                <a:lnTo>
                  <a:pt x="855" y="1229"/>
                </a:lnTo>
                <a:lnTo>
                  <a:pt x="857" y="1229"/>
                </a:lnTo>
                <a:lnTo>
                  <a:pt x="857" y="1227"/>
                </a:lnTo>
                <a:lnTo>
                  <a:pt x="858" y="1227"/>
                </a:lnTo>
                <a:lnTo>
                  <a:pt x="858" y="1225"/>
                </a:lnTo>
                <a:lnTo>
                  <a:pt x="860" y="1225"/>
                </a:lnTo>
                <a:lnTo>
                  <a:pt x="862" y="1223"/>
                </a:lnTo>
                <a:lnTo>
                  <a:pt x="864" y="1223"/>
                </a:lnTo>
                <a:lnTo>
                  <a:pt x="864" y="1221"/>
                </a:lnTo>
                <a:lnTo>
                  <a:pt x="862" y="1221"/>
                </a:lnTo>
                <a:lnTo>
                  <a:pt x="862" y="1223"/>
                </a:lnTo>
                <a:lnTo>
                  <a:pt x="862" y="1221"/>
                </a:lnTo>
                <a:lnTo>
                  <a:pt x="860" y="1219"/>
                </a:lnTo>
                <a:lnTo>
                  <a:pt x="862" y="1219"/>
                </a:lnTo>
                <a:lnTo>
                  <a:pt x="862" y="1217"/>
                </a:lnTo>
                <a:lnTo>
                  <a:pt x="868" y="1215"/>
                </a:lnTo>
                <a:lnTo>
                  <a:pt x="868" y="1213"/>
                </a:lnTo>
                <a:lnTo>
                  <a:pt x="870" y="1213"/>
                </a:lnTo>
                <a:lnTo>
                  <a:pt x="872" y="1213"/>
                </a:lnTo>
                <a:lnTo>
                  <a:pt x="880" y="1209"/>
                </a:lnTo>
                <a:lnTo>
                  <a:pt x="881" y="1209"/>
                </a:lnTo>
                <a:lnTo>
                  <a:pt x="883" y="1209"/>
                </a:lnTo>
                <a:lnTo>
                  <a:pt x="881" y="1209"/>
                </a:lnTo>
                <a:lnTo>
                  <a:pt x="885" y="1208"/>
                </a:lnTo>
                <a:lnTo>
                  <a:pt x="887" y="1208"/>
                </a:lnTo>
                <a:lnTo>
                  <a:pt x="887" y="1206"/>
                </a:lnTo>
                <a:lnTo>
                  <a:pt x="889" y="1206"/>
                </a:lnTo>
                <a:lnTo>
                  <a:pt x="889" y="1208"/>
                </a:lnTo>
                <a:lnTo>
                  <a:pt x="887" y="1208"/>
                </a:lnTo>
                <a:lnTo>
                  <a:pt x="889" y="1206"/>
                </a:lnTo>
                <a:lnTo>
                  <a:pt x="891" y="1206"/>
                </a:lnTo>
                <a:lnTo>
                  <a:pt x="891" y="1204"/>
                </a:lnTo>
                <a:lnTo>
                  <a:pt x="893" y="1204"/>
                </a:lnTo>
                <a:lnTo>
                  <a:pt x="895" y="1204"/>
                </a:lnTo>
                <a:lnTo>
                  <a:pt x="897" y="1204"/>
                </a:lnTo>
                <a:lnTo>
                  <a:pt x="897" y="1202"/>
                </a:lnTo>
                <a:lnTo>
                  <a:pt x="899" y="1202"/>
                </a:lnTo>
                <a:lnTo>
                  <a:pt x="901" y="1202"/>
                </a:lnTo>
                <a:lnTo>
                  <a:pt x="899" y="1202"/>
                </a:lnTo>
                <a:lnTo>
                  <a:pt x="901" y="1202"/>
                </a:lnTo>
                <a:lnTo>
                  <a:pt x="903" y="1202"/>
                </a:lnTo>
                <a:lnTo>
                  <a:pt x="901" y="1202"/>
                </a:lnTo>
                <a:lnTo>
                  <a:pt x="899" y="1202"/>
                </a:lnTo>
                <a:lnTo>
                  <a:pt x="901" y="1202"/>
                </a:lnTo>
                <a:lnTo>
                  <a:pt x="903" y="1202"/>
                </a:lnTo>
                <a:lnTo>
                  <a:pt x="905" y="1202"/>
                </a:lnTo>
                <a:lnTo>
                  <a:pt x="905" y="1204"/>
                </a:lnTo>
                <a:lnTo>
                  <a:pt x="906" y="1206"/>
                </a:lnTo>
                <a:lnTo>
                  <a:pt x="906" y="1208"/>
                </a:lnTo>
                <a:lnTo>
                  <a:pt x="908" y="1208"/>
                </a:lnTo>
                <a:lnTo>
                  <a:pt x="910" y="1206"/>
                </a:lnTo>
                <a:lnTo>
                  <a:pt x="912" y="1208"/>
                </a:lnTo>
                <a:lnTo>
                  <a:pt x="912" y="1209"/>
                </a:lnTo>
                <a:lnTo>
                  <a:pt x="910" y="1209"/>
                </a:lnTo>
                <a:lnTo>
                  <a:pt x="910" y="1211"/>
                </a:lnTo>
                <a:lnTo>
                  <a:pt x="912" y="1211"/>
                </a:lnTo>
                <a:lnTo>
                  <a:pt x="912" y="1213"/>
                </a:lnTo>
                <a:lnTo>
                  <a:pt x="914" y="1213"/>
                </a:lnTo>
                <a:lnTo>
                  <a:pt x="914" y="1215"/>
                </a:lnTo>
                <a:lnTo>
                  <a:pt x="912" y="1215"/>
                </a:lnTo>
                <a:lnTo>
                  <a:pt x="912" y="1217"/>
                </a:lnTo>
                <a:lnTo>
                  <a:pt x="912" y="1219"/>
                </a:lnTo>
                <a:lnTo>
                  <a:pt x="912" y="1217"/>
                </a:lnTo>
                <a:lnTo>
                  <a:pt x="912" y="1215"/>
                </a:lnTo>
                <a:lnTo>
                  <a:pt x="914" y="1215"/>
                </a:lnTo>
                <a:lnTo>
                  <a:pt x="914" y="1213"/>
                </a:lnTo>
                <a:lnTo>
                  <a:pt x="914" y="1211"/>
                </a:lnTo>
                <a:lnTo>
                  <a:pt x="912" y="1211"/>
                </a:lnTo>
                <a:lnTo>
                  <a:pt x="912" y="1209"/>
                </a:lnTo>
                <a:lnTo>
                  <a:pt x="912" y="1208"/>
                </a:lnTo>
                <a:lnTo>
                  <a:pt x="914" y="1206"/>
                </a:lnTo>
                <a:lnTo>
                  <a:pt x="914" y="1208"/>
                </a:lnTo>
                <a:lnTo>
                  <a:pt x="916" y="1208"/>
                </a:lnTo>
                <a:lnTo>
                  <a:pt x="914" y="1206"/>
                </a:lnTo>
                <a:lnTo>
                  <a:pt x="912" y="1206"/>
                </a:lnTo>
                <a:lnTo>
                  <a:pt x="910" y="1204"/>
                </a:lnTo>
                <a:lnTo>
                  <a:pt x="908" y="1204"/>
                </a:lnTo>
                <a:lnTo>
                  <a:pt x="910" y="1202"/>
                </a:lnTo>
                <a:lnTo>
                  <a:pt x="910" y="1200"/>
                </a:lnTo>
                <a:lnTo>
                  <a:pt x="910" y="1198"/>
                </a:lnTo>
                <a:lnTo>
                  <a:pt x="910" y="1196"/>
                </a:lnTo>
                <a:lnTo>
                  <a:pt x="912" y="1196"/>
                </a:lnTo>
                <a:lnTo>
                  <a:pt x="914" y="1194"/>
                </a:lnTo>
                <a:lnTo>
                  <a:pt x="916" y="1194"/>
                </a:lnTo>
                <a:lnTo>
                  <a:pt x="918" y="1192"/>
                </a:lnTo>
                <a:lnTo>
                  <a:pt x="920" y="1192"/>
                </a:lnTo>
                <a:lnTo>
                  <a:pt x="922" y="1192"/>
                </a:lnTo>
                <a:lnTo>
                  <a:pt x="924" y="1192"/>
                </a:lnTo>
                <a:lnTo>
                  <a:pt x="924" y="1190"/>
                </a:lnTo>
                <a:lnTo>
                  <a:pt x="926" y="1190"/>
                </a:lnTo>
                <a:lnTo>
                  <a:pt x="928" y="1190"/>
                </a:lnTo>
                <a:lnTo>
                  <a:pt x="929" y="1190"/>
                </a:lnTo>
                <a:lnTo>
                  <a:pt x="928" y="1190"/>
                </a:lnTo>
                <a:lnTo>
                  <a:pt x="929" y="1190"/>
                </a:lnTo>
                <a:lnTo>
                  <a:pt x="931" y="1192"/>
                </a:lnTo>
                <a:lnTo>
                  <a:pt x="933" y="1192"/>
                </a:lnTo>
                <a:lnTo>
                  <a:pt x="935" y="1192"/>
                </a:lnTo>
                <a:lnTo>
                  <a:pt x="935" y="1194"/>
                </a:lnTo>
                <a:lnTo>
                  <a:pt x="937" y="1194"/>
                </a:lnTo>
                <a:lnTo>
                  <a:pt x="937" y="1192"/>
                </a:lnTo>
                <a:lnTo>
                  <a:pt x="939" y="1192"/>
                </a:lnTo>
                <a:lnTo>
                  <a:pt x="941" y="1192"/>
                </a:lnTo>
                <a:lnTo>
                  <a:pt x="943" y="1194"/>
                </a:lnTo>
                <a:lnTo>
                  <a:pt x="945" y="1194"/>
                </a:lnTo>
                <a:lnTo>
                  <a:pt x="947" y="1194"/>
                </a:lnTo>
                <a:lnTo>
                  <a:pt x="949" y="1194"/>
                </a:lnTo>
                <a:lnTo>
                  <a:pt x="951" y="1196"/>
                </a:lnTo>
                <a:lnTo>
                  <a:pt x="953" y="1196"/>
                </a:lnTo>
                <a:lnTo>
                  <a:pt x="953" y="1198"/>
                </a:lnTo>
                <a:lnTo>
                  <a:pt x="954" y="1198"/>
                </a:lnTo>
                <a:lnTo>
                  <a:pt x="954" y="1200"/>
                </a:lnTo>
                <a:lnTo>
                  <a:pt x="956" y="1200"/>
                </a:lnTo>
                <a:lnTo>
                  <a:pt x="956" y="1202"/>
                </a:lnTo>
                <a:lnTo>
                  <a:pt x="958" y="1202"/>
                </a:lnTo>
                <a:lnTo>
                  <a:pt x="958" y="1200"/>
                </a:lnTo>
                <a:lnTo>
                  <a:pt x="956" y="1200"/>
                </a:lnTo>
                <a:lnTo>
                  <a:pt x="958" y="1200"/>
                </a:lnTo>
                <a:lnTo>
                  <a:pt x="956" y="1200"/>
                </a:lnTo>
                <a:lnTo>
                  <a:pt x="956" y="1198"/>
                </a:lnTo>
                <a:lnTo>
                  <a:pt x="954" y="1198"/>
                </a:lnTo>
                <a:lnTo>
                  <a:pt x="954" y="1196"/>
                </a:lnTo>
                <a:lnTo>
                  <a:pt x="953" y="1196"/>
                </a:lnTo>
                <a:lnTo>
                  <a:pt x="954" y="1196"/>
                </a:lnTo>
                <a:lnTo>
                  <a:pt x="954" y="1194"/>
                </a:lnTo>
                <a:lnTo>
                  <a:pt x="956" y="1194"/>
                </a:lnTo>
                <a:lnTo>
                  <a:pt x="958" y="1194"/>
                </a:lnTo>
                <a:lnTo>
                  <a:pt x="960" y="1194"/>
                </a:lnTo>
                <a:lnTo>
                  <a:pt x="962" y="1194"/>
                </a:lnTo>
                <a:lnTo>
                  <a:pt x="962" y="1192"/>
                </a:lnTo>
                <a:lnTo>
                  <a:pt x="964" y="1192"/>
                </a:lnTo>
                <a:lnTo>
                  <a:pt x="964" y="1190"/>
                </a:lnTo>
                <a:lnTo>
                  <a:pt x="966" y="1190"/>
                </a:lnTo>
                <a:lnTo>
                  <a:pt x="966" y="1192"/>
                </a:lnTo>
                <a:lnTo>
                  <a:pt x="968" y="1192"/>
                </a:lnTo>
                <a:lnTo>
                  <a:pt x="968" y="1190"/>
                </a:lnTo>
                <a:lnTo>
                  <a:pt x="970" y="1190"/>
                </a:lnTo>
                <a:lnTo>
                  <a:pt x="972" y="1188"/>
                </a:lnTo>
                <a:lnTo>
                  <a:pt x="972" y="1190"/>
                </a:lnTo>
                <a:lnTo>
                  <a:pt x="974" y="1190"/>
                </a:lnTo>
                <a:lnTo>
                  <a:pt x="976" y="1190"/>
                </a:lnTo>
                <a:lnTo>
                  <a:pt x="978" y="1190"/>
                </a:lnTo>
                <a:lnTo>
                  <a:pt x="978" y="1192"/>
                </a:lnTo>
                <a:lnTo>
                  <a:pt x="978" y="1190"/>
                </a:lnTo>
                <a:lnTo>
                  <a:pt x="979" y="1190"/>
                </a:lnTo>
                <a:lnTo>
                  <a:pt x="981" y="1190"/>
                </a:lnTo>
                <a:lnTo>
                  <a:pt x="981" y="1188"/>
                </a:lnTo>
                <a:lnTo>
                  <a:pt x="979" y="1188"/>
                </a:lnTo>
                <a:lnTo>
                  <a:pt x="979" y="1190"/>
                </a:lnTo>
                <a:lnTo>
                  <a:pt x="978" y="1190"/>
                </a:lnTo>
                <a:lnTo>
                  <a:pt x="976" y="1190"/>
                </a:lnTo>
                <a:lnTo>
                  <a:pt x="976" y="1188"/>
                </a:lnTo>
                <a:lnTo>
                  <a:pt x="974" y="1188"/>
                </a:lnTo>
                <a:lnTo>
                  <a:pt x="972" y="1186"/>
                </a:lnTo>
                <a:lnTo>
                  <a:pt x="970" y="1186"/>
                </a:lnTo>
                <a:lnTo>
                  <a:pt x="968" y="1186"/>
                </a:lnTo>
                <a:lnTo>
                  <a:pt x="968" y="1188"/>
                </a:lnTo>
                <a:lnTo>
                  <a:pt x="966" y="1188"/>
                </a:lnTo>
                <a:lnTo>
                  <a:pt x="964" y="1188"/>
                </a:lnTo>
                <a:lnTo>
                  <a:pt x="962" y="1188"/>
                </a:lnTo>
                <a:lnTo>
                  <a:pt x="960" y="1186"/>
                </a:lnTo>
                <a:lnTo>
                  <a:pt x="958" y="1186"/>
                </a:lnTo>
                <a:lnTo>
                  <a:pt x="958" y="1185"/>
                </a:lnTo>
                <a:lnTo>
                  <a:pt x="956" y="1185"/>
                </a:lnTo>
                <a:lnTo>
                  <a:pt x="956" y="1183"/>
                </a:lnTo>
                <a:lnTo>
                  <a:pt x="954" y="1181"/>
                </a:lnTo>
                <a:lnTo>
                  <a:pt x="953" y="1181"/>
                </a:lnTo>
                <a:lnTo>
                  <a:pt x="951" y="1181"/>
                </a:lnTo>
                <a:lnTo>
                  <a:pt x="951" y="1179"/>
                </a:lnTo>
                <a:lnTo>
                  <a:pt x="949" y="1179"/>
                </a:lnTo>
                <a:lnTo>
                  <a:pt x="949" y="1177"/>
                </a:lnTo>
                <a:lnTo>
                  <a:pt x="947" y="1177"/>
                </a:lnTo>
                <a:lnTo>
                  <a:pt x="945" y="1177"/>
                </a:lnTo>
                <a:lnTo>
                  <a:pt x="943" y="1175"/>
                </a:lnTo>
                <a:lnTo>
                  <a:pt x="941" y="1173"/>
                </a:lnTo>
                <a:lnTo>
                  <a:pt x="939" y="1173"/>
                </a:lnTo>
                <a:lnTo>
                  <a:pt x="939" y="1171"/>
                </a:lnTo>
                <a:lnTo>
                  <a:pt x="937" y="1171"/>
                </a:lnTo>
                <a:lnTo>
                  <a:pt x="935" y="1171"/>
                </a:lnTo>
                <a:lnTo>
                  <a:pt x="935" y="1169"/>
                </a:lnTo>
                <a:lnTo>
                  <a:pt x="933" y="1169"/>
                </a:lnTo>
                <a:lnTo>
                  <a:pt x="931" y="1167"/>
                </a:lnTo>
                <a:lnTo>
                  <a:pt x="929" y="1167"/>
                </a:lnTo>
                <a:lnTo>
                  <a:pt x="928" y="1165"/>
                </a:lnTo>
                <a:lnTo>
                  <a:pt x="926" y="1163"/>
                </a:lnTo>
                <a:lnTo>
                  <a:pt x="924" y="1161"/>
                </a:lnTo>
                <a:lnTo>
                  <a:pt x="922" y="1161"/>
                </a:lnTo>
                <a:lnTo>
                  <a:pt x="922" y="1160"/>
                </a:lnTo>
                <a:lnTo>
                  <a:pt x="920" y="1160"/>
                </a:lnTo>
                <a:lnTo>
                  <a:pt x="920" y="1158"/>
                </a:lnTo>
                <a:lnTo>
                  <a:pt x="920" y="1156"/>
                </a:lnTo>
                <a:lnTo>
                  <a:pt x="920" y="1154"/>
                </a:lnTo>
                <a:lnTo>
                  <a:pt x="920" y="1152"/>
                </a:lnTo>
                <a:lnTo>
                  <a:pt x="922" y="1152"/>
                </a:lnTo>
                <a:lnTo>
                  <a:pt x="922" y="1150"/>
                </a:lnTo>
                <a:lnTo>
                  <a:pt x="924" y="1150"/>
                </a:lnTo>
                <a:lnTo>
                  <a:pt x="926" y="1148"/>
                </a:lnTo>
                <a:lnTo>
                  <a:pt x="926" y="1146"/>
                </a:lnTo>
                <a:lnTo>
                  <a:pt x="928" y="1144"/>
                </a:lnTo>
                <a:lnTo>
                  <a:pt x="926" y="1142"/>
                </a:lnTo>
                <a:lnTo>
                  <a:pt x="926" y="1140"/>
                </a:lnTo>
                <a:lnTo>
                  <a:pt x="926" y="1138"/>
                </a:lnTo>
                <a:lnTo>
                  <a:pt x="926" y="1137"/>
                </a:lnTo>
                <a:lnTo>
                  <a:pt x="928" y="1137"/>
                </a:lnTo>
                <a:lnTo>
                  <a:pt x="929" y="1137"/>
                </a:lnTo>
                <a:lnTo>
                  <a:pt x="931" y="1137"/>
                </a:lnTo>
                <a:lnTo>
                  <a:pt x="933" y="1137"/>
                </a:lnTo>
                <a:lnTo>
                  <a:pt x="935" y="1137"/>
                </a:lnTo>
                <a:lnTo>
                  <a:pt x="935" y="1135"/>
                </a:lnTo>
                <a:lnTo>
                  <a:pt x="937" y="1135"/>
                </a:lnTo>
                <a:lnTo>
                  <a:pt x="939" y="1135"/>
                </a:lnTo>
                <a:lnTo>
                  <a:pt x="941" y="1135"/>
                </a:lnTo>
                <a:lnTo>
                  <a:pt x="941" y="1137"/>
                </a:lnTo>
                <a:lnTo>
                  <a:pt x="941" y="1135"/>
                </a:lnTo>
                <a:lnTo>
                  <a:pt x="943" y="1135"/>
                </a:lnTo>
                <a:lnTo>
                  <a:pt x="943" y="1133"/>
                </a:lnTo>
                <a:lnTo>
                  <a:pt x="945" y="1133"/>
                </a:lnTo>
                <a:lnTo>
                  <a:pt x="947" y="1135"/>
                </a:lnTo>
                <a:lnTo>
                  <a:pt x="947" y="1137"/>
                </a:lnTo>
                <a:lnTo>
                  <a:pt x="947" y="1138"/>
                </a:lnTo>
                <a:lnTo>
                  <a:pt x="947" y="1140"/>
                </a:lnTo>
                <a:lnTo>
                  <a:pt x="949" y="1140"/>
                </a:lnTo>
                <a:lnTo>
                  <a:pt x="949" y="1142"/>
                </a:lnTo>
                <a:lnTo>
                  <a:pt x="949" y="1144"/>
                </a:lnTo>
                <a:lnTo>
                  <a:pt x="949" y="1146"/>
                </a:lnTo>
                <a:lnTo>
                  <a:pt x="947" y="1148"/>
                </a:lnTo>
                <a:lnTo>
                  <a:pt x="947" y="1150"/>
                </a:lnTo>
                <a:lnTo>
                  <a:pt x="945" y="1150"/>
                </a:lnTo>
                <a:lnTo>
                  <a:pt x="945" y="1152"/>
                </a:lnTo>
                <a:lnTo>
                  <a:pt x="943" y="1152"/>
                </a:lnTo>
                <a:lnTo>
                  <a:pt x="943" y="1154"/>
                </a:lnTo>
                <a:lnTo>
                  <a:pt x="945" y="1154"/>
                </a:lnTo>
                <a:lnTo>
                  <a:pt x="945" y="1152"/>
                </a:lnTo>
                <a:lnTo>
                  <a:pt x="947" y="1152"/>
                </a:lnTo>
                <a:lnTo>
                  <a:pt x="947" y="1150"/>
                </a:lnTo>
                <a:lnTo>
                  <a:pt x="949" y="1150"/>
                </a:lnTo>
                <a:lnTo>
                  <a:pt x="949" y="1148"/>
                </a:lnTo>
                <a:lnTo>
                  <a:pt x="949" y="1146"/>
                </a:lnTo>
                <a:lnTo>
                  <a:pt x="951" y="1146"/>
                </a:lnTo>
                <a:lnTo>
                  <a:pt x="951" y="1144"/>
                </a:lnTo>
                <a:lnTo>
                  <a:pt x="951" y="1142"/>
                </a:lnTo>
                <a:lnTo>
                  <a:pt x="951" y="1140"/>
                </a:lnTo>
                <a:lnTo>
                  <a:pt x="949" y="1138"/>
                </a:lnTo>
                <a:lnTo>
                  <a:pt x="949" y="1137"/>
                </a:lnTo>
                <a:lnTo>
                  <a:pt x="949" y="1135"/>
                </a:lnTo>
                <a:lnTo>
                  <a:pt x="949" y="1133"/>
                </a:lnTo>
                <a:lnTo>
                  <a:pt x="949" y="1131"/>
                </a:lnTo>
                <a:lnTo>
                  <a:pt x="949" y="1129"/>
                </a:lnTo>
                <a:lnTo>
                  <a:pt x="949" y="1127"/>
                </a:lnTo>
                <a:lnTo>
                  <a:pt x="951" y="1127"/>
                </a:lnTo>
                <a:lnTo>
                  <a:pt x="951" y="1125"/>
                </a:lnTo>
                <a:lnTo>
                  <a:pt x="953" y="1125"/>
                </a:lnTo>
                <a:lnTo>
                  <a:pt x="953" y="1123"/>
                </a:lnTo>
                <a:lnTo>
                  <a:pt x="954" y="1123"/>
                </a:lnTo>
                <a:lnTo>
                  <a:pt x="953" y="1123"/>
                </a:lnTo>
                <a:lnTo>
                  <a:pt x="951" y="1123"/>
                </a:lnTo>
                <a:lnTo>
                  <a:pt x="951" y="1125"/>
                </a:lnTo>
                <a:lnTo>
                  <a:pt x="951" y="1127"/>
                </a:lnTo>
                <a:lnTo>
                  <a:pt x="949" y="1127"/>
                </a:lnTo>
                <a:lnTo>
                  <a:pt x="949" y="1129"/>
                </a:lnTo>
                <a:lnTo>
                  <a:pt x="949" y="1131"/>
                </a:lnTo>
                <a:lnTo>
                  <a:pt x="947" y="1131"/>
                </a:lnTo>
                <a:lnTo>
                  <a:pt x="949" y="1131"/>
                </a:lnTo>
                <a:lnTo>
                  <a:pt x="947" y="1131"/>
                </a:lnTo>
                <a:lnTo>
                  <a:pt x="949" y="1131"/>
                </a:lnTo>
                <a:lnTo>
                  <a:pt x="947" y="1131"/>
                </a:lnTo>
                <a:lnTo>
                  <a:pt x="947" y="1133"/>
                </a:lnTo>
                <a:lnTo>
                  <a:pt x="945" y="1131"/>
                </a:lnTo>
                <a:lnTo>
                  <a:pt x="943" y="1131"/>
                </a:lnTo>
                <a:lnTo>
                  <a:pt x="943" y="1129"/>
                </a:lnTo>
                <a:lnTo>
                  <a:pt x="941" y="1129"/>
                </a:lnTo>
                <a:lnTo>
                  <a:pt x="941" y="1131"/>
                </a:lnTo>
                <a:lnTo>
                  <a:pt x="939" y="1131"/>
                </a:lnTo>
                <a:lnTo>
                  <a:pt x="937" y="1131"/>
                </a:lnTo>
                <a:lnTo>
                  <a:pt x="935" y="1131"/>
                </a:lnTo>
                <a:lnTo>
                  <a:pt x="933" y="1131"/>
                </a:lnTo>
                <a:lnTo>
                  <a:pt x="931" y="1131"/>
                </a:lnTo>
                <a:lnTo>
                  <a:pt x="931" y="1129"/>
                </a:lnTo>
                <a:lnTo>
                  <a:pt x="929" y="1129"/>
                </a:lnTo>
                <a:lnTo>
                  <a:pt x="928" y="1129"/>
                </a:lnTo>
                <a:lnTo>
                  <a:pt x="928" y="1127"/>
                </a:lnTo>
                <a:lnTo>
                  <a:pt x="929" y="1127"/>
                </a:lnTo>
                <a:lnTo>
                  <a:pt x="931" y="1127"/>
                </a:lnTo>
                <a:lnTo>
                  <a:pt x="931" y="1125"/>
                </a:lnTo>
                <a:lnTo>
                  <a:pt x="931" y="1127"/>
                </a:lnTo>
                <a:lnTo>
                  <a:pt x="929" y="1127"/>
                </a:lnTo>
                <a:lnTo>
                  <a:pt x="929" y="1125"/>
                </a:lnTo>
                <a:lnTo>
                  <a:pt x="928" y="1125"/>
                </a:lnTo>
                <a:lnTo>
                  <a:pt x="928" y="1127"/>
                </a:lnTo>
                <a:lnTo>
                  <a:pt x="926" y="1127"/>
                </a:lnTo>
                <a:lnTo>
                  <a:pt x="926" y="1129"/>
                </a:lnTo>
                <a:lnTo>
                  <a:pt x="924" y="1129"/>
                </a:lnTo>
                <a:lnTo>
                  <a:pt x="922" y="1129"/>
                </a:lnTo>
                <a:lnTo>
                  <a:pt x="920" y="1129"/>
                </a:lnTo>
                <a:lnTo>
                  <a:pt x="920" y="1131"/>
                </a:lnTo>
                <a:lnTo>
                  <a:pt x="918" y="1131"/>
                </a:lnTo>
                <a:lnTo>
                  <a:pt x="916" y="1131"/>
                </a:lnTo>
                <a:lnTo>
                  <a:pt x="914" y="1131"/>
                </a:lnTo>
                <a:lnTo>
                  <a:pt x="914" y="1129"/>
                </a:lnTo>
                <a:lnTo>
                  <a:pt x="916" y="1127"/>
                </a:lnTo>
                <a:lnTo>
                  <a:pt x="918" y="1127"/>
                </a:lnTo>
                <a:lnTo>
                  <a:pt x="918" y="1129"/>
                </a:lnTo>
                <a:lnTo>
                  <a:pt x="920" y="1129"/>
                </a:lnTo>
                <a:lnTo>
                  <a:pt x="922" y="1129"/>
                </a:lnTo>
                <a:lnTo>
                  <a:pt x="922" y="1127"/>
                </a:lnTo>
                <a:lnTo>
                  <a:pt x="920" y="1127"/>
                </a:lnTo>
                <a:lnTo>
                  <a:pt x="920" y="1125"/>
                </a:lnTo>
                <a:lnTo>
                  <a:pt x="918" y="1125"/>
                </a:lnTo>
                <a:lnTo>
                  <a:pt x="916" y="1123"/>
                </a:lnTo>
                <a:lnTo>
                  <a:pt x="916" y="1125"/>
                </a:lnTo>
                <a:lnTo>
                  <a:pt x="918" y="1125"/>
                </a:lnTo>
                <a:lnTo>
                  <a:pt x="920" y="1127"/>
                </a:lnTo>
                <a:lnTo>
                  <a:pt x="918" y="1127"/>
                </a:lnTo>
                <a:lnTo>
                  <a:pt x="916" y="1127"/>
                </a:lnTo>
                <a:lnTo>
                  <a:pt x="914" y="1127"/>
                </a:lnTo>
                <a:lnTo>
                  <a:pt x="914" y="1129"/>
                </a:lnTo>
                <a:lnTo>
                  <a:pt x="912" y="1129"/>
                </a:lnTo>
                <a:lnTo>
                  <a:pt x="912" y="1131"/>
                </a:lnTo>
                <a:lnTo>
                  <a:pt x="910" y="1131"/>
                </a:lnTo>
                <a:lnTo>
                  <a:pt x="910" y="1133"/>
                </a:lnTo>
                <a:lnTo>
                  <a:pt x="910" y="1135"/>
                </a:lnTo>
                <a:lnTo>
                  <a:pt x="908" y="1135"/>
                </a:lnTo>
                <a:lnTo>
                  <a:pt x="906" y="1135"/>
                </a:lnTo>
                <a:lnTo>
                  <a:pt x="906" y="1137"/>
                </a:lnTo>
                <a:lnTo>
                  <a:pt x="906" y="1138"/>
                </a:lnTo>
                <a:lnTo>
                  <a:pt x="905" y="1138"/>
                </a:lnTo>
                <a:lnTo>
                  <a:pt x="905" y="1140"/>
                </a:lnTo>
                <a:lnTo>
                  <a:pt x="905" y="1138"/>
                </a:lnTo>
                <a:lnTo>
                  <a:pt x="906" y="1138"/>
                </a:lnTo>
                <a:lnTo>
                  <a:pt x="905" y="1138"/>
                </a:lnTo>
                <a:lnTo>
                  <a:pt x="905" y="1140"/>
                </a:lnTo>
                <a:lnTo>
                  <a:pt x="903" y="1140"/>
                </a:lnTo>
                <a:lnTo>
                  <a:pt x="903" y="1142"/>
                </a:lnTo>
                <a:lnTo>
                  <a:pt x="901" y="1142"/>
                </a:lnTo>
                <a:lnTo>
                  <a:pt x="901" y="1144"/>
                </a:lnTo>
                <a:lnTo>
                  <a:pt x="901" y="1142"/>
                </a:lnTo>
                <a:lnTo>
                  <a:pt x="901" y="1144"/>
                </a:lnTo>
                <a:lnTo>
                  <a:pt x="901" y="1146"/>
                </a:lnTo>
                <a:lnTo>
                  <a:pt x="901" y="1144"/>
                </a:lnTo>
                <a:lnTo>
                  <a:pt x="899" y="1144"/>
                </a:lnTo>
                <a:lnTo>
                  <a:pt x="899" y="1146"/>
                </a:lnTo>
                <a:lnTo>
                  <a:pt x="899" y="1144"/>
                </a:lnTo>
                <a:lnTo>
                  <a:pt x="897" y="1144"/>
                </a:lnTo>
                <a:lnTo>
                  <a:pt x="895" y="1144"/>
                </a:lnTo>
                <a:lnTo>
                  <a:pt x="893" y="1144"/>
                </a:lnTo>
                <a:lnTo>
                  <a:pt x="891" y="1144"/>
                </a:lnTo>
                <a:lnTo>
                  <a:pt x="891" y="1142"/>
                </a:lnTo>
                <a:lnTo>
                  <a:pt x="889" y="1142"/>
                </a:lnTo>
                <a:lnTo>
                  <a:pt x="889" y="1140"/>
                </a:lnTo>
                <a:lnTo>
                  <a:pt x="889" y="1138"/>
                </a:lnTo>
                <a:lnTo>
                  <a:pt x="889" y="1137"/>
                </a:lnTo>
                <a:lnTo>
                  <a:pt x="889" y="1135"/>
                </a:lnTo>
                <a:lnTo>
                  <a:pt x="889" y="1133"/>
                </a:lnTo>
                <a:lnTo>
                  <a:pt x="891" y="1133"/>
                </a:lnTo>
                <a:lnTo>
                  <a:pt x="891" y="1131"/>
                </a:lnTo>
                <a:lnTo>
                  <a:pt x="891" y="1129"/>
                </a:lnTo>
                <a:lnTo>
                  <a:pt x="893" y="1129"/>
                </a:lnTo>
                <a:lnTo>
                  <a:pt x="893" y="1127"/>
                </a:lnTo>
                <a:lnTo>
                  <a:pt x="895" y="1125"/>
                </a:lnTo>
                <a:lnTo>
                  <a:pt x="897" y="1123"/>
                </a:lnTo>
                <a:lnTo>
                  <a:pt x="897" y="1121"/>
                </a:lnTo>
                <a:lnTo>
                  <a:pt x="899" y="1119"/>
                </a:lnTo>
                <a:lnTo>
                  <a:pt x="901" y="1117"/>
                </a:lnTo>
                <a:lnTo>
                  <a:pt x="901" y="1115"/>
                </a:lnTo>
                <a:lnTo>
                  <a:pt x="903" y="1115"/>
                </a:lnTo>
                <a:lnTo>
                  <a:pt x="903" y="1113"/>
                </a:lnTo>
                <a:lnTo>
                  <a:pt x="903" y="1112"/>
                </a:lnTo>
                <a:lnTo>
                  <a:pt x="905" y="1112"/>
                </a:lnTo>
                <a:lnTo>
                  <a:pt x="905" y="1110"/>
                </a:lnTo>
                <a:lnTo>
                  <a:pt x="906" y="1108"/>
                </a:lnTo>
                <a:lnTo>
                  <a:pt x="906" y="1106"/>
                </a:lnTo>
                <a:lnTo>
                  <a:pt x="906" y="1104"/>
                </a:lnTo>
                <a:lnTo>
                  <a:pt x="908" y="1104"/>
                </a:lnTo>
                <a:lnTo>
                  <a:pt x="908" y="1102"/>
                </a:lnTo>
                <a:lnTo>
                  <a:pt x="908" y="1100"/>
                </a:lnTo>
                <a:lnTo>
                  <a:pt x="908" y="1098"/>
                </a:lnTo>
                <a:lnTo>
                  <a:pt x="908" y="1100"/>
                </a:lnTo>
                <a:lnTo>
                  <a:pt x="908" y="1098"/>
                </a:lnTo>
                <a:lnTo>
                  <a:pt x="906" y="1098"/>
                </a:lnTo>
                <a:lnTo>
                  <a:pt x="906" y="1096"/>
                </a:lnTo>
                <a:lnTo>
                  <a:pt x="908" y="1096"/>
                </a:lnTo>
                <a:lnTo>
                  <a:pt x="910" y="1096"/>
                </a:lnTo>
                <a:lnTo>
                  <a:pt x="912" y="1096"/>
                </a:lnTo>
                <a:lnTo>
                  <a:pt x="912" y="1094"/>
                </a:lnTo>
                <a:lnTo>
                  <a:pt x="914" y="1092"/>
                </a:lnTo>
                <a:lnTo>
                  <a:pt x="914" y="1094"/>
                </a:lnTo>
                <a:lnTo>
                  <a:pt x="914" y="1092"/>
                </a:lnTo>
                <a:lnTo>
                  <a:pt x="916" y="1092"/>
                </a:lnTo>
                <a:lnTo>
                  <a:pt x="914" y="1092"/>
                </a:lnTo>
                <a:lnTo>
                  <a:pt x="912" y="1092"/>
                </a:lnTo>
                <a:lnTo>
                  <a:pt x="912" y="1090"/>
                </a:lnTo>
                <a:lnTo>
                  <a:pt x="910" y="1089"/>
                </a:lnTo>
                <a:lnTo>
                  <a:pt x="912" y="1089"/>
                </a:lnTo>
                <a:lnTo>
                  <a:pt x="910" y="1089"/>
                </a:lnTo>
                <a:lnTo>
                  <a:pt x="910" y="1087"/>
                </a:lnTo>
                <a:lnTo>
                  <a:pt x="910" y="1089"/>
                </a:lnTo>
                <a:lnTo>
                  <a:pt x="910" y="1090"/>
                </a:lnTo>
                <a:lnTo>
                  <a:pt x="908" y="1090"/>
                </a:lnTo>
                <a:lnTo>
                  <a:pt x="906" y="1090"/>
                </a:lnTo>
                <a:lnTo>
                  <a:pt x="905" y="1090"/>
                </a:lnTo>
                <a:lnTo>
                  <a:pt x="906" y="1090"/>
                </a:lnTo>
                <a:lnTo>
                  <a:pt x="905" y="1090"/>
                </a:lnTo>
                <a:lnTo>
                  <a:pt x="905" y="1092"/>
                </a:lnTo>
                <a:lnTo>
                  <a:pt x="905" y="1090"/>
                </a:lnTo>
                <a:lnTo>
                  <a:pt x="903" y="1092"/>
                </a:lnTo>
                <a:lnTo>
                  <a:pt x="903" y="1090"/>
                </a:lnTo>
                <a:lnTo>
                  <a:pt x="905" y="1090"/>
                </a:lnTo>
                <a:lnTo>
                  <a:pt x="905" y="1089"/>
                </a:lnTo>
                <a:lnTo>
                  <a:pt x="903" y="1089"/>
                </a:lnTo>
                <a:lnTo>
                  <a:pt x="903" y="1090"/>
                </a:lnTo>
                <a:lnTo>
                  <a:pt x="901" y="1090"/>
                </a:lnTo>
                <a:lnTo>
                  <a:pt x="901" y="1092"/>
                </a:lnTo>
                <a:lnTo>
                  <a:pt x="901" y="1090"/>
                </a:lnTo>
                <a:lnTo>
                  <a:pt x="899" y="1090"/>
                </a:lnTo>
                <a:lnTo>
                  <a:pt x="897" y="1090"/>
                </a:lnTo>
                <a:lnTo>
                  <a:pt x="897" y="1089"/>
                </a:lnTo>
                <a:lnTo>
                  <a:pt x="897" y="1090"/>
                </a:lnTo>
                <a:lnTo>
                  <a:pt x="897" y="1089"/>
                </a:lnTo>
                <a:lnTo>
                  <a:pt x="895" y="1089"/>
                </a:lnTo>
                <a:lnTo>
                  <a:pt x="897" y="1089"/>
                </a:lnTo>
                <a:lnTo>
                  <a:pt x="897" y="1087"/>
                </a:lnTo>
                <a:lnTo>
                  <a:pt x="897" y="1085"/>
                </a:lnTo>
                <a:lnTo>
                  <a:pt x="899" y="1085"/>
                </a:lnTo>
                <a:lnTo>
                  <a:pt x="899" y="1083"/>
                </a:lnTo>
                <a:lnTo>
                  <a:pt x="901" y="1083"/>
                </a:lnTo>
                <a:lnTo>
                  <a:pt x="899" y="1083"/>
                </a:lnTo>
                <a:lnTo>
                  <a:pt x="901" y="1083"/>
                </a:lnTo>
                <a:lnTo>
                  <a:pt x="901" y="1081"/>
                </a:lnTo>
                <a:lnTo>
                  <a:pt x="903" y="1081"/>
                </a:lnTo>
                <a:lnTo>
                  <a:pt x="901" y="1079"/>
                </a:lnTo>
                <a:lnTo>
                  <a:pt x="901" y="1077"/>
                </a:lnTo>
                <a:lnTo>
                  <a:pt x="899" y="1079"/>
                </a:lnTo>
                <a:lnTo>
                  <a:pt x="899" y="1077"/>
                </a:lnTo>
                <a:lnTo>
                  <a:pt x="897" y="1077"/>
                </a:lnTo>
                <a:lnTo>
                  <a:pt x="897" y="1075"/>
                </a:lnTo>
                <a:lnTo>
                  <a:pt x="899" y="1075"/>
                </a:lnTo>
                <a:lnTo>
                  <a:pt x="901" y="1075"/>
                </a:lnTo>
                <a:lnTo>
                  <a:pt x="901" y="1073"/>
                </a:lnTo>
                <a:lnTo>
                  <a:pt x="903" y="1073"/>
                </a:lnTo>
                <a:lnTo>
                  <a:pt x="901" y="1073"/>
                </a:lnTo>
                <a:lnTo>
                  <a:pt x="899" y="1071"/>
                </a:lnTo>
                <a:lnTo>
                  <a:pt x="897" y="1071"/>
                </a:lnTo>
                <a:lnTo>
                  <a:pt x="899" y="1071"/>
                </a:lnTo>
                <a:lnTo>
                  <a:pt x="899" y="1069"/>
                </a:lnTo>
                <a:lnTo>
                  <a:pt x="901" y="1069"/>
                </a:lnTo>
                <a:lnTo>
                  <a:pt x="901" y="1067"/>
                </a:lnTo>
                <a:lnTo>
                  <a:pt x="901" y="1069"/>
                </a:lnTo>
                <a:lnTo>
                  <a:pt x="901" y="1067"/>
                </a:lnTo>
                <a:lnTo>
                  <a:pt x="901" y="1066"/>
                </a:lnTo>
                <a:lnTo>
                  <a:pt x="903" y="1066"/>
                </a:lnTo>
                <a:lnTo>
                  <a:pt x="903" y="1067"/>
                </a:lnTo>
                <a:lnTo>
                  <a:pt x="905" y="1067"/>
                </a:lnTo>
                <a:lnTo>
                  <a:pt x="906" y="1066"/>
                </a:lnTo>
                <a:lnTo>
                  <a:pt x="906" y="1064"/>
                </a:lnTo>
                <a:lnTo>
                  <a:pt x="906" y="1062"/>
                </a:lnTo>
                <a:lnTo>
                  <a:pt x="908" y="1062"/>
                </a:lnTo>
                <a:lnTo>
                  <a:pt x="908" y="1064"/>
                </a:lnTo>
                <a:lnTo>
                  <a:pt x="908" y="1062"/>
                </a:lnTo>
                <a:lnTo>
                  <a:pt x="910" y="1062"/>
                </a:lnTo>
                <a:lnTo>
                  <a:pt x="910" y="1060"/>
                </a:lnTo>
                <a:lnTo>
                  <a:pt x="908" y="1060"/>
                </a:lnTo>
                <a:lnTo>
                  <a:pt x="906" y="1060"/>
                </a:lnTo>
                <a:lnTo>
                  <a:pt x="905" y="1058"/>
                </a:lnTo>
                <a:lnTo>
                  <a:pt x="903" y="1058"/>
                </a:lnTo>
                <a:lnTo>
                  <a:pt x="901" y="1056"/>
                </a:lnTo>
                <a:lnTo>
                  <a:pt x="899" y="1056"/>
                </a:lnTo>
                <a:lnTo>
                  <a:pt x="897" y="1056"/>
                </a:lnTo>
                <a:lnTo>
                  <a:pt x="897" y="1054"/>
                </a:lnTo>
                <a:lnTo>
                  <a:pt x="895" y="1054"/>
                </a:lnTo>
                <a:lnTo>
                  <a:pt x="893" y="1054"/>
                </a:lnTo>
                <a:lnTo>
                  <a:pt x="895" y="1054"/>
                </a:lnTo>
                <a:lnTo>
                  <a:pt x="893" y="1054"/>
                </a:lnTo>
                <a:lnTo>
                  <a:pt x="891" y="1052"/>
                </a:lnTo>
                <a:lnTo>
                  <a:pt x="889" y="1052"/>
                </a:lnTo>
                <a:lnTo>
                  <a:pt x="887" y="1052"/>
                </a:lnTo>
                <a:lnTo>
                  <a:pt x="885" y="1052"/>
                </a:lnTo>
                <a:lnTo>
                  <a:pt x="883" y="1052"/>
                </a:lnTo>
                <a:lnTo>
                  <a:pt x="881" y="1052"/>
                </a:lnTo>
                <a:lnTo>
                  <a:pt x="880" y="1052"/>
                </a:lnTo>
                <a:lnTo>
                  <a:pt x="881" y="1052"/>
                </a:lnTo>
                <a:lnTo>
                  <a:pt x="883" y="1052"/>
                </a:lnTo>
                <a:lnTo>
                  <a:pt x="883" y="1050"/>
                </a:lnTo>
                <a:lnTo>
                  <a:pt x="883" y="1048"/>
                </a:lnTo>
                <a:lnTo>
                  <a:pt x="883" y="1050"/>
                </a:lnTo>
                <a:lnTo>
                  <a:pt x="885" y="1050"/>
                </a:lnTo>
                <a:lnTo>
                  <a:pt x="883" y="1050"/>
                </a:lnTo>
                <a:lnTo>
                  <a:pt x="885" y="1050"/>
                </a:lnTo>
                <a:lnTo>
                  <a:pt x="885" y="1048"/>
                </a:lnTo>
                <a:lnTo>
                  <a:pt x="883" y="1048"/>
                </a:lnTo>
                <a:lnTo>
                  <a:pt x="885" y="1048"/>
                </a:lnTo>
                <a:lnTo>
                  <a:pt x="883" y="1048"/>
                </a:lnTo>
                <a:lnTo>
                  <a:pt x="883" y="1046"/>
                </a:lnTo>
                <a:lnTo>
                  <a:pt x="881" y="1046"/>
                </a:lnTo>
                <a:lnTo>
                  <a:pt x="883" y="1046"/>
                </a:lnTo>
                <a:lnTo>
                  <a:pt x="881" y="1046"/>
                </a:lnTo>
                <a:lnTo>
                  <a:pt x="881" y="1044"/>
                </a:lnTo>
                <a:lnTo>
                  <a:pt x="880" y="1044"/>
                </a:lnTo>
                <a:lnTo>
                  <a:pt x="878" y="1044"/>
                </a:lnTo>
                <a:lnTo>
                  <a:pt x="878" y="1042"/>
                </a:lnTo>
                <a:lnTo>
                  <a:pt x="876" y="1042"/>
                </a:lnTo>
                <a:lnTo>
                  <a:pt x="874" y="1042"/>
                </a:lnTo>
                <a:lnTo>
                  <a:pt x="874" y="1041"/>
                </a:lnTo>
                <a:lnTo>
                  <a:pt x="872" y="1041"/>
                </a:lnTo>
                <a:lnTo>
                  <a:pt x="870" y="1041"/>
                </a:lnTo>
                <a:lnTo>
                  <a:pt x="870" y="1039"/>
                </a:lnTo>
                <a:lnTo>
                  <a:pt x="868" y="1037"/>
                </a:lnTo>
                <a:lnTo>
                  <a:pt x="866" y="1037"/>
                </a:lnTo>
                <a:lnTo>
                  <a:pt x="864" y="1037"/>
                </a:lnTo>
                <a:lnTo>
                  <a:pt x="862" y="1037"/>
                </a:lnTo>
                <a:lnTo>
                  <a:pt x="860" y="1037"/>
                </a:lnTo>
                <a:lnTo>
                  <a:pt x="858" y="1037"/>
                </a:lnTo>
                <a:lnTo>
                  <a:pt x="858" y="1039"/>
                </a:lnTo>
                <a:lnTo>
                  <a:pt x="858" y="1037"/>
                </a:lnTo>
                <a:lnTo>
                  <a:pt x="858" y="1039"/>
                </a:lnTo>
                <a:lnTo>
                  <a:pt x="860" y="1039"/>
                </a:lnTo>
                <a:lnTo>
                  <a:pt x="862" y="1039"/>
                </a:lnTo>
                <a:lnTo>
                  <a:pt x="862" y="1041"/>
                </a:lnTo>
                <a:lnTo>
                  <a:pt x="860" y="1041"/>
                </a:lnTo>
                <a:lnTo>
                  <a:pt x="860" y="1039"/>
                </a:lnTo>
                <a:lnTo>
                  <a:pt x="858" y="1039"/>
                </a:lnTo>
                <a:lnTo>
                  <a:pt x="858" y="1037"/>
                </a:lnTo>
                <a:lnTo>
                  <a:pt x="857" y="1037"/>
                </a:lnTo>
                <a:lnTo>
                  <a:pt x="857" y="1035"/>
                </a:lnTo>
                <a:lnTo>
                  <a:pt x="855" y="1035"/>
                </a:lnTo>
                <a:lnTo>
                  <a:pt x="855" y="1033"/>
                </a:lnTo>
                <a:lnTo>
                  <a:pt x="853" y="1033"/>
                </a:lnTo>
                <a:lnTo>
                  <a:pt x="851" y="1033"/>
                </a:lnTo>
                <a:lnTo>
                  <a:pt x="851" y="1031"/>
                </a:lnTo>
                <a:lnTo>
                  <a:pt x="849" y="1031"/>
                </a:lnTo>
                <a:lnTo>
                  <a:pt x="849" y="1029"/>
                </a:lnTo>
                <a:lnTo>
                  <a:pt x="847" y="1029"/>
                </a:lnTo>
                <a:lnTo>
                  <a:pt x="845" y="1029"/>
                </a:lnTo>
                <a:lnTo>
                  <a:pt x="843" y="1029"/>
                </a:lnTo>
                <a:lnTo>
                  <a:pt x="843" y="1027"/>
                </a:lnTo>
                <a:lnTo>
                  <a:pt x="845" y="1027"/>
                </a:lnTo>
                <a:lnTo>
                  <a:pt x="847" y="1027"/>
                </a:lnTo>
                <a:lnTo>
                  <a:pt x="849" y="1027"/>
                </a:lnTo>
                <a:lnTo>
                  <a:pt x="849" y="1025"/>
                </a:lnTo>
                <a:lnTo>
                  <a:pt x="849" y="1023"/>
                </a:lnTo>
                <a:lnTo>
                  <a:pt x="849" y="1025"/>
                </a:lnTo>
                <a:lnTo>
                  <a:pt x="847" y="1025"/>
                </a:lnTo>
                <a:lnTo>
                  <a:pt x="849" y="1025"/>
                </a:lnTo>
                <a:lnTo>
                  <a:pt x="847" y="1025"/>
                </a:lnTo>
                <a:lnTo>
                  <a:pt x="849" y="1025"/>
                </a:lnTo>
                <a:lnTo>
                  <a:pt x="847" y="1025"/>
                </a:lnTo>
                <a:lnTo>
                  <a:pt x="847" y="1023"/>
                </a:lnTo>
                <a:lnTo>
                  <a:pt x="847" y="1025"/>
                </a:lnTo>
                <a:lnTo>
                  <a:pt x="847" y="1023"/>
                </a:lnTo>
                <a:lnTo>
                  <a:pt x="847" y="1025"/>
                </a:lnTo>
                <a:lnTo>
                  <a:pt x="845" y="1025"/>
                </a:lnTo>
                <a:lnTo>
                  <a:pt x="845" y="1027"/>
                </a:lnTo>
                <a:lnTo>
                  <a:pt x="845" y="1025"/>
                </a:lnTo>
                <a:lnTo>
                  <a:pt x="847" y="1025"/>
                </a:lnTo>
                <a:lnTo>
                  <a:pt x="847" y="1023"/>
                </a:lnTo>
                <a:lnTo>
                  <a:pt x="847" y="1021"/>
                </a:lnTo>
                <a:lnTo>
                  <a:pt x="847" y="1019"/>
                </a:lnTo>
                <a:lnTo>
                  <a:pt x="847" y="1018"/>
                </a:lnTo>
                <a:lnTo>
                  <a:pt x="845" y="1018"/>
                </a:lnTo>
                <a:lnTo>
                  <a:pt x="845" y="1016"/>
                </a:lnTo>
                <a:lnTo>
                  <a:pt x="843" y="1016"/>
                </a:lnTo>
                <a:lnTo>
                  <a:pt x="843" y="1014"/>
                </a:lnTo>
                <a:lnTo>
                  <a:pt x="841" y="1014"/>
                </a:lnTo>
                <a:lnTo>
                  <a:pt x="841" y="1012"/>
                </a:lnTo>
                <a:lnTo>
                  <a:pt x="841" y="1010"/>
                </a:lnTo>
                <a:lnTo>
                  <a:pt x="841" y="1008"/>
                </a:lnTo>
                <a:lnTo>
                  <a:pt x="843" y="1008"/>
                </a:lnTo>
                <a:lnTo>
                  <a:pt x="843" y="1010"/>
                </a:lnTo>
                <a:lnTo>
                  <a:pt x="845" y="1010"/>
                </a:lnTo>
                <a:lnTo>
                  <a:pt x="845" y="1012"/>
                </a:lnTo>
                <a:lnTo>
                  <a:pt x="847" y="1012"/>
                </a:lnTo>
                <a:lnTo>
                  <a:pt x="847" y="1014"/>
                </a:lnTo>
                <a:lnTo>
                  <a:pt x="849" y="1014"/>
                </a:lnTo>
                <a:lnTo>
                  <a:pt x="847" y="1014"/>
                </a:lnTo>
                <a:lnTo>
                  <a:pt x="847" y="1016"/>
                </a:lnTo>
                <a:lnTo>
                  <a:pt x="849" y="1016"/>
                </a:lnTo>
                <a:lnTo>
                  <a:pt x="847" y="1016"/>
                </a:lnTo>
                <a:lnTo>
                  <a:pt x="847" y="1018"/>
                </a:lnTo>
                <a:lnTo>
                  <a:pt x="849" y="1019"/>
                </a:lnTo>
                <a:lnTo>
                  <a:pt x="851" y="1019"/>
                </a:lnTo>
                <a:lnTo>
                  <a:pt x="849" y="1019"/>
                </a:lnTo>
                <a:lnTo>
                  <a:pt x="851" y="1019"/>
                </a:lnTo>
                <a:lnTo>
                  <a:pt x="853" y="1019"/>
                </a:lnTo>
                <a:lnTo>
                  <a:pt x="853" y="1018"/>
                </a:lnTo>
                <a:lnTo>
                  <a:pt x="855" y="1018"/>
                </a:lnTo>
                <a:lnTo>
                  <a:pt x="855" y="1019"/>
                </a:lnTo>
                <a:lnTo>
                  <a:pt x="857" y="1019"/>
                </a:lnTo>
                <a:lnTo>
                  <a:pt x="857" y="1018"/>
                </a:lnTo>
                <a:lnTo>
                  <a:pt x="858" y="1019"/>
                </a:lnTo>
                <a:lnTo>
                  <a:pt x="858" y="1018"/>
                </a:lnTo>
                <a:lnTo>
                  <a:pt x="858" y="1019"/>
                </a:lnTo>
                <a:lnTo>
                  <a:pt x="857" y="1019"/>
                </a:lnTo>
                <a:lnTo>
                  <a:pt x="858" y="1019"/>
                </a:lnTo>
                <a:lnTo>
                  <a:pt x="858" y="1021"/>
                </a:lnTo>
                <a:lnTo>
                  <a:pt x="860" y="1021"/>
                </a:lnTo>
                <a:lnTo>
                  <a:pt x="862" y="1021"/>
                </a:lnTo>
                <a:lnTo>
                  <a:pt x="864" y="1021"/>
                </a:lnTo>
                <a:lnTo>
                  <a:pt x="862" y="1021"/>
                </a:lnTo>
                <a:lnTo>
                  <a:pt x="864" y="1021"/>
                </a:lnTo>
                <a:lnTo>
                  <a:pt x="864" y="1019"/>
                </a:lnTo>
                <a:lnTo>
                  <a:pt x="862" y="1019"/>
                </a:lnTo>
                <a:lnTo>
                  <a:pt x="860" y="1019"/>
                </a:lnTo>
                <a:lnTo>
                  <a:pt x="860" y="1018"/>
                </a:lnTo>
                <a:lnTo>
                  <a:pt x="860" y="1019"/>
                </a:lnTo>
                <a:lnTo>
                  <a:pt x="858" y="1019"/>
                </a:lnTo>
                <a:lnTo>
                  <a:pt x="858" y="1018"/>
                </a:lnTo>
                <a:lnTo>
                  <a:pt x="860" y="1018"/>
                </a:lnTo>
                <a:lnTo>
                  <a:pt x="862" y="1018"/>
                </a:lnTo>
                <a:lnTo>
                  <a:pt x="864" y="1018"/>
                </a:lnTo>
                <a:lnTo>
                  <a:pt x="864" y="1016"/>
                </a:lnTo>
                <a:lnTo>
                  <a:pt x="866" y="1016"/>
                </a:lnTo>
                <a:lnTo>
                  <a:pt x="866" y="1014"/>
                </a:lnTo>
                <a:lnTo>
                  <a:pt x="868" y="1014"/>
                </a:lnTo>
                <a:lnTo>
                  <a:pt x="868" y="1012"/>
                </a:lnTo>
                <a:lnTo>
                  <a:pt x="870" y="1012"/>
                </a:lnTo>
                <a:lnTo>
                  <a:pt x="872" y="1012"/>
                </a:lnTo>
                <a:lnTo>
                  <a:pt x="874" y="1010"/>
                </a:lnTo>
                <a:lnTo>
                  <a:pt x="874" y="1008"/>
                </a:lnTo>
                <a:lnTo>
                  <a:pt x="876" y="1008"/>
                </a:lnTo>
                <a:lnTo>
                  <a:pt x="876" y="1006"/>
                </a:lnTo>
                <a:lnTo>
                  <a:pt x="878" y="1006"/>
                </a:lnTo>
                <a:lnTo>
                  <a:pt x="876" y="1006"/>
                </a:lnTo>
                <a:lnTo>
                  <a:pt x="876" y="1008"/>
                </a:lnTo>
                <a:lnTo>
                  <a:pt x="876" y="1010"/>
                </a:lnTo>
                <a:lnTo>
                  <a:pt x="878" y="1010"/>
                </a:lnTo>
                <a:lnTo>
                  <a:pt x="880" y="1010"/>
                </a:lnTo>
                <a:lnTo>
                  <a:pt x="880" y="1012"/>
                </a:lnTo>
                <a:lnTo>
                  <a:pt x="881" y="1012"/>
                </a:lnTo>
                <a:lnTo>
                  <a:pt x="881" y="1014"/>
                </a:lnTo>
                <a:lnTo>
                  <a:pt x="883" y="1014"/>
                </a:lnTo>
                <a:lnTo>
                  <a:pt x="885" y="1014"/>
                </a:lnTo>
                <a:lnTo>
                  <a:pt x="887" y="1014"/>
                </a:lnTo>
                <a:lnTo>
                  <a:pt x="887" y="1016"/>
                </a:lnTo>
                <a:lnTo>
                  <a:pt x="889" y="1016"/>
                </a:lnTo>
                <a:lnTo>
                  <a:pt x="887" y="1016"/>
                </a:lnTo>
                <a:lnTo>
                  <a:pt x="887" y="1014"/>
                </a:lnTo>
                <a:lnTo>
                  <a:pt x="889" y="1014"/>
                </a:lnTo>
                <a:lnTo>
                  <a:pt x="887" y="1014"/>
                </a:lnTo>
                <a:lnTo>
                  <a:pt x="887" y="1012"/>
                </a:lnTo>
                <a:lnTo>
                  <a:pt x="887" y="1010"/>
                </a:lnTo>
                <a:lnTo>
                  <a:pt x="889" y="1010"/>
                </a:lnTo>
                <a:lnTo>
                  <a:pt x="889" y="1012"/>
                </a:lnTo>
                <a:lnTo>
                  <a:pt x="889" y="1010"/>
                </a:lnTo>
                <a:lnTo>
                  <a:pt x="889" y="1012"/>
                </a:lnTo>
                <a:lnTo>
                  <a:pt x="889" y="1010"/>
                </a:lnTo>
                <a:lnTo>
                  <a:pt x="889" y="1012"/>
                </a:lnTo>
                <a:lnTo>
                  <a:pt x="889" y="1010"/>
                </a:lnTo>
                <a:lnTo>
                  <a:pt x="887" y="1010"/>
                </a:lnTo>
                <a:lnTo>
                  <a:pt x="885" y="1010"/>
                </a:lnTo>
                <a:lnTo>
                  <a:pt x="885" y="1008"/>
                </a:lnTo>
                <a:lnTo>
                  <a:pt x="883" y="1008"/>
                </a:lnTo>
                <a:lnTo>
                  <a:pt x="883" y="1006"/>
                </a:lnTo>
                <a:lnTo>
                  <a:pt x="883" y="1004"/>
                </a:lnTo>
                <a:lnTo>
                  <a:pt x="881" y="1004"/>
                </a:lnTo>
                <a:lnTo>
                  <a:pt x="881" y="1002"/>
                </a:lnTo>
                <a:lnTo>
                  <a:pt x="880" y="1002"/>
                </a:lnTo>
                <a:lnTo>
                  <a:pt x="878" y="1004"/>
                </a:lnTo>
                <a:lnTo>
                  <a:pt x="880" y="1004"/>
                </a:lnTo>
                <a:lnTo>
                  <a:pt x="880" y="1006"/>
                </a:lnTo>
                <a:lnTo>
                  <a:pt x="878" y="1006"/>
                </a:lnTo>
                <a:lnTo>
                  <a:pt x="878" y="1004"/>
                </a:lnTo>
                <a:lnTo>
                  <a:pt x="880" y="1002"/>
                </a:lnTo>
                <a:lnTo>
                  <a:pt x="880" y="1000"/>
                </a:lnTo>
                <a:lnTo>
                  <a:pt x="881" y="1000"/>
                </a:lnTo>
                <a:lnTo>
                  <a:pt x="881" y="998"/>
                </a:lnTo>
                <a:lnTo>
                  <a:pt x="881" y="996"/>
                </a:lnTo>
                <a:lnTo>
                  <a:pt x="881" y="998"/>
                </a:lnTo>
                <a:lnTo>
                  <a:pt x="881" y="1000"/>
                </a:lnTo>
                <a:lnTo>
                  <a:pt x="881" y="1002"/>
                </a:lnTo>
                <a:lnTo>
                  <a:pt x="883" y="1002"/>
                </a:lnTo>
                <a:lnTo>
                  <a:pt x="883" y="1000"/>
                </a:lnTo>
                <a:lnTo>
                  <a:pt x="883" y="998"/>
                </a:lnTo>
                <a:lnTo>
                  <a:pt x="881" y="998"/>
                </a:lnTo>
                <a:lnTo>
                  <a:pt x="883" y="998"/>
                </a:lnTo>
                <a:lnTo>
                  <a:pt x="883" y="996"/>
                </a:lnTo>
                <a:lnTo>
                  <a:pt x="883" y="994"/>
                </a:lnTo>
                <a:lnTo>
                  <a:pt x="885" y="994"/>
                </a:lnTo>
                <a:lnTo>
                  <a:pt x="885" y="993"/>
                </a:lnTo>
                <a:lnTo>
                  <a:pt x="887" y="993"/>
                </a:lnTo>
                <a:lnTo>
                  <a:pt x="887" y="991"/>
                </a:lnTo>
                <a:lnTo>
                  <a:pt x="889" y="991"/>
                </a:lnTo>
                <a:lnTo>
                  <a:pt x="889" y="989"/>
                </a:lnTo>
                <a:lnTo>
                  <a:pt x="891" y="989"/>
                </a:lnTo>
                <a:lnTo>
                  <a:pt x="893" y="989"/>
                </a:lnTo>
                <a:lnTo>
                  <a:pt x="895" y="989"/>
                </a:lnTo>
                <a:lnTo>
                  <a:pt x="893" y="991"/>
                </a:lnTo>
                <a:lnTo>
                  <a:pt x="891" y="989"/>
                </a:lnTo>
                <a:lnTo>
                  <a:pt x="889" y="989"/>
                </a:lnTo>
                <a:lnTo>
                  <a:pt x="889" y="991"/>
                </a:lnTo>
                <a:lnTo>
                  <a:pt x="887" y="991"/>
                </a:lnTo>
                <a:lnTo>
                  <a:pt x="887" y="993"/>
                </a:lnTo>
                <a:lnTo>
                  <a:pt x="889" y="993"/>
                </a:lnTo>
                <a:lnTo>
                  <a:pt x="889" y="994"/>
                </a:lnTo>
                <a:lnTo>
                  <a:pt x="891" y="994"/>
                </a:lnTo>
                <a:lnTo>
                  <a:pt x="891" y="993"/>
                </a:lnTo>
                <a:lnTo>
                  <a:pt x="893" y="993"/>
                </a:lnTo>
                <a:lnTo>
                  <a:pt x="895" y="991"/>
                </a:lnTo>
                <a:lnTo>
                  <a:pt x="897" y="991"/>
                </a:lnTo>
                <a:lnTo>
                  <a:pt x="899" y="989"/>
                </a:lnTo>
                <a:lnTo>
                  <a:pt x="901" y="989"/>
                </a:lnTo>
                <a:lnTo>
                  <a:pt x="901" y="991"/>
                </a:lnTo>
                <a:lnTo>
                  <a:pt x="903" y="991"/>
                </a:lnTo>
                <a:lnTo>
                  <a:pt x="901" y="991"/>
                </a:lnTo>
                <a:lnTo>
                  <a:pt x="903" y="991"/>
                </a:lnTo>
                <a:lnTo>
                  <a:pt x="905" y="991"/>
                </a:lnTo>
                <a:lnTo>
                  <a:pt x="906" y="991"/>
                </a:lnTo>
                <a:lnTo>
                  <a:pt x="905" y="991"/>
                </a:lnTo>
                <a:lnTo>
                  <a:pt x="905" y="993"/>
                </a:lnTo>
                <a:lnTo>
                  <a:pt x="906" y="993"/>
                </a:lnTo>
                <a:lnTo>
                  <a:pt x="908" y="993"/>
                </a:lnTo>
                <a:lnTo>
                  <a:pt x="910" y="991"/>
                </a:lnTo>
                <a:lnTo>
                  <a:pt x="910" y="993"/>
                </a:lnTo>
                <a:lnTo>
                  <a:pt x="908" y="993"/>
                </a:lnTo>
                <a:lnTo>
                  <a:pt x="910" y="993"/>
                </a:lnTo>
                <a:lnTo>
                  <a:pt x="910" y="994"/>
                </a:lnTo>
                <a:lnTo>
                  <a:pt x="912" y="994"/>
                </a:lnTo>
                <a:lnTo>
                  <a:pt x="914" y="994"/>
                </a:lnTo>
                <a:lnTo>
                  <a:pt x="914" y="993"/>
                </a:lnTo>
                <a:lnTo>
                  <a:pt x="916" y="991"/>
                </a:lnTo>
                <a:lnTo>
                  <a:pt x="916" y="989"/>
                </a:lnTo>
                <a:lnTo>
                  <a:pt x="918" y="987"/>
                </a:lnTo>
                <a:lnTo>
                  <a:pt x="918" y="985"/>
                </a:lnTo>
                <a:lnTo>
                  <a:pt x="920" y="985"/>
                </a:lnTo>
                <a:lnTo>
                  <a:pt x="920" y="983"/>
                </a:lnTo>
                <a:lnTo>
                  <a:pt x="922" y="981"/>
                </a:lnTo>
                <a:lnTo>
                  <a:pt x="924" y="981"/>
                </a:lnTo>
                <a:lnTo>
                  <a:pt x="924" y="979"/>
                </a:lnTo>
                <a:lnTo>
                  <a:pt x="926" y="979"/>
                </a:lnTo>
                <a:lnTo>
                  <a:pt x="926" y="977"/>
                </a:lnTo>
                <a:lnTo>
                  <a:pt x="928" y="977"/>
                </a:lnTo>
                <a:lnTo>
                  <a:pt x="928" y="975"/>
                </a:lnTo>
                <a:lnTo>
                  <a:pt x="929" y="975"/>
                </a:lnTo>
                <a:lnTo>
                  <a:pt x="929" y="973"/>
                </a:lnTo>
                <a:lnTo>
                  <a:pt x="931" y="973"/>
                </a:lnTo>
                <a:lnTo>
                  <a:pt x="931" y="971"/>
                </a:lnTo>
                <a:lnTo>
                  <a:pt x="931" y="970"/>
                </a:lnTo>
                <a:lnTo>
                  <a:pt x="933" y="968"/>
                </a:lnTo>
                <a:lnTo>
                  <a:pt x="933" y="966"/>
                </a:lnTo>
                <a:lnTo>
                  <a:pt x="935" y="966"/>
                </a:lnTo>
                <a:lnTo>
                  <a:pt x="935" y="964"/>
                </a:lnTo>
                <a:lnTo>
                  <a:pt x="937" y="964"/>
                </a:lnTo>
                <a:lnTo>
                  <a:pt x="939" y="962"/>
                </a:lnTo>
                <a:lnTo>
                  <a:pt x="939" y="960"/>
                </a:lnTo>
                <a:lnTo>
                  <a:pt x="939" y="958"/>
                </a:lnTo>
                <a:lnTo>
                  <a:pt x="941" y="958"/>
                </a:lnTo>
                <a:lnTo>
                  <a:pt x="941" y="956"/>
                </a:lnTo>
                <a:lnTo>
                  <a:pt x="943" y="956"/>
                </a:lnTo>
                <a:lnTo>
                  <a:pt x="943" y="954"/>
                </a:lnTo>
                <a:lnTo>
                  <a:pt x="945" y="954"/>
                </a:lnTo>
                <a:lnTo>
                  <a:pt x="945" y="952"/>
                </a:lnTo>
                <a:lnTo>
                  <a:pt x="947" y="952"/>
                </a:lnTo>
                <a:lnTo>
                  <a:pt x="949" y="952"/>
                </a:lnTo>
                <a:lnTo>
                  <a:pt x="951" y="952"/>
                </a:lnTo>
                <a:lnTo>
                  <a:pt x="953" y="952"/>
                </a:lnTo>
                <a:lnTo>
                  <a:pt x="953" y="950"/>
                </a:lnTo>
                <a:lnTo>
                  <a:pt x="953" y="948"/>
                </a:lnTo>
                <a:lnTo>
                  <a:pt x="954" y="948"/>
                </a:lnTo>
                <a:lnTo>
                  <a:pt x="954" y="946"/>
                </a:lnTo>
                <a:lnTo>
                  <a:pt x="953" y="946"/>
                </a:lnTo>
                <a:lnTo>
                  <a:pt x="953" y="945"/>
                </a:lnTo>
                <a:lnTo>
                  <a:pt x="954" y="945"/>
                </a:lnTo>
                <a:lnTo>
                  <a:pt x="954" y="943"/>
                </a:lnTo>
                <a:lnTo>
                  <a:pt x="954" y="941"/>
                </a:lnTo>
                <a:lnTo>
                  <a:pt x="956" y="941"/>
                </a:lnTo>
                <a:lnTo>
                  <a:pt x="956" y="939"/>
                </a:lnTo>
                <a:lnTo>
                  <a:pt x="956" y="937"/>
                </a:lnTo>
                <a:lnTo>
                  <a:pt x="956" y="935"/>
                </a:lnTo>
                <a:lnTo>
                  <a:pt x="954" y="935"/>
                </a:lnTo>
                <a:lnTo>
                  <a:pt x="953" y="935"/>
                </a:lnTo>
                <a:lnTo>
                  <a:pt x="953" y="933"/>
                </a:lnTo>
                <a:lnTo>
                  <a:pt x="951" y="935"/>
                </a:lnTo>
                <a:lnTo>
                  <a:pt x="951" y="937"/>
                </a:lnTo>
                <a:lnTo>
                  <a:pt x="951" y="939"/>
                </a:lnTo>
                <a:lnTo>
                  <a:pt x="951" y="941"/>
                </a:lnTo>
                <a:lnTo>
                  <a:pt x="949" y="941"/>
                </a:lnTo>
                <a:lnTo>
                  <a:pt x="949" y="943"/>
                </a:lnTo>
                <a:lnTo>
                  <a:pt x="947" y="943"/>
                </a:lnTo>
                <a:lnTo>
                  <a:pt x="945" y="943"/>
                </a:lnTo>
                <a:lnTo>
                  <a:pt x="945" y="941"/>
                </a:lnTo>
                <a:lnTo>
                  <a:pt x="945" y="943"/>
                </a:lnTo>
                <a:lnTo>
                  <a:pt x="943" y="943"/>
                </a:lnTo>
                <a:lnTo>
                  <a:pt x="941" y="943"/>
                </a:lnTo>
                <a:lnTo>
                  <a:pt x="941" y="945"/>
                </a:lnTo>
                <a:lnTo>
                  <a:pt x="939" y="945"/>
                </a:lnTo>
                <a:lnTo>
                  <a:pt x="937" y="945"/>
                </a:lnTo>
                <a:lnTo>
                  <a:pt x="937" y="946"/>
                </a:lnTo>
                <a:lnTo>
                  <a:pt x="935" y="946"/>
                </a:lnTo>
                <a:lnTo>
                  <a:pt x="933" y="946"/>
                </a:lnTo>
                <a:lnTo>
                  <a:pt x="933" y="945"/>
                </a:lnTo>
                <a:lnTo>
                  <a:pt x="931" y="945"/>
                </a:lnTo>
                <a:lnTo>
                  <a:pt x="931" y="943"/>
                </a:lnTo>
                <a:lnTo>
                  <a:pt x="929" y="943"/>
                </a:lnTo>
                <a:lnTo>
                  <a:pt x="929" y="941"/>
                </a:lnTo>
                <a:lnTo>
                  <a:pt x="929" y="939"/>
                </a:lnTo>
                <a:lnTo>
                  <a:pt x="929" y="937"/>
                </a:lnTo>
                <a:lnTo>
                  <a:pt x="931" y="937"/>
                </a:lnTo>
                <a:lnTo>
                  <a:pt x="929" y="937"/>
                </a:lnTo>
                <a:lnTo>
                  <a:pt x="929" y="939"/>
                </a:lnTo>
                <a:lnTo>
                  <a:pt x="928" y="939"/>
                </a:lnTo>
                <a:lnTo>
                  <a:pt x="928" y="937"/>
                </a:lnTo>
                <a:lnTo>
                  <a:pt x="926" y="937"/>
                </a:lnTo>
                <a:lnTo>
                  <a:pt x="924" y="937"/>
                </a:lnTo>
                <a:lnTo>
                  <a:pt x="924" y="935"/>
                </a:lnTo>
                <a:lnTo>
                  <a:pt x="922" y="935"/>
                </a:lnTo>
                <a:lnTo>
                  <a:pt x="922" y="933"/>
                </a:lnTo>
                <a:lnTo>
                  <a:pt x="920" y="933"/>
                </a:lnTo>
                <a:lnTo>
                  <a:pt x="920" y="931"/>
                </a:lnTo>
                <a:lnTo>
                  <a:pt x="918" y="931"/>
                </a:lnTo>
                <a:lnTo>
                  <a:pt x="916" y="931"/>
                </a:lnTo>
                <a:lnTo>
                  <a:pt x="916" y="929"/>
                </a:lnTo>
                <a:lnTo>
                  <a:pt x="914" y="929"/>
                </a:lnTo>
                <a:lnTo>
                  <a:pt x="912" y="927"/>
                </a:lnTo>
                <a:lnTo>
                  <a:pt x="910" y="925"/>
                </a:lnTo>
                <a:lnTo>
                  <a:pt x="910" y="923"/>
                </a:lnTo>
                <a:lnTo>
                  <a:pt x="908" y="923"/>
                </a:lnTo>
                <a:lnTo>
                  <a:pt x="908" y="922"/>
                </a:lnTo>
                <a:lnTo>
                  <a:pt x="906" y="922"/>
                </a:lnTo>
                <a:lnTo>
                  <a:pt x="905" y="920"/>
                </a:lnTo>
                <a:lnTo>
                  <a:pt x="905" y="918"/>
                </a:lnTo>
                <a:lnTo>
                  <a:pt x="903" y="916"/>
                </a:lnTo>
                <a:lnTo>
                  <a:pt x="901" y="914"/>
                </a:lnTo>
                <a:lnTo>
                  <a:pt x="901" y="912"/>
                </a:lnTo>
                <a:lnTo>
                  <a:pt x="899" y="912"/>
                </a:lnTo>
                <a:lnTo>
                  <a:pt x="899" y="910"/>
                </a:lnTo>
                <a:lnTo>
                  <a:pt x="899" y="908"/>
                </a:lnTo>
                <a:lnTo>
                  <a:pt x="897" y="908"/>
                </a:lnTo>
                <a:lnTo>
                  <a:pt x="897" y="906"/>
                </a:lnTo>
                <a:lnTo>
                  <a:pt x="897" y="904"/>
                </a:lnTo>
                <a:lnTo>
                  <a:pt x="897" y="902"/>
                </a:lnTo>
                <a:lnTo>
                  <a:pt x="895" y="902"/>
                </a:lnTo>
                <a:lnTo>
                  <a:pt x="895" y="900"/>
                </a:lnTo>
                <a:lnTo>
                  <a:pt x="895" y="898"/>
                </a:lnTo>
                <a:lnTo>
                  <a:pt x="895" y="897"/>
                </a:lnTo>
                <a:lnTo>
                  <a:pt x="895" y="895"/>
                </a:lnTo>
                <a:lnTo>
                  <a:pt x="895" y="893"/>
                </a:lnTo>
                <a:lnTo>
                  <a:pt x="895" y="891"/>
                </a:lnTo>
                <a:lnTo>
                  <a:pt x="895" y="889"/>
                </a:lnTo>
                <a:lnTo>
                  <a:pt x="897" y="889"/>
                </a:lnTo>
                <a:lnTo>
                  <a:pt x="897" y="887"/>
                </a:lnTo>
                <a:lnTo>
                  <a:pt x="899" y="887"/>
                </a:lnTo>
                <a:lnTo>
                  <a:pt x="899" y="885"/>
                </a:lnTo>
                <a:lnTo>
                  <a:pt x="901" y="885"/>
                </a:lnTo>
                <a:lnTo>
                  <a:pt x="903" y="885"/>
                </a:lnTo>
                <a:lnTo>
                  <a:pt x="903" y="887"/>
                </a:lnTo>
                <a:lnTo>
                  <a:pt x="905" y="887"/>
                </a:lnTo>
                <a:lnTo>
                  <a:pt x="906" y="887"/>
                </a:lnTo>
                <a:lnTo>
                  <a:pt x="905" y="887"/>
                </a:lnTo>
                <a:lnTo>
                  <a:pt x="906" y="885"/>
                </a:lnTo>
                <a:lnTo>
                  <a:pt x="906" y="883"/>
                </a:lnTo>
                <a:lnTo>
                  <a:pt x="906" y="881"/>
                </a:lnTo>
                <a:lnTo>
                  <a:pt x="906" y="879"/>
                </a:lnTo>
                <a:lnTo>
                  <a:pt x="906" y="877"/>
                </a:lnTo>
                <a:lnTo>
                  <a:pt x="906" y="875"/>
                </a:lnTo>
                <a:lnTo>
                  <a:pt x="908" y="875"/>
                </a:lnTo>
                <a:lnTo>
                  <a:pt x="908" y="874"/>
                </a:lnTo>
                <a:lnTo>
                  <a:pt x="906" y="874"/>
                </a:lnTo>
                <a:lnTo>
                  <a:pt x="908" y="872"/>
                </a:lnTo>
                <a:lnTo>
                  <a:pt x="910" y="868"/>
                </a:lnTo>
                <a:lnTo>
                  <a:pt x="912" y="866"/>
                </a:lnTo>
                <a:lnTo>
                  <a:pt x="914" y="866"/>
                </a:lnTo>
                <a:lnTo>
                  <a:pt x="914" y="864"/>
                </a:lnTo>
                <a:lnTo>
                  <a:pt x="914" y="862"/>
                </a:lnTo>
                <a:lnTo>
                  <a:pt x="916" y="858"/>
                </a:lnTo>
                <a:lnTo>
                  <a:pt x="918" y="856"/>
                </a:lnTo>
                <a:lnTo>
                  <a:pt x="918" y="858"/>
                </a:lnTo>
                <a:lnTo>
                  <a:pt x="920" y="860"/>
                </a:lnTo>
                <a:lnTo>
                  <a:pt x="920" y="858"/>
                </a:lnTo>
                <a:lnTo>
                  <a:pt x="918" y="858"/>
                </a:lnTo>
                <a:lnTo>
                  <a:pt x="918" y="856"/>
                </a:lnTo>
                <a:lnTo>
                  <a:pt x="920" y="856"/>
                </a:lnTo>
                <a:lnTo>
                  <a:pt x="920" y="858"/>
                </a:lnTo>
                <a:lnTo>
                  <a:pt x="920" y="856"/>
                </a:lnTo>
                <a:lnTo>
                  <a:pt x="918" y="856"/>
                </a:lnTo>
                <a:lnTo>
                  <a:pt x="920" y="856"/>
                </a:lnTo>
                <a:lnTo>
                  <a:pt x="922" y="856"/>
                </a:lnTo>
                <a:lnTo>
                  <a:pt x="924" y="856"/>
                </a:lnTo>
                <a:lnTo>
                  <a:pt x="926" y="856"/>
                </a:lnTo>
                <a:lnTo>
                  <a:pt x="928" y="858"/>
                </a:lnTo>
                <a:lnTo>
                  <a:pt x="929" y="858"/>
                </a:lnTo>
                <a:lnTo>
                  <a:pt x="929" y="856"/>
                </a:lnTo>
                <a:lnTo>
                  <a:pt x="931" y="856"/>
                </a:lnTo>
                <a:lnTo>
                  <a:pt x="931" y="854"/>
                </a:lnTo>
                <a:lnTo>
                  <a:pt x="933" y="854"/>
                </a:lnTo>
                <a:lnTo>
                  <a:pt x="933" y="856"/>
                </a:lnTo>
                <a:lnTo>
                  <a:pt x="935" y="858"/>
                </a:lnTo>
                <a:lnTo>
                  <a:pt x="937" y="858"/>
                </a:lnTo>
                <a:lnTo>
                  <a:pt x="939" y="858"/>
                </a:lnTo>
                <a:lnTo>
                  <a:pt x="939" y="856"/>
                </a:lnTo>
                <a:lnTo>
                  <a:pt x="941" y="856"/>
                </a:lnTo>
                <a:lnTo>
                  <a:pt x="939" y="854"/>
                </a:lnTo>
                <a:lnTo>
                  <a:pt x="941" y="854"/>
                </a:lnTo>
                <a:lnTo>
                  <a:pt x="943" y="856"/>
                </a:lnTo>
                <a:lnTo>
                  <a:pt x="943" y="858"/>
                </a:lnTo>
                <a:lnTo>
                  <a:pt x="945" y="858"/>
                </a:lnTo>
                <a:lnTo>
                  <a:pt x="947" y="858"/>
                </a:lnTo>
                <a:lnTo>
                  <a:pt x="949" y="858"/>
                </a:lnTo>
                <a:lnTo>
                  <a:pt x="951" y="858"/>
                </a:lnTo>
                <a:lnTo>
                  <a:pt x="953" y="858"/>
                </a:lnTo>
                <a:lnTo>
                  <a:pt x="953" y="860"/>
                </a:lnTo>
                <a:lnTo>
                  <a:pt x="954" y="862"/>
                </a:lnTo>
                <a:lnTo>
                  <a:pt x="954" y="864"/>
                </a:lnTo>
                <a:lnTo>
                  <a:pt x="956" y="864"/>
                </a:lnTo>
                <a:lnTo>
                  <a:pt x="958" y="864"/>
                </a:lnTo>
                <a:lnTo>
                  <a:pt x="958" y="862"/>
                </a:lnTo>
                <a:lnTo>
                  <a:pt x="960" y="862"/>
                </a:lnTo>
                <a:lnTo>
                  <a:pt x="960" y="864"/>
                </a:lnTo>
                <a:lnTo>
                  <a:pt x="962" y="864"/>
                </a:lnTo>
                <a:lnTo>
                  <a:pt x="964" y="864"/>
                </a:lnTo>
                <a:lnTo>
                  <a:pt x="966" y="864"/>
                </a:lnTo>
                <a:lnTo>
                  <a:pt x="966" y="866"/>
                </a:lnTo>
                <a:lnTo>
                  <a:pt x="968" y="866"/>
                </a:lnTo>
                <a:lnTo>
                  <a:pt x="968" y="868"/>
                </a:lnTo>
                <a:lnTo>
                  <a:pt x="968" y="870"/>
                </a:lnTo>
                <a:lnTo>
                  <a:pt x="968" y="872"/>
                </a:lnTo>
                <a:lnTo>
                  <a:pt x="968" y="874"/>
                </a:lnTo>
                <a:lnTo>
                  <a:pt x="966" y="874"/>
                </a:lnTo>
                <a:lnTo>
                  <a:pt x="964" y="874"/>
                </a:lnTo>
                <a:lnTo>
                  <a:pt x="962" y="874"/>
                </a:lnTo>
                <a:lnTo>
                  <a:pt x="962" y="875"/>
                </a:lnTo>
                <a:lnTo>
                  <a:pt x="960" y="875"/>
                </a:lnTo>
                <a:lnTo>
                  <a:pt x="958" y="875"/>
                </a:lnTo>
                <a:lnTo>
                  <a:pt x="958" y="877"/>
                </a:lnTo>
                <a:lnTo>
                  <a:pt x="956" y="877"/>
                </a:lnTo>
                <a:lnTo>
                  <a:pt x="954" y="877"/>
                </a:lnTo>
                <a:lnTo>
                  <a:pt x="954" y="879"/>
                </a:lnTo>
                <a:lnTo>
                  <a:pt x="956" y="881"/>
                </a:lnTo>
                <a:lnTo>
                  <a:pt x="956" y="883"/>
                </a:lnTo>
                <a:lnTo>
                  <a:pt x="958" y="883"/>
                </a:lnTo>
                <a:lnTo>
                  <a:pt x="960" y="883"/>
                </a:lnTo>
                <a:lnTo>
                  <a:pt x="960" y="885"/>
                </a:lnTo>
                <a:lnTo>
                  <a:pt x="962" y="885"/>
                </a:lnTo>
                <a:lnTo>
                  <a:pt x="964" y="885"/>
                </a:lnTo>
                <a:lnTo>
                  <a:pt x="964" y="887"/>
                </a:lnTo>
                <a:lnTo>
                  <a:pt x="966" y="887"/>
                </a:lnTo>
                <a:lnTo>
                  <a:pt x="968" y="887"/>
                </a:lnTo>
                <a:lnTo>
                  <a:pt x="970" y="887"/>
                </a:lnTo>
                <a:lnTo>
                  <a:pt x="972" y="887"/>
                </a:lnTo>
                <a:lnTo>
                  <a:pt x="972" y="885"/>
                </a:lnTo>
                <a:lnTo>
                  <a:pt x="974" y="885"/>
                </a:lnTo>
                <a:lnTo>
                  <a:pt x="974" y="883"/>
                </a:lnTo>
                <a:lnTo>
                  <a:pt x="974" y="885"/>
                </a:lnTo>
                <a:lnTo>
                  <a:pt x="974" y="883"/>
                </a:lnTo>
                <a:lnTo>
                  <a:pt x="976" y="883"/>
                </a:lnTo>
                <a:lnTo>
                  <a:pt x="976" y="881"/>
                </a:lnTo>
                <a:lnTo>
                  <a:pt x="976" y="879"/>
                </a:lnTo>
                <a:lnTo>
                  <a:pt x="976" y="877"/>
                </a:lnTo>
                <a:lnTo>
                  <a:pt x="976" y="875"/>
                </a:lnTo>
                <a:lnTo>
                  <a:pt x="976" y="874"/>
                </a:lnTo>
                <a:lnTo>
                  <a:pt x="976" y="872"/>
                </a:lnTo>
                <a:lnTo>
                  <a:pt x="976" y="870"/>
                </a:lnTo>
                <a:lnTo>
                  <a:pt x="974" y="870"/>
                </a:lnTo>
                <a:lnTo>
                  <a:pt x="974" y="868"/>
                </a:lnTo>
                <a:lnTo>
                  <a:pt x="974" y="866"/>
                </a:lnTo>
                <a:lnTo>
                  <a:pt x="974" y="864"/>
                </a:lnTo>
                <a:lnTo>
                  <a:pt x="974" y="862"/>
                </a:lnTo>
                <a:lnTo>
                  <a:pt x="974" y="864"/>
                </a:lnTo>
                <a:lnTo>
                  <a:pt x="974" y="862"/>
                </a:lnTo>
                <a:lnTo>
                  <a:pt x="972" y="862"/>
                </a:lnTo>
                <a:lnTo>
                  <a:pt x="972" y="860"/>
                </a:lnTo>
                <a:lnTo>
                  <a:pt x="972" y="858"/>
                </a:lnTo>
                <a:lnTo>
                  <a:pt x="972" y="856"/>
                </a:lnTo>
                <a:lnTo>
                  <a:pt x="970" y="856"/>
                </a:lnTo>
                <a:lnTo>
                  <a:pt x="972" y="856"/>
                </a:lnTo>
                <a:lnTo>
                  <a:pt x="970" y="854"/>
                </a:lnTo>
                <a:lnTo>
                  <a:pt x="970" y="852"/>
                </a:lnTo>
                <a:lnTo>
                  <a:pt x="968" y="852"/>
                </a:lnTo>
                <a:lnTo>
                  <a:pt x="968" y="850"/>
                </a:lnTo>
                <a:lnTo>
                  <a:pt x="968" y="849"/>
                </a:lnTo>
                <a:lnTo>
                  <a:pt x="966" y="849"/>
                </a:lnTo>
                <a:lnTo>
                  <a:pt x="966" y="847"/>
                </a:lnTo>
                <a:lnTo>
                  <a:pt x="966" y="845"/>
                </a:lnTo>
                <a:lnTo>
                  <a:pt x="964" y="845"/>
                </a:lnTo>
                <a:lnTo>
                  <a:pt x="964" y="843"/>
                </a:lnTo>
                <a:lnTo>
                  <a:pt x="962" y="843"/>
                </a:lnTo>
                <a:lnTo>
                  <a:pt x="962" y="841"/>
                </a:lnTo>
                <a:lnTo>
                  <a:pt x="962" y="839"/>
                </a:lnTo>
                <a:lnTo>
                  <a:pt x="964" y="839"/>
                </a:lnTo>
                <a:lnTo>
                  <a:pt x="966" y="839"/>
                </a:lnTo>
                <a:lnTo>
                  <a:pt x="966" y="837"/>
                </a:lnTo>
                <a:lnTo>
                  <a:pt x="968" y="837"/>
                </a:lnTo>
                <a:lnTo>
                  <a:pt x="966" y="835"/>
                </a:lnTo>
                <a:lnTo>
                  <a:pt x="966" y="833"/>
                </a:lnTo>
                <a:lnTo>
                  <a:pt x="966" y="831"/>
                </a:lnTo>
                <a:lnTo>
                  <a:pt x="966" y="833"/>
                </a:lnTo>
                <a:lnTo>
                  <a:pt x="964" y="833"/>
                </a:lnTo>
                <a:lnTo>
                  <a:pt x="964" y="831"/>
                </a:lnTo>
                <a:lnTo>
                  <a:pt x="962" y="831"/>
                </a:lnTo>
                <a:lnTo>
                  <a:pt x="962" y="829"/>
                </a:lnTo>
                <a:lnTo>
                  <a:pt x="964" y="827"/>
                </a:lnTo>
                <a:lnTo>
                  <a:pt x="964" y="826"/>
                </a:lnTo>
                <a:lnTo>
                  <a:pt x="964" y="824"/>
                </a:lnTo>
                <a:lnTo>
                  <a:pt x="962" y="824"/>
                </a:lnTo>
                <a:lnTo>
                  <a:pt x="960" y="824"/>
                </a:lnTo>
                <a:lnTo>
                  <a:pt x="960" y="822"/>
                </a:lnTo>
                <a:lnTo>
                  <a:pt x="958" y="822"/>
                </a:lnTo>
                <a:lnTo>
                  <a:pt x="958" y="820"/>
                </a:lnTo>
                <a:lnTo>
                  <a:pt x="958" y="818"/>
                </a:lnTo>
                <a:lnTo>
                  <a:pt x="958" y="816"/>
                </a:lnTo>
                <a:lnTo>
                  <a:pt x="960" y="816"/>
                </a:lnTo>
                <a:lnTo>
                  <a:pt x="960" y="814"/>
                </a:lnTo>
                <a:lnTo>
                  <a:pt x="962" y="814"/>
                </a:lnTo>
                <a:lnTo>
                  <a:pt x="964" y="814"/>
                </a:lnTo>
                <a:lnTo>
                  <a:pt x="966" y="816"/>
                </a:lnTo>
                <a:lnTo>
                  <a:pt x="964" y="816"/>
                </a:lnTo>
                <a:lnTo>
                  <a:pt x="964" y="814"/>
                </a:lnTo>
                <a:lnTo>
                  <a:pt x="964" y="816"/>
                </a:lnTo>
                <a:lnTo>
                  <a:pt x="966" y="816"/>
                </a:lnTo>
                <a:lnTo>
                  <a:pt x="966" y="818"/>
                </a:lnTo>
                <a:lnTo>
                  <a:pt x="966" y="820"/>
                </a:lnTo>
                <a:lnTo>
                  <a:pt x="966" y="818"/>
                </a:lnTo>
                <a:lnTo>
                  <a:pt x="966" y="820"/>
                </a:lnTo>
                <a:lnTo>
                  <a:pt x="968" y="820"/>
                </a:lnTo>
                <a:lnTo>
                  <a:pt x="968" y="822"/>
                </a:lnTo>
                <a:lnTo>
                  <a:pt x="966" y="822"/>
                </a:lnTo>
                <a:lnTo>
                  <a:pt x="968" y="822"/>
                </a:lnTo>
                <a:lnTo>
                  <a:pt x="970" y="822"/>
                </a:lnTo>
                <a:lnTo>
                  <a:pt x="970" y="820"/>
                </a:lnTo>
                <a:lnTo>
                  <a:pt x="972" y="820"/>
                </a:lnTo>
                <a:lnTo>
                  <a:pt x="972" y="822"/>
                </a:lnTo>
                <a:lnTo>
                  <a:pt x="972" y="820"/>
                </a:lnTo>
                <a:lnTo>
                  <a:pt x="972" y="822"/>
                </a:lnTo>
                <a:lnTo>
                  <a:pt x="970" y="822"/>
                </a:lnTo>
                <a:lnTo>
                  <a:pt x="972" y="822"/>
                </a:lnTo>
                <a:lnTo>
                  <a:pt x="972" y="824"/>
                </a:lnTo>
                <a:lnTo>
                  <a:pt x="972" y="822"/>
                </a:lnTo>
                <a:lnTo>
                  <a:pt x="972" y="820"/>
                </a:lnTo>
                <a:lnTo>
                  <a:pt x="974" y="820"/>
                </a:lnTo>
                <a:lnTo>
                  <a:pt x="972" y="820"/>
                </a:lnTo>
                <a:lnTo>
                  <a:pt x="974" y="820"/>
                </a:lnTo>
                <a:lnTo>
                  <a:pt x="974" y="822"/>
                </a:lnTo>
                <a:lnTo>
                  <a:pt x="974" y="824"/>
                </a:lnTo>
                <a:lnTo>
                  <a:pt x="976" y="824"/>
                </a:lnTo>
                <a:lnTo>
                  <a:pt x="978" y="824"/>
                </a:lnTo>
                <a:lnTo>
                  <a:pt x="978" y="826"/>
                </a:lnTo>
                <a:lnTo>
                  <a:pt x="978" y="824"/>
                </a:lnTo>
                <a:lnTo>
                  <a:pt x="979" y="824"/>
                </a:lnTo>
                <a:lnTo>
                  <a:pt x="978" y="824"/>
                </a:lnTo>
                <a:lnTo>
                  <a:pt x="978" y="822"/>
                </a:lnTo>
                <a:lnTo>
                  <a:pt x="976" y="822"/>
                </a:lnTo>
                <a:lnTo>
                  <a:pt x="976" y="820"/>
                </a:lnTo>
                <a:lnTo>
                  <a:pt x="976" y="818"/>
                </a:lnTo>
                <a:lnTo>
                  <a:pt x="974" y="818"/>
                </a:lnTo>
                <a:lnTo>
                  <a:pt x="974" y="816"/>
                </a:lnTo>
                <a:lnTo>
                  <a:pt x="972" y="818"/>
                </a:lnTo>
                <a:lnTo>
                  <a:pt x="970" y="818"/>
                </a:lnTo>
                <a:lnTo>
                  <a:pt x="970" y="816"/>
                </a:lnTo>
                <a:lnTo>
                  <a:pt x="970" y="814"/>
                </a:lnTo>
                <a:lnTo>
                  <a:pt x="970" y="812"/>
                </a:lnTo>
                <a:lnTo>
                  <a:pt x="972" y="812"/>
                </a:lnTo>
                <a:lnTo>
                  <a:pt x="972" y="814"/>
                </a:lnTo>
                <a:lnTo>
                  <a:pt x="972" y="816"/>
                </a:lnTo>
                <a:lnTo>
                  <a:pt x="974" y="816"/>
                </a:lnTo>
                <a:lnTo>
                  <a:pt x="974" y="814"/>
                </a:lnTo>
                <a:lnTo>
                  <a:pt x="972" y="814"/>
                </a:lnTo>
                <a:lnTo>
                  <a:pt x="974" y="814"/>
                </a:lnTo>
                <a:lnTo>
                  <a:pt x="974" y="812"/>
                </a:lnTo>
                <a:lnTo>
                  <a:pt x="972" y="812"/>
                </a:lnTo>
                <a:lnTo>
                  <a:pt x="972" y="810"/>
                </a:lnTo>
                <a:lnTo>
                  <a:pt x="974" y="810"/>
                </a:lnTo>
                <a:lnTo>
                  <a:pt x="976" y="810"/>
                </a:lnTo>
                <a:lnTo>
                  <a:pt x="978" y="810"/>
                </a:lnTo>
                <a:lnTo>
                  <a:pt x="979" y="810"/>
                </a:lnTo>
                <a:lnTo>
                  <a:pt x="981" y="810"/>
                </a:lnTo>
                <a:lnTo>
                  <a:pt x="981" y="808"/>
                </a:lnTo>
                <a:lnTo>
                  <a:pt x="983" y="808"/>
                </a:lnTo>
                <a:lnTo>
                  <a:pt x="983" y="806"/>
                </a:lnTo>
                <a:lnTo>
                  <a:pt x="981" y="806"/>
                </a:lnTo>
                <a:lnTo>
                  <a:pt x="981" y="808"/>
                </a:lnTo>
                <a:lnTo>
                  <a:pt x="981" y="810"/>
                </a:lnTo>
                <a:lnTo>
                  <a:pt x="979" y="810"/>
                </a:lnTo>
                <a:lnTo>
                  <a:pt x="979" y="808"/>
                </a:lnTo>
                <a:lnTo>
                  <a:pt x="978" y="808"/>
                </a:lnTo>
                <a:lnTo>
                  <a:pt x="976" y="808"/>
                </a:lnTo>
                <a:lnTo>
                  <a:pt x="976" y="810"/>
                </a:lnTo>
                <a:lnTo>
                  <a:pt x="976" y="808"/>
                </a:lnTo>
                <a:lnTo>
                  <a:pt x="976" y="810"/>
                </a:lnTo>
                <a:lnTo>
                  <a:pt x="974" y="810"/>
                </a:lnTo>
                <a:lnTo>
                  <a:pt x="974" y="808"/>
                </a:lnTo>
                <a:lnTo>
                  <a:pt x="976" y="808"/>
                </a:lnTo>
                <a:lnTo>
                  <a:pt x="976" y="806"/>
                </a:lnTo>
                <a:lnTo>
                  <a:pt x="976" y="808"/>
                </a:lnTo>
                <a:lnTo>
                  <a:pt x="974" y="808"/>
                </a:lnTo>
                <a:lnTo>
                  <a:pt x="974" y="806"/>
                </a:lnTo>
                <a:lnTo>
                  <a:pt x="976" y="806"/>
                </a:lnTo>
                <a:lnTo>
                  <a:pt x="974" y="806"/>
                </a:lnTo>
                <a:lnTo>
                  <a:pt x="974" y="804"/>
                </a:lnTo>
                <a:lnTo>
                  <a:pt x="976" y="804"/>
                </a:lnTo>
                <a:lnTo>
                  <a:pt x="976" y="802"/>
                </a:lnTo>
                <a:lnTo>
                  <a:pt x="976" y="804"/>
                </a:lnTo>
                <a:lnTo>
                  <a:pt x="976" y="802"/>
                </a:lnTo>
                <a:lnTo>
                  <a:pt x="974" y="802"/>
                </a:lnTo>
                <a:lnTo>
                  <a:pt x="974" y="801"/>
                </a:lnTo>
                <a:lnTo>
                  <a:pt x="976" y="801"/>
                </a:lnTo>
                <a:lnTo>
                  <a:pt x="978" y="801"/>
                </a:lnTo>
                <a:lnTo>
                  <a:pt x="979" y="801"/>
                </a:lnTo>
                <a:lnTo>
                  <a:pt x="981" y="802"/>
                </a:lnTo>
                <a:lnTo>
                  <a:pt x="981" y="801"/>
                </a:lnTo>
                <a:lnTo>
                  <a:pt x="979" y="801"/>
                </a:lnTo>
                <a:lnTo>
                  <a:pt x="978" y="801"/>
                </a:lnTo>
                <a:lnTo>
                  <a:pt x="976" y="801"/>
                </a:lnTo>
                <a:lnTo>
                  <a:pt x="976" y="799"/>
                </a:lnTo>
                <a:lnTo>
                  <a:pt x="974" y="799"/>
                </a:lnTo>
                <a:lnTo>
                  <a:pt x="974" y="801"/>
                </a:lnTo>
                <a:lnTo>
                  <a:pt x="974" y="802"/>
                </a:lnTo>
                <a:lnTo>
                  <a:pt x="972" y="802"/>
                </a:lnTo>
                <a:lnTo>
                  <a:pt x="970" y="802"/>
                </a:lnTo>
                <a:lnTo>
                  <a:pt x="970" y="804"/>
                </a:lnTo>
                <a:lnTo>
                  <a:pt x="968" y="804"/>
                </a:lnTo>
                <a:lnTo>
                  <a:pt x="966" y="804"/>
                </a:lnTo>
                <a:lnTo>
                  <a:pt x="964" y="804"/>
                </a:lnTo>
                <a:lnTo>
                  <a:pt x="964" y="802"/>
                </a:lnTo>
                <a:lnTo>
                  <a:pt x="966" y="802"/>
                </a:lnTo>
                <a:lnTo>
                  <a:pt x="966" y="801"/>
                </a:lnTo>
                <a:lnTo>
                  <a:pt x="968" y="801"/>
                </a:lnTo>
                <a:lnTo>
                  <a:pt x="968" y="799"/>
                </a:lnTo>
                <a:lnTo>
                  <a:pt x="968" y="801"/>
                </a:lnTo>
                <a:lnTo>
                  <a:pt x="968" y="799"/>
                </a:lnTo>
                <a:lnTo>
                  <a:pt x="968" y="801"/>
                </a:lnTo>
                <a:lnTo>
                  <a:pt x="966" y="801"/>
                </a:lnTo>
                <a:lnTo>
                  <a:pt x="964" y="801"/>
                </a:lnTo>
                <a:lnTo>
                  <a:pt x="964" y="802"/>
                </a:lnTo>
                <a:lnTo>
                  <a:pt x="964" y="801"/>
                </a:lnTo>
                <a:lnTo>
                  <a:pt x="964" y="799"/>
                </a:lnTo>
                <a:lnTo>
                  <a:pt x="964" y="797"/>
                </a:lnTo>
                <a:lnTo>
                  <a:pt x="964" y="795"/>
                </a:lnTo>
                <a:lnTo>
                  <a:pt x="966" y="795"/>
                </a:lnTo>
                <a:lnTo>
                  <a:pt x="966" y="793"/>
                </a:lnTo>
                <a:lnTo>
                  <a:pt x="966" y="795"/>
                </a:lnTo>
                <a:lnTo>
                  <a:pt x="968" y="793"/>
                </a:lnTo>
                <a:lnTo>
                  <a:pt x="970" y="791"/>
                </a:lnTo>
                <a:lnTo>
                  <a:pt x="970" y="793"/>
                </a:lnTo>
                <a:lnTo>
                  <a:pt x="970" y="791"/>
                </a:lnTo>
                <a:lnTo>
                  <a:pt x="970" y="793"/>
                </a:lnTo>
                <a:lnTo>
                  <a:pt x="972" y="793"/>
                </a:lnTo>
                <a:lnTo>
                  <a:pt x="970" y="793"/>
                </a:lnTo>
                <a:lnTo>
                  <a:pt x="972" y="793"/>
                </a:lnTo>
                <a:lnTo>
                  <a:pt x="970" y="791"/>
                </a:lnTo>
                <a:lnTo>
                  <a:pt x="972" y="791"/>
                </a:lnTo>
                <a:lnTo>
                  <a:pt x="972" y="789"/>
                </a:lnTo>
                <a:lnTo>
                  <a:pt x="974" y="789"/>
                </a:lnTo>
                <a:lnTo>
                  <a:pt x="976" y="789"/>
                </a:lnTo>
                <a:lnTo>
                  <a:pt x="974" y="791"/>
                </a:lnTo>
                <a:lnTo>
                  <a:pt x="976" y="791"/>
                </a:lnTo>
                <a:lnTo>
                  <a:pt x="976" y="789"/>
                </a:lnTo>
                <a:lnTo>
                  <a:pt x="976" y="791"/>
                </a:lnTo>
                <a:lnTo>
                  <a:pt x="976" y="789"/>
                </a:lnTo>
                <a:lnTo>
                  <a:pt x="978" y="789"/>
                </a:lnTo>
                <a:lnTo>
                  <a:pt x="979" y="789"/>
                </a:lnTo>
                <a:lnTo>
                  <a:pt x="979" y="787"/>
                </a:lnTo>
                <a:lnTo>
                  <a:pt x="979" y="785"/>
                </a:lnTo>
                <a:lnTo>
                  <a:pt x="979" y="787"/>
                </a:lnTo>
                <a:lnTo>
                  <a:pt x="978" y="787"/>
                </a:lnTo>
                <a:lnTo>
                  <a:pt x="978" y="789"/>
                </a:lnTo>
                <a:lnTo>
                  <a:pt x="978" y="787"/>
                </a:lnTo>
                <a:lnTo>
                  <a:pt x="978" y="785"/>
                </a:lnTo>
                <a:lnTo>
                  <a:pt x="978" y="783"/>
                </a:lnTo>
                <a:lnTo>
                  <a:pt x="978" y="781"/>
                </a:lnTo>
                <a:lnTo>
                  <a:pt x="976" y="781"/>
                </a:lnTo>
                <a:lnTo>
                  <a:pt x="976" y="779"/>
                </a:lnTo>
                <a:lnTo>
                  <a:pt x="976" y="778"/>
                </a:lnTo>
                <a:lnTo>
                  <a:pt x="978" y="778"/>
                </a:lnTo>
                <a:lnTo>
                  <a:pt x="978" y="776"/>
                </a:lnTo>
                <a:lnTo>
                  <a:pt x="979" y="776"/>
                </a:lnTo>
                <a:lnTo>
                  <a:pt x="981" y="776"/>
                </a:lnTo>
                <a:lnTo>
                  <a:pt x="981" y="774"/>
                </a:lnTo>
                <a:lnTo>
                  <a:pt x="981" y="776"/>
                </a:lnTo>
                <a:lnTo>
                  <a:pt x="983" y="776"/>
                </a:lnTo>
                <a:lnTo>
                  <a:pt x="983" y="774"/>
                </a:lnTo>
                <a:lnTo>
                  <a:pt x="983" y="776"/>
                </a:lnTo>
                <a:lnTo>
                  <a:pt x="983" y="774"/>
                </a:lnTo>
                <a:lnTo>
                  <a:pt x="983" y="776"/>
                </a:lnTo>
                <a:lnTo>
                  <a:pt x="983" y="774"/>
                </a:lnTo>
                <a:lnTo>
                  <a:pt x="983" y="776"/>
                </a:lnTo>
                <a:lnTo>
                  <a:pt x="983" y="774"/>
                </a:lnTo>
                <a:lnTo>
                  <a:pt x="985" y="774"/>
                </a:lnTo>
                <a:lnTo>
                  <a:pt x="985" y="776"/>
                </a:lnTo>
                <a:lnTo>
                  <a:pt x="985" y="774"/>
                </a:lnTo>
                <a:lnTo>
                  <a:pt x="983" y="774"/>
                </a:lnTo>
                <a:lnTo>
                  <a:pt x="985" y="774"/>
                </a:lnTo>
                <a:lnTo>
                  <a:pt x="985" y="776"/>
                </a:lnTo>
                <a:lnTo>
                  <a:pt x="987" y="776"/>
                </a:lnTo>
                <a:lnTo>
                  <a:pt x="985" y="776"/>
                </a:lnTo>
                <a:lnTo>
                  <a:pt x="987" y="776"/>
                </a:lnTo>
                <a:lnTo>
                  <a:pt x="987" y="778"/>
                </a:lnTo>
                <a:lnTo>
                  <a:pt x="985" y="778"/>
                </a:lnTo>
                <a:lnTo>
                  <a:pt x="985" y="779"/>
                </a:lnTo>
                <a:lnTo>
                  <a:pt x="987" y="779"/>
                </a:lnTo>
                <a:lnTo>
                  <a:pt x="987" y="781"/>
                </a:lnTo>
                <a:lnTo>
                  <a:pt x="987" y="779"/>
                </a:lnTo>
                <a:lnTo>
                  <a:pt x="985" y="779"/>
                </a:lnTo>
                <a:lnTo>
                  <a:pt x="987" y="778"/>
                </a:lnTo>
                <a:lnTo>
                  <a:pt x="989" y="778"/>
                </a:lnTo>
                <a:lnTo>
                  <a:pt x="991" y="778"/>
                </a:lnTo>
                <a:lnTo>
                  <a:pt x="991" y="776"/>
                </a:lnTo>
                <a:lnTo>
                  <a:pt x="993" y="776"/>
                </a:lnTo>
                <a:lnTo>
                  <a:pt x="993" y="774"/>
                </a:lnTo>
                <a:lnTo>
                  <a:pt x="993" y="772"/>
                </a:lnTo>
                <a:lnTo>
                  <a:pt x="993" y="770"/>
                </a:lnTo>
                <a:lnTo>
                  <a:pt x="993" y="768"/>
                </a:lnTo>
                <a:lnTo>
                  <a:pt x="993" y="766"/>
                </a:lnTo>
                <a:lnTo>
                  <a:pt x="991" y="766"/>
                </a:lnTo>
                <a:lnTo>
                  <a:pt x="989" y="766"/>
                </a:lnTo>
                <a:lnTo>
                  <a:pt x="989" y="764"/>
                </a:lnTo>
                <a:lnTo>
                  <a:pt x="991" y="764"/>
                </a:lnTo>
                <a:lnTo>
                  <a:pt x="989" y="764"/>
                </a:lnTo>
                <a:lnTo>
                  <a:pt x="987" y="764"/>
                </a:lnTo>
                <a:lnTo>
                  <a:pt x="987" y="766"/>
                </a:lnTo>
                <a:lnTo>
                  <a:pt x="985" y="764"/>
                </a:lnTo>
                <a:lnTo>
                  <a:pt x="985" y="762"/>
                </a:lnTo>
                <a:lnTo>
                  <a:pt x="987" y="762"/>
                </a:lnTo>
                <a:lnTo>
                  <a:pt x="987" y="760"/>
                </a:lnTo>
                <a:lnTo>
                  <a:pt x="989" y="760"/>
                </a:lnTo>
                <a:lnTo>
                  <a:pt x="989" y="758"/>
                </a:lnTo>
                <a:lnTo>
                  <a:pt x="991" y="758"/>
                </a:lnTo>
                <a:lnTo>
                  <a:pt x="993" y="758"/>
                </a:lnTo>
                <a:lnTo>
                  <a:pt x="995" y="756"/>
                </a:lnTo>
                <a:lnTo>
                  <a:pt x="997" y="756"/>
                </a:lnTo>
                <a:lnTo>
                  <a:pt x="999" y="756"/>
                </a:lnTo>
                <a:lnTo>
                  <a:pt x="1001" y="756"/>
                </a:lnTo>
                <a:lnTo>
                  <a:pt x="1001" y="754"/>
                </a:lnTo>
                <a:lnTo>
                  <a:pt x="1002" y="754"/>
                </a:lnTo>
                <a:lnTo>
                  <a:pt x="1002" y="756"/>
                </a:lnTo>
                <a:lnTo>
                  <a:pt x="1001" y="756"/>
                </a:lnTo>
                <a:lnTo>
                  <a:pt x="999" y="756"/>
                </a:lnTo>
                <a:lnTo>
                  <a:pt x="997" y="756"/>
                </a:lnTo>
                <a:lnTo>
                  <a:pt x="997" y="758"/>
                </a:lnTo>
                <a:lnTo>
                  <a:pt x="995" y="758"/>
                </a:lnTo>
                <a:lnTo>
                  <a:pt x="997" y="758"/>
                </a:lnTo>
                <a:lnTo>
                  <a:pt x="997" y="760"/>
                </a:lnTo>
                <a:lnTo>
                  <a:pt x="997" y="762"/>
                </a:lnTo>
                <a:lnTo>
                  <a:pt x="999" y="762"/>
                </a:lnTo>
                <a:lnTo>
                  <a:pt x="999" y="764"/>
                </a:lnTo>
                <a:lnTo>
                  <a:pt x="1001" y="764"/>
                </a:lnTo>
                <a:lnTo>
                  <a:pt x="1001" y="766"/>
                </a:lnTo>
                <a:lnTo>
                  <a:pt x="1002" y="766"/>
                </a:lnTo>
                <a:lnTo>
                  <a:pt x="1002" y="768"/>
                </a:lnTo>
                <a:lnTo>
                  <a:pt x="1004" y="768"/>
                </a:lnTo>
                <a:lnTo>
                  <a:pt x="1004" y="770"/>
                </a:lnTo>
                <a:lnTo>
                  <a:pt x="1006" y="770"/>
                </a:lnTo>
                <a:lnTo>
                  <a:pt x="1004" y="770"/>
                </a:lnTo>
                <a:lnTo>
                  <a:pt x="1004" y="768"/>
                </a:lnTo>
                <a:lnTo>
                  <a:pt x="1004" y="766"/>
                </a:lnTo>
                <a:lnTo>
                  <a:pt x="1004" y="764"/>
                </a:lnTo>
                <a:lnTo>
                  <a:pt x="1004" y="762"/>
                </a:lnTo>
                <a:lnTo>
                  <a:pt x="1006" y="762"/>
                </a:lnTo>
                <a:lnTo>
                  <a:pt x="1004" y="762"/>
                </a:lnTo>
                <a:lnTo>
                  <a:pt x="1004" y="760"/>
                </a:lnTo>
                <a:lnTo>
                  <a:pt x="1006" y="758"/>
                </a:lnTo>
                <a:lnTo>
                  <a:pt x="1006" y="756"/>
                </a:lnTo>
                <a:lnTo>
                  <a:pt x="1008" y="756"/>
                </a:lnTo>
                <a:lnTo>
                  <a:pt x="1008" y="754"/>
                </a:lnTo>
                <a:lnTo>
                  <a:pt x="1010" y="754"/>
                </a:lnTo>
                <a:lnTo>
                  <a:pt x="1010" y="756"/>
                </a:lnTo>
                <a:lnTo>
                  <a:pt x="1012" y="756"/>
                </a:lnTo>
                <a:lnTo>
                  <a:pt x="1014" y="758"/>
                </a:lnTo>
                <a:lnTo>
                  <a:pt x="1012" y="758"/>
                </a:lnTo>
                <a:lnTo>
                  <a:pt x="1014" y="758"/>
                </a:lnTo>
                <a:lnTo>
                  <a:pt x="1014" y="760"/>
                </a:lnTo>
                <a:lnTo>
                  <a:pt x="1014" y="762"/>
                </a:lnTo>
                <a:lnTo>
                  <a:pt x="1016" y="762"/>
                </a:lnTo>
                <a:lnTo>
                  <a:pt x="1016" y="764"/>
                </a:lnTo>
                <a:lnTo>
                  <a:pt x="1014" y="764"/>
                </a:lnTo>
                <a:lnTo>
                  <a:pt x="1014" y="766"/>
                </a:lnTo>
                <a:lnTo>
                  <a:pt x="1016" y="766"/>
                </a:lnTo>
                <a:lnTo>
                  <a:pt x="1018" y="766"/>
                </a:lnTo>
                <a:lnTo>
                  <a:pt x="1018" y="768"/>
                </a:lnTo>
                <a:lnTo>
                  <a:pt x="1020" y="768"/>
                </a:lnTo>
                <a:lnTo>
                  <a:pt x="1020" y="770"/>
                </a:lnTo>
                <a:lnTo>
                  <a:pt x="1022" y="770"/>
                </a:lnTo>
                <a:lnTo>
                  <a:pt x="1022" y="768"/>
                </a:lnTo>
                <a:lnTo>
                  <a:pt x="1022" y="766"/>
                </a:lnTo>
                <a:lnTo>
                  <a:pt x="1024" y="766"/>
                </a:lnTo>
                <a:lnTo>
                  <a:pt x="1024" y="764"/>
                </a:lnTo>
                <a:lnTo>
                  <a:pt x="1026" y="764"/>
                </a:lnTo>
                <a:lnTo>
                  <a:pt x="1026" y="762"/>
                </a:lnTo>
                <a:lnTo>
                  <a:pt x="1027" y="762"/>
                </a:lnTo>
                <a:lnTo>
                  <a:pt x="1027" y="760"/>
                </a:lnTo>
                <a:lnTo>
                  <a:pt x="1029" y="760"/>
                </a:lnTo>
                <a:lnTo>
                  <a:pt x="1031" y="760"/>
                </a:lnTo>
                <a:lnTo>
                  <a:pt x="1031" y="758"/>
                </a:lnTo>
                <a:lnTo>
                  <a:pt x="1033" y="758"/>
                </a:lnTo>
                <a:lnTo>
                  <a:pt x="1035" y="758"/>
                </a:lnTo>
                <a:lnTo>
                  <a:pt x="1037" y="758"/>
                </a:lnTo>
                <a:lnTo>
                  <a:pt x="1039" y="758"/>
                </a:lnTo>
                <a:lnTo>
                  <a:pt x="1041" y="758"/>
                </a:lnTo>
                <a:lnTo>
                  <a:pt x="1043" y="758"/>
                </a:lnTo>
                <a:lnTo>
                  <a:pt x="1043" y="760"/>
                </a:lnTo>
                <a:lnTo>
                  <a:pt x="1043" y="758"/>
                </a:lnTo>
                <a:lnTo>
                  <a:pt x="1045" y="758"/>
                </a:lnTo>
                <a:lnTo>
                  <a:pt x="1045" y="760"/>
                </a:lnTo>
                <a:lnTo>
                  <a:pt x="1047" y="760"/>
                </a:lnTo>
                <a:lnTo>
                  <a:pt x="1049" y="760"/>
                </a:lnTo>
                <a:lnTo>
                  <a:pt x="1050" y="760"/>
                </a:lnTo>
                <a:lnTo>
                  <a:pt x="1052" y="760"/>
                </a:lnTo>
                <a:lnTo>
                  <a:pt x="1054" y="760"/>
                </a:lnTo>
                <a:lnTo>
                  <a:pt x="1054" y="762"/>
                </a:lnTo>
                <a:lnTo>
                  <a:pt x="1056" y="762"/>
                </a:lnTo>
                <a:lnTo>
                  <a:pt x="1058" y="762"/>
                </a:lnTo>
                <a:lnTo>
                  <a:pt x="1060" y="762"/>
                </a:lnTo>
                <a:lnTo>
                  <a:pt x="1062" y="762"/>
                </a:lnTo>
                <a:lnTo>
                  <a:pt x="1062" y="764"/>
                </a:lnTo>
                <a:lnTo>
                  <a:pt x="1060" y="764"/>
                </a:lnTo>
                <a:lnTo>
                  <a:pt x="1062" y="764"/>
                </a:lnTo>
                <a:lnTo>
                  <a:pt x="1062" y="766"/>
                </a:lnTo>
                <a:lnTo>
                  <a:pt x="1062" y="764"/>
                </a:lnTo>
                <a:lnTo>
                  <a:pt x="1064" y="764"/>
                </a:lnTo>
                <a:lnTo>
                  <a:pt x="1064" y="766"/>
                </a:lnTo>
                <a:lnTo>
                  <a:pt x="1064" y="768"/>
                </a:lnTo>
                <a:lnTo>
                  <a:pt x="1064" y="770"/>
                </a:lnTo>
                <a:lnTo>
                  <a:pt x="1064" y="768"/>
                </a:lnTo>
                <a:lnTo>
                  <a:pt x="1064" y="766"/>
                </a:lnTo>
                <a:lnTo>
                  <a:pt x="1064" y="764"/>
                </a:lnTo>
                <a:lnTo>
                  <a:pt x="1062" y="764"/>
                </a:lnTo>
                <a:lnTo>
                  <a:pt x="1062" y="766"/>
                </a:lnTo>
                <a:lnTo>
                  <a:pt x="1062" y="764"/>
                </a:lnTo>
                <a:lnTo>
                  <a:pt x="1060" y="764"/>
                </a:lnTo>
                <a:lnTo>
                  <a:pt x="1062" y="764"/>
                </a:lnTo>
                <a:lnTo>
                  <a:pt x="1064" y="764"/>
                </a:lnTo>
                <a:lnTo>
                  <a:pt x="1064" y="762"/>
                </a:lnTo>
                <a:lnTo>
                  <a:pt x="1066" y="762"/>
                </a:lnTo>
                <a:lnTo>
                  <a:pt x="1068" y="762"/>
                </a:lnTo>
                <a:lnTo>
                  <a:pt x="1070" y="764"/>
                </a:lnTo>
                <a:lnTo>
                  <a:pt x="1072" y="764"/>
                </a:lnTo>
                <a:lnTo>
                  <a:pt x="1074" y="764"/>
                </a:lnTo>
                <a:lnTo>
                  <a:pt x="1075" y="764"/>
                </a:lnTo>
                <a:lnTo>
                  <a:pt x="1075" y="766"/>
                </a:lnTo>
                <a:lnTo>
                  <a:pt x="1077" y="766"/>
                </a:lnTo>
                <a:lnTo>
                  <a:pt x="1079" y="766"/>
                </a:lnTo>
                <a:lnTo>
                  <a:pt x="1081" y="768"/>
                </a:lnTo>
                <a:lnTo>
                  <a:pt x="1081" y="770"/>
                </a:lnTo>
                <a:lnTo>
                  <a:pt x="1081" y="772"/>
                </a:lnTo>
                <a:lnTo>
                  <a:pt x="1081" y="774"/>
                </a:lnTo>
                <a:lnTo>
                  <a:pt x="1083" y="774"/>
                </a:lnTo>
                <a:lnTo>
                  <a:pt x="1081" y="776"/>
                </a:lnTo>
                <a:lnTo>
                  <a:pt x="1083" y="776"/>
                </a:lnTo>
                <a:lnTo>
                  <a:pt x="1085" y="776"/>
                </a:lnTo>
                <a:lnTo>
                  <a:pt x="1083" y="776"/>
                </a:lnTo>
                <a:lnTo>
                  <a:pt x="1083" y="774"/>
                </a:lnTo>
                <a:lnTo>
                  <a:pt x="1085" y="774"/>
                </a:lnTo>
                <a:lnTo>
                  <a:pt x="1083" y="774"/>
                </a:lnTo>
                <a:lnTo>
                  <a:pt x="1085" y="774"/>
                </a:lnTo>
                <a:lnTo>
                  <a:pt x="1085" y="772"/>
                </a:lnTo>
                <a:lnTo>
                  <a:pt x="1085" y="774"/>
                </a:lnTo>
                <a:lnTo>
                  <a:pt x="1087" y="774"/>
                </a:lnTo>
                <a:lnTo>
                  <a:pt x="1089" y="776"/>
                </a:lnTo>
                <a:lnTo>
                  <a:pt x="1091" y="776"/>
                </a:lnTo>
                <a:lnTo>
                  <a:pt x="1091" y="778"/>
                </a:lnTo>
                <a:lnTo>
                  <a:pt x="1091" y="776"/>
                </a:lnTo>
                <a:lnTo>
                  <a:pt x="1093" y="776"/>
                </a:lnTo>
                <a:lnTo>
                  <a:pt x="1091" y="776"/>
                </a:lnTo>
                <a:lnTo>
                  <a:pt x="1091" y="774"/>
                </a:lnTo>
                <a:lnTo>
                  <a:pt x="1091" y="772"/>
                </a:lnTo>
                <a:lnTo>
                  <a:pt x="1093" y="772"/>
                </a:lnTo>
                <a:lnTo>
                  <a:pt x="1093" y="770"/>
                </a:lnTo>
                <a:lnTo>
                  <a:pt x="1095" y="770"/>
                </a:lnTo>
                <a:lnTo>
                  <a:pt x="1095" y="768"/>
                </a:lnTo>
                <a:lnTo>
                  <a:pt x="1097" y="768"/>
                </a:lnTo>
                <a:lnTo>
                  <a:pt x="1098" y="766"/>
                </a:lnTo>
                <a:lnTo>
                  <a:pt x="1100" y="766"/>
                </a:lnTo>
                <a:lnTo>
                  <a:pt x="1100" y="768"/>
                </a:lnTo>
                <a:lnTo>
                  <a:pt x="1102" y="768"/>
                </a:lnTo>
                <a:lnTo>
                  <a:pt x="1104" y="770"/>
                </a:lnTo>
                <a:lnTo>
                  <a:pt x="1104" y="768"/>
                </a:lnTo>
                <a:lnTo>
                  <a:pt x="1104" y="766"/>
                </a:lnTo>
                <a:lnTo>
                  <a:pt x="1102" y="766"/>
                </a:lnTo>
                <a:lnTo>
                  <a:pt x="1104" y="764"/>
                </a:lnTo>
                <a:lnTo>
                  <a:pt x="1106" y="764"/>
                </a:lnTo>
                <a:lnTo>
                  <a:pt x="1108" y="764"/>
                </a:lnTo>
                <a:lnTo>
                  <a:pt x="1110" y="764"/>
                </a:lnTo>
                <a:lnTo>
                  <a:pt x="1110" y="762"/>
                </a:lnTo>
                <a:lnTo>
                  <a:pt x="1112" y="762"/>
                </a:lnTo>
                <a:lnTo>
                  <a:pt x="1114" y="762"/>
                </a:lnTo>
                <a:lnTo>
                  <a:pt x="1116" y="762"/>
                </a:lnTo>
                <a:lnTo>
                  <a:pt x="1118" y="762"/>
                </a:lnTo>
                <a:lnTo>
                  <a:pt x="1120" y="762"/>
                </a:lnTo>
                <a:lnTo>
                  <a:pt x="1122" y="762"/>
                </a:lnTo>
                <a:lnTo>
                  <a:pt x="1122" y="764"/>
                </a:lnTo>
                <a:lnTo>
                  <a:pt x="1123" y="764"/>
                </a:lnTo>
                <a:lnTo>
                  <a:pt x="1122" y="764"/>
                </a:lnTo>
                <a:lnTo>
                  <a:pt x="1123" y="764"/>
                </a:lnTo>
                <a:lnTo>
                  <a:pt x="1123" y="766"/>
                </a:lnTo>
                <a:lnTo>
                  <a:pt x="1123" y="768"/>
                </a:lnTo>
                <a:lnTo>
                  <a:pt x="1125" y="768"/>
                </a:lnTo>
                <a:lnTo>
                  <a:pt x="1125" y="770"/>
                </a:lnTo>
                <a:lnTo>
                  <a:pt x="1123" y="770"/>
                </a:lnTo>
                <a:lnTo>
                  <a:pt x="1123" y="772"/>
                </a:lnTo>
                <a:lnTo>
                  <a:pt x="1125" y="772"/>
                </a:lnTo>
                <a:lnTo>
                  <a:pt x="1125" y="770"/>
                </a:lnTo>
                <a:lnTo>
                  <a:pt x="1125" y="772"/>
                </a:lnTo>
                <a:lnTo>
                  <a:pt x="1125" y="774"/>
                </a:lnTo>
                <a:lnTo>
                  <a:pt x="1127" y="774"/>
                </a:lnTo>
                <a:lnTo>
                  <a:pt x="1127" y="776"/>
                </a:lnTo>
                <a:lnTo>
                  <a:pt x="1129" y="774"/>
                </a:lnTo>
                <a:lnTo>
                  <a:pt x="1129" y="772"/>
                </a:lnTo>
                <a:lnTo>
                  <a:pt x="1129" y="770"/>
                </a:lnTo>
                <a:lnTo>
                  <a:pt x="1129" y="768"/>
                </a:lnTo>
                <a:lnTo>
                  <a:pt x="1129" y="766"/>
                </a:lnTo>
                <a:lnTo>
                  <a:pt x="1131" y="766"/>
                </a:lnTo>
                <a:lnTo>
                  <a:pt x="1133" y="766"/>
                </a:lnTo>
                <a:lnTo>
                  <a:pt x="1133" y="764"/>
                </a:lnTo>
                <a:lnTo>
                  <a:pt x="1135" y="764"/>
                </a:lnTo>
                <a:lnTo>
                  <a:pt x="1137" y="764"/>
                </a:lnTo>
                <a:lnTo>
                  <a:pt x="1139" y="764"/>
                </a:lnTo>
                <a:lnTo>
                  <a:pt x="1139" y="766"/>
                </a:lnTo>
                <a:lnTo>
                  <a:pt x="1141" y="766"/>
                </a:lnTo>
                <a:lnTo>
                  <a:pt x="1139" y="766"/>
                </a:lnTo>
                <a:lnTo>
                  <a:pt x="1141" y="766"/>
                </a:lnTo>
                <a:lnTo>
                  <a:pt x="1143" y="766"/>
                </a:lnTo>
                <a:lnTo>
                  <a:pt x="1143" y="768"/>
                </a:lnTo>
                <a:lnTo>
                  <a:pt x="1141" y="768"/>
                </a:lnTo>
                <a:lnTo>
                  <a:pt x="1143" y="768"/>
                </a:lnTo>
                <a:lnTo>
                  <a:pt x="1143" y="770"/>
                </a:lnTo>
                <a:lnTo>
                  <a:pt x="1145" y="770"/>
                </a:lnTo>
                <a:lnTo>
                  <a:pt x="1143" y="770"/>
                </a:lnTo>
                <a:lnTo>
                  <a:pt x="1143" y="768"/>
                </a:lnTo>
                <a:lnTo>
                  <a:pt x="1145" y="768"/>
                </a:lnTo>
                <a:lnTo>
                  <a:pt x="1145" y="770"/>
                </a:lnTo>
                <a:lnTo>
                  <a:pt x="1145" y="772"/>
                </a:lnTo>
                <a:lnTo>
                  <a:pt x="1146" y="772"/>
                </a:lnTo>
                <a:lnTo>
                  <a:pt x="1145" y="772"/>
                </a:lnTo>
                <a:lnTo>
                  <a:pt x="1146" y="772"/>
                </a:lnTo>
                <a:lnTo>
                  <a:pt x="1146" y="774"/>
                </a:lnTo>
                <a:lnTo>
                  <a:pt x="1148" y="774"/>
                </a:lnTo>
                <a:lnTo>
                  <a:pt x="1148" y="776"/>
                </a:lnTo>
                <a:lnTo>
                  <a:pt x="1150" y="776"/>
                </a:lnTo>
                <a:lnTo>
                  <a:pt x="1150" y="778"/>
                </a:lnTo>
                <a:lnTo>
                  <a:pt x="1148" y="778"/>
                </a:lnTo>
                <a:lnTo>
                  <a:pt x="1150" y="778"/>
                </a:lnTo>
                <a:lnTo>
                  <a:pt x="1148" y="778"/>
                </a:lnTo>
                <a:lnTo>
                  <a:pt x="1150" y="778"/>
                </a:lnTo>
                <a:lnTo>
                  <a:pt x="1150" y="779"/>
                </a:lnTo>
                <a:lnTo>
                  <a:pt x="1148" y="779"/>
                </a:lnTo>
                <a:lnTo>
                  <a:pt x="1150" y="779"/>
                </a:lnTo>
                <a:lnTo>
                  <a:pt x="1148" y="781"/>
                </a:lnTo>
                <a:lnTo>
                  <a:pt x="1148" y="783"/>
                </a:lnTo>
                <a:lnTo>
                  <a:pt x="1150" y="783"/>
                </a:lnTo>
                <a:lnTo>
                  <a:pt x="1150" y="785"/>
                </a:lnTo>
                <a:lnTo>
                  <a:pt x="1150" y="787"/>
                </a:lnTo>
                <a:lnTo>
                  <a:pt x="1148" y="787"/>
                </a:lnTo>
                <a:lnTo>
                  <a:pt x="1146" y="787"/>
                </a:lnTo>
                <a:lnTo>
                  <a:pt x="1145" y="789"/>
                </a:lnTo>
                <a:lnTo>
                  <a:pt x="1143" y="789"/>
                </a:lnTo>
                <a:lnTo>
                  <a:pt x="1143" y="791"/>
                </a:lnTo>
                <a:lnTo>
                  <a:pt x="1143" y="793"/>
                </a:lnTo>
                <a:lnTo>
                  <a:pt x="1145" y="793"/>
                </a:lnTo>
                <a:lnTo>
                  <a:pt x="1145" y="795"/>
                </a:lnTo>
                <a:lnTo>
                  <a:pt x="1146" y="795"/>
                </a:lnTo>
                <a:lnTo>
                  <a:pt x="1145" y="795"/>
                </a:lnTo>
                <a:lnTo>
                  <a:pt x="1145" y="797"/>
                </a:lnTo>
                <a:lnTo>
                  <a:pt x="1145" y="795"/>
                </a:lnTo>
                <a:lnTo>
                  <a:pt x="1143" y="795"/>
                </a:lnTo>
                <a:lnTo>
                  <a:pt x="1143" y="797"/>
                </a:lnTo>
                <a:lnTo>
                  <a:pt x="1141" y="797"/>
                </a:lnTo>
                <a:lnTo>
                  <a:pt x="1141" y="799"/>
                </a:lnTo>
                <a:lnTo>
                  <a:pt x="1143" y="799"/>
                </a:lnTo>
                <a:lnTo>
                  <a:pt x="1145" y="799"/>
                </a:lnTo>
                <a:lnTo>
                  <a:pt x="1146" y="799"/>
                </a:lnTo>
                <a:lnTo>
                  <a:pt x="1145" y="799"/>
                </a:lnTo>
                <a:lnTo>
                  <a:pt x="1146" y="799"/>
                </a:lnTo>
                <a:lnTo>
                  <a:pt x="1146" y="801"/>
                </a:lnTo>
                <a:lnTo>
                  <a:pt x="1145" y="801"/>
                </a:lnTo>
                <a:lnTo>
                  <a:pt x="1146" y="801"/>
                </a:lnTo>
                <a:lnTo>
                  <a:pt x="1145" y="801"/>
                </a:lnTo>
                <a:lnTo>
                  <a:pt x="1143" y="801"/>
                </a:lnTo>
                <a:lnTo>
                  <a:pt x="1141" y="801"/>
                </a:lnTo>
                <a:lnTo>
                  <a:pt x="1141" y="802"/>
                </a:lnTo>
                <a:lnTo>
                  <a:pt x="1143" y="802"/>
                </a:lnTo>
                <a:lnTo>
                  <a:pt x="1143" y="804"/>
                </a:lnTo>
                <a:lnTo>
                  <a:pt x="1143" y="806"/>
                </a:lnTo>
                <a:lnTo>
                  <a:pt x="1145" y="806"/>
                </a:lnTo>
                <a:lnTo>
                  <a:pt x="1143" y="806"/>
                </a:lnTo>
                <a:lnTo>
                  <a:pt x="1145" y="808"/>
                </a:lnTo>
                <a:lnTo>
                  <a:pt x="1145" y="810"/>
                </a:lnTo>
                <a:lnTo>
                  <a:pt x="1146" y="810"/>
                </a:lnTo>
                <a:lnTo>
                  <a:pt x="1146" y="812"/>
                </a:lnTo>
                <a:lnTo>
                  <a:pt x="1148" y="814"/>
                </a:lnTo>
                <a:lnTo>
                  <a:pt x="1148" y="816"/>
                </a:lnTo>
                <a:lnTo>
                  <a:pt x="1150" y="816"/>
                </a:lnTo>
                <a:lnTo>
                  <a:pt x="1150" y="818"/>
                </a:lnTo>
                <a:lnTo>
                  <a:pt x="1152" y="818"/>
                </a:lnTo>
                <a:lnTo>
                  <a:pt x="1154" y="818"/>
                </a:lnTo>
                <a:lnTo>
                  <a:pt x="1156" y="818"/>
                </a:lnTo>
                <a:lnTo>
                  <a:pt x="1156" y="820"/>
                </a:lnTo>
                <a:lnTo>
                  <a:pt x="1158" y="820"/>
                </a:lnTo>
                <a:lnTo>
                  <a:pt x="1160" y="820"/>
                </a:lnTo>
                <a:lnTo>
                  <a:pt x="1162" y="820"/>
                </a:lnTo>
                <a:lnTo>
                  <a:pt x="1164" y="820"/>
                </a:lnTo>
                <a:lnTo>
                  <a:pt x="1166" y="820"/>
                </a:lnTo>
                <a:lnTo>
                  <a:pt x="1166" y="822"/>
                </a:lnTo>
                <a:lnTo>
                  <a:pt x="1168" y="822"/>
                </a:lnTo>
                <a:lnTo>
                  <a:pt x="1168" y="824"/>
                </a:lnTo>
                <a:lnTo>
                  <a:pt x="1170" y="824"/>
                </a:lnTo>
                <a:lnTo>
                  <a:pt x="1171" y="824"/>
                </a:lnTo>
                <a:lnTo>
                  <a:pt x="1173" y="824"/>
                </a:lnTo>
                <a:lnTo>
                  <a:pt x="1173" y="826"/>
                </a:lnTo>
                <a:lnTo>
                  <a:pt x="1173" y="824"/>
                </a:lnTo>
                <a:lnTo>
                  <a:pt x="1175" y="824"/>
                </a:lnTo>
                <a:lnTo>
                  <a:pt x="1177" y="824"/>
                </a:lnTo>
                <a:lnTo>
                  <a:pt x="1177" y="826"/>
                </a:lnTo>
                <a:lnTo>
                  <a:pt x="1179" y="826"/>
                </a:lnTo>
                <a:lnTo>
                  <a:pt x="1181" y="826"/>
                </a:lnTo>
                <a:lnTo>
                  <a:pt x="1183" y="826"/>
                </a:lnTo>
                <a:lnTo>
                  <a:pt x="1185" y="826"/>
                </a:lnTo>
                <a:lnTo>
                  <a:pt x="1187" y="826"/>
                </a:lnTo>
                <a:lnTo>
                  <a:pt x="1185" y="826"/>
                </a:lnTo>
                <a:lnTo>
                  <a:pt x="1187" y="826"/>
                </a:lnTo>
                <a:lnTo>
                  <a:pt x="1189" y="826"/>
                </a:lnTo>
                <a:lnTo>
                  <a:pt x="1191" y="826"/>
                </a:lnTo>
                <a:lnTo>
                  <a:pt x="1193" y="826"/>
                </a:lnTo>
                <a:lnTo>
                  <a:pt x="1193" y="827"/>
                </a:lnTo>
                <a:lnTo>
                  <a:pt x="1194" y="827"/>
                </a:lnTo>
                <a:lnTo>
                  <a:pt x="1196" y="826"/>
                </a:lnTo>
                <a:lnTo>
                  <a:pt x="1196" y="824"/>
                </a:lnTo>
                <a:lnTo>
                  <a:pt x="1198" y="824"/>
                </a:lnTo>
                <a:lnTo>
                  <a:pt x="1198" y="826"/>
                </a:lnTo>
                <a:lnTo>
                  <a:pt x="1198" y="827"/>
                </a:lnTo>
                <a:lnTo>
                  <a:pt x="1198" y="829"/>
                </a:lnTo>
                <a:lnTo>
                  <a:pt x="1198" y="831"/>
                </a:lnTo>
                <a:lnTo>
                  <a:pt x="1200" y="833"/>
                </a:lnTo>
                <a:lnTo>
                  <a:pt x="1198" y="833"/>
                </a:lnTo>
                <a:lnTo>
                  <a:pt x="1198" y="835"/>
                </a:lnTo>
                <a:lnTo>
                  <a:pt x="1196" y="835"/>
                </a:lnTo>
                <a:lnTo>
                  <a:pt x="1196" y="833"/>
                </a:lnTo>
                <a:lnTo>
                  <a:pt x="1194" y="833"/>
                </a:lnTo>
                <a:lnTo>
                  <a:pt x="1194" y="835"/>
                </a:lnTo>
                <a:lnTo>
                  <a:pt x="1194" y="833"/>
                </a:lnTo>
                <a:lnTo>
                  <a:pt x="1193" y="833"/>
                </a:lnTo>
                <a:lnTo>
                  <a:pt x="1191" y="833"/>
                </a:lnTo>
                <a:lnTo>
                  <a:pt x="1193" y="833"/>
                </a:lnTo>
                <a:lnTo>
                  <a:pt x="1193" y="835"/>
                </a:lnTo>
                <a:lnTo>
                  <a:pt x="1194" y="835"/>
                </a:lnTo>
                <a:lnTo>
                  <a:pt x="1194" y="837"/>
                </a:lnTo>
                <a:lnTo>
                  <a:pt x="1196" y="837"/>
                </a:lnTo>
                <a:lnTo>
                  <a:pt x="1194" y="837"/>
                </a:lnTo>
                <a:lnTo>
                  <a:pt x="1194" y="839"/>
                </a:lnTo>
                <a:lnTo>
                  <a:pt x="1196" y="839"/>
                </a:lnTo>
                <a:lnTo>
                  <a:pt x="1196" y="841"/>
                </a:lnTo>
                <a:lnTo>
                  <a:pt x="1198" y="841"/>
                </a:lnTo>
                <a:lnTo>
                  <a:pt x="1198" y="843"/>
                </a:lnTo>
                <a:lnTo>
                  <a:pt x="1198" y="845"/>
                </a:lnTo>
                <a:lnTo>
                  <a:pt x="1198" y="843"/>
                </a:lnTo>
                <a:lnTo>
                  <a:pt x="1198" y="845"/>
                </a:lnTo>
                <a:lnTo>
                  <a:pt x="1200" y="845"/>
                </a:lnTo>
                <a:lnTo>
                  <a:pt x="1200" y="847"/>
                </a:lnTo>
                <a:lnTo>
                  <a:pt x="1202" y="847"/>
                </a:lnTo>
                <a:lnTo>
                  <a:pt x="1202" y="849"/>
                </a:lnTo>
                <a:lnTo>
                  <a:pt x="1202" y="850"/>
                </a:lnTo>
                <a:lnTo>
                  <a:pt x="1204" y="850"/>
                </a:lnTo>
                <a:lnTo>
                  <a:pt x="1204" y="852"/>
                </a:lnTo>
                <a:lnTo>
                  <a:pt x="1206" y="852"/>
                </a:lnTo>
                <a:lnTo>
                  <a:pt x="1206" y="854"/>
                </a:lnTo>
                <a:lnTo>
                  <a:pt x="1206" y="856"/>
                </a:lnTo>
                <a:lnTo>
                  <a:pt x="1208" y="856"/>
                </a:lnTo>
                <a:lnTo>
                  <a:pt x="1208" y="858"/>
                </a:lnTo>
                <a:lnTo>
                  <a:pt x="1210" y="858"/>
                </a:lnTo>
                <a:lnTo>
                  <a:pt x="1210" y="860"/>
                </a:lnTo>
                <a:lnTo>
                  <a:pt x="1212" y="860"/>
                </a:lnTo>
                <a:lnTo>
                  <a:pt x="1212" y="862"/>
                </a:lnTo>
                <a:lnTo>
                  <a:pt x="1214" y="862"/>
                </a:lnTo>
                <a:lnTo>
                  <a:pt x="1214" y="864"/>
                </a:lnTo>
                <a:lnTo>
                  <a:pt x="1216" y="864"/>
                </a:lnTo>
                <a:lnTo>
                  <a:pt x="1216" y="862"/>
                </a:lnTo>
                <a:lnTo>
                  <a:pt x="1218" y="862"/>
                </a:lnTo>
                <a:lnTo>
                  <a:pt x="1218" y="864"/>
                </a:lnTo>
                <a:lnTo>
                  <a:pt x="1218" y="862"/>
                </a:lnTo>
                <a:lnTo>
                  <a:pt x="1219" y="862"/>
                </a:lnTo>
                <a:lnTo>
                  <a:pt x="1218" y="862"/>
                </a:lnTo>
                <a:lnTo>
                  <a:pt x="1219" y="862"/>
                </a:lnTo>
                <a:lnTo>
                  <a:pt x="1219" y="864"/>
                </a:lnTo>
                <a:lnTo>
                  <a:pt x="1221" y="864"/>
                </a:lnTo>
                <a:lnTo>
                  <a:pt x="1223" y="864"/>
                </a:lnTo>
                <a:lnTo>
                  <a:pt x="1223" y="862"/>
                </a:lnTo>
                <a:lnTo>
                  <a:pt x="1225" y="862"/>
                </a:lnTo>
                <a:lnTo>
                  <a:pt x="1225" y="864"/>
                </a:lnTo>
                <a:lnTo>
                  <a:pt x="1227" y="864"/>
                </a:lnTo>
                <a:lnTo>
                  <a:pt x="1229" y="864"/>
                </a:lnTo>
                <a:lnTo>
                  <a:pt x="1231" y="864"/>
                </a:lnTo>
                <a:lnTo>
                  <a:pt x="1233" y="864"/>
                </a:lnTo>
                <a:lnTo>
                  <a:pt x="1235" y="866"/>
                </a:lnTo>
                <a:lnTo>
                  <a:pt x="1237" y="866"/>
                </a:lnTo>
                <a:lnTo>
                  <a:pt x="1239" y="866"/>
                </a:lnTo>
                <a:lnTo>
                  <a:pt x="1241" y="866"/>
                </a:lnTo>
                <a:lnTo>
                  <a:pt x="1241" y="864"/>
                </a:lnTo>
                <a:lnTo>
                  <a:pt x="1243" y="864"/>
                </a:lnTo>
                <a:lnTo>
                  <a:pt x="1244" y="862"/>
                </a:lnTo>
                <a:lnTo>
                  <a:pt x="1246" y="862"/>
                </a:lnTo>
                <a:lnTo>
                  <a:pt x="1246" y="860"/>
                </a:lnTo>
                <a:lnTo>
                  <a:pt x="1246" y="862"/>
                </a:lnTo>
                <a:lnTo>
                  <a:pt x="1246" y="864"/>
                </a:lnTo>
                <a:lnTo>
                  <a:pt x="1246" y="862"/>
                </a:lnTo>
                <a:lnTo>
                  <a:pt x="1246" y="864"/>
                </a:lnTo>
                <a:lnTo>
                  <a:pt x="1246" y="862"/>
                </a:lnTo>
                <a:lnTo>
                  <a:pt x="1246" y="864"/>
                </a:lnTo>
                <a:lnTo>
                  <a:pt x="1248" y="864"/>
                </a:lnTo>
                <a:lnTo>
                  <a:pt x="1248" y="862"/>
                </a:lnTo>
                <a:lnTo>
                  <a:pt x="1248" y="860"/>
                </a:lnTo>
                <a:lnTo>
                  <a:pt x="1246" y="860"/>
                </a:lnTo>
                <a:lnTo>
                  <a:pt x="1248" y="860"/>
                </a:lnTo>
                <a:lnTo>
                  <a:pt x="1248" y="862"/>
                </a:lnTo>
                <a:lnTo>
                  <a:pt x="1248" y="860"/>
                </a:lnTo>
                <a:lnTo>
                  <a:pt x="1248" y="858"/>
                </a:lnTo>
                <a:lnTo>
                  <a:pt x="1248" y="860"/>
                </a:lnTo>
                <a:lnTo>
                  <a:pt x="1246" y="860"/>
                </a:lnTo>
                <a:lnTo>
                  <a:pt x="1248" y="860"/>
                </a:lnTo>
                <a:lnTo>
                  <a:pt x="1248" y="858"/>
                </a:lnTo>
                <a:lnTo>
                  <a:pt x="1250" y="858"/>
                </a:lnTo>
                <a:lnTo>
                  <a:pt x="1250" y="856"/>
                </a:lnTo>
                <a:lnTo>
                  <a:pt x="1252" y="854"/>
                </a:lnTo>
                <a:lnTo>
                  <a:pt x="1254" y="852"/>
                </a:lnTo>
                <a:lnTo>
                  <a:pt x="1254" y="850"/>
                </a:lnTo>
                <a:lnTo>
                  <a:pt x="1256" y="850"/>
                </a:lnTo>
                <a:lnTo>
                  <a:pt x="1258" y="849"/>
                </a:lnTo>
                <a:lnTo>
                  <a:pt x="1260" y="847"/>
                </a:lnTo>
                <a:lnTo>
                  <a:pt x="1262" y="847"/>
                </a:lnTo>
                <a:lnTo>
                  <a:pt x="1262" y="845"/>
                </a:lnTo>
                <a:lnTo>
                  <a:pt x="1264" y="845"/>
                </a:lnTo>
                <a:lnTo>
                  <a:pt x="1266" y="845"/>
                </a:lnTo>
                <a:lnTo>
                  <a:pt x="1266" y="843"/>
                </a:lnTo>
                <a:lnTo>
                  <a:pt x="1267" y="843"/>
                </a:lnTo>
                <a:lnTo>
                  <a:pt x="1269" y="841"/>
                </a:lnTo>
                <a:lnTo>
                  <a:pt x="1269" y="839"/>
                </a:lnTo>
                <a:lnTo>
                  <a:pt x="1271" y="839"/>
                </a:lnTo>
                <a:lnTo>
                  <a:pt x="1271" y="837"/>
                </a:lnTo>
                <a:lnTo>
                  <a:pt x="1271" y="835"/>
                </a:lnTo>
                <a:lnTo>
                  <a:pt x="1273" y="835"/>
                </a:lnTo>
                <a:lnTo>
                  <a:pt x="1273" y="833"/>
                </a:lnTo>
                <a:lnTo>
                  <a:pt x="1273" y="831"/>
                </a:lnTo>
                <a:lnTo>
                  <a:pt x="1275" y="831"/>
                </a:lnTo>
                <a:lnTo>
                  <a:pt x="1275" y="829"/>
                </a:lnTo>
                <a:lnTo>
                  <a:pt x="1275" y="827"/>
                </a:lnTo>
                <a:lnTo>
                  <a:pt x="1277" y="827"/>
                </a:lnTo>
                <a:lnTo>
                  <a:pt x="1275" y="827"/>
                </a:lnTo>
                <a:lnTo>
                  <a:pt x="1275" y="829"/>
                </a:lnTo>
                <a:lnTo>
                  <a:pt x="1275" y="831"/>
                </a:lnTo>
                <a:lnTo>
                  <a:pt x="1273" y="831"/>
                </a:lnTo>
                <a:lnTo>
                  <a:pt x="1275" y="831"/>
                </a:lnTo>
                <a:lnTo>
                  <a:pt x="1273" y="831"/>
                </a:lnTo>
                <a:lnTo>
                  <a:pt x="1273" y="833"/>
                </a:lnTo>
                <a:lnTo>
                  <a:pt x="1273" y="831"/>
                </a:lnTo>
                <a:lnTo>
                  <a:pt x="1275" y="831"/>
                </a:lnTo>
                <a:lnTo>
                  <a:pt x="1275" y="829"/>
                </a:lnTo>
                <a:lnTo>
                  <a:pt x="1275" y="831"/>
                </a:lnTo>
                <a:lnTo>
                  <a:pt x="1277" y="831"/>
                </a:lnTo>
                <a:lnTo>
                  <a:pt x="1277" y="829"/>
                </a:lnTo>
                <a:lnTo>
                  <a:pt x="1277" y="831"/>
                </a:lnTo>
                <a:lnTo>
                  <a:pt x="1277" y="829"/>
                </a:lnTo>
                <a:lnTo>
                  <a:pt x="1277" y="827"/>
                </a:lnTo>
                <a:lnTo>
                  <a:pt x="1277" y="826"/>
                </a:lnTo>
                <a:lnTo>
                  <a:pt x="1277" y="827"/>
                </a:lnTo>
                <a:lnTo>
                  <a:pt x="1275" y="827"/>
                </a:lnTo>
                <a:lnTo>
                  <a:pt x="1275" y="826"/>
                </a:lnTo>
                <a:lnTo>
                  <a:pt x="1277" y="826"/>
                </a:lnTo>
                <a:lnTo>
                  <a:pt x="1279" y="826"/>
                </a:lnTo>
                <a:lnTo>
                  <a:pt x="1279" y="827"/>
                </a:lnTo>
                <a:lnTo>
                  <a:pt x="1279" y="826"/>
                </a:lnTo>
                <a:lnTo>
                  <a:pt x="1277" y="826"/>
                </a:lnTo>
                <a:lnTo>
                  <a:pt x="1279" y="826"/>
                </a:lnTo>
                <a:lnTo>
                  <a:pt x="1277" y="826"/>
                </a:lnTo>
                <a:lnTo>
                  <a:pt x="1277" y="824"/>
                </a:lnTo>
                <a:lnTo>
                  <a:pt x="1277" y="822"/>
                </a:lnTo>
                <a:lnTo>
                  <a:pt x="1279" y="822"/>
                </a:lnTo>
                <a:lnTo>
                  <a:pt x="1279" y="820"/>
                </a:lnTo>
                <a:lnTo>
                  <a:pt x="1281" y="820"/>
                </a:lnTo>
                <a:lnTo>
                  <a:pt x="1279" y="820"/>
                </a:lnTo>
                <a:lnTo>
                  <a:pt x="1279" y="822"/>
                </a:lnTo>
                <a:lnTo>
                  <a:pt x="1277" y="822"/>
                </a:lnTo>
                <a:lnTo>
                  <a:pt x="1277" y="820"/>
                </a:lnTo>
                <a:lnTo>
                  <a:pt x="1275" y="820"/>
                </a:lnTo>
                <a:lnTo>
                  <a:pt x="1275" y="818"/>
                </a:lnTo>
                <a:lnTo>
                  <a:pt x="1273" y="818"/>
                </a:lnTo>
                <a:lnTo>
                  <a:pt x="1271" y="818"/>
                </a:lnTo>
                <a:lnTo>
                  <a:pt x="1273" y="818"/>
                </a:lnTo>
                <a:lnTo>
                  <a:pt x="1273" y="816"/>
                </a:lnTo>
                <a:lnTo>
                  <a:pt x="1275" y="816"/>
                </a:lnTo>
                <a:lnTo>
                  <a:pt x="1275" y="818"/>
                </a:lnTo>
                <a:lnTo>
                  <a:pt x="1277" y="818"/>
                </a:lnTo>
                <a:lnTo>
                  <a:pt x="1277" y="816"/>
                </a:lnTo>
                <a:lnTo>
                  <a:pt x="1279" y="816"/>
                </a:lnTo>
                <a:lnTo>
                  <a:pt x="1281" y="816"/>
                </a:lnTo>
                <a:lnTo>
                  <a:pt x="1281" y="814"/>
                </a:lnTo>
                <a:lnTo>
                  <a:pt x="1281" y="816"/>
                </a:lnTo>
                <a:lnTo>
                  <a:pt x="1283" y="816"/>
                </a:lnTo>
                <a:lnTo>
                  <a:pt x="1285" y="816"/>
                </a:lnTo>
                <a:lnTo>
                  <a:pt x="1285" y="818"/>
                </a:lnTo>
                <a:lnTo>
                  <a:pt x="1285" y="820"/>
                </a:lnTo>
                <a:lnTo>
                  <a:pt x="1285" y="822"/>
                </a:lnTo>
                <a:lnTo>
                  <a:pt x="1285" y="824"/>
                </a:lnTo>
                <a:lnTo>
                  <a:pt x="1287" y="826"/>
                </a:lnTo>
                <a:lnTo>
                  <a:pt x="1287" y="827"/>
                </a:lnTo>
                <a:lnTo>
                  <a:pt x="1287" y="829"/>
                </a:lnTo>
                <a:lnTo>
                  <a:pt x="1287" y="827"/>
                </a:lnTo>
                <a:lnTo>
                  <a:pt x="1289" y="829"/>
                </a:lnTo>
                <a:lnTo>
                  <a:pt x="1291" y="829"/>
                </a:lnTo>
                <a:lnTo>
                  <a:pt x="1291" y="827"/>
                </a:lnTo>
                <a:lnTo>
                  <a:pt x="1291" y="829"/>
                </a:lnTo>
                <a:lnTo>
                  <a:pt x="1289" y="829"/>
                </a:lnTo>
                <a:lnTo>
                  <a:pt x="1291" y="829"/>
                </a:lnTo>
                <a:lnTo>
                  <a:pt x="1291" y="827"/>
                </a:lnTo>
                <a:lnTo>
                  <a:pt x="1289" y="827"/>
                </a:lnTo>
                <a:lnTo>
                  <a:pt x="1291" y="826"/>
                </a:lnTo>
                <a:lnTo>
                  <a:pt x="1291" y="827"/>
                </a:lnTo>
                <a:lnTo>
                  <a:pt x="1292" y="827"/>
                </a:lnTo>
                <a:lnTo>
                  <a:pt x="1292" y="829"/>
                </a:lnTo>
                <a:lnTo>
                  <a:pt x="1294" y="829"/>
                </a:lnTo>
                <a:lnTo>
                  <a:pt x="1294" y="831"/>
                </a:lnTo>
                <a:lnTo>
                  <a:pt x="1294" y="829"/>
                </a:lnTo>
                <a:lnTo>
                  <a:pt x="1296" y="829"/>
                </a:lnTo>
                <a:lnTo>
                  <a:pt x="1296" y="831"/>
                </a:lnTo>
                <a:lnTo>
                  <a:pt x="1298" y="831"/>
                </a:lnTo>
                <a:lnTo>
                  <a:pt x="1296" y="831"/>
                </a:lnTo>
                <a:lnTo>
                  <a:pt x="1298" y="831"/>
                </a:lnTo>
                <a:lnTo>
                  <a:pt x="1300" y="831"/>
                </a:lnTo>
                <a:lnTo>
                  <a:pt x="1302" y="831"/>
                </a:lnTo>
                <a:lnTo>
                  <a:pt x="1304" y="831"/>
                </a:lnTo>
                <a:lnTo>
                  <a:pt x="1304" y="829"/>
                </a:lnTo>
                <a:lnTo>
                  <a:pt x="1306" y="829"/>
                </a:lnTo>
                <a:lnTo>
                  <a:pt x="1308" y="829"/>
                </a:lnTo>
                <a:lnTo>
                  <a:pt x="1308" y="827"/>
                </a:lnTo>
                <a:lnTo>
                  <a:pt x="1310" y="827"/>
                </a:lnTo>
                <a:lnTo>
                  <a:pt x="1310" y="826"/>
                </a:lnTo>
                <a:lnTo>
                  <a:pt x="1310" y="824"/>
                </a:lnTo>
                <a:lnTo>
                  <a:pt x="1312" y="824"/>
                </a:lnTo>
                <a:lnTo>
                  <a:pt x="1312" y="822"/>
                </a:lnTo>
                <a:lnTo>
                  <a:pt x="1314" y="822"/>
                </a:lnTo>
                <a:lnTo>
                  <a:pt x="1314" y="820"/>
                </a:lnTo>
                <a:lnTo>
                  <a:pt x="1314" y="822"/>
                </a:lnTo>
                <a:lnTo>
                  <a:pt x="1315" y="822"/>
                </a:lnTo>
                <a:lnTo>
                  <a:pt x="1314" y="822"/>
                </a:lnTo>
                <a:lnTo>
                  <a:pt x="1314" y="824"/>
                </a:lnTo>
                <a:lnTo>
                  <a:pt x="1315" y="824"/>
                </a:lnTo>
                <a:lnTo>
                  <a:pt x="1315" y="822"/>
                </a:lnTo>
                <a:lnTo>
                  <a:pt x="1317" y="822"/>
                </a:lnTo>
                <a:lnTo>
                  <a:pt x="1315" y="822"/>
                </a:lnTo>
                <a:lnTo>
                  <a:pt x="1315" y="824"/>
                </a:lnTo>
                <a:lnTo>
                  <a:pt x="1317" y="824"/>
                </a:lnTo>
                <a:lnTo>
                  <a:pt x="1317" y="826"/>
                </a:lnTo>
                <a:lnTo>
                  <a:pt x="1317" y="827"/>
                </a:lnTo>
                <a:lnTo>
                  <a:pt x="1317" y="826"/>
                </a:lnTo>
                <a:lnTo>
                  <a:pt x="1317" y="824"/>
                </a:lnTo>
                <a:lnTo>
                  <a:pt x="1317" y="822"/>
                </a:lnTo>
                <a:lnTo>
                  <a:pt x="1317" y="824"/>
                </a:lnTo>
                <a:lnTo>
                  <a:pt x="1317" y="822"/>
                </a:lnTo>
                <a:lnTo>
                  <a:pt x="1315" y="822"/>
                </a:lnTo>
                <a:lnTo>
                  <a:pt x="1317" y="822"/>
                </a:lnTo>
                <a:lnTo>
                  <a:pt x="1315" y="822"/>
                </a:lnTo>
                <a:lnTo>
                  <a:pt x="1317" y="822"/>
                </a:lnTo>
                <a:lnTo>
                  <a:pt x="1317" y="820"/>
                </a:lnTo>
                <a:lnTo>
                  <a:pt x="1317" y="822"/>
                </a:lnTo>
                <a:lnTo>
                  <a:pt x="1315" y="822"/>
                </a:lnTo>
                <a:lnTo>
                  <a:pt x="1315" y="824"/>
                </a:lnTo>
                <a:lnTo>
                  <a:pt x="1314" y="824"/>
                </a:lnTo>
                <a:lnTo>
                  <a:pt x="1314" y="822"/>
                </a:lnTo>
                <a:lnTo>
                  <a:pt x="1315" y="822"/>
                </a:lnTo>
                <a:lnTo>
                  <a:pt x="1315" y="820"/>
                </a:lnTo>
                <a:lnTo>
                  <a:pt x="1314" y="820"/>
                </a:lnTo>
                <a:lnTo>
                  <a:pt x="1314" y="818"/>
                </a:lnTo>
                <a:lnTo>
                  <a:pt x="1315" y="818"/>
                </a:lnTo>
                <a:lnTo>
                  <a:pt x="1314" y="818"/>
                </a:lnTo>
                <a:lnTo>
                  <a:pt x="1314" y="816"/>
                </a:lnTo>
                <a:lnTo>
                  <a:pt x="1314" y="814"/>
                </a:lnTo>
                <a:lnTo>
                  <a:pt x="1315" y="812"/>
                </a:lnTo>
                <a:lnTo>
                  <a:pt x="1315" y="810"/>
                </a:lnTo>
                <a:lnTo>
                  <a:pt x="1317" y="810"/>
                </a:lnTo>
                <a:lnTo>
                  <a:pt x="1317" y="812"/>
                </a:lnTo>
                <a:lnTo>
                  <a:pt x="1317" y="814"/>
                </a:lnTo>
                <a:lnTo>
                  <a:pt x="1319" y="814"/>
                </a:lnTo>
                <a:lnTo>
                  <a:pt x="1321" y="814"/>
                </a:lnTo>
                <a:lnTo>
                  <a:pt x="1323" y="814"/>
                </a:lnTo>
                <a:lnTo>
                  <a:pt x="1323" y="812"/>
                </a:lnTo>
                <a:lnTo>
                  <a:pt x="1321" y="812"/>
                </a:lnTo>
                <a:lnTo>
                  <a:pt x="1321" y="814"/>
                </a:lnTo>
                <a:lnTo>
                  <a:pt x="1319" y="814"/>
                </a:lnTo>
                <a:lnTo>
                  <a:pt x="1319" y="812"/>
                </a:lnTo>
                <a:lnTo>
                  <a:pt x="1319" y="814"/>
                </a:lnTo>
                <a:lnTo>
                  <a:pt x="1319" y="812"/>
                </a:lnTo>
                <a:lnTo>
                  <a:pt x="1317" y="812"/>
                </a:lnTo>
                <a:lnTo>
                  <a:pt x="1317" y="810"/>
                </a:lnTo>
                <a:lnTo>
                  <a:pt x="1317" y="808"/>
                </a:lnTo>
                <a:lnTo>
                  <a:pt x="1315" y="808"/>
                </a:lnTo>
                <a:lnTo>
                  <a:pt x="1314" y="808"/>
                </a:lnTo>
                <a:lnTo>
                  <a:pt x="1312" y="808"/>
                </a:lnTo>
                <a:lnTo>
                  <a:pt x="1310" y="808"/>
                </a:lnTo>
                <a:lnTo>
                  <a:pt x="1310" y="806"/>
                </a:lnTo>
                <a:lnTo>
                  <a:pt x="1308" y="806"/>
                </a:lnTo>
                <a:lnTo>
                  <a:pt x="1308" y="808"/>
                </a:lnTo>
                <a:lnTo>
                  <a:pt x="1308" y="806"/>
                </a:lnTo>
                <a:lnTo>
                  <a:pt x="1310" y="806"/>
                </a:lnTo>
                <a:lnTo>
                  <a:pt x="1308" y="806"/>
                </a:lnTo>
                <a:lnTo>
                  <a:pt x="1308" y="808"/>
                </a:lnTo>
                <a:lnTo>
                  <a:pt x="1308" y="806"/>
                </a:lnTo>
                <a:lnTo>
                  <a:pt x="1306" y="806"/>
                </a:lnTo>
                <a:lnTo>
                  <a:pt x="1306" y="808"/>
                </a:lnTo>
                <a:lnTo>
                  <a:pt x="1306" y="806"/>
                </a:lnTo>
                <a:lnTo>
                  <a:pt x="1304" y="806"/>
                </a:lnTo>
                <a:lnTo>
                  <a:pt x="1304" y="808"/>
                </a:lnTo>
                <a:lnTo>
                  <a:pt x="1304" y="806"/>
                </a:lnTo>
                <a:lnTo>
                  <a:pt x="1304" y="808"/>
                </a:lnTo>
                <a:lnTo>
                  <a:pt x="1302" y="808"/>
                </a:lnTo>
                <a:lnTo>
                  <a:pt x="1302" y="806"/>
                </a:lnTo>
                <a:lnTo>
                  <a:pt x="1300" y="806"/>
                </a:lnTo>
                <a:lnTo>
                  <a:pt x="1300" y="804"/>
                </a:lnTo>
                <a:lnTo>
                  <a:pt x="1298" y="804"/>
                </a:lnTo>
                <a:lnTo>
                  <a:pt x="1298" y="802"/>
                </a:lnTo>
                <a:lnTo>
                  <a:pt x="1298" y="801"/>
                </a:lnTo>
                <a:lnTo>
                  <a:pt x="1298" y="799"/>
                </a:lnTo>
                <a:lnTo>
                  <a:pt x="1298" y="797"/>
                </a:lnTo>
                <a:lnTo>
                  <a:pt x="1300" y="797"/>
                </a:lnTo>
                <a:lnTo>
                  <a:pt x="1300" y="795"/>
                </a:lnTo>
                <a:lnTo>
                  <a:pt x="1298" y="795"/>
                </a:lnTo>
                <a:lnTo>
                  <a:pt x="1300" y="795"/>
                </a:lnTo>
                <a:lnTo>
                  <a:pt x="1302" y="795"/>
                </a:lnTo>
                <a:lnTo>
                  <a:pt x="1300" y="795"/>
                </a:lnTo>
                <a:lnTo>
                  <a:pt x="1300" y="793"/>
                </a:lnTo>
                <a:lnTo>
                  <a:pt x="1300" y="795"/>
                </a:lnTo>
                <a:lnTo>
                  <a:pt x="1302" y="795"/>
                </a:lnTo>
                <a:lnTo>
                  <a:pt x="1302" y="793"/>
                </a:lnTo>
                <a:lnTo>
                  <a:pt x="1302" y="795"/>
                </a:lnTo>
                <a:lnTo>
                  <a:pt x="1302" y="793"/>
                </a:lnTo>
                <a:lnTo>
                  <a:pt x="1304" y="793"/>
                </a:lnTo>
                <a:lnTo>
                  <a:pt x="1302" y="793"/>
                </a:lnTo>
                <a:lnTo>
                  <a:pt x="1302" y="795"/>
                </a:lnTo>
                <a:lnTo>
                  <a:pt x="1304" y="795"/>
                </a:lnTo>
                <a:lnTo>
                  <a:pt x="1304" y="793"/>
                </a:lnTo>
                <a:lnTo>
                  <a:pt x="1304" y="795"/>
                </a:lnTo>
                <a:lnTo>
                  <a:pt x="1304" y="793"/>
                </a:lnTo>
                <a:lnTo>
                  <a:pt x="1302" y="793"/>
                </a:lnTo>
                <a:lnTo>
                  <a:pt x="1302" y="795"/>
                </a:lnTo>
                <a:lnTo>
                  <a:pt x="1302" y="793"/>
                </a:lnTo>
                <a:lnTo>
                  <a:pt x="1302" y="795"/>
                </a:lnTo>
                <a:lnTo>
                  <a:pt x="1300" y="795"/>
                </a:lnTo>
                <a:lnTo>
                  <a:pt x="1300" y="793"/>
                </a:lnTo>
                <a:lnTo>
                  <a:pt x="1298" y="793"/>
                </a:lnTo>
                <a:lnTo>
                  <a:pt x="1298" y="795"/>
                </a:lnTo>
                <a:lnTo>
                  <a:pt x="1298" y="797"/>
                </a:lnTo>
                <a:lnTo>
                  <a:pt x="1298" y="795"/>
                </a:lnTo>
                <a:lnTo>
                  <a:pt x="1296" y="795"/>
                </a:lnTo>
                <a:lnTo>
                  <a:pt x="1298" y="795"/>
                </a:lnTo>
                <a:lnTo>
                  <a:pt x="1298" y="797"/>
                </a:lnTo>
                <a:lnTo>
                  <a:pt x="1298" y="799"/>
                </a:lnTo>
                <a:lnTo>
                  <a:pt x="1298" y="797"/>
                </a:lnTo>
                <a:lnTo>
                  <a:pt x="1296" y="797"/>
                </a:lnTo>
                <a:lnTo>
                  <a:pt x="1296" y="795"/>
                </a:lnTo>
                <a:lnTo>
                  <a:pt x="1294" y="795"/>
                </a:lnTo>
                <a:lnTo>
                  <a:pt x="1292" y="795"/>
                </a:lnTo>
                <a:lnTo>
                  <a:pt x="1292" y="793"/>
                </a:lnTo>
                <a:lnTo>
                  <a:pt x="1294" y="793"/>
                </a:lnTo>
                <a:lnTo>
                  <a:pt x="1292" y="793"/>
                </a:lnTo>
                <a:lnTo>
                  <a:pt x="1292" y="791"/>
                </a:lnTo>
                <a:lnTo>
                  <a:pt x="1292" y="793"/>
                </a:lnTo>
                <a:lnTo>
                  <a:pt x="1291" y="793"/>
                </a:lnTo>
                <a:lnTo>
                  <a:pt x="1289" y="793"/>
                </a:lnTo>
                <a:lnTo>
                  <a:pt x="1289" y="791"/>
                </a:lnTo>
                <a:lnTo>
                  <a:pt x="1289" y="793"/>
                </a:lnTo>
                <a:lnTo>
                  <a:pt x="1291" y="793"/>
                </a:lnTo>
                <a:lnTo>
                  <a:pt x="1289" y="793"/>
                </a:lnTo>
                <a:lnTo>
                  <a:pt x="1291" y="795"/>
                </a:lnTo>
                <a:lnTo>
                  <a:pt x="1292" y="795"/>
                </a:lnTo>
                <a:lnTo>
                  <a:pt x="1294" y="797"/>
                </a:lnTo>
                <a:lnTo>
                  <a:pt x="1292" y="797"/>
                </a:lnTo>
                <a:lnTo>
                  <a:pt x="1292" y="795"/>
                </a:lnTo>
                <a:lnTo>
                  <a:pt x="1291" y="795"/>
                </a:lnTo>
                <a:lnTo>
                  <a:pt x="1289" y="795"/>
                </a:lnTo>
                <a:lnTo>
                  <a:pt x="1289" y="793"/>
                </a:lnTo>
                <a:lnTo>
                  <a:pt x="1287" y="793"/>
                </a:lnTo>
                <a:lnTo>
                  <a:pt x="1287" y="791"/>
                </a:lnTo>
                <a:lnTo>
                  <a:pt x="1287" y="789"/>
                </a:lnTo>
                <a:lnTo>
                  <a:pt x="1287" y="787"/>
                </a:lnTo>
                <a:lnTo>
                  <a:pt x="1285" y="787"/>
                </a:lnTo>
                <a:lnTo>
                  <a:pt x="1285" y="789"/>
                </a:lnTo>
                <a:lnTo>
                  <a:pt x="1287" y="789"/>
                </a:lnTo>
                <a:lnTo>
                  <a:pt x="1285" y="789"/>
                </a:lnTo>
                <a:lnTo>
                  <a:pt x="1287" y="789"/>
                </a:lnTo>
                <a:lnTo>
                  <a:pt x="1287" y="791"/>
                </a:lnTo>
                <a:lnTo>
                  <a:pt x="1287" y="789"/>
                </a:lnTo>
                <a:lnTo>
                  <a:pt x="1285" y="789"/>
                </a:lnTo>
                <a:lnTo>
                  <a:pt x="1285" y="787"/>
                </a:lnTo>
                <a:lnTo>
                  <a:pt x="1283" y="787"/>
                </a:lnTo>
                <a:lnTo>
                  <a:pt x="1281" y="787"/>
                </a:lnTo>
                <a:lnTo>
                  <a:pt x="1281" y="785"/>
                </a:lnTo>
                <a:lnTo>
                  <a:pt x="1279" y="787"/>
                </a:lnTo>
                <a:lnTo>
                  <a:pt x="1277" y="787"/>
                </a:lnTo>
                <a:lnTo>
                  <a:pt x="1277" y="785"/>
                </a:lnTo>
                <a:lnTo>
                  <a:pt x="1275" y="785"/>
                </a:lnTo>
                <a:lnTo>
                  <a:pt x="1273" y="785"/>
                </a:lnTo>
                <a:lnTo>
                  <a:pt x="1273" y="783"/>
                </a:lnTo>
                <a:lnTo>
                  <a:pt x="1271" y="783"/>
                </a:lnTo>
                <a:lnTo>
                  <a:pt x="1269" y="783"/>
                </a:lnTo>
                <a:lnTo>
                  <a:pt x="1269" y="781"/>
                </a:lnTo>
                <a:lnTo>
                  <a:pt x="1267" y="781"/>
                </a:lnTo>
                <a:lnTo>
                  <a:pt x="1266" y="779"/>
                </a:lnTo>
                <a:lnTo>
                  <a:pt x="1264" y="779"/>
                </a:lnTo>
                <a:lnTo>
                  <a:pt x="1262" y="779"/>
                </a:lnTo>
                <a:lnTo>
                  <a:pt x="1262" y="781"/>
                </a:lnTo>
                <a:lnTo>
                  <a:pt x="1262" y="779"/>
                </a:lnTo>
                <a:lnTo>
                  <a:pt x="1262" y="781"/>
                </a:lnTo>
                <a:lnTo>
                  <a:pt x="1262" y="779"/>
                </a:lnTo>
                <a:lnTo>
                  <a:pt x="1260" y="779"/>
                </a:lnTo>
                <a:lnTo>
                  <a:pt x="1260" y="781"/>
                </a:lnTo>
                <a:lnTo>
                  <a:pt x="1258" y="781"/>
                </a:lnTo>
                <a:lnTo>
                  <a:pt x="1256" y="781"/>
                </a:lnTo>
                <a:lnTo>
                  <a:pt x="1254" y="781"/>
                </a:lnTo>
                <a:lnTo>
                  <a:pt x="1254" y="783"/>
                </a:lnTo>
                <a:lnTo>
                  <a:pt x="1252" y="781"/>
                </a:lnTo>
                <a:lnTo>
                  <a:pt x="1250" y="781"/>
                </a:lnTo>
                <a:lnTo>
                  <a:pt x="1250" y="779"/>
                </a:lnTo>
                <a:lnTo>
                  <a:pt x="1248" y="779"/>
                </a:lnTo>
                <a:lnTo>
                  <a:pt x="1246" y="779"/>
                </a:lnTo>
                <a:lnTo>
                  <a:pt x="1248" y="779"/>
                </a:lnTo>
                <a:lnTo>
                  <a:pt x="1248" y="778"/>
                </a:lnTo>
                <a:lnTo>
                  <a:pt x="1250" y="778"/>
                </a:lnTo>
                <a:lnTo>
                  <a:pt x="1252" y="778"/>
                </a:lnTo>
                <a:lnTo>
                  <a:pt x="1252" y="776"/>
                </a:lnTo>
                <a:lnTo>
                  <a:pt x="1254" y="776"/>
                </a:lnTo>
                <a:lnTo>
                  <a:pt x="1254" y="774"/>
                </a:lnTo>
                <a:lnTo>
                  <a:pt x="1254" y="776"/>
                </a:lnTo>
                <a:lnTo>
                  <a:pt x="1254" y="774"/>
                </a:lnTo>
                <a:lnTo>
                  <a:pt x="1256" y="774"/>
                </a:lnTo>
                <a:lnTo>
                  <a:pt x="1256" y="772"/>
                </a:lnTo>
                <a:lnTo>
                  <a:pt x="1258" y="772"/>
                </a:lnTo>
                <a:lnTo>
                  <a:pt x="1258" y="774"/>
                </a:lnTo>
                <a:lnTo>
                  <a:pt x="1258" y="772"/>
                </a:lnTo>
                <a:lnTo>
                  <a:pt x="1260" y="772"/>
                </a:lnTo>
                <a:lnTo>
                  <a:pt x="1260" y="770"/>
                </a:lnTo>
                <a:lnTo>
                  <a:pt x="1260" y="768"/>
                </a:lnTo>
                <a:lnTo>
                  <a:pt x="1262" y="768"/>
                </a:lnTo>
                <a:lnTo>
                  <a:pt x="1262" y="766"/>
                </a:lnTo>
                <a:lnTo>
                  <a:pt x="1260" y="766"/>
                </a:lnTo>
                <a:lnTo>
                  <a:pt x="1260" y="764"/>
                </a:lnTo>
                <a:lnTo>
                  <a:pt x="1262" y="764"/>
                </a:lnTo>
                <a:lnTo>
                  <a:pt x="1262" y="762"/>
                </a:lnTo>
                <a:lnTo>
                  <a:pt x="1264" y="762"/>
                </a:lnTo>
                <a:lnTo>
                  <a:pt x="1264" y="760"/>
                </a:lnTo>
                <a:lnTo>
                  <a:pt x="1262" y="760"/>
                </a:lnTo>
                <a:lnTo>
                  <a:pt x="1264" y="760"/>
                </a:lnTo>
                <a:lnTo>
                  <a:pt x="1264" y="758"/>
                </a:lnTo>
                <a:lnTo>
                  <a:pt x="1266" y="758"/>
                </a:lnTo>
                <a:lnTo>
                  <a:pt x="1266" y="756"/>
                </a:lnTo>
                <a:lnTo>
                  <a:pt x="1266" y="754"/>
                </a:lnTo>
                <a:lnTo>
                  <a:pt x="1264" y="756"/>
                </a:lnTo>
                <a:lnTo>
                  <a:pt x="1264" y="754"/>
                </a:lnTo>
                <a:lnTo>
                  <a:pt x="1264" y="753"/>
                </a:lnTo>
                <a:lnTo>
                  <a:pt x="1264" y="751"/>
                </a:lnTo>
                <a:lnTo>
                  <a:pt x="1264" y="749"/>
                </a:lnTo>
                <a:lnTo>
                  <a:pt x="1262" y="749"/>
                </a:lnTo>
                <a:lnTo>
                  <a:pt x="1262" y="751"/>
                </a:lnTo>
                <a:lnTo>
                  <a:pt x="1262" y="749"/>
                </a:lnTo>
                <a:lnTo>
                  <a:pt x="1260" y="749"/>
                </a:lnTo>
                <a:lnTo>
                  <a:pt x="1262" y="749"/>
                </a:lnTo>
                <a:lnTo>
                  <a:pt x="1260" y="749"/>
                </a:lnTo>
                <a:lnTo>
                  <a:pt x="1258" y="749"/>
                </a:lnTo>
                <a:lnTo>
                  <a:pt x="1260" y="749"/>
                </a:lnTo>
                <a:lnTo>
                  <a:pt x="1260" y="751"/>
                </a:lnTo>
                <a:lnTo>
                  <a:pt x="1258" y="751"/>
                </a:lnTo>
                <a:lnTo>
                  <a:pt x="1258" y="753"/>
                </a:lnTo>
                <a:lnTo>
                  <a:pt x="1256" y="753"/>
                </a:lnTo>
                <a:lnTo>
                  <a:pt x="1258" y="753"/>
                </a:lnTo>
                <a:lnTo>
                  <a:pt x="1258" y="754"/>
                </a:lnTo>
                <a:lnTo>
                  <a:pt x="1256" y="754"/>
                </a:lnTo>
                <a:lnTo>
                  <a:pt x="1256" y="756"/>
                </a:lnTo>
                <a:lnTo>
                  <a:pt x="1256" y="758"/>
                </a:lnTo>
                <a:lnTo>
                  <a:pt x="1256" y="760"/>
                </a:lnTo>
                <a:lnTo>
                  <a:pt x="1258" y="760"/>
                </a:lnTo>
                <a:lnTo>
                  <a:pt x="1256" y="760"/>
                </a:lnTo>
                <a:lnTo>
                  <a:pt x="1256" y="762"/>
                </a:lnTo>
                <a:lnTo>
                  <a:pt x="1256" y="764"/>
                </a:lnTo>
                <a:lnTo>
                  <a:pt x="1256" y="762"/>
                </a:lnTo>
                <a:lnTo>
                  <a:pt x="1256" y="764"/>
                </a:lnTo>
                <a:lnTo>
                  <a:pt x="1258" y="764"/>
                </a:lnTo>
                <a:lnTo>
                  <a:pt x="1256" y="764"/>
                </a:lnTo>
                <a:lnTo>
                  <a:pt x="1256" y="766"/>
                </a:lnTo>
                <a:lnTo>
                  <a:pt x="1258" y="766"/>
                </a:lnTo>
                <a:lnTo>
                  <a:pt x="1256" y="766"/>
                </a:lnTo>
                <a:lnTo>
                  <a:pt x="1254" y="766"/>
                </a:lnTo>
                <a:lnTo>
                  <a:pt x="1256" y="766"/>
                </a:lnTo>
                <a:lnTo>
                  <a:pt x="1254" y="766"/>
                </a:lnTo>
                <a:lnTo>
                  <a:pt x="1252" y="766"/>
                </a:lnTo>
                <a:lnTo>
                  <a:pt x="1250" y="766"/>
                </a:lnTo>
                <a:lnTo>
                  <a:pt x="1248" y="766"/>
                </a:lnTo>
                <a:lnTo>
                  <a:pt x="1246" y="766"/>
                </a:lnTo>
                <a:lnTo>
                  <a:pt x="1246" y="764"/>
                </a:lnTo>
                <a:lnTo>
                  <a:pt x="1248" y="764"/>
                </a:lnTo>
                <a:lnTo>
                  <a:pt x="1248" y="762"/>
                </a:lnTo>
                <a:lnTo>
                  <a:pt x="1250" y="760"/>
                </a:lnTo>
                <a:lnTo>
                  <a:pt x="1250" y="758"/>
                </a:lnTo>
                <a:lnTo>
                  <a:pt x="1252" y="758"/>
                </a:lnTo>
                <a:lnTo>
                  <a:pt x="1252" y="756"/>
                </a:lnTo>
                <a:lnTo>
                  <a:pt x="1250" y="756"/>
                </a:lnTo>
                <a:lnTo>
                  <a:pt x="1252" y="756"/>
                </a:lnTo>
                <a:lnTo>
                  <a:pt x="1252" y="754"/>
                </a:lnTo>
                <a:lnTo>
                  <a:pt x="1252" y="753"/>
                </a:lnTo>
                <a:lnTo>
                  <a:pt x="1252" y="751"/>
                </a:lnTo>
                <a:lnTo>
                  <a:pt x="1252" y="749"/>
                </a:lnTo>
                <a:lnTo>
                  <a:pt x="1252" y="747"/>
                </a:lnTo>
                <a:lnTo>
                  <a:pt x="1252" y="745"/>
                </a:lnTo>
                <a:lnTo>
                  <a:pt x="1252" y="743"/>
                </a:lnTo>
                <a:lnTo>
                  <a:pt x="1250" y="743"/>
                </a:lnTo>
                <a:lnTo>
                  <a:pt x="1250" y="741"/>
                </a:lnTo>
                <a:lnTo>
                  <a:pt x="1250" y="739"/>
                </a:lnTo>
                <a:lnTo>
                  <a:pt x="1250" y="737"/>
                </a:lnTo>
                <a:lnTo>
                  <a:pt x="1248" y="737"/>
                </a:lnTo>
                <a:lnTo>
                  <a:pt x="1248" y="735"/>
                </a:lnTo>
                <a:lnTo>
                  <a:pt x="1246" y="735"/>
                </a:lnTo>
                <a:lnTo>
                  <a:pt x="1246" y="733"/>
                </a:lnTo>
                <a:lnTo>
                  <a:pt x="1246" y="731"/>
                </a:lnTo>
                <a:lnTo>
                  <a:pt x="1244" y="731"/>
                </a:lnTo>
                <a:lnTo>
                  <a:pt x="1244" y="728"/>
                </a:lnTo>
                <a:lnTo>
                  <a:pt x="1244" y="726"/>
                </a:lnTo>
                <a:lnTo>
                  <a:pt x="1243" y="726"/>
                </a:lnTo>
                <a:lnTo>
                  <a:pt x="1243" y="724"/>
                </a:lnTo>
                <a:lnTo>
                  <a:pt x="1241" y="722"/>
                </a:lnTo>
                <a:lnTo>
                  <a:pt x="1239" y="720"/>
                </a:lnTo>
                <a:lnTo>
                  <a:pt x="1241" y="722"/>
                </a:lnTo>
                <a:lnTo>
                  <a:pt x="1243" y="722"/>
                </a:lnTo>
                <a:lnTo>
                  <a:pt x="1243" y="724"/>
                </a:lnTo>
                <a:lnTo>
                  <a:pt x="1243" y="726"/>
                </a:lnTo>
                <a:lnTo>
                  <a:pt x="1243" y="724"/>
                </a:lnTo>
                <a:lnTo>
                  <a:pt x="1243" y="722"/>
                </a:lnTo>
                <a:lnTo>
                  <a:pt x="1241" y="722"/>
                </a:lnTo>
                <a:lnTo>
                  <a:pt x="1241" y="720"/>
                </a:lnTo>
                <a:lnTo>
                  <a:pt x="1239" y="720"/>
                </a:lnTo>
                <a:lnTo>
                  <a:pt x="1239" y="718"/>
                </a:lnTo>
                <a:lnTo>
                  <a:pt x="1237" y="718"/>
                </a:lnTo>
                <a:lnTo>
                  <a:pt x="1235" y="716"/>
                </a:lnTo>
                <a:lnTo>
                  <a:pt x="1233" y="716"/>
                </a:lnTo>
                <a:lnTo>
                  <a:pt x="1233" y="714"/>
                </a:lnTo>
                <a:lnTo>
                  <a:pt x="1233" y="712"/>
                </a:lnTo>
                <a:lnTo>
                  <a:pt x="1231" y="710"/>
                </a:lnTo>
                <a:lnTo>
                  <a:pt x="1229" y="708"/>
                </a:lnTo>
                <a:lnTo>
                  <a:pt x="1227" y="708"/>
                </a:lnTo>
                <a:lnTo>
                  <a:pt x="1227" y="706"/>
                </a:lnTo>
                <a:lnTo>
                  <a:pt x="1229" y="706"/>
                </a:lnTo>
                <a:lnTo>
                  <a:pt x="1231" y="705"/>
                </a:lnTo>
                <a:lnTo>
                  <a:pt x="1229" y="705"/>
                </a:lnTo>
                <a:lnTo>
                  <a:pt x="1229" y="706"/>
                </a:lnTo>
                <a:lnTo>
                  <a:pt x="1227" y="706"/>
                </a:lnTo>
                <a:lnTo>
                  <a:pt x="1227" y="705"/>
                </a:lnTo>
                <a:lnTo>
                  <a:pt x="1227" y="706"/>
                </a:lnTo>
                <a:lnTo>
                  <a:pt x="1225" y="706"/>
                </a:lnTo>
                <a:lnTo>
                  <a:pt x="1227" y="708"/>
                </a:lnTo>
                <a:lnTo>
                  <a:pt x="1225" y="708"/>
                </a:lnTo>
                <a:lnTo>
                  <a:pt x="1227" y="708"/>
                </a:lnTo>
                <a:lnTo>
                  <a:pt x="1225" y="708"/>
                </a:lnTo>
                <a:lnTo>
                  <a:pt x="1223" y="708"/>
                </a:lnTo>
                <a:lnTo>
                  <a:pt x="1225" y="708"/>
                </a:lnTo>
                <a:lnTo>
                  <a:pt x="1225" y="710"/>
                </a:lnTo>
                <a:lnTo>
                  <a:pt x="1227" y="710"/>
                </a:lnTo>
                <a:lnTo>
                  <a:pt x="1227" y="712"/>
                </a:lnTo>
                <a:lnTo>
                  <a:pt x="1229" y="712"/>
                </a:lnTo>
                <a:lnTo>
                  <a:pt x="1227" y="712"/>
                </a:lnTo>
                <a:lnTo>
                  <a:pt x="1227" y="710"/>
                </a:lnTo>
                <a:lnTo>
                  <a:pt x="1225" y="710"/>
                </a:lnTo>
                <a:lnTo>
                  <a:pt x="1225" y="708"/>
                </a:lnTo>
                <a:lnTo>
                  <a:pt x="1223" y="708"/>
                </a:lnTo>
                <a:lnTo>
                  <a:pt x="1223" y="706"/>
                </a:lnTo>
                <a:lnTo>
                  <a:pt x="1223" y="705"/>
                </a:lnTo>
                <a:lnTo>
                  <a:pt x="1221" y="705"/>
                </a:lnTo>
                <a:lnTo>
                  <a:pt x="1221" y="703"/>
                </a:lnTo>
                <a:lnTo>
                  <a:pt x="1221" y="701"/>
                </a:lnTo>
                <a:lnTo>
                  <a:pt x="1221" y="699"/>
                </a:lnTo>
                <a:lnTo>
                  <a:pt x="1221" y="697"/>
                </a:lnTo>
                <a:lnTo>
                  <a:pt x="1221" y="695"/>
                </a:lnTo>
                <a:lnTo>
                  <a:pt x="1221" y="693"/>
                </a:lnTo>
                <a:lnTo>
                  <a:pt x="1221" y="691"/>
                </a:lnTo>
                <a:lnTo>
                  <a:pt x="1221" y="689"/>
                </a:lnTo>
                <a:lnTo>
                  <a:pt x="1221" y="687"/>
                </a:lnTo>
                <a:lnTo>
                  <a:pt x="1219" y="687"/>
                </a:lnTo>
                <a:lnTo>
                  <a:pt x="1219" y="685"/>
                </a:lnTo>
                <a:lnTo>
                  <a:pt x="1219" y="683"/>
                </a:lnTo>
                <a:lnTo>
                  <a:pt x="1219" y="682"/>
                </a:lnTo>
                <a:lnTo>
                  <a:pt x="1219" y="680"/>
                </a:lnTo>
                <a:lnTo>
                  <a:pt x="1219" y="678"/>
                </a:lnTo>
                <a:lnTo>
                  <a:pt x="1219" y="676"/>
                </a:lnTo>
                <a:lnTo>
                  <a:pt x="1218" y="676"/>
                </a:lnTo>
                <a:lnTo>
                  <a:pt x="1218" y="674"/>
                </a:lnTo>
                <a:lnTo>
                  <a:pt x="1218" y="672"/>
                </a:lnTo>
                <a:lnTo>
                  <a:pt x="1218" y="670"/>
                </a:lnTo>
                <a:lnTo>
                  <a:pt x="1218" y="668"/>
                </a:lnTo>
                <a:lnTo>
                  <a:pt x="1218" y="666"/>
                </a:lnTo>
                <a:lnTo>
                  <a:pt x="1216" y="664"/>
                </a:lnTo>
                <a:lnTo>
                  <a:pt x="1216" y="662"/>
                </a:lnTo>
                <a:lnTo>
                  <a:pt x="1216" y="660"/>
                </a:lnTo>
                <a:lnTo>
                  <a:pt x="1216" y="658"/>
                </a:lnTo>
                <a:lnTo>
                  <a:pt x="1218" y="658"/>
                </a:lnTo>
                <a:lnTo>
                  <a:pt x="1218" y="657"/>
                </a:lnTo>
                <a:lnTo>
                  <a:pt x="1218" y="655"/>
                </a:lnTo>
                <a:lnTo>
                  <a:pt x="1218" y="653"/>
                </a:lnTo>
                <a:lnTo>
                  <a:pt x="1219" y="653"/>
                </a:lnTo>
                <a:lnTo>
                  <a:pt x="1218" y="653"/>
                </a:lnTo>
                <a:lnTo>
                  <a:pt x="1219" y="653"/>
                </a:lnTo>
                <a:lnTo>
                  <a:pt x="1219" y="651"/>
                </a:lnTo>
                <a:lnTo>
                  <a:pt x="1221" y="651"/>
                </a:lnTo>
                <a:lnTo>
                  <a:pt x="1221" y="649"/>
                </a:lnTo>
                <a:lnTo>
                  <a:pt x="1223" y="649"/>
                </a:lnTo>
                <a:lnTo>
                  <a:pt x="1223" y="647"/>
                </a:lnTo>
                <a:lnTo>
                  <a:pt x="1225" y="647"/>
                </a:lnTo>
                <a:lnTo>
                  <a:pt x="1227" y="647"/>
                </a:lnTo>
                <a:lnTo>
                  <a:pt x="1229" y="647"/>
                </a:lnTo>
                <a:lnTo>
                  <a:pt x="1229" y="645"/>
                </a:lnTo>
                <a:lnTo>
                  <a:pt x="1229" y="647"/>
                </a:lnTo>
                <a:lnTo>
                  <a:pt x="1231" y="647"/>
                </a:lnTo>
                <a:lnTo>
                  <a:pt x="1231" y="649"/>
                </a:lnTo>
                <a:lnTo>
                  <a:pt x="1233" y="649"/>
                </a:lnTo>
                <a:lnTo>
                  <a:pt x="1233" y="647"/>
                </a:lnTo>
                <a:lnTo>
                  <a:pt x="1231" y="647"/>
                </a:lnTo>
                <a:lnTo>
                  <a:pt x="1233" y="647"/>
                </a:lnTo>
                <a:lnTo>
                  <a:pt x="1235" y="647"/>
                </a:lnTo>
                <a:lnTo>
                  <a:pt x="1235" y="645"/>
                </a:lnTo>
                <a:lnTo>
                  <a:pt x="1235" y="647"/>
                </a:lnTo>
                <a:lnTo>
                  <a:pt x="1237" y="647"/>
                </a:lnTo>
                <a:lnTo>
                  <a:pt x="1237" y="645"/>
                </a:lnTo>
                <a:lnTo>
                  <a:pt x="1239" y="645"/>
                </a:lnTo>
                <a:lnTo>
                  <a:pt x="1239" y="643"/>
                </a:lnTo>
                <a:lnTo>
                  <a:pt x="1237" y="643"/>
                </a:lnTo>
                <a:lnTo>
                  <a:pt x="1239" y="643"/>
                </a:lnTo>
                <a:lnTo>
                  <a:pt x="1239" y="641"/>
                </a:lnTo>
                <a:lnTo>
                  <a:pt x="1241" y="639"/>
                </a:lnTo>
                <a:lnTo>
                  <a:pt x="1239" y="639"/>
                </a:lnTo>
                <a:lnTo>
                  <a:pt x="1239" y="641"/>
                </a:lnTo>
                <a:lnTo>
                  <a:pt x="1239" y="643"/>
                </a:lnTo>
                <a:lnTo>
                  <a:pt x="1237" y="643"/>
                </a:lnTo>
                <a:lnTo>
                  <a:pt x="1237" y="645"/>
                </a:lnTo>
                <a:lnTo>
                  <a:pt x="1235" y="645"/>
                </a:lnTo>
                <a:lnTo>
                  <a:pt x="1237" y="645"/>
                </a:lnTo>
                <a:lnTo>
                  <a:pt x="1237" y="643"/>
                </a:lnTo>
                <a:lnTo>
                  <a:pt x="1237" y="641"/>
                </a:lnTo>
                <a:lnTo>
                  <a:pt x="1239" y="641"/>
                </a:lnTo>
                <a:lnTo>
                  <a:pt x="1239" y="639"/>
                </a:lnTo>
                <a:lnTo>
                  <a:pt x="1239" y="637"/>
                </a:lnTo>
                <a:lnTo>
                  <a:pt x="1239" y="635"/>
                </a:lnTo>
                <a:lnTo>
                  <a:pt x="1241" y="635"/>
                </a:lnTo>
                <a:lnTo>
                  <a:pt x="1241" y="634"/>
                </a:lnTo>
                <a:lnTo>
                  <a:pt x="1241" y="632"/>
                </a:lnTo>
                <a:lnTo>
                  <a:pt x="1243" y="632"/>
                </a:lnTo>
                <a:lnTo>
                  <a:pt x="1244" y="632"/>
                </a:lnTo>
                <a:lnTo>
                  <a:pt x="1244" y="630"/>
                </a:lnTo>
                <a:lnTo>
                  <a:pt x="1244" y="628"/>
                </a:lnTo>
                <a:lnTo>
                  <a:pt x="1244" y="626"/>
                </a:lnTo>
                <a:lnTo>
                  <a:pt x="1246" y="626"/>
                </a:lnTo>
                <a:lnTo>
                  <a:pt x="1246" y="624"/>
                </a:lnTo>
                <a:lnTo>
                  <a:pt x="1248" y="622"/>
                </a:lnTo>
                <a:lnTo>
                  <a:pt x="1248" y="620"/>
                </a:lnTo>
                <a:lnTo>
                  <a:pt x="1250" y="620"/>
                </a:lnTo>
                <a:lnTo>
                  <a:pt x="1250" y="618"/>
                </a:lnTo>
                <a:lnTo>
                  <a:pt x="1252" y="618"/>
                </a:lnTo>
                <a:lnTo>
                  <a:pt x="1254" y="618"/>
                </a:lnTo>
                <a:lnTo>
                  <a:pt x="1256" y="618"/>
                </a:lnTo>
                <a:lnTo>
                  <a:pt x="1258" y="618"/>
                </a:lnTo>
                <a:lnTo>
                  <a:pt x="1260" y="618"/>
                </a:lnTo>
                <a:lnTo>
                  <a:pt x="1260" y="620"/>
                </a:lnTo>
                <a:lnTo>
                  <a:pt x="1258" y="620"/>
                </a:lnTo>
                <a:lnTo>
                  <a:pt x="1256" y="618"/>
                </a:lnTo>
                <a:lnTo>
                  <a:pt x="1254" y="618"/>
                </a:lnTo>
                <a:lnTo>
                  <a:pt x="1252" y="618"/>
                </a:lnTo>
                <a:lnTo>
                  <a:pt x="1250" y="620"/>
                </a:lnTo>
                <a:lnTo>
                  <a:pt x="1250" y="622"/>
                </a:lnTo>
                <a:lnTo>
                  <a:pt x="1248" y="622"/>
                </a:lnTo>
                <a:lnTo>
                  <a:pt x="1248" y="620"/>
                </a:lnTo>
                <a:lnTo>
                  <a:pt x="1248" y="622"/>
                </a:lnTo>
                <a:lnTo>
                  <a:pt x="1248" y="624"/>
                </a:lnTo>
                <a:lnTo>
                  <a:pt x="1248" y="626"/>
                </a:lnTo>
                <a:lnTo>
                  <a:pt x="1248" y="628"/>
                </a:lnTo>
                <a:lnTo>
                  <a:pt x="1250" y="630"/>
                </a:lnTo>
                <a:lnTo>
                  <a:pt x="1250" y="632"/>
                </a:lnTo>
                <a:lnTo>
                  <a:pt x="1252" y="632"/>
                </a:lnTo>
                <a:lnTo>
                  <a:pt x="1252" y="634"/>
                </a:lnTo>
                <a:lnTo>
                  <a:pt x="1254" y="634"/>
                </a:lnTo>
                <a:lnTo>
                  <a:pt x="1254" y="632"/>
                </a:lnTo>
                <a:lnTo>
                  <a:pt x="1252" y="632"/>
                </a:lnTo>
                <a:lnTo>
                  <a:pt x="1252" y="630"/>
                </a:lnTo>
                <a:lnTo>
                  <a:pt x="1252" y="632"/>
                </a:lnTo>
                <a:lnTo>
                  <a:pt x="1254" y="632"/>
                </a:lnTo>
                <a:lnTo>
                  <a:pt x="1254" y="634"/>
                </a:lnTo>
                <a:lnTo>
                  <a:pt x="1256" y="634"/>
                </a:lnTo>
                <a:lnTo>
                  <a:pt x="1258" y="634"/>
                </a:lnTo>
                <a:lnTo>
                  <a:pt x="1260" y="634"/>
                </a:lnTo>
                <a:lnTo>
                  <a:pt x="1262" y="632"/>
                </a:lnTo>
                <a:lnTo>
                  <a:pt x="1262" y="634"/>
                </a:lnTo>
                <a:lnTo>
                  <a:pt x="1264" y="634"/>
                </a:lnTo>
                <a:lnTo>
                  <a:pt x="1266" y="634"/>
                </a:lnTo>
                <a:lnTo>
                  <a:pt x="1266" y="635"/>
                </a:lnTo>
                <a:lnTo>
                  <a:pt x="1266" y="637"/>
                </a:lnTo>
                <a:lnTo>
                  <a:pt x="1267" y="637"/>
                </a:lnTo>
                <a:lnTo>
                  <a:pt x="1267" y="639"/>
                </a:lnTo>
                <a:lnTo>
                  <a:pt x="1266" y="639"/>
                </a:lnTo>
                <a:lnTo>
                  <a:pt x="1267" y="639"/>
                </a:lnTo>
                <a:lnTo>
                  <a:pt x="1267" y="641"/>
                </a:lnTo>
                <a:lnTo>
                  <a:pt x="1266" y="641"/>
                </a:lnTo>
                <a:lnTo>
                  <a:pt x="1266" y="643"/>
                </a:lnTo>
                <a:lnTo>
                  <a:pt x="1267" y="645"/>
                </a:lnTo>
                <a:lnTo>
                  <a:pt x="1267" y="647"/>
                </a:lnTo>
                <a:lnTo>
                  <a:pt x="1266" y="647"/>
                </a:lnTo>
                <a:lnTo>
                  <a:pt x="1267" y="647"/>
                </a:lnTo>
                <a:lnTo>
                  <a:pt x="1267" y="645"/>
                </a:lnTo>
                <a:lnTo>
                  <a:pt x="1269" y="645"/>
                </a:lnTo>
                <a:lnTo>
                  <a:pt x="1269" y="643"/>
                </a:lnTo>
                <a:lnTo>
                  <a:pt x="1269" y="641"/>
                </a:lnTo>
                <a:lnTo>
                  <a:pt x="1269" y="639"/>
                </a:lnTo>
                <a:lnTo>
                  <a:pt x="1269" y="637"/>
                </a:lnTo>
                <a:lnTo>
                  <a:pt x="1269" y="635"/>
                </a:lnTo>
                <a:lnTo>
                  <a:pt x="1269" y="634"/>
                </a:lnTo>
                <a:lnTo>
                  <a:pt x="1267" y="634"/>
                </a:lnTo>
                <a:lnTo>
                  <a:pt x="1269" y="634"/>
                </a:lnTo>
                <a:lnTo>
                  <a:pt x="1269" y="632"/>
                </a:lnTo>
                <a:lnTo>
                  <a:pt x="1267" y="632"/>
                </a:lnTo>
                <a:lnTo>
                  <a:pt x="1267" y="634"/>
                </a:lnTo>
                <a:lnTo>
                  <a:pt x="1269" y="634"/>
                </a:lnTo>
                <a:lnTo>
                  <a:pt x="1267" y="634"/>
                </a:lnTo>
                <a:lnTo>
                  <a:pt x="1267" y="635"/>
                </a:lnTo>
                <a:lnTo>
                  <a:pt x="1267" y="634"/>
                </a:lnTo>
                <a:lnTo>
                  <a:pt x="1267" y="632"/>
                </a:lnTo>
                <a:lnTo>
                  <a:pt x="1269" y="632"/>
                </a:lnTo>
                <a:lnTo>
                  <a:pt x="1269" y="630"/>
                </a:lnTo>
                <a:lnTo>
                  <a:pt x="1269" y="628"/>
                </a:lnTo>
                <a:lnTo>
                  <a:pt x="1269" y="626"/>
                </a:lnTo>
                <a:lnTo>
                  <a:pt x="1267" y="626"/>
                </a:lnTo>
                <a:lnTo>
                  <a:pt x="1269" y="626"/>
                </a:lnTo>
                <a:lnTo>
                  <a:pt x="1269" y="628"/>
                </a:lnTo>
                <a:lnTo>
                  <a:pt x="1269" y="626"/>
                </a:lnTo>
                <a:lnTo>
                  <a:pt x="1269" y="624"/>
                </a:lnTo>
                <a:lnTo>
                  <a:pt x="1267" y="624"/>
                </a:lnTo>
                <a:lnTo>
                  <a:pt x="1267" y="622"/>
                </a:lnTo>
                <a:lnTo>
                  <a:pt x="1267" y="620"/>
                </a:lnTo>
                <a:lnTo>
                  <a:pt x="1267" y="618"/>
                </a:lnTo>
                <a:lnTo>
                  <a:pt x="1267" y="616"/>
                </a:lnTo>
                <a:lnTo>
                  <a:pt x="1267" y="614"/>
                </a:lnTo>
                <a:lnTo>
                  <a:pt x="1266" y="614"/>
                </a:lnTo>
                <a:lnTo>
                  <a:pt x="1266" y="612"/>
                </a:lnTo>
                <a:lnTo>
                  <a:pt x="1266" y="614"/>
                </a:lnTo>
                <a:lnTo>
                  <a:pt x="1266" y="616"/>
                </a:lnTo>
                <a:lnTo>
                  <a:pt x="1266" y="618"/>
                </a:lnTo>
                <a:lnTo>
                  <a:pt x="1267" y="618"/>
                </a:lnTo>
                <a:lnTo>
                  <a:pt x="1267" y="620"/>
                </a:lnTo>
                <a:lnTo>
                  <a:pt x="1266" y="620"/>
                </a:lnTo>
                <a:lnTo>
                  <a:pt x="1266" y="618"/>
                </a:lnTo>
                <a:lnTo>
                  <a:pt x="1266" y="620"/>
                </a:lnTo>
                <a:lnTo>
                  <a:pt x="1266" y="622"/>
                </a:lnTo>
                <a:lnTo>
                  <a:pt x="1266" y="624"/>
                </a:lnTo>
                <a:lnTo>
                  <a:pt x="1267" y="624"/>
                </a:lnTo>
                <a:lnTo>
                  <a:pt x="1266" y="624"/>
                </a:lnTo>
                <a:lnTo>
                  <a:pt x="1267" y="624"/>
                </a:lnTo>
                <a:lnTo>
                  <a:pt x="1267" y="626"/>
                </a:lnTo>
                <a:lnTo>
                  <a:pt x="1267" y="624"/>
                </a:lnTo>
                <a:lnTo>
                  <a:pt x="1266" y="624"/>
                </a:lnTo>
                <a:lnTo>
                  <a:pt x="1266" y="622"/>
                </a:lnTo>
                <a:lnTo>
                  <a:pt x="1266" y="620"/>
                </a:lnTo>
                <a:lnTo>
                  <a:pt x="1266" y="618"/>
                </a:lnTo>
                <a:lnTo>
                  <a:pt x="1266" y="616"/>
                </a:lnTo>
                <a:lnTo>
                  <a:pt x="1266" y="614"/>
                </a:lnTo>
                <a:lnTo>
                  <a:pt x="1266" y="612"/>
                </a:lnTo>
                <a:lnTo>
                  <a:pt x="1266" y="610"/>
                </a:lnTo>
                <a:lnTo>
                  <a:pt x="1266" y="609"/>
                </a:lnTo>
                <a:lnTo>
                  <a:pt x="1266" y="607"/>
                </a:lnTo>
                <a:lnTo>
                  <a:pt x="1264" y="607"/>
                </a:lnTo>
                <a:lnTo>
                  <a:pt x="1264" y="605"/>
                </a:lnTo>
                <a:lnTo>
                  <a:pt x="1264" y="603"/>
                </a:lnTo>
                <a:lnTo>
                  <a:pt x="1264" y="601"/>
                </a:lnTo>
                <a:lnTo>
                  <a:pt x="1264" y="599"/>
                </a:lnTo>
                <a:lnTo>
                  <a:pt x="1262" y="599"/>
                </a:lnTo>
                <a:lnTo>
                  <a:pt x="1262" y="597"/>
                </a:lnTo>
                <a:lnTo>
                  <a:pt x="1262" y="595"/>
                </a:lnTo>
                <a:lnTo>
                  <a:pt x="1264" y="593"/>
                </a:lnTo>
                <a:lnTo>
                  <a:pt x="1264" y="591"/>
                </a:lnTo>
                <a:lnTo>
                  <a:pt x="1264" y="589"/>
                </a:lnTo>
                <a:lnTo>
                  <a:pt x="1266" y="587"/>
                </a:lnTo>
                <a:lnTo>
                  <a:pt x="1266" y="586"/>
                </a:lnTo>
                <a:lnTo>
                  <a:pt x="1266" y="584"/>
                </a:lnTo>
                <a:lnTo>
                  <a:pt x="1266" y="582"/>
                </a:lnTo>
                <a:lnTo>
                  <a:pt x="1266" y="580"/>
                </a:lnTo>
                <a:lnTo>
                  <a:pt x="1267" y="580"/>
                </a:lnTo>
                <a:lnTo>
                  <a:pt x="1267" y="578"/>
                </a:lnTo>
                <a:lnTo>
                  <a:pt x="1267" y="576"/>
                </a:lnTo>
                <a:lnTo>
                  <a:pt x="1267" y="574"/>
                </a:lnTo>
                <a:lnTo>
                  <a:pt x="1267" y="572"/>
                </a:lnTo>
                <a:lnTo>
                  <a:pt x="1267" y="570"/>
                </a:lnTo>
                <a:lnTo>
                  <a:pt x="1269" y="570"/>
                </a:lnTo>
                <a:lnTo>
                  <a:pt x="1269" y="568"/>
                </a:lnTo>
                <a:lnTo>
                  <a:pt x="1271" y="568"/>
                </a:lnTo>
                <a:lnTo>
                  <a:pt x="1271" y="566"/>
                </a:lnTo>
                <a:lnTo>
                  <a:pt x="1273" y="566"/>
                </a:lnTo>
                <a:lnTo>
                  <a:pt x="1275" y="566"/>
                </a:lnTo>
                <a:lnTo>
                  <a:pt x="1275" y="568"/>
                </a:lnTo>
                <a:lnTo>
                  <a:pt x="1277" y="568"/>
                </a:lnTo>
                <a:lnTo>
                  <a:pt x="1279" y="568"/>
                </a:lnTo>
                <a:lnTo>
                  <a:pt x="1279" y="570"/>
                </a:lnTo>
                <a:lnTo>
                  <a:pt x="1281" y="570"/>
                </a:lnTo>
                <a:lnTo>
                  <a:pt x="1281" y="572"/>
                </a:lnTo>
                <a:lnTo>
                  <a:pt x="1283" y="572"/>
                </a:lnTo>
                <a:lnTo>
                  <a:pt x="1285" y="574"/>
                </a:lnTo>
                <a:lnTo>
                  <a:pt x="1283" y="574"/>
                </a:lnTo>
                <a:lnTo>
                  <a:pt x="1283" y="572"/>
                </a:lnTo>
                <a:lnTo>
                  <a:pt x="1281" y="572"/>
                </a:lnTo>
                <a:lnTo>
                  <a:pt x="1281" y="574"/>
                </a:lnTo>
                <a:lnTo>
                  <a:pt x="1281" y="572"/>
                </a:lnTo>
                <a:lnTo>
                  <a:pt x="1279" y="572"/>
                </a:lnTo>
                <a:lnTo>
                  <a:pt x="1279" y="570"/>
                </a:lnTo>
                <a:lnTo>
                  <a:pt x="1279" y="572"/>
                </a:lnTo>
                <a:lnTo>
                  <a:pt x="1279" y="570"/>
                </a:lnTo>
                <a:lnTo>
                  <a:pt x="1277" y="570"/>
                </a:lnTo>
                <a:lnTo>
                  <a:pt x="1275" y="570"/>
                </a:lnTo>
                <a:lnTo>
                  <a:pt x="1273" y="570"/>
                </a:lnTo>
                <a:lnTo>
                  <a:pt x="1273" y="568"/>
                </a:lnTo>
                <a:lnTo>
                  <a:pt x="1273" y="570"/>
                </a:lnTo>
                <a:lnTo>
                  <a:pt x="1271" y="570"/>
                </a:lnTo>
                <a:lnTo>
                  <a:pt x="1271" y="572"/>
                </a:lnTo>
                <a:lnTo>
                  <a:pt x="1273" y="572"/>
                </a:lnTo>
                <a:lnTo>
                  <a:pt x="1273" y="574"/>
                </a:lnTo>
                <a:lnTo>
                  <a:pt x="1275" y="574"/>
                </a:lnTo>
                <a:lnTo>
                  <a:pt x="1277" y="574"/>
                </a:lnTo>
                <a:lnTo>
                  <a:pt x="1277" y="576"/>
                </a:lnTo>
                <a:lnTo>
                  <a:pt x="1279" y="576"/>
                </a:lnTo>
                <a:lnTo>
                  <a:pt x="1281" y="576"/>
                </a:lnTo>
                <a:lnTo>
                  <a:pt x="1281" y="578"/>
                </a:lnTo>
                <a:lnTo>
                  <a:pt x="1281" y="580"/>
                </a:lnTo>
                <a:lnTo>
                  <a:pt x="1283" y="580"/>
                </a:lnTo>
                <a:lnTo>
                  <a:pt x="1283" y="582"/>
                </a:lnTo>
                <a:lnTo>
                  <a:pt x="1283" y="584"/>
                </a:lnTo>
                <a:lnTo>
                  <a:pt x="1285" y="584"/>
                </a:lnTo>
                <a:lnTo>
                  <a:pt x="1287" y="584"/>
                </a:lnTo>
                <a:lnTo>
                  <a:pt x="1289" y="584"/>
                </a:lnTo>
                <a:lnTo>
                  <a:pt x="1289" y="582"/>
                </a:lnTo>
                <a:lnTo>
                  <a:pt x="1289" y="584"/>
                </a:lnTo>
                <a:lnTo>
                  <a:pt x="1289" y="582"/>
                </a:lnTo>
                <a:lnTo>
                  <a:pt x="1289" y="580"/>
                </a:lnTo>
                <a:lnTo>
                  <a:pt x="1289" y="582"/>
                </a:lnTo>
                <a:lnTo>
                  <a:pt x="1289" y="580"/>
                </a:lnTo>
                <a:lnTo>
                  <a:pt x="1291" y="580"/>
                </a:lnTo>
                <a:lnTo>
                  <a:pt x="1291" y="582"/>
                </a:lnTo>
                <a:lnTo>
                  <a:pt x="1291" y="584"/>
                </a:lnTo>
                <a:lnTo>
                  <a:pt x="1292" y="584"/>
                </a:lnTo>
                <a:lnTo>
                  <a:pt x="1292" y="582"/>
                </a:lnTo>
                <a:lnTo>
                  <a:pt x="1292" y="580"/>
                </a:lnTo>
                <a:lnTo>
                  <a:pt x="1292" y="582"/>
                </a:lnTo>
                <a:lnTo>
                  <a:pt x="1294" y="582"/>
                </a:lnTo>
                <a:lnTo>
                  <a:pt x="1296" y="584"/>
                </a:lnTo>
                <a:lnTo>
                  <a:pt x="1300" y="586"/>
                </a:lnTo>
                <a:lnTo>
                  <a:pt x="1302" y="586"/>
                </a:lnTo>
                <a:lnTo>
                  <a:pt x="1302" y="587"/>
                </a:lnTo>
                <a:lnTo>
                  <a:pt x="1300" y="587"/>
                </a:lnTo>
                <a:lnTo>
                  <a:pt x="1300" y="589"/>
                </a:lnTo>
                <a:lnTo>
                  <a:pt x="1300" y="591"/>
                </a:lnTo>
                <a:lnTo>
                  <a:pt x="1298" y="591"/>
                </a:lnTo>
                <a:lnTo>
                  <a:pt x="1298" y="589"/>
                </a:lnTo>
                <a:lnTo>
                  <a:pt x="1298" y="591"/>
                </a:lnTo>
                <a:lnTo>
                  <a:pt x="1298" y="589"/>
                </a:lnTo>
                <a:lnTo>
                  <a:pt x="1298" y="591"/>
                </a:lnTo>
                <a:lnTo>
                  <a:pt x="1300" y="591"/>
                </a:lnTo>
                <a:lnTo>
                  <a:pt x="1298" y="591"/>
                </a:lnTo>
                <a:lnTo>
                  <a:pt x="1298" y="593"/>
                </a:lnTo>
                <a:lnTo>
                  <a:pt x="1298" y="591"/>
                </a:lnTo>
                <a:lnTo>
                  <a:pt x="1300" y="591"/>
                </a:lnTo>
                <a:lnTo>
                  <a:pt x="1300" y="593"/>
                </a:lnTo>
                <a:lnTo>
                  <a:pt x="1302" y="593"/>
                </a:lnTo>
                <a:lnTo>
                  <a:pt x="1302" y="595"/>
                </a:lnTo>
                <a:lnTo>
                  <a:pt x="1304" y="595"/>
                </a:lnTo>
                <a:lnTo>
                  <a:pt x="1306" y="595"/>
                </a:lnTo>
                <a:lnTo>
                  <a:pt x="1306" y="597"/>
                </a:lnTo>
                <a:lnTo>
                  <a:pt x="1308" y="597"/>
                </a:lnTo>
                <a:lnTo>
                  <a:pt x="1308" y="599"/>
                </a:lnTo>
                <a:lnTo>
                  <a:pt x="1308" y="597"/>
                </a:lnTo>
                <a:lnTo>
                  <a:pt x="1308" y="599"/>
                </a:lnTo>
                <a:lnTo>
                  <a:pt x="1310" y="599"/>
                </a:lnTo>
                <a:lnTo>
                  <a:pt x="1310" y="597"/>
                </a:lnTo>
                <a:lnTo>
                  <a:pt x="1310" y="595"/>
                </a:lnTo>
                <a:lnTo>
                  <a:pt x="1310" y="593"/>
                </a:lnTo>
                <a:lnTo>
                  <a:pt x="1312" y="593"/>
                </a:lnTo>
                <a:lnTo>
                  <a:pt x="1314" y="595"/>
                </a:lnTo>
                <a:lnTo>
                  <a:pt x="1315" y="595"/>
                </a:lnTo>
                <a:lnTo>
                  <a:pt x="1315" y="597"/>
                </a:lnTo>
                <a:lnTo>
                  <a:pt x="1314" y="597"/>
                </a:lnTo>
                <a:lnTo>
                  <a:pt x="1314" y="595"/>
                </a:lnTo>
                <a:lnTo>
                  <a:pt x="1312" y="595"/>
                </a:lnTo>
                <a:lnTo>
                  <a:pt x="1312" y="597"/>
                </a:lnTo>
                <a:lnTo>
                  <a:pt x="1314" y="597"/>
                </a:lnTo>
                <a:lnTo>
                  <a:pt x="1314" y="599"/>
                </a:lnTo>
                <a:lnTo>
                  <a:pt x="1314" y="597"/>
                </a:lnTo>
                <a:lnTo>
                  <a:pt x="1315" y="597"/>
                </a:lnTo>
                <a:lnTo>
                  <a:pt x="1315" y="599"/>
                </a:lnTo>
                <a:lnTo>
                  <a:pt x="1317" y="599"/>
                </a:lnTo>
                <a:lnTo>
                  <a:pt x="1317" y="597"/>
                </a:lnTo>
                <a:lnTo>
                  <a:pt x="1317" y="599"/>
                </a:lnTo>
                <a:lnTo>
                  <a:pt x="1319" y="599"/>
                </a:lnTo>
                <a:lnTo>
                  <a:pt x="1321" y="599"/>
                </a:lnTo>
                <a:lnTo>
                  <a:pt x="1323" y="599"/>
                </a:lnTo>
                <a:lnTo>
                  <a:pt x="1323" y="601"/>
                </a:lnTo>
                <a:lnTo>
                  <a:pt x="1325" y="601"/>
                </a:lnTo>
                <a:lnTo>
                  <a:pt x="1325" y="603"/>
                </a:lnTo>
                <a:lnTo>
                  <a:pt x="1327" y="603"/>
                </a:lnTo>
                <a:lnTo>
                  <a:pt x="1329" y="605"/>
                </a:lnTo>
                <a:lnTo>
                  <a:pt x="1331" y="605"/>
                </a:lnTo>
                <a:lnTo>
                  <a:pt x="1331" y="607"/>
                </a:lnTo>
                <a:lnTo>
                  <a:pt x="1329" y="607"/>
                </a:lnTo>
                <a:lnTo>
                  <a:pt x="1331" y="607"/>
                </a:lnTo>
                <a:lnTo>
                  <a:pt x="1333" y="607"/>
                </a:lnTo>
                <a:lnTo>
                  <a:pt x="1333" y="609"/>
                </a:lnTo>
                <a:lnTo>
                  <a:pt x="1335" y="609"/>
                </a:lnTo>
                <a:lnTo>
                  <a:pt x="1335" y="610"/>
                </a:lnTo>
                <a:lnTo>
                  <a:pt x="1337" y="610"/>
                </a:lnTo>
                <a:lnTo>
                  <a:pt x="1335" y="612"/>
                </a:lnTo>
                <a:lnTo>
                  <a:pt x="1337" y="612"/>
                </a:lnTo>
                <a:lnTo>
                  <a:pt x="1335" y="614"/>
                </a:lnTo>
                <a:lnTo>
                  <a:pt x="1335" y="616"/>
                </a:lnTo>
                <a:lnTo>
                  <a:pt x="1335" y="614"/>
                </a:lnTo>
                <a:lnTo>
                  <a:pt x="1335" y="612"/>
                </a:lnTo>
                <a:lnTo>
                  <a:pt x="1335" y="614"/>
                </a:lnTo>
                <a:lnTo>
                  <a:pt x="1333" y="616"/>
                </a:lnTo>
                <a:lnTo>
                  <a:pt x="1333" y="618"/>
                </a:lnTo>
                <a:lnTo>
                  <a:pt x="1335" y="618"/>
                </a:lnTo>
                <a:lnTo>
                  <a:pt x="1335" y="620"/>
                </a:lnTo>
                <a:lnTo>
                  <a:pt x="1335" y="622"/>
                </a:lnTo>
                <a:lnTo>
                  <a:pt x="1337" y="622"/>
                </a:lnTo>
                <a:lnTo>
                  <a:pt x="1337" y="624"/>
                </a:lnTo>
                <a:lnTo>
                  <a:pt x="1337" y="626"/>
                </a:lnTo>
                <a:lnTo>
                  <a:pt x="1337" y="628"/>
                </a:lnTo>
                <a:lnTo>
                  <a:pt x="1337" y="626"/>
                </a:lnTo>
                <a:lnTo>
                  <a:pt x="1335" y="626"/>
                </a:lnTo>
                <a:lnTo>
                  <a:pt x="1335" y="628"/>
                </a:lnTo>
                <a:lnTo>
                  <a:pt x="1337" y="628"/>
                </a:lnTo>
                <a:lnTo>
                  <a:pt x="1335" y="628"/>
                </a:lnTo>
                <a:lnTo>
                  <a:pt x="1335" y="626"/>
                </a:lnTo>
                <a:lnTo>
                  <a:pt x="1335" y="628"/>
                </a:lnTo>
                <a:lnTo>
                  <a:pt x="1335" y="626"/>
                </a:lnTo>
                <a:lnTo>
                  <a:pt x="1337" y="626"/>
                </a:lnTo>
                <a:lnTo>
                  <a:pt x="1337" y="628"/>
                </a:lnTo>
                <a:lnTo>
                  <a:pt x="1337" y="630"/>
                </a:lnTo>
                <a:lnTo>
                  <a:pt x="1339" y="630"/>
                </a:lnTo>
                <a:lnTo>
                  <a:pt x="1339" y="628"/>
                </a:lnTo>
                <a:lnTo>
                  <a:pt x="1337" y="628"/>
                </a:lnTo>
                <a:lnTo>
                  <a:pt x="1339" y="628"/>
                </a:lnTo>
                <a:lnTo>
                  <a:pt x="1339" y="630"/>
                </a:lnTo>
                <a:lnTo>
                  <a:pt x="1340" y="630"/>
                </a:lnTo>
                <a:lnTo>
                  <a:pt x="1339" y="630"/>
                </a:lnTo>
                <a:lnTo>
                  <a:pt x="1340" y="630"/>
                </a:lnTo>
                <a:lnTo>
                  <a:pt x="1340" y="632"/>
                </a:lnTo>
                <a:lnTo>
                  <a:pt x="1342" y="632"/>
                </a:lnTo>
                <a:lnTo>
                  <a:pt x="1340" y="634"/>
                </a:lnTo>
                <a:lnTo>
                  <a:pt x="1340" y="632"/>
                </a:lnTo>
                <a:lnTo>
                  <a:pt x="1340" y="634"/>
                </a:lnTo>
                <a:lnTo>
                  <a:pt x="1340" y="632"/>
                </a:lnTo>
                <a:lnTo>
                  <a:pt x="1339" y="632"/>
                </a:lnTo>
                <a:lnTo>
                  <a:pt x="1339" y="634"/>
                </a:lnTo>
                <a:lnTo>
                  <a:pt x="1340" y="634"/>
                </a:lnTo>
                <a:lnTo>
                  <a:pt x="1342" y="634"/>
                </a:lnTo>
                <a:lnTo>
                  <a:pt x="1342" y="632"/>
                </a:lnTo>
                <a:lnTo>
                  <a:pt x="1340" y="632"/>
                </a:lnTo>
                <a:lnTo>
                  <a:pt x="1342" y="632"/>
                </a:lnTo>
                <a:lnTo>
                  <a:pt x="1342" y="634"/>
                </a:lnTo>
                <a:lnTo>
                  <a:pt x="1342" y="635"/>
                </a:lnTo>
                <a:lnTo>
                  <a:pt x="1342" y="634"/>
                </a:lnTo>
                <a:lnTo>
                  <a:pt x="1342" y="635"/>
                </a:lnTo>
                <a:lnTo>
                  <a:pt x="1342" y="634"/>
                </a:lnTo>
                <a:lnTo>
                  <a:pt x="1342" y="632"/>
                </a:lnTo>
                <a:lnTo>
                  <a:pt x="1344" y="632"/>
                </a:lnTo>
                <a:lnTo>
                  <a:pt x="1342" y="634"/>
                </a:lnTo>
                <a:lnTo>
                  <a:pt x="1344" y="634"/>
                </a:lnTo>
                <a:lnTo>
                  <a:pt x="1344" y="632"/>
                </a:lnTo>
                <a:lnTo>
                  <a:pt x="1344" y="630"/>
                </a:lnTo>
                <a:lnTo>
                  <a:pt x="1344" y="632"/>
                </a:lnTo>
                <a:lnTo>
                  <a:pt x="1344" y="630"/>
                </a:lnTo>
                <a:lnTo>
                  <a:pt x="1344" y="628"/>
                </a:lnTo>
                <a:lnTo>
                  <a:pt x="1344" y="626"/>
                </a:lnTo>
                <a:lnTo>
                  <a:pt x="1344" y="624"/>
                </a:lnTo>
                <a:lnTo>
                  <a:pt x="1344" y="622"/>
                </a:lnTo>
                <a:lnTo>
                  <a:pt x="1344" y="620"/>
                </a:lnTo>
                <a:lnTo>
                  <a:pt x="1344" y="618"/>
                </a:lnTo>
                <a:lnTo>
                  <a:pt x="1346" y="618"/>
                </a:lnTo>
                <a:lnTo>
                  <a:pt x="1348" y="618"/>
                </a:lnTo>
                <a:lnTo>
                  <a:pt x="1348" y="620"/>
                </a:lnTo>
                <a:lnTo>
                  <a:pt x="1350" y="620"/>
                </a:lnTo>
                <a:lnTo>
                  <a:pt x="1352" y="620"/>
                </a:lnTo>
                <a:lnTo>
                  <a:pt x="1354" y="620"/>
                </a:lnTo>
                <a:lnTo>
                  <a:pt x="1356" y="620"/>
                </a:lnTo>
                <a:lnTo>
                  <a:pt x="1356" y="622"/>
                </a:lnTo>
                <a:lnTo>
                  <a:pt x="1358" y="622"/>
                </a:lnTo>
                <a:lnTo>
                  <a:pt x="1358" y="624"/>
                </a:lnTo>
                <a:lnTo>
                  <a:pt x="1360" y="624"/>
                </a:lnTo>
                <a:lnTo>
                  <a:pt x="1362" y="626"/>
                </a:lnTo>
                <a:lnTo>
                  <a:pt x="1363" y="626"/>
                </a:lnTo>
                <a:lnTo>
                  <a:pt x="1363" y="628"/>
                </a:lnTo>
                <a:lnTo>
                  <a:pt x="1365" y="628"/>
                </a:lnTo>
                <a:lnTo>
                  <a:pt x="1365" y="630"/>
                </a:lnTo>
                <a:lnTo>
                  <a:pt x="1367" y="630"/>
                </a:lnTo>
                <a:lnTo>
                  <a:pt x="1367" y="632"/>
                </a:lnTo>
                <a:lnTo>
                  <a:pt x="1367" y="634"/>
                </a:lnTo>
                <a:lnTo>
                  <a:pt x="1369" y="634"/>
                </a:lnTo>
                <a:lnTo>
                  <a:pt x="1369" y="635"/>
                </a:lnTo>
                <a:lnTo>
                  <a:pt x="1371" y="637"/>
                </a:lnTo>
                <a:lnTo>
                  <a:pt x="1369" y="637"/>
                </a:lnTo>
                <a:lnTo>
                  <a:pt x="1367" y="637"/>
                </a:lnTo>
                <a:lnTo>
                  <a:pt x="1367" y="639"/>
                </a:lnTo>
                <a:lnTo>
                  <a:pt x="1369" y="639"/>
                </a:lnTo>
                <a:lnTo>
                  <a:pt x="1371" y="639"/>
                </a:lnTo>
                <a:lnTo>
                  <a:pt x="1371" y="641"/>
                </a:lnTo>
                <a:lnTo>
                  <a:pt x="1373" y="641"/>
                </a:lnTo>
                <a:lnTo>
                  <a:pt x="1373" y="639"/>
                </a:lnTo>
                <a:lnTo>
                  <a:pt x="1375" y="641"/>
                </a:lnTo>
                <a:lnTo>
                  <a:pt x="1377" y="641"/>
                </a:lnTo>
                <a:lnTo>
                  <a:pt x="1379" y="643"/>
                </a:lnTo>
                <a:lnTo>
                  <a:pt x="1381" y="643"/>
                </a:lnTo>
                <a:lnTo>
                  <a:pt x="1383" y="645"/>
                </a:lnTo>
                <a:lnTo>
                  <a:pt x="1385" y="645"/>
                </a:lnTo>
                <a:lnTo>
                  <a:pt x="1385" y="643"/>
                </a:lnTo>
                <a:lnTo>
                  <a:pt x="1383" y="643"/>
                </a:lnTo>
                <a:lnTo>
                  <a:pt x="1385" y="643"/>
                </a:lnTo>
                <a:lnTo>
                  <a:pt x="1385" y="645"/>
                </a:lnTo>
                <a:lnTo>
                  <a:pt x="1387" y="647"/>
                </a:lnTo>
                <a:lnTo>
                  <a:pt x="1387" y="649"/>
                </a:lnTo>
                <a:lnTo>
                  <a:pt x="1387" y="647"/>
                </a:lnTo>
                <a:lnTo>
                  <a:pt x="1388" y="649"/>
                </a:lnTo>
                <a:lnTo>
                  <a:pt x="1388" y="651"/>
                </a:lnTo>
                <a:lnTo>
                  <a:pt x="1390" y="651"/>
                </a:lnTo>
                <a:lnTo>
                  <a:pt x="1390" y="653"/>
                </a:lnTo>
                <a:lnTo>
                  <a:pt x="1390" y="651"/>
                </a:lnTo>
                <a:lnTo>
                  <a:pt x="1390" y="653"/>
                </a:lnTo>
                <a:lnTo>
                  <a:pt x="1392" y="653"/>
                </a:lnTo>
                <a:lnTo>
                  <a:pt x="1392" y="655"/>
                </a:lnTo>
                <a:lnTo>
                  <a:pt x="1392" y="657"/>
                </a:lnTo>
                <a:lnTo>
                  <a:pt x="1394" y="657"/>
                </a:lnTo>
                <a:lnTo>
                  <a:pt x="1394" y="658"/>
                </a:lnTo>
                <a:lnTo>
                  <a:pt x="1394" y="660"/>
                </a:lnTo>
                <a:lnTo>
                  <a:pt x="1396" y="660"/>
                </a:lnTo>
                <a:lnTo>
                  <a:pt x="1396" y="662"/>
                </a:lnTo>
                <a:lnTo>
                  <a:pt x="1398" y="662"/>
                </a:lnTo>
                <a:lnTo>
                  <a:pt x="1398" y="664"/>
                </a:lnTo>
                <a:lnTo>
                  <a:pt x="1396" y="664"/>
                </a:lnTo>
                <a:lnTo>
                  <a:pt x="1396" y="662"/>
                </a:lnTo>
                <a:lnTo>
                  <a:pt x="1396" y="664"/>
                </a:lnTo>
                <a:lnTo>
                  <a:pt x="1396" y="662"/>
                </a:lnTo>
                <a:lnTo>
                  <a:pt x="1394" y="662"/>
                </a:lnTo>
                <a:lnTo>
                  <a:pt x="1394" y="664"/>
                </a:lnTo>
                <a:lnTo>
                  <a:pt x="1392" y="664"/>
                </a:lnTo>
                <a:lnTo>
                  <a:pt x="1394" y="664"/>
                </a:lnTo>
                <a:lnTo>
                  <a:pt x="1394" y="662"/>
                </a:lnTo>
                <a:lnTo>
                  <a:pt x="1396" y="662"/>
                </a:lnTo>
                <a:lnTo>
                  <a:pt x="1396" y="664"/>
                </a:lnTo>
                <a:lnTo>
                  <a:pt x="1396" y="666"/>
                </a:lnTo>
                <a:lnTo>
                  <a:pt x="1396" y="668"/>
                </a:lnTo>
                <a:lnTo>
                  <a:pt x="1396" y="670"/>
                </a:lnTo>
                <a:lnTo>
                  <a:pt x="1396" y="672"/>
                </a:lnTo>
                <a:lnTo>
                  <a:pt x="1398" y="672"/>
                </a:lnTo>
                <a:lnTo>
                  <a:pt x="1396" y="672"/>
                </a:lnTo>
                <a:lnTo>
                  <a:pt x="1394" y="672"/>
                </a:lnTo>
                <a:lnTo>
                  <a:pt x="1394" y="674"/>
                </a:lnTo>
                <a:lnTo>
                  <a:pt x="1392" y="674"/>
                </a:lnTo>
                <a:lnTo>
                  <a:pt x="1390" y="674"/>
                </a:lnTo>
                <a:lnTo>
                  <a:pt x="1388" y="674"/>
                </a:lnTo>
                <a:lnTo>
                  <a:pt x="1387" y="674"/>
                </a:lnTo>
                <a:lnTo>
                  <a:pt x="1385" y="674"/>
                </a:lnTo>
                <a:lnTo>
                  <a:pt x="1383" y="674"/>
                </a:lnTo>
                <a:lnTo>
                  <a:pt x="1383" y="676"/>
                </a:lnTo>
                <a:lnTo>
                  <a:pt x="1381" y="676"/>
                </a:lnTo>
                <a:lnTo>
                  <a:pt x="1379" y="676"/>
                </a:lnTo>
                <a:lnTo>
                  <a:pt x="1377" y="676"/>
                </a:lnTo>
                <a:lnTo>
                  <a:pt x="1377" y="678"/>
                </a:lnTo>
                <a:lnTo>
                  <a:pt x="1375" y="678"/>
                </a:lnTo>
                <a:lnTo>
                  <a:pt x="1377" y="678"/>
                </a:lnTo>
                <a:lnTo>
                  <a:pt x="1375" y="680"/>
                </a:lnTo>
                <a:lnTo>
                  <a:pt x="1373" y="680"/>
                </a:lnTo>
                <a:lnTo>
                  <a:pt x="1373" y="678"/>
                </a:lnTo>
                <a:lnTo>
                  <a:pt x="1371" y="678"/>
                </a:lnTo>
                <a:lnTo>
                  <a:pt x="1369" y="678"/>
                </a:lnTo>
                <a:lnTo>
                  <a:pt x="1369" y="676"/>
                </a:lnTo>
                <a:lnTo>
                  <a:pt x="1367" y="676"/>
                </a:lnTo>
                <a:lnTo>
                  <a:pt x="1367" y="674"/>
                </a:lnTo>
                <a:lnTo>
                  <a:pt x="1365" y="674"/>
                </a:lnTo>
                <a:lnTo>
                  <a:pt x="1365" y="672"/>
                </a:lnTo>
                <a:lnTo>
                  <a:pt x="1365" y="674"/>
                </a:lnTo>
                <a:lnTo>
                  <a:pt x="1365" y="672"/>
                </a:lnTo>
                <a:lnTo>
                  <a:pt x="1363" y="672"/>
                </a:lnTo>
                <a:lnTo>
                  <a:pt x="1363" y="670"/>
                </a:lnTo>
                <a:lnTo>
                  <a:pt x="1365" y="670"/>
                </a:lnTo>
                <a:lnTo>
                  <a:pt x="1363" y="670"/>
                </a:lnTo>
                <a:lnTo>
                  <a:pt x="1365" y="670"/>
                </a:lnTo>
                <a:lnTo>
                  <a:pt x="1363" y="670"/>
                </a:lnTo>
                <a:lnTo>
                  <a:pt x="1363" y="668"/>
                </a:lnTo>
                <a:lnTo>
                  <a:pt x="1365" y="668"/>
                </a:lnTo>
                <a:lnTo>
                  <a:pt x="1363" y="668"/>
                </a:lnTo>
                <a:lnTo>
                  <a:pt x="1363" y="666"/>
                </a:lnTo>
                <a:lnTo>
                  <a:pt x="1363" y="668"/>
                </a:lnTo>
                <a:lnTo>
                  <a:pt x="1363" y="666"/>
                </a:lnTo>
                <a:lnTo>
                  <a:pt x="1363" y="668"/>
                </a:lnTo>
                <a:lnTo>
                  <a:pt x="1363" y="670"/>
                </a:lnTo>
                <a:lnTo>
                  <a:pt x="1365" y="670"/>
                </a:lnTo>
                <a:lnTo>
                  <a:pt x="1363" y="670"/>
                </a:lnTo>
                <a:lnTo>
                  <a:pt x="1363" y="672"/>
                </a:lnTo>
                <a:lnTo>
                  <a:pt x="1363" y="670"/>
                </a:lnTo>
                <a:lnTo>
                  <a:pt x="1363" y="672"/>
                </a:lnTo>
                <a:lnTo>
                  <a:pt x="1363" y="674"/>
                </a:lnTo>
                <a:lnTo>
                  <a:pt x="1365" y="674"/>
                </a:lnTo>
                <a:lnTo>
                  <a:pt x="1365" y="676"/>
                </a:lnTo>
                <a:lnTo>
                  <a:pt x="1365" y="678"/>
                </a:lnTo>
                <a:lnTo>
                  <a:pt x="1367" y="678"/>
                </a:lnTo>
                <a:lnTo>
                  <a:pt x="1365" y="678"/>
                </a:lnTo>
                <a:lnTo>
                  <a:pt x="1367" y="678"/>
                </a:lnTo>
                <a:lnTo>
                  <a:pt x="1367" y="680"/>
                </a:lnTo>
                <a:lnTo>
                  <a:pt x="1369" y="680"/>
                </a:lnTo>
                <a:lnTo>
                  <a:pt x="1367" y="680"/>
                </a:lnTo>
                <a:lnTo>
                  <a:pt x="1367" y="682"/>
                </a:lnTo>
                <a:lnTo>
                  <a:pt x="1365" y="682"/>
                </a:lnTo>
                <a:lnTo>
                  <a:pt x="1365" y="683"/>
                </a:lnTo>
                <a:lnTo>
                  <a:pt x="1363" y="683"/>
                </a:lnTo>
                <a:lnTo>
                  <a:pt x="1363" y="685"/>
                </a:lnTo>
                <a:lnTo>
                  <a:pt x="1363" y="687"/>
                </a:lnTo>
                <a:lnTo>
                  <a:pt x="1362" y="687"/>
                </a:lnTo>
                <a:lnTo>
                  <a:pt x="1360" y="687"/>
                </a:lnTo>
                <a:lnTo>
                  <a:pt x="1360" y="689"/>
                </a:lnTo>
                <a:lnTo>
                  <a:pt x="1362" y="689"/>
                </a:lnTo>
                <a:lnTo>
                  <a:pt x="1362" y="691"/>
                </a:lnTo>
                <a:lnTo>
                  <a:pt x="1362" y="693"/>
                </a:lnTo>
                <a:lnTo>
                  <a:pt x="1363" y="693"/>
                </a:lnTo>
                <a:lnTo>
                  <a:pt x="1363" y="695"/>
                </a:lnTo>
                <a:lnTo>
                  <a:pt x="1365" y="695"/>
                </a:lnTo>
                <a:lnTo>
                  <a:pt x="1367" y="695"/>
                </a:lnTo>
                <a:lnTo>
                  <a:pt x="1365" y="695"/>
                </a:lnTo>
                <a:lnTo>
                  <a:pt x="1367" y="695"/>
                </a:lnTo>
                <a:lnTo>
                  <a:pt x="1367" y="697"/>
                </a:lnTo>
                <a:lnTo>
                  <a:pt x="1367" y="699"/>
                </a:lnTo>
                <a:lnTo>
                  <a:pt x="1369" y="701"/>
                </a:lnTo>
                <a:lnTo>
                  <a:pt x="1367" y="701"/>
                </a:lnTo>
                <a:lnTo>
                  <a:pt x="1367" y="703"/>
                </a:lnTo>
                <a:lnTo>
                  <a:pt x="1369" y="703"/>
                </a:lnTo>
                <a:lnTo>
                  <a:pt x="1369" y="705"/>
                </a:lnTo>
                <a:lnTo>
                  <a:pt x="1369" y="706"/>
                </a:lnTo>
                <a:lnTo>
                  <a:pt x="1369" y="708"/>
                </a:lnTo>
                <a:lnTo>
                  <a:pt x="1371" y="708"/>
                </a:lnTo>
                <a:lnTo>
                  <a:pt x="1371" y="710"/>
                </a:lnTo>
                <a:lnTo>
                  <a:pt x="1373" y="710"/>
                </a:lnTo>
                <a:lnTo>
                  <a:pt x="1375" y="710"/>
                </a:lnTo>
                <a:lnTo>
                  <a:pt x="1375" y="712"/>
                </a:lnTo>
                <a:lnTo>
                  <a:pt x="1375" y="710"/>
                </a:lnTo>
                <a:lnTo>
                  <a:pt x="1375" y="712"/>
                </a:lnTo>
                <a:lnTo>
                  <a:pt x="1375" y="714"/>
                </a:lnTo>
                <a:lnTo>
                  <a:pt x="1375" y="716"/>
                </a:lnTo>
                <a:lnTo>
                  <a:pt x="1377" y="716"/>
                </a:lnTo>
                <a:lnTo>
                  <a:pt x="1379" y="718"/>
                </a:lnTo>
                <a:lnTo>
                  <a:pt x="1377" y="718"/>
                </a:lnTo>
                <a:lnTo>
                  <a:pt x="1377" y="720"/>
                </a:lnTo>
                <a:lnTo>
                  <a:pt x="1377" y="718"/>
                </a:lnTo>
                <a:lnTo>
                  <a:pt x="1377" y="720"/>
                </a:lnTo>
                <a:lnTo>
                  <a:pt x="1375" y="722"/>
                </a:lnTo>
                <a:lnTo>
                  <a:pt x="1375" y="724"/>
                </a:lnTo>
                <a:lnTo>
                  <a:pt x="1375" y="722"/>
                </a:lnTo>
                <a:lnTo>
                  <a:pt x="1373" y="722"/>
                </a:lnTo>
                <a:lnTo>
                  <a:pt x="1371" y="722"/>
                </a:lnTo>
                <a:lnTo>
                  <a:pt x="1371" y="724"/>
                </a:lnTo>
                <a:lnTo>
                  <a:pt x="1369" y="724"/>
                </a:lnTo>
                <a:lnTo>
                  <a:pt x="1371" y="724"/>
                </a:lnTo>
                <a:lnTo>
                  <a:pt x="1373" y="724"/>
                </a:lnTo>
                <a:lnTo>
                  <a:pt x="1375" y="724"/>
                </a:lnTo>
                <a:lnTo>
                  <a:pt x="1377" y="724"/>
                </a:lnTo>
                <a:lnTo>
                  <a:pt x="1375" y="724"/>
                </a:lnTo>
                <a:lnTo>
                  <a:pt x="1375" y="726"/>
                </a:lnTo>
                <a:lnTo>
                  <a:pt x="1377" y="726"/>
                </a:lnTo>
                <a:lnTo>
                  <a:pt x="1377" y="724"/>
                </a:lnTo>
                <a:lnTo>
                  <a:pt x="1377" y="726"/>
                </a:lnTo>
                <a:lnTo>
                  <a:pt x="1379" y="726"/>
                </a:lnTo>
                <a:lnTo>
                  <a:pt x="1379" y="728"/>
                </a:lnTo>
                <a:lnTo>
                  <a:pt x="1379" y="730"/>
                </a:lnTo>
                <a:lnTo>
                  <a:pt x="1379" y="731"/>
                </a:lnTo>
                <a:lnTo>
                  <a:pt x="1381" y="733"/>
                </a:lnTo>
                <a:lnTo>
                  <a:pt x="1383" y="733"/>
                </a:lnTo>
                <a:lnTo>
                  <a:pt x="1383" y="735"/>
                </a:lnTo>
                <a:lnTo>
                  <a:pt x="1385" y="735"/>
                </a:lnTo>
                <a:lnTo>
                  <a:pt x="1387" y="735"/>
                </a:lnTo>
                <a:lnTo>
                  <a:pt x="1385" y="737"/>
                </a:lnTo>
                <a:lnTo>
                  <a:pt x="1387" y="739"/>
                </a:lnTo>
                <a:lnTo>
                  <a:pt x="1387" y="741"/>
                </a:lnTo>
                <a:lnTo>
                  <a:pt x="1387" y="743"/>
                </a:lnTo>
                <a:lnTo>
                  <a:pt x="1387" y="745"/>
                </a:lnTo>
                <a:lnTo>
                  <a:pt x="1387" y="747"/>
                </a:lnTo>
                <a:lnTo>
                  <a:pt x="1387" y="745"/>
                </a:lnTo>
                <a:lnTo>
                  <a:pt x="1385" y="745"/>
                </a:lnTo>
                <a:lnTo>
                  <a:pt x="1387" y="745"/>
                </a:lnTo>
                <a:lnTo>
                  <a:pt x="1385" y="745"/>
                </a:lnTo>
                <a:lnTo>
                  <a:pt x="1387" y="745"/>
                </a:lnTo>
                <a:lnTo>
                  <a:pt x="1385" y="745"/>
                </a:lnTo>
                <a:lnTo>
                  <a:pt x="1383" y="745"/>
                </a:lnTo>
                <a:lnTo>
                  <a:pt x="1383" y="743"/>
                </a:lnTo>
                <a:lnTo>
                  <a:pt x="1383" y="745"/>
                </a:lnTo>
                <a:lnTo>
                  <a:pt x="1385" y="745"/>
                </a:lnTo>
                <a:lnTo>
                  <a:pt x="1383" y="745"/>
                </a:lnTo>
                <a:lnTo>
                  <a:pt x="1385" y="745"/>
                </a:lnTo>
                <a:lnTo>
                  <a:pt x="1385" y="747"/>
                </a:lnTo>
                <a:lnTo>
                  <a:pt x="1383" y="747"/>
                </a:lnTo>
                <a:lnTo>
                  <a:pt x="1381" y="747"/>
                </a:lnTo>
                <a:lnTo>
                  <a:pt x="1381" y="749"/>
                </a:lnTo>
                <a:lnTo>
                  <a:pt x="1383" y="749"/>
                </a:lnTo>
                <a:lnTo>
                  <a:pt x="1381" y="749"/>
                </a:lnTo>
                <a:lnTo>
                  <a:pt x="1383" y="749"/>
                </a:lnTo>
                <a:lnTo>
                  <a:pt x="1383" y="751"/>
                </a:lnTo>
                <a:lnTo>
                  <a:pt x="1385" y="751"/>
                </a:lnTo>
                <a:lnTo>
                  <a:pt x="1385" y="749"/>
                </a:lnTo>
                <a:lnTo>
                  <a:pt x="1387" y="749"/>
                </a:lnTo>
                <a:lnTo>
                  <a:pt x="1388" y="749"/>
                </a:lnTo>
                <a:lnTo>
                  <a:pt x="1390" y="749"/>
                </a:lnTo>
                <a:lnTo>
                  <a:pt x="1392" y="749"/>
                </a:lnTo>
                <a:lnTo>
                  <a:pt x="1394" y="749"/>
                </a:lnTo>
                <a:lnTo>
                  <a:pt x="1392" y="749"/>
                </a:lnTo>
                <a:lnTo>
                  <a:pt x="1390" y="749"/>
                </a:lnTo>
                <a:lnTo>
                  <a:pt x="1390" y="747"/>
                </a:lnTo>
                <a:lnTo>
                  <a:pt x="1394" y="749"/>
                </a:lnTo>
                <a:lnTo>
                  <a:pt x="1396" y="749"/>
                </a:lnTo>
                <a:lnTo>
                  <a:pt x="1398" y="749"/>
                </a:lnTo>
                <a:lnTo>
                  <a:pt x="1400" y="749"/>
                </a:lnTo>
                <a:lnTo>
                  <a:pt x="1402" y="749"/>
                </a:lnTo>
                <a:lnTo>
                  <a:pt x="1404" y="749"/>
                </a:lnTo>
                <a:lnTo>
                  <a:pt x="1406" y="747"/>
                </a:lnTo>
                <a:lnTo>
                  <a:pt x="1408" y="747"/>
                </a:lnTo>
                <a:lnTo>
                  <a:pt x="1408" y="749"/>
                </a:lnTo>
                <a:lnTo>
                  <a:pt x="1410" y="749"/>
                </a:lnTo>
                <a:lnTo>
                  <a:pt x="1410" y="751"/>
                </a:lnTo>
                <a:lnTo>
                  <a:pt x="1410" y="753"/>
                </a:lnTo>
                <a:lnTo>
                  <a:pt x="1411" y="753"/>
                </a:lnTo>
                <a:lnTo>
                  <a:pt x="1410" y="753"/>
                </a:lnTo>
                <a:lnTo>
                  <a:pt x="1410" y="754"/>
                </a:lnTo>
                <a:lnTo>
                  <a:pt x="1408" y="754"/>
                </a:lnTo>
                <a:lnTo>
                  <a:pt x="1408" y="756"/>
                </a:lnTo>
                <a:lnTo>
                  <a:pt x="1410" y="756"/>
                </a:lnTo>
                <a:lnTo>
                  <a:pt x="1410" y="758"/>
                </a:lnTo>
                <a:lnTo>
                  <a:pt x="1410" y="760"/>
                </a:lnTo>
                <a:lnTo>
                  <a:pt x="1411" y="760"/>
                </a:lnTo>
                <a:lnTo>
                  <a:pt x="1413" y="760"/>
                </a:lnTo>
                <a:lnTo>
                  <a:pt x="1413" y="762"/>
                </a:lnTo>
                <a:lnTo>
                  <a:pt x="1411" y="762"/>
                </a:lnTo>
                <a:lnTo>
                  <a:pt x="1410" y="762"/>
                </a:lnTo>
                <a:lnTo>
                  <a:pt x="1408" y="762"/>
                </a:lnTo>
                <a:lnTo>
                  <a:pt x="1406" y="764"/>
                </a:lnTo>
                <a:lnTo>
                  <a:pt x="1404" y="764"/>
                </a:lnTo>
                <a:lnTo>
                  <a:pt x="1402" y="764"/>
                </a:lnTo>
                <a:lnTo>
                  <a:pt x="1400" y="764"/>
                </a:lnTo>
                <a:lnTo>
                  <a:pt x="1402" y="764"/>
                </a:lnTo>
                <a:lnTo>
                  <a:pt x="1400" y="764"/>
                </a:lnTo>
                <a:lnTo>
                  <a:pt x="1400" y="766"/>
                </a:lnTo>
                <a:lnTo>
                  <a:pt x="1402" y="764"/>
                </a:lnTo>
                <a:lnTo>
                  <a:pt x="1404" y="764"/>
                </a:lnTo>
                <a:lnTo>
                  <a:pt x="1404" y="766"/>
                </a:lnTo>
                <a:lnTo>
                  <a:pt x="1406" y="766"/>
                </a:lnTo>
                <a:lnTo>
                  <a:pt x="1408" y="766"/>
                </a:lnTo>
                <a:lnTo>
                  <a:pt x="1410" y="766"/>
                </a:lnTo>
                <a:lnTo>
                  <a:pt x="1411" y="766"/>
                </a:lnTo>
                <a:lnTo>
                  <a:pt x="1413" y="766"/>
                </a:lnTo>
                <a:lnTo>
                  <a:pt x="1413" y="764"/>
                </a:lnTo>
                <a:lnTo>
                  <a:pt x="1413" y="766"/>
                </a:lnTo>
                <a:lnTo>
                  <a:pt x="1413" y="764"/>
                </a:lnTo>
                <a:lnTo>
                  <a:pt x="1415" y="764"/>
                </a:lnTo>
                <a:lnTo>
                  <a:pt x="1415" y="762"/>
                </a:lnTo>
                <a:lnTo>
                  <a:pt x="1417" y="762"/>
                </a:lnTo>
                <a:lnTo>
                  <a:pt x="1417" y="760"/>
                </a:lnTo>
                <a:lnTo>
                  <a:pt x="1417" y="758"/>
                </a:lnTo>
                <a:lnTo>
                  <a:pt x="1419" y="758"/>
                </a:lnTo>
                <a:lnTo>
                  <a:pt x="1419" y="756"/>
                </a:lnTo>
                <a:lnTo>
                  <a:pt x="1419" y="754"/>
                </a:lnTo>
                <a:lnTo>
                  <a:pt x="1419" y="753"/>
                </a:lnTo>
                <a:lnTo>
                  <a:pt x="1419" y="751"/>
                </a:lnTo>
                <a:lnTo>
                  <a:pt x="1419" y="749"/>
                </a:lnTo>
                <a:lnTo>
                  <a:pt x="1419" y="747"/>
                </a:lnTo>
                <a:lnTo>
                  <a:pt x="1419" y="745"/>
                </a:lnTo>
                <a:lnTo>
                  <a:pt x="1417" y="745"/>
                </a:lnTo>
                <a:lnTo>
                  <a:pt x="1417" y="743"/>
                </a:lnTo>
                <a:lnTo>
                  <a:pt x="1417" y="741"/>
                </a:lnTo>
                <a:lnTo>
                  <a:pt x="1417" y="739"/>
                </a:lnTo>
                <a:lnTo>
                  <a:pt x="1415" y="737"/>
                </a:lnTo>
                <a:lnTo>
                  <a:pt x="1413" y="737"/>
                </a:lnTo>
                <a:lnTo>
                  <a:pt x="1411" y="735"/>
                </a:lnTo>
                <a:lnTo>
                  <a:pt x="1410" y="735"/>
                </a:lnTo>
                <a:lnTo>
                  <a:pt x="1410" y="733"/>
                </a:lnTo>
                <a:lnTo>
                  <a:pt x="1408" y="733"/>
                </a:lnTo>
                <a:lnTo>
                  <a:pt x="1406" y="735"/>
                </a:lnTo>
                <a:lnTo>
                  <a:pt x="1408" y="735"/>
                </a:lnTo>
                <a:lnTo>
                  <a:pt x="1406" y="735"/>
                </a:lnTo>
                <a:lnTo>
                  <a:pt x="1406" y="737"/>
                </a:lnTo>
                <a:lnTo>
                  <a:pt x="1404" y="737"/>
                </a:lnTo>
                <a:lnTo>
                  <a:pt x="1404" y="739"/>
                </a:lnTo>
                <a:lnTo>
                  <a:pt x="1404" y="737"/>
                </a:lnTo>
                <a:lnTo>
                  <a:pt x="1404" y="739"/>
                </a:lnTo>
                <a:lnTo>
                  <a:pt x="1404" y="737"/>
                </a:lnTo>
                <a:lnTo>
                  <a:pt x="1402" y="737"/>
                </a:lnTo>
                <a:lnTo>
                  <a:pt x="1404" y="737"/>
                </a:lnTo>
                <a:lnTo>
                  <a:pt x="1404" y="735"/>
                </a:lnTo>
                <a:lnTo>
                  <a:pt x="1406" y="735"/>
                </a:lnTo>
                <a:lnTo>
                  <a:pt x="1406" y="733"/>
                </a:lnTo>
                <a:lnTo>
                  <a:pt x="1408" y="733"/>
                </a:lnTo>
                <a:lnTo>
                  <a:pt x="1410" y="733"/>
                </a:lnTo>
                <a:lnTo>
                  <a:pt x="1410" y="731"/>
                </a:lnTo>
                <a:lnTo>
                  <a:pt x="1411" y="731"/>
                </a:lnTo>
                <a:lnTo>
                  <a:pt x="1413" y="731"/>
                </a:lnTo>
                <a:lnTo>
                  <a:pt x="1415" y="731"/>
                </a:lnTo>
                <a:lnTo>
                  <a:pt x="1417" y="730"/>
                </a:lnTo>
                <a:lnTo>
                  <a:pt x="1419" y="730"/>
                </a:lnTo>
                <a:lnTo>
                  <a:pt x="1421" y="730"/>
                </a:lnTo>
                <a:lnTo>
                  <a:pt x="1421" y="728"/>
                </a:lnTo>
                <a:lnTo>
                  <a:pt x="1421" y="726"/>
                </a:lnTo>
                <a:lnTo>
                  <a:pt x="1423" y="724"/>
                </a:lnTo>
                <a:lnTo>
                  <a:pt x="1423" y="722"/>
                </a:lnTo>
                <a:lnTo>
                  <a:pt x="1425" y="722"/>
                </a:lnTo>
                <a:lnTo>
                  <a:pt x="1425" y="720"/>
                </a:lnTo>
                <a:lnTo>
                  <a:pt x="1425" y="718"/>
                </a:lnTo>
                <a:lnTo>
                  <a:pt x="1427" y="716"/>
                </a:lnTo>
                <a:lnTo>
                  <a:pt x="1429" y="716"/>
                </a:lnTo>
                <a:lnTo>
                  <a:pt x="1429" y="714"/>
                </a:lnTo>
                <a:lnTo>
                  <a:pt x="1429" y="712"/>
                </a:lnTo>
                <a:lnTo>
                  <a:pt x="1431" y="712"/>
                </a:lnTo>
                <a:lnTo>
                  <a:pt x="1431" y="710"/>
                </a:lnTo>
                <a:lnTo>
                  <a:pt x="1431" y="708"/>
                </a:lnTo>
                <a:lnTo>
                  <a:pt x="1433" y="708"/>
                </a:lnTo>
                <a:lnTo>
                  <a:pt x="1433" y="706"/>
                </a:lnTo>
                <a:lnTo>
                  <a:pt x="1433" y="708"/>
                </a:lnTo>
                <a:lnTo>
                  <a:pt x="1433" y="706"/>
                </a:lnTo>
                <a:lnTo>
                  <a:pt x="1431" y="706"/>
                </a:lnTo>
                <a:lnTo>
                  <a:pt x="1431" y="705"/>
                </a:lnTo>
                <a:lnTo>
                  <a:pt x="1431" y="706"/>
                </a:lnTo>
                <a:lnTo>
                  <a:pt x="1429" y="706"/>
                </a:lnTo>
                <a:lnTo>
                  <a:pt x="1429" y="705"/>
                </a:lnTo>
                <a:lnTo>
                  <a:pt x="1429" y="703"/>
                </a:lnTo>
                <a:lnTo>
                  <a:pt x="1429" y="701"/>
                </a:lnTo>
                <a:lnTo>
                  <a:pt x="1431" y="701"/>
                </a:lnTo>
                <a:lnTo>
                  <a:pt x="1431" y="699"/>
                </a:lnTo>
                <a:lnTo>
                  <a:pt x="1433" y="699"/>
                </a:lnTo>
                <a:lnTo>
                  <a:pt x="1433" y="697"/>
                </a:lnTo>
                <a:lnTo>
                  <a:pt x="1435" y="697"/>
                </a:lnTo>
                <a:lnTo>
                  <a:pt x="1435" y="695"/>
                </a:lnTo>
                <a:lnTo>
                  <a:pt x="1435" y="693"/>
                </a:lnTo>
                <a:lnTo>
                  <a:pt x="1436" y="693"/>
                </a:lnTo>
                <a:lnTo>
                  <a:pt x="1438" y="693"/>
                </a:lnTo>
                <a:lnTo>
                  <a:pt x="1440" y="693"/>
                </a:lnTo>
                <a:lnTo>
                  <a:pt x="1440" y="695"/>
                </a:lnTo>
                <a:lnTo>
                  <a:pt x="1440" y="693"/>
                </a:lnTo>
                <a:lnTo>
                  <a:pt x="1438" y="693"/>
                </a:lnTo>
                <a:lnTo>
                  <a:pt x="1440" y="693"/>
                </a:lnTo>
                <a:lnTo>
                  <a:pt x="1438" y="693"/>
                </a:lnTo>
                <a:lnTo>
                  <a:pt x="1438" y="695"/>
                </a:lnTo>
                <a:lnTo>
                  <a:pt x="1438" y="693"/>
                </a:lnTo>
                <a:lnTo>
                  <a:pt x="1436" y="693"/>
                </a:lnTo>
                <a:lnTo>
                  <a:pt x="1436" y="695"/>
                </a:lnTo>
                <a:lnTo>
                  <a:pt x="1438" y="695"/>
                </a:lnTo>
                <a:lnTo>
                  <a:pt x="1438" y="693"/>
                </a:lnTo>
                <a:lnTo>
                  <a:pt x="1438" y="695"/>
                </a:lnTo>
                <a:lnTo>
                  <a:pt x="1438" y="693"/>
                </a:lnTo>
                <a:lnTo>
                  <a:pt x="1438" y="695"/>
                </a:lnTo>
                <a:lnTo>
                  <a:pt x="1438" y="693"/>
                </a:lnTo>
                <a:lnTo>
                  <a:pt x="1438" y="695"/>
                </a:lnTo>
                <a:lnTo>
                  <a:pt x="1438" y="693"/>
                </a:lnTo>
                <a:lnTo>
                  <a:pt x="1438" y="695"/>
                </a:lnTo>
                <a:lnTo>
                  <a:pt x="1438" y="693"/>
                </a:lnTo>
                <a:lnTo>
                  <a:pt x="1438" y="695"/>
                </a:lnTo>
                <a:lnTo>
                  <a:pt x="1440" y="695"/>
                </a:lnTo>
                <a:lnTo>
                  <a:pt x="1442" y="695"/>
                </a:lnTo>
                <a:lnTo>
                  <a:pt x="1444" y="695"/>
                </a:lnTo>
                <a:lnTo>
                  <a:pt x="1444" y="697"/>
                </a:lnTo>
                <a:lnTo>
                  <a:pt x="1442" y="697"/>
                </a:lnTo>
                <a:lnTo>
                  <a:pt x="1444" y="697"/>
                </a:lnTo>
                <a:lnTo>
                  <a:pt x="1444" y="699"/>
                </a:lnTo>
                <a:lnTo>
                  <a:pt x="1446" y="699"/>
                </a:lnTo>
                <a:lnTo>
                  <a:pt x="1446" y="701"/>
                </a:lnTo>
                <a:lnTo>
                  <a:pt x="1444" y="701"/>
                </a:lnTo>
                <a:lnTo>
                  <a:pt x="1444" y="703"/>
                </a:lnTo>
                <a:lnTo>
                  <a:pt x="1442" y="705"/>
                </a:lnTo>
                <a:lnTo>
                  <a:pt x="1440" y="706"/>
                </a:lnTo>
                <a:lnTo>
                  <a:pt x="1440" y="708"/>
                </a:lnTo>
                <a:lnTo>
                  <a:pt x="1438" y="710"/>
                </a:lnTo>
                <a:lnTo>
                  <a:pt x="1438" y="712"/>
                </a:lnTo>
                <a:lnTo>
                  <a:pt x="1438" y="714"/>
                </a:lnTo>
                <a:lnTo>
                  <a:pt x="1436" y="714"/>
                </a:lnTo>
                <a:lnTo>
                  <a:pt x="1435" y="714"/>
                </a:lnTo>
                <a:lnTo>
                  <a:pt x="1435" y="716"/>
                </a:lnTo>
                <a:lnTo>
                  <a:pt x="1435" y="714"/>
                </a:lnTo>
                <a:lnTo>
                  <a:pt x="1433" y="714"/>
                </a:lnTo>
                <a:lnTo>
                  <a:pt x="1431" y="716"/>
                </a:lnTo>
                <a:lnTo>
                  <a:pt x="1429" y="716"/>
                </a:lnTo>
                <a:lnTo>
                  <a:pt x="1429" y="718"/>
                </a:lnTo>
                <a:lnTo>
                  <a:pt x="1427" y="718"/>
                </a:lnTo>
                <a:lnTo>
                  <a:pt x="1427" y="720"/>
                </a:lnTo>
                <a:lnTo>
                  <a:pt x="1427" y="722"/>
                </a:lnTo>
                <a:lnTo>
                  <a:pt x="1425" y="722"/>
                </a:lnTo>
                <a:lnTo>
                  <a:pt x="1425" y="724"/>
                </a:lnTo>
                <a:lnTo>
                  <a:pt x="1423" y="726"/>
                </a:lnTo>
                <a:lnTo>
                  <a:pt x="1423" y="728"/>
                </a:lnTo>
                <a:lnTo>
                  <a:pt x="1423" y="730"/>
                </a:lnTo>
                <a:lnTo>
                  <a:pt x="1421" y="731"/>
                </a:lnTo>
                <a:lnTo>
                  <a:pt x="1421" y="733"/>
                </a:lnTo>
                <a:lnTo>
                  <a:pt x="1421" y="735"/>
                </a:lnTo>
                <a:lnTo>
                  <a:pt x="1421" y="737"/>
                </a:lnTo>
                <a:lnTo>
                  <a:pt x="1421" y="739"/>
                </a:lnTo>
                <a:lnTo>
                  <a:pt x="1421" y="741"/>
                </a:lnTo>
                <a:lnTo>
                  <a:pt x="1423" y="741"/>
                </a:lnTo>
                <a:lnTo>
                  <a:pt x="1423" y="743"/>
                </a:lnTo>
                <a:lnTo>
                  <a:pt x="1425" y="743"/>
                </a:lnTo>
                <a:lnTo>
                  <a:pt x="1425" y="745"/>
                </a:lnTo>
                <a:lnTo>
                  <a:pt x="1427" y="745"/>
                </a:lnTo>
                <a:lnTo>
                  <a:pt x="1429" y="745"/>
                </a:lnTo>
                <a:lnTo>
                  <a:pt x="1431" y="745"/>
                </a:lnTo>
                <a:lnTo>
                  <a:pt x="1431" y="747"/>
                </a:lnTo>
                <a:lnTo>
                  <a:pt x="1433" y="747"/>
                </a:lnTo>
                <a:lnTo>
                  <a:pt x="1433" y="749"/>
                </a:lnTo>
                <a:lnTo>
                  <a:pt x="1431" y="749"/>
                </a:lnTo>
                <a:lnTo>
                  <a:pt x="1431" y="751"/>
                </a:lnTo>
                <a:lnTo>
                  <a:pt x="1431" y="753"/>
                </a:lnTo>
                <a:lnTo>
                  <a:pt x="1431" y="754"/>
                </a:lnTo>
                <a:lnTo>
                  <a:pt x="1429" y="756"/>
                </a:lnTo>
                <a:lnTo>
                  <a:pt x="1429" y="758"/>
                </a:lnTo>
                <a:lnTo>
                  <a:pt x="1429" y="760"/>
                </a:lnTo>
                <a:lnTo>
                  <a:pt x="1429" y="762"/>
                </a:lnTo>
                <a:lnTo>
                  <a:pt x="1427" y="764"/>
                </a:lnTo>
                <a:lnTo>
                  <a:pt x="1427" y="766"/>
                </a:lnTo>
                <a:lnTo>
                  <a:pt x="1429" y="768"/>
                </a:lnTo>
                <a:lnTo>
                  <a:pt x="1429" y="770"/>
                </a:lnTo>
                <a:lnTo>
                  <a:pt x="1429" y="772"/>
                </a:lnTo>
                <a:lnTo>
                  <a:pt x="1431" y="772"/>
                </a:lnTo>
                <a:lnTo>
                  <a:pt x="1431" y="774"/>
                </a:lnTo>
                <a:lnTo>
                  <a:pt x="1433" y="774"/>
                </a:lnTo>
                <a:lnTo>
                  <a:pt x="1433" y="776"/>
                </a:lnTo>
                <a:lnTo>
                  <a:pt x="1435" y="776"/>
                </a:lnTo>
                <a:lnTo>
                  <a:pt x="1435" y="778"/>
                </a:lnTo>
                <a:lnTo>
                  <a:pt x="1436" y="778"/>
                </a:lnTo>
                <a:lnTo>
                  <a:pt x="1436" y="779"/>
                </a:lnTo>
                <a:lnTo>
                  <a:pt x="1438" y="779"/>
                </a:lnTo>
                <a:lnTo>
                  <a:pt x="1440" y="779"/>
                </a:lnTo>
                <a:lnTo>
                  <a:pt x="1440" y="778"/>
                </a:lnTo>
                <a:lnTo>
                  <a:pt x="1442" y="778"/>
                </a:lnTo>
                <a:lnTo>
                  <a:pt x="1442" y="779"/>
                </a:lnTo>
                <a:lnTo>
                  <a:pt x="1442" y="778"/>
                </a:lnTo>
                <a:lnTo>
                  <a:pt x="1444" y="778"/>
                </a:lnTo>
                <a:lnTo>
                  <a:pt x="1442" y="779"/>
                </a:lnTo>
                <a:lnTo>
                  <a:pt x="1444" y="779"/>
                </a:lnTo>
                <a:lnTo>
                  <a:pt x="1446" y="779"/>
                </a:lnTo>
                <a:lnTo>
                  <a:pt x="1444" y="779"/>
                </a:lnTo>
                <a:lnTo>
                  <a:pt x="1444" y="781"/>
                </a:lnTo>
                <a:lnTo>
                  <a:pt x="1444" y="779"/>
                </a:lnTo>
                <a:lnTo>
                  <a:pt x="1442" y="779"/>
                </a:lnTo>
                <a:lnTo>
                  <a:pt x="1442" y="781"/>
                </a:lnTo>
                <a:lnTo>
                  <a:pt x="1442" y="783"/>
                </a:lnTo>
                <a:lnTo>
                  <a:pt x="1442" y="785"/>
                </a:lnTo>
                <a:lnTo>
                  <a:pt x="1444" y="785"/>
                </a:lnTo>
                <a:lnTo>
                  <a:pt x="1444" y="783"/>
                </a:lnTo>
                <a:lnTo>
                  <a:pt x="1444" y="785"/>
                </a:lnTo>
                <a:lnTo>
                  <a:pt x="1444" y="787"/>
                </a:lnTo>
                <a:lnTo>
                  <a:pt x="1442" y="789"/>
                </a:lnTo>
                <a:lnTo>
                  <a:pt x="1444" y="789"/>
                </a:lnTo>
                <a:lnTo>
                  <a:pt x="1444" y="791"/>
                </a:lnTo>
                <a:lnTo>
                  <a:pt x="1446" y="789"/>
                </a:lnTo>
                <a:lnTo>
                  <a:pt x="1446" y="791"/>
                </a:lnTo>
                <a:lnTo>
                  <a:pt x="1446" y="793"/>
                </a:lnTo>
                <a:lnTo>
                  <a:pt x="1444" y="793"/>
                </a:lnTo>
                <a:lnTo>
                  <a:pt x="1446" y="793"/>
                </a:lnTo>
                <a:lnTo>
                  <a:pt x="1446" y="795"/>
                </a:lnTo>
                <a:lnTo>
                  <a:pt x="1448" y="795"/>
                </a:lnTo>
                <a:lnTo>
                  <a:pt x="1450" y="795"/>
                </a:lnTo>
                <a:lnTo>
                  <a:pt x="1452" y="795"/>
                </a:lnTo>
                <a:lnTo>
                  <a:pt x="1452" y="793"/>
                </a:lnTo>
                <a:lnTo>
                  <a:pt x="1454" y="791"/>
                </a:lnTo>
                <a:lnTo>
                  <a:pt x="1454" y="789"/>
                </a:lnTo>
                <a:lnTo>
                  <a:pt x="1454" y="787"/>
                </a:lnTo>
                <a:lnTo>
                  <a:pt x="1454" y="785"/>
                </a:lnTo>
                <a:lnTo>
                  <a:pt x="1454" y="783"/>
                </a:lnTo>
                <a:lnTo>
                  <a:pt x="1452" y="783"/>
                </a:lnTo>
                <a:lnTo>
                  <a:pt x="1450" y="783"/>
                </a:lnTo>
                <a:lnTo>
                  <a:pt x="1448" y="783"/>
                </a:lnTo>
                <a:lnTo>
                  <a:pt x="1448" y="781"/>
                </a:lnTo>
                <a:lnTo>
                  <a:pt x="1448" y="779"/>
                </a:lnTo>
                <a:lnTo>
                  <a:pt x="1448" y="781"/>
                </a:lnTo>
                <a:lnTo>
                  <a:pt x="1448" y="779"/>
                </a:lnTo>
                <a:lnTo>
                  <a:pt x="1448" y="781"/>
                </a:lnTo>
                <a:lnTo>
                  <a:pt x="1448" y="779"/>
                </a:lnTo>
                <a:lnTo>
                  <a:pt x="1450" y="779"/>
                </a:lnTo>
                <a:lnTo>
                  <a:pt x="1448" y="779"/>
                </a:lnTo>
                <a:lnTo>
                  <a:pt x="1450" y="779"/>
                </a:lnTo>
                <a:lnTo>
                  <a:pt x="1448" y="779"/>
                </a:lnTo>
                <a:lnTo>
                  <a:pt x="1450" y="779"/>
                </a:lnTo>
                <a:lnTo>
                  <a:pt x="1450" y="778"/>
                </a:lnTo>
                <a:lnTo>
                  <a:pt x="1448" y="778"/>
                </a:lnTo>
                <a:lnTo>
                  <a:pt x="1446" y="778"/>
                </a:lnTo>
                <a:lnTo>
                  <a:pt x="1446" y="779"/>
                </a:lnTo>
                <a:lnTo>
                  <a:pt x="1446" y="781"/>
                </a:lnTo>
                <a:lnTo>
                  <a:pt x="1448" y="781"/>
                </a:lnTo>
                <a:lnTo>
                  <a:pt x="1448" y="783"/>
                </a:lnTo>
                <a:lnTo>
                  <a:pt x="1446" y="783"/>
                </a:lnTo>
                <a:lnTo>
                  <a:pt x="1446" y="785"/>
                </a:lnTo>
                <a:lnTo>
                  <a:pt x="1444" y="785"/>
                </a:lnTo>
                <a:lnTo>
                  <a:pt x="1444" y="783"/>
                </a:lnTo>
                <a:lnTo>
                  <a:pt x="1446" y="783"/>
                </a:lnTo>
                <a:lnTo>
                  <a:pt x="1446" y="781"/>
                </a:lnTo>
                <a:lnTo>
                  <a:pt x="1444" y="781"/>
                </a:lnTo>
                <a:lnTo>
                  <a:pt x="1446" y="779"/>
                </a:lnTo>
                <a:lnTo>
                  <a:pt x="1444" y="779"/>
                </a:lnTo>
                <a:lnTo>
                  <a:pt x="1444" y="778"/>
                </a:lnTo>
                <a:lnTo>
                  <a:pt x="1446" y="778"/>
                </a:lnTo>
                <a:lnTo>
                  <a:pt x="1446" y="776"/>
                </a:lnTo>
                <a:lnTo>
                  <a:pt x="1448" y="776"/>
                </a:lnTo>
                <a:lnTo>
                  <a:pt x="1448" y="774"/>
                </a:lnTo>
                <a:lnTo>
                  <a:pt x="1450" y="772"/>
                </a:lnTo>
                <a:lnTo>
                  <a:pt x="1450" y="770"/>
                </a:lnTo>
                <a:lnTo>
                  <a:pt x="1452" y="770"/>
                </a:lnTo>
                <a:lnTo>
                  <a:pt x="1452" y="772"/>
                </a:lnTo>
                <a:lnTo>
                  <a:pt x="1450" y="772"/>
                </a:lnTo>
                <a:lnTo>
                  <a:pt x="1452" y="772"/>
                </a:lnTo>
                <a:lnTo>
                  <a:pt x="1450" y="772"/>
                </a:lnTo>
                <a:lnTo>
                  <a:pt x="1452" y="772"/>
                </a:lnTo>
                <a:lnTo>
                  <a:pt x="1452" y="774"/>
                </a:lnTo>
                <a:lnTo>
                  <a:pt x="1452" y="772"/>
                </a:lnTo>
                <a:lnTo>
                  <a:pt x="1452" y="770"/>
                </a:lnTo>
                <a:lnTo>
                  <a:pt x="1452" y="772"/>
                </a:lnTo>
                <a:lnTo>
                  <a:pt x="1452" y="770"/>
                </a:lnTo>
                <a:lnTo>
                  <a:pt x="1454" y="770"/>
                </a:lnTo>
                <a:lnTo>
                  <a:pt x="1452" y="770"/>
                </a:lnTo>
                <a:lnTo>
                  <a:pt x="1452" y="768"/>
                </a:lnTo>
                <a:lnTo>
                  <a:pt x="1454" y="768"/>
                </a:lnTo>
                <a:lnTo>
                  <a:pt x="1454" y="770"/>
                </a:lnTo>
                <a:lnTo>
                  <a:pt x="1452" y="770"/>
                </a:lnTo>
                <a:lnTo>
                  <a:pt x="1454" y="770"/>
                </a:lnTo>
                <a:lnTo>
                  <a:pt x="1454" y="768"/>
                </a:lnTo>
                <a:lnTo>
                  <a:pt x="1454" y="770"/>
                </a:lnTo>
                <a:lnTo>
                  <a:pt x="1456" y="770"/>
                </a:lnTo>
                <a:lnTo>
                  <a:pt x="1454" y="770"/>
                </a:lnTo>
                <a:lnTo>
                  <a:pt x="1456" y="770"/>
                </a:lnTo>
                <a:lnTo>
                  <a:pt x="1454" y="770"/>
                </a:lnTo>
                <a:lnTo>
                  <a:pt x="1454" y="768"/>
                </a:lnTo>
                <a:lnTo>
                  <a:pt x="1452" y="768"/>
                </a:lnTo>
                <a:lnTo>
                  <a:pt x="1452" y="766"/>
                </a:lnTo>
                <a:lnTo>
                  <a:pt x="1450" y="766"/>
                </a:lnTo>
                <a:lnTo>
                  <a:pt x="1450" y="764"/>
                </a:lnTo>
                <a:lnTo>
                  <a:pt x="1448" y="764"/>
                </a:lnTo>
                <a:lnTo>
                  <a:pt x="1446" y="764"/>
                </a:lnTo>
                <a:lnTo>
                  <a:pt x="1448" y="764"/>
                </a:lnTo>
                <a:lnTo>
                  <a:pt x="1448" y="762"/>
                </a:lnTo>
                <a:lnTo>
                  <a:pt x="1448" y="764"/>
                </a:lnTo>
                <a:lnTo>
                  <a:pt x="1446" y="764"/>
                </a:lnTo>
                <a:lnTo>
                  <a:pt x="1448" y="764"/>
                </a:lnTo>
                <a:lnTo>
                  <a:pt x="1446" y="764"/>
                </a:lnTo>
                <a:lnTo>
                  <a:pt x="1446" y="762"/>
                </a:lnTo>
                <a:lnTo>
                  <a:pt x="1446" y="764"/>
                </a:lnTo>
                <a:lnTo>
                  <a:pt x="1446" y="762"/>
                </a:lnTo>
                <a:lnTo>
                  <a:pt x="1444" y="760"/>
                </a:lnTo>
                <a:lnTo>
                  <a:pt x="1446" y="758"/>
                </a:lnTo>
                <a:lnTo>
                  <a:pt x="1446" y="756"/>
                </a:lnTo>
                <a:lnTo>
                  <a:pt x="1446" y="754"/>
                </a:lnTo>
                <a:lnTo>
                  <a:pt x="1448" y="754"/>
                </a:lnTo>
                <a:lnTo>
                  <a:pt x="1448" y="753"/>
                </a:lnTo>
                <a:lnTo>
                  <a:pt x="1446" y="751"/>
                </a:lnTo>
                <a:lnTo>
                  <a:pt x="1446" y="749"/>
                </a:lnTo>
                <a:lnTo>
                  <a:pt x="1444" y="749"/>
                </a:lnTo>
                <a:lnTo>
                  <a:pt x="1442" y="747"/>
                </a:lnTo>
                <a:lnTo>
                  <a:pt x="1442" y="745"/>
                </a:lnTo>
                <a:lnTo>
                  <a:pt x="1438" y="745"/>
                </a:lnTo>
                <a:lnTo>
                  <a:pt x="1436" y="745"/>
                </a:lnTo>
                <a:lnTo>
                  <a:pt x="1436" y="743"/>
                </a:lnTo>
                <a:lnTo>
                  <a:pt x="1438" y="743"/>
                </a:lnTo>
                <a:lnTo>
                  <a:pt x="1436" y="743"/>
                </a:lnTo>
                <a:lnTo>
                  <a:pt x="1438" y="743"/>
                </a:lnTo>
                <a:lnTo>
                  <a:pt x="1438" y="741"/>
                </a:lnTo>
                <a:lnTo>
                  <a:pt x="1436" y="743"/>
                </a:lnTo>
                <a:lnTo>
                  <a:pt x="1436" y="741"/>
                </a:lnTo>
                <a:lnTo>
                  <a:pt x="1436" y="743"/>
                </a:lnTo>
                <a:lnTo>
                  <a:pt x="1435" y="743"/>
                </a:lnTo>
                <a:lnTo>
                  <a:pt x="1436" y="743"/>
                </a:lnTo>
                <a:lnTo>
                  <a:pt x="1435" y="745"/>
                </a:lnTo>
                <a:lnTo>
                  <a:pt x="1436" y="745"/>
                </a:lnTo>
                <a:lnTo>
                  <a:pt x="1435" y="745"/>
                </a:lnTo>
                <a:lnTo>
                  <a:pt x="1436" y="745"/>
                </a:lnTo>
                <a:lnTo>
                  <a:pt x="1435" y="745"/>
                </a:lnTo>
                <a:lnTo>
                  <a:pt x="1433" y="745"/>
                </a:lnTo>
                <a:lnTo>
                  <a:pt x="1431" y="745"/>
                </a:lnTo>
                <a:lnTo>
                  <a:pt x="1431" y="743"/>
                </a:lnTo>
                <a:lnTo>
                  <a:pt x="1431" y="745"/>
                </a:lnTo>
                <a:lnTo>
                  <a:pt x="1431" y="743"/>
                </a:lnTo>
                <a:lnTo>
                  <a:pt x="1429" y="743"/>
                </a:lnTo>
                <a:lnTo>
                  <a:pt x="1429" y="741"/>
                </a:lnTo>
                <a:lnTo>
                  <a:pt x="1429" y="739"/>
                </a:lnTo>
                <a:lnTo>
                  <a:pt x="1429" y="737"/>
                </a:lnTo>
                <a:lnTo>
                  <a:pt x="1429" y="739"/>
                </a:lnTo>
                <a:lnTo>
                  <a:pt x="1431" y="739"/>
                </a:lnTo>
                <a:lnTo>
                  <a:pt x="1433" y="739"/>
                </a:lnTo>
                <a:lnTo>
                  <a:pt x="1431" y="739"/>
                </a:lnTo>
                <a:lnTo>
                  <a:pt x="1431" y="737"/>
                </a:lnTo>
                <a:lnTo>
                  <a:pt x="1429" y="735"/>
                </a:lnTo>
                <a:lnTo>
                  <a:pt x="1431" y="735"/>
                </a:lnTo>
                <a:lnTo>
                  <a:pt x="1431" y="733"/>
                </a:lnTo>
                <a:lnTo>
                  <a:pt x="1431" y="731"/>
                </a:lnTo>
                <a:lnTo>
                  <a:pt x="1431" y="730"/>
                </a:lnTo>
                <a:lnTo>
                  <a:pt x="1433" y="730"/>
                </a:lnTo>
                <a:lnTo>
                  <a:pt x="1431" y="730"/>
                </a:lnTo>
                <a:lnTo>
                  <a:pt x="1433" y="730"/>
                </a:lnTo>
                <a:lnTo>
                  <a:pt x="1433" y="728"/>
                </a:lnTo>
                <a:lnTo>
                  <a:pt x="1433" y="726"/>
                </a:lnTo>
                <a:lnTo>
                  <a:pt x="1435" y="726"/>
                </a:lnTo>
                <a:lnTo>
                  <a:pt x="1435" y="724"/>
                </a:lnTo>
                <a:lnTo>
                  <a:pt x="1435" y="722"/>
                </a:lnTo>
                <a:lnTo>
                  <a:pt x="1436" y="720"/>
                </a:lnTo>
                <a:lnTo>
                  <a:pt x="1438" y="720"/>
                </a:lnTo>
                <a:lnTo>
                  <a:pt x="1440" y="720"/>
                </a:lnTo>
                <a:lnTo>
                  <a:pt x="1440" y="718"/>
                </a:lnTo>
                <a:lnTo>
                  <a:pt x="1442" y="718"/>
                </a:lnTo>
                <a:lnTo>
                  <a:pt x="1440" y="718"/>
                </a:lnTo>
                <a:lnTo>
                  <a:pt x="1442" y="718"/>
                </a:lnTo>
                <a:lnTo>
                  <a:pt x="1444" y="718"/>
                </a:lnTo>
                <a:lnTo>
                  <a:pt x="1446" y="718"/>
                </a:lnTo>
                <a:lnTo>
                  <a:pt x="1448" y="718"/>
                </a:lnTo>
                <a:lnTo>
                  <a:pt x="1450" y="716"/>
                </a:lnTo>
                <a:lnTo>
                  <a:pt x="1452" y="716"/>
                </a:lnTo>
                <a:lnTo>
                  <a:pt x="1452" y="718"/>
                </a:lnTo>
                <a:lnTo>
                  <a:pt x="1454" y="718"/>
                </a:lnTo>
                <a:lnTo>
                  <a:pt x="1454" y="716"/>
                </a:lnTo>
                <a:lnTo>
                  <a:pt x="1456" y="716"/>
                </a:lnTo>
                <a:lnTo>
                  <a:pt x="1456" y="718"/>
                </a:lnTo>
                <a:lnTo>
                  <a:pt x="1458" y="718"/>
                </a:lnTo>
                <a:lnTo>
                  <a:pt x="1456" y="718"/>
                </a:lnTo>
                <a:lnTo>
                  <a:pt x="1458" y="718"/>
                </a:lnTo>
                <a:lnTo>
                  <a:pt x="1458" y="720"/>
                </a:lnTo>
                <a:lnTo>
                  <a:pt x="1456" y="720"/>
                </a:lnTo>
                <a:lnTo>
                  <a:pt x="1458" y="720"/>
                </a:lnTo>
                <a:lnTo>
                  <a:pt x="1456" y="722"/>
                </a:lnTo>
                <a:lnTo>
                  <a:pt x="1458" y="722"/>
                </a:lnTo>
                <a:lnTo>
                  <a:pt x="1456" y="722"/>
                </a:lnTo>
                <a:lnTo>
                  <a:pt x="1456" y="720"/>
                </a:lnTo>
                <a:lnTo>
                  <a:pt x="1454" y="718"/>
                </a:lnTo>
                <a:lnTo>
                  <a:pt x="1454" y="720"/>
                </a:lnTo>
                <a:lnTo>
                  <a:pt x="1452" y="720"/>
                </a:lnTo>
                <a:lnTo>
                  <a:pt x="1450" y="720"/>
                </a:lnTo>
                <a:lnTo>
                  <a:pt x="1450" y="722"/>
                </a:lnTo>
                <a:lnTo>
                  <a:pt x="1452" y="722"/>
                </a:lnTo>
                <a:lnTo>
                  <a:pt x="1452" y="720"/>
                </a:lnTo>
                <a:lnTo>
                  <a:pt x="1454" y="720"/>
                </a:lnTo>
                <a:lnTo>
                  <a:pt x="1456" y="720"/>
                </a:lnTo>
                <a:lnTo>
                  <a:pt x="1454" y="720"/>
                </a:lnTo>
                <a:lnTo>
                  <a:pt x="1456" y="720"/>
                </a:lnTo>
                <a:lnTo>
                  <a:pt x="1456" y="722"/>
                </a:lnTo>
                <a:lnTo>
                  <a:pt x="1458" y="722"/>
                </a:lnTo>
                <a:lnTo>
                  <a:pt x="1458" y="724"/>
                </a:lnTo>
                <a:lnTo>
                  <a:pt x="1458" y="722"/>
                </a:lnTo>
                <a:lnTo>
                  <a:pt x="1456" y="722"/>
                </a:lnTo>
                <a:lnTo>
                  <a:pt x="1456" y="720"/>
                </a:lnTo>
                <a:lnTo>
                  <a:pt x="1454" y="722"/>
                </a:lnTo>
                <a:lnTo>
                  <a:pt x="1454" y="724"/>
                </a:lnTo>
                <a:lnTo>
                  <a:pt x="1456" y="724"/>
                </a:lnTo>
                <a:lnTo>
                  <a:pt x="1458" y="724"/>
                </a:lnTo>
                <a:lnTo>
                  <a:pt x="1459" y="722"/>
                </a:lnTo>
                <a:lnTo>
                  <a:pt x="1461" y="720"/>
                </a:lnTo>
                <a:lnTo>
                  <a:pt x="1459" y="720"/>
                </a:lnTo>
                <a:lnTo>
                  <a:pt x="1459" y="718"/>
                </a:lnTo>
                <a:lnTo>
                  <a:pt x="1461" y="718"/>
                </a:lnTo>
                <a:lnTo>
                  <a:pt x="1461" y="716"/>
                </a:lnTo>
                <a:lnTo>
                  <a:pt x="1459" y="716"/>
                </a:lnTo>
                <a:lnTo>
                  <a:pt x="1461" y="716"/>
                </a:lnTo>
                <a:lnTo>
                  <a:pt x="1461" y="714"/>
                </a:lnTo>
                <a:lnTo>
                  <a:pt x="1459" y="714"/>
                </a:lnTo>
                <a:lnTo>
                  <a:pt x="1459" y="712"/>
                </a:lnTo>
                <a:lnTo>
                  <a:pt x="1461" y="712"/>
                </a:lnTo>
                <a:lnTo>
                  <a:pt x="1459" y="712"/>
                </a:lnTo>
                <a:lnTo>
                  <a:pt x="1461" y="712"/>
                </a:lnTo>
                <a:lnTo>
                  <a:pt x="1461" y="710"/>
                </a:lnTo>
                <a:lnTo>
                  <a:pt x="1461" y="708"/>
                </a:lnTo>
                <a:lnTo>
                  <a:pt x="1459" y="708"/>
                </a:lnTo>
                <a:lnTo>
                  <a:pt x="1459" y="706"/>
                </a:lnTo>
                <a:lnTo>
                  <a:pt x="1458" y="705"/>
                </a:lnTo>
                <a:lnTo>
                  <a:pt x="1456" y="703"/>
                </a:lnTo>
                <a:lnTo>
                  <a:pt x="1454" y="701"/>
                </a:lnTo>
                <a:lnTo>
                  <a:pt x="1452" y="701"/>
                </a:lnTo>
                <a:lnTo>
                  <a:pt x="1452" y="699"/>
                </a:lnTo>
                <a:lnTo>
                  <a:pt x="1450" y="699"/>
                </a:lnTo>
                <a:lnTo>
                  <a:pt x="1450" y="697"/>
                </a:lnTo>
                <a:lnTo>
                  <a:pt x="1450" y="695"/>
                </a:lnTo>
                <a:lnTo>
                  <a:pt x="1448" y="695"/>
                </a:lnTo>
                <a:lnTo>
                  <a:pt x="1448" y="693"/>
                </a:lnTo>
                <a:lnTo>
                  <a:pt x="1450" y="693"/>
                </a:lnTo>
                <a:lnTo>
                  <a:pt x="1452" y="693"/>
                </a:lnTo>
                <a:lnTo>
                  <a:pt x="1452" y="691"/>
                </a:lnTo>
                <a:lnTo>
                  <a:pt x="1454" y="691"/>
                </a:lnTo>
                <a:lnTo>
                  <a:pt x="1452" y="691"/>
                </a:lnTo>
                <a:lnTo>
                  <a:pt x="1450" y="691"/>
                </a:lnTo>
                <a:lnTo>
                  <a:pt x="1448" y="691"/>
                </a:lnTo>
                <a:lnTo>
                  <a:pt x="1448" y="689"/>
                </a:lnTo>
                <a:lnTo>
                  <a:pt x="1448" y="687"/>
                </a:lnTo>
                <a:lnTo>
                  <a:pt x="1448" y="685"/>
                </a:lnTo>
                <a:lnTo>
                  <a:pt x="1450" y="683"/>
                </a:lnTo>
                <a:lnTo>
                  <a:pt x="1448" y="683"/>
                </a:lnTo>
                <a:lnTo>
                  <a:pt x="1448" y="682"/>
                </a:lnTo>
                <a:lnTo>
                  <a:pt x="1446" y="682"/>
                </a:lnTo>
                <a:lnTo>
                  <a:pt x="1446" y="680"/>
                </a:lnTo>
                <a:lnTo>
                  <a:pt x="1444" y="680"/>
                </a:lnTo>
                <a:lnTo>
                  <a:pt x="1446" y="680"/>
                </a:lnTo>
                <a:lnTo>
                  <a:pt x="1444" y="678"/>
                </a:lnTo>
                <a:lnTo>
                  <a:pt x="1444" y="680"/>
                </a:lnTo>
                <a:lnTo>
                  <a:pt x="1444" y="682"/>
                </a:lnTo>
                <a:lnTo>
                  <a:pt x="1444" y="683"/>
                </a:lnTo>
                <a:lnTo>
                  <a:pt x="1442" y="683"/>
                </a:lnTo>
                <a:lnTo>
                  <a:pt x="1442" y="682"/>
                </a:lnTo>
                <a:lnTo>
                  <a:pt x="1442" y="680"/>
                </a:lnTo>
                <a:lnTo>
                  <a:pt x="1442" y="678"/>
                </a:lnTo>
                <a:lnTo>
                  <a:pt x="1442" y="676"/>
                </a:lnTo>
                <a:lnTo>
                  <a:pt x="1442" y="674"/>
                </a:lnTo>
                <a:lnTo>
                  <a:pt x="1442" y="672"/>
                </a:lnTo>
                <a:lnTo>
                  <a:pt x="1442" y="670"/>
                </a:lnTo>
                <a:lnTo>
                  <a:pt x="1442" y="668"/>
                </a:lnTo>
                <a:lnTo>
                  <a:pt x="1440" y="668"/>
                </a:lnTo>
                <a:lnTo>
                  <a:pt x="1440" y="666"/>
                </a:lnTo>
                <a:lnTo>
                  <a:pt x="1440" y="664"/>
                </a:lnTo>
                <a:lnTo>
                  <a:pt x="1440" y="662"/>
                </a:lnTo>
                <a:lnTo>
                  <a:pt x="1440" y="660"/>
                </a:lnTo>
                <a:lnTo>
                  <a:pt x="1440" y="658"/>
                </a:lnTo>
                <a:lnTo>
                  <a:pt x="1440" y="657"/>
                </a:lnTo>
                <a:lnTo>
                  <a:pt x="1440" y="653"/>
                </a:lnTo>
                <a:lnTo>
                  <a:pt x="1440" y="651"/>
                </a:lnTo>
                <a:lnTo>
                  <a:pt x="1442" y="651"/>
                </a:lnTo>
                <a:lnTo>
                  <a:pt x="1444" y="651"/>
                </a:lnTo>
                <a:lnTo>
                  <a:pt x="1444" y="649"/>
                </a:lnTo>
                <a:lnTo>
                  <a:pt x="1446" y="649"/>
                </a:lnTo>
                <a:lnTo>
                  <a:pt x="1448" y="647"/>
                </a:lnTo>
                <a:lnTo>
                  <a:pt x="1450" y="647"/>
                </a:lnTo>
                <a:lnTo>
                  <a:pt x="1450" y="645"/>
                </a:lnTo>
                <a:lnTo>
                  <a:pt x="1450" y="647"/>
                </a:lnTo>
                <a:lnTo>
                  <a:pt x="1452" y="645"/>
                </a:lnTo>
                <a:lnTo>
                  <a:pt x="1450" y="645"/>
                </a:lnTo>
                <a:lnTo>
                  <a:pt x="1452" y="645"/>
                </a:lnTo>
                <a:lnTo>
                  <a:pt x="1452" y="643"/>
                </a:lnTo>
                <a:lnTo>
                  <a:pt x="1454" y="643"/>
                </a:lnTo>
                <a:lnTo>
                  <a:pt x="1456" y="641"/>
                </a:lnTo>
                <a:lnTo>
                  <a:pt x="1458" y="641"/>
                </a:lnTo>
                <a:lnTo>
                  <a:pt x="1459" y="641"/>
                </a:lnTo>
                <a:lnTo>
                  <a:pt x="1459" y="639"/>
                </a:lnTo>
                <a:lnTo>
                  <a:pt x="1458" y="639"/>
                </a:lnTo>
                <a:lnTo>
                  <a:pt x="1456" y="641"/>
                </a:lnTo>
                <a:lnTo>
                  <a:pt x="1458" y="639"/>
                </a:lnTo>
                <a:lnTo>
                  <a:pt x="1459" y="639"/>
                </a:lnTo>
                <a:lnTo>
                  <a:pt x="1459" y="637"/>
                </a:lnTo>
                <a:lnTo>
                  <a:pt x="1461" y="637"/>
                </a:lnTo>
                <a:lnTo>
                  <a:pt x="1461" y="635"/>
                </a:lnTo>
                <a:lnTo>
                  <a:pt x="1463" y="635"/>
                </a:lnTo>
                <a:lnTo>
                  <a:pt x="1463" y="634"/>
                </a:lnTo>
                <a:lnTo>
                  <a:pt x="1463" y="635"/>
                </a:lnTo>
                <a:lnTo>
                  <a:pt x="1465" y="635"/>
                </a:lnTo>
                <a:lnTo>
                  <a:pt x="1465" y="634"/>
                </a:lnTo>
                <a:lnTo>
                  <a:pt x="1465" y="632"/>
                </a:lnTo>
                <a:lnTo>
                  <a:pt x="1465" y="634"/>
                </a:lnTo>
                <a:lnTo>
                  <a:pt x="1463" y="634"/>
                </a:lnTo>
                <a:lnTo>
                  <a:pt x="1463" y="632"/>
                </a:lnTo>
                <a:lnTo>
                  <a:pt x="1465" y="632"/>
                </a:lnTo>
                <a:lnTo>
                  <a:pt x="1465" y="630"/>
                </a:lnTo>
                <a:lnTo>
                  <a:pt x="1467" y="630"/>
                </a:lnTo>
                <a:lnTo>
                  <a:pt x="1467" y="628"/>
                </a:lnTo>
                <a:lnTo>
                  <a:pt x="1469" y="628"/>
                </a:lnTo>
                <a:lnTo>
                  <a:pt x="1469" y="626"/>
                </a:lnTo>
                <a:lnTo>
                  <a:pt x="1471" y="626"/>
                </a:lnTo>
                <a:lnTo>
                  <a:pt x="1471" y="624"/>
                </a:lnTo>
                <a:lnTo>
                  <a:pt x="1473" y="622"/>
                </a:lnTo>
                <a:lnTo>
                  <a:pt x="1471" y="622"/>
                </a:lnTo>
                <a:lnTo>
                  <a:pt x="1473" y="622"/>
                </a:lnTo>
                <a:lnTo>
                  <a:pt x="1473" y="620"/>
                </a:lnTo>
                <a:lnTo>
                  <a:pt x="1471" y="620"/>
                </a:lnTo>
                <a:lnTo>
                  <a:pt x="1471" y="622"/>
                </a:lnTo>
                <a:lnTo>
                  <a:pt x="1471" y="624"/>
                </a:lnTo>
                <a:lnTo>
                  <a:pt x="1471" y="622"/>
                </a:lnTo>
                <a:lnTo>
                  <a:pt x="1471" y="620"/>
                </a:lnTo>
                <a:lnTo>
                  <a:pt x="1471" y="618"/>
                </a:lnTo>
                <a:lnTo>
                  <a:pt x="1473" y="618"/>
                </a:lnTo>
                <a:lnTo>
                  <a:pt x="1473" y="616"/>
                </a:lnTo>
                <a:lnTo>
                  <a:pt x="1473" y="614"/>
                </a:lnTo>
                <a:lnTo>
                  <a:pt x="1473" y="612"/>
                </a:lnTo>
                <a:lnTo>
                  <a:pt x="1473" y="610"/>
                </a:lnTo>
                <a:lnTo>
                  <a:pt x="1473" y="609"/>
                </a:lnTo>
                <a:lnTo>
                  <a:pt x="1473" y="610"/>
                </a:lnTo>
                <a:lnTo>
                  <a:pt x="1475" y="610"/>
                </a:lnTo>
                <a:lnTo>
                  <a:pt x="1475" y="609"/>
                </a:lnTo>
                <a:lnTo>
                  <a:pt x="1475" y="607"/>
                </a:lnTo>
                <a:lnTo>
                  <a:pt x="1477" y="605"/>
                </a:lnTo>
                <a:lnTo>
                  <a:pt x="1477" y="603"/>
                </a:lnTo>
                <a:lnTo>
                  <a:pt x="1479" y="603"/>
                </a:lnTo>
                <a:lnTo>
                  <a:pt x="1477" y="603"/>
                </a:lnTo>
                <a:lnTo>
                  <a:pt x="1477" y="601"/>
                </a:lnTo>
                <a:lnTo>
                  <a:pt x="1479" y="601"/>
                </a:lnTo>
                <a:lnTo>
                  <a:pt x="1479" y="599"/>
                </a:lnTo>
                <a:lnTo>
                  <a:pt x="1477" y="599"/>
                </a:lnTo>
                <a:lnTo>
                  <a:pt x="1477" y="601"/>
                </a:lnTo>
                <a:lnTo>
                  <a:pt x="1477" y="603"/>
                </a:lnTo>
                <a:lnTo>
                  <a:pt x="1477" y="601"/>
                </a:lnTo>
                <a:lnTo>
                  <a:pt x="1477" y="599"/>
                </a:lnTo>
                <a:lnTo>
                  <a:pt x="1479" y="599"/>
                </a:lnTo>
                <a:lnTo>
                  <a:pt x="1479" y="597"/>
                </a:lnTo>
                <a:lnTo>
                  <a:pt x="1479" y="595"/>
                </a:lnTo>
                <a:lnTo>
                  <a:pt x="1479" y="597"/>
                </a:lnTo>
                <a:lnTo>
                  <a:pt x="1479" y="595"/>
                </a:lnTo>
                <a:lnTo>
                  <a:pt x="1481" y="595"/>
                </a:lnTo>
                <a:lnTo>
                  <a:pt x="1479" y="595"/>
                </a:lnTo>
                <a:lnTo>
                  <a:pt x="1479" y="593"/>
                </a:lnTo>
                <a:lnTo>
                  <a:pt x="1481" y="593"/>
                </a:lnTo>
                <a:lnTo>
                  <a:pt x="1481" y="591"/>
                </a:lnTo>
                <a:lnTo>
                  <a:pt x="1481" y="589"/>
                </a:lnTo>
                <a:lnTo>
                  <a:pt x="1481" y="587"/>
                </a:lnTo>
                <a:lnTo>
                  <a:pt x="1483" y="587"/>
                </a:lnTo>
                <a:lnTo>
                  <a:pt x="1483" y="586"/>
                </a:lnTo>
                <a:lnTo>
                  <a:pt x="1483" y="584"/>
                </a:lnTo>
                <a:lnTo>
                  <a:pt x="1483" y="582"/>
                </a:lnTo>
                <a:lnTo>
                  <a:pt x="1484" y="582"/>
                </a:lnTo>
                <a:lnTo>
                  <a:pt x="1484" y="580"/>
                </a:lnTo>
                <a:lnTo>
                  <a:pt x="1484" y="578"/>
                </a:lnTo>
                <a:lnTo>
                  <a:pt x="1486" y="576"/>
                </a:lnTo>
                <a:lnTo>
                  <a:pt x="1486" y="574"/>
                </a:lnTo>
                <a:lnTo>
                  <a:pt x="1486" y="572"/>
                </a:lnTo>
                <a:lnTo>
                  <a:pt x="1486" y="570"/>
                </a:lnTo>
                <a:lnTo>
                  <a:pt x="1486" y="568"/>
                </a:lnTo>
                <a:lnTo>
                  <a:pt x="1486" y="566"/>
                </a:lnTo>
                <a:lnTo>
                  <a:pt x="1486" y="564"/>
                </a:lnTo>
                <a:lnTo>
                  <a:pt x="1484" y="564"/>
                </a:lnTo>
                <a:lnTo>
                  <a:pt x="1484" y="563"/>
                </a:lnTo>
                <a:lnTo>
                  <a:pt x="1484" y="561"/>
                </a:lnTo>
                <a:lnTo>
                  <a:pt x="1484" y="559"/>
                </a:lnTo>
                <a:lnTo>
                  <a:pt x="1484" y="557"/>
                </a:lnTo>
                <a:lnTo>
                  <a:pt x="1486" y="557"/>
                </a:lnTo>
                <a:lnTo>
                  <a:pt x="1486" y="555"/>
                </a:lnTo>
                <a:lnTo>
                  <a:pt x="1486" y="553"/>
                </a:lnTo>
                <a:lnTo>
                  <a:pt x="1488" y="553"/>
                </a:lnTo>
                <a:lnTo>
                  <a:pt x="1488" y="551"/>
                </a:lnTo>
                <a:lnTo>
                  <a:pt x="1488" y="549"/>
                </a:lnTo>
                <a:lnTo>
                  <a:pt x="1490" y="547"/>
                </a:lnTo>
                <a:lnTo>
                  <a:pt x="1490" y="545"/>
                </a:lnTo>
                <a:lnTo>
                  <a:pt x="1492" y="543"/>
                </a:lnTo>
                <a:lnTo>
                  <a:pt x="1492" y="541"/>
                </a:lnTo>
                <a:lnTo>
                  <a:pt x="1492" y="539"/>
                </a:lnTo>
                <a:lnTo>
                  <a:pt x="1492" y="538"/>
                </a:lnTo>
                <a:lnTo>
                  <a:pt x="1494" y="538"/>
                </a:lnTo>
                <a:lnTo>
                  <a:pt x="1494" y="536"/>
                </a:lnTo>
                <a:lnTo>
                  <a:pt x="1494" y="534"/>
                </a:lnTo>
                <a:lnTo>
                  <a:pt x="1494" y="532"/>
                </a:lnTo>
                <a:lnTo>
                  <a:pt x="1494" y="530"/>
                </a:lnTo>
                <a:lnTo>
                  <a:pt x="1494" y="528"/>
                </a:lnTo>
                <a:lnTo>
                  <a:pt x="1494" y="526"/>
                </a:lnTo>
                <a:lnTo>
                  <a:pt x="1492" y="526"/>
                </a:lnTo>
                <a:lnTo>
                  <a:pt x="1492" y="524"/>
                </a:lnTo>
                <a:lnTo>
                  <a:pt x="1490" y="524"/>
                </a:lnTo>
                <a:lnTo>
                  <a:pt x="1492" y="524"/>
                </a:lnTo>
                <a:lnTo>
                  <a:pt x="1494" y="524"/>
                </a:lnTo>
                <a:lnTo>
                  <a:pt x="1494" y="526"/>
                </a:lnTo>
                <a:lnTo>
                  <a:pt x="1496" y="526"/>
                </a:lnTo>
                <a:lnTo>
                  <a:pt x="1496" y="528"/>
                </a:lnTo>
                <a:lnTo>
                  <a:pt x="1498" y="528"/>
                </a:lnTo>
                <a:lnTo>
                  <a:pt x="1498" y="530"/>
                </a:lnTo>
                <a:lnTo>
                  <a:pt x="1500" y="530"/>
                </a:lnTo>
                <a:lnTo>
                  <a:pt x="1500" y="532"/>
                </a:lnTo>
                <a:lnTo>
                  <a:pt x="1502" y="532"/>
                </a:lnTo>
                <a:lnTo>
                  <a:pt x="1502" y="534"/>
                </a:lnTo>
                <a:lnTo>
                  <a:pt x="1504" y="534"/>
                </a:lnTo>
                <a:lnTo>
                  <a:pt x="1502" y="534"/>
                </a:lnTo>
                <a:lnTo>
                  <a:pt x="1502" y="532"/>
                </a:lnTo>
                <a:lnTo>
                  <a:pt x="1500" y="532"/>
                </a:lnTo>
                <a:lnTo>
                  <a:pt x="1500" y="530"/>
                </a:lnTo>
                <a:lnTo>
                  <a:pt x="1500" y="532"/>
                </a:lnTo>
                <a:lnTo>
                  <a:pt x="1500" y="530"/>
                </a:lnTo>
                <a:lnTo>
                  <a:pt x="1498" y="530"/>
                </a:lnTo>
                <a:lnTo>
                  <a:pt x="1498" y="528"/>
                </a:lnTo>
                <a:lnTo>
                  <a:pt x="1496" y="528"/>
                </a:lnTo>
                <a:lnTo>
                  <a:pt x="1496" y="526"/>
                </a:lnTo>
                <a:lnTo>
                  <a:pt x="1494" y="526"/>
                </a:lnTo>
                <a:lnTo>
                  <a:pt x="1494" y="528"/>
                </a:lnTo>
                <a:lnTo>
                  <a:pt x="1494" y="530"/>
                </a:lnTo>
                <a:lnTo>
                  <a:pt x="1496" y="530"/>
                </a:lnTo>
                <a:lnTo>
                  <a:pt x="1496" y="532"/>
                </a:lnTo>
                <a:lnTo>
                  <a:pt x="1498" y="532"/>
                </a:lnTo>
                <a:lnTo>
                  <a:pt x="1498" y="534"/>
                </a:lnTo>
                <a:lnTo>
                  <a:pt x="1500" y="534"/>
                </a:lnTo>
                <a:lnTo>
                  <a:pt x="1500" y="536"/>
                </a:lnTo>
                <a:lnTo>
                  <a:pt x="1498" y="536"/>
                </a:lnTo>
                <a:lnTo>
                  <a:pt x="1498" y="538"/>
                </a:lnTo>
                <a:lnTo>
                  <a:pt x="1500" y="538"/>
                </a:lnTo>
                <a:lnTo>
                  <a:pt x="1500" y="539"/>
                </a:lnTo>
                <a:lnTo>
                  <a:pt x="1502" y="539"/>
                </a:lnTo>
                <a:lnTo>
                  <a:pt x="1502" y="541"/>
                </a:lnTo>
                <a:lnTo>
                  <a:pt x="1502" y="539"/>
                </a:lnTo>
                <a:lnTo>
                  <a:pt x="1500" y="539"/>
                </a:lnTo>
                <a:lnTo>
                  <a:pt x="1500" y="538"/>
                </a:lnTo>
                <a:lnTo>
                  <a:pt x="1502" y="538"/>
                </a:lnTo>
                <a:lnTo>
                  <a:pt x="1502" y="536"/>
                </a:lnTo>
                <a:lnTo>
                  <a:pt x="1504" y="536"/>
                </a:lnTo>
                <a:lnTo>
                  <a:pt x="1504" y="534"/>
                </a:lnTo>
                <a:lnTo>
                  <a:pt x="1506" y="534"/>
                </a:lnTo>
                <a:lnTo>
                  <a:pt x="1508" y="534"/>
                </a:lnTo>
                <a:lnTo>
                  <a:pt x="1509" y="534"/>
                </a:lnTo>
                <a:lnTo>
                  <a:pt x="1511" y="534"/>
                </a:lnTo>
                <a:lnTo>
                  <a:pt x="1513" y="534"/>
                </a:lnTo>
                <a:lnTo>
                  <a:pt x="1515" y="534"/>
                </a:lnTo>
                <a:lnTo>
                  <a:pt x="1517" y="534"/>
                </a:lnTo>
                <a:lnTo>
                  <a:pt x="1517" y="532"/>
                </a:lnTo>
                <a:lnTo>
                  <a:pt x="1519" y="532"/>
                </a:lnTo>
                <a:lnTo>
                  <a:pt x="1521" y="532"/>
                </a:lnTo>
                <a:lnTo>
                  <a:pt x="1523" y="532"/>
                </a:lnTo>
                <a:lnTo>
                  <a:pt x="1523" y="530"/>
                </a:lnTo>
                <a:lnTo>
                  <a:pt x="1525" y="530"/>
                </a:lnTo>
                <a:lnTo>
                  <a:pt x="1527" y="530"/>
                </a:lnTo>
                <a:lnTo>
                  <a:pt x="1529" y="530"/>
                </a:lnTo>
                <a:lnTo>
                  <a:pt x="1529" y="528"/>
                </a:lnTo>
                <a:lnTo>
                  <a:pt x="1531" y="528"/>
                </a:lnTo>
                <a:lnTo>
                  <a:pt x="1532" y="528"/>
                </a:lnTo>
                <a:lnTo>
                  <a:pt x="1534" y="526"/>
                </a:lnTo>
                <a:lnTo>
                  <a:pt x="1536" y="526"/>
                </a:lnTo>
                <a:lnTo>
                  <a:pt x="1536" y="524"/>
                </a:lnTo>
                <a:lnTo>
                  <a:pt x="1538" y="524"/>
                </a:lnTo>
                <a:lnTo>
                  <a:pt x="1540" y="524"/>
                </a:lnTo>
                <a:lnTo>
                  <a:pt x="1540" y="526"/>
                </a:lnTo>
                <a:lnTo>
                  <a:pt x="1540" y="528"/>
                </a:lnTo>
                <a:lnTo>
                  <a:pt x="1542" y="528"/>
                </a:lnTo>
                <a:lnTo>
                  <a:pt x="1542" y="530"/>
                </a:lnTo>
                <a:lnTo>
                  <a:pt x="1542" y="532"/>
                </a:lnTo>
                <a:lnTo>
                  <a:pt x="1542" y="534"/>
                </a:lnTo>
                <a:lnTo>
                  <a:pt x="1544" y="534"/>
                </a:lnTo>
                <a:lnTo>
                  <a:pt x="1544" y="536"/>
                </a:lnTo>
                <a:lnTo>
                  <a:pt x="1544" y="538"/>
                </a:lnTo>
                <a:lnTo>
                  <a:pt x="1544" y="539"/>
                </a:lnTo>
                <a:lnTo>
                  <a:pt x="1546" y="541"/>
                </a:lnTo>
                <a:lnTo>
                  <a:pt x="1546" y="543"/>
                </a:lnTo>
                <a:lnTo>
                  <a:pt x="1546" y="545"/>
                </a:lnTo>
                <a:lnTo>
                  <a:pt x="1548" y="545"/>
                </a:lnTo>
                <a:lnTo>
                  <a:pt x="1548" y="547"/>
                </a:lnTo>
                <a:lnTo>
                  <a:pt x="1548" y="549"/>
                </a:lnTo>
                <a:lnTo>
                  <a:pt x="1550" y="549"/>
                </a:lnTo>
                <a:lnTo>
                  <a:pt x="1550" y="551"/>
                </a:lnTo>
                <a:lnTo>
                  <a:pt x="1552" y="551"/>
                </a:lnTo>
                <a:lnTo>
                  <a:pt x="1552" y="553"/>
                </a:lnTo>
                <a:lnTo>
                  <a:pt x="1552" y="555"/>
                </a:lnTo>
                <a:lnTo>
                  <a:pt x="1554" y="555"/>
                </a:lnTo>
                <a:lnTo>
                  <a:pt x="1554" y="557"/>
                </a:lnTo>
                <a:lnTo>
                  <a:pt x="1556" y="557"/>
                </a:lnTo>
                <a:lnTo>
                  <a:pt x="1556" y="559"/>
                </a:lnTo>
                <a:lnTo>
                  <a:pt x="1557" y="559"/>
                </a:lnTo>
                <a:lnTo>
                  <a:pt x="1557" y="561"/>
                </a:lnTo>
                <a:lnTo>
                  <a:pt x="1557" y="563"/>
                </a:lnTo>
                <a:lnTo>
                  <a:pt x="1559" y="563"/>
                </a:lnTo>
                <a:lnTo>
                  <a:pt x="1559" y="564"/>
                </a:lnTo>
                <a:lnTo>
                  <a:pt x="1561" y="564"/>
                </a:lnTo>
                <a:lnTo>
                  <a:pt x="1561" y="566"/>
                </a:lnTo>
                <a:lnTo>
                  <a:pt x="1563" y="568"/>
                </a:lnTo>
                <a:lnTo>
                  <a:pt x="1563" y="570"/>
                </a:lnTo>
                <a:lnTo>
                  <a:pt x="1565" y="570"/>
                </a:lnTo>
                <a:lnTo>
                  <a:pt x="1565" y="572"/>
                </a:lnTo>
                <a:lnTo>
                  <a:pt x="1567" y="574"/>
                </a:lnTo>
                <a:lnTo>
                  <a:pt x="1567" y="576"/>
                </a:lnTo>
                <a:lnTo>
                  <a:pt x="1569" y="576"/>
                </a:lnTo>
                <a:lnTo>
                  <a:pt x="1569" y="578"/>
                </a:lnTo>
                <a:lnTo>
                  <a:pt x="1571" y="578"/>
                </a:lnTo>
                <a:lnTo>
                  <a:pt x="1573" y="578"/>
                </a:lnTo>
                <a:lnTo>
                  <a:pt x="1573" y="580"/>
                </a:lnTo>
                <a:lnTo>
                  <a:pt x="1575" y="580"/>
                </a:lnTo>
                <a:lnTo>
                  <a:pt x="1577" y="582"/>
                </a:lnTo>
                <a:lnTo>
                  <a:pt x="1579" y="582"/>
                </a:lnTo>
                <a:lnTo>
                  <a:pt x="1580" y="582"/>
                </a:lnTo>
                <a:lnTo>
                  <a:pt x="1582" y="584"/>
                </a:lnTo>
                <a:lnTo>
                  <a:pt x="1584" y="584"/>
                </a:lnTo>
                <a:lnTo>
                  <a:pt x="1586" y="586"/>
                </a:lnTo>
                <a:lnTo>
                  <a:pt x="1588" y="586"/>
                </a:lnTo>
                <a:lnTo>
                  <a:pt x="1590" y="586"/>
                </a:lnTo>
                <a:lnTo>
                  <a:pt x="1592" y="587"/>
                </a:lnTo>
                <a:lnTo>
                  <a:pt x="1594" y="587"/>
                </a:lnTo>
                <a:lnTo>
                  <a:pt x="1596" y="587"/>
                </a:lnTo>
                <a:lnTo>
                  <a:pt x="1598" y="587"/>
                </a:lnTo>
                <a:lnTo>
                  <a:pt x="1600" y="587"/>
                </a:lnTo>
                <a:lnTo>
                  <a:pt x="1602" y="587"/>
                </a:lnTo>
                <a:lnTo>
                  <a:pt x="1604" y="587"/>
                </a:lnTo>
                <a:lnTo>
                  <a:pt x="1605" y="587"/>
                </a:lnTo>
                <a:lnTo>
                  <a:pt x="1607" y="587"/>
                </a:lnTo>
                <a:lnTo>
                  <a:pt x="1609" y="587"/>
                </a:lnTo>
                <a:lnTo>
                  <a:pt x="1611" y="587"/>
                </a:lnTo>
                <a:lnTo>
                  <a:pt x="1613" y="587"/>
                </a:lnTo>
                <a:lnTo>
                  <a:pt x="1615" y="587"/>
                </a:lnTo>
                <a:lnTo>
                  <a:pt x="1617" y="587"/>
                </a:lnTo>
                <a:lnTo>
                  <a:pt x="1615" y="587"/>
                </a:lnTo>
                <a:lnTo>
                  <a:pt x="1613" y="587"/>
                </a:lnTo>
                <a:lnTo>
                  <a:pt x="1611" y="587"/>
                </a:lnTo>
                <a:lnTo>
                  <a:pt x="1611" y="589"/>
                </a:lnTo>
                <a:lnTo>
                  <a:pt x="1609" y="589"/>
                </a:lnTo>
                <a:lnTo>
                  <a:pt x="1607" y="589"/>
                </a:lnTo>
                <a:lnTo>
                  <a:pt x="1605" y="589"/>
                </a:lnTo>
                <a:lnTo>
                  <a:pt x="1607" y="589"/>
                </a:lnTo>
                <a:lnTo>
                  <a:pt x="1609" y="589"/>
                </a:lnTo>
                <a:lnTo>
                  <a:pt x="1611" y="589"/>
                </a:lnTo>
                <a:lnTo>
                  <a:pt x="1613" y="589"/>
                </a:lnTo>
                <a:lnTo>
                  <a:pt x="1611" y="589"/>
                </a:lnTo>
                <a:lnTo>
                  <a:pt x="1613" y="589"/>
                </a:lnTo>
                <a:lnTo>
                  <a:pt x="1615" y="589"/>
                </a:lnTo>
                <a:lnTo>
                  <a:pt x="1617" y="589"/>
                </a:lnTo>
                <a:lnTo>
                  <a:pt x="1617" y="587"/>
                </a:lnTo>
                <a:lnTo>
                  <a:pt x="1617" y="589"/>
                </a:lnTo>
                <a:lnTo>
                  <a:pt x="1619" y="589"/>
                </a:lnTo>
                <a:lnTo>
                  <a:pt x="1619" y="587"/>
                </a:lnTo>
                <a:lnTo>
                  <a:pt x="1621" y="587"/>
                </a:lnTo>
                <a:lnTo>
                  <a:pt x="1623" y="587"/>
                </a:lnTo>
                <a:lnTo>
                  <a:pt x="1623" y="586"/>
                </a:lnTo>
                <a:lnTo>
                  <a:pt x="1623" y="587"/>
                </a:lnTo>
                <a:lnTo>
                  <a:pt x="1625" y="587"/>
                </a:lnTo>
                <a:lnTo>
                  <a:pt x="1627" y="587"/>
                </a:lnTo>
                <a:lnTo>
                  <a:pt x="1627" y="586"/>
                </a:lnTo>
                <a:lnTo>
                  <a:pt x="1628" y="586"/>
                </a:lnTo>
                <a:lnTo>
                  <a:pt x="1628" y="584"/>
                </a:lnTo>
                <a:lnTo>
                  <a:pt x="1630" y="582"/>
                </a:lnTo>
                <a:lnTo>
                  <a:pt x="1632" y="582"/>
                </a:lnTo>
                <a:lnTo>
                  <a:pt x="1632" y="584"/>
                </a:lnTo>
                <a:lnTo>
                  <a:pt x="1634" y="584"/>
                </a:lnTo>
                <a:lnTo>
                  <a:pt x="1634" y="582"/>
                </a:lnTo>
                <a:lnTo>
                  <a:pt x="1636" y="582"/>
                </a:lnTo>
                <a:lnTo>
                  <a:pt x="1636" y="584"/>
                </a:lnTo>
                <a:lnTo>
                  <a:pt x="1636" y="582"/>
                </a:lnTo>
                <a:lnTo>
                  <a:pt x="1638" y="582"/>
                </a:lnTo>
                <a:lnTo>
                  <a:pt x="1638" y="580"/>
                </a:lnTo>
                <a:lnTo>
                  <a:pt x="1638" y="582"/>
                </a:lnTo>
                <a:lnTo>
                  <a:pt x="1638" y="584"/>
                </a:lnTo>
                <a:lnTo>
                  <a:pt x="1640" y="584"/>
                </a:lnTo>
                <a:lnTo>
                  <a:pt x="1640" y="582"/>
                </a:lnTo>
                <a:lnTo>
                  <a:pt x="1642" y="582"/>
                </a:lnTo>
                <a:lnTo>
                  <a:pt x="1642" y="580"/>
                </a:lnTo>
                <a:lnTo>
                  <a:pt x="1642" y="578"/>
                </a:lnTo>
                <a:lnTo>
                  <a:pt x="1642" y="580"/>
                </a:lnTo>
                <a:lnTo>
                  <a:pt x="1644" y="578"/>
                </a:lnTo>
                <a:lnTo>
                  <a:pt x="1644" y="580"/>
                </a:lnTo>
                <a:lnTo>
                  <a:pt x="1646" y="580"/>
                </a:lnTo>
                <a:lnTo>
                  <a:pt x="1644" y="580"/>
                </a:lnTo>
                <a:lnTo>
                  <a:pt x="1646" y="580"/>
                </a:lnTo>
                <a:lnTo>
                  <a:pt x="1646" y="578"/>
                </a:lnTo>
                <a:lnTo>
                  <a:pt x="1646" y="580"/>
                </a:lnTo>
                <a:lnTo>
                  <a:pt x="1648" y="580"/>
                </a:lnTo>
                <a:lnTo>
                  <a:pt x="1650" y="580"/>
                </a:lnTo>
                <a:lnTo>
                  <a:pt x="1650" y="582"/>
                </a:lnTo>
                <a:lnTo>
                  <a:pt x="1652" y="582"/>
                </a:lnTo>
                <a:lnTo>
                  <a:pt x="1652" y="580"/>
                </a:lnTo>
                <a:lnTo>
                  <a:pt x="1652" y="582"/>
                </a:lnTo>
                <a:lnTo>
                  <a:pt x="1653" y="582"/>
                </a:lnTo>
                <a:lnTo>
                  <a:pt x="1655" y="582"/>
                </a:lnTo>
                <a:lnTo>
                  <a:pt x="1657" y="582"/>
                </a:lnTo>
                <a:lnTo>
                  <a:pt x="1659" y="582"/>
                </a:lnTo>
                <a:lnTo>
                  <a:pt x="1659" y="584"/>
                </a:lnTo>
                <a:lnTo>
                  <a:pt x="1657" y="584"/>
                </a:lnTo>
                <a:lnTo>
                  <a:pt x="1659" y="584"/>
                </a:lnTo>
                <a:lnTo>
                  <a:pt x="1659" y="582"/>
                </a:lnTo>
                <a:lnTo>
                  <a:pt x="1659" y="584"/>
                </a:lnTo>
                <a:lnTo>
                  <a:pt x="1661" y="584"/>
                </a:lnTo>
                <a:lnTo>
                  <a:pt x="1663" y="584"/>
                </a:lnTo>
                <a:lnTo>
                  <a:pt x="1665" y="584"/>
                </a:lnTo>
                <a:lnTo>
                  <a:pt x="1665" y="586"/>
                </a:lnTo>
                <a:lnTo>
                  <a:pt x="1665" y="584"/>
                </a:lnTo>
                <a:lnTo>
                  <a:pt x="1667" y="584"/>
                </a:lnTo>
                <a:lnTo>
                  <a:pt x="1669" y="584"/>
                </a:lnTo>
                <a:lnTo>
                  <a:pt x="1671" y="584"/>
                </a:lnTo>
                <a:lnTo>
                  <a:pt x="1671" y="582"/>
                </a:lnTo>
                <a:lnTo>
                  <a:pt x="1673" y="582"/>
                </a:lnTo>
                <a:lnTo>
                  <a:pt x="1673" y="584"/>
                </a:lnTo>
                <a:lnTo>
                  <a:pt x="1673" y="586"/>
                </a:lnTo>
                <a:lnTo>
                  <a:pt x="1675" y="586"/>
                </a:lnTo>
                <a:lnTo>
                  <a:pt x="1675" y="584"/>
                </a:lnTo>
                <a:lnTo>
                  <a:pt x="1676" y="584"/>
                </a:lnTo>
                <a:lnTo>
                  <a:pt x="1678" y="584"/>
                </a:lnTo>
                <a:lnTo>
                  <a:pt x="1680" y="584"/>
                </a:lnTo>
                <a:lnTo>
                  <a:pt x="1682" y="584"/>
                </a:lnTo>
                <a:lnTo>
                  <a:pt x="1682" y="586"/>
                </a:lnTo>
                <a:lnTo>
                  <a:pt x="1684" y="586"/>
                </a:lnTo>
                <a:lnTo>
                  <a:pt x="1686" y="586"/>
                </a:lnTo>
                <a:lnTo>
                  <a:pt x="1688" y="586"/>
                </a:lnTo>
                <a:lnTo>
                  <a:pt x="1690" y="586"/>
                </a:lnTo>
                <a:lnTo>
                  <a:pt x="1692" y="586"/>
                </a:lnTo>
                <a:lnTo>
                  <a:pt x="1694" y="586"/>
                </a:lnTo>
                <a:lnTo>
                  <a:pt x="1696" y="586"/>
                </a:lnTo>
                <a:lnTo>
                  <a:pt x="1698" y="586"/>
                </a:lnTo>
                <a:lnTo>
                  <a:pt x="1698" y="587"/>
                </a:lnTo>
                <a:lnTo>
                  <a:pt x="1700" y="587"/>
                </a:lnTo>
                <a:lnTo>
                  <a:pt x="1698" y="587"/>
                </a:lnTo>
                <a:lnTo>
                  <a:pt x="1698" y="589"/>
                </a:lnTo>
                <a:lnTo>
                  <a:pt x="1698" y="587"/>
                </a:lnTo>
                <a:lnTo>
                  <a:pt x="1698" y="589"/>
                </a:lnTo>
                <a:lnTo>
                  <a:pt x="1696" y="589"/>
                </a:lnTo>
                <a:lnTo>
                  <a:pt x="1698" y="589"/>
                </a:lnTo>
                <a:lnTo>
                  <a:pt x="1696" y="589"/>
                </a:lnTo>
                <a:lnTo>
                  <a:pt x="1696" y="591"/>
                </a:lnTo>
                <a:lnTo>
                  <a:pt x="1698" y="591"/>
                </a:lnTo>
                <a:lnTo>
                  <a:pt x="1698" y="593"/>
                </a:lnTo>
                <a:lnTo>
                  <a:pt x="1698" y="595"/>
                </a:lnTo>
                <a:lnTo>
                  <a:pt x="1696" y="595"/>
                </a:lnTo>
                <a:lnTo>
                  <a:pt x="1696" y="593"/>
                </a:lnTo>
                <a:lnTo>
                  <a:pt x="1694" y="591"/>
                </a:lnTo>
                <a:lnTo>
                  <a:pt x="1696" y="591"/>
                </a:lnTo>
                <a:lnTo>
                  <a:pt x="1694" y="591"/>
                </a:lnTo>
                <a:lnTo>
                  <a:pt x="1694" y="589"/>
                </a:lnTo>
                <a:lnTo>
                  <a:pt x="1694" y="591"/>
                </a:lnTo>
                <a:lnTo>
                  <a:pt x="1694" y="593"/>
                </a:lnTo>
                <a:lnTo>
                  <a:pt x="1692" y="593"/>
                </a:lnTo>
                <a:lnTo>
                  <a:pt x="1694" y="595"/>
                </a:lnTo>
                <a:lnTo>
                  <a:pt x="1692" y="593"/>
                </a:lnTo>
                <a:lnTo>
                  <a:pt x="1692" y="591"/>
                </a:lnTo>
                <a:lnTo>
                  <a:pt x="1690" y="591"/>
                </a:lnTo>
                <a:lnTo>
                  <a:pt x="1690" y="593"/>
                </a:lnTo>
                <a:lnTo>
                  <a:pt x="1688" y="593"/>
                </a:lnTo>
                <a:lnTo>
                  <a:pt x="1688" y="591"/>
                </a:lnTo>
                <a:lnTo>
                  <a:pt x="1686" y="591"/>
                </a:lnTo>
                <a:lnTo>
                  <a:pt x="1688" y="591"/>
                </a:lnTo>
                <a:lnTo>
                  <a:pt x="1688" y="589"/>
                </a:lnTo>
                <a:lnTo>
                  <a:pt x="1688" y="587"/>
                </a:lnTo>
                <a:lnTo>
                  <a:pt x="1686" y="587"/>
                </a:lnTo>
                <a:lnTo>
                  <a:pt x="1684" y="587"/>
                </a:lnTo>
                <a:lnTo>
                  <a:pt x="1686" y="587"/>
                </a:lnTo>
                <a:lnTo>
                  <a:pt x="1684" y="587"/>
                </a:lnTo>
                <a:lnTo>
                  <a:pt x="1682" y="587"/>
                </a:lnTo>
                <a:lnTo>
                  <a:pt x="1682" y="589"/>
                </a:lnTo>
                <a:lnTo>
                  <a:pt x="1682" y="587"/>
                </a:lnTo>
                <a:lnTo>
                  <a:pt x="1684" y="587"/>
                </a:lnTo>
                <a:lnTo>
                  <a:pt x="1684" y="589"/>
                </a:lnTo>
                <a:lnTo>
                  <a:pt x="1684" y="587"/>
                </a:lnTo>
                <a:lnTo>
                  <a:pt x="1684" y="589"/>
                </a:lnTo>
                <a:lnTo>
                  <a:pt x="1686" y="589"/>
                </a:lnTo>
                <a:lnTo>
                  <a:pt x="1686" y="591"/>
                </a:lnTo>
                <a:lnTo>
                  <a:pt x="1686" y="593"/>
                </a:lnTo>
                <a:lnTo>
                  <a:pt x="1688" y="593"/>
                </a:lnTo>
                <a:lnTo>
                  <a:pt x="1690" y="593"/>
                </a:lnTo>
                <a:lnTo>
                  <a:pt x="1690" y="595"/>
                </a:lnTo>
                <a:lnTo>
                  <a:pt x="1692" y="595"/>
                </a:lnTo>
                <a:lnTo>
                  <a:pt x="1692" y="597"/>
                </a:lnTo>
                <a:lnTo>
                  <a:pt x="1690" y="597"/>
                </a:lnTo>
                <a:lnTo>
                  <a:pt x="1692" y="597"/>
                </a:lnTo>
                <a:lnTo>
                  <a:pt x="1692" y="595"/>
                </a:lnTo>
                <a:lnTo>
                  <a:pt x="1694" y="595"/>
                </a:lnTo>
                <a:lnTo>
                  <a:pt x="1696" y="597"/>
                </a:lnTo>
                <a:lnTo>
                  <a:pt x="1696" y="595"/>
                </a:lnTo>
                <a:lnTo>
                  <a:pt x="1698" y="595"/>
                </a:lnTo>
                <a:lnTo>
                  <a:pt x="1698" y="597"/>
                </a:lnTo>
                <a:lnTo>
                  <a:pt x="1698" y="599"/>
                </a:lnTo>
                <a:lnTo>
                  <a:pt x="1700" y="599"/>
                </a:lnTo>
                <a:lnTo>
                  <a:pt x="1700" y="601"/>
                </a:lnTo>
                <a:lnTo>
                  <a:pt x="1698" y="601"/>
                </a:lnTo>
                <a:lnTo>
                  <a:pt x="1700" y="601"/>
                </a:lnTo>
                <a:lnTo>
                  <a:pt x="1701" y="603"/>
                </a:lnTo>
                <a:lnTo>
                  <a:pt x="1703" y="603"/>
                </a:lnTo>
                <a:lnTo>
                  <a:pt x="1703" y="605"/>
                </a:lnTo>
                <a:lnTo>
                  <a:pt x="1705" y="605"/>
                </a:lnTo>
                <a:lnTo>
                  <a:pt x="1705" y="607"/>
                </a:lnTo>
                <a:lnTo>
                  <a:pt x="1707" y="607"/>
                </a:lnTo>
                <a:lnTo>
                  <a:pt x="1709" y="607"/>
                </a:lnTo>
                <a:lnTo>
                  <a:pt x="1711" y="607"/>
                </a:lnTo>
                <a:lnTo>
                  <a:pt x="1711" y="609"/>
                </a:lnTo>
                <a:lnTo>
                  <a:pt x="1709" y="609"/>
                </a:lnTo>
                <a:lnTo>
                  <a:pt x="1707" y="609"/>
                </a:lnTo>
                <a:lnTo>
                  <a:pt x="1705" y="609"/>
                </a:lnTo>
                <a:lnTo>
                  <a:pt x="1705" y="610"/>
                </a:lnTo>
                <a:lnTo>
                  <a:pt x="1705" y="609"/>
                </a:lnTo>
                <a:lnTo>
                  <a:pt x="1707" y="609"/>
                </a:lnTo>
                <a:lnTo>
                  <a:pt x="1709" y="609"/>
                </a:lnTo>
                <a:lnTo>
                  <a:pt x="1709" y="610"/>
                </a:lnTo>
                <a:lnTo>
                  <a:pt x="1709" y="612"/>
                </a:lnTo>
                <a:lnTo>
                  <a:pt x="1709" y="610"/>
                </a:lnTo>
                <a:lnTo>
                  <a:pt x="1711" y="610"/>
                </a:lnTo>
                <a:lnTo>
                  <a:pt x="1711" y="609"/>
                </a:lnTo>
                <a:lnTo>
                  <a:pt x="1713" y="609"/>
                </a:lnTo>
                <a:lnTo>
                  <a:pt x="1713" y="610"/>
                </a:lnTo>
                <a:lnTo>
                  <a:pt x="1715" y="610"/>
                </a:lnTo>
                <a:lnTo>
                  <a:pt x="1717" y="610"/>
                </a:lnTo>
                <a:lnTo>
                  <a:pt x="1717" y="612"/>
                </a:lnTo>
                <a:lnTo>
                  <a:pt x="1717" y="610"/>
                </a:lnTo>
                <a:lnTo>
                  <a:pt x="1717" y="612"/>
                </a:lnTo>
                <a:lnTo>
                  <a:pt x="1719" y="612"/>
                </a:lnTo>
                <a:lnTo>
                  <a:pt x="1721" y="612"/>
                </a:lnTo>
                <a:lnTo>
                  <a:pt x="1723" y="612"/>
                </a:lnTo>
                <a:lnTo>
                  <a:pt x="1723" y="614"/>
                </a:lnTo>
                <a:lnTo>
                  <a:pt x="1725" y="614"/>
                </a:lnTo>
                <a:lnTo>
                  <a:pt x="1726" y="614"/>
                </a:lnTo>
                <a:lnTo>
                  <a:pt x="1728" y="614"/>
                </a:lnTo>
                <a:lnTo>
                  <a:pt x="1726" y="614"/>
                </a:lnTo>
                <a:lnTo>
                  <a:pt x="1725" y="614"/>
                </a:lnTo>
                <a:lnTo>
                  <a:pt x="1723" y="612"/>
                </a:lnTo>
                <a:lnTo>
                  <a:pt x="1721" y="612"/>
                </a:lnTo>
                <a:lnTo>
                  <a:pt x="1719" y="612"/>
                </a:lnTo>
                <a:lnTo>
                  <a:pt x="1719" y="610"/>
                </a:lnTo>
                <a:lnTo>
                  <a:pt x="1717" y="610"/>
                </a:lnTo>
                <a:lnTo>
                  <a:pt x="1719" y="610"/>
                </a:lnTo>
                <a:lnTo>
                  <a:pt x="1721" y="612"/>
                </a:lnTo>
                <a:lnTo>
                  <a:pt x="1723" y="612"/>
                </a:lnTo>
                <a:lnTo>
                  <a:pt x="1723" y="614"/>
                </a:lnTo>
                <a:lnTo>
                  <a:pt x="1725" y="614"/>
                </a:lnTo>
                <a:lnTo>
                  <a:pt x="1726" y="614"/>
                </a:lnTo>
                <a:lnTo>
                  <a:pt x="1728" y="614"/>
                </a:lnTo>
                <a:lnTo>
                  <a:pt x="1728" y="616"/>
                </a:lnTo>
                <a:lnTo>
                  <a:pt x="1730" y="616"/>
                </a:lnTo>
                <a:lnTo>
                  <a:pt x="1728" y="616"/>
                </a:lnTo>
                <a:lnTo>
                  <a:pt x="1730" y="616"/>
                </a:lnTo>
                <a:lnTo>
                  <a:pt x="1732" y="616"/>
                </a:lnTo>
                <a:lnTo>
                  <a:pt x="1736" y="616"/>
                </a:lnTo>
                <a:lnTo>
                  <a:pt x="1736" y="618"/>
                </a:lnTo>
                <a:lnTo>
                  <a:pt x="1738" y="618"/>
                </a:lnTo>
                <a:lnTo>
                  <a:pt x="1740" y="618"/>
                </a:lnTo>
                <a:lnTo>
                  <a:pt x="1742" y="618"/>
                </a:lnTo>
                <a:lnTo>
                  <a:pt x="1744" y="618"/>
                </a:lnTo>
                <a:lnTo>
                  <a:pt x="1742" y="618"/>
                </a:lnTo>
                <a:lnTo>
                  <a:pt x="1740" y="618"/>
                </a:lnTo>
                <a:lnTo>
                  <a:pt x="1742" y="618"/>
                </a:lnTo>
                <a:lnTo>
                  <a:pt x="1740" y="620"/>
                </a:lnTo>
                <a:lnTo>
                  <a:pt x="1742" y="622"/>
                </a:lnTo>
                <a:lnTo>
                  <a:pt x="1744" y="624"/>
                </a:lnTo>
                <a:lnTo>
                  <a:pt x="1742" y="626"/>
                </a:lnTo>
                <a:lnTo>
                  <a:pt x="1740" y="626"/>
                </a:lnTo>
                <a:lnTo>
                  <a:pt x="1738" y="628"/>
                </a:lnTo>
                <a:lnTo>
                  <a:pt x="1738" y="626"/>
                </a:lnTo>
                <a:lnTo>
                  <a:pt x="1736" y="624"/>
                </a:lnTo>
                <a:lnTo>
                  <a:pt x="1734" y="626"/>
                </a:lnTo>
                <a:lnTo>
                  <a:pt x="1734" y="624"/>
                </a:lnTo>
                <a:lnTo>
                  <a:pt x="1732" y="624"/>
                </a:lnTo>
                <a:lnTo>
                  <a:pt x="1732" y="622"/>
                </a:lnTo>
                <a:lnTo>
                  <a:pt x="1732" y="624"/>
                </a:lnTo>
                <a:lnTo>
                  <a:pt x="1732" y="626"/>
                </a:lnTo>
                <a:lnTo>
                  <a:pt x="1734" y="626"/>
                </a:lnTo>
                <a:lnTo>
                  <a:pt x="1734" y="628"/>
                </a:lnTo>
                <a:lnTo>
                  <a:pt x="1736" y="628"/>
                </a:lnTo>
                <a:lnTo>
                  <a:pt x="1736" y="630"/>
                </a:lnTo>
                <a:lnTo>
                  <a:pt x="1736" y="628"/>
                </a:lnTo>
                <a:lnTo>
                  <a:pt x="1734" y="628"/>
                </a:lnTo>
                <a:lnTo>
                  <a:pt x="1732" y="628"/>
                </a:lnTo>
                <a:lnTo>
                  <a:pt x="1732" y="630"/>
                </a:lnTo>
                <a:lnTo>
                  <a:pt x="1730" y="630"/>
                </a:lnTo>
                <a:lnTo>
                  <a:pt x="1728" y="630"/>
                </a:lnTo>
                <a:lnTo>
                  <a:pt x="1726" y="630"/>
                </a:lnTo>
                <a:lnTo>
                  <a:pt x="1725" y="630"/>
                </a:lnTo>
                <a:lnTo>
                  <a:pt x="1723" y="628"/>
                </a:lnTo>
                <a:lnTo>
                  <a:pt x="1723" y="626"/>
                </a:lnTo>
                <a:lnTo>
                  <a:pt x="1723" y="628"/>
                </a:lnTo>
                <a:lnTo>
                  <a:pt x="1723" y="630"/>
                </a:lnTo>
                <a:lnTo>
                  <a:pt x="1725" y="630"/>
                </a:lnTo>
                <a:lnTo>
                  <a:pt x="1723" y="630"/>
                </a:lnTo>
                <a:lnTo>
                  <a:pt x="1721" y="630"/>
                </a:lnTo>
                <a:lnTo>
                  <a:pt x="1723" y="630"/>
                </a:lnTo>
                <a:lnTo>
                  <a:pt x="1721" y="630"/>
                </a:lnTo>
                <a:lnTo>
                  <a:pt x="1719" y="630"/>
                </a:lnTo>
                <a:lnTo>
                  <a:pt x="1717" y="630"/>
                </a:lnTo>
                <a:lnTo>
                  <a:pt x="1719" y="630"/>
                </a:lnTo>
                <a:lnTo>
                  <a:pt x="1721" y="630"/>
                </a:lnTo>
                <a:lnTo>
                  <a:pt x="1723" y="630"/>
                </a:lnTo>
                <a:lnTo>
                  <a:pt x="1725" y="630"/>
                </a:lnTo>
                <a:lnTo>
                  <a:pt x="1726" y="630"/>
                </a:lnTo>
                <a:lnTo>
                  <a:pt x="1726" y="632"/>
                </a:lnTo>
                <a:lnTo>
                  <a:pt x="1728" y="632"/>
                </a:lnTo>
                <a:lnTo>
                  <a:pt x="1726" y="634"/>
                </a:lnTo>
                <a:lnTo>
                  <a:pt x="1725" y="634"/>
                </a:lnTo>
                <a:lnTo>
                  <a:pt x="1725" y="635"/>
                </a:lnTo>
                <a:lnTo>
                  <a:pt x="1723" y="635"/>
                </a:lnTo>
                <a:lnTo>
                  <a:pt x="1725" y="635"/>
                </a:lnTo>
                <a:lnTo>
                  <a:pt x="1723" y="635"/>
                </a:lnTo>
                <a:lnTo>
                  <a:pt x="1723" y="637"/>
                </a:lnTo>
                <a:lnTo>
                  <a:pt x="1723" y="635"/>
                </a:lnTo>
                <a:lnTo>
                  <a:pt x="1723" y="637"/>
                </a:lnTo>
                <a:lnTo>
                  <a:pt x="1721" y="637"/>
                </a:lnTo>
                <a:lnTo>
                  <a:pt x="1721" y="639"/>
                </a:lnTo>
                <a:lnTo>
                  <a:pt x="1723" y="639"/>
                </a:lnTo>
                <a:lnTo>
                  <a:pt x="1723" y="637"/>
                </a:lnTo>
                <a:lnTo>
                  <a:pt x="1725" y="637"/>
                </a:lnTo>
                <a:lnTo>
                  <a:pt x="1726" y="637"/>
                </a:lnTo>
                <a:lnTo>
                  <a:pt x="1725" y="637"/>
                </a:lnTo>
                <a:lnTo>
                  <a:pt x="1726" y="637"/>
                </a:lnTo>
                <a:lnTo>
                  <a:pt x="1726" y="635"/>
                </a:lnTo>
                <a:lnTo>
                  <a:pt x="1728" y="635"/>
                </a:lnTo>
                <a:lnTo>
                  <a:pt x="1728" y="634"/>
                </a:lnTo>
                <a:lnTo>
                  <a:pt x="1730" y="634"/>
                </a:lnTo>
                <a:lnTo>
                  <a:pt x="1730" y="632"/>
                </a:lnTo>
                <a:lnTo>
                  <a:pt x="1732" y="632"/>
                </a:lnTo>
                <a:lnTo>
                  <a:pt x="1734" y="632"/>
                </a:lnTo>
                <a:lnTo>
                  <a:pt x="1736" y="632"/>
                </a:lnTo>
                <a:lnTo>
                  <a:pt x="1738" y="632"/>
                </a:lnTo>
                <a:lnTo>
                  <a:pt x="1740" y="632"/>
                </a:lnTo>
                <a:lnTo>
                  <a:pt x="1738" y="632"/>
                </a:lnTo>
                <a:lnTo>
                  <a:pt x="1738" y="634"/>
                </a:lnTo>
                <a:lnTo>
                  <a:pt x="1738" y="635"/>
                </a:lnTo>
                <a:lnTo>
                  <a:pt x="1740" y="635"/>
                </a:lnTo>
                <a:lnTo>
                  <a:pt x="1740" y="637"/>
                </a:lnTo>
                <a:lnTo>
                  <a:pt x="1742" y="637"/>
                </a:lnTo>
                <a:lnTo>
                  <a:pt x="1744" y="637"/>
                </a:lnTo>
                <a:lnTo>
                  <a:pt x="1744" y="639"/>
                </a:lnTo>
                <a:lnTo>
                  <a:pt x="1746" y="641"/>
                </a:lnTo>
                <a:lnTo>
                  <a:pt x="1748" y="641"/>
                </a:lnTo>
                <a:lnTo>
                  <a:pt x="1748" y="643"/>
                </a:lnTo>
                <a:lnTo>
                  <a:pt x="1746" y="643"/>
                </a:lnTo>
                <a:lnTo>
                  <a:pt x="1748" y="643"/>
                </a:lnTo>
                <a:lnTo>
                  <a:pt x="1748" y="641"/>
                </a:lnTo>
                <a:lnTo>
                  <a:pt x="1746" y="641"/>
                </a:lnTo>
                <a:lnTo>
                  <a:pt x="1746" y="639"/>
                </a:lnTo>
                <a:lnTo>
                  <a:pt x="1746" y="637"/>
                </a:lnTo>
                <a:lnTo>
                  <a:pt x="1744" y="637"/>
                </a:lnTo>
                <a:lnTo>
                  <a:pt x="1746" y="637"/>
                </a:lnTo>
                <a:lnTo>
                  <a:pt x="1744" y="637"/>
                </a:lnTo>
                <a:lnTo>
                  <a:pt x="1744" y="635"/>
                </a:lnTo>
                <a:lnTo>
                  <a:pt x="1746" y="635"/>
                </a:lnTo>
                <a:lnTo>
                  <a:pt x="1744" y="635"/>
                </a:lnTo>
                <a:lnTo>
                  <a:pt x="1744" y="637"/>
                </a:lnTo>
                <a:lnTo>
                  <a:pt x="1742" y="635"/>
                </a:lnTo>
                <a:lnTo>
                  <a:pt x="1744" y="635"/>
                </a:lnTo>
                <a:lnTo>
                  <a:pt x="1742" y="635"/>
                </a:lnTo>
                <a:lnTo>
                  <a:pt x="1740" y="635"/>
                </a:lnTo>
                <a:lnTo>
                  <a:pt x="1740" y="634"/>
                </a:lnTo>
                <a:lnTo>
                  <a:pt x="1740" y="632"/>
                </a:lnTo>
                <a:lnTo>
                  <a:pt x="1740" y="630"/>
                </a:lnTo>
                <a:lnTo>
                  <a:pt x="1742" y="630"/>
                </a:lnTo>
                <a:lnTo>
                  <a:pt x="1742" y="628"/>
                </a:lnTo>
                <a:lnTo>
                  <a:pt x="1744" y="628"/>
                </a:lnTo>
                <a:lnTo>
                  <a:pt x="1744" y="626"/>
                </a:lnTo>
                <a:lnTo>
                  <a:pt x="1746" y="626"/>
                </a:lnTo>
                <a:lnTo>
                  <a:pt x="1746" y="628"/>
                </a:lnTo>
                <a:lnTo>
                  <a:pt x="1746" y="626"/>
                </a:lnTo>
                <a:lnTo>
                  <a:pt x="1746" y="624"/>
                </a:lnTo>
                <a:lnTo>
                  <a:pt x="1746" y="622"/>
                </a:lnTo>
                <a:lnTo>
                  <a:pt x="1746" y="620"/>
                </a:lnTo>
                <a:lnTo>
                  <a:pt x="1748" y="620"/>
                </a:lnTo>
                <a:lnTo>
                  <a:pt x="1746" y="620"/>
                </a:lnTo>
                <a:lnTo>
                  <a:pt x="1744" y="618"/>
                </a:lnTo>
                <a:lnTo>
                  <a:pt x="1744" y="620"/>
                </a:lnTo>
                <a:lnTo>
                  <a:pt x="1742" y="620"/>
                </a:lnTo>
                <a:lnTo>
                  <a:pt x="1744" y="620"/>
                </a:lnTo>
                <a:lnTo>
                  <a:pt x="1744" y="618"/>
                </a:lnTo>
                <a:lnTo>
                  <a:pt x="1742" y="618"/>
                </a:lnTo>
                <a:lnTo>
                  <a:pt x="1742" y="620"/>
                </a:lnTo>
                <a:lnTo>
                  <a:pt x="1742" y="618"/>
                </a:lnTo>
                <a:lnTo>
                  <a:pt x="1744" y="618"/>
                </a:lnTo>
                <a:lnTo>
                  <a:pt x="1746" y="618"/>
                </a:lnTo>
                <a:lnTo>
                  <a:pt x="1748" y="618"/>
                </a:lnTo>
                <a:lnTo>
                  <a:pt x="1748" y="620"/>
                </a:lnTo>
                <a:lnTo>
                  <a:pt x="1749" y="620"/>
                </a:lnTo>
                <a:lnTo>
                  <a:pt x="1751" y="620"/>
                </a:lnTo>
                <a:lnTo>
                  <a:pt x="1753" y="620"/>
                </a:lnTo>
                <a:lnTo>
                  <a:pt x="1753" y="622"/>
                </a:lnTo>
                <a:lnTo>
                  <a:pt x="1755" y="624"/>
                </a:lnTo>
                <a:lnTo>
                  <a:pt x="1755" y="622"/>
                </a:lnTo>
                <a:lnTo>
                  <a:pt x="1753" y="622"/>
                </a:lnTo>
                <a:lnTo>
                  <a:pt x="1753" y="620"/>
                </a:lnTo>
                <a:lnTo>
                  <a:pt x="1751" y="620"/>
                </a:lnTo>
                <a:lnTo>
                  <a:pt x="1753" y="620"/>
                </a:lnTo>
                <a:lnTo>
                  <a:pt x="1755" y="620"/>
                </a:lnTo>
                <a:lnTo>
                  <a:pt x="1757" y="622"/>
                </a:lnTo>
                <a:lnTo>
                  <a:pt x="1761" y="622"/>
                </a:lnTo>
                <a:lnTo>
                  <a:pt x="1763" y="622"/>
                </a:lnTo>
                <a:lnTo>
                  <a:pt x="1765" y="622"/>
                </a:lnTo>
                <a:lnTo>
                  <a:pt x="1767" y="624"/>
                </a:lnTo>
                <a:lnTo>
                  <a:pt x="1769" y="626"/>
                </a:lnTo>
                <a:lnTo>
                  <a:pt x="1771" y="628"/>
                </a:lnTo>
                <a:lnTo>
                  <a:pt x="1773" y="628"/>
                </a:lnTo>
                <a:lnTo>
                  <a:pt x="1774" y="630"/>
                </a:lnTo>
                <a:lnTo>
                  <a:pt x="1774" y="632"/>
                </a:lnTo>
                <a:lnTo>
                  <a:pt x="1776" y="632"/>
                </a:lnTo>
                <a:lnTo>
                  <a:pt x="1774" y="632"/>
                </a:lnTo>
                <a:lnTo>
                  <a:pt x="1774" y="630"/>
                </a:lnTo>
                <a:lnTo>
                  <a:pt x="1774" y="632"/>
                </a:lnTo>
                <a:lnTo>
                  <a:pt x="1774" y="630"/>
                </a:lnTo>
                <a:lnTo>
                  <a:pt x="1773" y="630"/>
                </a:lnTo>
                <a:lnTo>
                  <a:pt x="1773" y="628"/>
                </a:lnTo>
                <a:lnTo>
                  <a:pt x="1771" y="628"/>
                </a:lnTo>
                <a:lnTo>
                  <a:pt x="1771" y="630"/>
                </a:lnTo>
                <a:lnTo>
                  <a:pt x="1773" y="630"/>
                </a:lnTo>
                <a:lnTo>
                  <a:pt x="1771" y="630"/>
                </a:lnTo>
                <a:lnTo>
                  <a:pt x="1773" y="630"/>
                </a:lnTo>
                <a:lnTo>
                  <a:pt x="1773" y="632"/>
                </a:lnTo>
                <a:lnTo>
                  <a:pt x="1774" y="632"/>
                </a:lnTo>
                <a:lnTo>
                  <a:pt x="1773" y="632"/>
                </a:lnTo>
                <a:lnTo>
                  <a:pt x="1773" y="634"/>
                </a:lnTo>
                <a:lnTo>
                  <a:pt x="1771" y="634"/>
                </a:lnTo>
                <a:lnTo>
                  <a:pt x="1771" y="632"/>
                </a:lnTo>
                <a:lnTo>
                  <a:pt x="1769" y="632"/>
                </a:lnTo>
                <a:lnTo>
                  <a:pt x="1769" y="630"/>
                </a:lnTo>
                <a:lnTo>
                  <a:pt x="1767" y="630"/>
                </a:lnTo>
                <a:lnTo>
                  <a:pt x="1765" y="630"/>
                </a:lnTo>
                <a:lnTo>
                  <a:pt x="1765" y="628"/>
                </a:lnTo>
                <a:lnTo>
                  <a:pt x="1765" y="626"/>
                </a:lnTo>
                <a:lnTo>
                  <a:pt x="1765" y="628"/>
                </a:lnTo>
                <a:lnTo>
                  <a:pt x="1765" y="630"/>
                </a:lnTo>
                <a:lnTo>
                  <a:pt x="1763" y="630"/>
                </a:lnTo>
                <a:lnTo>
                  <a:pt x="1765" y="630"/>
                </a:lnTo>
                <a:lnTo>
                  <a:pt x="1763" y="630"/>
                </a:lnTo>
                <a:lnTo>
                  <a:pt x="1761" y="630"/>
                </a:lnTo>
                <a:lnTo>
                  <a:pt x="1763" y="630"/>
                </a:lnTo>
                <a:lnTo>
                  <a:pt x="1765" y="630"/>
                </a:lnTo>
                <a:lnTo>
                  <a:pt x="1767" y="630"/>
                </a:lnTo>
                <a:lnTo>
                  <a:pt x="1765" y="630"/>
                </a:lnTo>
                <a:lnTo>
                  <a:pt x="1767" y="632"/>
                </a:lnTo>
                <a:lnTo>
                  <a:pt x="1765" y="632"/>
                </a:lnTo>
                <a:lnTo>
                  <a:pt x="1763" y="632"/>
                </a:lnTo>
                <a:lnTo>
                  <a:pt x="1763" y="634"/>
                </a:lnTo>
                <a:lnTo>
                  <a:pt x="1761" y="635"/>
                </a:lnTo>
                <a:lnTo>
                  <a:pt x="1763" y="635"/>
                </a:lnTo>
                <a:lnTo>
                  <a:pt x="1763" y="634"/>
                </a:lnTo>
                <a:lnTo>
                  <a:pt x="1765" y="634"/>
                </a:lnTo>
                <a:lnTo>
                  <a:pt x="1765" y="632"/>
                </a:lnTo>
                <a:lnTo>
                  <a:pt x="1767" y="632"/>
                </a:lnTo>
                <a:lnTo>
                  <a:pt x="1767" y="634"/>
                </a:lnTo>
                <a:lnTo>
                  <a:pt x="1765" y="635"/>
                </a:lnTo>
                <a:lnTo>
                  <a:pt x="1767" y="635"/>
                </a:lnTo>
                <a:lnTo>
                  <a:pt x="1767" y="634"/>
                </a:lnTo>
                <a:lnTo>
                  <a:pt x="1767" y="635"/>
                </a:lnTo>
                <a:lnTo>
                  <a:pt x="1769" y="637"/>
                </a:lnTo>
                <a:lnTo>
                  <a:pt x="1769" y="639"/>
                </a:lnTo>
                <a:lnTo>
                  <a:pt x="1771" y="639"/>
                </a:lnTo>
                <a:lnTo>
                  <a:pt x="1773" y="639"/>
                </a:lnTo>
                <a:lnTo>
                  <a:pt x="1773" y="637"/>
                </a:lnTo>
                <a:lnTo>
                  <a:pt x="1771" y="637"/>
                </a:lnTo>
                <a:lnTo>
                  <a:pt x="1771" y="635"/>
                </a:lnTo>
                <a:lnTo>
                  <a:pt x="1773" y="635"/>
                </a:lnTo>
                <a:lnTo>
                  <a:pt x="1773" y="637"/>
                </a:lnTo>
                <a:lnTo>
                  <a:pt x="1773" y="639"/>
                </a:lnTo>
                <a:lnTo>
                  <a:pt x="1773" y="641"/>
                </a:lnTo>
                <a:lnTo>
                  <a:pt x="1774" y="641"/>
                </a:lnTo>
                <a:lnTo>
                  <a:pt x="1774" y="643"/>
                </a:lnTo>
                <a:lnTo>
                  <a:pt x="1774" y="645"/>
                </a:lnTo>
                <a:lnTo>
                  <a:pt x="1776" y="645"/>
                </a:lnTo>
                <a:lnTo>
                  <a:pt x="1776" y="647"/>
                </a:lnTo>
                <a:lnTo>
                  <a:pt x="1778" y="647"/>
                </a:lnTo>
                <a:lnTo>
                  <a:pt x="1778" y="649"/>
                </a:lnTo>
                <a:lnTo>
                  <a:pt x="1780" y="649"/>
                </a:lnTo>
                <a:lnTo>
                  <a:pt x="1780" y="651"/>
                </a:lnTo>
                <a:lnTo>
                  <a:pt x="1778" y="651"/>
                </a:lnTo>
                <a:lnTo>
                  <a:pt x="1780" y="651"/>
                </a:lnTo>
                <a:lnTo>
                  <a:pt x="1782" y="651"/>
                </a:lnTo>
                <a:lnTo>
                  <a:pt x="1782" y="653"/>
                </a:lnTo>
                <a:lnTo>
                  <a:pt x="1782" y="651"/>
                </a:lnTo>
                <a:lnTo>
                  <a:pt x="1782" y="649"/>
                </a:lnTo>
                <a:lnTo>
                  <a:pt x="1782" y="647"/>
                </a:lnTo>
                <a:lnTo>
                  <a:pt x="1780" y="647"/>
                </a:lnTo>
                <a:lnTo>
                  <a:pt x="1782" y="647"/>
                </a:lnTo>
                <a:lnTo>
                  <a:pt x="1782" y="649"/>
                </a:lnTo>
                <a:lnTo>
                  <a:pt x="1782" y="651"/>
                </a:lnTo>
                <a:lnTo>
                  <a:pt x="1782" y="653"/>
                </a:lnTo>
                <a:lnTo>
                  <a:pt x="1782" y="655"/>
                </a:lnTo>
                <a:lnTo>
                  <a:pt x="1784" y="655"/>
                </a:lnTo>
                <a:lnTo>
                  <a:pt x="1784" y="657"/>
                </a:lnTo>
                <a:lnTo>
                  <a:pt x="1786" y="657"/>
                </a:lnTo>
                <a:lnTo>
                  <a:pt x="1786" y="658"/>
                </a:lnTo>
                <a:lnTo>
                  <a:pt x="1788" y="658"/>
                </a:lnTo>
                <a:lnTo>
                  <a:pt x="1788" y="660"/>
                </a:lnTo>
                <a:lnTo>
                  <a:pt x="1790" y="660"/>
                </a:lnTo>
                <a:lnTo>
                  <a:pt x="1792" y="662"/>
                </a:lnTo>
                <a:lnTo>
                  <a:pt x="1794" y="662"/>
                </a:lnTo>
                <a:lnTo>
                  <a:pt x="1796" y="662"/>
                </a:lnTo>
                <a:lnTo>
                  <a:pt x="1796" y="664"/>
                </a:lnTo>
                <a:lnTo>
                  <a:pt x="1797" y="664"/>
                </a:lnTo>
                <a:lnTo>
                  <a:pt x="1799" y="664"/>
                </a:lnTo>
                <a:lnTo>
                  <a:pt x="1801" y="666"/>
                </a:lnTo>
                <a:lnTo>
                  <a:pt x="1803" y="666"/>
                </a:lnTo>
                <a:lnTo>
                  <a:pt x="1805" y="666"/>
                </a:lnTo>
                <a:lnTo>
                  <a:pt x="1807" y="666"/>
                </a:lnTo>
                <a:lnTo>
                  <a:pt x="1809" y="666"/>
                </a:lnTo>
                <a:lnTo>
                  <a:pt x="1811" y="668"/>
                </a:lnTo>
                <a:lnTo>
                  <a:pt x="1813" y="668"/>
                </a:lnTo>
                <a:lnTo>
                  <a:pt x="1815" y="668"/>
                </a:lnTo>
                <a:lnTo>
                  <a:pt x="1817" y="668"/>
                </a:lnTo>
                <a:lnTo>
                  <a:pt x="1819" y="668"/>
                </a:lnTo>
                <a:lnTo>
                  <a:pt x="1821" y="666"/>
                </a:lnTo>
                <a:lnTo>
                  <a:pt x="1822" y="666"/>
                </a:lnTo>
                <a:lnTo>
                  <a:pt x="1822" y="668"/>
                </a:lnTo>
                <a:lnTo>
                  <a:pt x="1821" y="668"/>
                </a:lnTo>
                <a:lnTo>
                  <a:pt x="1821" y="670"/>
                </a:lnTo>
                <a:lnTo>
                  <a:pt x="1821" y="668"/>
                </a:lnTo>
                <a:lnTo>
                  <a:pt x="1821" y="670"/>
                </a:lnTo>
                <a:lnTo>
                  <a:pt x="1819" y="670"/>
                </a:lnTo>
                <a:lnTo>
                  <a:pt x="1821" y="670"/>
                </a:lnTo>
                <a:lnTo>
                  <a:pt x="1822" y="670"/>
                </a:lnTo>
                <a:lnTo>
                  <a:pt x="1822" y="672"/>
                </a:lnTo>
                <a:lnTo>
                  <a:pt x="1824" y="672"/>
                </a:lnTo>
                <a:lnTo>
                  <a:pt x="1824" y="674"/>
                </a:lnTo>
                <a:lnTo>
                  <a:pt x="1824" y="672"/>
                </a:lnTo>
                <a:lnTo>
                  <a:pt x="1822" y="672"/>
                </a:lnTo>
                <a:lnTo>
                  <a:pt x="1822" y="670"/>
                </a:lnTo>
                <a:lnTo>
                  <a:pt x="1822" y="668"/>
                </a:lnTo>
                <a:lnTo>
                  <a:pt x="1824" y="668"/>
                </a:lnTo>
                <a:lnTo>
                  <a:pt x="1828" y="668"/>
                </a:lnTo>
                <a:lnTo>
                  <a:pt x="1828" y="666"/>
                </a:lnTo>
                <a:lnTo>
                  <a:pt x="1830" y="668"/>
                </a:lnTo>
                <a:lnTo>
                  <a:pt x="1832" y="668"/>
                </a:lnTo>
                <a:lnTo>
                  <a:pt x="1834" y="668"/>
                </a:lnTo>
                <a:lnTo>
                  <a:pt x="1832" y="668"/>
                </a:lnTo>
                <a:lnTo>
                  <a:pt x="1834" y="668"/>
                </a:lnTo>
                <a:lnTo>
                  <a:pt x="1832" y="668"/>
                </a:lnTo>
                <a:lnTo>
                  <a:pt x="1834" y="668"/>
                </a:lnTo>
                <a:lnTo>
                  <a:pt x="1832" y="668"/>
                </a:lnTo>
                <a:lnTo>
                  <a:pt x="1834" y="668"/>
                </a:lnTo>
                <a:lnTo>
                  <a:pt x="1836" y="668"/>
                </a:lnTo>
                <a:lnTo>
                  <a:pt x="1838" y="668"/>
                </a:lnTo>
                <a:lnTo>
                  <a:pt x="1840" y="668"/>
                </a:lnTo>
                <a:lnTo>
                  <a:pt x="1840" y="670"/>
                </a:lnTo>
                <a:lnTo>
                  <a:pt x="1838" y="670"/>
                </a:lnTo>
                <a:lnTo>
                  <a:pt x="1840" y="670"/>
                </a:lnTo>
                <a:lnTo>
                  <a:pt x="1840" y="668"/>
                </a:lnTo>
                <a:lnTo>
                  <a:pt x="1842" y="668"/>
                </a:lnTo>
                <a:lnTo>
                  <a:pt x="1842" y="670"/>
                </a:lnTo>
                <a:lnTo>
                  <a:pt x="1844" y="670"/>
                </a:lnTo>
                <a:lnTo>
                  <a:pt x="1845" y="670"/>
                </a:lnTo>
                <a:lnTo>
                  <a:pt x="1845" y="672"/>
                </a:lnTo>
                <a:lnTo>
                  <a:pt x="1847" y="672"/>
                </a:lnTo>
                <a:lnTo>
                  <a:pt x="1847" y="670"/>
                </a:lnTo>
                <a:lnTo>
                  <a:pt x="1847" y="672"/>
                </a:lnTo>
                <a:lnTo>
                  <a:pt x="1847" y="674"/>
                </a:lnTo>
                <a:lnTo>
                  <a:pt x="1847" y="672"/>
                </a:lnTo>
                <a:lnTo>
                  <a:pt x="1845" y="672"/>
                </a:lnTo>
                <a:lnTo>
                  <a:pt x="1845" y="670"/>
                </a:lnTo>
                <a:lnTo>
                  <a:pt x="1844" y="670"/>
                </a:lnTo>
                <a:lnTo>
                  <a:pt x="1845" y="670"/>
                </a:lnTo>
                <a:lnTo>
                  <a:pt x="1844" y="670"/>
                </a:lnTo>
                <a:lnTo>
                  <a:pt x="1842" y="670"/>
                </a:lnTo>
                <a:lnTo>
                  <a:pt x="1844" y="670"/>
                </a:lnTo>
                <a:lnTo>
                  <a:pt x="1842" y="670"/>
                </a:lnTo>
                <a:lnTo>
                  <a:pt x="1842" y="672"/>
                </a:lnTo>
                <a:lnTo>
                  <a:pt x="1840" y="672"/>
                </a:lnTo>
                <a:lnTo>
                  <a:pt x="1842" y="672"/>
                </a:lnTo>
                <a:lnTo>
                  <a:pt x="1842" y="674"/>
                </a:lnTo>
                <a:lnTo>
                  <a:pt x="1840" y="674"/>
                </a:lnTo>
                <a:lnTo>
                  <a:pt x="1840" y="676"/>
                </a:lnTo>
                <a:lnTo>
                  <a:pt x="1842" y="676"/>
                </a:lnTo>
                <a:lnTo>
                  <a:pt x="1840" y="678"/>
                </a:lnTo>
                <a:lnTo>
                  <a:pt x="1840" y="676"/>
                </a:lnTo>
                <a:lnTo>
                  <a:pt x="1840" y="678"/>
                </a:lnTo>
                <a:lnTo>
                  <a:pt x="1840" y="680"/>
                </a:lnTo>
                <a:lnTo>
                  <a:pt x="1842" y="680"/>
                </a:lnTo>
                <a:lnTo>
                  <a:pt x="1842" y="682"/>
                </a:lnTo>
                <a:lnTo>
                  <a:pt x="1844" y="683"/>
                </a:lnTo>
                <a:lnTo>
                  <a:pt x="1842" y="683"/>
                </a:lnTo>
                <a:lnTo>
                  <a:pt x="1842" y="685"/>
                </a:lnTo>
                <a:lnTo>
                  <a:pt x="1844" y="685"/>
                </a:lnTo>
                <a:lnTo>
                  <a:pt x="1842" y="685"/>
                </a:lnTo>
                <a:lnTo>
                  <a:pt x="1840" y="685"/>
                </a:lnTo>
                <a:lnTo>
                  <a:pt x="1842" y="685"/>
                </a:lnTo>
                <a:lnTo>
                  <a:pt x="1842" y="687"/>
                </a:lnTo>
                <a:lnTo>
                  <a:pt x="1842" y="689"/>
                </a:lnTo>
                <a:lnTo>
                  <a:pt x="1840" y="689"/>
                </a:lnTo>
                <a:lnTo>
                  <a:pt x="1838" y="689"/>
                </a:lnTo>
                <a:lnTo>
                  <a:pt x="1836" y="689"/>
                </a:lnTo>
                <a:lnTo>
                  <a:pt x="1838" y="689"/>
                </a:lnTo>
                <a:lnTo>
                  <a:pt x="1840" y="689"/>
                </a:lnTo>
                <a:lnTo>
                  <a:pt x="1840" y="691"/>
                </a:lnTo>
                <a:lnTo>
                  <a:pt x="1842" y="691"/>
                </a:lnTo>
                <a:lnTo>
                  <a:pt x="1842" y="689"/>
                </a:lnTo>
                <a:lnTo>
                  <a:pt x="1844" y="691"/>
                </a:lnTo>
                <a:lnTo>
                  <a:pt x="1842" y="691"/>
                </a:lnTo>
                <a:lnTo>
                  <a:pt x="1842" y="693"/>
                </a:lnTo>
                <a:lnTo>
                  <a:pt x="1842" y="691"/>
                </a:lnTo>
                <a:lnTo>
                  <a:pt x="1842" y="693"/>
                </a:lnTo>
                <a:lnTo>
                  <a:pt x="1844" y="693"/>
                </a:lnTo>
                <a:lnTo>
                  <a:pt x="1844" y="695"/>
                </a:lnTo>
                <a:lnTo>
                  <a:pt x="1842" y="695"/>
                </a:lnTo>
                <a:lnTo>
                  <a:pt x="1844" y="695"/>
                </a:lnTo>
                <a:lnTo>
                  <a:pt x="1845" y="695"/>
                </a:lnTo>
                <a:lnTo>
                  <a:pt x="1844" y="695"/>
                </a:lnTo>
                <a:lnTo>
                  <a:pt x="1844" y="697"/>
                </a:lnTo>
                <a:lnTo>
                  <a:pt x="1845" y="697"/>
                </a:lnTo>
                <a:lnTo>
                  <a:pt x="1845" y="699"/>
                </a:lnTo>
                <a:lnTo>
                  <a:pt x="1845" y="701"/>
                </a:lnTo>
                <a:lnTo>
                  <a:pt x="1844" y="701"/>
                </a:lnTo>
                <a:lnTo>
                  <a:pt x="1844" y="703"/>
                </a:lnTo>
                <a:lnTo>
                  <a:pt x="1842" y="703"/>
                </a:lnTo>
                <a:lnTo>
                  <a:pt x="1842" y="705"/>
                </a:lnTo>
                <a:lnTo>
                  <a:pt x="1840" y="705"/>
                </a:lnTo>
                <a:lnTo>
                  <a:pt x="1840" y="706"/>
                </a:lnTo>
                <a:lnTo>
                  <a:pt x="1838" y="706"/>
                </a:lnTo>
                <a:lnTo>
                  <a:pt x="1838" y="705"/>
                </a:lnTo>
                <a:lnTo>
                  <a:pt x="1836" y="705"/>
                </a:lnTo>
                <a:lnTo>
                  <a:pt x="1834" y="705"/>
                </a:lnTo>
                <a:lnTo>
                  <a:pt x="1832" y="705"/>
                </a:lnTo>
                <a:lnTo>
                  <a:pt x="1830" y="705"/>
                </a:lnTo>
                <a:lnTo>
                  <a:pt x="1828" y="705"/>
                </a:lnTo>
                <a:lnTo>
                  <a:pt x="1826" y="705"/>
                </a:lnTo>
                <a:lnTo>
                  <a:pt x="1828" y="703"/>
                </a:lnTo>
                <a:lnTo>
                  <a:pt x="1826" y="703"/>
                </a:lnTo>
                <a:lnTo>
                  <a:pt x="1826" y="701"/>
                </a:lnTo>
                <a:lnTo>
                  <a:pt x="1824" y="701"/>
                </a:lnTo>
                <a:lnTo>
                  <a:pt x="1824" y="699"/>
                </a:lnTo>
                <a:lnTo>
                  <a:pt x="1822" y="699"/>
                </a:lnTo>
                <a:lnTo>
                  <a:pt x="1822" y="697"/>
                </a:lnTo>
                <a:lnTo>
                  <a:pt x="1822" y="699"/>
                </a:lnTo>
                <a:lnTo>
                  <a:pt x="1824" y="699"/>
                </a:lnTo>
                <a:lnTo>
                  <a:pt x="1824" y="701"/>
                </a:lnTo>
                <a:lnTo>
                  <a:pt x="1822" y="701"/>
                </a:lnTo>
                <a:lnTo>
                  <a:pt x="1822" y="703"/>
                </a:lnTo>
                <a:lnTo>
                  <a:pt x="1821" y="703"/>
                </a:lnTo>
                <a:lnTo>
                  <a:pt x="1822" y="703"/>
                </a:lnTo>
                <a:lnTo>
                  <a:pt x="1821" y="703"/>
                </a:lnTo>
                <a:lnTo>
                  <a:pt x="1821" y="701"/>
                </a:lnTo>
                <a:lnTo>
                  <a:pt x="1821" y="699"/>
                </a:lnTo>
                <a:lnTo>
                  <a:pt x="1819" y="699"/>
                </a:lnTo>
                <a:lnTo>
                  <a:pt x="1819" y="697"/>
                </a:lnTo>
                <a:lnTo>
                  <a:pt x="1819" y="699"/>
                </a:lnTo>
                <a:lnTo>
                  <a:pt x="1821" y="699"/>
                </a:lnTo>
                <a:lnTo>
                  <a:pt x="1821" y="701"/>
                </a:lnTo>
                <a:lnTo>
                  <a:pt x="1821" y="703"/>
                </a:lnTo>
                <a:lnTo>
                  <a:pt x="1821" y="701"/>
                </a:lnTo>
                <a:lnTo>
                  <a:pt x="1819" y="701"/>
                </a:lnTo>
                <a:lnTo>
                  <a:pt x="1821" y="701"/>
                </a:lnTo>
                <a:lnTo>
                  <a:pt x="1819" y="701"/>
                </a:lnTo>
                <a:lnTo>
                  <a:pt x="1821" y="701"/>
                </a:lnTo>
                <a:lnTo>
                  <a:pt x="1819" y="703"/>
                </a:lnTo>
                <a:lnTo>
                  <a:pt x="1819" y="701"/>
                </a:lnTo>
                <a:lnTo>
                  <a:pt x="1819" y="703"/>
                </a:lnTo>
                <a:lnTo>
                  <a:pt x="1819" y="701"/>
                </a:lnTo>
                <a:lnTo>
                  <a:pt x="1819" y="703"/>
                </a:lnTo>
                <a:lnTo>
                  <a:pt x="1819" y="701"/>
                </a:lnTo>
                <a:lnTo>
                  <a:pt x="1819" y="703"/>
                </a:lnTo>
                <a:lnTo>
                  <a:pt x="1821" y="703"/>
                </a:lnTo>
                <a:lnTo>
                  <a:pt x="1819" y="703"/>
                </a:lnTo>
                <a:lnTo>
                  <a:pt x="1821" y="703"/>
                </a:lnTo>
                <a:lnTo>
                  <a:pt x="1821" y="705"/>
                </a:lnTo>
                <a:lnTo>
                  <a:pt x="1819" y="705"/>
                </a:lnTo>
                <a:lnTo>
                  <a:pt x="1819" y="703"/>
                </a:lnTo>
                <a:lnTo>
                  <a:pt x="1819" y="705"/>
                </a:lnTo>
                <a:lnTo>
                  <a:pt x="1817" y="705"/>
                </a:lnTo>
                <a:lnTo>
                  <a:pt x="1819" y="705"/>
                </a:lnTo>
                <a:lnTo>
                  <a:pt x="1817" y="705"/>
                </a:lnTo>
                <a:lnTo>
                  <a:pt x="1817" y="703"/>
                </a:lnTo>
                <a:lnTo>
                  <a:pt x="1815" y="703"/>
                </a:lnTo>
                <a:lnTo>
                  <a:pt x="1815" y="705"/>
                </a:lnTo>
                <a:lnTo>
                  <a:pt x="1815" y="703"/>
                </a:lnTo>
                <a:lnTo>
                  <a:pt x="1817" y="703"/>
                </a:lnTo>
                <a:lnTo>
                  <a:pt x="1815" y="703"/>
                </a:lnTo>
                <a:lnTo>
                  <a:pt x="1817" y="703"/>
                </a:lnTo>
                <a:lnTo>
                  <a:pt x="1817" y="705"/>
                </a:lnTo>
                <a:lnTo>
                  <a:pt x="1819" y="705"/>
                </a:lnTo>
                <a:lnTo>
                  <a:pt x="1819" y="706"/>
                </a:lnTo>
                <a:lnTo>
                  <a:pt x="1817" y="706"/>
                </a:lnTo>
                <a:lnTo>
                  <a:pt x="1817" y="705"/>
                </a:lnTo>
                <a:lnTo>
                  <a:pt x="1817" y="706"/>
                </a:lnTo>
                <a:lnTo>
                  <a:pt x="1815" y="706"/>
                </a:lnTo>
                <a:lnTo>
                  <a:pt x="1815" y="705"/>
                </a:lnTo>
                <a:lnTo>
                  <a:pt x="1815" y="703"/>
                </a:lnTo>
                <a:lnTo>
                  <a:pt x="1815" y="701"/>
                </a:lnTo>
                <a:lnTo>
                  <a:pt x="1813" y="701"/>
                </a:lnTo>
                <a:lnTo>
                  <a:pt x="1813" y="703"/>
                </a:lnTo>
                <a:lnTo>
                  <a:pt x="1815" y="703"/>
                </a:lnTo>
                <a:lnTo>
                  <a:pt x="1813" y="703"/>
                </a:lnTo>
                <a:lnTo>
                  <a:pt x="1815" y="703"/>
                </a:lnTo>
                <a:lnTo>
                  <a:pt x="1815" y="705"/>
                </a:lnTo>
                <a:lnTo>
                  <a:pt x="1815" y="703"/>
                </a:lnTo>
                <a:lnTo>
                  <a:pt x="1813" y="703"/>
                </a:lnTo>
                <a:lnTo>
                  <a:pt x="1813" y="705"/>
                </a:lnTo>
                <a:lnTo>
                  <a:pt x="1815" y="705"/>
                </a:lnTo>
                <a:lnTo>
                  <a:pt x="1813" y="705"/>
                </a:lnTo>
                <a:lnTo>
                  <a:pt x="1813" y="703"/>
                </a:lnTo>
                <a:lnTo>
                  <a:pt x="1813" y="705"/>
                </a:lnTo>
                <a:lnTo>
                  <a:pt x="1815" y="705"/>
                </a:lnTo>
                <a:lnTo>
                  <a:pt x="1813" y="705"/>
                </a:lnTo>
                <a:lnTo>
                  <a:pt x="1815" y="705"/>
                </a:lnTo>
                <a:lnTo>
                  <a:pt x="1815" y="706"/>
                </a:lnTo>
                <a:lnTo>
                  <a:pt x="1817" y="706"/>
                </a:lnTo>
                <a:lnTo>
                  <a:pt x="1815" y="706"/>
                </a:lnTo>
                <a:lnTo>
                  <a:pt x="1815" y="708"/>
                </a:lnTo>
                <a:lnTo>
                  <a:pt x="1813" y="708"/>
                </a:lnTo>
                <a:lnTo>
                  <a:pt x="1811" y="708"/>
                </a:lnTo>
                <a:lnTo>
                  <a:pt x="1811" y="710"/>
                </a:lnTo>
                <a:lnTo>
                  <a:pt x="1811" y="708"/>
                </a:lnTo>
                <a:lnTo>
                  <a:pt x="1809" y="708"/>
                </a:lnTo>
                <a:lnTo>
                  <a:pt x="1809" y="710"/>
                </a:lnTo>
                <a:lnTo>
                  <a:pt x="1811" y="710"/>
                </a:lnTo>
                <a:lnTo>
                  <a:pt x="1811" y="712"/>
                </a:lnTo>
                <a:lnTo>
                  <a:pt x="1813" y="712"/>
                </a:lnTo>
                <a:lnTo>
                  <a:pt x="1813" y="710"/>
                </a:lnTo>
                <a:lnTo>
                  <a:pt x="1815" y="710"/>
                </a:lnTo>
                <a:lnTo>
                  <a:pt x="1815" y="708"/>
                </a:lnTo>
                <a:lnTo>
                  <a:pt x="1817" y="708"/>
                </a:lnTo>
                <a:lnTo>
                  <a:pt x="1817" y="710"/>
                </a:lnTo>
                <a:lnTo>
                  <a:pt x="1819" y="710"/>
                </a:lnTo>
                <a:lnTo>
                  <a:pt x="1819" y="712"/>
                </a:lnTo>
                <a:lnTo>
                  <a:pt x="1821" y="712"/>
                </a:lnTo>
                <a:lnTo>
                  <a:pt x="1821" y="714"/>
                </a:lnTo>
                <a:lnTo>
                  <a:pt x="1821" y="712"/>
                </a:lnTo>
                <a:lnTo>
                  <a:pt x="1821" y="714"/>
                </a:lnTo>
                <a:lnTo>
                  <a:pt x="1821" y="716"/>
                </a:lnTo>
                <a:lnTo>
                  <a:pt x="1821" y="714"/>
                </a:lnTo>
                <a:lnTo>
                  <a:pt x="1822" y="714"/>
                </a:lnTo>
                <a:lnTo>
                  <a:pt x="1822" y="716"/>
                </a:lnTo>
                <a:lnTo>
                  <a:pt x="1822" y="714"/>
                </a:lnTo>
                <a:lnTo>
                  <a:pt x="1822" y="716"/>
                </a:lnTo>
                <a:lnTo>
                  <a:pt x="1824" y="716"/>
                </a:lnTo>
                <a:lnTo>
                  <a:pt x="1822" y="716"/>
                </a:lnTo>
                <a:lnTo>
                  <a:pt x="1822" y="718"/>
                </a:lnTo>
                <a:lnTo>
                  <a:pt x="1822" y="720"/>
                </a:lnTo>
                <a:lnTo>
                  <a:pt x="1822" y="722"/>
                </a:lnTo>
                <a:lnTo>
                  <a:pt x="1822" y="724"/>
                </a:lnTo>
                <a:lnTo>
                  <a:pt x="1822" y="722"/>
                </a:lnTo>
                <a:lnTo>
                  <a:pt x="1824" y="722"/>
                </a:lnTo>
                <a:lnTo>
                  <a:pt x="1824" y="724"/>
                </a:lnTo>
                <a:lnTo>
                  <a:pt x="1824" y="722"/>
                </a:lnTo>
                <a:lnTo>
                  <a:pt x="1826" y="722"/>
                </a:lnTo>
                <a:lnTo>
                  <a:pt x="1826" y="724"/>
                </a:lnTo>
                <a:lnTo>
                  <a:pt x="1826" y="722"/>
                </a:lnTo>
                <a:lnTo>
                  <a:pt x="1826" y="720"/>
                </a:lnTo>
                <a:lnTo>
                  <a:pt x="1826" y="718"/>
                </a:lnTo>
                <a:lnTo>
                  <a:pt x="1824" y="718"/>
                </a:lnTo>
                <a:lnTo>
                  <a:pt x="1824" y="716"/>
                </a:lnTo>
                <a:lnTo>
                  <a:pt x="1824" y="718"/>
                </a:lnTo>
                <a:lnTo>
                  <a:pt x="1824" y="716"/>
                </a:lnTo>
                <a:lnTo>
                  <a:pt x="1826" y="716"/>
                </a:lnTo>
                <a:lnTo>
                  <a:pt x="1826" y="714"/>
                </a:lnTo>
                <a:lnTo>
                  <a:pt x="1828" y="714"/>
                </a:lnTo>
                <a:lnTo>
                  <a:pt x="1830" y="712"/>
                </a:lnTo>
                <a:lnTo>
                  <a:pt x="1832" y="712"/>
                </a:lnTo>
                <a:lnTo>
                  <a:pt x="1834" y="712"/>
                </a:lnTo>
                <a:lnTo>
                  <a:pt x="1836" y="712"/>
                </a:lnTo>
                <a:lnTo>
                  <a:pt x="1838" y="712"/>
                </a:lnTo>
                <a:lnTo>
                  <a:pt x="1838" y="714"/>
                </a:lnTo>
                <a:lnTo>
                  <a:pt x="1840" y="714"/>
                </a:lnTo>
                <a:lnTo>
                  <a:pt x="1838" y="714"/>
                </a:lnTo>
                <a:lnTo>
                  <a:pt x="1838" y="716"/>
                </a:lnTo>
                <a:lnTo>
                  <a:pt x="1838" y="718"/>
                </a:lnTo>
                <a:lnTo>
                  <a:pt x="1840" y="718"/>
                </a:lnTo>
                <a:lnTo>
                  <a:pt x="1840" y="716"/>
                </a:lnTo>
                <a:lnTo>
                  <a:pt x="1842" y="716"/>
                </a:lnTo>
                <a:lnTo>
                  <a:pt x="1842" y="714"/>
                </a:lnTo>
                <a:lnTo>
                  <a:pt x="1842" y="712"/>
                </a:lnTo>
                <a:lnTo>
                  <a:pt x="1844" y="712"/>
                </a:lnTo>
                <a:lnTo>
                  <a:pt x="1845" y="712"/>
                </a:lnTo>
                <a:lnTo>
                  <a:pt x="1847" y="712"/>
                </a:lnTo>
                <a:lnTo>
                  <a:pt x="1845" y="714"/>
                </a:lnTo>
                <a:lnTo>
                  <a:pt x="1845" y="716"/>
                </a:lnTo>
                <a:lnTo>
                  <a:pt x="1847" y="716"/>
                </a:lnTo>
                <a:lnTo>
                  <a:pt x="1847" y="714"/>
                </a:lnTo>
                <a:lnTo>
                  <a:pt x="1849" y="714"/>
                </a:lnTo>
                <a:lnTo>
                  <a:pt x="1849" y="712"/>
                </a:lnTo>
                <a:lnTo>
                  <a:pt x="1849" y="714"/>
                </a:lnTo>
                <a:lnTo>
                  <a:pt x="1851" y="714"/>
                </a:lnTo>
                <a:lnTo>
                  <a:pt x="1849" y="714"/>
                </a:lnTo>
                <a:lnTo>
                  <a:pt x="1849" y="716"/>
                </a:lnTo>
                <a:lnTo>
                  <a:pt x="1847" y="716"/>
                </a:lnTo>
                <a:lnTo>
                  <a:pt x="1845" y="716"/>
                </a:lnTo>
                <a:lnTo>
                  <a:pt x="1845" y="718"/>
                </a:lnTo>
                <a:lnTo>
                  <a:pt x="1844" y="718"/>
                </a:lnTo>
                <a:lnTo>
                  <a:pt x="1844" y="720"/>
                </a:lnTo>
                <a:lnTo>
                  <a:pt x="1844" y="718"/>
                </a:lnTo>
                <a:lnTo>
                  <a:pt x="1845" y="718"/>
                </a:lnTo>
                <a:lnTo>
                  <a:pt x="1847" y="718"/>
                </a:lnTo>
                <a:lnTo>
                  <a:pt x="1845" y="718"/>
                </a:lnTo>
                <a:lnTo>
                  <a:pt x="1845" y="720"/>
                </a:lnTo>
                <a:lnTo>
                  <a:pt x="1847" y="720"/>
                </a:lnTo>
                <a:lnTo>
                  <a:pt x="1847" y="718"/>
                </a:lnTo>
                <a:lnTo>
                  <a:pt x="1849" y="718"/>
                </a:lnTo>
                <a:lnTo>
                  <a:pt x="1847" y="718"/>
                </a:lnTo>
                <a:lnTo>
                  <a:pt x="1847" y="716"/>
                </a:lnTo>
                <a:lnTo>
                  <a:pt x="1849" y="716"/>
                </a:lnTo>
                <a:lnTo>
                  <a:pt x="1849" y="718"/>
                </a:lnTo>
                <a:lnTo>
                  <a:pt x="1849" y="716"/>
                </a:lnTo>
                <a:lnTo>
                  <a:pt x="1849" y="718"/>
                </a:lnTo>
                <a:lnTo>
                  <a:pt x="1851" y="718"/>
                </a:lnTo>
                <a:lnTo>
                  <a:pt x="1851" y="720"/>
                </a:lnTo>
                <a:lnTo>
                  <a:pt x="1849" y="720"/>
                </a:lnTo>
                <a:lnTo>
                  <a:pt x="1849" y="722"/>
                </a:lnTo>
                <a:lnTo>
                  <a:pt x="1847" y="722"/>
                </a:lnTo>
                <a:lnTo>
                  <a:pt x="1849" y="722"/>
                </a:lnTo>
                <a:lnTo>
                  <a:pt x="1849" y="720"/>
                </a:lnTo>
                <a:lnTo>
                  <a:pt x="1849" y="722"/>
                </a:lnTo>
                <a:lnTo>
                  <a:pt x="1851" y="722"/>
                </a:lnTo>
                <a:lnTo>
                  <a:pt x="1851" y="720"/>
                </a:lnTo>
                <a:lnTo>
                  <a:pt x="1851" y="718"/>
                </a:lnTo>
                <a:lnTo>
                  <a:pt x="1851" y="720"/>
                </a:lnTo>
                <a:lnTo>
                  <a:pt x="1851" y="722"/>
                </a:lnTo>
                <a:lnTo>
                  <a:pt x="1851" y="724"/>
                </a:lnTo>
                <a:lnTo>
                  <a:pt x="1849" y="724"/>
                </a:lnTo>
                <a:lnTo>
                  <a:pt x="1849" y="726"/>
                </a:lnTo>
                <a:lnTo>
                  <a:pt x="1849" y="728"/>
                </a:lnTo>
                <a:lnTo>
                  <a:pt x="1849" y="730"/>
                </a:lnTo>
                <a:lnTo>
                  <a:pt x="1847" y="730"/>
                </a:lnTo>
                <a:lnTo>
                  <a:pt x="1849" y="730"/>
                </a:lnTo>
                <a:lnTo>
                  <a:pt x="1847" y="730"/>
                </a:lnTo>
                <a:lnTo>
                  <a:pt x="1847" y="731"/>
                </a:lnTo>
                <a:lnTo>
                  <a:pt x="1845" y="731"/>
                </a:lnTo>
                <a:lnTo>
                  <a:pt x="1844" y="731"/>
                </a:lnTo>
                <a:lnTo>
                  <a:pt x="1844" y="733"/>
                </a:lnTo>
                <a:lnTo>
                  <a:pt x="1842" y="733"/>
                </a:lnTo>
                <a:lnTo>
                  <a:pt x="1840" y="733"/>
                </a:lnTo>
                <a:lnTo>
                  <a:pt x="1838" y="731"/>
                </a:lnTo>
                <a:lnTo>
                  <a:pt x="1840" y="731"/>
                </a:lnTo>
                <a:lnTo>
                  <a:pt x="1838" y="731"/>
                </a:lnTo>
                <a:lnTo>
                  <a:pt x="1836" y="731"/>
                </a:lnTo>
                <a:lnTo>
                  <a:pt x="1838" y="731"/>
                </a:lnTo>
                <a:lnTo>
                  <a:pt x="1838" y="733"/>
                </a:lnTo>
                <a:lnTo>
                  <a:pt x="1836" y="733"/>
                </a:lnTo>
                <a:lnTo>
                  <a:pt x="1838" y="733"/>
                </a:lnTo>
                <a:lnTo>
                  <a:pt x="1840" y="733"/>
                </a:lnTo>
                <a:lnTo>
                  <a:pt x="1838" y="735"/>
                </a:lnTo>
                <a:lnTo>
                  <a:pt x="1838" y="737"/>
                </a:lnTo>
                <a:lnTo>
                  <a:pt x="1836" y="737"/>
                </a:lnTo>
                <a:lnTo>
                  <a:pt x="1836" y="739"/>
                </a:lnTo>
                <a:lnTo>
                  <a:pt x="1838" y="739"/>
                </a:lnTo>
                <a:lnTo>
                  <a:pt x="1836" y="739"/>
                </a:lnTo>
                <a:lnTo>
                  <a:pt x="1838" y="739"/>
                </a:lnTo>
                <a:lnTo>
                  <a:pt x="1838" y="741"/>
                </a:lnTo>
                <a:lnTo>
                  <a:pt x="1840" y="741"/>
                </a:lnTo>
                <a:lnTo>
                  <a:pt x="1840" y="743"/>
                </a:lnTo>
                <a:lnTo>
                  <a:pt x="1840" y="745"/>
                </a:lnTo>
                <a:lnTo>
                  <a:pt x="1840" y="747"/>
                </a:lnTo>
                <a:lnTo>
                  <a:pt x="1838" y="747"/>
                </a:lnTo>
                <a:lnTo>
                  <a:pt x="1838" y="749"/>
                </a:lnTo>
                <a:lnTo>
                  <a:pt x="1838" y="747"/>
                </a:lnTo>
                <a:lnTo>
                  <a:pt x="1838" y="749"/>
                </a:lnTo>
                <a:lnTo>
                  <a:pt x="1838" y="751"/>
                </a:lnTo>
                <a:lnTo>
                  <a:pt x="1840" y="751"/>
                </a:lnTo>
                <a:lnTo>
                  <a:pt x="1842" y="751"/>
                </a:lnTo>
                <a:lnTo>
                  <a:pt x="1844" y="751"/>
                </a:lnTo>
                <a:lnTo>
                  <a:pt x="1845" y="751"/>
                </a:lnTo>
                <a:lnTo>
                  <a:pt x="1847" y="751"/>
                </a:lnTo>
                <a:lnTo>
                  <a:pt x="1849" y="751"/>
                </a:lnTo>
                <a:lnTo>
                  <a:pt x="1851" y="751"/>
                </a:lnTo>
                <a:lnTo>
                  <a:pt x="1851" y="753"/>
                </a:lnTo>
                <a:lnTo>
                  <a:pt x="1853" y="753"/>
                </a:lnTo>
                <a:lnTo>
                  <a:pt x="1853" y="754"/>
                </a:lnTo>
                <a:lnTo>
                  <a:pt x="1855" y="756"/>
                </a:lnTo>
                <a:lnTo>
                  <a:pt x="1855" y="758"/>
                </a:lnTo>
                <a:lnTo>
                  <a:pt x="1857" y="758"/>
                </a:lnTo>
                <a:lnTo>
                  <a:pt x="1855" y="758"/>
                </a:lnTo>
                <a:lnTo>
                  <a:pt x="1857" y="758"/>
                </a:lnTo>
                <a:lnTo>
                  <a:pt x="1857" y="760"/>
                </a:lnTo>
                <a:lnTo>
                  <a:pt x="1859" y="762"/>
                </a:lnTo>
                <a:lnTo>
                  <a:pt x="1861" y="762"/>
                </a:lnTo>
                <a:lnTo>
                  <a:pt x="1863" y="764"/>
                </a:lnTo>
                <a:lnTo>
                  <a:pt x="1865" y="764"/>
                </a:lnTo>
                <a:lnTo>
                  <a:pt x="1865" y="766"/>
                </a:lnTo>
                <a:lnTo>
                  <a:pt x="1865" y="768"/>
                </a:lnTo>
                <a:lnTo>
                  <a:pt x="1865" y="766"/>
                </a:lnTo>
                <a:lnTo>
                  <a:pt x="1863" y="766"/>
                </a:lnTo>
                <a:lnTo>
                  <a:pt x="1863" y="768"/>
                </a:lnTo>
                <a:lnTo>
                  <a:pt x="1863" y="770"/>
                </a:lnTo>
                <a:lnTo>
                  <a:pt x="1865" y="768"/>
                </a:lnTo>
                <a:lnTo>
                  <a:pt x="1865" y="770"/>
                </a:lnTo>
                <a:lnTo>
                  <a:pt x="1863" y="770"/>
                </a:lnTo>
                <a:lnTo>
                  <a:pt x="1865" y="770"/>
                </a:lnTo>
                <a:lnTo>
                  <a:pt x="1867" y="770"/>
                </a:lnTo>
                <a:lnTo>
                  <a:pt x="1867" y="772"/>
                </a:lnTo>
                <a:lnTo>
                  <a:pt x="1865" y="774"/>
                </a:lnTo>
                <a:lnTo>
                  <a:pt x="1865" y="776"/>
                </a:lnTo>
                <a:lnTo>
                  <a:pt x="1865" y="778"/>
                </a:lnTo>
                <a:lnTo>
                  <a:pt x="1865" y="776"/>
                </a:lnTo>
                <a:lnTo>
                  <a:pt x="1867" y="776"/>
                </a:lnTo>
                <a:lnTo>
                  <a:pt x="1869" y="776"/>
                </a:lnTo>
                <a:lnTo>
                  <a:pt x="1867" y="776"/>
                </a:lnTo>
                <a:lnTo>
                  <a:pt x="1867" y="778"/>
                </a:lnTo>
                <a:lnTo>
                  <a:pt x="1867" y="779"/>
                </a:lnTo>
                <a:lnTo>
                  <a:pt x="1865" y="779"/>
                </a:lnTo>
                <a:lnTo>
                  <a:pt x="1865" y="781"/>
                </a:lnTo>
                <a:lnTo>
                  <a:pt x="1863" y="781"/>
                </a:lnTo>
                <a:lnTo>
                  <a:pt x="1865" y="781"/>
                </a:lnTo>
                <a:lnTo>
                  <a:pt x="1867" y="781"/>
                </a:lnTo>
                <a:lnTo>
                  <a:pt x="1869" y="779"/>
                </a:lnTo>
                <a:lnTo>
                  <a:pt x="1869" y="778"/>
                </a:lnTo>
                <a:lnTo>
                  <a:pt x="1870" y="778"/>
                </a:lnTo>
                <a:lnTo>
                  <a:pt x="1870" y="779"/>
                </a:lnTo>
                <a:lnTo>
                  <a:pt x="1870" y="781"/>
                </a:lnTo>
                <a:lnTo>
                  <a:pt x="1872" y="783"/>
                </a:lnTo>
                <a:lnTo>
                  <a:pt x="1872" y="785"/>
                </a:lnTo>
                <a:lnTo>
                  <a:pt x="1872" y="787"/>
                </a:lnTo>
                <a:lnTo>
                  <a:pt x="1872" y="789"/>
                </a:lnTo>
                <a:lnTo>
                  <a:pt x="1872" y="791"/>
                </a:lnTo>
                <a:lnTo>
                  <a:pt x="1870" y="793"/>
                </a:lnTo>
                <a:lnTo>
                  <a:pt x="1872" y="791"/>
                </a:lnTo>
                <a:lnTo>
                  <a:pt x="1872" y="793"/>
                </a:lnTo>
                <a:lnTo>
                  <a:pt x="1870" y="793"/>
                </a:lnTo>
                <a:lnTo>
                  <a:pt x="1870" y="791"/>
                </a:lnTo>
                <a:lnTo>
                  <a:pt x="1869" y="791"/>
                </a:lnTo>
                <a:lnTo>
                  <a:pt x="1867" y="791"/>
                </a:lnTo>
                <a:lnTo>
                  <a:pt x="1865" y="791"/>
                </a:lnTo>
                <a:lnTo>
                  <a:pt x="1863" y="793"/>
                </a:lnTo>
                <a:lnTo>
                  <a:pt x="1863" y="791"/>
                </a:lnTo>
                <a:lnTo>
                  <a:pt x="1865" y="791"/>
                </a:lnTo>
                <a:lnTo>
                  <a:pt x="1863" y="791"/>
                </a:lnTo>
                <a:lnTo>
                  <a:pt x="1863" y="793"/>
                </a:lnTo>
                <a:lnTo>
                  <a:pt x="1861" y="793"/>
                </a:lnTo>
                <a:lnTo>
                  <a:pt x="1859" y="793"/>
                </a:lnTo>
                <a:lnTo>
                  <a:pt x="1861" y="793"/>
                </a:lnTo>
                <a:lnTo>
                  <a:pt x="1859" y="793"/>
                </a:lnTo>
                <a:lnTo>
                  <a:pt x="1859" y="791"/>
                </a:lnTo>
                <a:lnTo>
                  <a:pt x="1859" y="793"/>
                </a:lnTo>
                <a:lnTo>
                  <a:pt x="1857" y="793"/>
                </a:lnTo>
                <a:lnTo>
                  <a:pt x="1857" y="795"/>
                </a:lnTo>
                <a:lnTo>
                  <a:pt x="1855" y="795"/>
                </a:lnTo>
                <a:lnTo>
                  <a:pt x="1855" y="793"/>
                </a:lnTo>
                <a:lnTo>
                  <a:pt x="1857" y="793"/>
                </a:lnTo>
                <a:lnTo>
                  <a:pt x="1857" y="791"/>
                </a:lnTo>
                <a:lnTo>
                  <a:pt x="1855" y="793"/>
                </a:lnTo>
                <a:lnTo>
                  <a:pt x="1853" y="793"/>
                </a:lnTo>
                <a:lnTo>
                  <a:pt x="1855" y="793"/>
                </a:lnTo>
                <a:lnTo>
                  <a:pt x="1855" y="795"/>
                </a:lnTo>
                <a:lnTo>
                  <a:pt x="1855" y="797"/>
                </a:lnTo>
                <a:lnTo>
                  <a:pt x="1855" y="799"/>
                </a:lnTo>
                <a:lnTo>
                  <a:pt x="1857" y="799"/>
                </a:lnTo>
                <a:lnTo>
                  <a:pt x="1855" y="801"/>
                </a:lnTo>
                <a:lnTo>
                  <a:pt x="1857" y="802"/>
                </a:lnTo>
                <a:lnTo>
                  <a:pt x="1857" y="804"/>
                </a:lnTo>
                <a:lnTo>
                  <a:pt x="1859" y="804"/>
                </a:lnTo>
                <a:lnTo>
                  <a:pt x="1859" y="806"/>
                </a:lnTo>
                <a:lnTo>
                  <a:pt x="1857" y="806"/>
                </a:lnTo>
                <a:lnTo>
                  <a:pt x="1857" y="804"/>
                </a:lnTo>
                <a:lnTo>
                  <a:pt x="1857" y="802"/>
                </a:lnTo>
                <a:lnTo>
                  <a:pt x="1855" y="802"/>
                </a:lnTo>
                <a:lnTo>
                  <a:pt x="1855" y="801"/>
                </a:lnTo>
                <a:lnTo>
                  <a:pt x="1853" y="801"/>
                </a:lnTo>
                <a:lnTo>
                  <a:pt x="1853" y="799"/>
                </a:lnTo>
                <a:lnTo>
                  <a:pt x="1851" y="799"/>
                </a:lnTo>
                <a:lnTo>
                  <a:pt x="1851" y="797"/>
                </a:lnTo>
                <a:lnTo>
                  <a:pt x="1851" y="799"/>
                </a:lnTo>
                <a:lnTo>
                  <a:pt x="1851" y="797"/>
                </a:lnTo>
                <a:lnTo>
                  <a:pt x="1851" y="795"/>
                </a:lnTo>
                <a:lnTo>
                  <a:pt x="1849" y="795"/>
                </a:lnTo>
                <a:lnTo>
                  <a:pt x="1849" y="797"/>
                </a:lnTo>
                <a:lnTo>
                  <a:pt x="1849" y="795"/>
                </a:lnTo>
                <a:lnTo>
                  <a:pt x="1847" y="795"/>
                </a:lnTo>
                <a:lnTo>
                  <a:pt x="1847" y="797"/>
                </a:lnTo>
                <a:lnTo>
                  <a:pt x="1849" y="797"/>
                </a:lnTo>
                <a:lnTo>
                  <a:pt x="1847" y="797"/>
                </a:lnTo>
                <a:lnTo>
                  <a:pt x="1849" y="799"/>
                </a:lnTo>
                <a:lnTo>
                  <a:pt x="1851" y="799"/>
                </a:lnTo>
                <a:lnTo>
                  <a:pt x="1851" y="801"/>
                </a:lnTo>
                <a:lnTo>
                  <a:pt x="1851" y="802"/>
                </a:lnTo>
                <a:lnTo>
                  <a:pt x="1851" y="801"/>
                </a:lnTo>
                <a:lnTo>
                  <a:pt x="1851" y="802"/>
                </a:lnTo>
                <a:lnTo>
                  <a:pt x="1853" y="802"/>
                </a:lnTo>
                <a:lnTo>
                  <a:pt x="1853" y="804"/>
                </a:lnTo>
                <a:lnTo>
                  <a:pt x="1855" y="804"/>
                </a:lnTo>
                <a:lnTo>
                  <a:pt x="1855" y="806"/>
                </a:lnTo>
                <a:lnTo>
                  <a:pt x="1855" y="808"/>
                </a:lnTo>
                <a:lnTo>
                  <a:pt x="1857" y="808"/>
                </a:lnTo>
                <a:lnTo>
                  <a:pt x="1859" y="808"/>
                </a:lnTo>
                <a:lnTo>
                  <a:pt x="1859" y="810"/>
                </a:lnTo>
                <a:lnTo>
                  <a:pt x="1859" y="812"/>
                </a:lnTo>
                <a:lnTo>
                  <a:pt x="1861" y="812"/>
                </a:lnTo>
                <a:lnTo>
                  <a:pt x="1861" y="814"/>
                </a:lnTo>
                <a:lnTo>
                  <a:pt x="1863" y="814"/>
                </a:lnTo>
                <a:lnTo>
                  <a:pt x="1863" y="816"/>
                </a:lnTo>
                <a:lnTo>
                  <a:pt x="1861" y="816"/>
                </a:lnTo>
                <a:lnTo>
                  <a:pt x="1861" y="814"/>
                </a:lnTo>
                <a:lnTo>
                  <a:pt x="1861" y="816"/>
                </a:lnTo>
                <a:lnTo>
                  <a:pt x="1859" y="816"/>
                </a:lnTo>
                <a:lnTo>
                  <a:pt x="1857" y="816"/>
                </a:lnTo>
                <a:lnTo>
                  <a:pt x="1857" y="814"/>
                </a:lnTo>
                <a:lnTo>
                  <a:pt x="1857" y="816"/>
                </a:lnTo>
                <a:lnTo>
                  <a:pt x="1857" y="818"/>
                </a:lnTo>
                <a:lnTo>
                  <a:pt x="1859" y="818"/>
                </a:lnTo>
                <a:lnTo>
                  <a:pt x="1857" y="818"/>
                </a:lnTo>
                <a:lnTo>
                  <a:pt x="1857" y="816"/>
                </a:lnTo>
                <a:lnTo>
                  <a:pt x="1855" y="816"/>
                </a:lnTo>
                <a:lnTo>
                  <a:pt x="1855" y="814"/>
                </a:lnTo>
                <a:lnTo>
                  <a:pt x="1853" y="814"/>
                </a:lnTo>
                <a:lnTo>
                  <a:pt x="1851" y="814"/>
                </a:lnTo>
                <a:lnTo>
                  <a:pt x="1851" y="816"/>
                </a:lnTo>
                <a:lnTo>
                  <a:pt x="1849" y="816"/>
                </a:lnTo>
                <a:lnTo>
                  <a:pt x="1851" y="816"/>
                </a:lnTo>
                <a:lnTo>
                  <a:pt x="1851" y="818"/>
                </a:lnTo>
                <a:lnTo>
                  <a:pt x="1853" y="818"/>
                </a:lnTo>
                <a:lnTo>
                  <a:pt x="1853" y="820"/>
                </a:lnTo>
                <a:lnTo>
                  <a:pt x="1853" y="822"/>
                </a:lnTo>
                <a:lnTo>
                  <a:pt x="1855" y="822"/>
                </a:lnTo>
                <a:lnTo>
                  <a:pt x="1855" y="824"/>
                </a:lnTo>
                <a:lnTo>
                  <a:pt x="1857" y="824"/>
                </a:lnTo>
                <a:lnTo>
                  <a:pt x="1857" y="826"/>
                </a:lnTo>
                <a:lnTo>
                  <a:pt x="1857" y="827"/>
                </a:lnTo>
                <a:lnTo>
                  <a:pt x="1859" y="827"/>
                </a:lnTo>
                <a:lnTo>
                  <a:pt x="1859" y="829"/>
                </a:lnTo>
                <a:lnTo>
                  <a:pt x="1859" y="831"/>
                </a:lnTo>
                <a:lnTo>
                  <a:pt x="1859" y="833"/>
                </a:lnTo>
                <a:lnTo>
                  <a:pt x="1859" y="835"/>
                </a:lnTo>
                <a:lnTo>
                  <a:pt x="1857" y="835"/>
                </a:lnTo>
                <a:lnTo>
                  <a:pt x="1857" y="837"/>
                </a:lnTo>
                <a:lnTo>
                  <a:pt x="1859" y="837"/>
                </a:lnTo>
                <a:lnTo>
                  <a:pt x="1857" y="837"/>
                </a:lnTo>
                <a:lnTo>
                  <a:pt x="1857" y="835"/>
                </a:lnTo>
                <a:lnTo>
                  <a:pt x="1859" y="835"/>
                </a:lnTo>
                <a:lnTo>
                  <a:pt x="1859" y="837"/>
                </a:lnTo>
                <a:lnTo>
                  <a:pt x="1859" y="835"/>
                </a:lnTo>
                <a:lnTo>
                  <a:pt x="1861" y="833"/>
                </a:lnTo>
                <a:lnTo>
                  <a:pt x="1863" y="833"/>
                </a:lnTo>
                <a:lnTo>
                  <a:pt x="1863" y="835"/>
                </a:lnTo>
                <a:lnTo>
                  <a:pt x="1861" y="837"/>
                </a:lnTo>
                <a:lnTo>
                  <a:pt x="1863" y="837"/>
                </a:lnTo>
                <a:lnTo>
                  <a:pt x="1865" y="835"/>
                </a:lnTo>
                <a:lnTo>
                  <a:pt x="1867" y="835"/>
                </a:lnTo>
                <a:lnTo>
                  <a:pt x="1867" y="837"/>
                </a:lnTo>
                <a:lnTo>
                  <a:pt x="1867" y="835"/>
                </a:lnTo>
                <a:lnTo>
                  <a:pt x="1867" y="837"/>
                </a:lnTo>
                <a:lnTo>
                  <a:pt x="1869" y="837"/>
                </a:lnTo>
                <a:lnTo>
                  <a:pt x="1869" y="839"/>
                </a:lnTo>
                <a:lnTo>
                  <a:pt x="1870" y="839"/>
                </a:lnTo>
                <a:lnTo>
                  <a:pt x="1872" y="839"/>
                </a:lnTo>
                <a:lnTo>
                  <a:pt x="1872" y="841"/>
                </a:lnTo>
                <a:lnTo>
                  <a:pt x="1872" y="839"/>
                </a:lnTo>
                <a:lnTo>
                  <a:pt x="1874" y="839"/>
                </a:lnTo>
                <a:lnTo>
                  <a:pt x="1874" y="841"/>
                </a:lnTo>
                <a:lnTo>
                  <a:pt x="1876" y="841"/>
                </a:lnTo>
                <a:lnTo>
                  <a:pt x="1876" y="843"/>
                </a:lnTo>
                <a:lnTo>
                  <a:pt x="1878" y="843"/>
                </a:lnTo>
                <a:lnTo>
                  <a:pt x="1878" y="845"/>
                </a:lnTo>
                <a:lnTo>
                  <a:pt x="1880" y="845"/>
                </a:lnTo>
                <a:lnTo>
                  <a:pt x="1880" y="847"/>
                </a:lnTo>
                <a:lnTo>
                  <a:pt x="1878" y="847"/>
                </a:lnTo>
                <a:lnTo>
                  <a:pt x="1876" y="847"/>
                </a:lnTo>
                <a:lnTo>
                  <a:pt x="1874" y="847"/>
                </a:lnTo>
                <a:lnTo>
                  <a:pt x="1874" y="849"/>
                </a:lnTo>
                <a:lnTo>
                  <a:pt x="1876" y="849"/>
                </a:lnTo>
                <a:lnTo>
                  <a:pt x="1876" y="847"/>
                </a:lnTo>
                <a:lnTo>
                  <a:pt x="1878" y="847"/>
                </a:lnTo>
                <a:lnTo>
                  <a:pt x="1878" y="849"/>
                </a:lnTo>
                <a:lnTo>
                  <a:pt x="1880" y="847"/>
                </a:lnTo>
                <a:lnTo>
                  <a:pt x="1880" y="849"/>
                </a:lnTo>
                <a:lnTo>
                  <a:pt x="1878" y="849"/>
                </a:lnTo>
                <a:lnTo>
                  <a:pt x="1878" y="850"/>
                </a:lnTo>
                <a:lnTo>
                  <a:pt x="1876" y="850"/>
                </a:lnTo>
                <a:lnTo>
                  <a:pt x="1876" y="849"/>
                </a:lnTo>
                <a:lnTo>
                  <a:pt x="1876" y="850"/>
                </a:lnTo>
                <a:lnTo>
                  <a:pt x="1874" y="850"/>
                </a:lnTo>
                <a:lnTo>
                  <a:pt x="1876" y="850"/>
                </a:lnTo>
                <a:lnTo>
                  <a:pt x="1878" y="850"/>
                </a:lnTo>
                <a:lnTo>
                  <a:pt x="1878" y="852"/>
                </a:lnTo>
                <a:lnTo>
                  <a:pt x="1876" y="852"/>
                </a:lnTo>
                <a:lnTo>
                  <a:pt x="1878" y="852"/>
                </a:lnTo>
                <a:lnTo>
                  <a:pt x="1876" y="852"/>
                </a:lnTo>
                <a:lnTo>
                  <a:pt x="1878" y="852"/>
                </a:lnTo>
                <a:lnTo>
                  <a:pt x="1878" y="854"/>
                </a:lnTo>
                <a:lnTo>
                  <a:pt x="1880" y="854"/>
                </a:lnTo>
                <a:lnTo>
                  <a:pt x="1880" y="856"/>
                </a:lnTo>
                <a:lnTo>
                  <a:pt x="1882" y="856"/>
                </a:lnTo>
                <a:lnTo>
                  <a:pt x="1884" y="856"/>
                </a:lnTo>
                <a:lnTo>
                  <a:pt x="1886" y="856"/>
                </a:lnTo>
                <a:lnTo>
                  <a:pt x="1886" y="858"/>
                </a:lnTo>
                <a:lnTo>
                  <a:pt x="1888" y="858"/>
                </a:lnTo>
                <a:lnTo>
                  <a:pt x="1890" y="858"/>
                </a:lnTo>
                <a:lnTo>
                  <a:pt x="1890" y="860"/>
                </a:lnTo>
                <a:lnTo>
                  <a:pt x="1890" y="862"/>
                </a:lnTo>
                <a:lnTo>
                  <a:pt x="1890" y="860"/>
                </a:lnTo>
                <a:lnTo>
                  <a:pt x="1892" y="860"/>
                </a:lnTo>
                <a:lnTo>
                  <a:pt x="1892" y="862"/>
                </a:lnTo>
                <a:lnTo>
                  <a:pt x="1892" y="860"/>
                </a:lnTo>
                <a:lnTo>
                  <a:pt x="1892" y="862"/>
                </a:lnTo>
                <a:lnTo>
                  <a:pt x="1893" y="862"/>
                </a:lnTo>
                <a:lnTo>
                  <a:pt x="1893" y="864"/>
                </a:lnTo>
                <a:lnTo>
                  <a:pt x="1893" y="866"/>
                </a:lnTo>
                <a:lnTo>
                  <a:pt x="1895" y="866"/>
                </a:lnTo>
                <a:lnTo>
                  <a:pt x="1897" y="866"/>
                </a:lnTo>
                <a:lnTo>
                  <a:pt x="1897" y="868"/>
                </a:lnTo>
                <a:lnTo>
                  <a:pt x="1895" y="868"/>
                </a:lnTo>
                <a:lnTo>
                  <a:pt x="1893" y="868"/>
                </a:lnTo>
                <a:lnTo>
                  <a:pt x="1895" y="868"/>
                </a:lnTo>
                <a:lnTo>
                  <a:pt x="1893" y="868"/>
                </a:lnTo>
                <a:lnTo>
                  <a:pt x="1895" y="868"/>
                </a:lnTo>
                <a:lnTo>
                  <a:pt x="1897" y="868"/>
                </a:lnTo>
                <a:lnTo>
                  <a:pt x="1897" y="870"/>
                </a:lnTo>
                <a:lnTo>
                  <a:pt x="1895" y="870"/>
                </a:lnTo>
                <a:lnTo>
                  <a:pt x="1897" y="870"/>
                </a:lnTo>
                <a:lnTo>
                  <a:pt x="1895" y="870"/>
                </a:lnTo>
                <a:lnTo>
                  <a:pt x="1897" y="870"/>
                </a:lnTo>
                <a:lnTo>
                  <a:pt x="1897" y="872"/>
                </a:lnTo>
                <a:lnTo>
                  <a:pt x="1897" y="870"/>
                </a:lnTo>
                <a:lnTo>
                  <a:pt x="1899" y="870"/>
                </a:lnTo>
                <a:lnTo>
                  <a:pt x="1897" y="870"/>
                </a:lnTo>
                <a:lnTo>
                  <a:pt x="1897" y="872"/>
                </a:lnTo>
                <a:lnTo>
                  <a:pt x="1899" y="872"/>
                </a:lnTo>
                <a:lnTo>
                  <a:pt x="1899" y="874"/>
                </a:lnTo>
                <a:lnTo>
                  <a:pt x="1901" y="874"/>
                </a:lnTo>
                <a:lnTo>
                  <a:pt x="1899" y="875"/>
                </a:lnTo>
                <a:lnTo>
                  <a:pt x="1899" y="877"/>
                </a:lnTo>
                <a:lnTo>
                  <a:pt x="1901" y="877"/>
                </a:lnTo>
                <a:lnTo>
                  <a:pt x="1901" y="879"/>
                </a:lnTo>
                <a:lnTo>
                  <a:pt x="1899" y="879"/>
                </a:lnTo>
                <a:lnTo>
                  <a:pt x="1897" y="879"/>
                </a:lnTo>
                <a:lnTo>
                  <a:pt x="1899" y="879"/>
                </a:lnTo>
                <a:lnTo>
                  <a:pt x="1899" y="881"/>
                </a:lnTo>
                <a:lnTo>
                  <a:pt x="1899" y="883"/>
                </a:lnTo>
                <a:lnTo>
                  <a:pt x="1897" y="883"/>
                </a:lnTo>
                <a:lnTo>
                  <a:pt x="1899" y="883"/>
                </a:lnTo>
                <a:lnTo>
                  <a:pt x="1897" y="885"/>
                </a:lnTo>
                <a:lnTo>
                  <a:pt x="1899" y="885"/>
                </a:lnTo>
                <a:lnTo>
                  <a:pt x="1899" y="883"/>
                </a:lnTo>
                <a:lnTo>
                  <a:pt x="1899" y="885"/>
                </a:lnTo>
                <a:lnTo>
                  <a:pt x="1897" y="885"/>
                </a:lnTo>
                <a:lnTo>
                  <a:pt x="1899" y="885"/>
                </a:lnTo>
                <a:lnTo>
                  <a:pt x="1897" y="885"/>
                </a:lnTo>
                <a:lnTo>
                  <a:pt x="1899" y="885"/>
                </a:lnTo>
                <a:lnTo>
                  <a:pt x="1899" y="887"/>
                </a:lnTo>
                <a:lnTo>
                  <a:pt x="1899" y="885"/>
                </a:lnTo>
                <a:lnTo>
                  <a:pt x="1899" y="887"/>
                </a:lnTo>
                <a:lnTo>
                  <a:pt x="1899" y="885"/>
                </a:lnTo>
                <a:lnTo>
                  <a:pt x="1901" y="885"/>
                </a:lnTo>
                <a:lnTo>
                  <a:pt x="1901" y="887"/>
                </a:lnTo>
                <a:lnTo>
                  <a:pt x="1903" y="887"/>
                </a:lnTo>
                <a:lnTo>
                  <a:pt x="1903" y="889"/>
                </a:lnTo>
                <a:lnTo>
                  <a:pt x="1901" y="889"/>
                </a:lnTo>
                <a:lnTo>
                  <a:pt x="1903" y="889"/>
                </a:lnTo>
                <a:lnTo>
                  <a:pt x="1903" y="887"/>
                </a:lnTo>
                <a:lnTo>
                  <a:pt x="1903" y="889"/>
                </a:lnTo>
                <a:lnTo>
                  <a:pt x="1903" y="891"/>
                </a:lnTo>
                <a:lnTo>
                  <a:pt x="1905" y="891"/>
                </a:lnTo>
                <a:lnTo>
                  <a:pt x="1903" y="891"/>
                </a:lnTo>
                <a:lnTo>
                  <a:pt x="1903" y="893"/>
                </a:lnTo>
                <a:lnTo>
                  <a:pt x="1905" y="893"/>
                </a:lnTo>
                <a:lnTo>
                  <a:pt x="1905" y="895"/>
                </a:lnTo>
                <a:lnTo>
                  <a:pt x="1903" y="895"/>
                </a:lnTo>
                <a:lnTo>
                  <a:pt x="1903" y="897"/>
                </a:lnTo>
                <a:lnTo>
                  <a:pt x="1901" y="897"/>
                </a:lnTo>
                <a:lnTo>
                  <a:pt x="1901" y="898"/>
                </a:lnTo>
                <a:lnTo>
                  <a:pt x="1899" y="898"/>
                </a:lnTo>
                <a:lnTo>
                  <a:pt x="1899" y="897"/>
                </a:lnTo>
                <a:lnTo>
                  <a:pt x="1899" y="898"/>
                </a:lnTo>
                <a:lnTo>
                  <a:pt x="1901" y="898"/>
                </a:lnTo>
                <a:lnTo>
                  <a:pt x="1901" y="900"/>
                </a:lnTo>
                <a:lnTo>
                  <a:pt x="1903" y="900"/>
                </a:lnTo>
                <a:lnTo>
                  <a:pt x="1905" y="900"/>
                </a:lnTo>
                <a:lnTo>
                  <a:pt x="1905" y="902"/>
                </a:lnTo>
                <a:lnTo>
                  <a:pt x="1907" y="902"/>
                </a:lnTo>
                <a:lnTo>
                  <a:pt x="1907" y="900"/>
                </a:lnTo>
                <a:lnTo>
                  <a:pt x="1907" y="902"/>
                </a:lnTo>
                <a:lnTo>
                  <a:pt x="1909" y="902"/>
                </a:lnTo>
                <a:lnTo>
                  <a:pt x="1907" y="902"/>
                </a:lnTo>
                <a:lnTo>
                  <a:pt x="1909" y="902"/>
                </a:lnTo>
                <a:lnTo>
                  <a:pt x="1909" y="904"/>
                </a:lnTo>
                <a:lnTo>
                  <a:pt x="1909" y="906"/>
                </a:lnTo>
                <a:lnTo>
                  <a:pt x="1907" y="906"/>
                </a:lnTo>
                <a:lnTo>
                  <a:pt x="1909" y="906"/>
                </a:lnTo>
                <a:lnTo>
                  <a:pt x="1909" y="908"/>
                </a:lnTo>
                <a:lnTo>
                  <a:pt x="1909" y="910"/>
                </a:lnTo>
                <a:lnTo>
                  <a:pt x="1907" y="910"/>
                </a:lnTo>
                <a:lnTo>
                  <a:pt x="1909" y="910"/>
                </a:lnTo>
                <a:lnTo>
                  <a:pt x="1909" y="912"/>
                </a:lnTo>
                <a:lnTo>
                  <a:pt x="1907" y="912"/>
                </a:lnTo>
                <a:lnTo>
                  <a:pt x="1909" y="912"/>
                </a:lnTo>
                <a:lnTo>
                  <a:pt x="1909" y="914"/>
                </a:lnTo>
                <a:lnTo>
                  <a:pt x="1909" y="912"/>
                </a:lnTo>
                <a:lnTo>
                  <a:pt x="1909" y="914"/>
                </a:lnTo>
                <a:lnTo>
                  <a:pt x="1909" y="912"/>
                </a:lnTo>
                <a:lnTo>
                  <a:pt x="1909" y="914"/>
                </a:lnTo>
                <a:lnTo>
                  <a:pt x="1911" y="914"/>
                </a:lnTo>
                <a:lnTo>
                  <a:pt x="1909" y="914"/>
                </a:lnTo>
                <a:lnTo>
                  <a:pt x="1911" y="914"/>
                </a:lnTo>
                <a:lnTo>
                  <a:pt x="1911" y="916"/>
                </a:lnTo>
                <a:lnTo>
                  <a:pt x="1911" y="914"/>
                </a:lnTo>
                <a:lnTo>
                  <a:pt x="1911" y="916"/>
                </a:lnTo>
                <a:lnTo>
                  <a:pt x="1909" y="916"/>
                </a:lnTo>
                <a:lnTo>
                  <a:pt x="1909" y="918"/>
                </a:lnTo>
                <a:lnTo>
                  <a:pt x="1909" y="916"/>
                </a:lnTo>
                <a:lnTo>
                  <a:pt x="1909" y="918"/>
                </a:lnTo>
                <a:lnTo>
                  <a:pt x="1909" y="916"/>
                </a:lnTo>
                <a:lnTo>
                  <a:pt x="1909" y="918"/>
                </a:lnTo>
                <a:lnTo>
                  <a:pt x="1907" y="918"/>
                </a:lnTo>
                <a:lnTo>
                  <a:pt x="1907" y="920"/>
                </a:lnTo>
                <a:lnTo>
                  <a:pt x="1907" y="922"/>
                </a:lnTo>
                <a:lnTo>
                  <a:pt x="1909" y="922"/>
                </a:lnTo>
                <a:lnTo>
                  <a:pt x="1907" y="922"/>
                </a:lnTo>
                <a:lnTo>
                  <a:pt x="1909" y="922"/>
                </a:lnTo>
                <a:lnTo>
                  <a:pt x="1909" y="923"/>
                </a:lnTo>
                <a:lnTo>
                  <a:pt x="1911" y="923"/>
                </a:lnTo>
                <a:lnTo>
                  <a:pt x="1911" y="925"/>
                </a:lnTo>
                <a:lnTo>
                  <a:pt x="1911" y="927"/>
                </a:lnTo>
                <a:lnTo>
                  <a:pt x="1913" y="927"/>
                </a:lnTo>
                <a:lnTo>
                  <a:pt x="1913" y="929"/>
                </a:lnTo>
                <a:lnTo>
                  <a:pt x="1913" y="927"/>
                </a:lnTo>
                <a:lnTo>
                  <a:pt x="1915" y="929"/>
                </a:lnTo>
                <a:lnTo>
                  <a:pt x="1913" y="929"/>
                </a:lnTo>
                <a:lnTo>
                  <a:pt x="1915" y="929"/>
                </a:lnTo>
                <a:lnTo>
                  <a:pt x="1913" y="929"/>
                </a:lnTo>
                <a:lnTo>
                  <a:pt x="1913" y="931"/>
                </a:lnTo>
                <a:lnTo>
                  <a:pt x="1915" y="931"/>
                </a:lnTo>
                <a:lnTo>
                  <a:pt x="1915" y="929"/>
                </a:lnTo>
                <a:lnTo>
                  <a:pt x="1915" y="931"/>
                </a:lnTo>
                <a:lnTo>
                  <a:pt x="1915" y="933"/>
                </a:lnTo>
                <a:lnTo>
                  <a:pt x="1913" y="933"/>
                </a:lnTo>
                <a:lnTo>
                  <a:pt x="1915" y="933"/>
                </a:lnTo>
                <a:lnTo>
                  <a:pt x="1915" y="931"/>
                </a:lnTo>
                <a:lnTo>
                  <a:pt x="1915" y="933"/>
                </a:lnTo>
                <a:lnTo>
                  <a:pt x="1913" y="933"/>
                </a:lnTo>
                <a:lnTo>
                  <a:pt x="1915" y="933"/>
                </a:lnTo>
                <a:lnTo>
                  <a:pt x="1915" y="935"/>
                </a:lnTo>
                <a:lnTo>
                  <a:pt x="1915" y="933"/>
                </a:lnTo>
                <a:lnTo>
                  <a:pt x="1915" y="935"/>
                </a:lnTo>
                <a:lnTo>
                  <a:pt x="1915" y="937"/>
                </a:lnTo>
                <a:lnTo>
                  <a:pt x="1917" y="937"/>
                </a:lnTo>
                <a:lnTo>
                  <a:pt x="1917" y="939"/>
                </a:lnTo>
                <a:lnTo>
                  <a:pt x="1918" y="939"/>
                </a:lnTo>
                <a:lnTo>
                  <a:pt x="1920" y="939"/>
                </a:lnTo>
                <a:lnTo>
                  <a:pt x="1922" y="939"/>
                </a:lnTo>
                <a:lnTo>
                  <a:pt x="1922" y="941"/>
                </a:lnTo>
                <a:lnTo>
                  <a:pt x="1922" y="943"/>
                </a:lnTo>
                <a:lnTo>
                  <a:pt x="1924" y="943"/>
                </a:lnTo>
                <a:lnTo>
                  <a:pt x="1924" y="945"/>
                </a:lnTo>
                <a:lnTo>
                  <a:pt x="1926" y="945"/>
                </a:lnTo>
                <a:lnTo>
                  <a:pt x="1924" y="945"/>
                </a:lnTo>
                <a:lnTo>
                  <a:pt x="1924" y="943"/>
                </a:lnTo>
                <a:lnTo>
                  <a:pt x="1924" y="945"/>
                </a:lnTo>
                <a:lnTo>
                  <a:pt x="1926" y="945"/>
                </a:lnTo>
                <a:lnTo>
                  <a:pt x="1926" y="946"/>
                </a:lnTo>
                <a:lnTo>
                  <a:pt x="1928" y="945"/>
                </a:lnTo>
                <a:lnTo>
                  <a:pt x="1928" y="946"/>
                </a:lnTo>
                <a:lnTo>
                  <a:pt x="1928" y="948"/>
                </a:lnTo>
                <a:lnTo>
                  <a:pt x="1928" y="946"/>
                </a:lnTo>
                <a:lnTo>
                  <a:pt x="1928" y="948"/>
                </a:lnTo>
                <a:lnTo>
                  <a:pt x="1930" y="948"/>
                </a:lnTo>
                <a:lnTo>
                  <a:pt x="1930" y="950"/>
                </a:lnTo>
                <a:lnTo>
                  <a:pt x="1930" y="948"/>
                </a:lnTo>
                <a:lnTo>
                  <a:pt x="1930" y="950"/>
                </a:lnTo>
                <a:lnTo>
                  <a:pt x="1932" y="952"/>
                </a:lnTo>
                <a:lnTo>
                  <a:pt x="1932" y="950"/>
                </a:lnTo>
                <a:lnTo>
                  <a:pt x="1932" y="952"/>
                </a:lnTo>
                <a:lnTo>
                  <a:pt x="1932" y="954"/>
                </a:lnTo>
                <a:lnTo>
                  <a:pt x="1934" y="954"/>
                </a:lnTo>
                <a:lnTo>
                  <a:pt x="1934" y="956"/>
                </a:lnTo>
                <a:lnTo>
                  <a:pt x="1932" y="956"/>
                </a:lnTo>
                <a:lnTo>
                  <a:pt x="1934" y="956"/>
                </a:lnTo>
                <a:lnTo>
                  <a:pt x="1932" y="956"/>
                </a:lnTo>
                <a:lnTo>
                  <a:pt x="1934" y="956"/>
                </a:lnTo>
                <a:lnTo>
                  <a:pt x="1934" y="958"/>
                </a:lnTo>
                <a:lnTo>
                  <a:pt x="1932" y="958"/>
                </a:lnTo>
                <a:lnTo>
                  <a:pt x="1934" y="958"/>
                </a:lnTo>
                <a:lnTo>
                  <a:pt x="1934" y="960"/>
                </a:lnTo>
                <a:lnTo>
                  <a:pt x="1936" y="960"/>
                </a:lnTo>
                <a:lnTo>
                  <a:pt x="1936" y="962"/>
                </a:lnTo>
                <a:lnTo>
                  <a:pt x="1936" y="960"/>
                </a:lnTo>
                <a:lnTo>
                  <a:pt x="1936" y="962"/>
                </a:lnTo>
                <a:lnTo>
                  <a:pt x="1938" y="962"/>
                </a:lnTo>
                <a:lnTo>
                  <a:pt x="1936" y="962"/>
                </a:lnTo>
                <a:lnTo>
                  <a:pt x="1936" y="964"/>
                </a:lnTo>
                <a:lnTo>
                  <a:pt x="1938" y="964"/>
                </a:lnTo>
                <a:lnTo>
                  <a:pt x="1938" y="962"/>
                </a:lnTo>
                <a:lnTo>
                  <a:pt x="1940" y="962"/>
                </a:lnTo>
                <a:lnTo>
                  <a:pt x="1940" y="964"/>
                </a:lnTo>
                <a:lnTo>
                  <a:pt x="1940" y="962"/>
                </a:lnTo>
                <a:lnTo>
                  <a:pt x="1938" y="964"/>
                </a:lnTo>
                <a:lnTo>
                  <a:pt x="1938" y="966"/>
                </a:lnTo>
                <a:lnTo>
                  <a:pt x="1938" y="968"/>
                </a:lnTo>
                <a:lnTo>
                  <a:pt x="1938" y="970"/>
                </a:lnTo>
                <a:lnTo>
                  <a:pt x="1938" y="971"/>
                </a:lnTo>
                <a:lnTo>
                  <a:pt x="1938" y="973"/>
                </a:lnTo>
                <a:lnTo>
                  <a:pt x="1936" y="973"/>
                </a:lnTo>
                <a:lnTo>
                  <a:pt x="1936" y="971"/>
                </a:lnTo>
                <a:lnTo>
                  <a:pt x="1936" y="973"/>
                </a:lnTo>
                <a:lnTo>
                  <a:pt x="1938" y="973"/>
                </a:lnTo>
                <a:lnTo>
                  <a:pt x="1938" y="975"/>
                </a:lnTo>
                <a:lnTo>
                  <a:pt x="1940" y="975"/>
                </a:lnTo>
                <a:lnTo>
                  <a:pt x="1940" y="977"/>
                </a:lnTo>
                <a:lnTo>
                  <a:pt x="1938" y="977"/>
                </a:lnTo>
                <a:lnTo>
                  <a:pt x="1940" y="977"/>
                </a:lnTo>
                <a:lnTo>
                  <a:pt x="1940" y="979"/>
                </a:lnTo>
                <a:lnTo>
                  <a:pt x="1940" y="981"/>
                </a:lnTo>
                <a:lnTo>
                  <a:pt x="1940" y="983"/>
                </a:lnTo>
                <a:lnTo>
                  <a:pt x="1941" y="983"/>
                </a:lnTo>
                <a:lnTo>
                  <a:pt x="1943" y="983"/>
                </a:lnTo>
                <a:lnTo>
                  <a:pt x="1941" y="983"/>
                </a:lnTo>
                <a:lnTo>
                  <a:pt x="1940" y="983"/>
                </a:lnTo>
                <a:lnTo>
                  <a:pt x="1938" y="983"/>
                </a:lnTo>
                <a:lnTo>
                  <a:pt x="1940" y="983"/>
                </a:lnTo>
                <a:lnTo>
                  <a:pt x="1940" y="985"/>
                </a:lnTo>
                <a:lnTo>
                  <a:pt x="1941" y="985"/>
                </a:lnTo>
                <a:lnTo>
                  <a:pt x="1941" y="987"/>
                </a:lnTo>
                <a:lnTo>
                  <a:pt x="1941" y="989"/>
                </a:lnTo>
                <a:lnTo>
                  <a:pt x="1943" y="989"/>
                </a:lnTo>
                <a:lnTo>
                  <a:pt x="1943" y="991"/>
                </a:lnTo>
                <a:lnTo>
                  <a:pt x="1943" y="993"/>
                </a:lnTo>
                <a:lnTo>
                  <a:pt x="1945" y="993"/>
                </a:lnTo>
                <a:lnTo>
                  <a:pt x="1947" y="993"/>
                </a:lnTo>
                <a:lnTo>
                  <a:pt x="1947" y="994"/>
                </a:lnTo>
                <a:lnTo>
                  <a:pt x="1947" y="996"/>
                </a:lnTo>
                <a:lnTo>
                  <a:pt x="1949" y="996"/>
                </a:lnTo>
                <a:lnTo>
                  <a:pt x="1949" y="998"/>
                </a:lnTo>
                <a:lnTo>
                  <a:pt x="1951" y="998"/>
                </a:lnTo>
                <a:lnTo>
                  <a:pt x="1953" y="998"/>
                </a:lnTo>
                <a:lnTo>
                  <a:pt x="1955" y="998"/>
                </a:lnTo>
                <a:lnTo>
                  <a:pt x="1957" y="998"/>
                </a:lnTo>
                <a:lnTo>
                  <a:pt x="1955" y="998"/>
                </a:lnTo>
                <a:lnTo>
                  <a:pt x="1957" y="998"/>
                </a:lnTo>
                <a:lnTo>
                  <a:pt x="1959" y="998"/>
                </a:lnTo>
                <a:lnTo>
                  <a:pt x="1959" y="1000"/>
                </a:lnTo>
                <a:lnTo>
                  <a:pt x="1961" y="1000"/>
                </a:lnTo>
                <a:lnTo>
                  <a:pt x="1961" y="1002"/>
                </a:lnTo>
                <a:lnTo>
                  <a:pt x="1963" y="1002"/>
                </a:lnTo>
                <a:lnTo>
                  <a:pt x="1963" y="1004"/>
                </a:lnTo>
                <a:lnTo>
                  <a:pt x="1965" y="1004"/>
                </a:lnTo>
                <a:lnTo>
                  <a:pt x="1965" y="1006"/>
                </a:lnTo>
                <a:lnTo>
                  <a:pt x="1965" y="1004"/>
                </a:lnTo>
                <a:lnTo>
                  <a:pt x="1966" y="1004"/>
                </a:lnTo>
                <a:lnTo>
                  <a:pt x="1966" y="1006"/>
                </a:lnTo>
                <a:lnTo>
                  <a:pt x="1965" y="1006"/>
                </a:lnTo>
                <a:lnTo>
                  <a:pt x="1965" y="1008"/>
                </a:lnTo>
                <a:lnTo>
                  <a:pt x="1966" y="1006"/>
                </a:lnTo>
                <a:lnTo>
                  <a:pt x="1966" y="1004"/>
                </a:lnTo>
                <a:lnTo>
                  <a:pt x="1966" y="1006"/>
                </a:lnTo>
                <a:lnTo>
                  <a:pt x="1968" y="1006"/>
                </a:lnTo>
                <a:lnTo>
                  <a:pt x="1968" y="1004"/>
                </a:lnTo>
                <a:lnTo>
                  <a:pt x="1968" y="1006"/>
                </a:lnTo>
                <a:lnTo>
                  <a:pt x="1970" y="1006"/>
                </a:lnTo>
                <a:lnTo>
                  <a:pt x="1968" y="1006"/>
                </a:lnTo>
                <a:lnTo>
                  <a:pt x="1968" y="1008"/>
                </a:lnTo>
                <a:lnTo>
                  <a:pt x="1970" y="1008"/>
                </a:lnTo>
                <a:lnTo>
                  <a:pt x="1970" y="1006"/>
                </a:lnTo>
                <a:lnTo>
                  <a:pt x="1970" y="1008"/>
                </a:lnTo>
                <a:lnTo>
                  <a:pt x="1972" y="1008"/>
                </a:lnTo>
                <a:lnTo>
                  <a:pt x="1970" y="1008"/>
                </a:lnTo>
                <a:lnTo>
                  <a:pt x="1972" y="1008"/>
                </a:lnTo>
                <a:lnTo>
                  <a:pt x="1972" y="1010"/>
                </a:lnTo>
                <a:lnTo>
                  <a:pt x="1972" y="1008"/>
                </a:lnTo>
                <a:lnTo>
                  <a:pt x="1974" y="1008"/>
                </a:lnTo>
                <a:lnTo>
                  <a:pt x="1974" y="1010"/>
                </a:lnTo>
                <a:lnTo>
                  <a:pt x="1974" y="1008"/>
                </a:lnTo>
                <a:lnTo>
                  <a:pt x="1976" y="1008"/>
                </a:lnTo>
                <a:lnTo>
                  <a:pt x="1976" y="1010"/>
                </a:lnTo>
                <a:lnTo>
                  <a:pt x="1974" y="1010"/>
                </a:lnTo>
                <a:lnTo>
                  <a:pt x="1976" y="1010"/>
                </a:lnTo>
                <a:lnTo>
                  <a:pt x="1976" y="1012"/>
                </a:lnTo>
                <a:lnTo>
                  <a:pt x="1974" y="1012"/>
                </a:lnTo>
                <a:lnTo>
                  <a:pt x="1976" y="1012"/>
                </a:lnTo>
                <a:lnTo>
                  <a:pt x="1978" y="1014"/>
                </a:lnTo>
                <a:lnTo>
                  <a:pt x="1980" y="1014"/>
                </a:lnTo>
                <a:lnTo>
                  <a:pt x="1980" y="1012"/>
                </a:lnTo>
                <a:lnTo>
                  <a:pt x="1980" y="1014"/>
                </a:lnTo>
                <a:lnTo>
                  <a:pt x="1978" y="1014"/>
                </a:lnTo>
                <a:lnTo>
                  <a:pt x="1980" y="1014"/>
                </a:lnTo>
                <a:lnTo>
                  <a:pt x="1980" y="1016"/>
                </a:lnTo>
                <a:lnTo>
                  <a:pt x="1982" y="1016"/>
                </a:lnTo>
                <a:lnTo>
                  <a:pt x="1982" y="1018"/>
                </a:lnTo>
                <a:lnTo>
                  <a:pt x="1984" y="1018"/>
                </a:lnTo>
                <a:lnTo>
                  <a:pt x="1982" y="1018"/>
                </a:lnTo>
                <a:lnTo>
                  <a:pt x="1982" y="1019"/>
                </a:lnTo>
                <a:lnTo>
                  <a:pt x="1982" y="1018"/>
                </a:lnTo>
                <a:lnTo>
                  <a:pt x="1984" y="1018"/>
                </a:lnTo>
                <a:lnTo>
                  <a:pt x="1986" y="1018"/>
                </a:lnTo>
                <a:lnTo>
                  <a:pt x="1984" y="1018"/>
                </a:lnTo>
                <a:lnTo>
                  <a:pt x="1986" y="1018"/>
                </a:lnTo>
                <a:lnTo>
                  <a:pt x="1984" y="1018"/>
                </a:lnTo>
                <a:lnTo>
                  <a:pt x="1984" y="1019"/>
                </a:lnTo>
                <a:lnTo>
                  <a:pt x="1986" y="1019"/>
                </a:lnTo>
                <a:lnTo>
                  <a:pt x="1986" y="1021"/>
                </a:lnTo>
                <a:lnTo>
                  <a:pt x="1986" y="1023"/>
                </a:lnTo>
                <a:lnTo>
                  <a:pt x="1988" y="1023"/>
                </a:lnTo>
                <a:lnTo>
                  <a:pt x="1988" y="1025"/>
                </a:lnTo>
                <a:lnTo>
                  <a:pt x="1986" y="1025"/>
                </a:lnTo>
                <a:lnTo>
                  <a:pt x="1986" y="1027"/>
                </a:lnTo>
                <a:lnTo>
                  <a:pt x="1988" y="1027"/>
                </a:lnTo>
                <a:lnTo>
                  <a:pt x="1986" y="1027"/>
                </a:lnTo>
                <a:lnTo>
                  <a:pt x="1988" y="1027"/>
                </a:lnTo>
                <a:lnTo>
                  <a:pt x="1988" y="1029"/>
                </a:lnTo>
                <a:lnTo>
                  <a:pt x="1990" y="1029"/>
                </a:lnTo>
                <a:lnTo>
                  <a:pt x="1990" y="1031"/>
                </a:lnTo>
                <a:lnTo>
                  <a:pt x="1990" y="1033"/>
                </a:lnTo>
                <a:lnTo>
                  <a:pt x="1990" y="1031"/>
                </a:lnTo>
                <a:lnTo>
                  <a:pt x="1990" y="1029"/>
                </a:lnTo>
                <a:lnTo>
                  <a:pt x="1990" y="1027"/>
                </a:lnTo>
                <a:lnTo>
                  <a:pt x="1990" y="1029"/>
                </a:lnTo>
                <a:lnTo>
                  <a:pt x="1990" y="1031"/>
                </a:lnTo>
                <a:lnTo>
                  <a:pt x="1990" y="1033"/>
                </a:lnTo>
                <a:lnTo>
                  <a:pt x="1991" y="1033"/>
                </a:lnTo>
                <a:lnTo>
                  <a:pt x="1991" y="1035"/>
                </a:lnTo>
                <a:lnTo>
                  <a:pt x="1991" y="1037"/>
                </a:lnTo>
                <a:lnTo>
                  <a:pt x="1991" y="1039"/>
                </a:lnTo>
                <a:lnTo>
                  <a:pt x="1990" y="1039"/>
                </a:lnTo>
                <a:lnTo>
                  <a:pt x="1990" y="1041"/>
                </a:lnTo>
                <a:lnTo>
                  <a:pt x="1991" y="1041"/>
                </a:lnTo>
                <a:lnTo>
                  <a:pt x="1991" y="1042"/>
                </a:lnTo>
                <a:lnTo>
                  <a:pt x="1991" y="1041"/>
                </a:lnTo>
                <a:lnTo>
                  <a:pt x="1990" y="1042"/>
                </a:lnTo>
                <a:lnTo>
                  <a:pt x="1990" y="1044"/>
                </a:lnTo>
                <a:lnTo>
                  <a:pt x="1991" y="1044"/>
                </a:lnTo>
                <a:lnTo>
                  <a:pt x="1991" y="1046"/>
                </a:lnTo>
                <a:lnTo>
                  <a:pt x="1990" y="1046"/>
                </a:lnTo>
                <a:lnTo>
                  <a:pt x="1990" y="1048"/>
                </a:lnTo>
                <a:lnTo>
                  <a:pt x="1991" y="1048"/>
                </a:lnTo>
                <a:lnTo>
                  <a:pt x="1990" y="1048"/>
                </a:lnTo>
                <a:lnTo>
                  <a:pt x="1990" y="1050"/>
                </a:lnTo>
                <a:lnTo>
                  <a:pt x="1990" y="1052"/>
                </a:lnTo>
                <a:lnTo>
                  <a:pt x="1990" y="1054"/>
                </a:lnTo>
                <a:lnTo>
                  <a:pt x="1991" y="1054"/>
                </a:lnTo>
                <a:lnTo>
                  <a:pt x="1991" y="1056"/>
                </a:lnTo>
                <a:lnTo>
                  <a:pt x="1991" y="1058"/>
                </a:lnTo>
                <a:lnTo>
                  <a:pt x="1991" y="1060"/>
                </a:lnTo>
                <a:lnTo>
                  <a:pt x="1991" y="1062"/>
                </a:lnTo>
                <a:lnTo>
                  <a:pt x="1991" y="1064"/>
                </a:lnTo>
                <a:lnTo>
                  <a:pt x="1993" y="1062"/>
                </a:lnTo>
                <a:lnTo>
                  <a:pt x="1993" y="1064"/>
                </a:lnTo>
                <a:lnTo>
                  <a:pt x="1993" y="1066"/>
                </a:lnTo>
                <a:lnTo>
                  <a:pt x="1995" y="1066"/>
                </a:lnTo>
                <a:lnTo>
                  <a:pt x="1995" y="1067"/>
                </a:lnTo>
                <a:lnTo>
                  <a:pt x="1995" y="1069"/>
                </a:lnTo>
                <a:lnTo>
                  <a:pt x="1995" y="1071"/>
                </a:lnTo>
                <a:lnTo>
                  <a:pt x="1995" y="1073"/>
                </a:lnTo>
                <a:lnTo>
                  <a:pt x="1995" y="1075"/>
                </a:lnTo>
                <a:lnTo>
                  <a:pt x="1995" y="1077"/>
                </a:lnTo>
                <a:lnTo>
                  <a:pt x="1995" y="1079"/>
                </a:lnTo>
                <a:lnTo>
                  <a:pt x="1995" y="1081"/>
                </a:lnTo>
                <a:lnTo>
                  <a:pt x="1993" y="1083"/>
                </a:lnTo>
                <a:lnTo>
                  <a:pt x="1995" y="1085"/>
                </a:lnTo>
                <a:lnTo>
                  <a:pt x="1995" y="1087"/>
                </a:lnTo>
                <a:lnTo>
                  <a:pt x="1997" y="1087"/>
                </a:lnTo>
                <a:lnTo>
                  <a:pt x="1997" y="1085"/>
                </a:lnTo>
                <a:lnTo>
                  <a:pt x="1999" y="1085"/>
                </a:lnTo>
                <a:lnTo>
                  <a:pt x="1999" y="1083"/>
                </a:lnTo>
                <a:lnTo>
                  <a:pt x="1997" y="1083"/>
                </a:lnTo>
                <a:lnTo>
                  <a:pt x="1999" y="1083"/>
                </a:lnTo>
                <a:lnTo>
                  <a:pt x="1999" y="1081"/>
                </a:lnTo>
                <a:lnTo>
                  <a:pt x="1999" y="1083"/>
                </a:lnTo>
                <a:lnTo>
                  <a:pt x="2001" y="1085"/>
                </a:lnTo>
                <a:lnTo>
                  <a:pt x="2001" y="1087"/>
                </a:lnTo>
                <a:lnTo>
                  <a:pt x="2001" y="1089"/>
                </a:lnTo>
                <a:lnTo>
                  <a:pt x="2003" y="1089"/>
                </a:lnTo>
                <a:lnTo>
                  <a:pt x="2003" y="1090"/>
                </a:lnTo>
                <a:lnTo>
                  <a:pt x="2001" y="1090"/>
                </a:lnTo>
                <a:lnTo>
                  <a:pt x="1999" y="1094"/>
                </a:lnTo>
                <a:lnTo>
                  <a:pt x="1995" y="1096"/>
                </a:lnTo>
                <a:lnTo>
                  <a:pt x="1993" y="1098"/>
                </a:lnTo>
                <a:lnTo>
                  <a:pt x="1993" y="1100"/>
                </a:lnTo>
                <a:lnTo>
                  <a:pt x="1991" y="1100"/>
                </a:lnTo>
                <a:lnTo>
                  <a:pt x="1991" y="1102"/>
                </a:lnTo>
                <a:lnTo>
                  <a:pt x="1990" y="1104"/>
                </a:lnTo>
                <a:lnTo>
                  <a:pt x="1980" y="1112"/>
                </a:lnTo>
                <a:lnTo>
                  <a:pt x="1980" y="1113"/>
                </a:lnTo>
                <a:lnTo>
                  <a:pt x="1978" y="1115"/>
                </a:lnTo>
                <a:lnTo>
                  <a:pt x="1974" y="1119"/>
                </a:lnTo>
                <a:lnTo>
                  <a:pt x="1972" y="1121"/>
                </a:lnTo>
                <a:lnTo>
                  <a:pt x="1970" y="1123"/>
                </a:lnTo>
                <a:lnTo>
                  <a:pt x="1968" y="1125"/>
                </a:lnTo>
                <a:lnTo>
                  <a:pt x="1963" y="1131"/>
                </a:lnTo>
                <a:lnTo>
                  <a:pt x="1957" y="1137"/>
                </a:lnTo>
                <a:lnTo>
                  <a:pt x="1955" y="1138"/>
                </a:lnTo>
                <a:lnTo>
                  <a:pt x="1951" y="1142"/>
                </a:lnTo>
                <a:lnTo>
                  <a:pt x="1951" y="1144"/>
                </a:lnTo>
                <a:lnTo>
                  <a:pt x="1949" y="1144"/>
                </a:lnTo>
                <a:lnTo>
                  <a:pt x="1936" y="1158"/>
                </a:lnTo>
                <a:lnTo>
                  <a:pt x="1934" y="1161"/>
                </a:lnTo>
                <a:lnTo>
                  <a:pt x="1930" y="1163"/>
                </a:lnTo>
                <a:lnTo>
                  <a:pt x="1930" y="1165"/>
                </a:lnTo>
                <a:lnTo>
                  <a:pt x="1926" y="1167"/>
                </a:lnTo>
                <a:lnTo>
                  <a:pt x="1922" y="1171"/>
                </a:lnTo>
                <a:lnTo>
                  <a:pt x="1922" y="1173"/>
                </a:lnTo>
                <a:lnTo>
                  <a:pt x="1920" y="1175"/>
                </a:lnTo>
                <a:lnTo>
                  <a:pt x="1913" y="1181"/>
                </a:lnTo>
                <a:lnTo>
                  <a:pt x="1911" y="1185"/>
                </a:lnTo>
                <a:lnTo>
                  <a:pt x="1909" y="1186"/>
                </a:lnTo>
                <a:lnTo>
                  <a:pt x="1907" y="1188"/>
                </a:lnTo>
                <a:lnTo>
                  <a:pt x="1905" y="1188"/>
                </a:lnTo>
                <a:lnTo>
                  <a:pt x="1905" y="1190"/>
                </a:lnTo>
                <a:lnTo>
                  <a:pt x="1903" y="1192"/>
                </a:lnTo>
                <a:lnTo>
                  <a:pt x="1901" y="1194"/>
                </a:lnTo>
                <a:lnTo>
                  <a:pt x="1899" y="1194"/>
                </a:lnTo>
                <a:lnTo>
                  <a:pt x="1878" y="1219"/>
                </a:lnTo>
                <a:lnTo>
                  <a:pt x="1876" y="1219"/>
                </a:lnTo>
                <a:lnTo>
                  <a:pt x="1876" y="1221"/>
                </a:lnTo>
                <a:lnTo>
                  <a:pt x="1874" y="1221"/>
                </a:lnTo>
                <a:lnTo>
                  <a:pt x="1874" y="1223"/>
                </a:lnTo>
                <a:lnTo>
                  <a:pt x="1872" y="1223"/>
                </a:lnTo>
                <a:lnTo>
                  <a:pt x="1870" y="1225"/>
                </a:lnTo>
                <a:lnTo>
                  <a:pt x="1870" y="1227"/>
                </a:lnTo>
                <a:lnTo>
                  <a:pt x="1869" y="1227"/>
                </a:lnTo>
                <a:lnTo>
                  <a:pt x="1867" y="1229"/>
                </a:lnTo>
                <a:lnTo>
                  <a:pt x="1855" y="1242"/>
                </a:lnTo>
                <a:lnTo>
                  <a:pt x="1853" y="1244"/>
                </a:lnTo>
                <a:lnTo>
                  <a:pt x="1849" y="1248"/>
                </a:lnTo>
                <a:lnTo>
                  <a:pt x="1847" y="1250"/>
                </a:lnTo>
                <a:lnTo>
                  <a:pt x="1844" y="1252"/>
                </a:lnTo>
                <a:lnTo>
                  <a:pt x="1844" y="1254"/>
                </a:lnTo>
                <a:lnTo>
                  <a:pt x="1840" y="1256"/>
                </a:lnTo>
                <a:lnTo>
                  <a:pt x="1840" y="1257"/>
                </a:lnTo>
                <a:lnTo>
                  <a:pt x="1821" y="1277"/>
                </a:lnTo>
                <a:lnTo>
                  <a:pt x="1819" y="1279"/>
                </a:lnTo>
                <a:lnTo>
                  <a:pt x="1817" y="1281"/>
                </a:lnTo>
                <a:lnTo>
                  <a:pt x="1815" y="1282"/>
                </a:lnTo>
                <a:lnTo>
                  <a:pt x="1807" y="1290"/>
                </a:lnTo>
                <a:lnTo>
                  <a:pt x="1807" y="1292"/>
                </a:lnTo>
                <a:lnTo>
                  <a:pt x="1803" y="1294"/>
                </a:lnTo>
                <a:lnTo>
                  <a:pt x="1803" y="1296"/>
                </a:lnTo>
                <a:lnTo>
                  <a:pt x="1801" y="1296"/>
                </a:lnTo>
                <a:lnTo>
                  <a:pt x="1799" y="1298"/>
                </a:lnTo>
                <a:lnTo>
                  <a:pt x="1797" y="1300"/>
                </a:lnTo>
                <a:lnTo>
                  <a:pt x="1797" y="1302"/>
                </a:lnTo>
                <a:lnTo>
                  <a:pt x="1794" y="1304"/>
                </a:lnTo>
                <a:lnTo>
                  <a:pt x="1792" y="1305"/>
                </a:lnTo>
                <a:lnTo>
                  <a:pt x="1784" y="1313"/>
                </a:lnTo>
                <a:lnTo>
                  <a:pt x="1782" y="1317"/>
                </a:lnTo>
                <a:lnTo>
                  <a:pt x="1778" y="1319"/>
                </a:lnTo>
                <a:lnTo>
                  <a:pt x="1774" y="1323"/>
                </a:lnTo>
                <a:lnTo>
                  <a:pt x="1773" y="1327"/>
                </a:lnTo>
                <a:lnTo>
                  <a:pt x="1771" y="1329"/>
                </a:lnTo>
                <a:lnTo>
                  <a:pt x="1769" y="1330"/>
                </a:lnTo>
                <a:lnTo>
                  <a:pt x="1767" y="1330"/>
                </a:lnTo>
                <a:lnTo>
                  <a:pt x="1763" y="1336"/>
                </a:lnTo>
                <a:lnTo>
                  <a:pt x="1761" y="1338"/>
                </a:lnTo>
                <a:lnTo>
                  <a:pt x="1753" y="1346"/>
                </a:lnTo>
                <a:lnTo>
                  <a:pt x="1751" y="1346"/>
                </a:lnTo>
                <a:lnTo>
                  <a:pt x="1751" y="1348"/>
                </a:lnTo>
                <a:lnTo>
                  <a:pt x="1748" y="1352"/>
                </a:lnTo>
                <a:lnTo>
                  <a:pt x="1746" y="1353"/>
                </a:lnTo>
                <a:lnTo>
                  <a:pt x="1742" y="1357"/>
                </a:lnTo>
                <a:lnTo>
                  <a:pt x="1738" y="1361"/>
                </a:lnTo>
                <a:lnTo>
                  <a:pt x="1738" y="1363"/>
                </a:lnTo>
                <a:lnTo>
                  <a:pt x="1728" y="1371"/>
                </a:lnTo>
                <a:lnTo>
                  <a:pt x="1728" y="1373"/>
                </a:lnTo>
                <a:lnTo>
                  <a:pt x="1726" y="1373"/>
                </a:lnTo>
                <a:lnTo>
                  <a:pt x="1725" y="1375"/>
                </a:lnTo>
                <a:lnTo>
                  <a:pt x="1721" y="1378"/>
                </a:lnTo>
                <a:lnTo>
                  <a:pt x="1721" y="1380"/>
                </a:lnTo>
                <a:lnTo>
                  <a:pt x="1719" y="1380"/>
                </a:lnTo>
                <a:lnTo>
                  <a:pt x="1715" y="1384"/>
                </a:lnTo>
                <a:lnTo>
                  <a:pt x="1715" y="1386"/>
                </a:lnTo>
                <a:lnTo>
                  <a:pt x="1713" y="1386"/>
                </a:lnTo>
                <a:lnTo>
                  <a:pt x="1711" y="1388"/>
                </a:lnTo>
                <a:lnTo>
                  <a:pt x="1711" y="1390"/>
                </a:lnTo>
                <a:lnTo>
                  <a:pt x="1707" y="1392"/>
                </a:lnTo>
                <a:lnTo>
                  <a:pt x="1707" y="1394"/>
                </a:lnTo>
                <a:lnTo>
                  <a:pt x="1703" y="1396"/>
                </a:lnTo>
                <a:lnTo>
                  <a:pt x="1701" y="1400"/>
                </a:lnTo>
                <a:lnTo>
                  <a:pt x="1700" y="1400"/>
                </a:lnTo>
                <a:lnTo>
                  <a:pt x="1700" y="1401"/>
                </a:lnTo>
                <a:lnTo>
                  <a:pt x="1698" y="1403"/>
                </a:lnTo>
                <a:lnTo>
                  <a:pt x="1692" y="1409"/>
                </a:lnTo>
                <a:lnTo>
                  <a:pt x="1690" y="1411"/>
                </a:lnTo>
                <a:lnTo>
                  <a:pt x="1688" y="1413"/>
                </a:lnTo>
                <a:lnTo>
                  <a:pt x="1686" y="1415"/>
                </a:lnTo>
                <a:lnTo>
                  <a:pt x="1684" y="1417"/>
                </a:lnTo>
                <a:lnTo>
                  <a:pt x="1680" y="1421"/>
                </a:lnTo>
                <a:lnTo>
                  <a:pt x="1676" y="1425"/>
                </a:lnTo>
                <a:lnTo>
                  <a:pt x="1675" y="1426"/>
                </a:lnTo>
                <a:lnTo>
                  <a:pt x="1673" y="1428"/>
                </a:lnTo>
                <a:lnTo>
                  <a:pt x="1671" y="1430"/>
                </a:lnTo>
                <a:lnTo>
                  <a:pt x="1669" y="1432"/>
                </a:lnTo>
                <a:lnTo>
                  <a:pt x="1667" y="1434"/>
                </a:lnTo>
                <a:lnTo>
                  <a:pt x="1663" y="1438"/>
                </a:lnTo>
                <a:lnTo>
                  <a:pt x="1661" y="1440"/>
                </a:lnTo>
                <a:lnTo>
                  <a:pt x="1659" y="1442"/>
                </a:lnTo>
                <a:lnTo>
                  <a:pt x="1657" y="1444"/>
                </a:lnTo>
                <a:lnTo>
                  <a:pt x="1655" y="1446"/>
                </a:lnTo>
                <a:lnTo>
                  <a:pt x="1655" y="1448"/>
                </a:lnTo>
                <a:lnTo>
                  <a:pt x="1653" y="1448"/>
                </a:lnTo>
                <a:lnTo>
                  <a:pt x="1648" y="1453"/>
                </a:lnTo>
                <a:lnTo>
                  <a:pt x="1648" y="1455"/>
                </a:lnTo>
                <a:lnTo>
                  <a:pt x="1644" y="1457"/>
                </a:lnTo>
                <a:lnTo>
                  <a:pt x="1644" y="1459"/>
                </a:lnTo>
                <a:lnTo>
                  <a:pt x="1638" y="1463"/>
                </a:lnTo>
                <a:lnTo>
                  <a:pt x="1638" y="1465"/>
                </a:lnTo>
                <a:lnTo>
                  <a:pt x="1632" y="1469"/>
                </a:lnTo>
                <a:lnTo>
                  <a:pt x="1628" y="1473"/>
                </a:lnTo>
                <a:lnTo>
                  <a:pt x="1627" y="1476"/>
                </a:lnTo>
                <a:lnTo>
                  <a:pt x="1625" y="1478"/>
                </a:lnTo>
                <a:lnTo>
                  <a:pt x="1621" y="1482"/>
                </a:lnTo>
                <a:lnTo>
                  <a:pt x="1619" y="1484"/>
                </a:lnTo>
                <a:lnTo>
                  <a:pt x="1617" y="1486"/>
                </a:lnTo>
                <a:lnTo>
                  <a:pt x="1613" y="1490"/>
                </a:lnTo>
                <a:lnTo>
                  <a:pt x="1609" y="1492"/>
                </a:lnTo>
                <a:lnTo>
                  <a:pt x="1609" y="1494"/>
                </a:lnTo>
                <a:lnTo>
                  <a:pt x="1607" y="1496"/>
                </a:lnTo>
                <a:lnTo>
                  <a:pt x="1604" y="1499"/>
                </a:lnTo>
                <a:lnTo>
                  <a:pt x="1602" y="1501"/>
                </a:lnTo>
                <a:lnTo>
                  <a:pt x="1600" y="1503"/>
                </a:lnTo>
                <a:lnTo>
                  <a:pt x="1588" y="1515"/>
                </a:lnTo>
                <a:lnTo>
                  <a:pt x="1582" y="1521"/>
                </a:lnTo>
                <a:lnTo>
                  <a:pt x="1582" y="1522"/>
                </a:lnTo>
                <a:lnTo>
                  <a:pt x="1579" y="1524"/>
                </a:lnTo>
                <a:lnTo>
                  <a:pt x="1577" y="1526"/>
                </a:lnTo>
                <a:lnTo>
                  <a:pt x="1575" y="1528"/>
                </a:lnTo>
                <a:lnTo>
                  <a:pt x="1563" y="1542"/>
                </a:lnTo>
                <a:lnTo>
                  <a:pt x="1561" y="1544"/>
                </a:lnTo>
                <a:lnTo>
                  <a:pt x="1557" y="1545"/>
                </a:lnTo>
                <a:lnTo>
                  <a:pt x="1557" y="1547"/>
                </a:lnTo>
                <a:lnTo>
                  <a:pt x="1556" y="1549"/>
                </a:lnTo>
                <a:lnTo>
                  <a:pt x="1552" y="1553"/>
                </a:lnTo>
                <a:lnTo>
                  <a:pt x="1550" y="1553"/>
                </a:lnTo>
                <a:lnTo>
                  <a:pt x="1550" y="1555"/>
                </a:lnTo>
                <a:lnTo>
                  <a:pt x="1546" y="1557"/>
                </a:lnTo>
                <a:lnTo>
                  <a:pt x="1544" y="1561"/>
                </a:lnTo>
                <a:lnTo>
                  <a:pt x="1542" y="1561"/>
                </a:lnTo>
                <a:lnTo>
                  <a:pt x="1542" y="1563"/>
                </a:lnTo>
                <a:lnTo>
                  <a:pt x="1540" y="1565"/>
                </a:lnTo>
                <a:lnTo>
                  <a:pt x="1538" y="1565"/>
                </a:lnTo>
                <a:lnTo>
                  <a:pt x="1538" y="1567"/>
                </a:lnTo>
                <a:lnTo>
                  <a:pt x="1536" y="1569"/>
                </a:lnTo>
                <a:lnTo>
                  <a:pt x="1534" y="1569"/>
                </a:lnTo>
                <a:lnTo>
                  <a:pt x="1532" y="1570"/>
                </a:lnTo>
                <a:lnTo>
                  <a:pt x="1529" y="1574"/>
                </a:lnTo>
                <a:lnTo>
                  <a:pt x="1529" y="1576"/>
                </a:lnTo>
                <a:lnTo>
                  <a:pt x="1527" y="1578"/>
                </a:lnTo>
                <a:lnTo>
                  <a:pt x="1515" y="1590"/>
                </a:lnTo>
                <a:lnTo>
                  <a:pt x="1511" y="1593"/>
                </a:lnTo>
                <a:lnTo>
                  <a:pt x="1502" y="1603"/>
                </a:lnTo>
                <a:lnTo>
                  <a:pt x="1500" y="1605"/>
                </a:lnTo>
                <a:lnTo>
                  <a:pt x="1498" y="1607"/>
                </a:lnTo>
                <a:lnTo>
                  <a:pt x="1483" y="1624"/>
                </a:lnTo>
                <a:lnTo>
                  <a:pt x="1469" y="1638"/>
                </a:lnTo>
                <a:lnTo>
                  <a:pt x="1469" y="1640"/>
                </a:lnTo>
                <a:lnTo>
                  <a:pt x="1471" y="1640"/>
                </a:lnTo>
                <a:lnTo>
                  <a:pt x="1471" y="1643"/>
                </a:lnTo>
                <a:lnTo>
                  <a:pt x="1473" y="1647"/>
                </a:lnTo>
                <a:lnTo>
                  <a:pt x="1479" y="1657"/>
                </a:lnTo>
                <a:lnTo>
                  <a:pt x="1481" y="1655"/>
                </a:lnTo>
                <a:lnTo>
                  <a:pt x="1483" y="1653"/>
                </a:lnTo>
                <a:lnTo>
                  <a:pt x="1484" y="1653"/>
                </a:lnTo>
                <a:lnTo>
                  <a:pt x="1488" y="1663"/>
                </a:lnTo>
                <a:lnTo>
                  <a:pt x="1490" y="1668"/>
                </a:lnTo>
                <a:lnTo>
                  <a:pt x="1492" y="1674"/>
                </a:lnTo>
                <a:lnTo>
                  <a:pt x="1500" y="1672"/>
                </a:lnTo>
                <a:lnTo>
                  <a:pt x="1509" y="1672"/>
                </a:lnTo>
                <a:lnTo>
                  <a:pt x="1529" y="1688"/>
                </a:lnTo>
                <a:lnTo>
                  <a:pt x="1527" y="1689"/>
                </a:lnTo>
                <a:lnTo>
                  <a:pt x="1523" y="1693"/>
                </a:lnTo>
                <a:lnTo>
                  <a:pt x="1517" y="1695"/>
                </a:lnTo>
                <a:lnTo>
                  <a:pt x="1515" y="1697"/>
                </a:lnTo>
                <a:lnTo>
                  <a:pt x="1509" y="1701"/>
                </a:lnTo>
                <a:lnTo>
                  <a:pt x="1509" y="1711"/>
                </a:lnTo>
                <a:lnTo>
                  <a:pt x="1511" y="1714"/>
                </a:lnTo>
                <a:lnTo>
                  <a:pt x="1513" y="1722"/>
                </a:lnTo>
                <a:lnTo>
                  <a:pt x="1515" y="1724"/>
                </a:lnTo>
                <a:lnTo>
                  <a:pt x="1515" y="1726"/>
                </a:lnTo>
                <a:lnTo>
                  <a:pt x="1513" y="1730"/>
                </a:lnTo>
                <a:lnTo>
                  <a:pt x="1511" y="1732"/>
                </a:lnTo>
                <a:lnTo>
                  <a:pt x="1509" y="1736"/>
                </a:lnTo>
                <a:lnTo>
                  <a:pt x="1511" y="1770"/>
                </a:lnTo>
                <a:lnTo>
                  <a:pt x="1511" y="1772"/>
                </a:lnTo>
                <a:lnTo>
                  <a:pt x="1511" y="1774"/>
                </a:lnTo>
                <a:lnTo>
                  <a:pt x="1511" y="1776"/>
                </a:lnTo>
                <a:lnTo>
                  <a:pt x="1513" y="1795"/>
                </a:lnTo>
                <a:lnTo>
                  <a:pt x="1513" y="1797"/>
                </a:lnTo>
                <a:lnTo>
                  <a:pt x="1508" y="1807"/>
                </a:lnTo>
                <a:lnTo>
                  <a:pt x="1506" y="1808"/>
                </a:lnTo>
                <a:lnTo>
                  <a:pt x="1506" y="1810"/>
                </a:lnTo>
                <a:lnTo>
                  <a:pt x="1502" y="1816"/>
                </a:lnTo>
                <a:lnTo>
                  <a:pt x="1500" y="1816"/>
                </a:lnTo>
                <a:lnTo>
                  <a:pt x="1500" y="1818"/>
                </a:lnTo>
                <a:lnTo>
                  <a:pt x="1498" y="1818"/>
                </a:lnTo>
                <a:lnTo>
                  <a:pt x="1498" y="1820"/>
                </a:lnTo>
                <a:lnTo>
                  <a:pt x="1500" y="1822"/>
                </a:lnTo>
                <a:lnTo>
                  <a:pt x="1509" y="1820"/>
                </a:lnTo>
                <a:lnTo>
                  <a:pt x="1515" y="1822"/>
                </a:lnTo>
                <a:lnTo>
                  <a:pt x="1519" y="1822"/>
                </a:lnTo>
                <a:lnTo>
                  <a:pt x="1523" y="1822"/>
                </a:lnTo>
                <a:lnTo>
                  <a:pt x="1525" y="1822"/>
                </a:lnTo>
                <a:lnTo>
                  <a:pt x="1527" y="1822"/>
                </a:lnTo>
                <a:lnTo>
                  <a:pt x="1531" y="1824"/>
                </a:lnTo>
                <a:lnTo>
                  <a:pt x="1532" y="1824"/>
                </a:lnTo>
                <a:lnTo>
                  <a:pt x="1542" y="1830"/>
                </a:lnTo>
                <a:lnTo>
                  <a:pt x="1544" y="1828"/>
                </a:lnTo>
                <a:lnTo>
                  <a:pt x="1550" y="1826"/>
                </a:lnTo>
                <a:lnTo>
                  <a:pt x="1552" y="1826"/>
                </a:lnTo>
                <a:lnTo>
                  <a:pt x="1552" y="1824"/>
                </a:lnTo>
                <a:lnTo>
                  <a:pt x="1556" y="1820"/>
                </a:lnTo>
                <a:lnTo>
                  <a:pt x="1561" y="1814"/>
                </a:lnTo>
                <a:lnTo>
                  <a:pt x="1563" y="1818"/>
                </a:lnTo>
                <a:lnTo>
                  <a:pt x="1567" y="1818"/>
                </a:lnTo>
                <a:lnTo>
                  <a:pt x="1569" y="1818"/>
                </a:lnTo>
                <a:lnTo>
                  <a:pt x="1571" y="1816"/>
                </a:lnTo>
                <a:lnTo>
                  <a:pt x="1573" y="1816"/>
                </a:lnTo>
                <a:lnTo>
                  <a:pt x="1573" y="1814"/>
                </a:lnTo>
                <a:lnTo>
                  <a:pt x="1573" y="1810"/>
                </a:lnTo>
                <a:lnTo>
                  <a:pt x="1571" y="1808"/>
                </a:lnTo>
                <a:lnTo>
                  <a:pt x="1577" y="1808"/>
                </a:lnTo>
                <a:lnTo>
                  <a:pt x="1579" y="1810"/>
                </a:lnTo>
                <a:lnTo>
                  <a:pt x="1580" y="1812"/>
                </a:lnTo>
                <a:lnTo>
                  <a:pt x="1582" y="1812"/>
                </a:lnTo>
                <a:lnTo>
                  <a:pt x="1584" y="1812"/>
                </a:lnTo>
                <a:lnTo>
                  <a:pt x="1584" y="1814"/>
                </a:lnTo>
                <a:lnTo>
                  <a:pt x="1586" y="1814"/>
                </a:lnTo>
                <a:lnTo>
                  <a:pt x="1588" y="1814"/>
                </a:lnTo>
                <a:lnTo>
                  <a:pt x="1588" y="1816"/>
                </a:lnTo>
                <a:lnTo>
                  <a:pt x="1590" y="1816"/>
                </a:lnTo>
                <a:lnTo>
                  <a:pt x="1592" y="1816"/>
                </a:lnTo>
                <a:lnTo>
                  <a:pt x="1596" y="1816"/>
                </a:lnTo>
                <a:lnTo>
                  <a:pt x="1598" y="1816"/>
                </a:lnTo>
                <a:lnTo>
                  <a:pt x="1609" y="1818"/>
                </a:lnTo>
                <a:lnTo>
                  <a:pt x="1609" y="1822"/>
                </a:lnTo>
                <a:lnTo>
                  <a:pt x="1611" y="1824"/>
                </a:lnTo>
                <a:lnTo>
                  <a:pt x="1611" y="1826"/>
                </a:lnTo>
                <a:lnTo>
                  <a:pt x="1611" y="1832"/>
                </a:lnTo>
                <a:lnTo>
                  <a:pt x="1613" y="1832"/>
                </a:lnTo>
                <a:lnTo>
                  <a:pt x="1611" y="1832"/>
                </a:lnTo>
                <a:lnTo>
                  <a:pt x="1611" y="1833"/>
                </a:lnTo>
                <a:lnTo>
                  <a:pt x="1611" y="1837"/>
                </a:lnTo>
                <a:lnTo>
                  <a:pt x="1611" y="1839"/>
                </a:lnTo>
                <a:lnTo>
                  <a:pt x="1613" y="1839"/>
                </a:lnTo>
                <a:lnTo>
                  <a:pt x="1613" y="1845"/>
                </a:lnTo>
                <a:lnTo>
                  <a:pt x="1611" y="1845"/>
                </a:lnTo>
                <a:lnTo>
                  <a:pt x="1611" y="1847"/>
                </a:lnTo>
                <a:lnTo>
                  <a:pt x="1609" y="1849"/>
                </a:lnTo>
                <a:lnTo>
                  <a:pt x="1607" y="1851"/>
                </a:lnTo>
                <a:lnTo>
                  <a:pt x="1605" y="1851"/>
                </a:lnTo>
                <a:lnTo>
                  <a:pt x="1604" y="1853"/>
                </a:lnTo>
                <a:lnTo>
                  <a:pt x="1604" y="1856"/>
                </a:lnTo>
                <a:lnTo>
                  <a:pt x="1604" y="1858"/>
                </a:lnTo>
                <a:lnTo>
                  <a:pt x="1602" y="1858"/>
                </a:lnTo>
                <a:lnTo>
                  <a:pt x="1602" y="1860"/>
                </a:lnTo>
                <a:lnTo>
                  <a:pt x="1600" y="1862"/>
                </a:lnTo>
                <a:lnTo>
                  <a:pt x="1600" y="1866"/>
                </a:lnTo>
                <a:lnTo>
                  <a:pt x="1607" y="1874"/>
                </a:lnTo>
                <a:lnTo>
                  <a:pt x="1605" y="1876"/>
                </a:lnTo>
                <a:lnTo>
                  <a:pt x="1604" y="1878"/>
                </a:lnTo>
                <a:lnTo>
                  <a:pt x="1605" y="1885"/>
                </a:lnTo>
                <a:lnTo>
                  <a:pt x="1607" y="1887"/>
                </a:lnTo>
                <a:lnTo>
                  <a:pt x="1607" y="1891"/>
                </a:lnTo>
                <a:lnTo>
                  <a:pt x="1607" y="1895"/>
                </a:lnTo>
                <a:lnTo>
                  <a:pt x="1607" y="1897"/>
                </a:lnTo>
                <a:lnTo>
                  <a:pt x="1605" y="1897"/>
                </a:lnTo>
                <a:lnTo>
                  <a:pt x="1604" y="1899"/>
                </a:lnTo>
                <a:lnTo>
                  <a:pt x="1605" y="1903"/>
                </a:lnTo>
                <a:lnTo>
                  <a:pt x="1604" y="1904"/>
                </a:lnTo>
                <a:lnTo>
                  <a:pt x="1602" y="1904"/>
                </a:lnTo>
                <a:lnTo>
                  <a:pt x="1602" y="1906"/>
                </a:lnTo>
                <a:lnTo>
                  <a:pt x="1602" y="1910"/>
                </a:lnTo>
                <a:lnTo>
                  <a:pt x="1605" y="1922"/>
                </a:lnTo>
                <a:lnTo>
                  <a:pt x="1607" y="1924"/>
                </a:lnTo>
                <a:lnTo>
                  <a:pt x="1607" y="1926"/>
                </a:lnTo>
                <a:lnTo>
                  <a:pt x="1609" y="1929"/>
                </a:lnTo>
                <a:lnTo>
                  <a:pt x="1607" y="1937"/>
                </a:lnTo>
                <a:lnTo>
                  <a:pt x="1607" y="1939"/>
                </a:lnTo>
                <a:lnTo>
                  <a:pt x="1607" y="1941"/>
                </a:lnTo>
                <a:lnTo>
                  <a:pt x="1607" y="1943"/>
                </a:lnTo>
                <a:lnTo>
                  <a:pt x="1607" y="1945"/>
                </a:lnTo>
                <a:lnTo>
                  <a:pt x="1607" y="1947"/>
                </a:lnTo>
                <a:lnTo>
                  <a:pt x="1607" y="1949"/>
                </a:lnTo>
                <a:lnTo>
                  <a:pt x="1607" y="1951"/>
                </a:lnTo>
                <a:lnTo>
                  <a:pt x="1607" y="1952"/>
                </a:lnTo>
                <a:lnTo>
                  <a:pt x="1609" y="1952"/>
                </a:lnTo>
                <a:lnTo>
                  <a:pt x="1609" y="1954"/>
                </a:lnTo>
                <a:lnTo>
                  <a:pt x="1609" y="1956"/>
                </a:lnTo>
                <a:lnTo>
                  <a:pt x="1609" y="1962"/>
                </a:lnTo>
                <a:lnTo>
                  <a:pt x="1605" y="1962"/>
                </a:lnTo>
                <a:lnTo>
                  <a:pt x="1604" y="1966"/>
                </a:lnTo>
                <a:lnTo>
                  <a:pt x="1604" y="1968"/>
                </a:lnTo>
                <a:lnTo>
                  <a:pt x="1604" y="1970"/>
                </a:lnTo>
                <a:lnTo>
                  <a:pt x="1604" y="1972"/>
                </a:lnTo>
                <a:lnTo>
                  <a:pt x="1604" y="1974"/>
                </a:lnTo>
                <a:lnTo>
                  <a:pt x="1604" y="1976"/>
                </a:lnTo>
                <a:lnTo>
                  <a:pt x="1604" y="1977"/>
                </a:lnTo>
                <a:lnTo>
                  <a:pt x="1604" y="1979"/>
                </a:lnTo>
                <a:lnTo>
                  <a:pt x="1604" y="1981"/>
                </a:lnTo>
                <a:lnTo>
                  <a:pt x="1604" y="1983"/>
                </a:lnTo>
                <a:lnTo>
                  <a:pt x="1604" y="1985"/>
                </a:lnTo>
                <a:lnTo>
                  <a:pt x="1602" y="1989"/>
                </a:lnTo>
                <a:lnTo>
                  <a:pt x="1600" y="1995"/>
                </a:lnTo>
                <a:lnTo>
                  <a:pt x="1600" y="1999"/>
                </a:lnTo>
                <a:lnTo>
                  <a:pt x="1598" y="2002"/>
                </a:lnTo>
                <a:lnTo>
                  <a:pt x="1598" y="2008"/>
                </a:lnTo>
                <a:lnTo>
                  <a:pt x="1598" y="2014"/>
                </a:lnTo>
                <a:lnTo>
                  <a:pt x="1596" y="2025"/>
                </a:lnTo>
                <a:lnTo>
                  <a:pt x="1594" y="2029"/>
                </a:lnTo>
                <a:lnTo>
                  <a:pt x="1594" y="2033"/>
                </a:lnTo>
                <a:lnTo>
                  <a:pt x="1592" y="2045"/>
                </a:lnTo>
                <a:lnTo>
                  <a:pt x="1592" y="2047"/>
                </a:lnTo>
                <a:lnTo>
                  <a:pt x="1592" y="2060"/>
                </a:lnTo>
                <a:lnTo>
                  <a:pt x="1590" y="2068"/>
                </a:lnTo>
                <a:lnTo>
                  <a:pt x="1590" y="2070"/>
                </a:lnTo>
                <a:lnTo>
                  <a:pt x="1590" y="2072"/>
                </a:lnTo>
                <a:lnTo>
                  <a:pt x="1586" y="2073"/>
                </a:lnTo>
                <a:lnTo>
                  <a:pt x="1579" y="2075"/>
                </a:lnTo>
                <a:lnTo>
                  <a:pt x="1588" y="2087"/>
                </a:lnTo>
                <a:lnTo>
                  <a:pt x="1586" y="2089"/>
                </a:lnTo>
                <a:lnTo>
                  <a:pt x="1579" y="2096"/>
                </a:lnTo>
                <a:lnTo>
                  <a:pt x="1577" y="2098"/>
                </a:lnTo>
                <a:lnTo>
                  <a:pt x="1580" y="2104"/>
                </a:lnTo>
                <a:lnTo>
                  <a:pt x="1582" y="2106"/>
                </a:lnTo>
                <a:lnTo>
                  <a:pt x="1582" y="2108"/>
                </a:lnTo>
                <a:lnTo>
                  <a:pt x="1580" y="2110"/>
                </a:lnTo>
                <a:lnTo>
                  <a:pt x="1580" y="2112"/>
                </a:lnTo>
                <a:lnTo>
                  <a:pt x="1579" y="2112"/>
                </a:lnTo>
                <a:lnTo>
                  <a:pt x="1579" y="2114"/>
                </a:lnTo>
                <a:lnTo>
                  <a:pt x="1579" y="2116"/>
                </a:lnTo>
                <a:lnTo>
                  <a:pt x="1577" y="2118"/>
                </a:lnTo>
                <a:lnTo>
                  <a:pt x="1577" y="2120"/>
                </a:lnTo>
                <a:lnTo>
                  <a:pt x="1577" y="2121"/>
                </a:lnTo>
                <a:lnTo>
                  <a:pt x="1575" y="2123"/>
                </a:lnTo>
                <a:lnTo>
                  <a:pt x="1577" y="2123"/>
                </a:lnTo>
                <a:lnTo>
                  <a:pt x="1577" y="2125"/>
                </a:lnTo>
                <a:lnTo>
                  <a:pt x="1579" y="2125"/>
                </a:lnTo>
                <a:lnTo>
                  <a:pt x="1580" y="2125"/>
                </a:lnTo>
                <a:lnTo>
                  <a:pt x="1580" y="2127"/>
                </a:lnTo>
                <a:lnTo>
                  <a:pt x="1582" y="2127"/>
                </a:lnTo>
                <a:lnTo>
                  <a:pt x="1584" y="2129"/>
                </a:lnTo>
                <a:lnTo>
                  <a:pt x="1584" y="2131"/>
                </a:lnTo>
                <a:lnTo>
                  <a:pt x="1586" y="2133"/>
                </a:lnTo>
                <a:lnTo>
                  <a:pt x="1586" y="2135"/>
                </a:lnTo>
                <a:lnTo>
                  <a:pt x="1586" y="2137"/>
                </a:lnTo>
                <a:lnTo>
                  <a:pt x="1586" y="2139"/>
                </a:lnTo>
                <a:lnTo>
                  <a:pt x="1588" y="2141"/>
                </a:lnTo>
                <a:lnTo>
                  <a:pt x="1588" y="2144"/>
                </a:lnTo>
                <a:lnTo>
                  <a:pt x="1590" y="2144"/>
                </a:lnTo>
                <a:lnTo>
                  <a:pt x="1590" y="2146"/>
                </a:lnTo>
                <a:lnTo>
                  <a:pt x="1592" y="2150"/>
                </a:lnTo>
                <a:lnTo>
                  <a:pt x="1592" y="2154"/>
                </a:lnTo>
                <a:lnTo>
                  <a:pt x="1592" y="2156"/>
                </a:lnTo>
                <a:lnTo>
                  <a:pt x="1594" y="2156"/>
                </a:lnTo>
                <a:lnTo>
                  <a:pt x="1596" y="2158"/>
                </a:lnTo>
                <a:lnTo>
                  <a:pt x="1596" y="2160"/>
                </a:lnTo>
                <a:lnTo>
                  <a:pt x="1598" y="2160"/>
                </a:lnTo>
                <a:lnTo>
                  <a:pt x="1598" y="2162"/>
                </a:lnTo>
                <a:lnTo>
                  <a:pt x="1600" y="2164"/>
                </a:lnTo>
                <a:lnTo>
                  <a:pt x="1602" y="2166"/>
                </a:lnTo>
                <a:lnTo>
                  <a:pt x="1604" y="2168"/>
                </a:lnTo>
                <a:lnTo>
                  <a:pt x="1604" y="2169"/>
                </a:lnTo>
                <a:lnTo>
                  <a:pt x="1604" y="2171"/>
                </a:lnTo>
                <a:lnTo>
                  <a:pt x="1604" y="2173"/>
                </a:lnTo>
                <a:lnTo>
                  <a:pt x="1604" y="2175"/>
                </a:lnTo>
                <a:lnTo>
                  <a:pt x="1604" y="2177"/>
                </a:lnTo>
                <a:lnTo>
                  <a:pt x="1605" y="2179"/>
                </a:lnTo>
                <a:lnTo>
                  <a:pt x="1605" y="2181"/>
                </a:lnTo>
                <a:lnTo>
                  <a:pt x="1609" y="2183"/>
                </a:lnTo>
                <a:lnTo>
                  <a:pt x="1607" y="2187"/>
                </a:lnTo>
                <a:lnTo>
                  <a:pt x="1607" y="2189"/>
                </a:lnTo>
                <a:lnTo>
                  <a:pt x="1605" y="2189"/>
                </a:lnTo>
                <a:lnTo>
                  <a:pt x="1605" y="2191"/>
                </a:lnTo>
                <a:lnTo>
                  <a:pt x="1607" y="2194"/>
                </a:lnTo>
                <a:lnTo>
                  <a:pt x="1609" y="2198"/>
                </a:lnTo>
                <a:lnTo>
                  <a:pt x="1617" y="2202"/>
                </a:lnTo>
                <a:lnTo>
                  <a:pt x="1615" y="2206"/>
                </a:lnTo>
                <a:lnTo>
                  <a:pt x="1615" y="2208"/>
                </a:lnTo>
                <a:lnTo>
                  <a:pt x="1615" y="2210"/>
                </a:lnTo>
                <a:lnTo>
                  <a:pt x="1615" y="2212"/>
                </a:lnTo>
                <a:lnTo>
                  <a:pt x="1613" y="2212"/>
                </a:lnTo>
                <a:lnTo>
                  <a:pt x="1613" y="2214"/>
                </a:lnTo>
                <a:lnTo>
                  <a:pt x="1611" y="2215"/>
                </a:lnTo>
                <a:lnTo>
                  <a:pt x="1609" y="2217"/>
                </a:lnTo>
                <a:lnTo>
                  <a:pt x="1611" y="2217"/>
                </a:lnTo>
                <a:lnTo>
                  <a:pt x="1609" y="2217"/>
                </a:lnTo>
                <a:lnTo>
                  <a:pt x="1607" y="2219"/>
                </a:lnTo>
                <a:lnTo>
                  <a:pt x="1604" y="2221"/>
                </a:lnTo>
                <a:lnTo>
                  <a:pt x="1602" y="2221"/>
                </a:lnTo>
                <a:lnTo>
                  <a:pt x="1600" y="2221"/>
                </a:lnTo>
                <a:lnTo>
                  <a:pt x="1600" y="2223"/>
                </a:lnTo>
                <a:lnTo>
                  <a:pt x="1598" y="2223"/>
                </a:lnTo>
                <a:lnTo>
                  <a:pt x="1598" y="2225"/>
                </a:lnTo>
                <a:lnTo>
                  <a:pt x="1596" y="2227"/>
                </a:lnTo>
                <a:lnTo>
                  <a:pt x="1596" y="2229"/>
                </a:lnTo>
                <a:lnTo>
                  <a:pt x="1596" y="2231"/>
                </a:lnTo>
                <a:lnTo>
                  <a:pt x="1590" y="2237"/>
                </a:lnTo>
                <a:lnTo>
                  <a:pt x="1590" y="2240"/>
                </a:lnTo>
                <a:lnTo>
                  <a:pt x="1588" y="2244"/>
                </a:lnTo>
                <a:lnTo>
                  <a:pt x="1588" y="2246"/>
                </a:lnTo>
                <a:lnTo>
                  <a:pt x="1588" y="2248"/>
                </a:lnTo>
                <a:lnTo>
                  <a:pt x="1586" y="2250"/>
                </a:lnTo>
                <a:lnTo>
                  <a:pt x="1584" y="2254"/>
                </a:lnTo>
                <a:lnTo>
                  <a:pt x="1582" y="2256"/>
                </a:lnTo>
                <a:lnTo>
                  <a:pt x="1582" y="2258"/>
                </a:lnTo>
                <a:lnTo>
                  <a:pt x="1582" y="2260"/>
                </a:lnTo>
                <a:lnTo>
                  <a:pt x="1582" y="2262"/>
                </a:lnTo>
                <a:lnTo>
                  <a:pt x="1580" y="2262"/>
                </a:lnTo>
                <a:lnTo>
                  <a:pt x="1579" y="2262"/>
                </a:lnTo>
                <a:lnTo>
                  <a:pt x="1577" y="2263"/>
                </a:lnTo>
                <a:lnTo>
                  <a:pt x="1575" y="2263"/>
                </a:lnTo>
                <a:lnTo>
                  <a:pt x="1573" y="2263"/>
                </a:lnTo>
                <a:lnTo>
                  <a:pt x="1573" y="2265"/>
                </a:lnTo>
                <a:lnTo>
                  <a:pt x="1571" y="2265"/>
                </a:lnTo>
                <a:lnTo>
                  <a:pt x="1569" y="2265"/>
                </a:lnTo>
                <a:lnTo>
                  <a:pt x="1569" y="2267"/>
                </a:lnTo>
                <a:lnTo>
                  <a:pt x="1567" y="2267"/>
                </a:lnTo>
                <a:lnTo>
                  <a:pt x="1565" y="2269"/>
                </a:lnTo>
                <a:lnTo>
                  <a:pt x="1563" y="2271"/>
                </a:lnTo>
                <a:lnTo>
                  <a:pt x="1561" y="2271"/>
                </a:lnTo>
                <a:lnTo>
                  <a:pt x="1561" y="2273"/>
                </a:lnTo>
                <a:lnTo>
                  <a:pt x="1559" y="2273"/>
                </a:lnTo>
                <a:lnTo>
                  <a:pt x="1557" y="2273"/>
                </a:lnTo>
                <a:lnTo>
                  <a:pt x="1556" y="2275"/>
                </a:lnTo>
                <a:lnTo>
                  <a:pt x="1554" y="2275"/>
                </a:lnTo>
                <a:lnTo>
                  <a:pt x="1552" y="2275"/>
                </a:lnTo>
                <a:lnTo>
                  <a:pt x="1552" y="2277"/>
                </a:lnTo>
                <a:lnTo>
                  <a:pt x="1550" y="2277"/>
                </a:lnTo>
                <a:lnTo>
                  <a:pt x="1546" y="2277"/>
                </a:lnTo>
                <a:lnTo>
                  <a:pt x="1544" y="2277"/>
                </a:lnTo>
                <a:lnTo>
                  <a:pt x="1542" y="2279"/>
                </a:lnTo>
                <a:lnTo>
                  <a:pt x="1536" y="2279"/>
                </a:lnTo>
                <a:lnTo>
                  <a:pt x="1534" y="2279"/>
                </a:lnTo>
                <a:lnTo>
                  <a:pt x="1534" y="2277"/>
                </a:lnTo>
                <a:lnTo>
                  <a:pt x="1536" y="2277"/>
                </a:lnTo>
                <a:lnTo>
                  <a:pt x="1536" y="2275"/>
                </a:lnTo>
                <a:lnTo>
                  <a:pt x="1534" y="2275"/>
                </a:lnTo>
                <a:lnTo>
                  <a:pt x="1536" y="2275"/>
                </a:lnTo>
                <a:lnTo>
                  <a:pt x="1536" y="2273"/>
                </a:lnTo>
                <a:lnTo>
                  <a:pt x="1536" y="2271"/>
                </a:lnTo>
                <a:lnTo>
                  <a:pt x="1536" y="2269"/>
                </a:lnTo>
                <a:lnTo>
                  <a:pt x="1538" y="2269"/>
                </a:lnTo>
                <a:lnTo>
                  <a:pt x="1538" y="2267"/>
                </a:lnTo>
                <a:lnTo>
                  <a:pt x="1540" y="2267"/>
                </a:lnTo>
                <a:lnTo>
                  <a:pt x="1540" y="2265"/>
                </a:lnTo>
                <a:lnTo>
                  <a:pt x="1542" y="2265"/>
                </a:lnTo>
                <a:lnTo>
                  <a:pt x="1544" y="2265"/>
                </a:lnTo>
                <a:lnTo>
                  <a:pt x="1542" y="2265"/>
                </a:lnTo>
                <a:lnTo>
                  <a:pt x="1540" y="2265"/>
                </a:lnTo>
                <a:lnTo>
                  <a:pt x="1538" y="2265"/>
                </a:lnTo>
                <a:lnTo>
                  <a:pt x="1538" y="2267"/>
                </a:lnTo>
                <a:lnTo>
                  <a:pt x="1538" y="2269"/>
                </a:lnTo>
                <a:lnTo>
                  <a:pt x="1536" y="2269"/>
                </a:lnTo>
                <a:lnTo>
                  <a:pt x="1534" y="2269"/>
                </a:lnTo>
                <a:lnTo>
                  <a:pt x="1534" y="2271"/>
                </a:lnTo>
                <a:lnTo>
                  <a:pt x="1534" y="2273"/>
                </a:lnTo>
                <a:lnTo>
                  <a:pt x="1536" y="2273"/>
                </a:lnTo>
                <a:lnTo>
                  <a:pt x="1534" y="2273"/>
                </a:lnTo>
                <a:lnTo>
                  <a:pt x="1536" y="2273"/>
                </a:lnTo>
                <a:lnTo>
                  <a:pt x="1534" y="2273"/>
                </a:lnTo>
                <a:lnTo>
                  <a:pt x="1534" y="2275"/>
                </a:lnTo>
                <a:lnTo>
                  <a:pt x="1534" y="2273"/>
                </a:lnTo>
                <a:lnTo>
                  <a:pt x="1534" y="2275"/>
                </a:lnTo>
                <a:lnTo>
                  <a:pt x="1534" y="2277"/>
                </a:lnTo>
                <a:lnTo>
                  <a:pt x="1532" y="2277"/>
                </a:lnTo>
                <a:lnTo>
                  <a:pt x="1531" y="2277"/>
                </a:lnTo>
                <a:lnTo>
                  <a:pt x="1529" y="2277"/>
                </a:lnTo>
                <a:lnTo>
                  <a:pt x="1529" y="2275"/>
                </a:lnTo>
                <a:lnTo>
                  <a:pt x="1529" y="2273"/>
                </a:lnTo>
                <a:lnTo>
                  <a:pt x="1531" y="2273"/>
                </a:lnTo>
                <a:lnTo>
                  <a:pt x="1531" y="2275"/>
                </a:lnTo>
                <a:lnTo>
                  <a:pt x="1531" y="2273"/>
                </a:lnTo>
                <a:lnTo>
                  <a:pt x="1532" y="2273"/>
                </a:lnTo>
                <a:lnTo>
                  <a:pt x="1532" y="2275"/>
                </a:lnTo>
                <a:lnTo>
                  <a:pt x="1531" y="2275"/>
                </a:lnTo>
                <a:lnTo>
                  <a:pt x="1532" y="2275"/>
                </a:lnTo>
                <a:lnTo>
                  <a:pt x="1532" y="2273"/>
                </a:lnTo>
                <a:lnTo>
                  <a:pt x="1532" y="2271"/>
                </a:lnTo>
                <a:lnTo>
                  <a:pt x="1532" y="2273"/>
                </a:lnTo>
                <a:lnTo>
                  <a:pt x="1532" y="2271"/>
                </a:lnTo>
                <a:lnTo>
                  <a:pt x="1532" y="2273"/>
                </a:lnTo>
                <a:lnTo>
                  <a:pt x="1532" y="2271"/>
                </a:lnTo>
                <a:lnTo>
                  <a:pt x="1532" y="2269"/>
                </a:lnTo>
                <a:lnTo>
                  <a:pt x="1534" y="2269"/>
                </a:lnTo>
                <a:lnTo>
                  <a:pt x="1534" y="2267"/>
                </a:lnTo>
                <a:lnTo>
                  <a:pt x="1536" y="2267"/>
                </a:lnTo>
                <a:lnTo>
                  <a:pt x="1534" y="2267"/>
                </a:lnTo>
                <a:lnTo>
                  <a:pt x="1536" y="2265"/>
                </a:lnTo>
                <a:lnTo>
                  <a:pt x="1536" y="2263"/>
                </a:lnTo>
                <a:lnTo>
                  <a:pt x="1538" y="2263"/>
                </a:lnTo>
                <a:lnTo>
                  <a:pt x="1538" y="2262"/>
                </a:lnTo>
                <a:lnTo>
                  <a:pt x="1536" y="2262"/>
                </a:lnTo>
                <a:lnTo>
                  <a:pt x="1536" y="2263"/>
                </a:lnTo>
                <a:lnTo>
                  <a:pt x="1534" y="2265"/>
                </a:lnTo>
                <a:lnTo>
                  <a:pt x="1534" y="2267"/>
                </a:lnTo>
                <a:lnTo>
                  <a:pt x="1532" y="2267"/>
                </a:lnTo>
                <a:lnTo>
                  <a:pt x="1532" y="2269"/>
                </a:lnTo>
                <a:lnTo>
                  <a:pt x="1532" y="2271"/>
                </a:lnTo>
                <a:lnTo>
                  <a:pt x="1531" y="2271"/>
                </a:lnTo>
                <a:lnTo>
                  <a:pt x="1531" y="2273"/>
                </a:lnTo>
                <a:lnTo>
                  <a:pt x="1531" y="2271"/>
                </a:lnTo>
                <a:lnTo>
                  <a:pt x="1529" y="2271"/>
                </a:lnTo>
                <a:lnTo>
                  <a:pt x="1531" y="2271"/>
                </a:lnTo>
                <a:lnTo>
                  <a:pt x="1529" y="2271"/>
                </a:lnTo>
                <a:lnTo>
                  <a:pt x="1531" y="2271"/>
                </a:lnTo>
                <a:lnTo>
                  <a:pt x="1529" y="2271"/>
                </a:lnTo>
                <a:lnTo>
                  <a:pt x="1531" y="2271"/>
                </a:lnTo>
                <a:lnTo>
                  <a:pt x="1531" y="2269"/>
                </a:lnTo>
                <a:lnTo>
                  <a:pt x="1529" y="2269"/>
                </a:lnTo>
                <a:lnTo>
                  <a:pt x="1529" y="2271"/>
                </a:lnTo>
                <a:lnTo>
                  <a:pt x="1529" y="2273"/>
                </a:lnTo>
                <a:lnTo>
                  <a:pt x="1527" y="2273"/>
                </a:lnTo>
                <a:lnTo>
                  <a:pt x="1525" y="2273"/>
                </a:lnTo>
                <a:lnTo>
                  <a:pt x="1523" y="2273"/>
                </a:lnTo>
                <a:lnTo>
                  <a:pt x="1525" y="2273"/>
                </a:lnTo>
                <a:lnTo>
                  <a:pt x="1523" y="2273"/>
                </a:lnTo>
                <a:lnTo>
                  <a:pt x="1523" y="2271"/>
                </a:lnTo>
                <a:lnTo>
                  <a:pt x="1525" y="2271"/>
                </a:lnTo>
                <a:lnTo>
                  <a:pt x="1523" y="2271"/>
                </a:lnTo>
                <a:lnTo>
                  <a:pt x="1525" y="2271"/>
                </a:lnTo>
                <a:lnTo>
                  <a:pt x="1523" y="2271"/>
                </a:lnTo>
                <a:lnTo>
                  <a:pt x="1523" y="2269"/>
                </a:lnTo>
                <a:lnTo>
                  <a:pt x="1523" y="2267"/>
                </a:lnTo>
                <a:lnTo>
                  <a:pt x="1523" y="2265"/>
                </a:lnTo>
                <a:lnTo>
                  <a:pt x="1525" y="2265"/>
                </a:lnTo>
                <a:lnTo>
                  <a:pt x="1525" y="2263"/>
                </a:lnTo>
                <a:lnTo>
                  <a:pt x="1525" y="2262"/>
                </a:lnTo>
                <a:lnTo>
                  <a:pt x="1527" y="2262"/>
                </a:lnTo>
                <a:lnTo>
                  <a:pt x="1527" y="2260"/>
                </a:lnTo>
                <a:lnTo>
                  <a:pt x="1527" y="2258"/>
                </a:lnTo>
                <a:lnTo>
                  <a:pt x="1529" y="2258"/>
                </a:lnTo>
                <a:lnTo>
                  <a:pt x="1527" y="2258"/>
                </a:lnTo>
                <a:lnTo>
                  <a:pt x="1529" y="2258"/>
                </a:lnTo>
                <a:lnTo>
                  <a:pt x="1529" y="2260"/>
                </a:lnTo>
                <a:lnTo>
                  <a:pt x="1529" y="2258"/>
                </a:lnTo>
                <a:lnTo>
                  <a:pt x="1529" y="2256"/>
                </a:lnTo>
                <a:lnTo>
                  <a:pt x="1531" y="2256"/>
                </a:lnTo>
                <a:lnTo>
                  <a:pt x="1531" y="2258"/>
                </a:lnTo>
                <a:lnTo>
                  <a:pt x="1531" y="2260"/>
                </a:lnTo>
                <a:lnTo>
                  <a:pt x="1532" y="2260"/>
                </a:lnTo>
                <a:lnTo>
                  <a:pt x="1532" y="2258"/>
                </a:lnTo>
                <a:lnTo>
                  <a:pt x="1531" y="2258"/>
                </a:lnTo>
                <a:lnTo>
                  <a:pt x="1531" y="2256"/>
                </a:lnTo>
                <a:lnTo>
                  <a:pt x="1532" y="2256"/>
                </a:lnTo>
                <a:lnTo>
                  <a:pt x="1532" y="2258"/>
                </a:lnTo>
                <a:lnTo>
                  <a:pt x="1532" y="2260"/>
                </a:lnTo>
                <a:lnTo>
                  <a:pt x="1532" y="2258"/>
                </a:lnTo>
                <a:lnTo>
                  <a:pt x="1532" y="2260"/>
                </a:lnTo>
                <a:lnTo>
                  <a:pt x="1532" y="2258"/>
                </a:lnTo>
                <a:lnTo>
                  <a:pt x="1532" y="2256"/>
                </a:lnTo>
                <a:lnTo>
                  <a:pt x="1534" y="2256"/>
                </a:lnTo>
                <a:lnTo>
                  <a:pt x="1532" y="2256"/>
                </a:lnTo>
                <a:lnTo>
                  <a:pt x="1534" y="2256"/>
                </a:lnTo>
                <a:lnTo>
                  <a:pt x="1532" y="2256"/>
                </a:lnTo>
                <a:lnTo>
                  <a:pt x="1531" y="2256"/>
                </a:lnTo>
                <a:lnTo>
                  <a:pt x="1529" y="2256"/>
                </a:lnTo>
                <a:lnTo>
                  <a:pt x="1529" y="2254"/>
                </a:lnTo>
                <a:lnTo>
                  <a:pt x="1529" y="2252"/>
                </a:lnTo>
                <a:lnTo>
                  <a:pt x="1529" y="2254"/>
                </a:lnTo>
                <a:lnTo>
                  <a:pt x="1529" y="2252"/>
                </a:lnTo>
                <a:lnTo>
                  <a:pt x="1531" y="2252"/>
                </a:lnTo>
                <a:lnTo>
                  <a:pt x="1531" y="2250"/>
                </a:lnTo>
                <a:lnTo>
                  <a:pt x="1532" y="2250"/>
                </a:lnTo>
                <a:lnTo>
                  <a:pt x="1532" y="2252"/>
                </a:lnTo>
                <a:lnTo>
                  <a:pt x="1532" y="2250"/>
                </a:lnTo>
                <a:lnTo>
                  <a:pt x="1534" y="2250"/>
                </a:lnTo>
                <a:lnTo>
                  <a:pt x="1532" y="2250"/>
                </a:lnTo>
                <a:lnTo>
                  <a:pt x="1532" y="2248"/>
                </a:lnTo>
                <a:lnTo>
                  <a:pt x="1534" y="2248"/>
                </a:lnTo>
                <a:lnTo>
                  <a:pt x="1534" y="2250"/>
                </a:lnTo>
                <a:lnTo>
                  <a:pt x="1534" y="2248"/>
                </a:lnTo>
                <a:lnTo>
                  <a:pt x="1534" y="2250"/>
                </a:lnTo>
                <a:lnTo>
                  <a:pt x="1536" y="2250"/>
                </a:lnTo>
                <a:lnTo>
                  <a:pt x="1538" y="2250"/>
                </a:lnTo>
                <a:lnTo>
                  <a:pt x="1540" y="2250"/>
                </a:lnTo>
                <a:lnTo>
                  <a:pt x="1540" y="2248"/>
                </a:lnTo>
                <a:lnTo>
                  <a:pt x="1542" y="2250"/>
                </a:lnTo>
                <a:lnTo>
                  <a:pt x="1540" y="2250"/>
                </a:lnTo>
                <a:lnTo>
                  <a:pt x="1540" y="2252"/>
                </a:lnTo>
                <a:lnTo>
                  <a:pt x="1540" y="2254"/>
                </a:lnTo>
                <a:lnTo>
                  <a:pt x="1540" y="2256"/>
                </a:lnTo>
                <a:lnTo>
                  <a:pt x="1540" y="2254"/>
                </a:lnTo>
                <a:lnTo>
                  <a:pt x="1542" y="2254"/>
                </a:lnTo>
                <a:lnTo>
                  <a:pt x="1544" y="2254"/>
                </a:lnTo>
                <a:lnTo>
                  <a:pt x="1544" y="2256"/>
                </a:lnTo>
                <a:lnTo>
                  <a:pt x="1544" y="2258"/>
                </a:lnTo>
                <a:lnTo>
                  <a:pt x="1542" y="2258"/>
                </a:lnTo>
                <a:lnTo>
                  <a:pt x="1542" y="2260"/>
                </a:lnTo>
                <a:lnTo>
                  <a:pt x="1544" y="2260"/>
                </a:lnTo>
                <a:lnTo>
                  <a:pt x="1544" y="2258"/>
                </a:lnTo>
                <a:lnTo>
                  <a:pt x="1544" y="2256"/>
                </a:lnTo>
                <a:lnTo>
                  <a:pt x="1544" y="2254"/>
                </a:lnTo>
                <a:lnTo>
                  <a:pt x="1546" y="2254"/>
                </a:lnTo>
                <a:lnTo>
                  <a:pt x="1546" y="2252"/>
                </a:lnTo>
                <a:lnTo>
                  <a:pt x="1548" y="2252"/>
                </a:lnTo>
                <a:lnTo>
                  <a:pt x="1548" y="2250"/>
                </a:lnTo>
                <a:lnTo>
                  <a:pt x="1550" y="2250"/>
                </a:lnTo>
                <a:lnTo>
                  <a:pt x="1552" y="2250"/>
                </a:lnTo>
                <a:lnTo>
                  <a:pt x="1554" y="2250"/>
                </a:lnTo>
                <a:lnTo>
                  <a:pt x="1556" y="2250"/>
                </a:lnTo>
                <a:lnTo>
                  <a:pt x="1557" y="2250"/>
                </a:lnTo>
                <a:lnTo>
                  <a:pt x="1557" y="2248"/>
                </a:lnTo>
                <a:lnTo>
                  <a:pt x="1557" y="2250"/>
                </a:lnTo>
                <a:lnTo>
                  <a:pt x="1557" y="2248"/>
                </a:lnTo>
                <a:lnTo>
                  <a:pt x="1559" y="2248"/>
                </a:lnTo>
                <a:lnTo>
                  <a:pt x="1559" y="2246"/>
                </a:lnTo>
                <a:lnTo>
                  <a:pt x="1561" y="2246"/>
                </a:lnTo>
                <a:lnTo>
                  <a:pt x="1563" y="2246"/>
                </a:lnTo>
                <a:lnTo>
                  <a:pt x="1565" y="2246"/>
                </a:lnTo>
                <a:lnTo>
                  <a:pt x="1565" y="2244"/>
                </a:lnTo>
                <a:lnTo>
                  <a:pt x="1567" y="2244"/>
                </a:lnTo>
                <a:lnTo>
                  <a:pt x="1569" y="2244"/>
                </a:lnTo>
                <a:lnTo>
                  <a:pt x="1571" y="2244"/>
                </a:lnTo>
                <a:lnTo>
                  <a:pt x="1571" y="2242"/>
                </a:lnTo>
                <a:lnTo>
                  <a:pt x="1571" y="2244"/>
                </a:lnTo>
                <a:lnTo>
                  <a:pt x="1573" y="2244"/>
                </a:lnTo>
                <a:lnTo>
                  <a:pt x="1573" y="2242"/>
                </a:lnTo>
                <a:lnTo>
                  <a:pt x="1571" y="2242"/>
                </a:lnTo>
                <a:lnTo>
                  <a:pt x="1571" y="2244"/>
                </a:lnTo>
                <a:lnTo>
                  <a:pt x="1571" y="2242"/>
                </a:lnTo>
                <a:lnTo>
                  <a:pt x="1571" y="2244"/>
                </a:lnTo>
                <a:lnTo>
                  <a:pt x="1571" y="2242"/>
                </a:lnTo>
                <a:lnTo>
                  <a:pt x="1571" y="2244"/>
                </a:lnTo>
                <a:lnTo>
                  <a:pt x="1569" y="2244"/>
                </a:lnTo>
                <a:lnTo>
                  <a:pt x="1569" y="2242"/>
                </a:lnTo>
                <a:lnTo>
                  <a:pt x="1569" y="2244"/>
                </a:lnTo>
                <a:lnTo>
                  <a:pt x="1567" y="2242"/>
                </a:lnTo>
                <a:lnTo>
                  <a:pt x="1567" y="2244"/>
                </a:lnTo>
                <a:lnTo>
                  <a:pt x="1565" y="2244"/>
                </a:lnTo>
                <a:lnTo>
                  <a:pt x="1563" y="2244"/>
                </a:lnTo>
                <a:lnTo>
                  <a:pt x="1563" y="2246"/>
                </a:lnTo>
                <a:lnTo>
                  <a:pt x="1561" y="2246"/>
                </a:lnTo>
                <a:lnTo>
                  <a:pt x="1559" y="2246"/>
                </a:lnTo>
                <a:lnTo>
                  <a:pt x="1557" y="2248"/>
                </a:lnTo>
                <a:lnTo>
                  <a:pt x="1556" y="2248"/>
                </a:lnTo>
                <a:lnTo>
                  <a:pt x="1554" y="2248"/>
                </a:lnTo>
                <a:lnTo>
                  <a:pt x="1554" y="2250"/>
                </a:lnTo>
                <a:lnTo>
                  <a:pt x="1552" y="2250"/>
                </a:lnTo>
                <a:lnTo>
                  <a:pt x="1550" y="2250"/>
                </a:lnTo>
                <a:lnTo>
                  <a:pt x="1548" y="2250"/>
                </a:lnTo>
                <a:lnTo>
                  <a:pt x="1548" y="2252"/>
                </a:lnTo>
                <a:lnTo>
                  <a:pt x="1546" y="2252"/>
                </a:lnTo>
                <a:lnTo>
                  <a:pt x="1544" y="2252"/>
                </a:lnTo>
                <a:lnTo>
                  <a:pt x="1542" y="2252"/>
                </a:lnTo>
                <a:lnTo>
                  <a:pt x="1542" y="2250"/>
                </a:lnTo>
                <a:lnTo>
                  <a:pt x="1544" y="2250"/>
                </a:lnTo>
                <a:lnTo>
                  <a:pt x="1544" y="2248"/>
                </a:lnTo>
                <a:lnTo>
                  <a:pt x="1544" y="2246"/>
                </a:lnTo>
                <a:lnTo>
                  <a:pt x="1546" y="2246"/>
                </a:lnTo>
                <a:lnTo>
                  <a:pt x="1546" y="2244"/>
                </a:lnTo>
                <a:lnTo>
                  <a:pt x="1544" y="2244"/>
                </a:lnTo>
                <a:lnTo>
                  <a:pt x="1544" y="2246"/>
                </a:lnTo>
                <a:lnTo>
                  <a:pt x="1544" y="2248"/>
                </a:lnTo>
                <a:lnTo>
                  <a:pt x="1542" y="2248"/>
                </a:lnTo>
                <a:lnTo>
                  <a:pt x="1544" y="2248"/>
                </a:lnTo>
                <a:lnTo>
                  <a:pt x="1544" y="2246"/>
                </a:lnTo>
                <a:lnTo>
                  <a:pt x="1542" y="2246"/>
                </a:lnTo>
                <a:lnTo>
                  <a:pt x="1542" y="2248"/>
                </a:lnTo>
                <a:lnTo>
                  <a:pt x="1540" y="2248"/>
                </a:lnTo>
                <a:lnTo>
                  <a:pt x="1538" y="2248"/>
                </a:lnTo>
                <a:lnTo>
                  <a:pt x="1536" y="2248"/>
                </a:lnTo>
                <a:lnTo>
                  <a:pt x="1534" y="2248"/>
                </a:lnTo>
                <a:lnTo>
                  <a:pt x="1532" y="2246"/>
                </a:lnTo>
                <a:lnTo>
                  <a:pt x="1534" y="2246"/>
                </a:lnTo>
                <a:lnTo>
                  <a:pt x="1532" y="2246"/>
                </a:lnTo>
                <a:lnTo>
                  <a:pt x="1532" y="2244"/>
                </a:lnTo>
                <a:lnTo>
                  <a:pt x="1532" y="2242"/>
                </a:lnTo>
                <a:lnTo>
                  <a:pt x="1532" y="2240"/>
                </a:lnTo>
                <a:lnTo>
                  <a:pt x="1534" y="2240"/>
                </a:lnTo>
                <a:lnTo>
                  <a:pt x="1532" y="2240"/>
                </a:lnTo>
                <a:lnTo>
                  <a:pt x="1534" y="2240"/>
                </a:lnTo>
                <a:lnTo>
                  <a:pt x="1534" y="2239"/>
                </a:lnTo>
                <a:lnTo>
                  <a:pt x="1534" y="2237"/>
                </a:lnTo>
                <a:lnTo>
                  <a:pt x="1536" y="2237"/>
                </a:lnTo>
                <a:lnTo>
                  <a:pt x="1534" y="2237"/>
                </a:lnTo>
                <a:lnTo>
                  <a:pt x="1536" y="2237"/>
                </a:lnTo>
                <a:lnTo>
                  <a:pt x="1538" y="2237"/>
                </a:lnTo>
                <a:lnTo>
                  <a:pt x="1540" y="2237"/>
                </a:lnTo>
                <a:lnTo>
                  <a:pt x="1542" y="2237"/>
                </a:lnTo>
                <a:lnTo>
                  <a:pt x="1544" y="2237"/>
                </a:lnTo>
                <a:lnTo>
                  <a:pt x="1544" y="2235"/>
                </a:lnTo>
                <a:lnTo>
                  <a:pt x="1544" y="2237"/>
                </a:lnTo>
                <a:lnTo>
                  <a:pt x="1544" y="2235"/>
                </a:lnTo>
                <a:lnTo>
                  <a:pt x="1546" y="2235"/>
                </a:lnTo>
                <a:lnTo>
                  <a:pt x="1548" y="2235"/>
                </a:lnTo>
                <a:lnTo>
                  <a:pt x="1548" y="2237"/>
                </a:lnTo>
                <a:lnTo>
                  <a:pt x="1550" y="2237"/>
                </a:lnTo>
                <a:lnTo>
                  <a:pt x="1550" y="2239"/>
                </a:lnTo>
                <a:lnTo>
                  <a:pt x="1552" y="2239"/>
                </a:lnTo>
                <a:lnTo>
                  <a:pt x="1554" y="2239"/>
                </a:lnTo>
                <a:lnTo>
                  <a:pt x="1554" y="2240"/>
                </a:lnTo>
                <a:lnTo>
                  <a:pt x="1556" y="2240"/>
                </a:lnTo>
                <a:lnTo>
                  <a:pt x="1557" y="2240"/>
                </a:lnTo>
                <a:lnTo>
                  <a:pt x="1556" y="2239"/>
                </a:lnTo>
                <a:lnTo>
                  <a:pt x="1556" y="2240"/>
                </a:lnTo>
                <a:lnTo>
                  <a:pt x="1554" y="2240"/>
                </a:lnTo>
                <a:lnTo>
                  <a:pt x="1554" y="2239"/>
                </a:lnTo>
                <a:lnTo>
                  <a:pt x="1552" y="2239"/>
                </a:lnTo>
                <a:lnTo>
                  <a:pt x="1552" y="2237"/>
                </a:lnTo>
                <a:lnTo>
                  <a:pt x="1554" y="2237"/>
                </a:lnTo>
                <a:lnTo>
                  <a:pt x="1552" y="2237"/>
                </a:lnTo>
                <a:lnTo>
                  <a:pt x="1552" y="2239"/>
                </a:lnTo>
                <a:lnTo>
                  <a:pt x="1552" y="2237"/>
                </a:lnTo>
                <a:lnTo>
                  <a:pt x="1550" y="2237"/>
                </a:lnTo>
                <a:lnTo>
                  <a:pt x="1550" y="2235"/>
                </a:lnTo>
                <a:lnTo>
                  <a:pt x="1550" y="2233"/>
                </a:lnTo>
                <a:lnTo>
                  <a:pt x="1552" y="2233"/>
                </a:lnTo>
                <a:lnTo>
                  <a:pt x="1552" y="2231"/>
                </a:lnTo>
                <a:lnTo>
                  <a:pt x="1552" y="2229"/>
                </a:lnTo>
                <a:lnTo>
                  <a:pt x="1554" y="2229"/>
                </a:lnTo>
                <a:lnTo>
                  <a:pt x="1554" y="2227"/>
                </a:lnTo>
                <a:lnTo>
                  <a:pt x="1554" y="2225"/>
                </a:lnTo>
                <a:lnTo>
                  <a:pt x="1556" y="2225"/>
                </a:lnTo>
                <a:lnTo>
                  <a:pt x="1556" y="2223"/>
                </a:lnTo>
                <a:lnTo>
                  <a:pt x="1557" y="2223"/>
                </a:lnTo>
                <a:lnTo>
                  <a:pt x="1557" y="2221"/>
                </a:lnTo>
                <a:lnTo>
                  <a:pt x="1559" y="2221"/>
                </a:lnTo>
                <a:lnTo>
                  <a:pt x="1559" y="2219"/>
                </a:lnTo>
                <a:lnTo>
                  <a:pt x="1561" y="2219"/>
                </a:lnTo>
                <a:lnTo>
                  <a:pt x="1561" y="2221"/>
                </a:lnTo>
                <a:lnTo>
                  <a:pt x="1563" y="2221"/>
                </a:lnTo>
                <a:lnTo>
                  <a:pt x="1563" y="2223"/>
                </a:lnTo>
                <a:lnTo>
                  <a:pt x="1563" y="2221"/>
                </a:lnTo>
                <a:lnTo>
                  <a:pt x="1565" y="2219"/>
                </a:lnTo>
                <a:lnTo>
                  <a:pt x="1565" y="2221"/>
                </a:lnTo>
                <a:lnTo>
                  <a:pt x="1567" y="2221"/>
                </a:lnTo>
                <a:lnTo>
                  <a:pt x="1567" y="2219"/>
                </a:lnTo>
                <a:lnTo>
                  <a:pt x="1567" y="2221"/>
                </a:lnTo>
                <a:lnTo>
                  <a:pt x="1569" y="2221"/>
                </a:lnTo>
                <a:lnTo>
                  <a:pt x="1569" y="2223"/>
                </a:lnTo>
                <a:lnTo>
                  <a:pt x="1567" y="2223"/>
                </a:lnTo>
                <a:lnTo>
                  <a:pt x="1567" y="2225"/>
                </a:lnTo>
                <a:lnTo>
                  <a:pt x="1569" y="2225"/>
                </a:lnTo>
                <a:lnTo>
                  <a:pt x="1569" y="2223"/>
                </a:lnTo>
                <a:lnTo>
                  <a:pt x="1569" y="2221"/>
                </a:lnTo>
                <a:lnTo>
                  <a:pt x="1571" y="2219"/>
                </a:lnTo>
                <a:lnTo>
                  <a:pt x="1571" y="2217"/>
                </a:lnTo>
                <a:lnTo>
                  <a:pt x="1573" y="2219"/>
                </a:lnTo>
                <a:lnTo>
                  <a:pt x="1573" y="2217"/>
                </a:lnTo>
                <a:lnTo>
                  <a:pt x="1575" y="2217"/>
                </a:lnTo>
                <a:lnTo>
                  <a:pt x="1573" y="2217"/>
                </a:lnTo>
                <a:lnTo>
                  <a:pt x="1573" y="2219"/>
                </a:lnTo>
                <a:lnTo>
                  <a:pt x="1573" y="2217"/>
                </a:lnTo>
                <a:lnTo>
                  <a:pt x="1571" y="2217"/>
                </a:lnTo>
                <a:lnTo>
                  <a:pt x="1571" y="2219"/>
                </a:lnTo>
                <a:lnTo>
                  <a:pt x="1569" y="2219"/>
                </a:lnTo>
                <a:lnTo>
                  <a:pt x="1567" y="2219"/>
                </a:lnTo>
                <a:lnTo>
                  <a:pt x="1565" y="2219"/>
                </a:lnTo>
                <a:lnTo>
                  <a:pt x="1563" y="2219"/>
                </a:lnTo>
                <a:lnTo>
                  <a:pt x="1561" y="2219"/>
                </a:lnTo>
                <a:lnTo>
                  <a:pt x="1561" y="2217"/>
                </a:lnTo>
                <a:lnTo>
                  <a:pt x="1561" y="2215"/>
                </a:lnTo>
                <a:lnTo>
                  <a:pt x="1563" y="2215"/>
                </a:lnTo>
                <a:lnTo>
                  <a:pt x="1563" y="2214"/>
                </a:lnTo>
                <a:lnTo>
                  <a:pt x="1563" y="2212"/>
                </a:lnTo>
                <a:lnTo>
                  <a:pt x="1565" y="2212"/>
                </a:lnTo>
                <a:lnTo>
                  <a:pt x="1565" y="2210"/>
                </a:lnTo>
                <a:lnTo>
                  <a:pt x="1565" y="2208"/>
                </a:lnTo>
                <a:lnTo>
                  <a:pt x="1567" y="2208"/>
                </a:lnTo>
                <a:lnTo>
                  <a:pt x="1569" y="2208"/>
                </a:lnTo>
                <a:lnTo>
                  <a:pt x="1569" y="2210"/>
                </a:lnTo>
                <a:lnTo>
                  <a:pt x="1571" y="2210"/>
                </a:lnTo>
                <a:lnTo>
                  <a:pt x="1573" y="2210"/>
                </a:lnTo>
                <a:lnTo>
                  <a:pt x="1575" y="2210"/>
                </a:lnTo>
                <a:lnTo>
                  <a:pt x="1577" y="2210"/>
                </a:lnTo>
                <a:lnTo>
                  <a:pt x="1575" y="2210"/>
                </a:lnTo>
                <a:lnTo>
                  <a:pt x="1575" y="2208"/>
                </a:lnTo>
                <a:lnTo>
                  <a:pt x="1573" y="2208"/>
                </a:lnTo>
                <a:lnTo>
                  <a:pt x="1573" y="2210"/>
                </a:lnTo>
                <a:lnTo>
                  <a:pt x="1571" y="2210"/>
                </a:lnTo>
                <a:lnTo>
                  <a:pt x="1571" y="2208"/>
                </a:lnTo>
                <a:lnTo>
                  <a:pt x="1569" y="2208"/>
                </a:lnTo>
                <a:lnTo>
                  <a:pt x="1567" y="2208"/>
                </a:lnTo>
                <a:lnTo>
                  <a:pt x="1567" y="2206"/>
                </a:lnTo>
                <a:lnTo>
                  <a:pt x="1567" y="2204"/>
                </a:lnTo>
                <a:lnTo>
                  <a:pt x="1567" y="2202"/>
                </a:lnTo>
                <a:lnTo>
                  <a:pt x="1567" y="2200"/>
                </a:lnTo>
                <a:lnTo>
                  <a:pt x="1569" y="2200"/>
                </a:lnTo>
                <a:lnTo>
                  <a:pt x="1571" y="2200"/>
                </a:lnTo>
                <a:lnTo>
                  <a:pt x="1573" y="2200"/>
                </a:lnTo>
                <a:lnTo>
                  <a:pt x="1575" y="2200"/>
                </a:lnTo>
                <a:lnTo>
                  <a:pt x="1575" y="2198"/>
                </a:lnTo>
                <a:lnTo>
                  <a:pt x="1577" y="2198"/>
                </a:lnTo>
                <a:lnTo>
                  <a:pt x="1579" y="2198"/>
                </a:lnTo>
                <a:lnTo>
                  <a:pt x="1579" y="2196"/>
                </a:lnTo>
                <a:lnTo>
                  <a:pt x="1580" y="2196"/>
                </a:lnTo>
                <a:lnTo>
                  <a:pt x="1580" y="2198"/>
                </a:lnTo>
                <a:lnTo>
                  <a:pt x="1580" y="2200"/>
                </a:lnTo>
                <a:lnTo>
                  <a:pt x="1580" y="2202"/>
                </a:lnTo>
                <a:lnTo>
                  <a:pt x="1582" y="2202"/>
                </a:lnTo>
                <a:lnTo>
                  <a:pt x="1582" y="2200"/>
                </a:lnTo>
                <a:lnTo>
                  <a:pt x="1584" y="2200"/>
                </a:lnTo>
                <a:lnTo>
                  <a:pt x="1584" y="2198"/>
                </a:lnTo>
                <a:lnTo>
                  <a:pt x="1586" y="2198"/>
                </a:lnTo>
                <a:lnTo>
                  <a:pt x="1586" y="2196"/>
                </a:lnTo>
                <a:lnTo>
                  <a:pt x="1588" y="2196"/>
                </a:lnTo>
                <a:lnTo>
                  <a:pt x="1588" y="2194"/>
                </a:lnTo>
                <a:lnTo>
                  <a:pt x="1590" y="2194"/>
                </a:lnTo>
                <a:lnTo>
                  <a:pt x="1590" y="2196"/>
                </a:lnTo>
                <a:lnTo>
                  <a:pt x="1592" y="2196"/>
                </a:lnTo>
                <a:lnTo>
                  <a:pt x="1590" y="2196"/>
                </a:lnTo>
                <a:lnTo>
                  <a:pt x="1590" y="2194"/>
                </a:lnTo>
                <a:lnTo>
                  <a:pt x="1588" y="2194"/>
                </a:lnTo>
                <a:lnTo>
                  <a:pt x="1588" y="2196"/>
                </a:lnTo>
                <a:lnTo>
                  <a:pt x="1586" y="2196"/>
                </a:lnTo>
                <a:lnTo>
                  <a:pt x="1586" y="2198"/>
                </a:lnTo>
                <a:lnTo>
                  <a:pt x="1584" y="2198"/>
                </a:lnTo>
                <a:lnTo>
                  <a:pt x="1584" y="2200"/>
                </a:lnTo>
                <a:lnTo>
                  <a:pt x="1582" y="2200"/>
                </a:lnTo>
                <a:lnTo>
                  <a:pt x="1580" y="2200"/>
                </a:lnTo>
                <a:lnTo>
                  <a:pt x="1580" y="2198"/>
                </a:lnTo>
                <a:lnTo>
                  <a:pt x="1580" y="2196"/>
                </a:lnTo>
                <a:lnTo>
                  <a:pt x="1580" y="2194"/>
                </a:lnTo>
                <a:lnTo>
                  <a:pt x="1582" y="2194"/>
                </a:lnTo>
                <a:lnTo>
                  <a:pt x="1584" y="2194"/>
                </a:lnTo>
                <a:lnTo>
                  <a:pt x="1582" y="2194"/>
                </a:lnTo>
                <a:lnTo>
                  <a:pt x="1582" y="2192"/>
                </a:lnTo>
                <a:lnTo>
                  <a:pt x="1582" y="2194"/>
                </a:lnTo>
                <a:lnTo>
                  <a:pt x="1580" y="2194"/>
                </a:lnTo>
                <a:lnTo>
                  <a:pt x="1580" y="2196"/>
                </a:lnTo>
                <a:lnTo>
                  <a:pt x="1580" y="2198"/>
                </a:lnTo>
                <a:lnTo>
                  <a:pt x="1580" y="2196"/>
                </a:lnTo>
                <a:lnTo>
                  <a:pt x="1579" y="2196"/>
                </a:lnTo>
                <a:lnTo>
                  <a:pt x="1577" y="2196"/>
                </a:lnTo>
                <a:lnTo>
                  <a:pt x="1577" y="2198"/>
                </a:lnTo>
                <a:lnTo>
                  <a:pt x="1575" y="2198"/>
                </a:lnTo>
                <a:lnTo>
                  <a:pt x="1575" y="2200"/>
                </a:lnTo>
                <a:lnTo>
                  <a:pt x="1573" y="2200"/>
                </a:lnTo>
                <a:lnTo>
                  <a:pt x="1571" y="2200"/>
                </a:lnTo>
                <a:lnTo>
                  <a:pt x="1571" y="2198"/>
                </a:lnTo>
                <a:lnTo>
                  <a:pt x="1571" y="2200"/>
                </a:lnTo>
                <a:lnTo>
                  <a:pt x="1569" y="2200"/>
                </a:lnTo>
                <a:lnTo>
                  <a:pt x="1567" y="2200"/>
                </a:lnTo>
                <a:lnTo>
                  <a:pt x="1567" y="2198"/>
                </a:lnTo>
                <a:lnTo>
                  <a:pt x="1567" y="2196"/>
                </a:lnTo>
                <a:lnTo>
                  <a:pt x="1567" y="2194"/>
                </a:lnTo>
                <a:lnTo>
                  <a:pt x="1569" y="2194"/>
                </a:lnTo>
                <a:lnTo>
                  <a:pt x="1569" y="2192"/>
                </a:lnTo>
                <a:lnTo>
                  <a:pt x="1569" y="2191"/>
                </a:lnTo>
                <a:lnTo>
                  <a:pt x="1569" y="2189"/>
                </a:lnTo>
                <a:lnTo>
                  <a:pt x="1569" y="2187"/>
                </a:lnTo>
                <a:lnTo>
                  <a:pt x="1569" y="2185"/>
                </a:lnTo>
                <a:lnTo>
                  <a:pt x="1569" y="2187"/>
                </a:lnTo>
                <a:lnTo>
                  <a:pt x="1567" y="2187"/>
                </a:lnTo>
                <a:lnTo>
                  <a:pt x="1567" y="2185"/>
                </a:lnTo>
                <a:lnTo>
                  <a:pt x="1567" y="2183"/>
                </a:lnTo>
                <a:lnTo>
                  <a:pt x="1569" y="2183"/>
                </a:lnTo>
                <a:lnTo>
                  <a:pt x="1569" y="2181"/>
                </a:lnTo>
                <a:lnTo>
                  <a:pt x="1569" y="2183"/>
                </a:lnTo>
                <a:lnTo>
                  <a:pt x="1569" y="2181"/>
                </a:lnTo>
                <a:lnTo>
                  <a:pt x="1567" y="2181"/>
                </a:lnTo>
                <a:lnTo>
                  <a:pt x="1569" y="2181"/>
                </a:lnTo>
                <a:lnTo>
                  <a:pt x="1571" y="2181"/>
                </a:lnTo>
                <a:lnTo>
                  <a:pt x="1573" y="2181"/>
                </a:lnTo>
                <a:lnTo>
                  <a:pt x="1575" y="2181"/>
                </a:lnTo>
                <a:lnTo>
                  <a:pt x="1575" y="2179"/>
                </a:lnTo>
                <a:lnTo>
                  <a:pt x="1577" y="2181"/>
                </a:lnTo>
                <a:lnTo>
                  <a:pt x="1577" y="2179"/>
                </a:lnTo>
                <a:lnTo>
                  <a:pt x="1575" y="2179"/>
                </a:lnTo>
                <a:lnTo>
                  <a:pt x="1577" y="2179"/>
                </a:lnTo>
                <a:lnTo>
                  <a:pt x="1579" y="2179"/>
                </a:lnTo>
                <a:lnTo>
                  <a:pt x="1580" y="2177"/>
                </a:lnTo>
                <a:lnTo>
                  <a:pt x="1582" y="2177"/>
                </a:lnTo>
                <a:lnTo>
                  <a:pt x="1584" y="2177"/>
                </a:lnTo>
                <a:lnTo>
                  <a:pt x="1582" y="2177"/>
                </a:lnTo>
                <a:lnTo>
                  <a:pt x="1580" y="2177"/>
                </a:lnTo>
                <a:lnTo>
                  <a:pt x="1579" y="2177"/>
                </a:lnTo>
                <a:lnTo>
                  <a:pt x="1579" y="2179"/>
                </a:lnTo>
                <a:lnTo>
                  <a:pt x="1577" y="2179"/>
                </a:lnTo>
                <a:lnTo>
                  <a:pt x="1579" y="2177"/>
                </a:lnTo>
                <a:lnTo>
                  <a:pt x="1577" y="2177"/>
                </a:lnTo>
                <a:lnTo>
                  <a:pt x="1575" y="2177"/>
                </a:lnTo>
                <a:lnTo>
                  <a:pt x="1575" y="2179"/>
                </a:lnTo>
                <a:lnTo>
                  <a:pt x="1573" y="2179"/>
                </a:lnTo>
                <a:lnTo>
                  <a:pt x="1571" y="2179"/>
                </a:lnTo>
                <a:lnTo>
                  <a:pt x="1571" y="2177"/>
                </a:lnTo>
                <a:lnTo>
                  <a:pt x="1571" y="2179"/>
                </a:lnTo>
                <a:lnTo>
                  <a:pt x="1569" y="2179"/>
                </a:lnTo>
                <a:lnTo>
                  <a:pt x="1567" y="2179"/>
                </a:lnTo>
                <a:lnTo>
                  <a:pt x="1567" y="2177"/>
                </a:lnTo>
                <a:lnTo>
                  <a:pt x="1565" y="2177"/>
                </a:lnTo>
                <a:lnTo>
                  <a:pt x="1565" y="2179"/>
                </a:lnTo>
                <a:lnTo>
                  <a:pt x="1563" y="2179"/>
                </a:lnTo>
                <a:lnTo>
                  <a:pt x="1561" y="2179"/>
                </a:lnTo>
                <a:lnTo>
                  <a:pt x="1561" y="2177"/>
                </a:lnTo>
                <a:lnTo>
                  <a:pt x="1561" y="2175"/>
                </a:lnTo>
                <a:lnTo>
                  <a:pt x="1561" y="2173"/>
                </a:lnTo>
                <a:lnTo>
                  <a:pt x="1559" y="2173"/>
                </a:lnTo>
                <a:lnTo>
                  <a:pt x="1557" y="2173"/>
                </a:lnTo>
                <a:lnTo>
                  <a:pt x="1557" y="2171"/>
                </a:lnTo>
                <a:lnTo>
                  <a:pt x="1557" y="2173"/>
                </a:lnTo>
                <a:lnTo>
                  <a:pt x="1556" y="2173"/>
                </a:lnTo>
                <a:lnTo>
                  <a:pt x="1554" y="2173"/>
                </a:lnTo>
                <a:lnTo>
                  <a:pt x="1552" y="2173"/>
                </a:lnTo>
                <a:lnTo>
                  <a:pt x="1552" y="2171"/>
                </a:lnTo>
                <a:lnTo>
                  <a:pt x="1554" y="2169"/>
                </a:lnTo>
                <a:lnTo>
                  <a:pt x="1552" y="2169"/>
                </a:lnTo>
                <a:lnTo>
                  <a:pt x="1552" y="2171"/>
                </a:lnTo>
                <a:lnTo>
                  <a:pt x="1550" y="2171"/>
                </a:lnTo>
                <a:lnTo>
                  <a:pt x="1550" y="2173"/>
                </a:lnTo>
                <a:lnTo>
                  <a:pt x="1548" y="2173"/>
                </a:lnTo>
                <a:lnTo>
                  <a:pt x="1546" y="2173"/>
                </a:lnTo>
                <a:lnTo>
                  <a:pt x="1544" y="2173"/>
                </a:lnTo>
                <a:lnTo>
                  <a:pt x="1544" y="2171"/>
                </a:lnTo>
                <a:lnTo>
                  <a:pt x="1544" y="2169"/>
                </a:lnTo>
                <a:lnTo>
                  <a:pt x="1542" y="2169"/>
                </a:lnTo>
                <a:lnTo>
                  <a:pt x="1542" y="2168"/>
                </a:lnTo>
                <a:lnTo>
                  <a:pt x="1542" y="2166"/>
                </a:lnTo>
                <a:lnTo>
                  <a:pt x="1542" y="2168"/>
                </a:lnTo>
                <a:lnTo>
                  <a:pt x="1542" y="2169"/>
                </a:lnTo>
                <a:lnTo>
                  <a:pt x="1542" y="2171"/>
                </a:lnTo>
                <a:lnTo>
                  <a:pt x="1544" y="2171"/>
                </a:lnTo>
                <a:lnTo>
                  <a:pt x="1544" y="2173"/>
                </a:lnTo>
                <a:lnTo>
                  <a:pt x="1542" y="2173"/>
                </a:lnTo>
                <a:lnTo>
                  <a:pt x="1542" y="2171"/>
                </a:lnTo>
                <a:lnTo>
                  <a:pt x="1540" y="2171"/>
                </a:lnTo>
                <a:lnTo>
                  <a:pt x="1540" y="2169"/>
                </a:lnTo>
                <a:lnTo>
                  <a:pt x="1540" y="2171"/>
                </a:lnTo>
                <a:lnTo>
                  <a:pt x="1538" y="2171"/>
                </a:lnTo>
                <a:lnTo>
                  <a:pt x="1536" y="2169"/>
                </a:lnTo>
                <a:lnTo>
                  <a:pt x="1536" y="2171"/>
                </a:lnTo>
                <a:lnTo>
                  <a:pt x="1536" y="2173"/>
                </a:lnTo>
                <a:lnTo>
                  <a:pt x="1538" y="2173"/>
                </a:lnTo>
                <a:lnTo>
                  <a:pt x="1538" y="2175"/>
                </a:lnTo>
                <a:lnTo>
                  <a:pt x="1538" y="2177"/>
                </a:lnTo>
                <a:lnTo>
                  <a:pt x="1540" y="2177"/>
                </a:lnTo>
                <a:lnTo>
                  <a:pt x="1538" y="2177"/>
                </a:lnTo>
                <a:lnTo>
                  <a:pt x="1538" y="2179"/>
                </a:lnTo>
                <a:lnTo>
                  <a:pt x="1536" y="2179"/>
                </a:lnTo>
                <a:lnTo>
                  <a:pt x="1534" y="2179"/>
                </a:lnTo>
                <a:lnTo>
                  <a:pt x="1534" y="2181"/>
                </a:lnTo>
                <a:lnTo>
                  <a:pt x="1532" y="2181"/>
                </a:lnTo>
                <a:lnTo>
                  <a:pt x="1532" y="2183"/>
                </a:lnTo>
                <a:lnTo>
                  <a:pt x="1532" y="2181"/>
                </a:lnTo>
                <a:lnTo>
                  <a:pt x="1531" y="2181"/>
                </a:lnTo>
                <a:lnTo>
                  <a:pt x="1532" y="2181"/>
                </a:lnTo>
                <a:lnTo>
                  <a:pt x="1531" y="2181"/>
                </a:lnTo>
                <a:lnTo>
                  <a:pt x="1531" y="2179"/>
                </a:lnTo>
                <a:lnTo>
                  <a:pt x="1532" y="2181"/>
                </a:lnTo>
                <a:lnTo>
                  <a:pt x="1532" y="2179"/>
                </a:lnTo>
                <a:lnTo>
                  <a:pt x="1531" y="2179"/>
                </a:lnTo>
                <a:lnTo>
                  <a:pt x="1532" y="2179"/>
                </a:lnTo>
                <a:lnTo>
                  <a:pt x="1531" y="2179"/>
                </a:lnTo>
                <a:lnTo>
                  <a:pt x="1531" y="2177"/>
                </a:lnTo>
                <a:lnTo>
                  <a:pt x="1531" y="2179"/>
                </a:lnTo>
                <a:lnTo>
                  <a:pt x="1531" y="2181"/>
                </a:lnTo>
                <a:lnTo>
                  <a:pt x="1531" y="2183"/>
                </a:lnTo>
                <a:lnTo>
                  <a:pt x="1531" y="2185"/>
                </a:lnTo>
                <a:lnTo>
                  <a:pt x="1529" y="2185"/>
                </a:lnTo>
                <a:lnTo>
                  <a:pt x="1529" y="2187"/>
                </a:lnTo>
                <a:lnTo>
                  <a:pt x="1527" y="2187"/>
                </a:lnTo>
                <a:lnTo>
                  <a:pt x="1525" y="2187"/>
                </a:lnTo>
                <a:lnTo>
                  <a:pt x="1525" y="2189"/>
                </a:lnTo>
                <a:lnTo>
                  <a:pt x="1525" y="2187"/>
                </a:lnTo>
                <a:lnTo>
                  <a:pt x="1523" y="2187"/>
                </a:lnTo>
                <a:lnTo>
                  <a:pt x="1525" y="2187"/>
                </a:lnTo>
                <a:lnTo>
                  <a:pt x="1523" y="2187"/>
                </a:lnTo>
                <a:lnTo>
                  <a:pt x="1523" y="2185"/>
                </a:lnTo>
                <a:lnTo>
                  <a:pt x="1523" y="2183"/>
                </a:lnTo>
                <a:lnTo>
                  <a:pt x="1523" y="2181"/>
                </a:lnTo>
                <a:lnTo>
                  <a:pt x="1523" y="2179"/>
                </a:lnTo>
                <a:lnTo>
                  <a:pt x="1523" y="2181"/>
                </a:lnTo>
                <a:lnTo>
                  <a:pt x="1523" y="2183"/>
                </a:lnTo>
                <a:lnTo>
                  <a:pt x="1523" y="2185"/>
                </a:lnTo>
                <a:lnTo>
                  <a:pt x="1521" y="2185"/>
                </a:lnTo>
                <a:lnTo>
                  <a:pt x="1521" y="2187"/>
                </a:lnTo>
                <a:lnTo>
                  <a:pt x="1523" y="2187"/>
                </a:lnTo>
                <a:lnTo>
                  <a:pt x="1521" y="2187"/>
                </a:lnTo>
                <a:lnTo>
                  <a:pt x="1523" y="2187"/>
                </a:lnTo>
                <a:lnTo>
                  <a:pt x="1521" y="2187"/>
                </a:lnTo>
                <a:lnTo>
                  <a:pt x="1521" y="2189"/>
                </a:lnTo>
                <a:lnTo>
                  <a:pt x="1521" y="2187"/>
                </a:lnTo>
                <a:lnTo>
                  <a:pt x="1521" y="2189"/>
                </a:lnTo>
                <a:lnTo>
                  <a:pt x="1519" y="2191"/>
                </a:lnTo>
                <a:lnTo>
                  <a:pt x="1517" y="2191"/>
                </a:lnTo>
                <a:lnTo>
                  <a:pt x="1517" y="2192"/>
                </a:lnTo>
                <a:lnTo>
                  <a:pt x="1515" y="2192"/>
                </a:lnTo>
                <a:lnTo>
                  <a:pt x="1515" y="2191"/>
                </a:lnTo>
                <a:lnTo>
                  <a:pt x="1515" y="2189"/>
                </a:lnTo>
                <a:lnTo>
                  <a:pt x="1515" y="2187"/>
                </a:lnTo>
                <a:lnTo>
                  <a:pt x="1513" y="2187"/>
                </a:lnTo>
                <a:lnTo>
                  <a:pt x="1513" y="2185"/>
                </a:lnTo>
                <a:lnTo>
                  <a:pt x="1513" y="2183"/>
                </a:lnTo>
                <a:lnTo>
                  <a:pt x="1513" y="2181"/>
                </a:lnTo>
                <a:lnTo>
                  <a:pt x="1513" y="2179"/>
                </a:lnTo>
                <a:lnTo>
                  <a:pt x="1513" y="2177"/>
                </a:lnTo>
                <a:lnTo>
                  <a:pt x="1515" y="2177"/>
                </a:lnTo>
                <a:lnTo>
                  <a:pt x="1515" y="2175"/>
                </a:lnTo>
                <a:lnTo>
                  <a:pt x="1515" y="2173"/>
                </a:lnTo>
                <a:lnTo>
                  <a:pt x="1517" y="2173"/>
                </a:lnTo>
                <a:lnTo>
                  <a:pt x="1517" y="2171"/>
                </a:lnTo>
                <a:lnTo>
                  <a:pt x="1517" y="2169"/>
                </a:lnTo>
                <a:lnTo>
                  <a:pt x="1517" y="2168"/>
                </a:lnTo>
                <a:lnTo>
                  <a:pt x="1517" y="2166"/>
                </a:lnTo>
                <a:lnTo>
                  <a:pt x="1517" y="2168"/>
                </a:lnTo>
                <a:lnTo>
                  <a:pt x="1519" y="2168"/>
                </a:lnTo>
                <a:lnTo>
                  <a:pt x="1519" y="2169"/>
                </a:lnTo>
                <a:lnTo>
                  <a:pt x="1519" y="2171"/>
                </a:lnTo>
                <a:lnTo>
                  <a:pt x="1521" y="2169"/>
                </a:lnTo>
                <a:lnTo>
                  <a:pt x="1521" y="2168"/>
                </a:lnTo>
                <a:lnTo>
                  <a:pt x="1523" y="2168"/>
                </a:lnTo>
                <a:lnTo>
                  <a:pt x="1521" y="2168"/>
                </a:lnTo>
                <a:lnTo>
                  <a:pt x="1523" y="2168"/>
                </a:lnTo>
                <a:lnTo>
                  <a:pt x="1525" y="2168"/>
                </a:lnTo>
                <a:lnTo>
                  <a:pt x="1527" y="2168"/>
                </a:lnTo>
                <a:lnTo>
                  <a:pt x="1527" y="2169"/>
                </a:lnTo>
                <a:lnTo>
                  <a:pt x="1529" y="2171"/>
                </a:lnTo>
                <a:lnTo>
                  <a:pt x="1529" y="2173"/>
                </a:lnTo>
                <a:lnTo>
                  <a:pt x="1529" y="2171"/>
                </a:lnTo>
                <a:lnTo>
                  <a:pt x="1529" y="2169"/>
                </a:lnTo>
                <a:lnTo>
                  <a:pt x="1529" y="2168"/>
                </a:lnTo>
                <a:lnTo>
                  <a:pt x="1529" y="2166"/>
                </a:lnTo>
                <a:lnTo>
                  <a:pt x="1531" y="2166"/>
                </a:lnTo>
                <a:lnTo>
                  <a:pt x="1532" y="2166"/>
                </a:lnTo>
                <a:lnTo>
                  <a:pt x="1532" y="2164"/>
                </a:lnTo>
                <a:lnTo>
                  <a:pt x="1532" y="2162"/>
                </a:lnTo>
                <a:lnTo>
                  <a:pt x="1534" y="2162"/>
                </a:lnTo>
                <a:lnTo>
                  <a:pt x="1534" y="2160"/>
                </a:lnTo>
                <a:lnTo>
                  <a:pt x="1536" y="2160"/>
                </a:lnTo>
                <a:lnTo>
                  <a:pt x="1538" y="2160"/>
                </a:lnTo>
                <a:lnTo>
                  <a:pt x="1538" y="2162"/>
                </a:lnTo>
                <a:lnTo>
                  <a:pt x="1538" y="2160"/>
                </a:lnTo>
                <a:lnTo>
                  <a:pt x="1538" y="2162"/>
                </a:lnTo>
                <a:lnTo>
                  <a:pt x="1540" y="2162"/>
                </a:lnTo>
                <a:lnTo>
                  <a:pt x="1540" y="2160"/>
                </a:lnTo>
                <a:lnTo>
                  <a:pt x="1540" y="2162"/>
                </a:lnTo>
                <a:lnTo>
                  <a:pt x="1540" y="2160"/>
                </a:lnTo>
                <a:lnTo>
                  <a:pt x="1542" y="2160"/>
                </a:lnTo>
                <a:lnTo>
                  <a:pt x="1542" y="2158"/>
                </a:lnTo>
                <a:lnTo>
                  <a:pt x="1542" y="2156"/>
                </a:lnTo>
                <a:lnTo>
                  <a:pt x="1544" y="2154"/>
                </a:lnTo>
                <a:lnTo>
                  <a:pt x="1544" y="2156"/>
                </a:lnTo>
                <a:lnTo>
                  <a:pt x="1544" y="2154"/>
                </a:lnTo>
                <a:lnTo>
                  <a:pt x="1544" y="2152"/>
                </a:lnTo>
                <a:lnTo>
                  <a:pt x="1546" y="2152"/>
                </a:lnTo>
                <a:lnTo>
                  <a:pt x="1546" y="2150"/>
                </a:lnTo>
                <a:lnTo>
                  <a:pt x="1548" y="2150"/>
                </a:lnTo>
                <a:lnTo>
                  <a:pt x="1548" y="2148"/>
                </a:lnTo>
                <a:lnTo>
                  <a:pt x="1550" y="2148"/>
                </a:lnTo>
                <a:lnTo>
                  <a:pt x="1552" y="2148"/>
                </a:lnTo>
                <a:lnTo>
                  <a:pt x="1552" y="2150"/>
                </a:lnTo>
                <a:lnTo>
                  <a:pt x="1552" y="2148"/>
                </a:lnTo>
                <a:lnTo>
                  <a:pt x="1554" y="2148"/>
                </a:lnTo>
                <a:lnTo>
                  <a:pt x="1556" y="2150"/>
                </a:lnTo>
                <a:lnTo>
                  <a:pt x="1557" y="2150"/>
                </a:lnTo>
                <a:lnTo>
                  <a:pt x="1557" y="2152"/>
                </a:lnTo>
                <a:lnTo>
                  <a:pt x="1559" y="2152"/>
                </a:lnTo>
                <a:lnTo>
                  <a:pt x="1559" y="2154"/>
                </a:lnTo>
                <a:lnTo>
                  <a:pt x="1561" y="2154"/>
                </a:lnTo>
                <a:lnTo>
                  <a:pt x="1561" y="2156"/>
                </a:lnTo>
                <a:lnTo>
                  <a:pt x="1563" y="2156"/>
                </a:lnTo>
                <a:lnTo>
                  <a:pt x="1563" y="2158"/>
                </a:lnTo>
                <a:lnTo>
                  <a:pt x="1561" y="2158"/>
                </a:lnTo>
                <a:lnTo>
                  <a:pt x="1563" y="2158"/>
                </a:lnTo>
                <a:lnTo>
                  <a:pt x="1561" y="2158"/>
                </a:lnTo>
                <a:lnTo>
                  <a:pt x="1561" y="2160"/>
                </a:lnTo>
                <a:lnTo>
                  <a:pt x="1563" y="2160"/>
                </a:lnTo>
                <a:lnTo>
                  <a:pt x="1563" y="2158"/>
                </a:lnTo>
                <a:lnTo>
                  <a:pt x="1563" y="2156"/>
                </a:lnTo>
                <a:lnTo>
                  <a:pt x="1563" y="2158"/>
                </a:lnTo>
                <a:lnTo>
                  <a:pt x="1565" y="2158"/>
                </a:lnTo>
                <a:lnTo>
                  <a:pt x="1567" y="2158"/>
                </a:lnTo>
                <a:lnTo>
                  <a:pt x="1567" y="2156"/>
                </a:lnTo>
                <a:lnTo>
                  <a:pt x="1569" y="2158"/>
                </a:lnTo>
                <a:lnTo>
                  <a:pt x="1569" y="2156"/>
                </a:lnTo>
                <a:lnTo>
                  <a:pt x="1571" y="2156"/>
                </a:lnTo>
                <a:lnTo>
                  <a:pt x="1571" y="2158"/>
                </a:lnTo>
                <a:lnTo>
                  <a:pt x="1571" y="2156"/>
                </a:lnTo>
                <a:lnTo>
                  <a:pt x="1569" y="2156"/>
                </a:lnTo>
                <a:lnTo>
                  <a:pt x="1567" y="2156"/>
                </a:lnTo>
                <a:lnTo>
                  <a:pt x="1565" y="2156"/>
                </a:lnTo>
                <a:lnTo>
                  <a:pt x="1563" y="2156"/>
                </a:lnTo>
                <a:lnTo>
                  <a:pt x="1563" y="2154"/>
                </a:lnTo>
                <a:lnTo>
                  <a:pt x="1561" y="2154"/>
                </a:lnTo>
                <a:lnTo>
                  <a:pt x="1561" y="2152"/>
                </a:lnTo>
                <a:lnTo>
                  <a:pt x="1561" y="2154"/>
                </a:lnTo>
                <a:lnTo>
                  <a:pt x="1561" y="2152"/>
                </a:lnTo>
                <a:lnTo>
                  <a:pt x="1559" y="2152"/>
                </a:lnTo>
                <a:lnTo>
                  <a:pt x="1559" y="2150"/>
                </a:lnTo>
                <a:lnTo>
                  <a:pt x="1557" y="2150"/>
                </a:lnTo>
                <a:lnTo>
                  <a:pt x="1557" y="2148"/>
                </a:lnTo>
                <a:lnTo>
                  <a:pt x="1556" y="2148"/>
                </a:lnTo>
                <a:lnTo>
                  <a:pt x="1556" y="2146"/>
                </a:lnTo>
                <a:lnTo>
                  <a:pt x="1554" y="2146"/>
                </a:lnTo>
                <a:lnTo>
                  <a:pt x="1554" y="2144"/>
                </a:lnTo>
                <a:lnTo>
                  <a:pt x="1554" y="2143"/>
                </a:lnTo>
                <a:lnTo>
                  <a:pt x="1554" y="2141"/>
                </a:lnTo>
                <a:lnTo>
                  <a:pt x="1556" y="2141"/>
                </a:lnTo>
                <a:lnTo>
                  <a:pt x="1556" y="2139"/>
                </a:lnTo>
                <a:lnTo>
                  <a:pt x="1556" y="2137"/>
                </a:lnTo>
                <a:lnTo>
                  <a:pt x="1557" y="2137"/>
                </a:lnTo>
                <a:lnTo>
                  <a:pt x="1557" y="2135"/>
                </a:lnTo>
                <a:lnTo>
                  <a:pt x="1559" y="2135"/>
                </a:lnTo>
                <a:lnTo>
                  <a:pt x="1559" y="2133"/>
                </a:lnTo>
                <a:lnTo>
                  <a:pt x="1557" y="2133"/>
                </a:lnTo>
                <a:lnTo>
                  <a:pt x="1557" y="2135"/>
                </a:lnTo>
                <a:lnTo>
                  <a:pt x="1556" y="2135"/>
                </a:lnTo>
                <a:lnTo>
                  <a:pt x="1557" y="2135"/>
                </a:lnTo>
                <a:lnTo>
                  <a:pt x="1556" y="2135"/>
                </a:lnTo>
                <a:lnTo>
                  <a:pt x="1556" y="2133"/>
                </a:lnTo>
                <a:lnTo>
                  <a:pt x="1556" y="2131"/>
                </a:lnTo>
                <a:lnTo>
                  <a:pt x="1554" y="2131"/>
                </a:lnTo>
                <a:lnTo>
                  <a:pt x="1552" y="2131"/>
                </a:lnTo>
                <a:lnTo>
                  <a:pt x="1554" y="2131"/>
                </a:lnTo>
                <a:lnTo>
                  <a:pt x="1554" y="2129"/>
                </a:lnTo>
                <a:lnTo>
                  <a:pt x="1554" y="2127"/>
                </a:lnTo>
                <a:lnTo>
                  <a:pt x="1552" y="2127"/>
                </a:lnTo>
                <a:lnTo>
                  <a:pt x="1552" y="2129"/>
                </a:lnTo>
                <a:lnTo>
                  <a:pt x="1552" y="2127"/>
                </a:lnTo>
                <a:lnTo>
                  <a:pt x="1552" y="2125"/>
                </a:lnTo>
                <a:lnTo>
                  <a:pt x="1554" y="2125"/>
                </a:lnTo>
                <a:lnTo>
                  <a:pt x="1554" y="2123"/>
                </a:lnTo>
                <a:lnTo>
                  <a:pt x="1554" y="2121"/>
                </a:lnTo>
                <a:lnTo>
                  <a:pt x="1554" y="2120"/>
                </a:lnTo>
                <a:lnTo>
                  <a:pt x="1552" y="2118"/>
                </a:lnTo>
                <a:lnTo>
                  <a:pt x="1554" y="2118"/>
                </a:lnTo>
                <a:lnTo>
                  <a:pt x="1552" y="2116"/>
                </a:lnTo>
                <a:lnTo>
                  <a:pt x="1552" y="2114"/>
                </a:lnTo>
                <a:lnTo>
                  <a:pt x="1552" y="2112"/>
                </a:lnTo>
                <a:lnTo>
                  <a:pt x="1554" y="2112"/>
                </a:lnTo>
                <a:lnTo>
                  <a:pt x="1554" y="2110"/>
                </a:lnTo>
                <a:lnTo>
                  <a:pt x="1556" y="2110"/>
                </a:lnTo>
                <a:lnTo>
                  <a:pt x="1557" y="2110"/>
                </a:lnTo>
                <a:lnTo>
                  <a:pt x="1557" y="2108"/>
                </a:lnTo>
                <a:lnTo>
                  <a:pt x="1559" y="2108"/>
                </a:lnTo>
                <a:lnTo>
                  <a:pt x="1561" y="2108"/>
                </a:lnTo>
                <a:lnTo>
                  <a:pt x="1563" y="2108"/>
                </a:lnTo>
                <a:lnTo>
                  <a:pt x="1563" y="2106"/>
                </a:lnTo>
                <a:lnTo>
                  <a:pt x="1565" y="2106"/>
                </a:lnTo>
                <a:lnTo>
                  <a:pt x="1565" y="2108"/>
                </a:lnTo>
                <a:lnTo>
                  <a:pt x="1565" y="2106"/>
                </a:lnTo>
                <a:lnTo>
                  <a:pt x="1565" y="2108"/>
                </a:lnTo>
                <a:lnTo>
                  <a:pt x="1567" y="2108"/>
                </a:lnTo>
                <a:lnTo>
                  <a:pt x="1569" y="2108"/>
                </a:lnTo>
                <a:lnTo>
                  <a:pt x="1567" y="2108"/>
                </a:lnTo>
                <a:lnTo>
                  <a:pt x="1567" y="2106"/>
                </a:lnTo>
                <a:lnTo>
                  <a:pt x="1565" y="2106"/>
                </a:lnTo>
                <a:lnTo>
                  <a:pt x="1563" y="2106"/>
                </a:lnTo>
                <a:lnTo>
                  <a:pt x="1563" y="2104"/>
                </a:lnTo>
                <a:lnTo>
                  <a:pt x="1561" y="2104"/>
                </a:lnTo>
                <a:lnTo>
                  <a:pt x="1559" y="2104"/>
                </a:lnTo>
                <a:lnTo>
                  <a:pt x="1559" y="2106"/>
                </a:lnTo>
                <a:lnTo>
                  <a:pt x="1559" y="2104"/>
                </a:lnTo>
                <a:lnTo>
                  <a:pt x="1557" y="2104"/>
                </a:lnTo>
                <a:lnTo>
                  <a:pt x="1557" y="2102"/>
                </a:lnTo>
                <a:lnTo>
                  <a:pt x="1556" y="2102"/>
                </a:lnTo>
                <a:lnTo>
                  <a:pt x="1556" y="2100"/>
                </a:lnTo>
                <a:lnTo>
                  <a:pt x="1556" y="2098"/>
                </a:lnTo>
                <a:lnTo>
                  <a:pt x="1554" y="2098"/>
                </a:lnTo>
                <a:lnTo>
                  <a:pt x="1554" y="2096"/>
                </a:lnTo>
                <a:lnTo>
                  <a:pt x="1556" y="2096"/>
                </a:lnTo>
                <a:lnTo>
                  <a:pt x="1556" y="2095"/>
                </a:lnTo>
                <a:lnTo>
                  <a:pt x="1556" y="2096"/>
                </a:lnTo>
                <a:lnTo>
                  <a:pt x="1557" y="2096"/>
                </a:lnTo>
                <a:lnTo>
                  <a:pt x="1559" y="2095"/>
                </a:lnTo>
                <a:lnTo>
                  <a:pt x="1561" y="2095"/>
                </a:lnTo>
                <a:lnTo>
                  <a:pt x="1561" y="2096"/>
                </a:lnTo>
                <a:lnTo>
                  <a:pt x="1561" y="2095"/>
                </a:lnTo>
                <a:lnTo>
                  <a:pt x="1563" y="2095"/>
                </a:lnTo>
                <a:lnTo>
                  <a:pt x="1563" y="2093"/>
                </a:lnTo>
                <a:lnTo>
                  <a:pt x="1565" y="2093"/>
                </a:lnTo>
                <a:lnTo>
                  <a:pt x="1565" y="2095"/>
                </a:lnTo>
                <a:lnTo>
                  <a:pt x="1565" y="2093"/>
                </a:lnTo>
                <a:lnTo>
                  <a:pt x="1563" y="2093"/>
                </a:lnTo>
                <a:lnTo>
                  <a:pt x="1561" y="2093"/>
                </a:lnTo>
                <a:lnTo>
                  <a:pt x="1561" y="2095"/>
                </a:lnTo>
                <a:lnTo>
                  <a:pt x="1559" y="2093"/>
                </a:lnTo>
                <a:lnTo>
                  <a:pt x="1557" y="2093"/>
                </a:lnTo>
                <a:lnTo>
                  <a:pt x="1557" y="2095"/>
                </a:lnTo>
                <a:lnTo>
                  <a:pt x="1556" y="2095"/>
                </a:lnTo>
                <a:lnTo>
                  <a:pt x="1557" y="2095"/>
                </a:lnTo>
                <a:lnTo>
                  <a:pt x="1556" y="2093"/>
                </a:lnTo>
                <a:lnTo>
                  <a:pt x="1556" y="2091"/>
                </a:lnTo>
                <a:lnTo>
                  <a:pt x="1554" y="2089"/>
                </a:lnTo>
                <a:lnTo>
                  <a:pt x="1554" y="2085"/>
                </a:lnTo>
                <a:lnTo>
                  <a:pt x="1552" y="2083"/>
                </a:lnTo>
                <a:lnTo>
                  <a:pt x="1552" y="2081"/>
                </a:lnTo>
                <a:lnTo>
                  <a:pt x="1552" y="2079"/>
                </a:lnTo>
                <a:lnTo>
                  <a:pt x="1554" y="2079"/>
                </a:lnTo>
                <a:lnTo>
                  <a:pt x="1554" y="2077"/>
                </a:lnTo>
                <a:lnTo>
                  <a:pt x="1554" y="2075"/>
                </a:lnTo>
                <a:lnTo>
                  <a:pt x="1552" y="2073"/>
                </a:lnTo>
                <a:lnTo>
                  <a:pt x="1554" y="2073"/>
                </a:lnTo>
                <a:lnTo>
                  <a:pt x="1554" y="2072"/>
                </a:lnTo>
                <a:lnTo>
                  <a:pt x="1554" y="2070"/>
                </a:lnTo>
                <a:lnTo>
                  <a:pt x="1554" y="2068"/>
                </a:lnTo>
                <a:lnTo>
                  <a:pt x="1556" y="2070"/>
                </a:lnTo>
                <a:lnTo>
                  <a:pt x="1556" y="2072"/>
                </a:lnTo>
                <a:lnTo>
                  <a:pt x="1556" y="2070"/>
                </a:lnTo>
                <a:lnTo>
                  <a:pt x="1556" y="2068"/>
                </a:lnTo>
                <a:lnTo>
                  <a:pt x="1557" y="2070"/>
                </a:lnTo>
                <a:lnTo>
                  <a:pt x="1557" y="2072"/>
                </a:lnTo>
                <a:lnTo>
                  <a:pt x="1557" y="2073"/>
                </a:lnTo>
                <a:lnTo>
                  <a:pt x="1559" y="2073"/>
                </a:lnTo>
                <a:lnTo>
                  <a:pt x="1559" y="2072"/>
                </a:lnTo>
                <a:lnTo>
                  <a:pt x="1559" y="2070"/>
                </a:lnTo>
                <a:lnTo>
                  <a:pt x="1559" y="2068"/>
                </a:lnTo>
                <a:lnTo>
                  <a:pt x="1561" y="2068"/>
                </a:lnTo>
                <a:lnTo>
                  <a:pt x="1561" y="2066"/>
                </a:lnTo>
                <a:lnTo>
                  <a:pt x="1563" y="2066"/>
                </a:lnTo>
                <a:lnTo>
                  <a:pt x="1563" y="2064"/>
                </a:lnTo>
                <a:lnTo>
                  <a:pt x="1561" y="2064"/>
                </a:lnTo>
                <a:lnTo>
                  <a:pt x="1559" y="2064"/>
                </a:lnTo>
                <a:lnTo>
                  <a:pt x="1559" y="2066"/>
                </a:lnTo>
                <a:lnTo>
                  <a:pt x="1557" y="2066"/>
                </a:lnTo>
                <a:lnTo>
                  <a:pt x="1557" y="2064"/>
                </a:lnTo>
                <a:lnTo>
                  <a:pt x="1556" y="2064"/>
                </a:lnTo>
                <a:lnTo>
                  <a:pt x="1556" y="2062"/>
                </a:lnTo>
                <a:lnTo>
                  <a:pt x="1554" y="2064"/>
                </a:lnTo>
                <a:lnTo>
                  <a:pt x="1554" y="2062"/>
                </a:lnTo>
                <a:lnTo>
                  <a:pt x="1554" y="2060"/>
                </a:lnTo>
                <a:lnTo>
                  <a:pt x="1556" y="2062"/>
                </a:lnTo>
                <a:lnTo>
                  <a:pt x="1556" y="2060"/>
                </a:lnTo>
                <a:lnTo>
                  <a:pt x="1554" y="2060"/>
                </a:lnTo>
                <a:lnTo>
                  <a:pt x="1554" y="2058"/>
                </a:lnTo>
                <a:lnTo>
                  <a:pt x="1552" y="2058"/>
                </a:lnTo>
                <a:lnTo>
                  <a:pt x="1552" y="2056"/>
                </a:lnTo>
                <a:lnTo>
                  <a:pt x="1550" y="2056"/>
                </a:lnTo>
                <a:lnTo>
                  <a:pt x="1550" y="2054"/>
                </a:lnTo>
                <a:lnTo>
                  <a:pt x="1552" y="2054"/>
                </a:lnTo>
                <a:lnTo>
                  <a:pt x="1552" y="2052"/>
                </a:lnTo>
                <a:lnTo>
                  <a:pt x="1554" y="2052"/>
                </a:lnTo>
                <a:lnTo>
                  <a:pt x="1554" y="2050"/>
                </a:lnTo>
                <a:lnTo>
                  <a:pt x="1554" y="2052"/>
                </a:lnTo>
                <a:lnTo>
                  <a:pt x="1554" y="2050"/>
                </a:lnTo>
                <a:lnTo>
                  <a:pt x="1554" y="2052"/>
                </a:lnTo>
                <a:lnTo>
                  <a:pt x="1556" y="2052"/>
                </a:lnTo>
                <a:lnTo>
                  <a:pt x="1556" y="2050"/>
                </a:lnTo>
                <a:lnTo>
                  <a:pt x="1554" y="2050"/>
                </a:lnTo>
                <a:lnTo>
                  <a:pt x="1554" y="2048"/>
                </a:lnTo>
                <a:lnTo>
                  <a:pt x="1556" y="2048"/>
                </a:lnTo>
                <a:lnTo>
                  <a:pt x="1554" y="2048"/>
                </a:lnTo>
                <a:lnTo>
                  <a:pt x="1554" y="2050"/>
                </a:lnTo>
                <a:lnTo>
                  <a:pt x="1552" y="2050"/>
                </a:lnTo>
                <a:lnTo>
                  <a:pt x="1552" y="2048"/>
                </a:lnTo>
                <a:lnTo>
                  <a:pt x="1552" y="2050"/>
                </a:lnTo>
                <a:lnTo>
                  <a:pt x="1550" y="2050"/>
                </a:lnTo>
                <a:lnTo>
                  <a:pt x="1550" y="2048"/>
                </a:lnTo>
                <a:lnTo>
                  <a:pt x="1552" y="2048"/>
                </a:lnTo>
                <a:lnTo>
                  <a:pt x="1552" y="2047"/>
                </a:lnTo>
                <a:lnTo>
                  <a:pt x="1552" y="2048"/>
                </a:lnTo>
                <a:lnTo>
                  <a:pt x="1550" y="2048"/>
                </a:lnTo>
                <a:lnTo>
                  <a:pt x="1550" y="2050"/>
                </a:lnTo>
                <a:lnTo>
                  <a:pt x="1548" y="2050"/>
                </a:lnTo>
                <a:lnTo>
                  <a:pt x="1546" y="2050"/>
                </a:lnTo>
                <a:lnTo>
                  <a:pt x="1546" y="2048"/>
                </a:lnTo>
                <a:lnTo>
                  <a:pt x="1544" y="2047"/>
                </a:lnTo>
                <a:lnTo>
                  <a:pt x="1546" y="2047"/>
                </a:lnTo>
                <a:lnTo>
                  <a:pt x="1544" y="2047"/>
                </a:lnTo>
                <a:lnTo>
                  <a:pt x="1544" y="2045"/>
                </a:lnTo>
                <a:lnTo>
                  <a:pt x="1544" y="2043"/>
                </a:lnTo>
                <a:lnTo>
                  <a:pt x="1542" y="2043"/>
                </a:lnTo>
                <a:lnTo>
                  <a:pt x="1542" y="2041"/>
                </a:lnTo>
                <a:lnTo>
                  <a:pt x="1542" y="2039"/>
                </a:lnTo>
                <a:lnTo>
                  <a:pt x="1540" y="2037"/>
                </a:lnTo>
                <a:lnTo>
                  <a:pt x="1542" y="2037"/>
                </a:lnTo>
                <a:lnTo>
                  <a:pt x="1542" y="2039"/>
                </a:lnTo>
                <a:lnTo>
                  <a:pt x="1544" y="2039"/>
                </a:lnTo>
                <a:lnTo>
                  <a:pt x="1544" y="2037"/>
                </a:lnTo>
                <a:lnTo>
                  <a:pt x="1546" y="2037"/>
                </a:lnTo>
                <a:lnTo>
                  <a:pt x="1546" y="2035"/>
                </a:lnTo>
                <a:lnTo>
                  <a:pt x="1546" y="2033"/>
                </a:lnTo>
                <a:lnTo>
                  <a:pt x="1546" y="2035"/>
                </a:lnTo>
                <a:lnTo>
                  <a:pt x="1548" y="2035"/>
                </a:lnTo>
                <a:lnTo>
                  <a:pt x="1548" y="2033"/>
                </a:lnTo>
                <a:lnTo>
                  <a:pt x="1550" y="2033"/>
                </a:lnTo>
                <a:lnTo>
                  <a:pt x="1548" y="2033"/>
                </a:lnTo>
                <a:lnTo>
                  <a:pt x="1550" y="2033"/>
                </a:lnTo>
                <a:lnTo>
                  <a:pt x="1550" y="2035"/>
                </a:lnTo>
                <a:lnTo>
                  <a:pt x="1552" y="2035"/>
                </a:lnTo>
                <a:lnTo>
                  <a:pt x="1552" y="2037"/>
                </a:lnTo>
                <a:lnTo>
                  <a:pt x="1554" y="2037"/>
                </a:lnTo>
                <a:lnTo>
                  <a:pt x="1556" y="2037"/>
                </a:lnTo>
                <a:lnTo>
                  <a:pt x="1556" y="2039"/>
                </a:lnTo>
                <a:lnTo>
                  <a:pt x="1556" y="2037"/>
                </a:lnTo>
                <a:lnTo>
                  <a:pt x="1556" y="2039"/>
                </a:lnTo>
                <a:lnTo>
                  <a:pt x="1557" y="2039"/>
                </a:lnTo>
                <a:lnTo>
                  <a:pt x="1557" y="2041"/>
                </a:lnTo>
                <a:lnTo>
                  <a:pt x="1557" y="2043"/>
                </a:lnTo>
                <a:lnTo>
                  <a:pt x="1556" y="2043"/>
                </a:lnTo>
                <a:lnTo>
                  <a:pt x="1556" y="2045"/>
                </a:lnTo>
                <a:lnTo>
                  <a:pt x="1557" y="2045"/>
                </a:lnTo>
                <a:lnTo>
                  <a:pt x="1557" y="2043"/>
                </a:lnTo>
                <a:lnTo>
                  <a:pt x="1557" y="2041"/>
                </a:lnTo>
                <a:lnTo>
                  <a:pt x="1557" y="2039"/>
                </a:lnTo>
                <a:lnTo>
                  <a:pt x="1559" y="2039"/>
                </a:lnTo>
                <a:lnTo>
                  <a:pt x="1561" y="2039"/>
                </a:lnTo>
                <a:lnTo>
                  <a:pt x="1561" y="2041"/>
                </a:lnTo>
                <a:lnTo>
                  <a:pt x="1563" y="2041"/>
                </a:lnTo>
                <a:lnTo>
                  <a:pt x="1565" y="2041"/>
                </a:lnTo>
                <a:lnTo>
                  <a:pt x="1567" y="2041"/>
                </a:lnTo>
                <a:lnTo>
                  <a:pt x="1567" y="2039"/>
                </a:lnTo>
                <a:lnTo>
                  <a:pt x="1569" y="2039"/>
                </a:lnTo>
                <a:lnTo>
                  <a:pt x="1567" y="2039"/>
                </a:lnTo>
                <a:lnTo>
                  <a:pt x="1565" y="2041"/>
                </a:lnTo>
                <a:lnTo>
                  <a:pt x="1565" y="2039"/>
                </a:lnTo>
                <a:lnTo>
                  <a:pt x="1563" y="2041"/>
                </a:lnTo>
                <a:lnTo>
                  <a:pt x="1563" y="2039"/>
                </a:lnTo>
                <a:lnTo>
                  <a:pt x="1561" y="2039"/>
                </a:lnTo>
                <a:lnTo>
                  <a:pt x="1559" y="2039"/>
                </a:lnTo>
                <a:lnTo>
                  <a:pt x="1559" y="2037"/>
                </a:lnTo>
                <a:lnTo>
                  <a:pt x="1559" y="2035"/>
                </a:lnTo>
                <a:lnTo>
                  <a:pt x="1557" y="2035"/>
                </a:lnTo>
                <a:lnTo>
                  <a:pt x="1557" y="2033"/>
                </a:lnTo>
                <a:lnTo>
                  <a:pt x="1556" y="2033"/>
                </a:lnTo>
                <a:lnTo>
                  <a:pt x="1556" y="2031"/>
                </a:lnTo>
                <a:lnTo>
                  <a:pt x="1554" y="2031"/>
                </a:lnTo>
                <a:lnTo>
                  <a:pt x="1554" y="2029"/>
                </a:lnTo>
                <a:lnTo>
                  <a:pt x="1554" y="2027"/>
                </a:lnTo>
                <a:lnTo>
                  <a:pt x="1556" y="2027"/>
                </a:lnTo>
                <a:lnTo>
                  <a:pt x="1557" y="2027"/>
                </a:lnTo>
                <a:lnTo>
                  <a:pt x="1557" y="2025"/>
                </a:lnTo>
                <a:lnTo>
                  <a:pt x="1557" y="2027"/>
                </a:lnTo>
                <a:lnTo>
                  <a:pt x="1557" y="2029"/>
                </a:lnTo>
                <a:lnTo>
                  <a:pt x="1557" y="2027"/>
                </a:lnTo>
                <a:lnTo>
                  <a:pt x="1559" y="2027"/>
                </a:lnTo>
                <a:lnTo>
                  <a:pt x="1559" y="2029"/>
                </a:lnTo>
                <a:lnTo>
                  <a:pt x="1561" y="2029"/>
                </a:lnTo>
                <a:lnTo>
                  <a:pt x="1559" y="2029"/>
                </a:lnTo>
                <a:lnTo>
                  <a:pt x="1559" y="2027"/>
                </a:lnTo>
                <a:lnTo>
                  <a:pt x="1561" y="2027"/>
                </a:lnTo>
                <a:lnTo>
                  <a:pt x="1563" y="2027"/>
                </a:lnTo>
                <a:lnTo>
                  <a:pt x="1561" y="2027"/>
                </a:lnTo>
                <a:lnTo>
                  <a:pt x="1561" y="2025"/>
                </a:lnTo>
                <a:lnTo>
                  <a:pt x="1561" y="2027"/>
                </a:lnTo>
                <a:lnTo>
                  <a:pt x="1561" y="2025"/>
                </a:lnTo>
                <a:lnTo>
                  <a:pt x="1561" y="2027"/>
                </a:lnTo>
                <a:lnTo>
                  <a:pt x="1561" y="2025"/>
                </a:lnTo>
                <a:lnTo>
                  <a:pt x="1561" y="2027"/>
                </a:lnTo>
                <a:lnTo>
                  <a:pt x="1559" y="2027"/>
                </a:lnTo>
                <a:lnTo>
                  <a:pt x="1559" y="2025"/>
                </a:lnTo>
                <a:lnTo>
                  <a:pt x="1557" y="2025"/>
                </a:lnTo>
                <a:lnTo>
                  <a:pt x="1559" y="2025"/>
                </a:lnTo>
                <a:lnTo>
                  <a:pt x="1559" y="2024"/>
                </a:lnTo>
                <a:lnTo>
                  <a:pt x="1557" y="2024"/>
                </a:lnTo>
                <a:lnTo>
                  <a:pt x="1557" y="2025"/>
                </a:lnTo>
                <a:lnTo>
                  <a:pt x="1556" y="2025"/>
                </a:lnTo>
                <a:lnTo>
                  <a:pt x="1557" y="2025"/>
                </a:lnTo>
                <a:lnTo>
                  <a:pt x="1556" y="2024"/>
                </a:lnTo>
                <a:lnTo>
                  <a:pt x="1557" y="2024"/>
                </a:lnTo>
                <a:lnTo>
                  <a:pt x="1557" y="2025"/>
                </a:lnTo>
                <a:lnTo>
                  <a:pt x="1557" y="2024"/>
                </a:lnTo>
                <a:lnTo>
                  <a:pt x="1556" y="2022"/>
                </a:lnTo>
                <a:lnTo>
                  <a:pt x="1557" y="2022"/>
                </a:lnTo>
                <a:lnTo>
                  <a:pt x="1557" y="2020"/>
                </a:lnTo>
                <a:lnTo>
                  <a:pt x="1557" y="2018"/>
                </a:lnTo>
                <a:lnTo>
                  <a:pt x="1559" y="2018"/>
                </a:lnTo>
                <a:lnTo>
                  <a:pt x="1559" y="2016"/>
                </a:lnTo>
                <a:lnTo>
                  <a:pt x="1561" y="2016"/>
                </a:lnTo>
                <a:lnTo>
                  <a:pt x="1563" y="2016"/>
                </a:lnTo>
                <a:lnTo>
                  <a:pt x="1563" y="2014"/>
                </a:lnTo>
                <a:lnTo>
                  <a:pt x="1563" y="2016"/>
                </a:lnTo>
                <a:lnTo>
                  <a:pt x="1565" y="2016"/>
                </a:lnTo>
                <a:lnTo>
                  <a:pt x="1565" y="2014"/>
                </a:lnTo>
                <a:lnTo>
                  <a:pt x="1565" y="2016"/>
                </a:lnTo>
                <a:lnTo>
                  <a:pt x="1567" y="2016"/>
                </a:lnTo>
                <a:lnTo>
                  <a:pt x="1569" y="2018"/>
                </a:lnTo>
                <a:lnTo>
                  <a:pt x="1569" y="2016"/>
                </a:lnTo>
                <a:lnTo>
                  <a:pt x="1567" y="2016"/>
                </a:lnTo>
                <a:lnTo>
                  <a:pt x="1565" y="2014"/>
                </a:lnTo>
                <a:lnTo>
                  <a:pt x="1563" y="2014"/>
                </a:lnTo>
                <a:lnTo>
                  <a:pt x="1561" y="2014"/>
                </a:lnTo>
                <a:lnTo>
                  <a:pt x="1559" y="2014"/>
                </a:lnTo>
                <a:lnTo>
                  <a:pt x="1559" y="2012"/>
                </a:lnTo>
                <a:lnTo>
                  <a:pt x="1559" y="2010"/>
                </a:lnTo>
                <a:lnTo>
                  <a:pt x="1559" y="2008"/>
                </a:lnTo>
                <a:lnTo>
                  <a:pt x="1559" y="2006"/>
                </a:lnTo>
                <a:lnTo>
                  <a:pt x="1561" y="2006"/>
                </a:lnTo>
                <a:lnTo>
                  <a:pt x="1559" y="2006"/>
                </a:lnTo>
                <a:lnTo>
                  <a:pt x="1559" y="2004"/>
                </a:lnTo>
                <a:lnTo>
                  <a:pt x="1561" y="2004"/>
                </a:lnTo>
                <a:lnTo>
                  <a:pt x="1563" y="2004"/>
                </a:lnTo>
                <a:lnTo>
                  <a:pt x="1561" y="2004"/>
                </a:lnTo>
                <a:lnTo>
                  <a:pt x="1563" y="2004"/>
                </a:lnTo>
                <a:lnTo>
                  <a:pt x="1563" y="2002"/>
                </a:lnTo>
                <a:lnTo>
                  <a:pt x="1561" y="2002"/>
                </a:lnTo>
                <a:lnTo>
                  <a:pt x="1563" y="2002"/>
                </a:lnTo>
                <a:lnTo>
                  <a:pt x="1563" y="2000"/>
                </a:lnTo>
                <a:lnTo>
                  <a:pt x="1565" y="2000"/>
                </a:lnTo>
                <a:lnTo>
                  <a:pt x="1565" y="2002"/>
                </a:lnTo>
                <a:lnTo>
                  <a:pt x="1567" y="2002"/>
                </a:lnTo>
                <a:lnTo>
                  <a:pt x="1567" y="2004"/>
                </a:lnTo>
                <a:lnTo>
                  <a:pt x="1567" y="2006"/>
                </a:lnTo>
                <a:lnTo>
                  <a:pt x="1569" y="2008"/>
                </a:lnTo>
                <a:lnTo>
                  <a:pt x="1569" y="2010"/>
                </a:lnTo>
                <a:lnTo>
                  <a:pt x="1571" y="2010"/>
                </a:lnTo>
                <a:lnTo>
                  <a:pt x="1571" y="2012"/>
                </a:lnTo>
                <a:lnTo>
                  <a:pt x="1571" y="2014"/>
                </a:lnTo>
                <a:lnTo>
                  <a:pt x="1573" y="2014"/>
                </a:lnTo>
                <a:lnTo>
                  <a:pt x="1573" y="2016"/>
                </a:lnTo>
                <a:lnTo>
                  <a:pt x="1573" y="2018"/>
                </a:lnTo>
                <a:lnTo>
                  <a:pt x="1575" y="2020"/>
                </a:lnTo>
                <a:lnTo>
                  <a:pt x="1575" y="2022"/>
                </a:lnTo>
                <a:lnTo>
                  <a:pt x="1575" y="2024"/>
                </a:lnTo>
                <a:lnTo>
                  <a:pt x="1575" y="2025"/>
                </a:lnTo>
                <a:lnTo>
                  <a:pt x="1575" y="2027"/>
                </a:lnTo>
                <a:lnTo>
                  <a:pt x="1575" y="2029"/>
                </a:lnTo>
                <a:lnTo>
                  <a:pt x="1575" y="2031"/>
                </a:lnTo>
                <a:lnTo>
                  <a:pt x="1577" y="2031"/>
                </a:lnTo>
                <a:lnTo>
                  <a:pt x="1577" y="2033"/>
                </a:lnTo>
                <a:lnTo>
                  <a:pt x="1579" y="2033"/>
                </a:lnTo>
                <a:lnTo>
                  <a:pt x="1579" y="2035"/>
                </a:lnTo>
                <a:lnTo>
                  <a:pt x="1580" y="2035"/>
                </a:lnTo>
                <a:lnTo>
                  <a:pt x="1580" y="2033"/>
                </a:lnTo>
                <a:lnTo>
                  <a:pt x="1579" y="2033"/>
                </a:lnTo>
                <a:lnTo>
                  <a:pt x="1579" y="2031"/>
                </a:lnTo>
                <a:lnTo>
                  <a:pt x="1577" y="2031"/>
                </a:lnTo>
                <a:lnTo>
                  <a:pt x="1579" y="2031"/>
                </a:lnTo>
                <a:lnTo>
                  <a:pt x="1579" y="2029"/>
                </a:lnTo>
                <a:lnTo>
                  <a:pt x="1577" y="2029"/>
                </a:lnTo>
                <a:lnTo>
                  <a:pt x="1577" y="2027"/>
                </a:lnTo>
                <a:lnTo>
                  <a:pt x="1575" y="2027"/>
                </a:lnTo>
                <a:lnTo>
                  <a:pt x="1575" y="2025"/>
                </a:lnTo>
                <a:lnTo>
                  <a:pt x="1577" y="2024"/>
                </a:lnTo>
                <a:lnTo>
                  <a:pt x="1577" y="2022"/>
                </a:lnTo>
                <a:lnTo>
                  <a:pt x="1577" y="2020"/>
                </a:lnTo>
                <a:lnTo>
                  <a:pt x="1579" y="2020"/>
                </a:lnTo>
                <a:lnTo>
                  <a:pt x="1577" y="2020"/>
                </a:lnTo>
                <a:lnTo>
                  <a:pt x="1579" y="2018"/>
                </a:lnTo>
                <a:lnTo>
                  <a:pt x="1580" y="2018"/>
                </a:lnTo>
                <a:lnTo>
                  <a:pt x="1580" y="2016"/>
                </a:lnTo>
                <a:lnTo>
                  <a:pt x="1582" y="2016"/>
                </a:lnTo>
                <a:lnTo>
                  <a:pt x="1582" y="2018"/>
                </a:lnTo>
                <a:lnTo>
                  <a:pt x="1582" y="2016"/>
                </a:lnTo>
                <a:lnTo>
                  <a:pt x="1580" y="2016"/>
                </a:lnTo>
                <a:lnTo>
                  <a:pt x="1580" y="2014"/>
                </a:lnTo>
                <a:lnTo>
                  <a:pt x="1580" y="2016"/>
                </a:lnTo>
                <a:lnTo>
                  <a:pt x="1580" y="2018"/>
                </a:lnTo>
                <a:lnTo>
                  <a:pt x="1579" y="2018"/>
                </a:lnTo>
                <a:lnTo>
                  <a:pt x="1577" y="2018"/>
                </a:lnTo>
                <a:lnTo>
                  <a:pt x="1577" y="2020"/>
                </a:lnTo>
                <a:lnTo>
                  <a:pt x="1575" y="2020"/>
                </a:lnTo>
                <a:lnTo>
                  <a:pt x="1575" y="2018"/>
                </a:lnTo>
                <a:lnTo>
                  <a:pt x="1575" y="2016"/>
                </a:lnTo>
                <a:lnTo>
                  <a:pt x="1575" y="2014"/>
                </a:lnTo>
                <a:lnTo>
                  <a:pt x="1573" y="2014"/>
                </a:lnTo>
                <a:lnTo>
                  <a:pt x="1573" y="2012"/>
                </a:lnTo>
                <a:lnTo>
                  <a:pt x="1573" y="2010"/>
                </a:lnTo>
                <a:lnTo>
                  <a:pt x="1573" y="2008"/>
                </a:lnTo>
                <a:lnTo>
                  <a:pt x="1573" y="2006"/>
                </a:lnTo>
                <a:lnTo>
                  <a:pt x="1571" y="2004"/>
                </a:lnTo>
                <a:lnTo>
                  <a:pt x="1571" y="2002"/>
                </a:lnTo>
                <a:lnTo>
                  <a:pt x="1571" y="2000"/>
                </a:lnTo>
                <a:lnTo>
                  <a:pt x="1571" y="1999"/>
                </a:lnTo>
                <a:lnTo>
                  <a:pt x="1569" y="1999"/>
                </a:lnTo>
                <a:lnTo>
                  <a:pt x="1571" y="1999"/>
                </a:lnTo>
                <a:lnTo>
                  <a:pt x="1573" y="1999"/>
                </a:lnTo>
                <a:lnTo>
                  <a:pt x="1573" y="1997"/>
                </a:lnTo>
                <a:lnTo>
                  <a:pt x="1573" y="1995"/>
                </a:lnTo>
                <a:lnTo>
                  <a:pt x="1575" y="1995"/>
                </a:lnTo>
                <a:lnTo>
                  <a:pt x="1575" y="1993"/>
                </a:lnTo>
                <a:lnTo>
                  <a:pt x="1577" y="1993"/>
                </a:lnTo>
                <a:lnTo>
                  <a:pt x="1577" y="1991"/>
                </a:lnTo>
                <a:lnTo>
                  <a:pt x="1579" y="1991"/>
                </a:lnTo>
                <a:lnTo>
                  <a:pt x="1579" y="1993"/>
                </a:lnTo>
                <a:lnTo>
                  <a:pt x="1580" y="1993"/>
                </a:lnTo>
                <a:lnTo>
                  <a:pt x="1582" y="1995"/>
                </a:lnTo>
                <a:lnTo>
                  <a:pt x="1582" y="1997"/>
                </a:lnTo>
                <a:lnTo>
                  <a:pt x="1584" y="1997"/>
                </a:lnTo>
                <a:lnTo>
                  <a:pt x="1584" y="1999"/>
                </a:lnTo>
                <a:lnTo>
                  <a:pt x="1584" y="2000"/>
                </a:lnTo>
                <a:lnTo>
                  <a:pt x="1586" y="1999"/>
                </a:lnTo>
                <a:lnTo>
                  <a:pt x="1586" y="2000"/>
                </a:lnTo>
                <a:lnTo>
                  <a:pt x="1586" y="2002"/>
                </a:lnTo>
                <a:lnTo>
                  <a:pt x="1588" y="2002"/>
                </a:lnTo>
                <a:lnTo>
                  <a:pt x="1588" y="2004"/>
                </a:lnTo>
                <a:lnTo>
                  <a:pt x="1590" y="2004"/>
                </a:lnTo>
                <a:lnTo>
                  <a:pt x="1590" y="2002"/>
                </a:lnTo>
                <a:lnTo>
                  <a:pt x="1588" y="2002"/>
                </a:lnTo>
                <a:lnTo>
                  <a:pt x="1588" y="2000"/>
                </a:lnTo>
                <a:lnTo>
                  <a:pt x="1588" y="1999"/>
                </a:lnTo>
                <a:lnTo>
                  <a:pt x="1586" y="1999"/>
                </a:lnTo>
                <a:lnTo>
                  <a:pt x="1584" y="1999"/>
                </a:lnTo>
                <a:lnTo>
                  <a:pt x="1584" y="1997"/>
                </a:lnTo>
                <a:lnTo>
                  <a:pt x="1584" y="1995"/>
                </a:lnTo>
                <a:lnTo>
                  <a:pt x="1582" y="1995"/>
                </a:lnTo>
                <a:lnTo>
                  <a:pt x="1582" y="1993"/>
                </a:lnTo>
                <a:lnTo>
                  <a:pt x="1580" y="1993"/>
                </a:lnTo>
                <a:lnTo>
                  <a:pt x="1580" y="1991"/>
                </a:lnTo>
                <a:lnTo>
                  <a:pt x="1579" y="1991"/>
                </a:lnTo>
                <a:lnTo>
                  <a:pt x="1579" y="1989"/>
                </a:lnTo>
                <a:lnTo>
                  <a:pt x="1577" y="1989"/>
                </a:lnTo>
                <a:lnTo>
                  <a:pt x="1575" y="1991"/>
                </a:lnTo>
                <a:lnTo>
                  <a:pt x="1575" y="1993"/>
                </a:lnTo>
                <a:lnTo>
                  <a:pt x="1573" y="1993"/>
                </a:lnTo>
                <a:lnTo>
                  <a:pt x="1573" y="1991"/>
                </a:lnTo>
                <a:lnTo>
                  <a:pt x="1573" y="1993"/>
                </a:lnTo>
                <a:lnTo>
                  <a:pt x="1571" y="1993"/>
                </a:lnTo>
                <a:lnTo>
                  <a:pt x="1573" y="1993"/>
                </a:lnTo>
                <a:lnTo>
                  <a:pt x="1571" y="1993"/>
                </a:lnTo>
                <a:lnTo>
                  <a:pt x="1571" y="1995"/>
                </a:lnTo>
                <a:lnTo>
                  <a:pt x="1569" y="1995"/>
                </a:lnTo>
                <a:lnTo>
                  <a:pt x="1569" y="1997"/>
                </a:lnTo>
                <a:lnTo>
                  <a:pt x="1567" y="1997"/>
                </a:lnTo>
                <a:lnTo>
                  <a:pt x="1567" y="1995"/>
                </a:lnTo>
                <a:lnTo>
                  <a:pt x="1567" y="1993"/>
                </a:lnTo>
                <a:lnTo>
                  <a:pt x="1567" y="1991"/>
                </a:lnTo>
                <a:lnTo>
                  <a:pt x="1567" y="1989"/>
                </a:lnTo>
                <a:lnTo>
                  <a:pt x="1567" y="1987"/>
                </a:lnTo>
                <a:lnTo>
                  <a:pt x="1569" y="1987"/>
                </a:lnTo>
                <a:lnTo>
                  <a:pt x="1569" y="1985"/>
                </a:lnTo>
                <a:lnTo>
                  <a:pt x="1569" y="1983"/>
                </a:lnTo>
                <a:lnTo>
                  <a:pt x="1569" y="1981"/>
                </a:lnTo>
                <a:lnTo>
                  <a:pt x="1569" y="1979"/>
                </a:lnTo>
                <a:lnTo>
                  <a:pt x="1571" y="1979"/>
                </a:lnTo>
                <a:lnTo>
                  <a:pt x="1573" y="1979"/>
                </a:lnTo>
                <a:lnTo>
                  <a:pt x="1575" y="1979"/>
                </a:lnTo>
                <a:lnTo>
                  <a:pt x="1575" y="1981"/>
                </a:lnTo>
                <a:lnTo>
                  <a:pt x="1575" y="1983"/>
                </a:lnTo>
                <a:lnTo>
                  <a:pt x="1575" y="1985"/>
                </a:lnTo>
                <a:lnTo>
                  <a:pt x="1573" y="1985"/>
                </a:lnTo>
                <a:lnTo>
                  <a:pt x="1575" y="1985"/>
                </a:lnTo>
                <a:lnTo>
                  <a:pt x="1575" y="1987"/>
                </a:lnTo>
                <a:lnTo>
                  <a:pt x="1575" y="1985"/>
                </a:lnTo>
                <a:lnTo>
                  <a:pt x="1575" y="1983"/>
                </a:lnTo>
                <a:lnTo>
                  <a:pt x="1577" y="1983"/>
                </a:lnTo>
                <a:lnTo>
                  <a:pt x="1579" y="1981"/>
                </a:lnTo>
                <a:lnTo>
                  <a:pt x="1580" y="1981"/>
                </a:lnTo>
                <a:lnTo>
                  <a:pt x="1580" y="1983"/>
                </a:lnTo>
                <a:lnTo>
                  <a:pt x="1580" y="1981"/>
                </a:lnTo>
                <a:lnTo>
                  <a:pt x="1580" y="1983"/>
                </a:lnTo>
                <a:lnTo>
                  <a:pt x="1582" y="1983"/>
                </a:lnTo>
                <a:lnTo>
                  <a:pt x="1584" y="1983"/>
                </a:lnTo>
                <a:lnTo>
                  <a:pt x="1586" y="1983"/>
                </a:lnTo>
                <a:lnTo>
                  <a:pt x="1588" y="1983"/>
                </a:lnTo>
                <a:lnTo>
                  <a:pt x="1590" y="1983"/>
                </a:lnTo>
                <a:lnTo>
                  <a:pt x="1590" y="1981"/>
                </a:lnTo>
                <a:lnTo>
                  <a:pt x="1590" y="1983"/>
                </a:lnTo>
                <a:lnTo>
                  <a:pt x="1590" y="1981"/>
                </a:lnTo>
                <a:lnTo>
                  <a:pt x="1592" y="1981"/>
                </a:lnTo>
                <a:lnTo>
                  <a:pt x="1594" y="1981"/>
                </a:lnTo>
                <a:lnTo>
                  <a:pt x="1596" y="1981"/>
                </a:lnTo>
                <a:lnTo>
                  <a:pt x="1598" y="1981"/>
                </a:lnTo>
                <a:lnTo>
                  <a:pt x="1600" y="1981"/>
                </a:lnTo>
                <a:lnTo>
                  <a:pt x="1602" y="1981"/>
                </a:lnTo>
                <a:lnTo>
                  <a:pt x="1600" y="1981"/>
                </a:lnTo>
                <a:lnTo>
                  <a:pt x="1600" y="1979"/>
                </a:lnTo>
                <a:lnTo>
                  <a:pt x="1598" y="1981"/>
                </a:lnTo>
                <a:lnTo>
                  <a:pt x="1598" y="1979"/>
                </a:lnTo>
                <a:lnTo>
                  <a:pt x="1598" y="1981"/>
                </a:lnTo>
                <a:lnTo>
                  <a:pt x="1596" y="1981"/>
                </a:lnTo>
                <a:lnTo>
                  <a:pt x="1594" y="1981"/>
                </a:lnTo>
                <a:lnTo>
                  <a:pt x="1592" y="1981"/>
                </a:lnTo>
                <a:lnTo>
                  <a:pt x="1590" y="1981"/>
                </a:lnTo>
                <a:lnTo>
                  <a:pt x="1588" y="1981"/>
                </a:lnTo>
                <a:lnTo>
                  <a:pt x="1586" y="1981"/>
                </a:lnTo>
                <a:lnTo>
                  <a:pt x="1584" y="1981"/>
                </a:lnTo>
                <a:lnTo>
                  <a:pt x="1582" y="1981"/>
                </a:lnTo>
                <a:lnTo>
                  <a:pt x="1582" y="1983"/>
                </a:lnTo>
                <a:lnTo>
                  <a:pt x="1582" y="1981"/>
                </a:lnTo>
                <a:lnTo>
                  <a:pt x="1580" y="1981"/>
                </a:lnTo>
                <a:lnTo>
                  <a:pt x="1579" y="1981"/>
                </a:lnTo>
                <a:lnTo>
                  <a:pt x="1577" y="1981"/>
                </a:lnTo>
                <a:lnTo>
                  <a:pt x="1577" y="1979"/>
                </a:lnTo>
                <a:lnTo>
                  <a:pt x="1577" y="1977"/>
                </a:lnTo>
                <a:lnTo>
                  <a:pt x="1579" y="1976"/>
                </a:lnTo>
                <a:lnTo>
                  <a:pt x="1577" y="1976"/>
                </a:lnTo>
                <a:lnTo>
                  <a:pt x="1579" y="1976"/>
                </a:lnTo>
                <a:lnTo>
                  <a:pt x="1580" y="1976"/>
                </a:lnTo>
                <a:lnTo>
                  <a:pt x="1580" y="1974"/>
                </a:lnTo>
                <a:lnTo>
                  <a:pt x="1582" y="1974"/>
                </a:lnTo>
                <a:lnTo>
                  <a:pt x="1584" y="1974"/>
                </a:lnTo>
                <a:lnTo>
                  <a:pt x="1582" y="1974"/>
                </a:lnTo>
                <a:lnTo>
                  <a:pt x="1582" y="1972"/>
                </a:lnTo>
                <a:lnTo>
                  <a:pt x="1584" y="1972"/>
                </a:lnTo>
                <a:lnTo>
                  <a:pt x="1586" y="1972"/>
                </a:lnTo>
                <a:lnTo>
                  <a:pt x="1586" y="1974"/>
                </a:lnTo>
                <a:lnTo>
                  <a:pt x="1586" y="1972"/>
                </a:lnTo>
                <a:lnTo>
                  <a:pt x="1588" y="1972"/>
                </a:lnTo>
                <a:lnTo>
                  <a:pt x="1588" y="1974"/>
                </a:lnTo>
                <a:lnTo>
                  <a:pt x="1590" y="1974"/>
                </a:lnTo>
                <a:lnTo>
                  <a:pt x="1590" y="1972"/>
                </a:lnTo>
                <a:lnTo>
                  <a:pt x="1588" y="1972"/>
                </a:lnTo>
                <a:lnTo>
                  <a:pt x="1586" y="1972"/>
                </a:lnTo>
                <a:lnTo>
                  <a:pt x="1584" y="1972"/>
                </a:lnTo>
                <a:lnTo>
                  <a:pt x="1582" y="1972"/>
                </a:lnTo>
                <a:lnTo>
                  <a:pt x="1582" y="1974"/>
                </a:lnTo>
                <a:lnTo>
                  <a:pt x="1580" y="1974"/>
                </a:lnTo>
                <a:lnTo>
                  <a:pt x="1579" y="1974"/>
                </a:lnTo>
                <a:lnTo>
                  <a:pt x="1577" y="1974"/>
                </a:lnTo>
                <a:lnTo>
                  <a:pt x="1577" y="1976"/>
                </a:lnTo>
                <a:lnTo>
                  <a:pt x="1575" y="1976"/>
                </a:lnTo>
                <a:lnTo>
                  <a:pt x="1575" y="1977"/>
                </a:lnTo>
                <a:lnTo>
                  <a:pt x="1573" y="1977"/>
                </a:lnTo>
                <a:lnTo>
                  <a:pt x="1571" y="1977"/>
                </a:lnTo>
                <a:lnTo>
                  <a:pt x="1569" y="1977"/>
                </a:lnTo>
                <a:lnTo>
                  <a:pt x="1569" y="1976"/>
                </a:lnTo>
                <a:lnTo>
                  <a:pt x="1569" y="1974"/>
                </a:lnTo>
                <a:lnTo>
                  <a:pt x="1569" y="1972"/>
                </a:lnTo>
                <a:lnTo>
                  <a:pt x="1569" y="1974"/>
                </a:lnTo>
                <a:lnTo>
                  <a:pt x="1569" y="1972"/>
                </a:lnTo>
                <a:lnTo>
                  <a:pt x="1571" y="1972"/>
                </a:lnTo>
                <a:lnTo>
                  <a:pt x="1569" y="1972"/>
                </a:lnTo>
                <a:lnTo>
                  <a:pt x="1569" y="1970"/>
                </a:lnTo>
                <a:lnTo>
                  <a:pt x="1569" y="1968"/>
                </a:lnTo>
                <a:lnTo>
                  <a:pt x="1569" y="1970"/>
                </a:lnTo>
                <a:lnTo>
                  <a:pt x="1571" y="1968"/>
                </a:lnTo>
                <a:lnTo>
                  <a:pt x="1569" y="1968"/>
                </a:lnTo>
                <a:lnTo>
                  <a:pt x="1569" y="1966"/>
                </a:lnTo>
                <a:lnTo>
                  <a:pt x="1569" y="1964"/>
                </a:lnTo>
                <a:lnTo>
                  <a:pt x="1571" y="1964"/>
                </a:lnTo>
                <a:lnTo>
                  <a:pt x="1571" y="1962"/>
                </a:lnTo>
                <a:lnTo>
                  <a:pt x="1571" y="1964"/>
                </a:lnTo>
                <a:lnTo>
                  <a:pt x="1573" y="1964"/>
                </a:lnTo>
                <a:lnTo>
                  <a:pt x="1571" y="1964"/>
                </a:lnTo>
                <a:lnTo>
                  <a:pt x="1571" y="1962"/>
                </a:lnTo>
                <a:lnTo>
                  <a:pt x="1573" y="1962"/>
                </a:lnTo>
                <a:lnTo>
                  <a:pt x="1573" y="1960"/>
                </a:lnTo>
                <a:lnTo>
                  <a:pt x="1573" y="1958"/>
                </a:lnTo>
                <a:lnTo>
                  <a:pt x="1575" y="1958"/>
                </a:lnTo>
                <a:lnTo>
                  <a:pt x="1575" y="1956"/>
                </a:lnTo>
                <a:lnTo>
                  <a:pt x="1577" y="1956"/>
                </a:lnTo>
                <a:lnTo>
                  <a:pt x="1579" y="1956"/>
                </a:lnTo>
                <a:lnTo>
                  <a:pt x="1579" y="1954"/>
                </a:lnTo>
                <a:lnTo>
                  <a:pt x="1579" y="1952"/>
                </a:lnTo>
                <a:lnTo>
                  <a:pt x="1579" y="1954"/>
                </a:lnTo>
                <a:lnTo>
                  <a:pt x="1580" y="1954"/>
                </a:lnTo>
                <a:lnTo>
                  <a:pt x="1582" y="1954"/>
                </a:lnTo>
                <a:lnTo>
                  <a:pt x="1582" y="1952"/>
                </a:lnTo>
                <a:lnTo>
                  <a:pt x="1584" y="1952"/>
                </a:lnTo>
                <a:lnTo>
                  <a:pt x="1584" y="1954"/>
                </a:lnTo>
                <a:lnTo>
                  <a:pt x="1584" y="1952"/>
                </a:lnTo>
                <a:lnTo>
                  <a:pt x="1584" y="1951"/>
                </a:lnTo>
                <a:lnTo>
                  <a:pt x="1586" y="1951"/>
                </a:lnTo>
                <a:lnTo>
                  <a:pt x="1586" y="1949"/>
                </a:lnTo>
                <a:lnTo>
                  <a:pt x="1586" y="1947"/>
                </a:lnTo>
                <a:lnTo>
                  <a:pt x="1588" y="1947"/>
                </a:lnTo>
                <a:lnTo>
                  <a:pt x="1590" y="1947"/>
                </a:lnTo>
                <a:lnTo>
                  <a:pt x="1592" y="1947"/>
                </a:lnTo>
                <a:lnTo>
                  <a:pt x="1592" y="1945"/>
                </a:lnTo>
                <a:lnTo>
                  <a:pt x="1592" y="1943"/>
                </a:lnTo>
                <a:lnTo>
                  <a:pt x="1594" y="1943"/>
                </a:lnTo>
                <a:lnTo>
                  <a:pt x="1596" y="1943"/>
                </a:lnTo>
                <a:lnTo>
                  <a:pt x="1598" y="1943"/>
                </a:lnTo>
                <a:lnTo>
                  <a:pt x="1598" y="1945"/>
                </a:lnTo>
                <a:lnTo>
                  <a:pt x="1600" y="1945"/>
                </a:lnTo>
                <a:lnTo>
                  <a:pt x="1600" y="1947"/>
                </a:lnTo>
                <a:lnTo>
                  <a:pt x="1600" y="1945"/>
                </a:lnTo>
                <a:lnTo>
                  <a:pt x="1600" y="1947"/>
                </a:lnTo>
                <a:lnTo>
                  <a:pt x="1602" y="1947"/>
                </a:lnTo>
                <a:lnTo>
                  <a:pt x="1602" y="1949"/>
                </a:lnTo>
                <a:lnTo>
                  <a:pt x="1604" y="1949"/>
                </a:lnTo>
                <a:lnTo>
                  <a:pt x="1604" y="1951"/>
                </a:lnTo>
                <a:lnTo>
                  <a:pt x="1604" y="1949"/>
                </a:lnTo>
                <a:lnTo>
                  <a:pt x="1602" y="1949"/>
                </a:lnTo>
                <a:lnTo>
                  <a:pt x="1604" y="1947"/>
                </a:lnTo>
                <a:lnTo>
                  <a:pt x="1602" y="1947"/>
                </a:lnTo>
                <a:lnTo>
                  <a:pt x="1604" y="1947"/>
                </a:lnTo>
                <a:lnTo>
                  <a:pt x="1605" y="1947"/>
                </a:lnTo>
                <a:lnTo>
                  <a:pt x="1605" y="1945"/>
                </a:lnTo>
                <a:lnTo>
                  <a:pt x="1605" y="1947"/>
                </a:lnTo>
                <a:lnTo>
                  <a:pt x="1604" y="1947"/>
                </a:lnTo>
                <a:lnTo>
                  <a:pt x="1604" y="1945"/>
                </a:lnTo>
                <a:lnTo>
                  <a:pt x="1602" y="1945"/>
                </a:lnTo>
                <a:lnTo>
                  <a:pt x="1600" y="1945"/>
                </a:lnTo>
                <a:lnTo>
                  <a:pt x="1600" y="1943"/>
                </a:lnTo>
                <a:lnTo>
                  <a:pt x="1598" y="1943"/>
                </a:lnTo>
                <a:lnTo>
                  <a:pt x="1596" y="1943"/>
                </a:lnTo>
                <a:lnTo>
                  <a:pt x="1596" y="1941"/>
                </a:lnTo>
                <a:lnTo>
                  <a:pt x="1594" y="1941"/>
                </a:lnTo>
                <a:lnTo>
                  <a:pt x="1592" y="1941"/>
                </a:lnTo>
                <a:lnTo>
                  <a:pt x="1592" y="1943"/>
                </a:lnTo>
                <a:lnTo>
                  <a:pt x="1592" y="1945"/>
                </a:lnTo>
                <a:lnTo>
                  <a:pt x="1590" y="1945"/>
                </a:lnTo>
                <a:lnTo>
                  <a:pt x="1588" y="1945"/>
                </a:lnTo>
                <a:lnTo>
                  <a:pt x="1590" y="1945"/>
                </a:lnTo>
                <a:lnTo>
                  <a:pt x="1588" y="1945"/>
                </a:lnTo>
                <a:lnTo>
                  <a:pt x="1590" y="1945"/>
                </a:lnTo>
                <a:lnTo>
                  <a:pt x="1588" y="1945"/>
                </a:lnTo>
                <a:lnTo>
                  <a:pt x="1586" y="1945"/>
                </a:lnTo>
                <a:lnTo>
                  <a:pt x="1584" y="1943"/>
                </a:lnTo>
                <a:lnTo>
                  <a:pt x="1584" y="1945"/>
                </a:lnTo>
                <a:lnTo>
                  <a:pt x="1586" y="1945"/>
                </a:lnTo>
                <a:lnTo>
                  <a:pt x="1586" y="1947"/>
                </a:lnTo>
                <a:lnTo>
                  <a:pt x="1584" y="1947"/>
                </a:lnTo>
                <a:lnTo>
                  <a:pt x="1584" y="1949"/>
                </a:lnTo>
                <a:lnTo>
                  <a:pt x="1582" y="1949"/>
                </a:lnTo>
                <a:lnTo>
                  <a:pt x="1582" y="1951"/>
                </a:lnTo>
                <a:lnTo>
                  <a:pt x="1580" y="1951"/>
                </a:lnTo>
                <a:lnTo>
                  <a:pt x="1579" y="1951"/>
                </a:lnTo>
                <a:lnTo>
                  <a:pt x="1577" y="1951"/>
                </a:lnTo>
                <a:lnTo>
                  <a:pt x="1577" y="1952"/>
                </a:lnTo>
                <a:lnTo>
                  <a:pt x="1577" y="1954"/>
                </a:lnTo>
                <a:lnTo>
                  <a:pt x="1575" y="1954"/>
                </a:lnTo>
                <a:lnTo>
                  <a:pt x="1573" y="1954"/>
                </a:lnTo>
                <a:lnTo>
                  <a:pt x="1573" y="1956"/>
                </a:lnTo>
                <a:lnTo>
                  <a:pt x="1571" y="1956"/>
                </a:lnTo>
                <a:lnTo>
                  <a:pt x="1571" y="1954"/>
                </a:lnTo>
                <a:lnTo>
                  <a:pt x="1569" y="1954"/>
                </a:lnTo>
                <a:lnTo>
                  <a:pt x="1569" y="1952"/>
                </a:lnTo>
                <a:lnTo>
                  <a:pt x="1569" y="1951"/>
                </a:lnTo>
                <a:lnTo>
                  <a:pt x="1569" y="1949"/>
                </a:lnTo>
                <a:lnTo>
                  <a:pt x="1569" y="1947"/>
                </a:lnTo>
                <a:lnTo>
                  <a:pt x="1569" y="1945"/>
                </a:lnTo>
                <a:lnTo>
                  <a:pt x="1567" y="1945"/>
                </a:lnTo>
                <a:lnTo>
                  <a:pt x="1569" y="1945"/>
                </a:lnTo>
                <a:lnTo>
                  <a:pt x="1567" y="1945"/>
                </a:lnTo>
                <a:lnTo>
                  <a:pt x="1569" y="1945"/>
                </a:lnTo>
                <a:lnTo>
                  <a:pt x="1569" y="1943"/>
                </a:lnTo>
                <a:lnTo>
                  <a:pt x="1567" y="1943"/>
                </a:lnTo>
                <a:lnTo>
                  <a:pt x="1567" y="1941"/>
                </a:lnTo>
                <a:lnTo>
                  <a:pt x="1567" y="1939"/>
                </a:lnTo>
                <a:lnTo>
                  <a:pt x="1567" y="1937"/>
                </a:lnTo>
                <a:lnTo>
                  <a:pt x="1567" y="1935"/>
                </a:lnTo>
                <a:lnTo>
                  <a:pt x="1567" y="1937"/>
                </a:lnTo>
                <a:lnTo>
                  <a:pt x="1567" y="1935"/>
                </a:lnTo>
                <a:lnTo>
                  <a:pt x="1565" y="1935"/>
                </a:lnTo>
                <a:lnTo>
                  <a:pt x="1563" y="1935"/>
                </a:lnTo>
                <a:lnTo>
                  <a:pt x="1563" y="1933"/>
                </a:lnTo>
                <a:lnTo>
                  <a:pt x="1565" y="1933"/>
                </a:lnTo>
                <a:lnTo>
                  <a:pt x="1563" y="1933"/>
                </a:lnTo>
                <a:lnTo>
                  <a:pt x="1563" y="1935"/>
                </a:lnTo>
                <a:lnTo>
                  <a:pt x="1563" y="1933"/>
                </a:lnTo>
                <a:lnTo>
                  <a:pt x="1563" y="1931"/>
                </a:lnTo>
                <a:lnTo>
                  <a:pt x="1565" y="1931"/>
                </a:lnTo>
                <a:lnTo>
                  <a:pt x="1563" y="1931"/>
                </a:lnTo>
                <a:lnTo>
                  <a:pt x="1563" y="1929"/>
                </a:lnTo>
                <a:lnTo>
                  <a:pt x="1563" y="1931"/>
                </a:lnTo>
                <a:lnTo>
                  <a:pt x="1561" y="1931"/>
                </a:lnTo>
                <a:lnTo>
                  <a:pt x="1561" y="1929"/>
                </a:lnTo>
                <a:lnTo>
                  <a:pt x="1561" y="1928"/>
                </a:lnTo>
                <a:lnTo>
                  <a:pt x="1561" y="1926"/>
                </a:lnTo>
                <a:lnTo>
                  <a:pt x="1563" y="1926"/>
                </a:lnTo>
                <a:lnTo>
                  <a:pt x="1563" y="1924"/>
                </a:lnTo>
                <a:lnTo>
                  <a:pt x="1563" y="1922"/>
                </a:lnTo>
                <a:lnTo>
                  <a:pt x="1565" y="1922"/>
                </a:lnTo>
                <a:lnTo>
                  <a:pt x="1565" y="1920"/>
                </a:lnTo>
                <a:lnTo>
                  <a:pt x="1565" y="1918"/>
                </a:lnTo>
                <a:lnTo>
                  <a:pt x="1567" y="1918"/>
                </a:lnTo>
                <a:lnTo>
                  <a:pt x="1565" y="1918"/>
                </a:lnTo>
                <a:lnTo>
                  <a:pt x="1567" y="1918"/>
                </a:lnTo>
                <a:lnTo>
                  <a:pt x="1565" y="1918"/>
                </a:lnTo>
                <a:lnTo>
                  <a:pt x="1565" y="1916"/>
                </a:lnTo>
                <a:lnTo>
                  <a:pt x="1565" y="1914"/>
                </a:lnTo>
                <a:lnTo>
                  <a:pt x="1565" y="1912"/>
                </a:lnTo>
                <a:lnTo>
                  <a:pt x="1567" y="1912"/>
                </a:lnTo>
                <a:lnTo>
                  <a:pt x="1567" y="1910"/>
                </a:lnTo>
                <a:lnTo>
                  <a:pt x="1567" y="1908"/>
                </a:lnTo>
                <a:lnTo>
                  <a:pt x="1565" y="1908"/>
                </a:lnTo>
                <a:lnTo>
                  <a:pt x="1567" y="1908"/>
                </a:lnTo>
                <a:lnTo>
                  <a:pt x="1567" y="1906"/>
                </a:lnTo>
                <a:lnTo>
                  <a:pt x="1567" y="1904"/>
                </a:lnTo>
                <a:lnTo>
                  <a:pt x="1567" y="1903"/>
                </a:lnTo>
                <a:lnTo>
                  <a:pt x="1569" y="1903"/>
                </a:lnTo>
                <a:lnTo>
                  <a:pt x="1569" y="1904"/>
                </a:lnTo>
                <a:lnTo>
                  <a:pt x="1569" y="1906"/>
                </a:lnTo>
                <a:lnTo>
                  <a:pt x="1569" y="1904"/>
                </a:lnTo>
                <a:lnTo>
                  <a:pt x="1571" y="1904"/>
                </a:lnTo>
                <a:lnTo>
                  <a:pt x="1569" y="1904"/>
                </a:lnTo>
                <a:lnTo>
                  <a:pt x="1569" y="1906"/>
                </a:lnTo>
                <a:lnTo>
                  <a:pt x="1571" y="1906"/>
                </a:lnTo>
                <a:lnTo>
                  <a:pt x="1571" y="1904"/>
                </a:lnTo>
                <a:lnTo>
                  <a:pt x="1571" y="1903"/>
                </a:lnTo>
                <a:lnTo>
                  <a:pt x="1571" y="1901"/>
                </a:lnTo>
                <a:lnTo>
                  <a:pt x="1573" y="1901"/>
                </a:lnTo>
                <a:lnTo>
                  <a:pt x="1575" y="1899"/>
                </a:lnTo>
                <a:lnTo>
                  <a:pt x="1575" y="1897"/>
                </a:lnTo>
                <a:lnTo>
                  <a:pt x="1577" y="1895"/>
                </a:lnTo>
                <a:lnTo>
                  <a:pt x="1575" y="1895"/>
                </a:lnTo>
                <a:lnTo>
                  <a:pt x="1577" y="1895"/>
                </a:lnTo>
                <a:lnTo>
                  <a:pt x="1579" y="1895"/>
                </a:lnTo>
                <a:lnTo>
                  <a:pt x="1579" y="1893"/>
                </a:lnTo>
                <a:lnTo>
                  <a:pt x="1579" y="1895"/>
                </a:lnTo>
                <a:lnTo>
                  <a:pt x="1579" y="1893"/>
                </a:lnTo>
                <a:lnTo>
                  <a:pt x="1580" y="1893"/>
                </a:lnTo>
                <a:lnTo>
                  <a:pt x="1580" y="1891"/>
                </a:lnTo>
                <a:lnTo>
                  <a:pt x="1582" y="1891"/>
                </a:lnTo>
                <a:lnTo>
                  <a:pt x="1582" y="1889"/>
                </a:lnTo>
                <a:lnTo>
                  <a:pt x="1582" y="1887"/>
                </a:lnTo>
                <a:lnTo>
                  <a:pt x="1584" y="1887"/>
                </a:lnTo>
                <a:lnTo>
                  <a:pt x="1584" y="1885"/>
                </a:lnTo>
                <a:lnTo>
                  <a:pt x="1584" y="1887"/>
                </a:lnTo>
                <a:lnTo>
                  <a:pt x="1582" y="1887"/>
                </a:lnTo>
                <a:lnTo>
                  <a:pt x="1582" y="1889"/>
                </a:lnTo>
                <a:lnTo>
                  <a:pt x="1582" y="1891"/>
                </a:lnTo>
                <a:lnTo>
                  <a:pt x="1582" y="1889"/>
                </a:lnTo>
                <a:lnTo>
                  <a:pt x="1582" y="1891"/>
                </a:lnTo>
                <a:lnTo>
                  <a:pt x="1580" y="1891"/>
                </a:lnTo>
                <a:lnTo>
                  <a:pt x="1580" y="1893"/>
                </a:lnTo>
                <a:lnTo>
                  <a:pt x="1579" y="1893"/>
                </a:lnTo>
                <a:lnTo>
                  <a:pt x="1577" y="1893"/>
                </a:lnTo>
                <a:lnTo>
                  <a:pt x="1575" y="1893"/>
                </a:lnTo>
                <a:lnTo>
                  <a:pt x="1575" y="1895"/>
                </a:lnTo>
                <a:lnTo>
                  <a:pt x="1573" y="1895"/>
                </a:lnTo>
                <a:lnTo>
                  <a:pt x="1573" y="1897"/>
                </a:lnTo>
                <a:lnTo>
                  <a:pt x="1573" y="1895"/>
                </a:lnTo>
                <a:lnTo>
                  <a:pt x="1571" y="1897"/>
                </a:lnTo>
                <a:lnTo>
                  <a:pt x="1571" y="1899"/>
                </a:lnTo>
                <a:lnTo>
                  <a:pt x="1569" y="1899"/>
                </a:lnTo>
                <a:lnTo>
                  <a:pt x="1569" y="1897"/>
                </a:lnTo>
                <a:lnTo>
                  <a:pt x="1569" y="1895"/>
                </a:lnTo>
                <a:lnTo>
                  <a:pt x="1571" y="1895"/>
                </a:lnTo>
                <a:lnTo>
                  <a:pt x="1571" y="1893"/>
                </a:lnTo>
                <a:lnTo>
                  <a:pt x="1571" y="1891"/>
                </a:lnTo>
                <a:lnTo>
                  <a:pt x="1571" y="1889"/>
                </a:lnTo>
                <a:lnTo>
                  <a:pt x="1571" y="1887"/>
                </a:lnTo>
                <a:lnTo>
                  <a:pt x="1573" y="1887"/>
                </a:lnTo>
                <a:lnTo>
                  <a:pt x="1573" y="1885"/>
                </a:lnTo>
                <a:lnTo>
                  <a:pt x="1575" y="1885"/>
                </a:lnTo>
                <a:lnTo>
                  <a:pt x="1575" y="1883"/>
                </a:lnTo>
                <a:lnTo>
                  <a:pt x="1575" y="1881"/>
                </a:lnTo>
                <a:lnTo>
                  <a:pt x="1577" y="1881"/>
                </a:lnTo>
                <a:lnTo>
                  <a:pt x="1577" y="1880"/>
                </a:lnTo>
                <a:lnTo>
                  <a:pt x="1577" y="1878"/>
                </a:lnTo>
                <a:lnTo>
                  <a:pt x="1579" y="1878"/>
                </a:lnTo>
                <a:lnTo>
                  <a:pt x="1579" y="1876"/>
                </a:lnTo>
                <a:lnTo>
                  <a:pt x="1580" y="1874"/>
                </a:lnTo>
                <a:lnTo>
                  <a:pt x="1580" y="1872"/>
                </a:lnTo>
                <a:lnTo>
                  <a:pt x="1582" y="1870"/>
                </a:lnTo>
                <a:lnTo>
                  <a:pt x="1582" y="1868"/>
                </a:lnTo>
                <a:lnTo>
                  <a:pt x="1582" y="1866"/>
                </a:lnTo>
                <a:lnTo>
                  <a:pt x="1584" y="1866"/>
                </a:lnTo>
                <a:lnTo>
                  <a:pt x="1584" y="1864"/>
                </a:lnTo>
                <a:lnTo>
                  <a:pt x="1584" y="1862"/>
                </a:lnTo>
                <a:lnTo>
                  <a:pt x="1586" y="1862"/>
                </a:lnTo>
                <a:lnTo>
                  <a:pt x="1586" y="1860"/>
                </a:lnTo>
                <a:lnTo>
                  <a:pt x="1588" y="1860"/>
                </a:lnTo>
                <a:lnTo>
                  <a:pt x="1590" y="1860"/>
                </a:lnTo>
                <a:lnTo>
                  <a:pt x="1592" y="1860"/>
                </a:lnTo>
                <a:lnTo>
                  <a:pt x="1594" y="1860"/>
                </a:lnTo>
                <a:lnTo>
                  <a:pt x="1594" y="1862"/>
                </a:lnTo>
                <a:lnTo>
                  <a:pt x="1594" y="1864"/>
                </a:lnTo>
                <a:lnTo>
                  <a:pt x="1594" y="1862"/>
                </a:lnTo>
                <a:lnTo>
                  <a:pt x="1594" y="1860"/>
                </a:lnTo>
                <a:lnTo>
                  <a:pt x="1592" y="1860"/>
                </a:lnTo>
                <a:lnTo>
                  <a:pt x="1590" y="1860"/>
                </a:lnTo>
                <a:lnTo>
                  <a:pt x="1588" y="1860"/>
                </a:lnTo>
                <a:lnTo>
                  <a:pt x="1586" y="1860"/>
                </a:lnTo>
                <a:lnTo>
                  <a:pt x="1586" y="1862"/>
                </a:lnTo>
                <a:lnTo>
                  <a:pt x="1584" y="1862"/>
                </a:lnTo>
                <a:lnTo>
                  <a:pt x="1586" y="1862"/>
                </a:lnTo>
                <a:lnTo>
                  <a:pt x="1584" y="1862"/>
                </a:lnTo>
                <a:lnTo>
                  <a:pt x="1584" y="1860"/>
                </a:lnTo>
                <a:lnTo>
                  <a:pt x="1586" y="1858"/>
                </a:lnTo>
                <a:lnTo>
                  <a:pt x="1586" y="1856"/>
                </a:lnTo>
                <a:lnTo>
                  <a:pt x="1586" y="1855"/>
                </a:lnTo>
                <a:lnTo>
                  <a:pt x="1588" y="1855"/>
                </a:lnTo>
                <a:lnTo>
                  <a:pt x="1588" y="1853"/>
                </a:lnTo>
                <a:lnTo>
                  <a:pt x="1590" y="1853"/>
                </a:lnTo>
                <a:lnTo>
                  <a:pt x="1590" y="1851"/>
                </a:lnTo>
                <a:lnTo>
                  <a:pt x="1592" y="1849"/>
                </a:lnTo>
                <a:lnTo>
                  <a:pt x="1594" y="1849"/>
                </a:lnTo>
                <a:lnTo>
                  <a:pt x="1594" y="1847"/>
                </a:lnTo>
                <a:lnTo>
                  <a:pt x="1596" y="1847"/>
                </a:lnTo>
                <a:lnTo>
                  <a:pt x="1596" y="1845"/>
                </a:lnTo>
                <a:lnTo>
                  <a:pt x="1598" y="1845"/>
                </a:lnTo>
                <a:lnTo>
                  <a:pt x="1596" y="1845"/>
                </a:lnTo>
                <a:lnTo>
                  <a:pt x="1598" y="1845"/>
                </a:lnTo>
                <a:lnTo>
                  <a:pt x="1596" y="1845"/>
                </a:lnTo>
                <a:lnTo>
                  <a:pt x="1598" y="1845"/>
                </a:lnTo>
                <a:lnTo>
                  <a:pt x="1596" y="1845"/>
                </a:lnTo>
                <a:lnTo>
                  <a:pt x="1598" y="1845"/>
                </a:lnTo>
                <a:lnTo>
                  <a:pt x="1598" y="1843"/>
                </a:lnTo>
                <a:lnTo>
                  <a:pt x="1596" y="1843"/>
                </a:lnTo>
                <a:lnTo>
                  <a:pt x="1598" y="1843"/>
                </a:lnTo>
                <a:lnTo>
                  <a:pt x="1598" y="1841"/>
                </a:lnTo>
                <a:lnTo>
                  <a:pt x="1600" y="1841"/>
                </a:lnTo>
                <a:lnTo>
                  <a:pt x="1600" y="1839"/>
                </a:lnTo>
                <a:lnTo>
                  <a:pt x="1602" y="1839"/>
                </a:lnTo>
                <a:lnTo>
                  <a:pt x="1602" y="1837"/>
                </a:lnTo>
                <a:lnTo>
                  <a:pt x="1604" y="1837"/>
                </a:lnTo>
                <a:lnTo>
                  <a:pt x="1604" y="1835"/>
                </a:lnTo>
                <a:lnTo>
                  <a:pt x="1605" y="1835"/>
                </a:lnTo>
                <a:lnTo>
                  <a:pt x="1604" y="1835"/>
                </a:lnTo>
                <a:lnTo>
                  <a:pt x="1604" y="1837"/>
                </a:lnTo>
                <a:lnTo>
                  <a:pt x="1602" y="1837"/>
                </a:lnTo>
                <a:lnTo>
                  <a:pt x="1602" y="1839"/>
                </a:lnTo>
                <a:lnTo>
                  <a:pt x="1600" y="1839"/>
                </a:lnTo>
                <a:lnTo>
                  <a:pt x="1600" y="1841"/>
                </a:lnTo>
                <a:lnTo>
                  <a:pt x="1598" y="1841"/>
                </a:lnTo>
                <a:lnTo>
                  <a:pt x="1598" y="1843"/>
                </a:lnTo>
                <a:lnTo>
                  <a:pt x="1598" y="1841"/>
                </a:lnTo>
                <a:lnTo>
                  <a:pt x="1596" y="1841"/>
                </a:lnTo>
                <a:lnTo>
                  <a:pt x="1596" y="1843"/>
                </a:lnTo>
                <a:lnTo>
                  <a:pt x="1596" y="1845"/>
                </a:lnTo>
                <a:lnTo>
                  <a:pt x="1594" y="1845"/>
                </a:lnTo>
                <a:lnTo>
                  <a:pt x="1594" y="1847"/>
                </a:lnTo>
                <a:lnTo>
                  <a:pt x="1592" y="1847"/>
                </a:lnTo>
                <a:lnTo>
                  <a:pt x="1592" y="1849"/>
                </a:lnTo>
                <a:lnTo>
                  <a:pt x="1590" y="1849"/>
                </a:lnTo>
                <a:lnTo>
                  <a:pt x="1590" y="1851"/>
                </a:lnTo>
                <a:lnTo>
                  <a:pt x="1588" y="1851"/>
                </a:lnTo>
                <a:lnTo>
                  <a:pt x="1588" y="1853"/>
                </a:lnTo>
                <a:lnTo>
                  <a:pt x="1586" y="1853"/>
                </a:lnTo>
                <a:lnTo>
                  <a:pt x="1586" y="1851"/>
                </a:lnTo>
                <a:lnTo>
                  <a:pt x="1586" y="1853"/>
                </a:lnTo>
                <a:lnTo>
                  <a:pt x="1584" y="1853"/>
                </a:lnTo>
                <a:lnTo>
                  <a:pt x="1584" y="1851"/>
                </a:lnTo>
                <a:lnTo>
                  <a:pt x="1584" y="1849"/>
                </a:lnTo>
                <a:lnTo>
                  <a:pt x="1584" y="1847"/>
                </a:lnTo>
                <a:lnTo>
                  <a:pt x="1582" y="1847"/>
                </a:lnTo>
                <a:lnTo>
                  <a:pt x="1584" y="1847"/>
                </a:lnTo>
                <a:lnTo>
                  <a:pt x="1584" y="1845"/>
                </a:lnTo>
                <a:lnTo>
                  <a:pt x="1584" y="1843"/>
                </a:lnTo>
                <a:lnTo>
                  <a:pt x="1582" y="1843"/>
                </a:lnTo>
                <a:lnTo>
                  <a:pt x="1582" y="1841"/>
                </a:lnTo>
                <a:lnTo>
                  <a:pt x="1582" y="1843"/>
                </a:lnTo>
                <a:lnTo>
                  <a:pt x="1582" y="1845"/>
                </a:lnTo>
                <a:lnTo>
                  <a:pt x="1584" y="1847"/>
                </a:lnTo>
                <a:lnTo>
                  <a:pt x="1582" y="1847"/>
                </a:lnTo>
                <a:lnTo>
                  <a:pt x="1582" y="1849"/>
                </a:lnTo>
                <a:lnTo>
                  <a:pt x="1582" y="1851"/>
                </a:lnTo>
                <a:lnTo>
                  <a:pt x="1584" y="1851"/>
                </a:lnTo>
                <a:lnTo>
                  <a:pt x="1584" y="1853"/>
                </a:lnTo>
                <a:lnTo>
                  <a:pt x="1584" y="1855"/>
                </a:lnTo>
                <a:lnTo>
                  <a:pt x="1582" y="1855"/>
                </a:lnTo>
                <a:lnTo>
                  <a:pt x="1582" y="1856"/>
                </a:lnTo>
                <a:lnTo>
                  <a:pt x="1582" y="1858"/>
                </a:lnTo>
                <a:lnTo>
                  <a:pt x="1582" y="1860"/>
                </a:lnTo>
                <a:lnTo>
                  <a:pt x="1582" y="1862"/>
                </a:lnTo>
                <a:lnTo>
                  <a:pt x="1580" y="1864"/>
                </a:lnTo>
                <a:lnTo>
                  <a:pt x="1580" y="1862"/>
                </a:lnTo>
                <a:lnTo>
                  <a:pt x="1580" y="1864"/>
                </a:lnTo>
                <a:lnTo>
                  <a:pt x="1580" y="1866"/>
                </a:lnTo>
                <a:lnTo>
                  <a:pt x="1579" y="1868"/>
                </a:lnTo>
                <a:lnTo>
                  <a:pt x="1579" y="1866"/>
                </a:lnTo>
                <a:lnTo>
                  <a:pt x="1579" y="1864"/>
                </a:lnTo>
                <a:lnTo>
                  <a:pt x="1580" y="1862"/>
                </a:lnTo>
                <a:lnTo>
                  <a:pt x="1579" y="1862"/>
                </a:lnTo>
                <a:lnTo>
                  <a:pt x="1580" y="1862"/>
                </a:lnTo>
                <a:lnTo>
                  <a:pt x="1580" y="1860"/>
                </a:lnTo>
                <a:lnTo>
                  <a:pt x="1580" y="1858"/>
                </a:lnTo>
                <a:lnTo>
                  <a:pt x="1580" y="1856"/>
                </a:lnTo>
                <a:lnTo>
                  <a:pt x="1580" y="1855"/>
                </a:lnTo>
                <a:lnTo>
                  <a:pt x="1580" y="1853"/>
                </a:lnTo>
                <a:lnTo>
                  <a:pt x="1579" y="1853"/>
                </a:lnTo>
                <a:lnTo>
                  <a:pt x="1579" y="1851"/>
                </a:lnTo>
                <a:lnTo>
                  <a:pt x="1579" y="1849"/>
                </a:lnTo>
                <a:lnTo>
                  <a:pt x="1577" y="1849"/>
                </a:lnTo>
                <a:lnTo>
                  <a:pt x="1579" y="1851"/>
                </a:lnTo>
                <a:lnTo>
                  <a:pt x="1579" y="1853"/>
                </a:lnTo>
                <a:lnTo>
                  <a:pt x="1579" y="1855"/>
                </a:lnTo>
                <a:lnTo>
                  <a:pt x="1579" y="1856"/>
                </a:lnTo>
                <a:lnTo>
                  <a:pt x="1579" y="1858"/>
                </a:lnTo>
                <a:lnTo>
                  <a:pt x="1577" y="1858"/>
                </a:lnTo>
                <a:lnTo>
                  <a:pt x="1579" y="1858"/>
                </a:lnTo>
                <a:lnTo>
                  <a:pt x="1577" y="1858"/>
                </a:lnTo>
                <a:lnTo>
                  <a:pt x="1577" y="1860"/>
                </a:lnTo>
                <a:lnTo>
                  <a:pt x="1577" y="1862"/>
                </a:lnTo>
                <a:lnTo>
                  <a:pt x="1577" y="1864"/>
                </a:lnTo>
                <a:lnTo>
                  <a:pt x="1577" y="1866"/>
                </a:lnTo>
                <a:lnTo>
                  <a:pt x="1577" y="1868"/>
                </a:lnTo>
                <a:lnTo>
                  <a:pt x="1575" y="1868"/>
                </a:lnTo>
                <a:lnTo>
                  <a:pt x="1573" y="1870"/>
                </a:lnTo>
                <a:lnTo>
                  <a:pt x="1573" y="1872"/>
                </a:lnTo>
                <a:lnTo>
                  <a:pt x="1571" y="1872"/>
                </a:lnTo>
                <a:lnTo>
                  <a:pt x="1571" y="1874"/>
                </a:lnTo>
                <a:lnTo>
                  <a:pt x="1569" y="1874"/>
                </a:lnTo>
                <a:lnTo>
                  <a:pt x="1569" y="1876"/>
                </a:lnTo>
                <a:lnTo>
                  <a:pt x="1569" y="1878"/>
                </a:lnTo>
                <a:lnTo>
                  <a:pt x="1567" y="1878"/>
                </a:lnTo>
                <a:lnTo>
                  <a:pt x="1569" y="1878"/>
                </a:lnTo>
                <a:lnTo>
                  <a:pt x="1569" y="1880"/>
                </a:lnTo>
                <a:lnTo>
                  <a:pt x="1567" y="1880"/>
                </a:lnTo>
                <a:lnTo>
                  <a:pt x="1567" y="1881"/>
                </a:lnTo>
                <a:lnTo>
                  <a:pt x="1567" y="1883"/>
                </a:lnTo>
                <a:lnTo>
                  <a:pt x="1565" y="1883"/>
                </a:lnTo>
                <a:lnTo>
                  <a:pt x="1567" y="1883"/>
                </a:lnTo>
                <a:lnTo>
                  <a:pt x="1565" y="1883"/>
                </a:lnTo>
                <a:lnTo>
                  <a:pt x="1567" y="1883"/>
                </a:lnTo>
                <a:lnTo>
                  <a:pt x="1567" y="1885"/>
                </a:lnTo>
                <a:lnTo>
                  <a:pt x="1565" y="1885"/>
                </a:lnTo>
                <a:lnTo>
                  <a:pt x="1565" y="1887"/>
                </a:lnTo>
                <a:lnTo>
                  <a:pt x="1565" y="1889"/>
                </a:lnTo>
                <a:lnTo>
                  <a:pt x="1563" y="1889"/>
                </a:lnTo>
                <a:lnTo>
                  <a:pt x="1565" y="1889"/>
                </a:lnTo>
                <a:lnTo>
                  <a:pt x="1565" y="1891"/>
                </a:lnTo>
                <a:lnTo>
                  <a:pt x="1563" y="1891"/>
                </a:lnTo>
                <a:lnTo>
                  <a:pt x="1563" y="1893"/>
                </a:lnTo>
                <a:lnTo>
                  <a:pt x="1561" y="1893"/>
                </a:lnTo>
                <a:lnTo>
                  <a:pt x="1561" y="1895"/>
                </a:lnTo>
                <a:lnTo>
                  <a:pt x="1561" y="1897"/>
                </a:lnTo>
                <a:lnTo>
                  <a:pt x="1561" y="1899"/>
                </a:lnTo>
                <a:lnTo>
                  <a:pt x="1561" y="1901"/>
                </a:lnTo>
                <a:lnTo>
                  <a:pt x="1559" y="1901"/>
                </a:lnTo>
                <a:lnTo>
                  <a:pt x="1559" y="1903"/>
                </a:lnTo>
                <a:lnTo>
                  <a:pt x="1559" y="1901"/>
                </a:lnTo>
                <a:lnTo>
                  <a:pt x="1559" y="1903"/>
                </a:lnTo>
                <a:lnTo>
                  <a:pt x="1559" y="1904"/>
                </a:lnTo>
                <a:lnTo>
                  <a:pt x="1557" y="1904"/>
                </a:lnTo>
                <a:lnTo>
                  <a:pt x="1557" y="1906"/>
                </a:lnTo>
                <a:lnTo>
                  <a:pt x="1557" y="1904"/>
                </a:lnTo>
                <a:lnTo>
                  <a:pt x="1559" y="1904"/>
                </a:lnTo>
                <a:lnTo>
                  <a:pt x="1559" y="1903"/>
                </a:lnTo>
                <a:lnTo>
                  <a:pt x="1559" y="1901"/>
                </a:lnTo>
                <a:lnTo>
                  <a:pt x="1557" y="1901"/>
                </a:lnTo>
                <a:lnTo>
                  <a:pt x="1559" y="1901"/>
                </a:lnTo>
                <a:lnTo>
                  <a:pt x="1557" y="1901"/>
                </a:lnTo>
                <a:lnTo>
                  <a:pt x="1557" y="1899"/>
                </a:lnTo>
                <a:lnTo>
                  <a:pt x="1557" y="1901"/>
                </a:lnTo>
                <a:lnTo>
                  <a:pt x="1556" y="1901"/>
                </a:lnTo>
                <a:lnTo>
                  <a:pt x="1556" y="1903"/>
                </a:lnTo>
                <a:lnTo>
                  <a:pt x="1556" y="1904"/>
                </a:lnTo>
                <a:lnTo>
                  <a:pt x="1556" y="1906"/>
                </a:lnTo>
                <a:lnTo>
                  <a:pt x="1556" y="1908"/>
                </a:lnTo>
                <a:lnTo>
                  <a:pt x="1556" y="1910"/>
                </a:lnTo>
                <a:lnTo>
                  <a:pt x="1554" y="1910"/>
                </a:lnTo>
                <a:lnTo>
                  <a:pt x="1554" y="1912"/>
                </a:lnTo>
                <a:lnTo>
                  <a:pt x="1552" y="1912"/>
                </a:lnTo>
                <a:lnTo>
                  <a:pt x="1552" y="1914"/>
                </a:lnTo>
                <a:lnTo>
                  <a:pt x="1552" y="1916"/>
                </a:lnTo>
                <a:lnTo>
                  <a:pt x="1552" y="1918"/>
                </a:lnTo>
                <a:lnTo>
                  <a:pt x="1550" y="1918"/>
                </a:lnTo>
                <a:lnTo>
                  <a:pt x="1550" y="1920"/>
                </a:lnTo>
                <a:lnTo>
                  <a:pt x="1550" y="1922"/>
                </a:lnTo>
                <a:lnTo>
                  <a:pt x="1548" y="1922"/>
                </a:lnTo>
                <a:lnTo>
                  <a:pt x="1548" y="1924"/>
                </a:lnTo>
                <a:lnTo>
                  <a:pt x="1548" y="1926"/>
                </a:lnTo>
                <a:lnTo>
                  <a:pt x="1546" y="1926"/>
                </a:lnTo>
                <a:lnTo>
                  <a:pt x="1546" y="1924"/>
                </a:lnTo>
                <a:lnTo>
                  <a:pt x="1546" y="1926"/>
                </a:lnTo>
                <a:lnTo>
                  <a:pt x="1544" y="1926"/>
                </a:lnTo>
                <a:lnTo>
                  <a:pt x="1544" y="1924"/>
                </a:lnTo>
                <a:lnTo>
                  <a:pt x="1544" y="1926"/>
                </a:lnTo>
                <a:lnTo>
                  <a:pt x="1542" y="1926"/>
                </a:lnTo>
                <a:lnTo>
                  <a:pt x="1542" y="1928"/>
                </a:lnTo>
                <a:lnTo>
                  <a:pt x="1540" y="1928"/>
                </a:lnTo>
                <a:lnTo>
                  <a:pt x="1542" y="1928"/>
                </a:lnTo>
                <a:lnTo>
                  <a:pt x="1542" y="1929"/>
                </a:lnTo>
                <a:lnTo>
                  <a:pt x="1540" y="1928"/>
                </a:lnTo>
                <a:lnTo>
                  <a:pt x="1540" y="1929"/>
                </a:lnTo>
                <a:lnTo>
                  <a:pt x="1540" y="1928"/>
                </a:lnTo>
                <a:lnTo>
                  <a:pt x="1540" y="1929"/>
                </a:lnTo>
                <a:lnTo>
                  <a:pt x="1538" y="1929"/>
                </a:lnTo>
                <a:lnTo>
                  <a:pt x="1538" y="1928"/>
                </a:lnTo>
                <a:lnTo>
                  <a:pt x="1538" y="1929"/>
                </a:lnTo>
                <a:lnTo>
                  <a:pt x="1538" y="1928"/>
                </a:lnTo>
                <a:lnTo>
                  <a:pt x="1538" y="1926"/>
                </a:lnTo>
                <a:lnTo>
                  <a:pt x="1536" y="1926"/>
                </a:lnTo>
                <a:lnTo>
                  <a:pt x="1536" y="1924"/>
                </a:lnTo>
                <a:lnTo>
                  <a:pt x="1534" y="1924"/>
                </a:lnTo>
                <a:lnTo>
                  <a:pt x="1534" y="1922"/>
                </a:lnTo>
                <a:lnTo>
                  <a:pt x="1534" y="1920"/>
                </a:lnTo>
                <a:lnTo>
                  <a:pt x="1536" y="1920"/>
                </a:lnTo>
                <a:lnTo>
                  <a:pt x="1536" y="1918"/>
                </a:lnTo>
                <a:lnTo>
                  <a:pt x="1536" y="1916"/>
                </a:lnTo>
                <a:lnTo>
                  <a:pt x="1536" y="1914"/>
                </a:lnTo>
                <a:lnTo>
                  <a:pt x="1536" y="1912"/>
                </a:lnTo>
                <a:lnTo>
                  <a:pt x="1538" y="1912"/>
                </a:lnTo>
                <a:lnTo>
                  <a:pt x="1538" y="1910"/>
                </a:lnTo>
                <a:lnTo>
                  <a:pt x="1538" y="1908"/>
                </a:lnTo>
                <a:lnTo>
                  <a:pt x="1540" y="1908"/>
                </a:lnTo>
                <a:lnTo>
                  <a:pt x="1538" y="1908"/>
                </a:lnTo>
                <a:lnTo>
                  <a:pt x="1540" y="1908"/>
                </a:lnTo>
                <a:lnTo>
                  <a:pt x="1540" y="1906"/>
                </a:lnTo>
                <a:lnTo>
                  <a:pt x="1540" y="1904"/>
                </a:lnTo>
                <a:lnTo>
                  <a:pt x="1542" y="1904"/>
                </a:lnTo>
                <a:lnTo>
                  <a:pt x="1542" y="1903"/>
                </a:lnTo>
                <a:lnTo>
                  <a:pt x="1542" y="1901"/>
                </a:lnTo>
                <a:lnTo>
                  <a:pt x="1542" y="1899"/>
                </a:lnTo>
                <a:lnTo>
                  <a:pt x="1540" y="1901"/>
                </a:lnTo>
                <a:lnTo>
                  <a:pt x="1540" y="1903"/>
                </a:lnTo>
                <a:lnTo>
                  <a:pt x="1540" y="1904"/>
                </a:lnTo>
                <a:lnTo>
                  <a:pt x="1540" y="1903"/>
                </a:lnTo>
                <a:lnTo>
                  <a:pt x="1540" y="1901"/>
                </a:lnTo>
                <a:lnTo>
                  <a:pt x="1540" y="1903"/>
                </a:lnTo>
                <a:lnTo>
                  <a:pt x="1540" y="1904"/>
                </a:lnTo>
                <a:lnTo>
                  <a:pt x="1538" y="1904"/>
                </a:lnTo>
                <a:lnTo>
                  <a:pt x="1538" y="1906"/>
                </a:lnTo>
                <a:lnTo>
                  <a:pt x="1538" y="1908"/>
                </a:lnTo>
                <a:lnTo>
                  <a:pt x="1536" y="1908"/>
                </a:lnTo>
                <a:lnTo>
                  <a:pt x="1534" y="1908"/>
                </a:lnTo>
                <a:lnTo>
                  <a:pt x="1536" y="1908"/>
                </a:lnTo>
                <a:lnTo>
                  <a:pt x="1536" y="1906"/>
                </a:lnTo>
                <a:lnTo>
                  <a:pt x="1534" y="1906"/>
                </a:lnTo>
                <a:lnTo>
                  <a:pt x="1534" y="1904"/>
                </a:lnTo>
                <a:lnTo>
                  <a:pt x="1534" y="1903"/>
                </a:lnTo>
                <a:lnTo>
                  <a:pt x="1534" y="1901"/>
                </a:lnTo>
                <a:lnTo>
                  <a:pt x="1534" y="1903"/>
                </a:lnTo>
                <a:lnTo>
                  <a:pt x="1532" y="1903"/>
                </a:lnTo>
                <a:lnTo>
                  <a:pt x="1532" y="1901"/>
                </a:lnTo>
                <a:lnTo>
                  <a:pt x="1532" y="1903"/>
                </a:lnTo>
                <a:lnTo>
                  <a:pt x="1531" y="1903"/>
                </a:lnTo>
                <a:lnTo>
                  <a:pt x="1531" y="1901"/>
                </a:lnTo>
                <a:lnTo>
                  <a:pt x="1529" y="1901"/>
                </a:lnTo>
                <a:lnTo>
                  <a:pt x="1529" y="1899"/>
                </a:lnTo>
                <a:lnTo>
                  <a:pt x="1527" y="1899"/>
                </a:lnTo>
                <a:lnTo>
                  <a:pt x="1525" y="1899"/>
                </a:lnTo>
                <a:lnTo>
                  <a:pt x="1523" y="1899"/>
                </a:lnTo>
                <a:lnTo>
                  <a:pt x="1523" y="1897"/>
                </a:lnTo>
                <a:lnTo>
                  <a:pt x="1521" y="1897"/>
                </a:lnTo>
                <a:lnTo>
                  <a:pt x="1523" y="1897"/>
                </a:lnTo>
                <a:lnTo>
                  <a:pt x="1523" y="1895"/>
                </a:lnTo>
                <a:lnTo>
                  <a:pt x="1525" y="1895"/>
                </a:lnTo>
                <a:lnTo>
                  <a:pt x="1525" y="1893"/>
                </a:lnTo>
                <a:lnTo>
                  <a:pt x="1527" y="1893"/>
                </a:lnTo>
                <a:lnTo>
                  <a:pt x="1529" y="1893"/>
                </a:lnTo>
                <a:lnTo>
                  <a:pt x="1531" y="1893"/>
                </a:lnTo>
                <a:lnTo>
                  <a:pt x="1531" y="1891"/>
                </a:lnTo>
                <a:lnTo>
                  <a:pt x="1529" y="1893"/>
                </a:lnTo>
                <a:lnTo>
                  <a:pt x="1529" y="1891"/>
                </a:lnTo>
                <a:lnTo>
                  <a:pt x="1531" y="1891"/>
                </a:lnTo>
                <a:lnTo>
                  <a:pt x="1531" y="1889"/>
                </a:lnTo>
                <a:lnTo>
                  <a:pt x="1532" y="1889"/>
                </a:lnTo>
                <a:lnTo>
                  <a:pt x="1532" y="1887"/>
                </a:lnTo>
                <a:lnTo>
                  <a:pt x="1534" y="1887"/>
                </a:lnTo>
                <a:lnTo>
                  <a:pt x="1532" y="1887"/>
                </a:lnTo>
                <a:lnTo>
                  <a:pt x="1532" y="1885"/>
                </a:lnTo>
                <a:lnTo>
                  <a:pt x="1534" y="1885"/>
                </a:lnTo>
                <a:lnTo>
                  <a:pt x="1536" y="1885"/>
                </a:lnTo>
                <a:lnTo>
                  <a:pt x="1536" y="1883"/>
                </a:lnTo>
                <a:lnTo>
                  <a:pt x="1534" y="1883"/>
                </a:lnTo>
                <a:lnTo>
                  <a:pt x="1534" y="1881"/>
                </a:lnTo>
                <a:lnTo>
                  <a:pt x="1534" y="1880"/>
                </a:lnTo>
                <a:lnTo>
                  <a:pt x="1536" y="1878"/>
                </a:lnTo>
                <a:lnTo>
                  <a:pt x="1536" y="1876"/>
                </a:lnTo>
                <a:lnTo>
                  <a:pt x="1538" y="1876"/>
                </a:lnTo>
                <a:lnTo>
                  <a:pt x="1536" y="1876"/>
                </a:lnTo>
                <a:lnTo>
                  <a:pt x="1536" y="1874"/>
                </a:lnTo>
                <a:lnTo>
                  <a:pt x="1538" y="1874"/>
                </a:lnTo>
                <a:lnTo>
                  <a:pt x="1538" y="1872"/>
                </a:lnTo>
                <a:lnTo>
                  <a:pt x="1538" y="1870"/>
                </a:lnTo>
                <a:lnTo>
                  <a:pt x="1538" y="1868"/>
                </a:lnTo>
                <a:lnTo>
                  <a:pt x="1538" y="1866"/>
                </a:lnTo>
                <a:lnTo>
                  <a:pt x="1538" y="1864"/>
                </a:lnTo>
                <a:lnTo>
                  <a:pt x="1540" y="1864"/>
                </a:lnTo>
                <a:lnTo>
                  <a:pt x="1542" y="1864"/>
                </a:lnTo>
                <a:lnTo>
                  <a:pt x="1544" y="1864"/>
                </a:lnTo>
                <a:lnTo>
                  <a:pt x="1546" y="1864"/>
                </a:lnTo>
                <a:lnTo>
                  <a:pt x="1546" y="1866"/>
                </a:lnTo>
                <a:lnTo>
                  <a:pt x="1546" y="1864"/>
                </a:lnTo>
                <a:lnTo>
                  <a:pt x="1548" y="1864"/>
                </a:lnTo>
                <a:lnTo>
                  <a:pt x="1548" y="1866"/>
                </a:lnTo>
                <a:lnTo>
                  <a:pt x="1546" y="1866"/>
                </a:lnTo>
                <a:lnTo>
                  <a:pt x="1546" y="1864"/>
                </a:lnTo>
                <a:lnTo>
                  <a:pt x="1546" y="1866"/>
                </a:lnTo>
                <a:lnTo>
                  <a:pt x="1548" y="1866"/>
                </a:lnTo>
                <a:lnTo>
                  <a:pt x="1550" y="1866"/>
                </a:lnTo>
                <a:lnTo>
                  <a:pt x="1550" y="1868"/>
                </a:lnTo>
                <a:lnTo>
                  <a:pt x="1552" y="1868"/>
                </a:lnTo>
                <a:lnTo>
                  <a:pt x="1554" y="1870"/>
                </a:lnTo>
                <a:lnTo>
                  <a:pt x="1554" y="1868"/>
                </a:lnTo>
                <a:lnTo>
                  <a:pt x="1552" y="1868"/>
                </a:lnTo>
                <a:lnTo>
                  <a:pt x="1554" y="1866"/>
                </a:lnTo>
                <a:lnTo>
                  <a:pt x="1552" y="1866"/>
                </a:lnTo>
                <a:lnTo>
                  <a:pt x="1552" y="1864"/>
                </a:lnTo>
                <a:lnTo>
                  <a:pt x="1550" y="1864"/>
                </a:lnTo>
                <a:lnTo>
                  <a:pt x="1548" y="1862"/>
                </a:lnTo>
                <a:lnTo>
                  <a:pt x="1548" y="1864"/>
                </a:lnTo>
                <a:lnTo>
                  <a:pt x="1546" y="1864"/>
                </a:lnTo>
                <a:lnTo>
                  <a:pt x="1544" y="1864"/>
                </a:lnTo>
                <a:lnTo>
                  <a:pt x="1542" y="1864"/>
                </a:lnTo>
                <a:lnTo>
                  <a:pt x="1542" y="1862"/>
                </a:lnTo>
                <a:lnTo>
                  <a:pt x="1542" y="1860"/>
                </a:lnTo>
                <a:lnTo>
                  <a:pt x="1544" y="1860"/>
                </a:lnTo>
                <a:lnTo>
                  <a:pt x="1546" y="1860"/>
                </a:lnTo>
                <a:lnTo>
                  <a:pt x="1546" y="1858"/>
                </a:lnTo>
                <a:lnTo>
                  <a:pt x="1546" y="1856"/>
                </a:lnTo>
                <a:lnTo>
                  <a:pt x="1546" y="1855"/>
                </a:lnTo>
                <a:lnTo>
                  <a:pt x="1548" y="1855"/>
                </a:lnTo>
                <a:lnTo>
                  <a:pt x="1546" y="1855"/>
                </a:lnTo>
                <a:lnTo>
                  <a:pt x="1546" y="1853"/>
                </a:lnTo>
                <a:lnTo>
                  <a:pt x="1548" y="1853"/>
                </a:lnTo>
                <a:lnTo>
                  <a:pt x="1548" y="1851"/>
                </a:lnTo>
                <a:lnTo>
                  <a:pt x="1548" y="1849"/>
                </a:lnTo>
                <a:lnTo>
                  <a:pt x="1548" y="1851"/>
                </a:lnTo>
                <a:lnTo>
                  <a:pt x="1550" y="1851"/>
                </a:lnTo>
                <a:lnTo>
                  <a:pt x="1550" y="1849"/>
                </a:lnTo>
                <a:lnTo>
                  <a:pt x="1548" y="1849"/>
                </a:lnTo>
                <a:lnTo>
                  <a:pt x="1548" y="1847"/>
                </a:lnTo>
                <a:lnTo>
                  <a:pt x="1550" y="1847"/>
                </a:lnTo>
                <a:lnTo>
                  <a:pt x="1548" y="1847"/>
                </a:lnTo>
                <a:lnTo>
                  <a:pt x="1550" y="1847"/>
                </a:lnTo>
                <a:lnTo>
                  <a:pt x="1548" y="1845"/>
                </a:lnTo>
                <a:lnTo>
                  <a:pt x="1546" y="1845"/>
                </a:lnTo>
                <a:lnTo>
                  <a:pt x="1546" y="1843"/>
                </a:lnTo>
                <a:lnTo>
                  <a:pt x="1546" y="1841"/>
                </a:lnTo>
                <a:lnTo>
                  <a:pt x="1544" y="1841"/>
                </a:lnTo>
                <a:lnTo>
                  <a:pt x="1544" y="1839"/>
                </a:lnTo>
                <a:lnTo>
                  <a:pt x="1544" y="1841"/>
                </a:lnTo>
                <a:lnTo>
                  <a:pt x="1544" y="1843"/>
                </a:lnTo>
                <a:lnTo>
                  <a:pt x="1544" y="1845"/>
                </a:lnTo>
                <a:lnTo>
                  <a:pt x="1546" y="1845"/>
                </a:lnTo>
                <a:lnTo>
                  <a:pt x="1548" y="1847"/>
                </a:lnTo>
                <a:lnTo>
                  <a:pt x="1548" y="1849"/>
                </a:lnTo>
                <a:lnTo>
                  <a:pt x="1548" y="1851"/>
                </a:lnTo>
                <a:lnTo>
                  <a:pt x="1546" y="1851"/>
                </a:lnTo>
                <a:lnTo>
                  <a:pt x="1546" y="1853"/>
                </a:lnTo>
                <a:lnTo>
                  <a:pt x="1544" y="1853"/>
                </a:lnTo>
                <a:lnTo>
                  <a:pt x="1544" y="1855"/>
                </a:lnTo>
                <a:lnTo>
                  <a:pt x="1542" y="1855"/>
                </a:lnTo>
                <a:lnTo>
                  <a:pt x="1540" y="1855"/>
                </a:lnTo>
                <a:lnTo>
                  <a:pt x="1540" y="1853"/>
                </a:lnTo>
                <a:lnTo>
                  <a:pt x="1540" y="1851"/>
                </a:lnTo>
                <a:lnTo>
                  <a:pt x="1538" y="1851"/>
                </a:lnTo>
                <a:lnTo>
                  <a:pt x="1538" y="1849"/>
                </a:lnTo>
                <a:lnTo>
                  <a:pt x="1538" y="1847"/>
                </a:lnTo>
                <a:lnTo>
                  <a:pt x="1538" y="1845"/>
                </a:lnTo>
                <a:lnTo>
                  <a:pt x="1538" y="1843"/>
                </a:lnTo>
                <a:lnTo>
                  <a:pt x="1536" y="1843"/>
                </a:lnTo>
                <a:lnTo>
                  <a:pt x="1538" y="1843"/>
                </a:lnTo>
                <a:lnTo>
                  <a:pt x="1538" y="1845"/>
                </a:lnTo>
                <a:lnTo>
                  <a:pt x="1538" y="1843"/>
                </a:lnTo>
                <a:lnTo>
                  <a:pt x="1538" y="1845"/>
                </a:lnTo>
                <a:lnTo>
                  <a:pt x="1538" y="1847"/>
                </a:lnTo>
                <a:lnTo>
                  <a:pt x="1536" y="1847"/>
                </a:lnTo>
                <a:lnTo>
                  <a:pt x="1538" y="1847"/>
                </a:lnTo>
                <a:lnTo>
                  <a:pt x="1536" y="1847"/>
                </a:lnTo>
                <a:lnTo>
                  <a:pt x="1536" y="1849"/>
                </a:lnTo>
                <a:lnTo>
                  <a:pt x="1538" y="1849"/>
                </a:lnTo>
                <a:lnTo>
                  <a:pt x="1538" y="1851"/>
                </a:lnTo>
                <a:lnTo>
                  <a:pt x="1538" y="1853"/>
                </a:lnTo>
                <a:lnTo>
                  <a:pt x="1538" y="1855"/>
                </a:lnTo>
                <a:lnTo>
                  <a:pt x="1540" y="1855"/>
                </a:lnTo>
                <a:lnTo>
                  <a:pt x="1542" y="1855"/>
                </a:lnTo>
                <a:lnTo>
                  <a:pt x="1542" y="1856"/>
                </a:lnTo>
                <a:lnTo>
                  <a:pt x="1544" y="1856"/>
                </a:lnTo>
                <a:lnTo>
                  <a:pt x="1544" y="1858"/>
                </a:lnTo>
                <a:lnTo>
                  <a:pt x="1542" y="1858"/>
                </a:lnTo>
                <a:lnTo>
                  <a:pt x="1542" y="1856"/>
                </a:lnTo>
                <a:lnTo>
                  <a:pt x="1542" y="1858"/>
                </a:lnTo>
                <a:lnTo>
                  <a:pt x="1542" y="1860"/>
                </a:lnTo>
                <a:lnTo>
                  <a:pt x="1540" y="1860"/>
                </a:lnTo>
                <a:lnTo>
                  <a:pt x="1540" y="1862"/>
                </a:lnTo>
                <a:lnTo>
                  <a:pt x="1538" y="1862"/>
                </a:lnTo>
                <a:lnTo>
                  <a:pt x="1538" y="1864"/>
                </a:lnTo>
                <a:lnTo>
                  <a:pt x="1536" y="1864"/>
                </a:lnTo>
                <a:lnTo>
                  <a:pt x="1534" y="1866"/>
                </a:lnTo>
                <a:lnTo>
                  <a:pt x="1534" y="1864"/>
                </a:lnTo>
                <a:lnTo>
                  <a:pt x="1534" y="1866"/>
                </a:lnTo>
                <a:lnTo>
                  <a:pt x="1532" y="1866"/>
                </a:lnTo>
                <a:lnTo>
                  <a:pt x="1531" y="1866"/>
                </a:lnTo>
                <a:lnTo>
                  <a:pt x="1531" y="1864"/>
                </a:lnTo>
                <a:lnTo>
                  <a:pt x="1531" y="1862"/>
                </a:lnTo>
                <a:lnTo>
                  <a:pt x="1531" y="1860"/>
                </a:lnTo>
                <a:lnTo>
                  <a:pt x="1529" y="1860"/>
                </a:lnTo>
                <a:lnTo>
                  <a:pt x="1529" y="1858"/>
                </a:lnTo>
                <a:lnTo>
                  <a:pt x="1529" y="1856"/>
                </a:lnTo>
                <a:lnTo>
                  <a:pt x="1531" y="1856"/>
                </a:lnTo>
                <a:lnTo>
                  <a:pt x="1531" y="1858"/>
                </a:lnTo>
                <a:lnTo>
                  <a:pt x="1532" y="1858"/>
                </a:lnTo>
                <a:lnTo>
                  <a:pt x="1531" y="1856"/>
                </a:lnTo>
                <a:lnTo>
                  <a:pt x="1531" y="1855"/>
                </a:lnTo>
                <a:lnTo>
                  <a:pt x="1529" y="1855"/>
                </a:lnTo>
                <a:lnTo>
                  <a:pt x="1527" y="1855"/>
                </a:lnTo>
                <a:lnTo>
                  <a:pt x="1529" y="1855"/>
                </a:lnTo>
                <a:lnTo>
                  <a:pt x="1527" y="1855"/>
                </a:lnTo>
                <a:lnTo>
                  <a:pt x="1527" y="1853"/>
                </a:lnTo>
                <a:lnTo>
                  <a:pt x="1527" y="1851"/>
                </a:lnTo>
                <a:lnTo>
                  <a:pt x="1529" y="1851"/>
                </a:lnTo>
                <a:lnTo>
                  <a:pt x="1529" y="1849"/>
                </a:lnTo>
                <a:lnTo>
                  <a:pt x="1529" y="1847"/>
                </a:lnTo>
                <a:lnTo>
                  <a:pt x="1531" y="1847"/>
                </a:lnTo>
                <a:lnTo>
                  <a:pt x="1531" y="1845"/>
                </a:lnTo>
                <a:lnTo>
                  <a:pt x="1532" y="1845"/>
                </a:lnTo>
                <a:lnTo>
                  <a:pt x="1532" y="1843"/>
                </a:lnTo>
                <a:lnTo>
                  <a:pt x="1532" y="1845"/>
                </a:lnTo>
                <a:lnTo>
                  <a:pt x="1534" y="1843"/>
                </a:lnTo>
                <a:lnTo>
                  <a:pt x="1534" y="1845"/>
                </a:lnTo>
                <a:lnTo>
                  <a:pt x="1534" y="1843"/>
                </a:lnTo>
                <a:lnTo>
                  <a:pt x="1532" y="1843"/>
                </a:lnTo>
                <a:lnTo>
                  <a:pt x="1531" y="1843"/>
                </a:lnTo>
                <a:lnTo>
                  <a:pt x="1529" y="1845"/>
                </a:lnTo>
                <a:lnTo>
                  <a:pt x="1527" y="1845"/>
                </a:lnTo>
                <a:lnTo>
                  <a:pt x="1529" y="1843"/>
                </a:lnTo>
                <a:lnTo>
                  <a:pt x="1529" y="1841"/>
                </a:lnTo>
                <a:lnTo>
                  <a:pt x="1529" y="1839"/>
                </a:lnTo>
                <a:lnTo>
                  <a:pt x="1529" y="1837"/>
                </a:lnTo>
                <a:lnTo>
                  <a:pt x="1529" y="1835"/>
                </a:lnTo>
                <a:lnTo>
                  <a:pt x="1529" y="1837"/>
                </a:lnTo>
                <a:lnTo>
                  <a:pt x="1529" y="1839"/>
                </a:lnTo>
                <a:lnTo>
                  <a:pt x="1527" y="1839"/>
                </a:lnTo>
                <a:lnTo>
                  <a:pt x="1527" y="1841"/>
                </a:lnTo>
                <a:lnTo>
                  <a:pt x="1527" y="1843"/>
                </a:lnTo>
                <a:lnTo>
                  <a:pt x="1527" y="1845"/>
                </a:lnTo>
                <a:lnTo>
                  <a:pt x="1525" y="1845"/>
                </a:lnTo>
                <a:lnTo>
                  <a:pt x="1525" y="1843"/>
                </a:lnTo>
                <a:lnTo>
                  <a:pt x="1525" y="1845"/>
                </a:lnTo>
                <a:lnTo>
                  <a:pt x="1525" y="1843"/>
                </a:lnTo>
                <a:lnTo>
                  <a:pt x="1525" y="1841"/>
                </a:lnTo>
                <a:lnTo>
                  <a:pt x="1523" y="1839"/>
                </a:lnTo>
                <a:lnTo>
                  <a:pt x="1523" y="1837"/>
                </a:lnTo>
                <a:lnTo>
                  <a:pt x="1523" y="1835"/>
                </a:lnTo>
                <a:lnTo>
                  <a:pt x="1521" y="1835"/>
                </a:lnTo>
                <a:lnTo>
                  <a:pt x="1521" y="1833"/>
                </a:lnTo>
                <a:lnTo>
                  <a:pt x="1521" y="1832"/>
                </a:lnTo>
                <a:lnTo>
                  <a:pt x="1521" y="1830"/>
                </a:lnTo>
                <a:lnTo>
                  <a:pt x="1521" y="1828"/>
                </a:lnTo>
                <a:lnTo>
                  <a:pt x="1521" y="1826"/>
                </a:lnTo>
                <a:lnTo>
                  <a:pt x="1521" y="1824"/>
                </a:lnTo>
                <a:lnTo>
                  <a:pt x="1519" y="1824"/>
                </a:lnTo>
                <a:lnTo>
                  <a:pt x="1519" y="1826"/>
                </a:lnTo>
                <a:lnTo>
                  <a:pt x="1519" y="1828"/>
                </a:lnTo>
                <a:lnTo>
                  <a:pt x="1519" y="1826"/>
                </a:lnTo>
                <a:lnTo>
                  <a:pt x="1519" y="1828"/>
                </a:lnTo>
                <a:lnTo>
                  <a:pt x="1519" y="1830"/>
                </a:lnTo>
                <a:lnTo>
                  <a:pt x="1519" y="1832"/>
                </a:lnTo>
                <a:lnTo>
                  <a:pt x="1519" y="1833"/>
                </a:lnTo>
                <a:lnTo>
                  <a:pt x="1517" y="1835"/>
                </a:lnTo>
                <a:lnTo>
                  <a:pt x="1517" y="1833"/>
                </a:lnTo>
                <a:lnTo>
                  <a:pt x="1515" y="1833"/>
                </a:lnTo>
                <a:lnTo>
                  <a:pt x="1513" y="1832"/>
                </a:lnTo>
                <a:lnTo>
                  <a:pt x="1513" y="1833"/>
                </a:lnTo>
                <a:lnTo>
                  <a:pt x="1511" y="1832"/>
                </a:lnTo>
                <a:lnTo>
                  <a:pt x="1511" y="1833"/>
                </a:lnTo>
                <a:lnTo>
                  <a:pt x="1509" y="1833"/>
                </a:lnTo>
                <a:lnTo>
                  <a:pt x="1508" y="1833"/>
                </a:lnTo>
                <a:lnTo>
                  <a:pt x="1506" y="1833"/>
                </a:lnTo>
                <a:lnTo>
                  <a:pt x="1506" y="1835"/>
                </a:lnTo>
                <a:lnTo>
                  <a:pt x="1508" y="1835"/>
                </a:lnTo>
                <a:lnTo>
                  <a:pt x="1509" y="1835"/>
                </a:lnTo>
                <a:lnTo>
                  <a:pt x="1511" y="1835"/>
                </a:lnTo>
                <a:lnTo>
                  <a:pt x="1511" y="1833"/>
                </a:lnTo>
                <a:lnTo>
                  <a:pt x="1513" y="1833"/>
                </a:lnTo>
                <a:lnTo>
                  <a:pt x="1513" y="1835"/>
                </a:lnTo>
                <a:lnTo>
                  <a:pt x="1515" y="1835"/>
                </a:lnTo>
                <a:lnTo>
                  <a:pt x="1515" y="1837"/>
                </a:lnTo>
                <a:lnTo>
                  <a:pt x="1517" y="1837"/>
                </a:lnTo>
                <a:lnTo>
                  <a:pt x="1517" y="1839"/>
                </a:lnTo>
                <a:lnTo>
                  <a:pt x="1517" y="1841"/>
                </a:lnTo>
                <a:lnTo>
                  <a:pt x="1517" y="1843"/>
                </a:lnTo>
                <a:lnTo>
                  <a:pt x="1519" y="1843"/>
                </a:lnTo>
                <a:lnTo>
                  <a:pt x="1519" y="1841"/>
                </a:lnTo>
                <a:lnTo>
                  <a:pt x="1519" y="1843"/>
                </a:lnTo>
                <a:lnTo>
                  <a:pt x="1521" y="1843"/>
                </a:lnTo>
                <a:lnTo>
                  <a:pt x="1521" y="1845"/>
                </a:lnTo>
                <a:lnTo>
                  <a:pt x="1523" y="1847"/>
                </a:lnTo>
                <a:lnTo>
                  <a:pt x="1521" y="1847"/>
                </a:lnTo>
                <a:lnTo>
                  <a:pt x="1521" y="1849"/>
                </a:lnTo>
                <a:lnTo>
                  <a:pt x="1523" y="1849"/>
                </a:lnTo>
                <a:lnTo>
                  <a:pt x="1525" y="1849"/>
                </a:lnTo>
                <a:lnTo>
                  <a:pt x="1525" y="1851"/>
                </a:lnTo>
                <a:lnTo>
                  <a:pt x="1525" y="1853"/>
                </a:lnTo>
                <a:lnTo>
                  <a:pt x="1525" y="1855"/>
                </a:lnTo>
                <a:lnTo>
                  <a:pt x="1523" y="1855"/>
                </a:lnTo>
                <a:lnTo>
                  <a:pt x="1523" y="1856"/>
                </a:lnTo>
                <a:lnTo>
                  <a:pt x="1523" y="1855"/>
                </a:lnTo>
                <a:lnTo>
                  <a:pt x="1523" y="1853"/>
                </a:lnTo>
                <a:lnTo>
                  <a:pt x="1523" y="1855"/>
                </a:lnTo>
                <a:lnTo>
                  <a:pt x="1521" y="1855"/>
                </a:lnTo>
                <a:lnTo>
                  <a:pt x="1521" y="1853"/>
                </a:lnTo>
                <a:lnTo>
                  <a:pt x="1521" y="1851"/>
                </a:lnTo>
                <a:lnTo>
                  <a:pt x="1523" y="1851"/>
                </a:lnTo>
                <a:lnTo>
                  <a:pt x="1523" y="1849"/>
                </a:lnTo>
                <a:lnTo>
                  <a:pt x="1521" y="1849"/>
                </a:lnTo>
                <a:lnTo>
                  <a:pt x="1523" y="1849"/>
                </a:lnTo>
                <a:lnTo>
                  <a:pt x="1521" y="1849"/>
                </a:lnTo>
                <a:lnTo>
                  <a:pt x="1521" y="1851"/>
                </a:lnTo>
                <a:lnTo>
                  <a:pt x="1519" y="1851"/>
                </a:lnTo>
                <a:lnTo>
                  <a:pt x="1521" y="1851"/>
                </a:lnTo>
                <a:lnTo>
                  <a:pt x="1521" y="1853"/>
                </a:lnTo>
                <a:lnTo>
                  <a:pt x="1521" y="1855"/>
                </a:lnTo>
                <a:lnTo>
                  <a:pt x="1519" y="1853"/>
                </a:lnTo>
                <a:lnTo>
                  <a:pt x="1519" y="1855"/>
                </a:lnTo>
                <a:lnTo>
                  <a:pt x="1521" y="1855"/>
                </a:lnTo>
                <a:lnTo>
                  <a:pt x="1521" y="1856"/>
                </a:lnTo>
                <a:lnTo>
                  <a:pt x="1521" y="1858"/>
                </a:lnTo>
                <a:lnTo>
                  <a:pt x="1519" y="1858"/>
                </a:lnTo>
                <a:lnTo>
                  <a:pt x="1517" y="1860"/>
                </a:lnTo>
                <a:lnTo>
                  <a:pt x="1519" y="1860"/>
                </a:lnTo>
                <a:lnTo>
                  <a:pt x="1519" y="1862"/>
                </a:lnTo>
                <a:lnTo>
                  <a:pt x="1519" y="1864"/>
                </a:lnTo>
                <a:lnTo>
                  <a:pt x="1519" y="1862"/>
                </a:lnTo>
                <a:lnTo>
                  <a:pt x="1519" y="1860"/>
                </a:lnTo>
                <a:lnTo>
                  <a:pt x="1519" y="1858"/>
                </a:lnTo>
                <a:lnTo>
                  <a:pt x="1521" y="1858"/>
                </a:lnTo>
                <a:lnTo>
                  <a:pt x="1521" y="1856"/>
                </a:lnTo>
                <a:lnTo>
                  <a:pt x="1523" y="1856"/>
                </a:lnTo>
                <a:lnTo>
                  <a:pt x="1523" y="1858"/>
                </a:lnTo>
                <a:lnTo>
                  <a:pt x="1521" y="1858"/>
                </a:lnTo>
                <a:lnTo>
                  <a:pt x="1523" y="1858"/>
                </a:lnTo>
                <a:lnTo>
                  <a:pt x="1523" y="1860"/>
                </a:lnTo>
                <a:lnTo>
                  <a:pt x="1523" y="1862"/>
                </a:lnTo>
                <a:lnTo>
                  <a:pt x="1523" y="1864"/>
                </a:lnTo>
                <a:lnTo>
                  <a:pt x="1523" y="1866"/>
                </a:lnTo>
                <a:lnTo>
                  <a:pt x="1521" y="1866"/>
                </a:lnTo>
                <a:lnTo>
                  <a:pt x="1519" y="1866"/>
                </a:lnTo>
                <a:lnTo>
                  <a:pt x="1517" y="1866"/>
                </a:lnTo>
                <a:lnTo>
                  <a:pt x="1515" y="1866"/>
                </a:lnTo>
                <a:lnTo>
                  <a:pt x="1513" y="1866"/>
                </a:lnTo>
                <a:lnTo>
                  <a:pt x="1513" y="1864"/>
                </a:lnTo>
                <a:lnTo>
                  <a:pt x="1513" y="1866"/>
                </a:lnTo>
                <a:lnTo>
                  <a:pt x="1513" y="1868"/>
                </a:lnTo>
                <a:lnTo>
                  <a:pt x="1515" y="1868"/>
                </a:lnTo>
                <a:lnTo>
                  <a:pt x="1517" y="1868"/>
                </a:lnTo>
                <a:lnTo>
                  <a:pt x="1519" y="1868"/>
                </a:lnTo>
                <a:lnTo>
                  <a:pt x="1519" y="1870"/>
                </a:lnTo>
                <a:lnTo>
                  <a:pt x="1519" y="1872"/>
                </a:lnTo>
                <a:lnTo>
                  <a:pt x="1519" y="1870"/>
                </a:lnTo>
                <a:lnTo>
                  <a:pt x="1519" y="1868"/>
                </a:lnTo>
                <a:lnTo>
                  <a:pt x="1521" y="1868"/>
                </a:lnTo>
                <a:lnTo>
                  <a:pt x="1521" y="1870"/>
                </a:lnTo>
                <a:lnTo>
                  <a:pt x="1523" y="1870"/>
                </a:lnTo>
                <a:lnTo>
                  <a:pt x="1523" y="1868"/>
                </a:lnTo>
                <a:lnTo>
                  <a:pt x="1525" y="1868"/>
                </a:lnTo>
                <a:lnTo>
                  <a:pt x="1525" y="1870"/>
                </a:lnTo>
                <a:lnTo>
                  <a:pt x="1525" y="1872"/>
                </a:lnTo>
                <a:lnTo>
                  <a:pt x="1525" y="1874"/>
                </a:lnTo>
                <a:lnTo>
                  <a:pt x="1525" y="1876"/>
                </a:lnTo>
                <a:lnTo>
                  <a:pt x="1523" y="1876"/>
                </a:lnTo>
                <a:lnTo>
                  <a:pt x="1523" y="1874"/>
                </a:lnTo>
                <a:lnTo>
                  <a:pt x="1523" y="1876"/>
                </a:lnTo>
                <a:lnTo>
                  <a:pt x="1523" y="1878"/>
                </a:lnTo>
                <a:lnTo>
                  <a:pt x="1523" y="1880"/>
                </a:lnTo>
                <a:lnTo>
                  <a:pt x="1521" y="1880"/>
                </a:lnTo>
                <a:lnTo>
                  <a:pt x="1521" y="1881"/>
                </a:lnTo>
                <a:lnTo>
                  <a:pt x="1521" y="1880"/>
                </a:lnTo>
                <a:lnTo>
                  <a:pt x="1519" y="1880"/>
                </a:lnTo>
                <a:lnTo>
                  <a:pt x="1521" y="1880"/>
                </a:lnTo>
                <a:lnTo>
                  <a:pt x="1521" y="1881"/>
                </a:lnTo>
                <a:lnTo>
                  <a:pt x="1519" y="1881"/>
                </a:lnTo>
                <a:lnTo>
                  <a:pt x="1519" y="1880"/>
                </a:lnTo>
                <a:lnTo>
                  <a:pt x="1517" y="1880"/>
                </a:lnTo>
                <a:lnTo>
                  <a:pt x="1519" y="1880"/>
                </a:lnTo>
                <a:lnTo>
                  <a:pt x="1519" y="1881"/>
                </a:lnTo>
                <a:lnTo>
                  <a:pt x="1521" y="1881"/>
                </a:lnTo>
                <a:lnTo>
                  <a:pt x="1521" y="1883"/>
                </a:lnTo>
                <a:lnTo>
                  <a:pt x="1521" y="1881"/>
                </a:lnTo>
                <a:lnTo>
                  <a:pt x="1521" y="1883"/>
                </a:lnTo>
                <a:lnTo>
                  <a:pt x="1523" y="1883"/>
                </a:lnTo>
                <a:lnTo>
                  <a:pt x="1523" y="1881"/>
                </a:lnTo>
                <a:lnTo>
                  <a:pt x="1523" y="1883"/>
                </a:lnTo>
                <a:lnTo>
                  <a:pt x="1521" y="1883"/>
                </a:lnTo>
                <a:lnTo>
                  <a:pt x="1521" y="1885"/>
                </a:lnTo>
                <a:lnTo>
                  <a:pt x="1521" y="1887"/>
                </a:lnTo>
                <a:lnTo>
                  <a:pt x="1519" y="1887"/>
                </a:lnTo>
                <a:lnTo>
                  <a:pt x="1519" y="1889"/>
                </a:lnTo>
                <a:lnTo>
                  <a:pt x="1519" y="1891"/>
                </a:lnTo>
                <a:lnTo>
                  <a:pt x="1517" y="1891"/>
                </a:lnTo>
                <a:lnTo>
                  <a:pt x="1517" y="1893"/>
                </a:lnTo>
                <a:lnTo>
                  <a:pt x="1515" y="1893"/>
                </a:lnTo>
                <a:lnTo>
                  <a:pt x="1515" y="1895"/>
                </a:lnTo>
                <a:lnTo>
                  <a:pt x="1513" y="1893"/>
                </a:lnTo>
                <a:lnTo>
                  <a:pt x="1511" y="1893"/>
                </a:lnTo>
                <a:lnTo>
                  <a:pt x="1511" y="1891"/>
                </a:lnTo>
                <a:lnTo>
                  <a:pt x="1509" y="1891"/>
                </a:lnTo>
                <a:lnTo>
                  <a:pt x="1508" y="1891"/>
                </a:lnTo>
                <a:lnTo>
                  <a:pt x="1506" y="1891"/>
                </a:lnTo>
                <a:lnTo>
                  <a:pt x="1506" y="1889"/>
                </a:lnTo>
                <a:lnTo>
                  <a:pt x="1508" y="1889"/>
                </a:lnTo>
                <a:lnTo>
                  <a:pt x="1506" y="1887"/>
                </a:lnTo>
                <a:lnTo>
                  <a:pt x="1504" y="1887"/>
                </a:lnTo>
                <a:lnTo>
                  <a:pt x="1504" y="1889"/>
                </a:lnTo>
                <a:lnTo>
                  <a:pt x="1502" y="1889"/>
                </a:lnTo>
                <a:lnTo>
                  <a:pt x="1502" y="1887"/>
                </a:lnTo>
                <a:lnTo>
                  <a:pt x="1500" y="1887"/>
                </a:lnTo>
                <a:lnTo>
                  <a:pt x="1500" y="1885"/>
                </a:lnTo>
                <a:lnTo>
                  <a:pt x="1498" y="1885"/>
                </a:lnTo>
                <a:lnTo>
                  <a:pt x="1500" y="1885"/>
                </a:lnTo>
                <a:lnTo>
                  <a:pt x="1498" y="1883"/>
                </a:lnTo>
                <a:lnTo>
                  <a:pt x="1498" y="1885"/>
                </a:lnTo>
                <a:lnTo>
                  <a:pt x="1498" y="1883"/>
                </a:lnTo>
                <a:lnTo>
                  <a:pt x="1500" y="1883"/>
                </a:lnTo>
                <a:lnTo>
                  <a:pt x="1498" y="1883"/>
                </a:lnTo>
                <a:lnTo>
                  <a:pt x="1498" y="1881"/>
                </a:lnTo>
                <a:lnTo>
                  <a:pt x="1498" y="1880"/>
                </a:lnTo>
                <a:lnTo>
                  <a:pt x="1498" y="1878"/>
                </a:lnTo>
                <a:lnTo>
                  <a:pt x="1498" y="1880"/>
                </a:lnTo>
                <a:lnTo>
                  <a:pt x="1496" y="1880"/>
                </a:lnTo>
                <a:lnTo>
                  <a:pt x="1494" y="1880"/>
                </a:lnTo>
                <a:lnTo>
                  <a:pt x="1496" y="1880"/>
                </a:lnTo>
                <a:lnTo>
                  <a:pt x="1496" y="1881"/>
                </a:lnTo>
                <a:lnTo>
                  <a:pt x="1494" y="1881"/>
                </a:lnTo>
                <a:lnTo>
                  <a:pt x="1494" y="1883"/>
                </a:lnTo>
                <a:lnTo>
                  <a:pt x="1494" y="1885"/>
                </a:lnTo>
                <a:lnTo>
                  <a:pt x="1494" y="1887"/>
                </a:lnTo>
                <a:lnTo>
                  <a:pt x="1492" y="1887"/>
                </a:lnTo>
                <a:lnTo>
                  <a:pt x="1490" y="1887"/>
                </a:lnTo>
                <a:lnTo>
                  <a:pt x="1490" y="1889"/>
                </a:lnTo>
                <a:lnTo>
                  <a:pt x="1490" y="1887"/>
                </a:lnTo>
                <a:lnTo>
                  <a:pt x="1488" y="1887"/>
                </a:lnTo>
                <a:lnTo>
                  <a:pt x="1490" y="1887"/>
                </a:lnTo>
                <a:lnTo>
                  <a:pt x="1488" y="1887"/>
                </a:lnTo>
                <a:lnTo>
                  <a:pt x="1490" y="1887"/>
                </a:lnTo>
                <a:lnTo>
                  <a:pt x="1490" y="1885"/>
                </a:lnTo>
                <a:lnTo>
                  <a:pt x="1490" y="1887"/>
                </a:lnTo>
                <a:lnTo>
                  <a:pt x="1488" y="1887"/>
                </a:lnTo>
                <a:lnTo>
                  <a:pt x="1488" y="1885"/>
                </a:lnTo>
                <a:lnTo>
                  <a:pt x="1486" y="1885"/>
                </a:lnTo>
                <a:lnTo>
                  <a:pt x="1488" y="1885"/>
                </a:lnTo>
                <a:lnTo>
                  <a:pt x="1488" y="1883"/>
                </a:lnTo>
                <a:lnTo>
                  <a:pt x="1488" y="1881"/>
                </a:lnTo>
                <a:lnTo>
                  <a:pt x="1490" y="1881"/>
                </a:lnTo>
                <a:lnTo>
                  <a:pt x="1490" y="1883"/>
                </a:lnTo>
                <a:lnTo>
                  <a:pt x="1490" y="1881"/>
                </a:lnTo>
                <a:lnTo>
                  <a:pt x="1492" y="1881"/>
                </a:lnTo>
                <a:lnTo>
                  <a:pt x="1490" y="1880"/>
                </a:lnTo>
                <a:lnTo>
                  <a:pt x="1488" y="1880"/>
                </a:lnTo>
                <a:lnTo>
                  <a:pt x="1488" y="1878"/>
                </a:lnTo>
                <a:lnTo>
                  <a:pt x="1490" y="1878"/>
                </a:lnTo>
                <a:lnTo>
                  <a:pt x="1488" y="1878"/>
                </a:lnTo>
                <a:lnTo>
                  <a:pt x="1490" y="1878"/>
                </a:lnTo>
                <a:lnTo>
                  <a:pt x="1490" y="1876"/>
                </a:lnTo>
                <a:lnTo>
                  <a:pt x="1490" y="1878"/>
                </a:lnTo>
                <a:lnTo>
                  <a:pt x="1490" y="1876"/>
                </a:lnTo>
                <a:lnTo>
                  <a:pt x="1490" y="1874"/>
                </a:lnTo>
                <a:lnTo>
                  <a:pt x="1490" y="1876"/>
                </a:lnTo>
                <a:lnTo>
                  <a:pt x="1488" y="1876"/>
                </a:lnTo>
                <a:lnTo>
                  <a:pt x="1486" y="1876"/>
                </a:lnTo>
                <a:lnTo>
                  <a:pt x="1486" y="1874"/>
                </a:lnTo>
                <a:lnTo>
                  <a:pt x="1488" y="1874"/>
                </a:lnTo>
                <a:lnTo>
                  <a:pt x="1490" y="1874"/>
                </a:lnTo>
                <a:lnTo>
                  <a:pt x="1490" y="1872"/>
                </a:lnTo>
                <a:lnTo>
                  <a:pt x="1492" y="1872"/>
                </a:lnTo>
                <a:lnTo>
                  <a:pt x="1494" y="1872"/>
                </a:lnTo>
                <a:lnTo>
                  <a:pt x="1494" y="1870"/>
                </a:lnTo>
                <a:lnTo>
                  <a:pt x="1494" y="1868"/>
                </a:lnTo>
                <a:lnTo>
                  <a:pt x="1492" y="1870"/>
                </a:lnTo>
                <a:lnTo>
                  <a:pt x="1494" y="1870"/>
                </a:lnTo>
                <a:lnTo>
                  <a:pt x="1494" y="1872"/>
                </a:lnTo>
                <a:lnTo>
                  <a:pt x="1492" y="1872"/>
                </a:lnTo>
                <a:lnTo>
                  <a:pt x="1490" y="1872"/>
                </a:lnTo>
                <a:lnTo>
                  <a:pt x="1490" y="1870"/>
                </a:lnTo>
                <a:lnTo>
                  <a:pt x="1490" y="1872"/>
                </a:lnTo>
                <a:lnTo>
                  <a:pt x="1488" y="1872"/>
                </a:lnTo>
                <a:lnTo>
                  <a:pt x="1486" y="1872"/>
                </a:lnTo>
                <a:lnTo>
                  <a:pt x="1488" y="1872"/>
                </a:lnTo>
                <a:lnTo>
                  <a:pt x="1488" y="1870"/>
                </a:lnTo>
                <a:lnTo>
                  <a:pt x="1490" y="1870"/>
                </a:lnTo>
                <a:lnTo>
                  <a:pt x="1488" y="1870"/>
                </a:lnTo>
                <a:lnTo>
                  <a:pt x="1488" y="1868"/>
                </a:lnTo>
                <a:lnTo>
                  <a:pt x="1490" y="1868"/>
                </a:lnTo>
                <a:lnTo>
                  <a:pt x="1488" y="1868"/>
                </a:lnTo>
                <a:lnTo>
                  <a:pt x="1488" y="1866"/>
                </a:lnTo>
                <a:lnTo>
                  <a:pt x="1486" y="1864"/>
                </a:lnTo>
                <a:lnTo>
                  <a:pt x="1484" y="1864"/>
                </a:lnTo>
                <a:lnTo>
                  <a:pt x="1483" y="1864"/>
                </a:lnTo>
                <a:lnTo>
                  <a:pt x="1483" y="1862"/>
                </a:lnTo>
                <a:lnTo>
                  <a:pt x="1483" y="1860"/>
                </a:lnTo>
                <a:lnTo>
                  <a:pt x="1483" y="1858"/>
                </a:lnTo>
                <a:lnTo>
                  <a:pt x="1483" y="1856"/>
                </a:lnTo>
                <a:lnTo>
                  <a:pt x="1483" y="1855"/>
                </a:lnTo>
                <a:lnTo>
                  <a:pt x="1481" y="1855"/>
                </a:lnTo>
                <a:lnTo>
                  <a:pt x="1481" y="1853"/>
                </a:lnTo>
                <a:lnTo>
                  <a:pt x="1481" y="1851"/>
                </a:lnTo>
                <a:lnTo>
                  <a:pt x="1481" y="1849"/>
                </a:lnTo>
                <a:lnTo>
                  <a:pt x="1481" y="1847"/>
                </a:lnTo>
                <a:lnTo>
                  <a:pt x="1481" y="1845"/>
                </a:lnTo>
                <a:lnTo>
                  <a:pt x="1481" y="1843"/>
                </a:lnTo>
                <a:lnTo>
                  <a:pt x="1479" y="1843"/>
                </a:lnTo>
                <a:lnTo>
                  <a:pt x="1479" y="1841"/>
                </a:lnTo>
                <a:lnTo>
                  <a:pt x="1479" y="1839"/>
                </a:lnTo>
                <a:lnTo>
                  <a:pt x="1479" y="1837"/>
                </a:lnTo>
                <a:lnTo>
                  <a:pt x="1479" y="1835"/>
                </a:lnTo>
                <a:lnTo>
                  <a:pt x="1477" y="1835"/>
                </a:lnTo>
                <a:lnTo>
                  <a:pt x="1477" y="1833"/>
                </a:lnTo>
                <a:lnTo>
                  <a:pt x="1479" y="1833"/>
                </a:lnTo>
                <a:lnTo>
                  <a:pt x="1479" y="1835"/>
                </a:lnTo>
                <a:lnTo>
                  <a:pt x="1481" y="1835"/>
                </a:lnTo>
                <a:lnTo>
                  <a:pt x="1483" y="1835"/>
                </a:lnTo>
                <a:lnTo>
                  <a:pt x="1484" y="1835"/>
                </a:lnTo>
                <a:lnTo>
                  <a:pt x="1484" y="1837"/>
                </a:lnTo>
                <a:lnTo>
                  <a:pt x="1486" y="1837"/>
                </a:lnTo>
                <a:lnTo>
                  <a:pt x="1486" y="1835"/>
                </a:lnTo>
                <a:lnTo>
                  <a:pt x="1486" y="1833"/>
                </a:lnTo>
                <a:lnTo>
                  <a:pt x="1484" y="1833"/>
                </a:lnTo>
                <a:lnTo>
                  <a:pt x="1484" y="1835"/>
                </a:lnTo>
                <a:lnTo>
                  <a:pt x="1484" y="1833"/>
                </a:lnTo>
                <a:lnTo>
                  <a:pt x="1483" y="1833"/>
                </a:lnTo>
                <a:lnTo>
                  <a:pt x="1481" y="1833"/>
                </a:lnTo>
                <a:lnTo>
                  <a:pt x="1479" y="1833"/>
                </a:lnTo>
                <a:lnTo>
                  <a:pt x="1477" y="1833"/>
                </a:lnTo>
                <a:lnTo>
                  <a:pt x="1477" y="1832"/>
                </a:lnTo>
                <a:lnTo>
                  <a:pt x="1479" y="1832"/>
                </a:lnTo>
                <a:lnTo>
                  <a:pt x="1479" y="1830"/>
                </a:lnTo>
                <a:lnTo>
                  <a:pt x="1479" y="1828"/>
                </a:lnTo>
                <a:lnTo>
                  <a:pt x="1479" y="1826"/>
                </a:lnTo>
                <a:lnTo>
                  <a:pt x="1479" y="1824"/>
                </a:lnTo>
                <a:lnTo>
                  <a:pt x="1479" y="1822"/>
                </a:lnTo>
                <a:lnTo>
                  <a:pt x="1479" y="1820"/>
                </a:lnTo>
                <a:lnTo>
                  <a:pt x="1479" y="1818"/>
                </a:lnTo>
                <a:lnTo>
                  <a:pt x="1477" y="1818"/>
                </a:lnTo>
                <a:lnTo>
                  <a:pt x="1477" y="1816"/>
                </a:lnTo>
                <a:lnTo>
                  <a:pt x="1479" y="1814"/>
                </a:lnTo>
                <a:lnTo>
                  <a:pt x="1481" y="1812"/>
                </a:lnTo>
                <a:lnTo>
                  <a:pt x="1481" y="1810"/>
                </a:lnTo>
                <a:lnTo>
                  <a:pt x="1483" y="1810"/>
                </a:lnTo>
                <a:lnTo>
                  <a:pt x="1483" y="1808"/>
                </a:lnTo>
                <a:lnTo>
                  <a:pt x="1483" y="1807"/>
                </a:lnTo>
                <a:lnTo>
                  <a:pt x="1483" y="1803"/>
                </a:lnTo>
                <a:lnTo>
                  <a:pt x="1483" y="1801"/>
                </a:lnTo>
                <a:lnTo>
                  <a:pt x="1483" y="1799"/>
                </a:lnTo>
                <a:lnTo>
                  <a:pt x="1483" y="1797"/>
                </a:lnTo>
                <a:lnTo>
                  <a:pt x="1483" y="1795"/>
                </a:lnTo>
                <a:lnTo>
                  <a:pt x="1483" y="1797"/>
                </a:lnTo>
                <a:lnTo>
                  <a:pt x="1484" y="1797"/>
                </a:lnTo>
                <a:lnTo>
                  <a:pt x="1484" y="1799"/>
                </a:lnTo>
                <a:lnTo>
                  <a:pt x="1486" y="1799"/>
                </a:lnTo>
                <a:lnTo>
                  <a:pt x="1484" y="1799"/>
                </a:lnTo>
                <a:lnTo>
                  <a:pt x="1486" y="1799"/>
                </a:lnTo>
                <a:lnTo>
                  <a:pt x="1486" y="1801"/>
                </a:lnTo>
                <a:lnTo>
                  <a:pt x="1486" y="1799"/>
                </a:lnTo>
                <a:lnTo>
                  <a:pt x="1484" y="1799"/>
                </a:lnTo>
                <a:lnTo>
                  <a:pt x="1484" y="1797"/>
                </a:lnTo>
                <a:lnTo>
                  <a:pt x="1484" y="1795"/>
                </a:lnTo>
                <a:lnTo>
                  <a:pt x="1486" y="1795"/>
                </a:lnTo>
                <a:lnTo>
                  <a:pt x="1486" y="1793"/>
                </a:lnTo>
                <a:lnTo>
                  <a:pt x="1484" y="1793"/>
                </a:lnTo>
                <a:lnTo>
                  <a:pt x="1484" y="1795"/>
                </a:lnTo>
                <a:lnTo>
                  <a:pt x="1483" y="1795"/>
                </a:lnTo>
                <a:lnTo>
                  <a:pt x="1483" y="1793"/>
                </a:lnTo>
                <a:lnTo>
                  <a:pt x="1483" y="1791"/>
                </a:lnTo>
                <a:lnTo>
                  <a:pt x="1483" y="1789"/>
                </a:lnTo>
                <a:lnTo>
                  <a:pt x="1481" y="1789"/>
                </a:lnTo>
                <a:lnTo>
                  <a:pt x="1481" y="1787"/>
                </a:lnTo>
                <a:lnTo>
                  <a:pt x="1483" y="1787"/>
                </a:lnTo>
                <a:lnTo>
                  <a:pt x="1481" y="1787"/>
                </a:lnTo>
                <a:lnTo>
                  <a:pt x="1481" y="1785"/>
                </a:lnTo>
                <a:lnTo>
                  <a:pt x="1479" y="1785"/>
                </a:lnTo>
                <a:lnTo>
                  <a:pt x="1479" y="1784"/>
                </a:lnTo>
                <a:lnTo>
                  <a:pt x="1481" y="1785"/>
                </a:lnTo>
                <a:lnTo>
                  <a:pt x="1481" y="1784"/>
                </a:lnTo>
                <a:lnTo>
                  <a:pt x="1481" y="1782"/>
                </a:lnTo>
                <a:lnTo>
                  <a:pt x="1479" y="1782"/>
                </a:lnTo>
                <a:lnTo>
                  <a:pt x="1479" y="1780"/>
                </a:lnTo>
                <a:lnTo>
                  <a:pt x="1477" y="1780"/>
                </a:lnTo>
                <a:lnTo>
                  <a:pt x="1477" y="1778"/>
                </a:lnTo>
                <a:lnTo>
                  <a:pt x="1475" y="1778"/>
                </a:lnTo>
                <a:lnTo>
                  <a:pt x="1475" y="1776"/>
                </a:lnTo>
                <a:lnTo>
                  <a:pt x="1477" y="1776"/>
                </a:lnTo>
                <a:lnTo>
                  <a:pt x="1477" y="1778"/>
                </a:lnTo>
                <a:lnTo>
                  <a:pt x="1479" y="1778"/>
                </a:lnTo>
                <a:lnTo>
                  <a:pt x="1479" y="1776"/>
                </a:lnTo>
                <a:lnTo>
                  <a:pt x="1481" y="1776"/>
                </a:lnTo>
                <a:lnTo>
                  <a:pt x="1483" y="1776"/>
                </a:lnTo>
                <a:lnTo>
                  <a:pt x="1483" y="1778"/>
                </a:lnTo>
                <a:lnTo>
                  <a:pt x="1484" y="1778"/>
                </a:lnTo>
                <a:lnTo>
                  <a:pt x="1483" y="1778"/>
                </a:lnTo>
                <a:lnTo>
                  <a:pt x="1483" y="1776"/>
                </a:lnTo>
                <a:lnTo>
                  <a:pt x="1483" y="1774"/>
                </a:lnTo>
                <a:lnTo>
                  <a:pt x="1481" y="1774"/>
                </a:lnTo>
                <a:lnTo>
                  <a:pt x="1479" y="1774"/>
                </a:lnTo>
                <a:lnTo>
                  <a:pt x="1477" y="1774"/>
                </a:lnTo>
                <a:lnTo>
                  <a:pt x="1477" y="1772"/>
                </a:lnTo>
                <a:lnTo>
                  <a:pt x="1475" y="1772"/>
                </a:lnTo>
                <a:lnTo>
                  <a:pt x="1475" y="1770"/>
                </a:lnTo>
                <a:lnTo>
                  <a:pt x="1475" y="1772"/>
                </a:lnTo>
                <a:lnTo>
                  <a:pt x="1475" y="1774"/>
                </a:lnTo>
                <a:lnTo>
                  <a:pt x="1475" y="1776"/>
                </a:lnTo>
                <a:lnTo>
                  <a:pt x="1475" y="1774"/>
                </a:lnTo>
                <a:lnTo>
                  <a:pt x="1475" y="1772"/>
                </a:lnTo>
                <a:lnTo>
                  <a:pt x="1475" y="1770"/>
                </a:lnTo>
                <a:lnTo>
                  <a:pt x="1473" y="1770"/>
                </a:lnTo>
                <a:lnTo>
                  <a:pt x="1473" y="1768"/>
                </a:lnTo>
                <a:lnTo>
                  <a:pt x="1473" y="1766"/>
                </a:lnTo>
                <a:lnTo>
                  <a:pt x="1473" y="1764"/>
                </a:lnTo>
                <a:lnTo>
                  <a:pt x="1473" y="1762"/>
                </a:lnTo>
                <a:lnTo>
                  <a:pt x="1473" y="1760"/>
                </a:lnTo>
                <a:lnTo>
                  <a:pt x="1473" y="1759"/>
                </a:lnTo>
                <a:lnTo>
                  <a:pt x="1471" y="1759"/>
                </a:lnTo>
                <a:lnTo>
                  <a:pt x="1471" y="1757"/>
                </a:lnTo>
                <a:lnTo>
                  <a:pt x="1471" y="1755"/>
                </a:lnTo>
                <a:lnTo>
                  <a:pt x="1469" y="1755"/>
                </a:lnTo>
                <a:lnTo>
                  <a:pt x="1471" y="1755"/>
                </a:lnTo>
                <a:lnTo>
                  <a:pt x="1471" y="1757"/>
                </a:lnTo>
                <a:lnTo>
                  <a:pt x="1471" y="1759"/>
                </a:lnTo>
                <a:lnTo>
                  <a:pt x="1473" y="1759"/>
                </a:lnTo>
                <a:lnTo>
                  <a:pt x="1473" y="1760"/>
                </a:lnTo>
                <a:lnTo>
                  <a:pt x="1473" y="1762"/>
                </a:lnTo>
                <a:lnTo>
                  <a:pt x="1475" y="1762"/>
                </a:lnTo>
                <a:lnTo>
                  <a:pt x="1475" y="1764"/>
                </a:lnTo>
                <a:lnTo>
                  <a:pt x="1475" y="1762"/>
                </a:lnTo>
                <a:lnTo>
                  <a:pt x="1473" y="1762"/>
                </a:lnTo>
                <a:lnTo>
                  <a:pt x="1473" y="1760"/>
                </a:lnTo>
                <a:lnTo>
                  <a:pt x="1473" y="1759"/>
                </a:lnTo>
                <a:lnTo>
                  <a:pt x="1471" y="1757"/>
                </a:lnTo>
                <a:lnTo>
                  <a:pt x="1471" y="1755"/>
                </a:lnTo>
                <a:lnTo>
                  <a:pt x="1471" y="1753"/>
                </a:lnTo>
                <a:lnTo>
                  <a:pt x="1469" y="1753"/>
                </a:lnTo>
                <a:lnTo>
                  <a:pt x="1469" y="1751"/>
                </a:lnTo>
                <a:lnTo>
                  <a:pt x="1469" y="1749"/>
                </a:lnTo>
                <a:lnTo>
                  <a:pt x="1467" y="1749"/>
                </a:lnTo>
                <a:lnTo>
                  <a:pt x="1467" y="1747"/>
                </a:lnTo>
                <a:lnTo>
                  <a:pt x="1467" y="1745"/>
                </a:lnTo>
                <a:lnTo>
                  <a:pt x="1467" y="1747"/>
                </a:lnTo>
                <a:lnTo>
                  <a:pt x="1469" y="1749"/>
                </a:lnTo>
                <a:lnTo>
                  <a:pt x="1469" y="1747"/>
                </a:lnTo>
                <a:lnTo>
                  <a:pt x="1469" y="1745"/>
                </a:lnTo>
                <a:lnTo>
                  <a:pt x="1467" y="1745"/>
                </a:lnTo>
                <a:lnTo>
                  <a:pt x="1467" y="1743"/>
                </a:lnTo>
                <a:lnTo>
                  <a:pt x="1469" y="1743"/>
                </a:lnTo>
                <a:lnTo>
                  <a:pt x="1469" y="1741"/>
                </a:lnTo>
                <a:lnTo>
                  <a:pt x="1469" y="1743"/>
                </a:lnTo>
                <a:lnTo>
                  <a:pt x="1469" y="1741"/>
                </a:lnTo>
                <a:lnTo>
                  <a:pt x="1471" y="1741"/>
                </a:lnTo>
                <a:lnTo>
                  <a:pt x="1469" y="1741"/>
                </a:lnTo>
                <a:lnTo>
                  <a:pt x="1467" y="1741"/>
                </a:lnTo>
                <a:lnTo>
                  <a:pt x="1465" y="1741"/>
                </a:lnTo>
                <a:lnTo>
                  <a:pt x="1465" y="1743"/>
                </a:lnTo>
                <a:lnTo>
                  <a:pt x="1465" y="1741"/>
                </a:lnTo>
                <a:lnTo>
                  <a:pt x="1465" y="1739"/>
                </a:lnTo>
                <a:lnTo>
                  <a:pt x="1465" y="1737"/>
                </a:lnTo>
                <a:lnTo>
                  <a:pt x="1463" y="1737"/>
                </a:lnTo>
                <a:lnTo>
                  <a:pt x="1463" y="1736"/>
                </a:lnTo>
                <a:lnTo>
                  <a:pt x="1463" y="1734"/>
                </a:lnTo>
                <a:lnTo>
                  <a:pt x="1463" y="1732"/>
                </a:lnTo>
                <a:lnTo>
                  <a:pt x="1463" y="1730"/>
                </a:lnTo>
                <a:lnTo>
                  <a:pt x="1463" y="1732"/>
                </a:lnTo>
                <a:lnTo>
                  <a:pt x="1463" y="1734"/>
                </a:lnTo>
                <a:lnTo>
                  <a:pt x="1463" y="1736"/>
                </a:lnTo>
                <a:lnTo>
                  <a:pt x="1463" y="1737"/>
                </a:lnTo>
                <a:lnTo>
                  <a:pt x="1465" y="1737"/>
                </a:lnTo>
                <a:lnTo>
                  <a:pt x="1463" y="1737"/>
                </a:lnTo>
                <a:lnTo>
                  <a:pt x="1465" y="1737"/>
                </a:lnTo>
                <a:lnTo>
                  <a:pt x="1465" y="1739"/>
                </a:lnTo>
                <a:lnTo>
                  <a:pt x="1467" y="1739"/>
                </a:lnTo>
                <a:lnTo>
                  <a:pt x="1467" y="1737"/>
                </a:lnTo>
                <a:lnTo>
                  <a:pt x="1467" y="1739"/>
                </a:lnTo>
                <a:lnTo>
                  <a:pt x="1467" y="1737"/>
                </a:lnTo>
                <a:lnTo>
                  <a:pt x="1469" y="1737"/>
                </a:lnTo>
                <a:lnTo>
                  <a:pt x="1467" y="1737"/>
                </a:lnTo>
                <a:lnTo>
                  <a:pt x="1469" y="1737"/>
                </a:lnTo>
                <a:lnTo>
                  <a:pt x="1467" y="1737"/>
                </a:lnTo>
                <a:lnTo>
                  <a:pt x="1465" y="1737"/>
                </a:lnTo>
                <a:lnTo>
                  <a:pt x="1467" y="1737"/>
                </a:lnTo>
                <a:lnTo>
                  <a:pt x="1465" y="1737"/>
                </a:lnTo>
                <a:lnTo>
                  <a:pt x="1465" y="1736"/>
                </a:lnTo>
                <a:lnTo>
                  <a:pt x="1467" y="1736"/>
                </a:lnTo>
                <a:lnTo>
                  <a:pt x="1465" y="1736"/>
                </a:lnTo>
                <a:lnTo>
                  <a:pt x="1467" y="1736"/>
                </a:lnTo>
                <a:lnTo>
                  <a:pt x="1465" y="1736"/>
                </a:lnTo>
                <a:lnTo>
                  <a:pt x="1465" y="1734"/>
                </a:lnTo>
                <a:lnTo>
                  <a:pt x="1463" y="1734"/>
                </a:lnTo>
                <a:lnTo>
                  <a:pt x="1463" y="1732"/>
                </a:lnTo>
                <a:lnTo>
                  <a:pt x="1463" y="1730"/>
                </a:lnTo>
                <a:lnTo>
                  <a:pt x="1463" y="1732"/>
                </a:lnTo>
                <a:lnTo>
                  <a:pt x="1463" y="1730"/>
                </a:lnTo>
                <a:lnTo>
                  <a:pt x="1463" y="1728"/>
                </a:lnTo>
                <a:lnTo>
                  <a:pt x="1463" y="1730"/>
                </a:lnTo>
                <a:lnTo>
                  <a:pt x="1463" y="1728"/>
                </a:lnTo>
                <a:lnTo>
                  <a:pt x="1463" y="1726"/>
                </a:lnTo>
                <a:lnTo>
                  <a:pt x="1461" y="1726"/>
                </a:lnTo>
                <a:lnTo>
                  <a:pt x="1461" y="1728"/>
                </a:lnTo>
                <a:lnTo>
                  <a:pt x="1461" y="1726"/>
                </a:lnTo>
                <a:lnTo>
                  <a:pt x="1461" y="1722"/>
                </a:lnTo>
                <a:lnTo>
                  <a:pt x="1461" y="1720"/>
                </a:lnTo>
                <a:lnTo>
                  <a:pt x="1459" y="1718"/>
                </a:lnTo>
                <a:lnTo>
                  <a:pt x="1459" y="1716"/>
                </a:lnTo>
                <a:lnTo>
                  <a:pt x="1459" y="1714"/>
                </a:lnTo>
                <a:lnTo>
                  <a:pt x="1461" y="1714"/>
                </a:lnTo>
                <a:lnTo>
                  <a:pt x="1461" y="1716"/>
                </a:lnTo>
                <a:lnTo>
                  <a:pt x="1461" y="1714"/>
                </a:lnTo>
                <a:lnTo>
                  <a:pt x="1459" y="1714"/>
                </a:lnTo>
                <a:lnTo>
                  <a:pt x="1459" y="1716"/>
                </a:lnTo>
                <a:lnTo>
                  <a:pt x="1459" y="1714"/>
                </a:lnTo>
                <a:lnTo>
                  <a:pt x="1459" y="1716"/>
                </a:lnTo>
                <a:lnTo>
                  <a:pt x="1461" y="1716"/>
                </a:lnTo>
                <a:lnTo>
                  <a:pt x="1463" y="1716"/>
                </a:lnTo>
                <a:lnTo>
                  <a:pt x="1463" y="1718"/>
                </a:lnTo>
                <a:lnTo>
                  <a:pt x="1463" y="1716"/>
                </a:lnTo>
                <a:lnTo>
                  <a:pt x="1465" y="1716"/>
                </a:lnTo>
                <a:lnTo>
                  <a:pt x="1465" y="1718"/>
                </a:lnTo>
                <a:lnTo>
                  <a:pt x="1465" y="1716"/>
                </a:lnTo>
                <a:lnTo>
                  <a:pt x="1467" y="1716"/>
                </a:lnTo>
                <a:lnTo>
                  <a:pt x="1467" y="1718"/>
                </a:lnTo>
                <a:lnTo>
                  <a:pt x="1467" y="1716"/>
                </a:lnTo>
                <a:lnTo>
                  <a:pt x="1467" y="1718"/>
                </a:lnTo>
                <a:lnTo>
                  <a:pt x="1467" y="1716"/>
                </a:lnTo>
                <a:lnTo>
                  <a:pt x="1467" y="1718"/>
                </a:lnTo>
                <a:lnTo>
                  <a:pt x="1467" y="1720"/>
                </a:lnTo>
                <a:lnTo>
                  <a:pt x="1467" y="1718"/>
                </a:lnTo>
                <a:lnTo>
                  <a:pt x="1469" y="1718"/>
                </a:lnTo>
                <a:lnTo>
                  <a:pt x="1471" y="1718"/>
                </a:lnTo>
                <a:lnTo>
                  <a:pt x="1473" y="1718"/>
                </a:lnTo>
                <a:lnTo>
                  <a:pt x="1471" y="1718"/>
                </a:lnTo>
                <a:lnTo>
                  <a:pt x="1473" y="1718"/>
                </a:lnTo>
                <a:lnTo>
                  <a:pt x="1473" y="1716"/>
                </a:lnTo>
                <a:lnTo>
                  <a:pt x="1475" y="1716"/>
                </a:lnTo>
                <a:lnTo>
                  <a:pt x="1477" y="1716"/>
                </a:lnTo>
                <a:lnTo>
                  <a:pt x="1479" y="1716"/>
                </a:lnTo>
                <a:lnTo>
                  <a:pt x="1481" y="1716"/>
                </a:lnTo>
                <a:lnTo>
                  <a:pt x="1481" y="1714"/>
                </a:lnTo>
                <a:lnTo>
                  <a:pt x="1481" y="1712"/>
                </a:lnTo>
                <a:lnTo>
                  <a:pt x="1481" y="1711"/>
                </a:lnTo>
                <a:lnTo>
                  <a:pt x="1483" y="1709"/>
                </a:lnTo>
                <a:lnTo>
                  <a:pt x="1483" y="1707"/>
                </a:lnTo>
                <a:lnTo>
                  <a:pt x="1484" y="1707"/>
                </a:lnTo>
                <a:lnTo>
                  <a:pt x="1484" y="1705"/>
                </a:lnTo>
                <a:lnTo>
                  <a:pt x="1484" y="1703"/>
                </a:lnTo>
                <a:lnTo>
                  <a:pt x="1486" y="1703"/>
                </a:lnTo>
                <a:lnTo>
                  <a:pt x="1486" y="1701"/>
                </a:lnTo>
                <a:lnTo>
                  <a:pt x="1486" y="1699"/>
                </a:lnTo>
                <a:lnTo>
                  <a:pt x="1488" y="1699"/>
                </a:lnTo>
                <a:lnTo>
                  <a:pt x="1488" y="1701"/>
                </a:lnTo>
                <a:lnTo>
                  <a:pt x="1490" y="1701"/>
                </a:lnTo>
                <a:lnTo>
                  <a:pt x="1492" y="1701"/>
                </a:lnTo>
                <a:lnTo>
                  <a:pt x="1492" y="1699"/>
                </a:lnTo>
                <a:lnTo>
                  <a:pt x="1494" y="1699"/>
                </a:lnTo>
                <a:lnTo>
                  <a:pt x="1496" y="1699"/>
                </a:lnTo>
                <a:lnTo>
                  <a:pt x="1496" y="1701"/>
                </a:lnTo>
                <a:lnTo>
                  <a:pt x="1496" y="1703"/>
                </a:lnTo>
                <a:lnTo>
                  <a:pt x="1496" y="1705"/>
                </a:lnTo>
                <a:lnTo>
                  <a:pt x="1496" y="1707"/>
                </a:lnTo>
                <a:lnTo>
                  <a:pt x="1494" y="1707"/>
                </a:lnTo>
                <a:lnTo>
                  <a:pt x="1494" y="1709"/>
                </a:lnTo>
                <a:lnTo>
                  <a:pt x="1494" y="1711"/>
                </a:lnTo>
                <a:lnTo>
                  <a:pt x="1494" y="1712"/>
                </a:lnTo>
                <a:lnTo>
                  <a:pt x="1492" y="1712"/>
                </a:lnTo>
                <a:lnTo>
                  <a:pt x="1490" y="1712"/>
                </a:lnTo>
                <a:lnTo>
                  <a:pt x="1490" y="1714"/>
                </a:lnTo>
                <a:lnTo>
                  <a:pt x="1488" y="1714"/>
                </a:lnTo>
                <a:lnTo>
                  <a:pt x="1488" y="1716"/>
                </a:lnTo>
                <a:lnTo>
                  <a:pt x="1486" y="1716"/>
                </a:lnTo>
                <a:lnTo>
                  <a:pt x="1486" y="1718"/>
                </a:lnTo>
                <a:lnTo>
                  <a:pt x="1484" y="1718"/>
                </a:lnTo>
                <a:lnTo>
                  <a:pt x="1484" y="1720"/>
                </a:lnTo>
                <a:lnTo>
                  <a:pt x="1484" y="1722"/>
                </a:lnTo>
                <a:lnTo>
                  <a:pt x="1483" y="1722"/>
                </a:lnTo>
                <a:lnTo>
                  <a:pt x="1483" y="1724"/>
                </a:lnTo>
                <a:lnTo>
                  <a:pt x="1483" y="1726"/>
                </a:lnTo>
                <a:lnTo>
                  <a:pt x="1481" y="1726"/>
                </a:lnTo>
                <a:lnTo>
                  <a:pt x="1483" y="1726"/>
                </a:lnTo>
                <a:lnTo>
                  <a:pt x="1481" y="1726"/>
                </a:lnTo>
                <a:lnTo>
                  <a:pt x="1481" y="1728"/>
                </a:lnTo>
                <a:lnTo>
                  <a:pt x="1481" y="1726"/>
                </a:lnTo>
                <a:lnTo>
                  <a:pt x="1479" y="1726"/>
                </a:lnTo>
                <a:lnTo>
                  <a:pt x="1477" y="1726"/>
                </a:lnTo>
                <a:lnTo>
                  <a:pt x="1477" y="1728"/>
                </a:lnTo>
                <a:lnTo>
                  <a:pt x="1479" y="1728"/>
                </a:lnTo>
                <a:lnTo>
                  <a:pt x="1477" y="1728"/>
                </a:lnTo>
                <a:lnTo>
                  <a:pt x="1477" y="1730"/>
                </a:lnTo>
                <a:lnTo>
                  <a:pt x="1479" y="1730"/>
                </a:lnTo>
                <a:lnTo>
                  <a:pt x="1477" y="1730"/>
                </a:lnTo>
                <a:lnTo>
                  <a:pt x="1479" y="1730"/>
                </a:lnTo>
                <a:lnTo>
                  <a:pt x="1481" y="1730"/>
                </a:lnTo>
                <a:lnTo>
                  <a:pt x="1481" y="1728"/>
                </a:lnTo>
                <a:lnTo>
                  <a:pt x="1483" y="1728"/>
                </a:lnTo>
                <a:lnTo>
                  <a:pt x="1483" y="1730"/>
                </a:lnTo>
                <a:lnTo>
                  <a:pt x="1483" y="1728"/>
                </a:lnTo>
                <a:lnTo>
                  <a:pt x="1483" y="1726"/>
                </a:lnTo>
                <a:lnTo>
                  <a:pt x="1484" y="1726"/>
                </a:lnTo>
                <a:lnTo>
                  <a:pt x="1484" y="1724"/>
                </a:lnTo>
                <a:lnTo>
                  <a:pt x="1486" y="1724"/>
                </a:lnTo>
                <a:lnTo>
                  <a:pt x="1486" y="1722"/>
                </a:lnTo>
                <a:lnTo>
                  <a:pt x="1486" y="1720"/>
                </a:lnTo>
                <a:lnTo>
                  <a:pt x="1486" y="1718"/>
                </a:lnTo>
                <a:lnTo>
                  <a:pt x="1488" y="1718"/>
                </a:lnTo>
                <a:lnTo>
                  <a:pt x="1488" y="1716"/>
                </a:lnTo>
                <a:lnTo>
                  <a:pt x="1490" y="1716"/>
                </a:lnTo>
                <a:lnTo>
                  <a:pt x="1490" y="1718"/>
                </a:lnTo>
                <a:lnTo>
                  <a:pt x="1492" y="1718"/>
                </a:lnTo>
                <a:lnTo>
                  <a:pt x="1492" y="1716"/>
                </a:lnTo>
                <a:lnTo>
                  <a:pt x="1490" y="1716"/>
                </a:lnTo>
                <a:lnTo>
                  <a:pt x="1492" y="1716"/>
                </a:lnTo>
                <a:lnTo>
                  <a:pt x="1492" y="1714"/>
                </a:lnTo>
                <a:lnTo>
                  <a:pt x="1494" y="1714"/>
                </a:lnTo>
                <a:lnTo>
                  <a:pt x="1496" y="1714"/>
                </a:lnTo>
                <a:lnTo>
                  <a:pt x="1496" y="1716"/>
                </a:lnTo>
                <a:lnTo>
                  <a:pt x="1498" y="1716"/>
                </a:lnTo>
                <a:lnTo>
                  <a:pt x="1498" y="1718"/>
                </a:lnTo>
                <a:lnTo>
                  <a:pt x="1500" y="1718"/>
                </a:lnTo>
                <a:lnTo>
                  <a:pt x="1500" y="1720"/>
                </a:lnTo>
                <a:lnTo>
                  <a:pt x="1502" y="1720"/>
                </a:lnTo>
                <a:lnTo>
                  <a:pt x="1502" y="1722"/>
                </a:lnTo>
                <a:lnTo>
                  <a:pt x="1502" y="1724"/>
                </a:lnTo>
                <a:lnTo>
                  <a:pt x="1502" y="1726"/>
                </a:lnTo>
                <a:lnTo>
                  <a:pt x="1504" y="1726"/>
                </a:lnTo>
                <a:lnTo>
                  <a:pt x="1504" y="1724"/>
                </a:lnTo>
                <a:lnTo>
                  <a:pt x="1502" y="1724"/>
                </a:lnTo>
                <a:lnTo>
                  <a:pt x="1502" y="1722"/>
                </a:lnTo>
                <a:lnTo>
                  <a:pt x="1502" y="1720"/>
                </a:lnTo>
                <a:lnTo>
                  <a:pt x="1502" y="1718"/>
                </a:lnTo>
                <a:lnTo>
                  <a:pt x="1500" y="1718"/>
                </a:lnTo>
                <a:lnTo>
                  <a:pt x="1500" y="1716"/>
                </a:lnTo>
                <a:lnTo>
                  <a:pt x="1500" y="1714"/>
                </a:lnTo>
                <a:lnTo>
                  <a:pt x="1498" y="1714"/>
                </a:lnTo>
                <a:lnTo>
                  <a:pt x="1496" y="1714"/>
                </a:lnTo>
                <a:lnTo>
                  <a:pt x="1496" y="1712"/>
                </a:lnTo>
                <a:lnTo>
                  <a:pt x="1496" y="1711"/>
                </a:lnTo>
                <a:lnTo>
                  <a:pt x="1496" y="1709"/>
                </a:lnTo>
                <a:lnTo>
                  <a:pt x="1498" y="1707"/>
                </a:lnTo>
                <a:lnTo>
                  <a:pt x="1498" y="1705"/>
                </a:lnTo>
                <a:lnTo>
                  <a:pt x="1498" y="1703"/>
                </a:lnTo>
                <a:lnTo>
                  <a:pt x="1498" y="1701"/>
                </a:lnTo>
                <a:lnTo>
                  <a:pt x="1498" y="1699"/>
                </a:lnTo>
                <a:lnTo>
                  <a:pt x="1498" y="1697"/>
                </a:lnTo>
                <a:lnTo>
                  <a:pt x="1498" y="1695"/>
                </a:lnTo>
                <a:lnTo>
                  <a:pt x="1498" y="1693"/>
                </a:lnTo>
                <a:lnTo>
                  <a:pt x="1500" y="1693"/>
                </a:lnTo>
                <a:lnTo>
                  <a:pt x="1498" y="1693"/>
                </a:lnTo>
                <a:lnTo>
                  <a:pt x="1496" y="1693"/>
                </a:lnTo>
                <a:lnTo>
                  <a:pt x="1496" y="1695"/>
                </a:lnTo>
                <a:lnTo>
                  <a:pt x="1494" y="1695"/>
                </a:lnTo>
                <a:lnTo>
                  <a:pt x="1492" y="1695"/>
                </a:lnTo>
                <a:lnTo>
                  <a:pt x="1492" y="1697"/>
                </a:lnTo>
                <a:lnTo>
                  <a:pt x="1490" y="1697"/>
                </a:lnTo>
                <a:lnTo>
                  <a:pt x="1488" y="1697"/>
                </a:lnTo>
                <a:lnTo>
                  <a:pt x="1488" y="1695"/>
                </a:lnTo>
                <a:lnTo>
                  <a:pt x="1486" y="1695"/>
                </a:lnTo>
                <a:lnTo>
                  <a:pt x="1486" y="1697"/>
                </a:lnTo>
                <a:lnTo>
                  <a:pt x="1484" y="1697"/>
                </a:lnTo>
                <a:lnTo>
                  <a:pt x="1483" y="1697"/>
                </a:lnTo>
                <a:lnTo>
                  <a:pt x="1481" y="1697"/>
                </a:lnTo>
                <a:lnTo>
                  <a:pt x="1481" y="1699"/>
                </a:lnTo>
                <a:lnTo>
                  <a:pt x="1479" y="1699"/>
                </a:lnTo>
                <a:lnTo>
                  <a:pt x="1477" y="1699"/>
                </a:lnTo>
                <a:lnTo>
                  <a:pt x="1479" y="1699"/>
                </a:lnTo>
                <a:lnTo>
                  <a:pt x="1481" y="1699"/>
                </a:lnTo>
                <a:lnTo>
                  <a:pt x="1479" y="1699"/>
                </a:lnTo>
                <a:lnTo>
                  <a:pt x="1477" y="1699"/>
                </a:lnTo>
                <a:lnTo>
                  <a:pt x="1475" y="1699"/>
                </a:lnTo>
                <a:lnTo>
                  <a:pt x="1473" y="1697"/>
                </a:lnTo>
                <a:lnTo>
                  <a:pt x="1471" y="1697"/>
                </a:lnTo>
                <a:lnTo>
                  <a:pt x="1473" y="1697"/>
                </a:lnTo>
                <a:lnTo>
                  <a:pt x="1471" y="1697"/>
                </a:lnTo>
                <a:lnTo>
                  <a:pt x="1469" y="1697"/>
                </a:lnTo>
                <a:lnTo>
                  <a:pt x="1471" y="1697"/>
                </a:lnTo>
                <a:lnTo>
                  <a:pt x="1469" y="1697"/>
                </a:lnTo>
                <a:lnTo>
                  <a:pt x="1467" y="1697"/>
                </a:lnTo>
                <a:lnTo>
                  <a:pt x="1465" y="1695"/>
                </a:lnTo>
                <a:lnTo>
                  <a:pt x="1463" y="1695"/>
                </a:lnTo>
                <a:lnTo>
                  <a:pt x="1461" y="1695"/>
                </a:lnTo>
                <a:lnTo>
                  <a:pt x="1459" y="1695"/>
                </a:lnTo>
                <a:lnTo>
                  <a:pt x="1458" y="1695"/>
                </a:lnTo>
                <a:lnTo>
                  <a:pt x="1458" y="1693"/>
                </a:lnTo>
                <a:lnTo>
                  <a:pt x="1456" y="1693"/>
                </a:lnTo>
                <a:lnTo>
                  <a:pt x="1454" y="1691"/>
                </a:lnTo>
                <a:lnTo>
                  <a:pt x="1454" y="1693"/>
                </a:lnTo>
                <a:lnTo>
                  <a:pt x="1456" y="1693"/>
                </a:lnTo>
                <a:lnTo>
                  <a:pt x="1454" y="1693"/>
                </a:lnTo>
                <a:lnTo>
                  <a:pt x="1454" y="1691"/>
                </a:lnTo>
                <a:lnTo>
                  <a:pt x="1452" y="1691"/>
                </a:lnTo>
                <a:lnTo>
                  <a:pt x="1452" y="1689"/>
                </a:lnTo>
                <a:lnTo>
                  <a:pt x="1450" y="1688"/>
                </a:lnTo>
                <a:lnTo>
                  <a:pt x="1450" y="1686"/>
                </a:lnTo>
                <a:lnTo>
                  <a:pt x="1448" y="1686"/>
                </a:lnTo>
                <a:lnTo>
                  <a:pt x="1448" y="1684"/>
                </a:lnTo>
                <a:lnTo>
                  <a:pt x="1446" y="1684"/>
                </a:lnTo>
                <a:lnTo>
                  <a:pt x="1446" y="1682"/>
                </a:lnTo>
                <a:lnTo>
                  <a:pt x="1444" y="1682"/>
                </a:lnTo>
                <a:lnTo>
                  <a:pt x="1444" y="1680"/>
                </a:lnTo>
                <a:lnTo>
                  <a:pt x="1442" y="1680"/>
                </a:lnTo>
                <a:lnTo>
                  <a:pt x="1442" y="1678"/>
                </a:lnTo>
                <a:lnTo>
                  <a:pt x="1442" y="1676"/>
                </a:lnTo>
                <a:lnTo>
                  <a:pt x="1440" y="1676"/>
                </a:lnTo>
                <a:lnTo>
                  <a:pt x="1440" y="1674"/>
                </a:lnTo>
                <a:lnTo>
                  <a:pt x="1442" y="1674"/>
                </a:lnTo>
                <a:lnTo>
                  <a:pt x="1442" y="1672"/>
                </a:lnTo>
                <a:lnTo>
                  <a:pt x="1444" y="1672"/>
                </a:lnTo>
                <a:lnTo>
                  <a:pt x="1442" y="1672"/>
                </a:lnTo>
                <a:lnTo>
                  <a:pt x="1442" y="1674"/>
                </a:lnTo>
                <a:lnTo>
                  <a:pt x="1440" y="1674"/>
                </a:lnTo>
                <a:lnTo>
                  <a:pt x="1438" y="1674"/>
                </a:lnTo>
                <a:lnTo>
                  <a:pt x="1438" y="1672"/>
                </a:lnTo>
                <a:lnTo>
                  <a:pt x="1438" y="1670"/>
                </a:lnTo>
                <a:lnTo>
                  <a:pt x="1438" y="1668"/>
                </a:lnTo>
                <a:lnTo>
                  <a:pt x="1438" y="1666"/>
                </a:lnTo>
                <a:lnTo>
                  <a:pt x="1436" y="1666"/>
                </a:lnTo>
                <a:lnTo>
                  <a:pt x="1436" y="1664"/>
                </a:lnTo>
                <a:lnTo>
                  <a:pt x="1436" y="1663"/>
                </a:lnTo>
                <a:lnTo>
                  <a:pt x="1436" y="1664"/>
                </a:lnTo>
                <a:lnTo>
                  <a:pt x="1438" y="1664"/>
                </a:lnTo>
                <a:lnTo>
                  <a:pt x="1438" y="1666"/>
                </a:lnTo>
                <a:lnTo>
                  <a:pt x="1438" y="1664"/>
                </a:lnTo>
                <a:lnTo>
                  <a:pt x="1440" y="1664"/>
                </a:lnTo>
                <a:lnTo>
                  <a:pt x="1438" y="1664"/>
                </a:lnTo>
                <a:lnTo>
                  <a:pt x="1438" y="1663"/>
                </a:lnTo>
                <a:lnTo>
                  <a:pt x="1436" y="1664"/>
                </a:lnTo>
                <a:lnTo>
                  <a:pt x="1436" y="1663"/>
                </a:lnTo>
                <a:lnTo>
                  <a:pt x="1436" y="1661"/>
                </a:lnTo>
                <a:lnTo>
                  <a:pt x="1435" y="1659"/>
                </a:lnTo>
                <a:lnTo>
                  <a:pt x="1435" y="1657"/>
                </a:lnTo>
                <a:lnTo>
                  <a:pt x="1435" y="1655"/>
                </a:lnTo>
                <a:lnTo>
                  <a:pt x="1433" y="1655"/>
                </a:lnTo>
                <a:lnTo>
                  <a:pt x="1433" y="1653"/>
                </a:lnTo>
                <a:lnTo>
                  <a:pt x="1433" y="1655"/>
                </a:lnTo>
                <a:lnTo>
                  <a:pt x="1433" y="1653"/>
                </a:lnTo>
                <a:lnTo>
                  <a:pt x="1433" y="1651"/>
                </a:lnTo>
                <a:lnTo>
                  <a:pt x="1431" y="1651"/>
                </a:lnTo>
                <a:lnTo>
                  <a:pt x="1431" y="1649"/>
                </a:lnTo>
                <a:lnTo>
                  <a:pt x="1433" y="1647"/>
                </a:lnTo>
                <a:lnTo>
                  <a:pt x="1435" y="1647"/>
                </a:lnTo>
                <a:lnTo>
                  <a:pt x="1433" y="1647"/>
                </a:lnTo>
                <a:lnTo>
                  <a:pt x="1433" y="1649"/>
                </a:lnTo>
                <a:lnTo>
                  <a:pt x="1435" y="1649"/>
                </a:lnTo>
                <a:lnTo>
                  <a:pt x="1436" y="1649"/>
                </a:lnTo>
                <a:lnTo>
                  <a:pt x="1435" y="1649"/>
                </a:lnTo>
                <a:lnTo>
                  <a:pt x="1436" y="1649"/>
                </a:lnTo>
                <a:lnTo>
                  <a:pt x="1438" y="1649"/>
                </a:lnTo>
                <a:lnTo>
                  <a:pt x="1438" y="1651"/>
                </a:lnTo>
                <a:lnTo>
                  <a:pt x="1440" y="1651"/>
                </a:lnTo>
                <a:lnTo>
                  <a:pt x="1440" y="1649"/>
                </a:lnTo>
                <a:lnTo>
                  <a:pt x="1440" y="1651"/>
                </a:lnTo>
                <a:lnTo>
                  <a:pt x="1440" y="1649"/>
                </a:lnTo>
                <a:lnTo>
                  <a:pt x="1442" y="1649"/>
                </a:lnTo>
                <a:lnTo>
                  <a:pt x="1442" y="1651"/>
                </a:lnTo>
                <a:lnTo>
                  <a:pt x="1444" y="1651"/>
                </a:lnTo>
                <a:lnTo>
                  <a:pt x="1442" y="1651"/>
                </a:lnTo>
                <a:lnTo>
                  <a:pt x="1442" y="1649"/>
                </a:lnTo>
                <a:lnTo>
                  <a:pt x="1444" y="1649"/>
                </a:lnTo>
                <a:lnTo>
                  <a:pt x="1444" y="1647"/>
                </a:lnTo>
                <a:lnTo>
                  <a:pt x="1444" y="1645"/>
                </a:lnTo>
                <a:lnTo>
                  <a:pt x="1446" y="1645"/>
                </a:lnTo>
                <a:lnTo>
                  <a:pt x="1446" y="1643"/>
                </a:lnTo>
                <a:lnTo>
                  <a:pt x="1444" y="1643"/>
                </a:lnTo>
                <a:lnTo>
                  <a:pt x="1446" y="1641"/>
                </a:lnTo>
                <a:lnTo>
                  <a:pt x="1446" y="1643"/>
                </a:lnTo>
                <a:lnTo>
                  <a:pt x="1448" y="1643"/>
                </a:lnTo>
                <a:lnTo>
                  <a:pt x="1450" y="1643"/>
                </a:lnTo>
                <a:lnTo>
                  <a:pt x="1452" y="1643"/>
                </a:lnTo>
                <a:lnTo>
                  <a:pt x="1452" y="1641"/>
                </a:lnTo>
                <a:lnTo>
                  <a:pt x="1454" y="1641"/>
                </a:lnTo>
                <a:lnTo>
                  <a:pt x="1452" y="1641"/>
                </a:lnTo>
                <a:lnTo>
                  <a:pt x="1450" y="1641"/>
                </a:lnTo>
                <a:lnTo>
                  <a:pt x="1448" y="1641"/>
                </a:lnTo>
                <a:lnTo>
                  <a:pt x="1446" y="1640"/>
                </a:lnTo>
                <a:lnTo>
                  <a:pt x="1446" y="1638"/>
                </a:lnTo>
                <a:lnTo>
                  <a:pt x="1448" y="1638"/>
                </a:lnTo>
                <a:lnTo>
                  <a:pt x="1448" y="1636"/>
                </a:lnTo>
                <a:lnTo>
                  <a:pt x="1446" y="1636"/>
                </a:lnTo>
                <a:lnTo>
                  <a:pt x="1446" y="1634"/>
                </a:lnTo>
                <a:lnTo>
                  <a:pt x="1444" y="1634"/>
                </a:lnTo>
                <a:lnTo>
                  <a:pt x="1444" y="1636"/>
                </a:lnTo>
                <a:lnTo>
                  <a:pt x="1444" y="1638"/>
                </a:lnTo>
                <a:lnTo>
                  <a:pt x="1442" y="1638"/>
                </a:lnTo>
                <a:lnTo>
                  <a:pt x="1442" y="1636"/>
                </a:lnTo>
                <a:lnTo>
                  <a:pt x="1440" y="1636"/>
                </a:lnTo>
                <a:lnTo>
                  <a:pt x="1440" y="1638"/>
                </a:lnTo>
                <a:lnTo>
                  <a:pt x="1442" y="1638"/>
                </a:lnTo>
                <a:lnTo>
                  <a:pt x="1440" y="1638"/>
                </a:lnTo>
                <a:lnTo>
                  <a:pt x="1442" y="1638"/>
                </a:lnTo>
                <a:lnTo>
                  <a:pt x="1442" y="1640"/>
                </a:lnTo>
                <a:lnTo>
                  <a:pt x="1442" y="1641"/>
                </a:lnTo>
                <a:lnTo>
                  <a:pt x="1442" y="1643"/>
                </a:lnTo>
                <a:lnTo>
                  <a:pt x="1440" y="1643"/>
                </a:lnTo>
                <a:lnTo>
                  <a:pt x="1438" y="1643"/>
                </a:lnTo>
                <a:lnTo>
                  <a:pt x="1436" y="1641"/>
                </a:lnTo>
                <a:lnTo>
                  <a:pt x="1435" y="1641"/>
                </a:lnTo>
                <a:lnTo>
                  <a:pt x="1433" y="1641"/>
                </a:lnTo>
                <a:lnTo>
                  <a:pt x="1433" y="1640"/>
                </a:lnTo>
                <a:lnTo>
                  <a:pt x="1431" y="1640"/>
                </a:lnTo>
                <a:lnTo>
                  <a:pt x="1429" y="1640"/>
                </a:lnTo>
                <a:lnTo>
                  <a:pt x="1429" y="1638"/>
                </a:lnTo>
                <a:lnTo>
                  <a:pt x="1427" y="1638"/>
                </a:lnTo>
                <a:lnTo>
                  <a:pt x="1429" y="1638"/>
                </a:lnTo>
                <a:lnTo>
                  <a:pt x="1427" y="1638"/>
                </a:lnTo>
                <a:lnTo>
                  <a:pt x="1427" y="1636"/>
                </a:lnTo>
                <a:lnTo>
                  <a:pt x="1427" y="1634"/>
                </a:lnTo>
                <a:lnTo>
                  <a:pt x="1427" y="1632"/>
                </a:lnTo>
                <a:lnTo>
                  <a:pt x="1427" y="1630"/>
                </a:lnTo>
                <a:lnTo>
                  <a:pt x="1425" y="1630"/>
                </a:lnTo>
                <a:lnTo>
                  <a:pt x="1425" y="1628"/>
                </a:lnTo>
                <a:lnTo>
                  <a:pt x="1425" y="1626"/>
                </a:lnTo>
                <a:lnTo>
                  <a:pt x="1423" y="1626"/>
                </a:lnTo>
                <a:lnTo>
                  <a:pt x="1423" y="1624"/>
                </a:lnTo>
                <a:lnTo>
                  <a:pt x="1421" y="1624"/>
                </a:lnTo>
                <a:lnTo>
                  <a:pt x="1421" y="1622"/>
                </a:lnTo>
                <a:lnTo>
                  <a:pt x="1421" y="1620"/>
                </a:lnTo>
                <a:lnTo>
                  <a:pt x="1419" y="1618"/>
                </a:lnTo>
                <a:lnTo>
                  <a:pt x="1419" y="1617"/>
                </a:lnTo>
                <a:lnTo>
                  <a:pt x="1417" y="1617"/>
                </a:lnTo>
                <a:lnTo>
                  <a:pt x="1417" y="1615"/>
                </a:lnTo>
                <a:lnTo>
                  <a:pt x="1417" y="1613"/>
                </a:lnTo>
                <a:lnTo>
                  <a:pt x="1415" y="1613"/>
                </a:lnTo>
                <a:lnTo>
                  <a:pt x="1415" y="1611"/>
                </a:lnTo>
                <a:lnTo>
                  <a:pt x="1413" y="1611"/>
                </a:lnTo>
                <a:lnTo>
                  <a:pt x="1413" y="1609"/>
                </a:lnTo>
                <a:lnTo>
                  <a:pt x="1413" y="1607"/>
                </a:lnTo>
                <a:lnTo>
                  <a:pt x="1411" y="1607"/>
                </a:lnTo>
                <a:lnTo>
                  <a:pt x="1411" y="1605"/>
                </a:lnTo>
                <a:lnTo>
                  <a:pt x="1410" y="1603"/>
                </a:lnTo>
                <a:lnTo>
                  <a:pt x="1411" y="1605"/>
                </a:lnTo>
                <a:lnTo>
                  <a:pt x="1411" y="1607"/>
                </a:lnTo>
                <a:lnTo>
                  <a:pt x="1411" y="1605"/>
                </a:lnTo>
                <a:lnTo>
                  <a:pt x="1411" y="1603"/>
                </a:lnTo>
                <a:lnTo>
                  <a:pt x="1410" y="1603"/>
                </a:lnTo>
                <a:lnTo>
                  <a:pt x="1408" y="1601"/>
                </a:lnTo>
                <a:lnTo>
                  <a:pt x="1406" y="1599"/>
                </a:lnTo>
                <a:lnTo>
                  <a:pt x="1406" y="1597"/>
                </a:lnTo>
                <a:lnTo>
                  <a:pt x="1404" y="1597"/>
                </a:lnTo>
                <a:lnTo>
                  <a:pt x="1406" y="1597"/>
                </a:lnTo>
                <a:lnTo>
                  <a:pt x="1406" y="1599"/>
                </a:lnTo>
                <a:lnTo>
                  <a:pt x="1408" y="1599"/>
                </a:lnTo>
                <a:lnTo>
                  <a:pt x="1410" y="1599"/>
                </a:lnTo>
                <a:lnTo>
                  <a:pt x="1408" y="1599"/>
                </a:lnTo>
                <a:lnTo>
                  <a:pt x="1408" y="1597"/>
                </a:lnTo>
                <a:lnTo>
                  <a:pt x="1406" y="1597"/>
                </a:lnTo>
                <a:lnTo>
                  <a:pt x="1404" y="1597"/>
                </a:lnTo>
                <a:lnTo>
                  <a:pt x="1404" y="1595"/>
                </a:lnTo>
                <a:lnTo>
                  <a:pt x="1402" y="1595"/>
                </a:lnTo>
                <a:lnTo>
                  <a:pt x="1400" y="1593"/>
                </a:lnTo>
                <a:lnTo>
                  <a:pt x="1398" y="1593"/>
                </a:lnTo>
                <a:lnTo>
                  <a:pt x="1398" y="1592"/>
                </a:lnTo>
                <a:lnTo>
                  <a:pt x="1396" y="1592"/>
                </a:lnTo>
                <a:lnTo>
                  <a:pt x="1394" y="1590"/>
                </a:lnTo>
                <a:lnTo>
                  <a:pt x="1392" y="1590"/>
                </a:lnTo>
                <a:lnTo>
                  <a:pt x="1394" y="1590"/>
                </a:lnTo>
                <a:lnTo>
                  <a:pt x="1396" y="1590"/>
                </a:lnTo>
                <a:lnTo>
                  <a:pt x="1396" y="1592"/>
                </a:lnTo>
                <a:lnTo>
                  <a:pt x="1398" y="1592"/>
                </a:lnTo>
                <a:lnTo>
                  <a:pt x="1398" y="1590"/>
                </a:lnTo>
                <a:lnTo>
                  <a:pt x="1396" y="1590"/>
                </a:lnTo>
                <a:lnTo>
                  <a:pt x="1394" y="1590"/>
                </a:lnTo>
                <a:lnTo>
                  <a:pt x="1392" y="1590"/>
                </a:lnTo>
                <a:lnTo>
                  <a:pt x="1392" y="1588"/>
                </a:lnTo>
                <a:lnTo>
                  <a:pt x="1390" y="1588"/>
                </a:lnTo>
                <a:lnTo>
                  <a:pt x="1390" y="1586"/>
                </a:lnTo>
                <a:lnTo>
                  <a:pt x="1388" y="1584"/>
                </a:lnTo>
                <a:lnTo>
                  <a:pt x="1387" y="1584"/>
                </a:lnTo>
                <a:lnTo>
                  <a:pt x="1387" y="1582"/>
                </a:lnTo>
                <a:lnTo>
                  <a:pt x="1385" y="1582"/>
                </a:lnTo>
                <a:lnTo>
                  <a:pt x="1383" y="1580"/>
                </a:lnTo>
                <a:lnTo>
                  <a:pt x="1381" y="1580"/>
                </a:lnTo>
                <a:lnTo>
                  <a:pt x="1381" y="1578"/>
                </a:lnTo>
                <a:lnTo>
                  <a:pt x="1381" y="1580"/>
                </a:lnTo>
                <a:lnTo>
                  <a:pt x="1383" y="1580"/>
                </a:lnTo>
                <a:lnTo>
                  <a:pt x="1385" y="1580"/>
                </a:lnTo>
                <a:lnTo>
                  <a:pt x="1385" y="1578"/>
                </a:lnTo>
                <a:lnTo>
                  <a:pt x="1383" y="1580"/>
                </a:lnTo>
                <a:lnTo>
                  <a:pt x="1381" y="1578"/>
                </a:lnTo>
                <a:lnTo>
                  <a:pt x="1379" y="1578"/>
                </a:lnTo>
                <a:lnTo>
                  <a:pt x="1381" y="1578"/>
                </a:lnTo>
                <a:lnTo>
                  <a:pt x="1379" y="1578"/>
                </a:lnTo>
                <a:lnTo>
                  <a:pt x="1379" y="1576"/>
                </a:lnTo>
                <a:lnTo>
                  <a:pt x="1377" y="1576"/>
                </a:lnTo>
                <a:lnTo>
                  <a:pt x="1375" y="1574"/>
                </a:lnTo>
                <a:lnTo>
                  <a:pt x="1373" y="1574"/>
                </a:lnTo>
                <a:lnTo>
                  <a:pt x="1373" y="1572"/>
                </a:lnTo>
                <a:lnTo>
                  <a:pt x="1371" y="1572"/>
                </a:lnTo>
                <a:lnTo>
                  <a:pt x="1369" y="1572"/>
                </a:lnTo>
                <a:lnTo>
                  <a:pt x="1369" y="1570"/>
                </a:lnTo>
                <a:lnTo>
                  <a:pt x="1367" y="1570"/>
                </a:lnTo>
                <a:lnTo>
                  <a:pt x="1367" y="1569"/>
                </a:lnTo>
                <a:lnTo>
                  <a:pt x="1367" y="1567"/>
                </a:lnTo>
                <a:lnTo>
                  <a:pt x="1365" y="1567"/>
                </a:lnTo>
                <a:lnTo>
                  <a:pt x="1367" y="1567"/>
                </a:lnTo>
                <a:lnTo>
                  <a:pt x="1365" y="1565"/>
                </a:lnTo>
                <a:lnTo>
                  <a:pt x="1365" y="1563"/>
                </a:lnTo>
                <a:lnTo>
                  <a:pt x="1363" y="1563"/>
                </a:lnTo>
                <a:lnTo>
                  <a:pt x="1363" y="1561"/>
                </a:lnTo>
                <a:lnTo>
                  <a:pt x="1362" y="1561"/>
                </a:lnTo>
                <a:lnTo>
                  <a:pt x="1360" y="1559"/>
                </a:lnTo>
                <a:lnTo>
                  <a:pt x="1362" y="1559"/>
                </a:lnTo>
                <a:lnTo>
                  <a:pt x="1362" y="1561"/>
                </a:lnTo>
                <a:lnTo>
                  <a:pt x="1363" y="1561"/>
                </a:lnTo>
                <a:lnTo>
                  <a:pt x="1363" y="1563"/>
                </a:lnTo>
                <a:lnTo>
                  <a:pt x="1365" y="1563"/>
                </a:lnTo>
                <a:lnTo>
                  <a:pt x="1367" y="1565"/>
                </a:lnTo>
                <a:lnTo>
                  <a:pt x="1367" y="1563"/>
                </a:lnTo>
                <a:lnTo>
                  <a:pt x="1367" y="1565"/>
                </a:lnTo>
                <a:lnTo>
                  <a:pt x="1369" y="1565"/>
                </a:lnTo>
                <a:lnTo>
                  <a:pt x="1367" y="1565"/>
                </a:lnTo>
                <a:lnTo>
                  <a:pt x="1367" y="1563"/>
                </a:lnTo>
                <a:lnTo>
                  <a:pt x="1369" y="1563"/>
                </a:lnTo>
                <a:lnTo>
                  <a:pt x="1367" y="1563"/>
                </a:lnTo>
                <a:lnTo>
                  <a:pt x="1367" y="1561"/>
                </a:lnTo>
                <a:lnTo>
                  <a:pt x="1369" y="1561"/>
                </a:lnTo>
                <a:lnTo>
                  <a:pt x="1367" y="1561"/>
                </a:lnTo>
                <a:lnTo>
                  <a:pt x="1369" y="1561"/>
                </a:lnTo>
                <a:lnTo>
                  <a:pt x="1367" y="1561"/>
                </a:lnTo>
                <a:lnTo>
                  <a:pt x="1367" y="1559"/>
                </a:lnTo>
                <a:lnTo>
                  <a:pt x="1369" y="1559"/>
                </a:lnTo>
                <a:lnTo>
                  <a:pt x="1367" y="1559"/>
                </a:lnTo>
                <a:lnTo>
                  <a:pt x="1369" y="1559"/>
                </a:lnTo>
                <a:lnTo>
                  <a:pt x="1369" y="1557"/>
                </a:lnTo>
                <a:lnTo>
                  <a:pt x="1367" y="1557"/>
                </a:lnTo>
                <a:lnTo>
                  <a:pt x="1369" y="1557"/>
                </a:lnTo>
                <a:lnTo>
                  <a:pt x="1367" y="1555"/>
                </a:lnTo>
                <a:lnTo>
                  <a:pt x="1369" y="1555"/>
                </a:lnTo>
                <a:lnTo>
                  <a:pt x="1367" y="1555"/>
                </a:lnTo>
                <a:lnTo>
                  <a:pt x="1367" y="1553"/>
                </a:lnTo>
                <a:lnTo>
                  <a:pt x="1369" y="1553"/>
                </a:lnTo>
                <a:lnTo>
                  <a:pt x="1367" y="1553"/>
                </a:lnTo>
                <a:lnTo>
                  <a:pt x="1369" y="1553"/>
                </a:lnTo>
                <a:lnTo>
                  <a:pt x="1369" y="1555"/>
                </a:lnTo>
                <a:lnTo>
                  <a:pt x="1371" y="1555"/>
                </a:lnTo>
                <a:lnTo>
                  <a:pt x="1369" y="1555"/>
                </a:lnTo>
                <a:lnTo>
                  <a:pt x="1369" y="1553"/>
                </a:lnTo>
                <a:lnTo>
                  <a:pt x="1367" y="1553"/>
                </a:lnTo>
                <a:lnTo>
                  <a:pt x="1367" y="1551"/>
                </a:lnTo>
                <a:lnTo>
                  <a:pt x="1369" y="1551"/>
                </a:lnTo>
                <a:lnTo>
                  <a:pt x="1369" y="1553"/>
                </a:lnTo>
                <a:lnTo>
                  <a:pt x="1369" y="1551"/>
                </a:lnTo>
                <a:lnTo>
                  <a:pt x="1371" y="1551"/>
                </a:lnTo>
                <a:lnTo>
                  <a:pt x="1371" y="1553"/>
                </a:lnTo>
                <a:lnTo>
                  <a:pt x="1371" y="1551"/>
                </a:lnTo>
                <a:lnTo>
                  <a:pt x="1373" y="1551"/>
                </a:lnTo>
                <a:lnTo>
                  <a:pt x="1371" y="1551"/>
                </a:lnTo>
                <a:lnTo>
                  <a:pt x="1371" y="1549"/>
                </a:lnTo>
                <a:lnTo>
                  <a:pt x="1371" y="1551"/>
                </a:lnTo>
                <a:lnTo>
                  <a:pt x="1369" y="1549"/>
                </a:lnTo>
                <a:lnTo>
                  <a:pt x="1369" y="1547"/>
                </a:lnTo>
                <a:lnTo>
                  <a:pt x="1367" y="1547"/>
                </a:lnTo>
                <a:lnTo>
                  <a:pt x="1367" y="1545"/>
                </a:lnTo>
                <a:lnTo>
                  <a:pt x="1365" y="1545"/>
                </a:lnTo>
                <a:lnTo>
                  <a:pt x="1367" y="1545"/>
                </a:lnTo>
                <a:lnTo>
                  <a:pt x="1365" y="1545"/>
                </a:lnTo>
                <a:lnTo>
                  <a:pt x="1365" y="1547"/>
                </a:lnTo>
                <a:lnTo>
                  <a:pt x="1365" y="1545"/>
                </a:lnTo>
                <a:lnTo>
                  <a:pt x="1363" y="1545"/>
                </a:lnTo>
                <a:lnTo>
                  <a:pt x="1363" y="1544"/>
                </a:lnTo>
                <a:lnTo>
                  <a:pt x="1363" y="1542"/>
                </a:lnTo>
                <a:lnTo>
                  <a:pt x="1363" y="1544"/>
                </a:lnTo>
                <a:lnTo>
                  <a:pt x="1363" y="1542"/>
                </a:lnTo>
                <a:lnTo>
                  <a:pt x="1365" y="1542"/>
                </a:lnTo>
                <a:lnTo>
                  <a:pt x="1363" y="1542"/>
                </a:lnTo>
                <a:lnTo>
                  <a:pt x="1363" y="1540"/>
                </a:lnTo>
                <a:lnTo>
                  <a:pt x="1363" y="1542"/>
                </a:lnTo>
                <a:lnTo>
                  <a:pt x="1362" y="1542"/>
                </a:lnTo>
                <a:lnTo>
                  <a:pt x="1360" y="1542"/>
                </a:lnTo>
                <a:lnTo>
                  <a:pt x="1360" y="1540"/>
                </a:lnTo>
                <a:lnTo>
                  <a:pt x="1360" y="1538"/>
                </a:lnTo>
                <a:lnTo>
                  <a:pt x="1360" y="1536"/>
                </a:lnTo>
                <a:lnTo>
                  <a:pt x="1360" y="1534"/>
                </a:lnTo>
                <a:lnTo>
                  <a:pt x="1360" y="1536"/>
                </a:lnTo>
                <a:lnTo>
                  <a:pt x="1360" y="1538"/>
                </a:lnTo>
                <a:lnTo>
                  <a:pt x="1360" y="1536"/>
                </a:lnTo>
                <a:lnTo>
                  <a:pt x="1362" y="1536"/>
                </a:lnTo>
                <a:lnTo>
                  <a:pt x="1360" y="1536"/>
                </a:lnTo>
                <a:lnTo>
                  <a:pt x="1362" y="1536"/>
                </a:lnTo>
                <a:lnTo>
                  <a:pt x="1362" y="1534"/>
                </a:lnTo>
                <a:lnTo>
                  <a:pt x="1363" y="1534"/>
                </a:lnTo>
                <a:lnTo>
                  <a:pt x="1362" y="1534"/>
                </a:lnTo>
                <a:lnTo>
                  <a:pt x="1363" y="1536"/>
                </a:lnTo>
                <a:lnTo>
                  <a:pt x="1363" y="1534"/>
                </a:lnTo>
                <a:lnTo>
                  <a:pt x="1362" y="1534"/>
                </a:lnTo>
                <a:lnTo>
                  <a:pt x="1363" y="1534"/>
                </a:lnTo>
                <a:lnTo>
                  <a:pt x="1363" y="1532"/>
                </a:lnTo>
                <a:lnTo>
                  <a:pt x="1362" y="1532"/>
                </a:lnTo>
                <a:lnTo>
                  <a:pt x="1363" y="1532"/>
                </a:lnTo>
                <a:lnTo>
                  <a:pt x="1363" y="1534"/>
                </a:lnTo>
                <a:lnTo>
                  <a:pt x="1363" y="1532"/>
                </a:lnTo>
                <a:lnTo>
                  <a:pt x="1363" y="1534"/>
                </a:lnTo>
                <a:lnTo>
                  <a:pt x="1363" y="1532"/>
                </a:lnTo>
                <a:lnTo>
                  <a:pt x="1362" y="1532"/>
                </a:lnTo>
                <a:lnTo>
                  <a:pt x="1362" y="1530"/>
                </a:lnTo>
                <a:lnTo>
                  <a:pt x="1363" y="1530"/>
                </a:lnTo>
                <a:lnTo>
                  <a:pt x="1363" y="1532"/>
                </a:lnTo>
                <a:lnTo>
                  <a:pt x="1363" y="1530"/>
                </a:lnTo>
                <a:lnTo>
                  <a:pt x="1365" y="1530"/>
                </a:lnTo>
                <a:lnTo>
                  <a:pt x="1363" y="1530"/>
                </a:lnTo>
                <a:lnTo>
                  <a:pt x="1362" y="1530"/>
                </a:lnTo>
                <a:lnTo>
                  <a:pt x="1362" y="1528"/>
                </a:lnTo>
                <a:lnTo>
                  <a:pt x="1362" y="1530"/>
                </a:lnTo>
                <a:lnTo>
                  <a:pt x="1362" y="1528"/>
                </a:lnTo>
                <a:lnTo>
                  <a:pt x="1363" y="1528"/>
                </a:lnTo>
                <a:lnTo>
                  <a:pt x="1362" y="1528"/>
                </a:lnTo>
                <a:lnTo>
                  <a:pt x="1362" y="1530"/>
                </a:lnTo>
                <a:lnTo>
                  <a:pt x="1362" y="1528"/>
                </a:lnTo>
                <a:lnTo>
                  <a:pt x="1363" y="1528"/>
                </a:lnTo>
                <a:lnTo>
                  <a:pt x="1362" y="1528"/>
                </a:lnTo>
                <a:lnTo>
                  <a:pt x="1362" y="1526"/>
                </a:lnTo>
                <a:lnTo>
                  <a:pt x="1362" y="1528"/>
                </a:lnTo>
                <a:lnTo>
                  <a:pt x="1360" y="1528"/>
                </a:lnTo>
                <a:lnTo>
                  <a:pt x="1360" y="1526"/>
                </a:lnTo>
                <a:lnTo>
                  <a:pt x="1362" y="1526"/>
                </a:lnTo>
                <a:lnTo>
                  <a:pt x="1362" y="1524"/>
                </a:lnTo>
                <a:lnTo>
                  <a:pt x="1362" y="1526"/>
                </a:lnTo>
                <a:lnTo>
                  <a:pt x="1360" y="1524"/>
                </a:lnTo>
                <a:lnTo>
                  <a:pt x="1362" y="1524"/>
                </a:lnTo>
                <a:lnTo>
                  <a:pt x="1360" y="1524"/>
                </a:lnTo>
                <a:lnTo>
                  <a:pt x="1360" y="1526"/>
                </a:lnTo>
                <a:lnTo>
                  <a:pt x="1360" y="1524"/>
                </a:lnTo>
                <a:lnTo>
                  <a:pt x="1360" y="1522"/>
                </a:lnTo>
                <a:lnTo>
                  <a:pt x="1360" y="1524"/>
                </a:lnTo>
                <a:lnTo>
                  <a:pt x="1360" y="1522"/>
                </a:lnTo>
                <a:lnTo>
                  <a:pt x="1360" y="1524"/>
                </a:lnTo>
                <a:lnTo>
                  <a:pt x="1358" y="1524"/>
                </a:lnTo>
                <a:lnTo>
                  <a:pt x="1358" y="1522"/>
                </a:lnTo>
                <a:lnTo>
                  <a:pt x="1360" y="1522"/>
                </a:lnTo>
                <a:lnTo>
                  <a:pt x="1362" y="1522"/>
                </a:lnTo>
                <a:lnTo>
                  <a:pt x="1362" y="1521"/>
                </a:lnTo>
                <a:lnTo>
                  <a:pt x="1363" y="1521"/>
                </a:lnTo>
                <a:lnTo>
                  <a:pt x="1365" y="1521"/>
                </a:lnTo>
                <a:lnTo>
                  <a:pt x="1367" y="1521"/>
                </a:lnTo>
                <a:lnTo>
                  <a:pt x="1365" y="1521"/>
                </a:lnTo>
                <a:lnTo>
                  <a:pt x="1367" y="1521"/>
                </a:lnTo>
                <a:lnTo>
                  <a:pt x="1365" y="1521"/>
                </a:lnTo>
                <a:lnTo>
                  <a:pt x="1365" y="1519"/>
                </a:lnTo>
                <a:lnTo>
                  <a:pt x="1367" y="1519"/>
                </a:lnTo>
                <a:lnTo>
                  <a:pt x="1367" y="1521"/>
                </a:lnTo>
                <a:lnTo>
                  <a:pt x="1369" y="1521"/>
                </a:lnTo>
                <a:lnTo>
                  <a:pt x="1369" y="1519"/>
                </a:lnTo>
                <a:lnTo>
                  <a:pt x="1371" y="1519"/>
                </a:lnTo>
                <a:lnTo>
                  <a:pt x="1371" y="1521"/>
                </a:lnTo>
                <a:lnTo>
                  <a:pt x="1373" y="1521"/>
                </a:lnTo>
                <a:lnTo>
                  <a:pt x="1373" y="1519"/>
                </a:lnTo>
                <a:lnTo>
                  <a:pt x="1371" y="1519"/>
                </a:lnTo>
                <a:lnTo>
                  <a:pt x="1371" y="1517"/>
                </a:lnTo>
                <a:lnTo>
                  <a:pt x="1373" y="1517"/>
                </a:lnTo>
                <a:lnTo>
                  <a:pt x="1375" y="1517"/>
                </a:lnTo>
                <a:lnTo>
                  <a:pt x="1375" y="1515"/>
                </a:lnTo>
                <a:lnTo>
                  <a:pt x="1375" y="1513"/>
                </a:lnTo>
                <a:lnTo>
                  <a:pt x="1377" y="1513"/>
                </a:lnTo>
                <a:lnTo>
                  <a:pt x="1377" y="1511"/>
                </a:lnTo>
                <a:lnTo>
                  <a:pt x="1377" y="1513"/>
                </a:lnTo>
                <a:lnTo>
                  <a:pt x="1379" y="1511"/>
                </a:lnTo>
                <a:lnTo>
                  <a:pt x="1381" y="1511"/>
                </a:lnTo>
                <a:lnTo>
                  <a:pt x="1383" y="1511"/>
                </a:lnTo>
                <a:lnTo>
                  <a:pt x="1383" y="1509"/>
                </a:lnTo>
                <a:lnTo>
                  <a:pt x="1381" y="1509"/>
                </a:lnTo>
                <a:lnTo>
                  <a:pt x="1379" y="1509"/>
                </a:lnTo>
                <a:lnTo>
                  <a:pt x="1379" y="1507"/>
                </a:lnTo>
                <a:lnTo>
                  <a:pt x="1379" y="1509"/>
                </a:lnTo>
                <a:lnTo>
                  <a:pt x="1377" y="1509"/>
                </a:lnTo>
                <a:lnTo>
                  <a:pt x="1375" y="1509"/>
                </a:lnTo>
                <a:lnTo>
                  <a:pt x="1375" y="1511"/>
                </a:lnTo>
                <a:lnTo>
                  <a:pt x="1373" y="1511"/>
                </a:lnTo>
                <a:lnTo>
                  <a:pt x="1373" y="1509"/>
                </a:lnTo>
                <a:lnTo>
                  <a:pt x="1371" y="1509"/>
                </a:lnTo>
                <a:lnTo>
                  <a:pt x="1369" y="1509"/>
                </a:lnTo>
                <a:lnTo>
                  <a:pt x="1367" y="1509"/>
                </a:lnTo>
                <a:lnTo>
                  <a:pt x="1365" y="1509"/>
                </a:lnTo>
                <a:lnTo>
                  <a:pt x="1363" y="1509"/>
                </a:lnTo>
                <a:lnTo>
                  <a:pt x="1363" y="1511"/>
                </a:lnTo>
                <a:lnTo>
                  <a:pt x="1362" y="1511"/>
                </a:lnTo>
                <a:lnTo>
                  <a:pt x="1360" y="1511"/>
                </a:lnTo>
                <a:lnTo>
                  <a:pt x="1360" y="1509"/>
                </a:lnTo>
                <a:lnTo>
                  <a:pt x="1358" y="1509"/>
                </a:lnTo>
                <a:lnTo>
                  <a:pt x="1358" y="1507"/>
                </a:lnTo>
                <a:lnTo>
                  <a:pt x="1356" y="1507"/>
                </a:lnTo>
                <a:lnTo>
                  <a:pt x="1356" y="1505"/>
                </a:lnTo>
                <a:lnTo>
                  <a:pt x="1354" y="1505"/>
                </a:lnTo>
                <a:lnTo>
                  <a:pt x="1354" y="1503"/>
                </a:lnTo>
                <a:lnTo>
                  <a:pt x="1352" y="1503"/>
                </a:lnTo>
                <a:lnTo>
                  <a:pt x="1352" y="1501"/>
                </a:lnTo>
                <a:lnTo>
                  <a:pt x="1350" y="1501"/>
                </a:lnTo>
                <a:lnTo>
                  <a:pt x="1350" y="1499"/>
                </a:lnTo>
                <a:lnTo>
                  <a:pt x="1350" y="1497"/>
                </a:lnTo>
                <a:lnTo>
                  <a:pt x="1350" y="1496"/>
                </a:lnTo>
                <a:lnTo>
                  <a:pt x="1350" y="1497"/>
                </a:lnTo>
                <a:lnTo>
                  <a:pt x="1350" y="1496"/>
                </a:lnTo>
                <a:lnTo>
                  <a:pt x="1350" y="1494"/>
                </a:lnTo>
                <a:lnTo>
                  <a:pt x="1348" y="1494"/>
                </a:lnTo>
                <a:lnTo>
                  <a:pt x="1348" y="1492"/>
                </a:lnTo>
                <a:lnTo>
                  <a:pt x="1350" y="1492"/>
                </a:lnTo>
                <a:lnTo>
                  <a:pt x="1348" y="1492"/>
                </a:lnTo>
                <a:lnTo>
                  <a:pt x="1348" y="1490"/>
                </a:lnTo>
                <a:lnTo>
                  <a:pt x="1346" y="1490"/>
                </a:lnTo>
                <a:lnTo>
                  <a:pt x="1348" y="1490"/>
                </a:lnTo>
                <a:lnTo>
                  <a:pt x="1346" y="1490"/>
                </a:lnTo>
                <a:lnTo>
                  <a:pt x="1348" y="1490"/>
                </a:lnTo>
                <a:lnTo>
                  <a:pt x="1346" y="1490"/>
                </a:lnTo>
                <a:lnTo>
                  <a:pt x="1346" y="1488"/>
                </a:lnTo>
                <a:lnTo>
                  <a:pt x="1346" y="1490"/>
                </a:lnTo>
                <a:lnTo>
                  <a:pt x="1346" y="1488"/>
                </a:lnTo>
                <a:lnTo>
                  <a:pt x="1344" y="1488"/>
                </a:lnTo>
                <a:lnTo>
                  <a:pt x="1342" y="1488"/>
                </a:lnTo>
                <a:lnTo>
                  <a:pt x="1342" y="1486"/>
                </a:lnTo>
                <a:lnTo>
                  <a:pt x="1340" y="1486"/>
                </a:lnTo>
                <a:lnTo>
                  <a:pt x="1340" y="1484"/>
                </a:lnTo>
                <a:lnTo>
                  <a:pt x="1340" y="1482"/>
                </a:lnTo>
                <a:lnTo>
                  <a:pt x="1342" y="1482"/>
                </a:lnTo>
                <a:lnTo>
                  <a:pt x="1344" y="1482"/>
                </a:lnTo>
                <a:lnTo>
                  <a:pt x="1344" y="1484"/>
                </a:lnTo>
                <a:lnTo>
                  <a:pt x="1342" y="1482"/>
                </a:lnTo>
                <a:lnTo>
                  <a:pt x="1342" y="1484"/>
                </a:lnTo>
                <a:lnTo>
                  <a:pt x="1344" y="1484"/>
                </a:lnTo>
                <a:lnTo>
                  <a:pt x="1346" y="1484"/>
                </a:lnTo>
                <a:lnTo>
                  <a:pt x="1344" y="1484"/>
                </a:lnTo>
                <a:lnTo>
                  <a:pt x="1346" y="1484"/>
                </a:lnTo>
                <a:lnTo>
                  <a:pt x="1348" y="1484"/>
                </a:lnTo>
                <a:lnTo>
                  <a:pt x="1350" y="1484"/>
                </a:lnTo>
                <a:lnTo>
                  <a:pt x="1352" y="1484"/>
                </a:lnTo>
                <a:lnTo>
                  <a:pt x="1350" y="1484"/>
                </a:lnTo>
                <a:lnTo>
                  <a:pt x="1352" y="1484"/>
                </a:lnTo>
                <a:lnTo>
                  <a:pt x="1354" y="1484"/>
                </a:lnTo>
                <a:lnTo>
                  <a:pt x="1356" y="1484"/>
                </a:lnTo>
                <a:lnTo>
                  <a:pt x="1356" y="1482"/>
                </a:lnTo>
                <a:lnTo>
                  <a:pt x="1356" y="1484"/>
                </a:lnTo>
                <a:lnTo>
                  <a:pt x="1356" y="1482"/>
                </a:lnTo>
                <a:lnTo>
                  <a:pt x="1356" y="1484"/>
                </a:lnTo>
                <a:lnTo>
                  <a:pt x="1356" y="1482"/>
                </a:lnTo>
                <a:lnTo>
                  <a:pt x="1358" y="1482"/>
                </a:lnTo>
                <a:lnTo>
                  <a:pt x="1360" y="1482"/>
                </a:lnTo>
                <a:lnTo>
                  <a:pt x="1362" y="1482"/>
                </a:lnTo>
                <a:lnTo>
                  <a:pt x="1362" y="1480"/>
                </a:lnTo>
                <a:lnTo>
                  <a:pt x="1362" y="1482"/>
                </a:lnTo>
                <a:lnTo>
                  <a:pt x="1360" y="1480"/>
                </a:lnTo>
                <a:lnTo>
                  <a:pt x="1360" y="1482"/>
                </a:lnTo>
                <a:lnTo>
                  <a:pt x="1360" y="1480"/>
                </a:lnTo>
                <a:lnTo>
                  <a:pt x="1358" y="1480"/>
                </a:lnTo>
                <a:lnTo>
                  <a:pt x="1356" y="1480"/>
                </a:lnTo>
                <a:lnTo>
                  <a:pt x="1354" y="1478"/>
                </a:lnTo>
                <a:lnTo>
                  <a:pt x="1352" y="1478"/>
                </a:lnTo>
                <a:lnTo>
                  <a:pt x="1352" y="1476"/>
                </a:lnTo>
                <a:lnTo>
                  <a:pt x="1350" y="1476"/>
                </a:lnTo>
                <a:lnTo>
                  <a:pt x="1352" y="1476"/>
                </a:lnTo>
                <a:lnTo>
                  <a:pt x="1354" y="1478"/>
                </a:lnTo>
                <a:lnTo>
                  <a:pt x="1356" y="1478"/>
                </a:lnTo>
                <a:lnTo>
                  <a:pt x="1354" y="1476"/>
                </a:lnTo>
                <a:lnTo>
                  <a:pt x="1356" y="1476"/>
                </a:lnTo>
                <a:lnTo>
                  <a:pt x="1354" y="1476"/>
                </a:lnTo>
                <a:lnTo>
                  <a:pt x="1356" y="1476"/>
                </a:lnTo>
                <a:lnTo>
                  <a:pt x="1354" y="1476"/>
                </a:lnTo>
                <a:lnTo>
                  <a:pt x="1352" y="1476"/>
                </a:lnTo>
                <a:lnTo>
                  <a:pt x="1354" y="1476"/>
                </a:lnTo>
                <a:lnTo>
                  <a:pt x="1352" y="1476"/>
                </a:lnTo>
                <a:lnTo>
                  <a:pt x="1354" y="1476"/>
                </a:lnTo>
                <a:lnTo>
                  <a:pt x="1354" y="1474"/>
                </a:lnTo>
                <a:lnTo>
                  <a:pt x="1354" y="1476"/>
                </a:lnTo>
                <a:lnTo>
                  <a:pt x="1354" y="1474"/>
                </a:lnTo>
                <a:lnTo>
                  <a:pt x="1356" y="1474"/>
                </a:lnTo>
                <a:lnTo>
                  <a:pt x="1358" y="1474"/>
                </a:lnTo>
                <a:lnTo>
                  <a:pt x="1356" y="1474"/>
                </a:lnTo>
                <a:lnTo>
                  <a:pt x="1358" y="1474"/>
                </a:lnTo>
                <a:lnTo>
                  <a:pt x="1356" y="1474"/>
                </a:lnTo>
                <a:lnTo>
                  <a:pt x="1354" y="1474"/>
                </a:lnTo>
                <a:lnTo>
                  <a:pt x="1352" y="1474"/>
                </a:lnTo>
                <a:lnTo>
                  <a:pt x="1350" y="1474"/>
                </a:lnTo>
                <a:lnTo>
                  <a:pt x="1348" y="1474"/>
                </a:lnTo>
                <a:lnTo>
                  <a:pt x="1348" y="1473"/>
                </a:lnTo>
                <a:lnTo>
                  <a:pt x="1350" y="1473"/>
                </a:lnTo>
                <a:lnTo>
                  <a:pt x="1352" y="1473"/>
                </a:lnTo>
                <a:lnTo>
                  <a:pt x="1354" y="1473"/>
                </a:lnTo>
                <a:lnTo>
                  <a:pt x="1352" y="1473"/>
                </a:lnTo>
                <a:lnTo>
                  <a:pt x="1352" y="1471"/>
                </a:lnTo>
                <a:lnTo>
                  <a:pt x="1354" y="1471"/>
                </a:lnTo>
                <a:lnTo>
                  <a:pt x="1354" y="1473"/>
                </a:lnTo>
                <a:lnTo>
                  <a:pt x="1356" y="1473"/>
                </a:lnTo>
                <a:lnTo>
                  <a:pt x="1356" y="1471"/>
                </a:lnTo>
                <a:lnTo>
                  <a:pt x="1358" y="1471"/>
                </a:lnTo>
                <a:lnTo>
                  <a:pt x="1356" y="1471"/>
                </a:lnTo>
                <a:lnTo>
                  <a:pt x="1354" y="1471"/>
                </a:lnTo>
                <a:lnTo>
                  <a:pt x="1352" y="1471"/>
                </a:lnTo>
                <a:lnTo>
                  <a:pt x="1350" y="1471"/>
                </a:lnTo>
                <a:lnTo>
                  <a:pt x="1350" y="1469"/>
                </a:lnTo>
                <a:lnTo>
                  <a:pt x="1348" y="1469"/>
                </a:lnTo>
                <a:lnTo>
                  <a:pt x="1346" y="1469"/>
                </a:lnTo>
                <a:lnTo>
                  <a:pt x="1344" y="1469"/>
                </a:lnTo>
                <a:lnTo>
                  <a:pt x="1344" y="1467"/>
                </a:lnTo>
                <a:lnTo>
                  <a:pt x="1342" y="1467"/>
                </a:lnTo>
                <a:lnTo>
                  <a:pt x="1342" y="1465"/>
                </a:lnTo>
                <a:lnTo>
                  <a:pt x="1342" y="1463"/>
                </a:lnTo>
                <a:lnTo>
                  <a:pt x="1344" y="1463"/>
                </a:lnTo>
                <a:lnTo>
                  <a:pt x="1344" y="1465"/>
                </a:lnTo>
                <a:lnTo>
                  <a:pt x="1346" y="1465"/>
                </a:lnTo>
                <a:lnTo>
                  <a:pt x="1348" y="1465"/>
                </a:lnTo>
                <a:lnTo>
                  <a:pt x="1350" y="1465"/>
                </a:lnTo>
                <a:lnTo>
                  <a:pt x="1352" y="1465"/>
                </a:lnTo>
                <a:lnTo>
                  <a:pt x="1352" y="1467"/>
                </a:lnTo>
                <a:lnTo>
                  <a:pt x="1352" y="1465"/>
                </a:lnTo>
                <a:lnTo>
                  <a:pt x="1354" y="1465"/>
                </a:lnTo>
                <a:lnTo>
                  <a:pt x="1356" y="1465"/>
                </a:lnTo>
                <a:lnTo>
                  <a:pt x="1354" y="1465"/>
                </a:lnTo>
                <a:lnTo>
                  <a:pt x="1356" y="1465"/>
                </a:lnTo>
                <a:lnTo>
                  <a:pt x="1356" y="1467"/>
                </a:lnTo>
                <a:lnTo>
                  <a:pt x="1358" y="1467"/>
                </a:lnTo>
                <a:lnTo>
                  <a:pt x="1356" y="1467"/>
                </a:lnTo>
                <a:lnTo>
                  <a:pt x="1356" y="1465"/>
                </a:lnTo>
                <a:lnTo>
                  <a:pt x="1356" y="1463"/>
                </a:lnTo>
                <a:lnTo>
                  <a:pt x="1358" y="1463"/>
                </a:lnTo>
                <a:lnTo>
                  <a:pt x="1356" y="1463"/>
                </a:lnTo>
                <a:lnTo>
                  <a:pt x="1354" y="1463"/>
                </a:lnTo>
                <a:lnTo>
                  <a:pt x="1352" y="1463"/>
                </a:lnTo>
                <a:lnTo>
                  <a:pt x="1354" y="1463"/>
                </a:lnTo>
                <a:lnTo>
                  <a:pt x="1352" y="1463"/>
                </a:lnTo>
                <a:lnTo>
                  <a:pt x="1350" y="1463"/>
                </a:lnTo>
                <a:lnTo>
                  <a:pt x="1350" y="1461"/>
                </a:lnTo>
                <a:lnTo>
                  <a:pt x="1352" y="1461"/>
                </a:lnTo>
                <a:lnTo>
                  <a:pt x="1350" y="1459"/>
                </a:lnTo>
                <a:lnTo>
                  <a:pt x="1350" y="1461"/>
                </a:lnTo>
                <a:lnTo>
                  <a:pt x="1348" y="1461"/>
                </a:lnTo>
                <a:lnTo>
                  <a:pt x="1346" y="1459"/>
                </a:lnTo>
                <a:lnTo>
                  <a:pt x="1346" y="1457"/>
                </a:lnTo>
                <a:lnTo>
                  <a:pt x="1348" y="1457"/>
                </a:lnTo>
                <a:lnTo>
                  <a:pt x="1350" y="1457"/>
                </a:lnTo>
                <a:lnTo>
                  <a:pt x="1352" y="1457"/>
                </a:lnTo>
                <a:lnTo>
                  <a:pt x="1350" y="1457"/>
                </a:lnTo>
                <a:lnTo>
                  <a:pt x="1350" y="1455"/>
                </a:lnTo>
                <a:lnTo>
                  <a:pt x="1348" y="1455"/>
                </a:lnTo>
                <a:lnTo>
                  <a:pt x="1348" y="1457"/>
                </a:lnTo>
                <a:lnTo>
                  <a:pt x="1346" y="1457"/>
                </a:lnTo>
                <a:lnTo>
                  <a:pt x="1344" y="1457"/>
                </a:lnTo>
                <a:lnTo>
                  <a:pt x="1342" y="1457"/>
                </a:lnTo>
                <a:lnTo>
                  <a:pt x="1340" y="1457"/>
                </a:lnTo>
                <a:lnTo>
                  <a:pt x="1342" y="1457"/>
                </a:lnTo>
                <a:lnTo>
                  <a:pt x="1342" y="1455"/>
                </a:lnTo>
                <a:lnTo>
                  <a:pt x="1340" y="1455"/>
                </a:lnTo>
                <a:lnTo>
                  <a:pt x="1340" y="1457"/>
                </a:lnTo>
                <a:lnTo>
                  <a:pt x="1340" y="1455"/>
                </a:lnTo>
                <a:lnTo>
                  <a:pt x="1339" y="1455"/>
                </a:lnTo>
                <a:lnTo>
                  <a:pt x="1339" y="1453"/>
                </a:lnTo>
                <a:lnTo>
                  <a:pt x="1339" y="1451"/>
                </a:lnTo>
                <a:lnTo>
                  <a:pt x="1337" y="1451"/>
                </a:lnTo>
                <a:lnTo>
                  <a:pt x="1339" y="1451"/>
                </a:lnTo>
                <a:lnTo>
                  <a:pt x="1337" y="1451"/>
                </a:lnTo>
                <a:lnTo>
                  <a:pt x="1335" y="1449"/>
                </a:lnTo>
                <a:lnTo>
                  <a:pt x="1337" y="1449"/>
                </a:lnTo>
                <a:lnTo>
                  <a:pt x="1337" y="1448"/>
                </a:lnTo>
                <a:lnTo>
                  <a:pt x="1337" y="1446"/>
                </a:lnTo>
                <a:lnTo>
                  <a:pt x="1339" y="1446"/>
                </a:lnTo>
                <a:lnTo>
                  <a:pt x="1339" y="1448"/>
                </a:lnTo>
                <a:lnTo>
                  <a:pt x="1339" y="1449"/>
                </a:lnTo>
                <a:lnTo>
                  <a:pt x="1339" y="1448"/>
                </a:lnTo>
                <a:lnTo>
                  <a:pt x="1340" y="1448"/>
                </a:lnTo>
                <a:lnTo>
                  <a:pt x="1342" y="1448"/>
                </a:lnTo>
                <a:lnTo>
                  <a:pt x="1342" y="1449"/>
                </a:lnTo>
                <a:lnTo>
                  <a:pt x="1340" y="1449"/>
                </a:lnTo>
                <a:lnTo>
                  <a:pt x="1342" y="1449"/>
                </a:lnTo>
                <a:lnTo>
                  <a:pt x="1342" y="1451"/>
                </a:lnTo>
                <a:lnTo>
                  <a:pt x="1344" y="1449"/>
                </a:lnTo>
                <a:lnTo>
                  <a:pt x="1342" y="1449"/>
                </a:lnTo>
                <a:lnTo>
                  <a:pt x="1344" y="1449"/>
                </a:lnTo>
                <a:lnTo>
                  <a:pt x="1346" y="1451"/>
                </a:lnTo>
                <a:lnTo>
                  <a:pt x="1346" y="1453"/>
                </a:lnTo>
                <a:lnTo>
                  <a:pt x="1346" y="1451"/>
                </a:lnTo>
                <a:lnTo>
                  <a:pt x="1348" y="1451"/>
                </a:lnTo>
                <a:lnTo>
                  <a:pt x="1348" y="1453"/>
                </a:lnTo>
                <a:lnTo>
                  <a:pt x="1350" y="1453"/>
                </a:lnTo>
                <a:lnTo>
                  <a:pt x="1352" y="1455"/>
                </a:lnTo>
                <a:lnTo>
                  <a:pt x="1354" y="1455"/>
                </a:lnTo>
                <a:lnTo>
                  <a:pt x="1356" y="1457"/>
                </a:lnTo>
                <a:lnTo>
                  <a:pt x="1356" y="1455"/>
                </a:lnTo>
                <a:lnTo>
                  <a:pt x="1354" y="1455"/>
                </a:lnTo>
                <a:lnTo>
                  <a:pt x="1356" y="1455"/>
                </a:lnTo>
                <a:lnTo>
                  <a:pt x="1356" y="1453"/>
                </a:lnTo>
                <a:lnTo>
                  <a:pt x="1356" y="1455"/>
                </a:lnTo>
                <a:lnTo>
                  <a:pt x="1358" y="1455"/>
                </a:lnTo>
                <a:lnTo>
                  <a:pt x="1358" y="1457"/>
                </a:lnTo>
                <a:lnTo>
                  <a:pt x="1360" y="1457"/>
                </a:lnTo>
                <a:lnTo>
                  <a:pt x="1360" y="1459"/>
                </a:lnTo>
                <a:lnTo>
                  <a:pt x="1360" y="1461"/>
                </a:lnTo>
                <a:lnTo>
                  <a:pt x="1360" y="1459"/>
                </a:lnTo>
                <a:lnTo>
                  <a:pt x="1360" y="1457"/>
                </a:lnTo>
                <a:lnTo>
                  <a:pt x="1360" y="1455"/>
                </a:lnTo>
                <a:lnTo>
                  <a:pt x="1360" y="1453"/>
                </a:lnTo>
                <a:lnTo>
                  <a:pt x="1358" y="1453"/>
                </a:lnTo>
                <a:lnTo>
                  <a:pt x="1360" y="1453"/>
                </a:lnTo>
                <a:lnTo>
                  <a:pt x="1360" y="1451"/>
                </a:lnTo>
                <a:lnTo>
                  <a:pt x="1358" y="1451"/>
                </a:lnTo>
                <a:lnTo>
                  <a:pt x="1356" y="1451"/>
                </a:lnTo>
                <a:lnTo>
                  <a:pt x="1356" y="1453"/>
                </a:lnTo>
                <a:lnTo>
                  <a:pt x="1356" y="1451"/>
                </a:lnTo>
                <a:lnTo>
                  <a:pt x="1356" y="1453"/>
                </a:lnTo>
                <a:lnTo>
                  <a:pt x="1356" y="1451"/>
                </a:lnTo>
                <a:lnTo>
                  <a:pt x="1356" y="1453"/>
                </a:lnTo>
                <a:lnTo>
                  <a:pt x="1354" y="1453"/>
                </a:lnTo>
                <a:lnTo>
                  <a:pt x="1354" y="1451"/>
                </a:lnTo>
                <a:lnTo>
                  <a:pt x="1354" y="1453"/>
                </a:lnTo>
                <a:lnTo>
                  <a:pt x="1352" y="1451"/>
                </a:lnTo>
                <a:lnTo>
                  <a:pt x="1350" y="1451"/>
                </a:lnTo>
                <a:lnTo>
                  <a:pt x="1350" y="1449"/>
                </a:lnTo>
                <a:lnTo>
                  <a:pt x="1352" y="1449"/>
                </a:lnTo>
                <a:lnTo>
                  <a:pt x="1350" y="1449"/>
                </a:lnTo>
                <a:lnTo>
                  <a:pt x="1352" y="1449"/>
                </a:lnTo>
                <a:lnTo>
                  <a:pt x="1350" y="1449"/>
                </a:lnTo>
                <a:lnTo>
                  <a:pt x="1348" y="1449"/>
                </a:lnTo>
                <a:lnTo>
                  <a:pt x="1348" y="1448"/>
                </a:lnTo>
                <a:lnTo>
                  <a:pt x="1346" y="1448"/>
                </a:lnTo>
                <a:lnTo>
                  <a:pt x="1346" y="1446"/>
                </a:lnTo>
                <a:lnTo>
                  <a:pt x="1348" y="1446"/>
                </a:lnTo>
                <a:lnTo>
                  <a:pt x="1348" y="1444"/>
                </a:lnTo>
                <a:lnTo>
                  <a:pt x="1348" y="1446"/>
                </a:lnTo>
                <a:lnTo>
                  <a:pt x="1350" y="1446"/>
                </a:lnTo>
                <a:lnTo>
                  <a:pt x="1350" y="1444"/>
                </a:lnTo>
                <a:lnTo>
                  <a:pt x="1348" y="1444"/>
                </a:lnTo>
                <a:lnTo>
                  <a:pt x="1346" y="1444"/>
                </a:lnTo>
                <a:lnTo>
                  <a:pt x="1344" y="1444"/>
                </a:lnTo>
                <a:lnTo>
                  <a:pt x="1342" y="1442"/>
                </a:lnTo>
                <a:lnTo>
                  <a:pt x="1340" y="1440"/>
                </a:lnTo>
                <a:lnTo>
                  <a:pt x="1339" y="1440"/>
                </a:lnTo>
                <a:lnTo>
                  <a:pt x="1339" y="1438"/>
                </a:lnTo>
                <a:lnTo>
                  <a:pt x="1339" y="1434"/>
                </a:lnTo>
                <a:lnTo>
                  <a:pt x="1340" y="1432"/>
                </a:lnTo>
                <a:lnTo>
                  <a:pt x="1348" y="1434"/>
                </a:lnTo>
                <a:lnTo>
                  <a:pt x="1348" y="1432"/>
                </a:lnTo>
                <a:lnTo>
                  <a:pt x="1350" y="1432"/>
                </a:lnTo>
                <a:lnTo>
                  <a:pt x="1350" y="1434"/>
                </a:lnTo>
                <a:lnTo>
                  <a:pt x="1352" y="1434"/>
                </a:lnTo>
                <a:lnTo>
                  <a:pt x="1352" y="1432"/>
                </a:lnTo>
                <a:lnTo>
                  <a:pt x="1354" y="1432"/>
                </a:lnTo>
                <a:lnTo>
                  <a:pt x="1356" y="1432"/>
                </a:lnTo>
                <a:lnTo>
                  <a:pt x="1356" y="1430"/>
                </a:lnTo>
                <a:lnTo>
                  <a:pt x="1358" y="1430"/>
                </a:lnTo>
                <a:lnTo>
                  <a:pt x="1358" y="1432"/>
                </a:lnTo>
                <a:lnTo>
                  <a:pt x="1356" y="1432"/>
                </a:lnTo>
                <a:lnTo>
                  <a:pt x="1358" y="1432"/>
                </a:lnTo>
                <a:lnTo>
                  <a:pt x="1358" y="1434"/>
                </a:lnTo>
                <a:lnTo>
                  <a:pt x="1358" y="1436"/>
                </a:lnTo>
                <a:lnTo>
                  <a:pt x="1360" y="1438"/>
                </a:lnTo>
                <a:lnTo>
                  <a:pt x="1360" y="1436"/>
                </a:lnTo>
                <a:lnTo>
                  <a:pt x="1360" y="1434"/>
                </a:lnTo>
                <a:lnTo>
                  <a:pt x="1358" y="1434"/>
                </a:lnTo>
                <a:lnTo>
                  <a:pt x="1360" y="1434"/>
                </a:lnTo>
                <a:lnTo>
                  <a:pt x="1360" y="1432"/>
                </a:lnTo>
                <a:lnTo>
                  <a:pt x="1358" y="1432"/>
                </a:lnTo>
                <a:lnTo>
                  <a:pt x="1358" y="1430"/>
                </a:lnTo>
                <a:lnTo>
                  <a:pt x="1360" y="1430"/>
                </a:lnTo>
                <a:lnTo>
                  <a:pt x="1362" y="1430"/>
                </a:lnTo>
                <a:lnTo>
                  <a:pt x="1362" y="1432"/>
                </a:lnTo>
                <a:lnTo>
                  <a:pt x="1363" y="1432"/>
                </a:lnTo>
                <a:lnTo>
                  <a:pt x="1363" y="1434"/>
                </a:lnTo>
                <a:lnTo>
                  <a:pt x="1365" y="1434"/>
                </a:lnTo>
                <a:lnTo>
                  <a:pt x="1365" y="1436"/>
                </a:lnTo>
                <a:lnTo>
                  <a:pt x="1367" y="1436"/>
                </a:lnTo>
                <a:lnTo>
                  <a:pt x="1367" y="1438"/>
                </a:lnTo>
                <a:lnTo>
                  <a:pt x="1369" y="1438"/>
                </a:lnTo>
                <a:lnTo>
                  <a:pt x="1369" y="1440"/>
                </a:lnTo>
                <a:lnTo>
                  <a:pt x="1371" y="1440"/>
                </a:lnTo>
                <a:lnTo>
                  <a:pt x="1371" y="1438"/>
                </a:lnTo>
                <a:lnTo>
                  <a:pt x="1371" y="1436"/>
                </a:lnTo>
                <a:lnTo>
                  <a:pt x="1373" y="1436"/>
                </a:lnTo>
                <a:lnTo>
                  <a:pt x="1371" y="1436"/>
                </a:lnTo>
                <a:lnTo>
                  <a:pt x="1369" y="1436"/>
                </a:lnTo>
                <a:lnTo>
                  <a:pt x="1371" y="1436"/>
                </a:lnTo>
                <a:lnTo>
                  <a:pt x="1369" y="1436"/>
                </a:lnTo>
                <a:lnTo>
                  <a:pt x="1371" y="1436"/>
                </a:lnTo>
                <a:lnTo>
                  <a:pt x="1369" y="1436"/>
                </a:lnTo>
                <a:lnTo>
                  <a:pt x="1369" y="1434"/>
                </a:lnTo>
                <a:lnTo>
                  <a:pt x="1369" y="1432"/>
                </a:lnTo>
                <a:lnTo>
                  <a:pt x="1367" y="1432"/>
                </a:lnTo>
                <a:lnTo>
                  <a:pt x="1365" y="1430"/>
                </a:lnTo>
                <a:lnTo>
                  <a:pt x="1363" y="1430"/>
                </a:lnTo>
                <a:lnTo>
                  <a:pt x="1363" y="1428"/>
                </a:lnTo>
                <a:lnTo>
                  <a:pt x="1365" y="1428"/>
                </a:lnTo>
                <a:lnTo>
                  <a:pt x="1365" y="1426"/>
                </a:lnTo>
                <a:lnTo>
                  <a:pt x="1365" y="1428"/>
                </a:lnTo>
                <a:lnTo>
                  <a:pt x="1363" y="1428"/>
                </a:lnTo>
                <a:lnTo>
                  <a:pt x="1362" y="1428"/>
                </a:lnTo>
                <a:lnTo>
                  <a:pt x="1360" y="1428"/>
                </a:lnTo>
                <a:lnTo>
                  <a:pt x="1358" y="1428"/>
                </a:lnTo>
                <a:lnTo>
                  <a:pt x="1356" y="1428"/>
                </a:lnTo>
                <a:lnTo>
                  <a:pt x="1354" y="1428"/>
                </a:lnTo>
                <a:lnTo>
                  <a:pt x="1354" y="1426"/>
                </a:lnTo>
                <a:lnTo>
                  <a:pt x="1356" y="1426"/>
                </a:lnTo>
                <a:lnTo>
                  <a:pt x="1356" y="1425"/>
                </a:lnTo>
                <a:lnTo>
                  <a:pt x="1356" y="1426"/>
                </a:lnTo>
                <a:lnTo>
                  <a:pt x="1354" y="1426"/>
                </a:lnTo>
                <a:lnTo>
                  <a:pt x="1352" y="1426"/>
                </a:lnTo>
                <a:lnTo>
                  <a:pt x="1350" y="1428"/>
                </a:lnTo>
                <a:lnTo>
                  <a:pt x="1350" y="1426"/>
                </a:lnTo>
                <a:lnTo>
                  <a:pt x="1350" y="1428"/>
                </a:lnTo>
                <a:lnTo>
                  <a:pt x="1350" y="1426"/>
                </a:lnTo>
                <a:lnTo>
                  <a:pt x="1348" y="1428"/>
                </a:lnTo>
                <a:lnTo>
                  <a:pt x="1346" y="1428"/>
                </a:lnTo>
                <a:lnTo>
                  <a:pt x="1344" y="1428"/>
                </a:lnTo>
                <a:lnTo>
                  <a:pt x="1344" y="1426"/>
                </a:lnTo>
                <a:lnTo>
                  <a:pt x="1342" y="1426"/>
                </a:lnTo>
                <a:lnTo>
                  <a:pt x="1342" y="1425"/>
                </a:lnTo>
                <a:lnTo>
                  <a:pt x="1340" y="1425"/>
                </a:lnTo>
                <a:lnTo>
                  <a:pt x="1342" y="1425"/>
                </a:lnTo>
                <a:lnTo>
                  <a:pt x="1344" y="1425"/>
                </a:lnTo>
                <a:lnTo>
                  <a:pt x="1346" y="1425"/>
                </a:lnTo>
                <a:lnTo>
                  <a:pt x="1344" y="1425"/>
                </a:lnTo>
                <a:lnTo>
                  <a:pt x="1346" y="1425"/>
                </a:lnTo>
                <a:lnTo>
                  <a:pt x="1346" y="1423"/>
                </a:lnTo>
                <a:lnTo>
                  <a:pt x="1348" y="1423"/>
                </a:lnTo>
                <a:lnTo>
                  <a:pt x="1346" y="1423"/>
                </a:lnTo>
                <a:lnTo>
                  <a:pt x="1344" y="1423"/>
                </a:lnTo>
                <a:lnTo>
                  <a:pt x="1344" y="1421"/>
                </a:lnTo>
                <a:lnTo>
                  <a:pt x="1344" y="1419"/>
                </a:lnTo>
                <a:lnTo>
                  <a:pt x="1342" y="1419"/>
                </a:lnTo>
                <a:lnTo>
                  <a:pt x="1340" y="1419"/>
                </a:lnTo>
                <a:lnTo>
                  <a:pt x="1340" y="1421"/>
                </a:lnTo>
                <a:lnTo>
                  <a:pt x="1340" y="1419"/>
                </a:lnTo>
                <a:lnTo>
                  <a:pt x="1340" y="1421"/>
                </a:lnTo>
                <a:lnTo>
                  <a:pt x="1339" y="1421"/>
                </a:lnTo>
                <a:lnTo>
                  <a:pt x="1339" y="1423"/>
                </a:lnTo>
                <a:lnTo>
                  <a:pt x="1339" y="1421"/>
                </a:lnTo>
                <a:lnTo>
                  <a:pt x="1337" y="1421"/>
                </a:lnTo>
                <a:lnTo>
                  <a:pt x="1339" y="1421"/>
                </a:lnTo>
                <a:lnTo>
                  <a:pt x="1339" y="1419"/>
                </a:lnTo>
                <a:lnTo>
                  <a:pt x="1337" y="1419"/>
                </a:lnTo>
                <a:lnTo>
                  <a:pt x="1339" y="1419"/>
                </a:lnTo>
                <a:lnTo>
                  <a:pt x="1339" y="1417"/>
                </a:lnTo>
                <a:lnTo>
                  <a:pt x="1340" y="1417"/>
                </a:lnTo>
                <a:lnTo>
                  <a:pt x="1340" y="1415"/>
                </a:lnTo>
                <a:lnTo>
                  <a:pt x="1340" y="1417"/>
                </a:lnTo>
                <a:lnTo>
                  <a:pt x="1339" y="1417"/>
                </a:lnTo>
                <a:lnTo>
                  <a:pt x="1339" y="1415"/>
                </a:lnTo>
                <a:lnTo>
                  <a:pt x="1337" y="1415"/>
                </a:lnTo>
                <a:lnTo>
                  <a:pt x="1337" y="1417"/>
                </a:lnTo>
                <a:lnTo>
                  <a:pt x="1337" y="1415"/>
                </a:lnTo>
                <a:lnTo>
                  <a:pt x="1337" y="1417"/>
                </a:lnTo>
                <a:lnTo>
                  <a:pt x="1337" y="1419"/>
                </a:lnTo>
                <a:lnTo>
                  <a:pt x="1335" y="1419"/>
                </a:lnTo>
                <a:lnTo>
                  <a:pt x="1333" y="1419"/>
                </a:lnTo>
                <a:lnTo>
                  <a:pt x="1333" y="1417"/>
                </a:lnTo>
                <a:lnTo>
                  <a:pt x="1333" y="1419"/>
                </a:lnTo>
                <a:lnTo>
                  <a:pt x="1333" y="1417"/>
                </a:lnTo>
                <a:lnTo>
                  <a:pt x="1331" y="1417"/>
                </a:lnTo>
                <a:lnTo>
                  <a:pt x="1331" y="1419"/>
                </a:lnTo>
                <a:lnTo>
                  <a:pt x="1329" y="1419"/>
                </a:lnTo>
                <a:lnTo>
                  <a:pt x="1329" y="1417"/>
                </a:lnTo>
                <a:lnTo>
                  <a:pt x="1329" y="1419"/>
                </a:lnTo>
                <a:lnTo>
                  <a:pt x="1329" y="1417"/>
                </a:lnTo>
                <a:lnTo>
                  <a:pt x="1331" y="1417"/>
                </a:lnTo>
                <a:lnTo>
                  <a:pt x="1331" y="1415"/>
                </a:lnTo>
                <a:lnTo>
                  <a:pt x="1329" y="1415"/>
                </a:lnTo>
                <a:lnTo>
                  <a:pt x="1327" y="1415"/>
                </a:lnTo>
                <a:lnTo>
                  <a:pt x="1329" y="1415"/>
                </a:lnTo>
                <a:lnTo>
                  <a:pt x="1329" y="1413"/>
                </a:lnTo>
                <a:lnTo>
                  <a:pt x="1331" y="1415"/>
                </a:lnTo>
                <a:lnTo>
                  <a:pt x="1333" y="1415"/>
                </a:lnTo>
                <a:lnTo>
                  <a:pt x="1331" y="1415"/>
                </a:lnTo>
                <a:lnTo>
                  <a:pt x="1331" y="1413"/>
                </a:lnTo>
                <a:lnTo>
                  <a:pt x="1329" y="1413"/>
                </a:lnTo>
                <a:lnTo>
                  <a:pt x="1331" y="1413"/>
                </a:lnTo>
                <a:lnTo>
                  <a:pt x="1333" y="1413"/>
                </a:lnTo>
                <a:lnTo>
                  <a:pt x="1335" y="1413"/>
                </a:lnTo>
                <a:lnTo>
                  <a:pt x="1335" y="1411"/>
                </a:lnTo>
                <a:lnTo>
                  <a:pt x="1333" y="1411"/>
                </a:lnTo>
                <a:lnTo>
                  <a:pt x="1333" y="1413"/>
                </a:lnTo>
                <a:lnTo>
                  <a:pt x="1333" y="1411"/>
                </a:lnTo>
                <a:lnTo>
                  <a:pt x="1331" y="1411"/>
                </a:lnTo>
                <a:lnTo>
                  <a:pt x="1333" y="1411"/>
                </a:lnTo>
                <a:lnTo>
                  <a:pt x="1333" y="1409"/>
                </a:lnTo>
                <a:lnTo>
                  <a:pt x="1335" y="1409"/>
                </a:lnTo>
                <a:lnTo>
                  <a:pt x="1333" y="1409"/>
                </a:lnTo>
                <a:lnTo>
                  <a:pt x="1335" y="1409"/>
                </a:lnTo>
                <a:lnTo>
                  <a:pt x="1337" y="1409"/>
                </a:lnTo>
                <a:lnTo>
                  <a:pt x="1335" y="1409"/>
                </a:lnTo>
                <a:lnTo>
                  <a:pt x="1333" y="1409"/>
                </a:lnTo>
                <a:lnTo>
                  <a:pt x="1333" y="1407"/>
                </a:lnTo>
                <a:lnTo>
                  <a:pt x="1335" y="1407"/>
                </a:lnTo>
                <a:lnTo>
                  <a:pt x="1333" y="1407"/>
                </a:lnTo>
                <a:lnTo>
                  <a:pt x="1333" y="1409"/>
                </a:lnTo>
                <a:lnTo>
                  <a:pt x="1331" y="1409"/>
                </a:lnTo>
                <a:lnTo>
                  <a:pt x="1331" y="1411"/>
                </a:lnTo>
                <a:lnTo>
                  <a:pt x="1329" y="1411"/>
                </a:lnTo>
                <a:lnTo>
                  <a:pt x="1329" y="1413"/>
                </a:lnTo>
                <a:lnTo>
                  <a:pt x="1327" y="1413"/>
                </a:lnTo>
                <a:lnTo>
                  <a:pt x="1327" y="1411"/>
                </a:lnTo>
                <a:lnTo>
                  <a:pt x="1327" y="1413"/>
                </a:lnTo>
                <a:lnTo>
                  <a:pt x="1327" y="1411"/>
                </a:lnTo>
                <a:lnTo>
                  <a:pt x="1327" y="1409"/>
                </a:lnTo>
                <a:lnTo>
                  <a:pt x="1329" y="1409"/>
                </a:lnTo>
                <a:lnTo>
                  <a:pt x="1331" y="1407"/>
                </a:lnTo>
                <a:lnTo>
                  <a:pt x="1333" y="1407"/>
                </a:lnTo>
                <a:lnTo>
                  <a:pt x="1333" y="1405"/>
                </a:lnTo>
                <a:lnTo>
                  <a:pt x="1335" y="1405"/>
                </a:lnTo>
                <a:lnTo>
                  <a:pt x="1335" y="1403"/>
                </a:lnTo>
                <a:lnTo>
                  <a:pt x="1337" y="1403"/>
                </a:lnTo>
                <a:lnTo>
                  <a:pt x="1339" y="1403"/>
                </a:lnTo>
                <a:lnTo>
                  <a:pt x="1339" y="1405"/>
                </a:lnTo>
                <a:lnTo>
                  <a:pt x="1339" y="1403"/>
                </a:lnTo>
                <a:lnTo>
                  <a:pt x="1339" y="1401"/>
                </a:lnTo>
                <a:lnTo>
                  <a:pt x="1340" y="1401"/>
                </a:lnTo>
                <a:lnTo>
                  <a:pt x="1340" y="1400"/>
                </a:lnTo>
                <a:lnTo>
                  <a:pt x="1342" y="1400"/>
                </a:lnTo>
                <a:lnTo>
                  <a:pt x="1342" y="1398"/>
                </a:lnTo>
                <a:lnTo>
                  <a:pt x="1340" y="1398"/>
                </a:lnTo>
                <a:lnTo>
                  <a:pt x="1339" y="1400"/>
                </a:lnTo>
                <a:lnTo>
                  <a:pt x="1339" y="1401"/>
                </a:lnTo>
                <a:lnTo>
                  <a:pt x="1337" y="1401"/>
                </a:lnTo>
                <a:lnTo>
                  <a:pt x="1335" y="1401"/>
                </a:lnTo>
                <a:lnTo>
                  <a:pt x="1333" y="1403"/>
                </a:lnTo>
                <a:lnTo>
                  <a:pt x="1331" y="1403"/>
                </a:lnTo>
                <a:lnTo>
                  <a:pt x="1331" y="1401"/>
                </a:lnTo>
                <a:lnTo>
                  <a:pt x="1329" y="1401"/>
                </a:lnTo>
                <a:lnTo>
                  <a:pt x="1331" y="1401"/>
                </a:lnTo>
                <a:lnTo>
                  <a:pt x="1329" y="1401"/>
                </a:lnTo>
                <a:lnTo>
                  <a:pt x="1329" y="1403"/>
                </a:lnTo>
                <a:lnTo>
                  <a:pt x="1331" y="1403"/>
                </a:lnTo>
                <a:lnTo>
                  <a:pt x="1331" y="1405"/>
                </a:lnTo>
                <a:lnTo>
                  <a:pt x="1329" y="1405"/>
                </a:lnTo>
                <a:lnTo>
                  <a:pt x="1327" y="1405"/>
                </a:lnTo>
                <a:lnTo>
                  <a:pt x="1327" y="1403"/>
                </a:lnTo>
                <a:lnTo>
                  <a:pt x="1325" y="1405"/>
                </a:lnTo>
                <a:lnTo>
                  <a:pt x="1327" y="1405"/>
                </a:lnTo>
                <a:lnTo>
                  <a:pt x="1327" y="1407"/>
                </a:lnTo>
                <a:lnTo>
                  <a:pt x="1325" y="1407"/>
                </a:lnTo>
                <a:lnTo>
                  <a:pt x="1325" y="1409"/>
                </a:lnTo>
                <a:lnTo>
                  <a:pt x="1323" y="1409"/>
                </a:lnTo>
                <a:lnTo>
                  <a:pt x="1323" y="1411"/>
                </a:lnTo>
                <a:lnTo>
                  <a:pt x="1321" y="1411"/>
                </a:lnTo>
                <a:lnTo>
                  <a:pt x="1323" y="1411"/>
                </a:lnTo>
                <a:lnTo>
                  <a:pt x="1321" y="1411"/>
                </a:lnTo>
                <a:lnTo>
                  <a:pt x="1321" y="1413"/>
                </a:lnTo>
                <a:lnTo>
                  <a:pt x="1321" y="1411"/>
                </a:lnTo>
                <a:lnTo>
                  <a:pt x="1319" y="1411"/>
                </a:lnTo>
                <a:lnTo>
                  <a:pt x="1321" y="1411"/>
                </a:lnTo>
                <a:lnTo>
                  <a:pt x="1319" y="1411"/>
                </a:lnTo>
                <a:lnTo>
                  <a:pt x="1319" y="1409"/>
                </a:lnTo>
                <a:lnTo>
                  <a:pt x="1321" y="1409"/>
                </a:lnTo>
                <a:lnTo>
                  <a:pt x="1319" y="1409"/>
                </a:lnTo>
                <a:lnTo>
                  <a:pt x="1321" y="1409"/>
                </a:lnTo>
                <a:lnTo>
                  <a:pt x="1323" y="1407"/>
                </a:lnTo>
                <a:lnTo>
                  <a:pt x="1321" y="1407"/>
                </a:lnTo>
                <a:lnTo>
                  <a:pt x="1319" y="1407"/>
                </a:lnTo>
                <a:lnTo>
                  <a:pt x="1321" y="1405"/>
                </a:lnTo>
                <a:lnTo>
                  <a:pt x="1321" y="1407"/>
                </a:lnTo>
                <a:lnTo>
                  <a:pt x="1321" y="1405"/>
                </a:lnTo>
                <a:lnTo>
                  <a:pt x="1323" y="1405"/>
                </a:lnTo>
                <a:lnTo>
                  <a:pt x="1323" y="1403"/>
                </a:lnTo>
                <a:lnTo>
                  <a:pt x="1323" y="1405"/>
                </a:lnTo>
                <a:lnTo>
                  <a:pt x="1325" y="1405"/>
                </a:lnTo>
                <a:lnTo>
                  <a:pt x="1325" y="1403"/>
                </a:lnTo>
                <a:lnTo>
                  <a:pt x="1323" y="1403"/>
                </a:lnTo>
                <a:lnTo>
                  <a:pt x="1321" y="1403"/>
                </a:lnTo>
                <a:lnTo>
                  <a:pt x="1321" y="1401"/>
                </a:lnTo>
                <a:lnTo>
                  <a:pt x="1319" y="1401"/>
                </a:lnTo>
                <a:lnTo>
                  <a:pt x="1319" y="1403"/>
                </a:lnTo>
                <a:lnTo>
                  <a:pt x="1321" y="1403"/>
                </a:lnTo>
                <a:lnTo>
                  <a:pt x="1319" y="1405"/>
                </a:lnTo>
                <a:lnTo>
                  <a:pt x="1317" y="1405"/>
                </a:lnTo>
                <a:lnTo>
                  <a:pt x="1317" y="1403"/>
                </a:lnTo>
                <a:lnTo>
                  <a:pt x="1317" y="1405"/>
                </a:lnTo>
                <a:lnTo>
                  <a:pt x="1317" y="1407"/>
                </a:lnTo>
                <a:lnTo>
                  <a:pt x="1317" y="1409"/>
                </a:lnTo>
                <a:lnTo>
                  <a:pt x="1315" y="1409"/>
                </a:lnTo>
                <a:lnTo>
                  <a:pt x="1314" y="1409"/>
                </a:lnTo>
                <a:lnTo>
                  <a:pt x="1314" y="1407"/>
                </a:lnTo>
                <a:lnTo>
                  <a:pt x="1315" y="1407"/>
                </a:lnTo>
                <a:lnTo>
                  <a:pt x="1314" y="1407"/>
                </a:lnTo>
                <a:lnTo>
                  <a:pt x="1315" y="1407"/>
                </a:lnTo>
                <a:lnTo>
                  <a:pt x="1315" y="1405"/>
                </a:lnTo>
                <a:lnTo>
                  <a:pt x="1315" y="1407"/>
                </a:lnTo>
                <a:lnTo>
                  <a:pt x="1315" y="1405"/>
                </a:lnTo>
                <a:lnTo>
                  <a:pt x="1314" y="1405"/>
                </a:lnTo>
                <a:lnTo>
                  <a:pt x="1312" y="1403"/>
                </a:lnTo>
                <a:lnTo>
                  <a:pt x="1312" y="1405"/>
                </a:lnTo>
                <a:lnTo>
                  <a:pt x="1310" y="1405"/>
                </a:lnTo>
                <a:lnTo>
                  <a:pt x="1310" y="1403"/>
                </a:lnTo>
                <a:lnTo>
                  <a:pt x="1310" y="1401"/>
                </a:lnTo>
                <a:lnTo>
                  <a:pt x="1310" y="1403"/>
                </a:lnTo>
                <a:lnTo>
                  <a:pt x="1308" y="1403"/>
                </a:lnTo>
                <a:lnTo>
                  <a:pt x="1306" y="1403"/>
                </a:lnTo>
                <a:lnTo>
                  <a:pt x="1306" y="1401"/>
                </a:lnTo>
                <a:lnTo>
                  <a:pt x="1308" y="1401"/>
                </a:lnTo>
                <a:lnTo>
                  <a:pt x="1306" y="1401"/>
                </a:lnTo>
                <a:lnTo>
                  <a:pt x="1306" y="1400"/>
                </a:lnTo>
                <a:lnTo>
                  <a:pt x="1306" y="1401"/>
                </a:lnTo>
                <a:lnTo>
                  <a:pt x="1304" y="1401"/>
                </a:lnTo>
                <a:lnTo>
                  <a:pt x="1304" y="1400"/>
                </a:lnTo>
                <a:lnTo>
                  <a:pt x="1304" y="1398"/>
                </a:lnTo>
                <a:lnTo>
                  <a:pt x="1306" y="1398"/>
                </a:lnTo>
                <a:lnTo>
                  <a:pt x="1306" y="1396"/>
                </a:lnTo>
                <a:lnTo>
                  <a:pt x="1308" y="1396"/>
                </a:lnTo>
                <a:lnTo>
                  <a:pt x="1310" y="1396"/>
                </a:lnTo>
                <a:lnTo>
                  <a:pt x="1312" y="1396"/>
                </a:lnTo>
                <a:lnTo>
                  <a:pt x="1312" y="1394"/>
                </a:lnTo>
                <a:lnTo>
                  <a:pt x="1314" y="1394"/>
                </a:lnTo>
                <a:lnTo>
                  <a:pt x="1315" y="1394"/>
                </a:lnTo>
                <a:lnTo>
                  <a:pt x="1317" y="1394"/>
                </a:lnTo>
                <a:lnTo>
                  <a:pt x="1319" y="1394"/>
                </a:lnTo>
                <a:lnTo>
                  <a:pt x="1317" y="1394"/>
                </a:lnTo>
                <a:lnTo>
                  <a:pt x="1319" y="1394"/>
                </a:lnTo>
                <a:lnTo>
                  <a:pt x="1321" y="1394"/>
                </a:lnTo>
                <a:lnTo>
                  <a:pt x="1323" y="1394"/>
                </a:lnTo>
                <a:lnTo>
                  <a:pt x="1323" y="1392"/>
                </a:lnTo>
                <a:lnTo>
                  <a:pt x="1325" y="1392"/>
                </a:lnTo>
                <a:lnTo>
                  <a:pt x="1327" y="1392"/>
                </a:lnTo>
                <a:lnTo>
                  <a:pt x="1327" y="1390"/>
                </a:lnTo>
                <a:lnTo>
                  <a:pt x="1329" y="1390"/>
                </a:lnTo>
                <a:lnTo>
                  <a:pt x="1331" y="1390"/>
                </a:lnTo>
                <a:lnTo>
                  <a:pt x="1333" y="1390"/>
                </a:lnTo>
                <a:lnTo>
                  <a:pt x="1335" y="1390"/>
                </a:lnTo>
                <a:lnTo>
                  <a:pt x="1337" y="1390"/>
                </a:lnTo>
                <a:lnTo>
                  <a:pt x="1339" y="1390"/>
                </a:lnTo>
                <a:lnTo>
                  <a:pt x="1340" y="1390"/>
                </a:lnTo>
                <a:lnTo>
                  <a:pt x="1340" y="1392"/>
                </a:lnTo>
                <a:lnTo>
                  <a:pt x="1340" y="1390"/>
                </a:lnTo>
                <a:lnTo>
                  <a:pt x="1342" y="1390"/>
                </a:lnTo>
                <a:lnTo>
                  <a:pt x="1340" y="1390"/>
                </a:lnTo>
                <a:lnTo>
                  <a:pt x="1340" y="1388"/>
                </a:lnTo>
                <a:lnTo>
                  <a:pt x="1342" y="1388"/>
                </a:lnTo>
                <a:lnTo>
                  <a:pt x="1344" y="1388"/>
                </a:lnTo>
                <a:lnTo>
                  <a:pt x="1346" y="1388"/>
                </a:lnTo>
                <a:lnTo>
                  <a:pt x="1344" y="1386"/>
                </a:lnTo>
                <a:lnTo>
                  <a:pt x="1342" y="1386"/>
                </a:lnTo>
                <a:lnTo>
                  <a:pt x="1339" y="1386"/>
                </a:lnTo>
                <a:lnTo>
                  <a:pt x="1337" y="1388"/>
                </a:lnTo>
                <a:lnTo>
                  <a:pt x="1337" y="1386"/>
                </a:lnTo>
                <a:lnTo>
                  <a:pt x="1337" y="1388"/>
                </a:lnTo>
                <a:lnTo>
                  <a:pt x="1335" y="1388"/>
                </a:lnTo>
                <a:lnTo>
                  <a:pt x="1337" y="1386"/>
                </a:lnTo>
                <a:lnTo>
                  <a:pt x="1335" y="1386"/>
                </a:lnTo>
                <a:lnTo>
                  <a:pt x="1335" y="1388"/>
                </a:lnTo>
                <a:lnTo>
                  <a:pt x="1335" y="1386"/>
                </a:lnTo>
                <a:lnTo>
                  <a:pt x="1335" y="1388"/>
                </a:lnTo>
                <a:lnTo>
                  <a:pt x="1335" y="1386"/>
                </a:lnTo>
                <a:lnTo>
                  <a:pt x="1333" y="1388"/>
                </a:lnTo>
                <a:lnTo>
                  <a:pt x="1331" y="1388"/>
                </a:lnTo>
                <a:lnTo>
                  <a:pt x="1329" y="1388"/>
                </a:lnTo>
                <a:lnTo>
                  <a:pt x="1327" y="1388"/>
                </a:lnTo>
                <a:lnTo>
                  <a:pt x="1325" y="1388"/>
                </a:lnTo>
                <a:lnTo>
                  <a:pt x="1325" y="1390"/>
                </a:lnTo>
                <a:lnTo>
                  <a:pt x="1323" y="1390"/>
                </a:lnTo>
                <a:lnTo>
                  <a:pt x="1321" y="1390"/>
                </a:lnTo>
                <a:lnTo>
                  <a:pt x="1319" y="1390"/>
                </a:lnTo>
                <a:lnTo>
                  <a:pt x="1319" y="1388"/>
                </a:lnTo>
                <a:lnTo>
                  <a:pt x="1321" y="1388"/>
                </a:lnTo>
                <a:lnTo>
                  <a:pt x="1319" y="1388"/>
                </a:lnTo>
                <a:lnTo>
                  <a:pt x="1319" y="1386"/>
                </a:lnTo>
                <a:lnTo>
                  <a:pt x="1321" y="1384"/>
                </a:lnTo>
                <a:lnTo>
                  <a:pt x="1323" y="1384"/>
                </a:lnTo>
                <a:lnTo>
                  <a:pt x="1323" y="1382"/>
                </a:lnTo>
                <a:lnTo>
                  <a:pt x="1325" y="1382"/>
                </a:lnTo>
                <a:lnTo>
                  <a:pt x="1325" y="1380"/>
                </a:lnTo>
                <a:lnTo>
                  <a:pt x="1323" y="1380"/>
                </a:lnTo>
                <a:lnTo>
                  <a:pt x="1321" y="1382"/>
                </a:lnTo>
                <a:lnTo>
                  <a:pt x="1319" y="1380"/>
                </a:lnTo>
                <a:lnTo>
                  <a:pt x="1319" y="1378"/>
                </a:lnTo>
                <a:lnTo>
                  <a:pt x="1317" y="1378"/>
                </a:lnTo>
                <a:lnTo>
                  <a:pt x="1317" y="1380"/>
                </a:lnTo>
                <a:lnTo>
                  <a:pt x="1317" y="1378"/>
                </a:lnTo>
                <a:lnTo>
                  <a:pt x="1315" y="1378"/>
                </a:lnTo>
                <a:lnTo>
                  <a:pt x="1315" y="1377"/>
                </a:lnTo>
                <a:lnTo>
                  <a:pt x="1314" y="1377"/>
                </a:lnTo>
                <a:lnTo>
                  <a:pt x="1314" y="1378"/>
                </a:lnTo>
                <a:lnTo>
                  <a:pt x="1312" y="1380"/>
                </a:lnTo>
                <a:lnTo>
                  <a:pt x="1310" y="1380"/>
                </a:lnTo>
                <a:lnTo>
                  <a:pt x="1308" y="1380"/>
                </a:lnTo>
                <a:lnTo>
                  <a:pt x="1310" y="1380"/>
                </a:lnTo>
                <a:lnTo>
                  <a:pt x="1310" y="1382"/>
                </a:lnTo>
                <a:lnTo>
                  <a:pt x="1310" y="1380"/>
                </a:lnTo>
                <a:lnTo>
                  <a:pt x="1312" y="1380"/>
                </a:lnTo>
                <a:lnTo>
                  <a:pt x="1314" y="1380"/>
                </a:lnTo>
                <a:lnTo>
                  <a:pt x="1315" y="1380"/>
                </a:lnTo>
                <a:lnTo>
                  <a:pt x="1317" y="1380"/>
                </a:lnTo>
                <a:lnTo>
                  <a:pt x="1317" y="1382"/>
                </a:lnTo>
                <a:lnTo>
                  <a:pt x="1317" y="1380"/>
                </a:lnTo>
                <a:lnTo>
                  <a:pt x="1319" y="1382"/>
                </a:lnTo>
                <a:lnTo>
                  <a:pt x="1321" y="1384"/>
                </a:lnTo>
                <a:lnTo>
                  <a:pt x="1319" y="1384"/>
                </a:lnTo>
                <a:lnTo>
                  <a:pt x="1317" y="1386"/>
                </a:lnTo>
                <a:lnTo>
                  <a:pt x="1315" y="1386"/>
                </a:lnTo>
                <a:lnTo>
                  <a:pt x="1315" y="1388"/>
                </a:lnTo>
                <a:lnTo>
                  <a:pt x="1315" y="1386"/>
                </a:lnTo>
                <a:lnTo>
                  <a:pt x="1314" y="1386"/>
                </a:lnTo>
                <a:lnTo>
                  <a:pt x="1315" y="1386"/>
                </a:lnTo>
                <a:lnTo>
                  <a:pt x="1314" y="1386"/>
                </a:lnTo>
                <a:lnTo>
                  <a:pt x="1314" y="1388"/>
                </a:lnTo>
                <a:lnTo>
                  <a:pt x="1312" y="1388"/>
                </a:lnTo>
                <a:lnTo>
                  <a:pt x="1312" y="1386"/>
                </a:lnTo>
                <a:lnTo>
                  <a:pt x="1312" y="1388"/>
                </a:lnTo>
                <a:lnTo>
                  <a:pt x="1310" y="1388"/>
                </a:lnTo>
                <a:lnTo>
                  <a:pt x="1310" y="1386"/>
                </a:lnTo>
                <a:lnTo>
                  <a:pt x="1310" y="1384"/>
                </a:lnTo>
                <a:lnTo>
                  <a:pt x="1310" y="1386"/>
                </a:lnTo>
                <a:lnTo>
                  <a:pt x="1308" y="1386"/>
                </a:lnTo>
                <a:lnTo>
                  <a:pt x="1308" y="1388"/>
                </a:lnTo>
                <a:lnTo>
                  <a:pt x="1306" y="1388"/>
                </a:lnTo>
                <a:lnTo>
                  <a:pt x="1308" y="1388"/>
                </a:lnTo>
                <a:lnTo>
                  <a:pt x="1308" y="1386"/>
                </a:lnTo>
                <a:lnTo>
                  <a:pt x="1306" y="1386"/>
                </a:lnTo>
                <a:lnTo>
                  <a:pt x="1306" y="1388"/>
                </a:lnTo>
                <a:lnTo>
                  <a:pt x="1306" y="1390"/>
                </a:lnTo>
                <a:lnTo>
                  <a:pt x="1304" y="1390"/>
                </a:lnTo>
                <a:lnTo>
                  <a:pt x="1302" y="1392"/>
                </a:lnTo>
                <a:lnTo>
                  <a:pt x="1302" y="1390"/>
                </a:lnTo>
                <a:lnTo>
                  <a:pt x="1302" y="1388"/>
                </a:lnTo>
                <a:lnTo>
                  <a:pt x="1300" y="1388"/>
                </a:lnTo>
                <a:lnTo>
                  <a:pt x="1300" y="1390"/>
                </a:lnTo>
                <a:lnTo>
                  <a:pt x="1300" y="1392"/>
                </a:lnTo>
                <a:lnTo>
                  <a:pt x="1298" y="1392"/>
                </a:lnTo>
                <a:lnTo>
                  <a:pt x="1300" y="1392"/>
                </a:lnTo>
                <a:lnTo>
                  <a:pt x="1298" y="1390"/>
                </a:lnTo>
                <a:lnTo>
                  <a:pt x="1298" y="1388"/>
                </a:lnTo>
                <a:lnTo>
                  <a:pt x="1298" y="1386"/>
                </a:lnTo>
                <a:lnTo>
                  <a:pt x="1298" y="1384"/>
                </a:lnTo>
                <a:lnTo>
                  <a:pt x="1296" y="1384"/>
                </a:lnTo>
                <a:lnTo>
                  <a:pt x="1294" y="1384"/>
                </a:lnTo>
                <a:lnTo>
                  <a:pt x="1294" y="1382"/>
                </a:lnTo>
                <a:lnTo>
                  <a:pt x="1292" y="1382"/>
                </a:lnTo>
                <a:lnTo>
                  <a:pt x="1291" y="1382"/>
                </a:lnTo>
                <a:lnTo>
                  <a:pt x="1291" y="1380"/>
                </a:lnTo>
                <a:lnTo>
                  <a:pt x="1289" y="1380"/>
                </a:lnTo>
                <a:lnTo>
                  <a:pt x="1289" y="1382"/>
                </a:lnTo>
                <a:lnTo>
                  <a:pt x="1291" y="1382"/>
                </a:lnTo>
                <a:lnTo>
                  <a:pt x="1291" y="1384"/>
                </a:lnTo>
                <a:lnTo>
                  <a:pt x="1292" y="1384"/>
                </a:lnTo>
                <a:lnTo>
                  <a:pt x="1294" y="1384"/>
                </a:lnTo>
                <a:lnTo>
                  <a:pt x="1294" y="1386"/>
                </a:lnTo>
                <a:lnTo>
                  <a:pt x="1292" y="1386"/>
                </a:lnTo>
                <a:lnTo>
                  <a:pt x="1294" y="1386"/>
                </a:lnTo>
                <a:lnTo>
                  <a:pt x="1296" y="1386"/>
                </a:lnTo>
                <a:lnTo>
                  <a:pt x="1296" y="1388"/>
                </a:lnTo>
                <a:lnTo>
                  <a:pt x="1296" y="1390"/>
                </a:lnTo>
                <a:lnTo>
                  <a:pt x="1294" y="1388"/>
                </a:lnTo>
                <a:lnTo>
                  <a:pt x="1294" y="1386"/>
                </a:lnTo>
                <a:lnTo>
                  <a:pt x="1292" y="1386"/>
                </a:lnTo>
                <a:lnTo>
                  <a:pt x="1291" y="1386"/>
                </a:lnTo>
                <a:lnTo>
                  <a:pt x="1289" y="1386"/>
                </a:lnTo>
                <a:lnTo>
                  <a:pt x="1287" y="1386"/>
                </a:lnTo>
                <a:lnTo>
                  <a:pt x="1285" y="1386"/>
                </a:lnTo>
                <a:lnTo>
                  <a:pt x="1283" y="1388"/>
                </a:lnTo>
                <a:lnTo>
                  <a:pt x="1285" y="1388"/>
                </a:lnTo>
                <a:lnTo>
                  <a:pt x="1283" y="1388"/>
                </a:lnTo>
                <a:lnTo>
                  <a:pt x="1281" y="1388"/>
                </a:lnTo>
                <a:lnTo>
                  <a:pt x="1283" y="1388"/>
                </a:lnTo>
                <a:lnTo>
                  <a:pt x="1281" y="1388"/>
                </a:lnTo>
                <a:lnTo>
                  <a:pt x="1281" y="1390"/>
                </a:lnTo>
                <a:lnTo>
                  <a:pt x="1283" y="1390"/>
                </a:lnTo>
                <a:lnTo>
                  <a:pt x="1285" y="1390"/>
                </a:lnTo>
                <a:lnTo>
                  <a:pt x="1287" y="1390"/>
                </a:lnTo>
                <a:lnTo>
                  <a:pt x="1287" y="1388"/>
                </a:lnTo>
                <a:lnTo>
                  <a:pt x="1289" y="1388"/>
                </a:lnTo>
                <a:lnTo>
                  <a:pt x="1291" y="1388"/>
                </a:lnTo>
                <a:lnTo>
                  <a:pt x="1292" y="1388"/>
                </a:lnTo>
                <a:lnTo>
                  <a:pt x="1292" y="1390"/>
                </a:lnTo>
                <a:lnTo>
                  <a:pt x="1294" y="1390"/>
                </a:lnTo>
                <a:lnTo>
                  <a:pt x="1292" y="1390"/>
                </a:lnTo>
                <a:lnTo>
                  <a:pt x="1294" y="1390"/>
                </a:lnTo>
                <a:lnTo>
                  <a:pt x="1294" y="1392"/>
                </a:lnTo>
                <a:lnTo>
                  <a:pt x="1294" y="1390"/>
                </a:lnTo>
                <a:lnTo>
                  <a:pt x="1296" y="1390"/>
                </a:lnTo>
                <a:lnTo>
                  <a:pt x="1296" y="1392"/>
                </a:lnTo>
                <a:lnTo>
                  <a:pt x="1296" y="1394"/>
                </a:lnTo>
                <a:lnTo>
                  <a:pt x="1296" y="1392"/>
                </a:lnTo>
                <a:lnTo>
                  <a:pt x="1294" y="1392"/>
                </a:lnTo>
                <a:lnTo>
                  <a:pt x="1294" y="1394"/>
                </a:lnTo>
                <a:lnTo>
                  <a:pt x="1296" y="1394"/>
                </a:lnTo>
                <a:lnTo>
                  <a:pt x="1294" y="1394"/>
                </a:lnTo>
                <a:lnTo>
                  <a:pt x="1296" y="1394"/>
                </a:lnTo>
                <a:lnTo>
                  <a:pt x="1294" y="1394"/>
                </a:lnTo>
                <a:lnTo>
                  <a:pt x="1292" y="1394"/>
                </a:lnTo>
                <a:lnTo>
                  <a:pt x="1292" y="1396"/>
                </a:lnTo>
                <a:lnTo>
                  <a:pt x="1291" y="1396"/>
                </a:lnTo>
                <a:lnTo>
                  <a:pt x="1291" y="1398"/>
                </a:lnTo>
                <a:lnTo>
                  <a:pt x="1289" y="1398"/>
                </a:lnTo>
                <a:lnTo>
                  <a:pt x="1289" y="1396"/>
                </a:lnTo>
                <a:lnTo>
                  <a:pt x="1287" y="1396"/>
                </a:lnTo>
                <a:lnTo>
                  <a:pt x="1287" y="1398"/>
                </a:lnTo>
                <a:lnTo>
                  <a:pt x="1285" y="1398"/>
                </a:lnTo>
                <a:lnTo>
                  <a:pt x="1285" y="1400"/>
                </a:lnTo>
                <a:lnTo>
                  <a:pt x="1287" y="1400"/>
                </a:lnTo>
                <a:lnTo>
                  <a:pt x="1287" y="1398"/>
                </a:lnTo>
                <a:lnTo>
                  <a:pt x="1289" y="1398"/>
                </a:lnTo>
                <a:lnTo>
                  <a:pt x="1289" y="1400"/>
                </a:lnTo>
                <a:lnTo>
                  <a:pt x="1291" y="1400"/>
                </a:lnTo>
                <a:lnTo>
                  <a:pt x="1291" y="1398"/>
                </a:lnTo>
                <a:lnTo>
                  <a:pt x="1292" y="1398"/>
                </a:lnTo>
                <a:lnTo>
                  <a:pt x="1294" y="1398"/>
                </a:lnTo>
                <a:lnTo>
                  <a:pt x="1296" y="1398"/>
                </a:lnTo>
                <a:lnTo>
                  <a:pt x="1298" y="1396"/>
                </a:lnTo>
                <a:lnTo>
                  <a:pt x="1298" y="1398"/>
                </a:lnTo>
                <a:lnTo>
                  <a:pt x="1300" y="1398"/>
                </a:lnTo>
                <a:lnTo>
                  <a:pt x="1298" y="1398"/>
                </a:lnTo>
                <a:lnTo>
                  <a:pt x="1296" y="1398"/>
                </a:lnTo>
                <a:lnTo>
                  <a:pt x="1296" y="1400"/>
                </a:lnTo>
                <a:lnTo>
                  <a:pt x="1294" y="1400"/>
                </a:lnTo>
                <a:lnTo>
                  <a:pt x="1292" y="1400"/>
                </a:lnTo>
                <a:lnTo>
                  <a:pt x="1294" y="1400"/>
                </a:lnTo>
                <a:lnTo>
                  <a:pt x="1294" y="1401"/>
                </a:lnTo>
                <a:lnTo>
                  <a:pt x="1294" y="1403"/>
                </a:lnTo>
                <a:lnTo>
                  <a:pt x="1292" y="1403"/>
                </a:lnTo>
                <a:lnTo>
                  <a:pt x="1292" y="1405"/>
                </a:lnTo>
                <a:lnTo>
                  <a:pt x="1291" y="1407"/>
                </a:lnTo>
                <a:lnTo>
                  <a:pt x="1291" y="1405"/>
                </a:lnTo>
                <a:lnTo>
                  <a:pt x="1289" y="1405"/>
                </a:lnTo>
                <a:lnTo>
                  <a:pt x="1287" y="1405"/>
                </a:lnTo>
                <a:lnTo>
                  <a:pt x="1285" y="1405"/>
                </a:lnTo>
                <a:lnTo>
                  <a:pt x="1283" y="1405"/>
                </a:lnTo>
                <a:lnTo>
                  <a:pt x="1283" y="1403"/>
                </a:lnTo>
                <a:lnTo>
                  <a:pt x="1285" y="1403"/>
                </a:lnTo>
                <a:lnTo>
                  <a:pt x="1283" y="1403"/>
                </a:lnTo>
                <a:lnTo>
                  <a:pt x="1281" y="1403"/>
                </a:lnTo>
                <a:lnTo>
                  <a:pt x="1281" y="1401"/>
                </a:lnTo>
                <a:lnTo>
                  <a:pt x="1283" y="1401"/>
                </a:lnTo>
                <a:lnTo>
                  <a:pt x="1281" y="1401"/>
                </a:lnTo>
                <a:lnTo>
                  <a:pt x="1283" y="1401"/>
                </a:lnTo>
                <a:lnTo>
                  <a:pt x="1285" y="1401"/>
                </a:lnTo>
                <a:lnTo>
                  <a:pt x="1283" y="1401"/>
                </a:lnTo>
                <a:lnTo>
                  <a:pt x="1283" y="1400"/>
                </a:lnTo>
                <a:lnTo>
                  <a:pt x="1281" y="1400"/>
                </a:lnTo>
                <a:lnTo>
                  <a:pt x="1279" y="1400"/>
                </a:lnTo>
                <a:lnTo>
                  <a:pt x="1279" y="1401"/>
                </a:lnTo>
                <a:lnTo>
                  <a:pt x="1281" y="1401"/>
                </a:lnTo>
                <a:lnTo>
                  <a:pt x="1281" y="1403"/>
                </a:lnTo>
                <a:lnTo>
                  <a:pt x="1279" y="1403"/>
                </a:lnTo>
                <a:lnTo>
                  <a:pt x="1279" y="1405"/>
                </a:lnTo>
                <a:lnTo>
                  <a:pt x="1281" y="1405"/>
                </a:lnTo>
                <a:lnTo>
                  <a:pt x="1279" y="1405"/>
                </a:lnTo>
                <a:lnTo>
                  <a:pt x="1279" y="1407"/>
                </a:lnTo>
                <a:lnTo>
                  <a:pt x="1281" y="1407"/>
                </a:lnTo>
                <a:lnTo>
                  <a:pt x="1279" y="1407"/>
                </a:lnTo>
                <a:lnTo>
                  <a:pt x="1277" y="1409"/>
                </a:lnTo>
                <a:lnTo>
                  <a:pt x="1279" y="1409"/>
                </a:lnTo>
                <a:lnTo>
                  <a:pt x="1281" y="1409"/>
                </a:lnTo>
                <a:lnTo>
                  <a:pt x="1281" y="1411"/>
                </a:lnTo>
                <a:lnTo>
                  <a:pt x="1279" y="1413"/>
                </a:lnTo>
                <a:lnTo>
                  <a:pt x="1277" y="1413"/>
                </a:lnTo>
                <a:lnTo>
                  <a:pt x="1279" y="1413"/>
                </a:lnTo>
                <a:lnTo>
                  <a:pt x="1281" y="1413"/>
                </a:lnTo>
                <a:lnTo>
                  <a:pt x="1281" y="1411"/>
                </a:lnTo>
                <a:lnTo>
                  <a:pt x="1283" y="1411"/>
                </a:lnTo>
                <a:lnTo>
                  <a:pt x="1283" y="1409"/>
                </a:lnTo>
                <a:lnTo>
                  <a:pt x="1285" y="1409"/>
                </a:lnTo>
                <a:lnTo>
                  <a:pt x="1287" y="1409"/>
                </a:lnTo>
                <a:lnTo>
                  <a:pt x="1289" y="1409"/>
                </a:lnTo>
                <a:lnTo>
                  <a:pt x="1287" y="1411"/>
                </a:lnTo>
                <a:lnTo>
                  <a:pt x="1285" y="1411"/>
                </a:lnTo>
                <a:lnTo>
                  <a:pt x="1285" y="1413"/>
                </a:lnTo>
                <a:lnTo>
                  <a:pt x="1283" y="1413"/>
                </a:lnTo>
                <a:lnTo>
                  <a:pt x="1285" y="1413"/>
                </a:lnTo>
                <a:lnTo>
                  <a:pt x="1287" y="1411"/>
                </a:lnTo>
                <a:lnTo>
                  <a:pt x="1289" y="1411"/>
                </a:lnTo>
                <a:lnTo>
                  <a:pt x="1289" y="1409"/>
                </a:lnTo>
                <a:lnTo>
                  <a:pt x="1291" y="1409"/>
                </a:lnTo>
                <a:lnTo>
                  <a:pt x="1292" y="1409"/>
                </a:lnTo>
                <a:lnTo>
                  <a:pt x="1292" y="1411"/>
                </a:lnTo>
                <a:lnTo>
                  <a:pt x="1291" y="1413"/>
                </a:lnTo>
                <a:lnTo>
                  <a:pt x="1292" y="1413"/>
                </a:lnTo>
                <a:lnTo>
                  <a:pt x="1291" y="1413"/>
                </a:lnTo>
                <a:lnTo>
                  <a:pt x="1289" y="1413"/>
                </a:lnTo>
                <a:lnTo>
                  <a:pt x="1289" y="1415"/>
                </a:lnTo>
                <a:lnTo>
                  <a:pt x="1291" y="1415"/>
                </a:lnTo>
                <a:lnTo>
                  <a:pt x="1291" y="1417"/>
                </a:lnTo>
                <a:lnTo>
                  <a:pt x="1291" y="1419"/>
                </a:lnTo>
                <a:lnTo>
                  <a:pt x="1289" y="1419"/>
                </a:lnTo>
                <a:lnTo>
                  <a:pt x="1289" y="1421"/>
                </a:lnTo>
                <a:lnTo>
                  <a:pt x="1287" y="1419"/>
                </a:lnTo>
                <a:lnTo>
                  <a:pt x="1287" y="1421"/>
                </a:lnTo>
                <a:lnTo>
                  <a:pt x="1287" y="1419"/>
                </a:lnTo>
                <a:lnTo>
                  <a:pt x="1285" y="1419"/>
                </a:lnTo>
                <a:lnTo>
                  <a:pt x="1285" y="1417"/>
                </a:lnTo>
                <a:lnTo>
                  <a:pt x="1283" y="1417"/>
                </a:lnTo>
                <a:lnTo>
                  <a:pt x="1283" y="1419"/>
                </a:lnTo>
                <a:lnTo>
                  <a:pt x="1285" y="1419"/>
                </a:lnTo>
                <a:lnTo>
                  <a:pt x="1287" y="1421"/>
                </a:lnTo>
                <a:lnTo>
                  <a:pt x="1285" y="1421"/>
                </a:lnTo>
                <a:lnTo>
                  <a:pt x="1287" y="1421"/>
                </a:lnTo>
                <a:lnTo>
                  <a:pt x="1287" y="1423"/>
                </a:lnTo>
                <a:lnTo>
                  <a:pt x="1287" y="1421"/>
                </a:lnTo>
                <a:lnTo>
                  <a:pt x="1289" y="1421"/>
                </a:lnTo>
                <a:lnTo>
                  <a:pt x="1287" y="1421"/>
                </a:lnTo>
                <a:lnTo>
                  <a:pt x="1287" y="1423"/>
                </a:lnTo>
                <a:lnTo>
                  <a:pt x="1285" y="1425"/>
                </a:lnTo>
                <a:lnTo>
                  <a:pt x="1285" y="1423"/>
                </a:lnTo>
                <a:lnTo>
                  <a:pt x="1285" y="1421"/>
                </a:lnTo>
                <a:lnTo>
                  <a:pt x="1283" y="1421"/>
                </a:lnTo>
                <a:lnTo>
                  <a:pt x="1285" y="1423"/>
                </a:lnTo>
                <a:lnTo>
                  <a:pt x="1283" y="1423"/>
                </a:lnTo>
                <a:lnTo>
                  <a:pt x="1285" y="1423"/>
                </a:lnTo>
                <a:lnTo>
                  <a:pt x="1283" y="1423"/>
                </a:lnTo>
                <a:lnTo>
                  <a:pt x="1281" y="1423"/>
                </a:lnTo>
                <a:lnTo>
                  <a:pt x="1281" y="1421"/>
                </a:lnTo>
                <a:lnTo>
                  <a:pt x="1281" y="1419"/>
                </a:lnTo>
                <a:lnTo>
                  <a:pt x="1281" y="1421"/>
                </a:lnTo>
                <a:lnTo>
                  <a:pt x="1279" y="1421"/>
                </a:lnTo>
                <a:lnTo>
                  <a:pt x="1279" y="1423"/>
                </a:lnTo>
                <a:lnTo>
                  <a:pt x="1279" y="1421"/>
                </a:lnTo>
                <a:lnTo>
                  <a:pt x="1279" y="1419"/>
                </a:lnTo>
                <a:lnTo>
                  <a:pt x="1277" y="1419"/>
                </a:lnTo>
                <a:lnTo>
                  <a:pt x="1277" y="1421"/>
                </a:lnTo>
                <a:lnTo>
                  <a:pt x="1277" y="1423"/>
                </a:lnTo>
                <a:lnTo>
                  <a:pt x="1275" y="1423"/>
                </a:lnTo>
                <a:lnTo>
                  <a:pt x="1275" y="1421"/>
                </a:lnTo>
                <a:lnTo>
                  <a:pt x="1273" y="1421"/>
                </a:lnTo>
                <a:lnTo>
                  <a:pt x="1273" y="1419"/>
                </a:lnTo>
                <a:lnTo>
                  <a:pt x="1275" y="1419"/>
                </a:lnTo>
                <a:lnTo>
                  <a:pt x="1273" y="1419"/>
                </a:lnTo>
                <a:lnTo>
                  <a:pt x="1273" y="1417"/>
                </a:lnTo>
                <a:lnTo>
                  <a:pt x="1273" y="1419"/>
                </a:lnTo>
                <a:lnTo>
                  <a:pt x="1271" y="1419"/>
                </a:lnTo>
                <a:lnTo>
                  <a:pt x="1273" y="1419"/>
                </a:lnTo>
                <a:lnTo>
                  <a:pt x="1273" y="1421"/>
                </a:lnTo>
                <a:lnTo>
                  <a:pt x="1271" y="1421"/>
                </a:lnTo>
                <a:lnTo>
                  <a:pt x="1271" y="1423"/>
                </a:lnTo>
                <a:lnTo>
                  <a:pt x="1269" y="1421"/>
                </a:lnTo>
                <a:lnTo>
                  <a:pt x="1269" y="1423"/>
                </a:lnTo>
                <a:lnTo>
                  <a:pt x="1269" y="1421"/>
                </a:lnTo>
                <a:lnTo>
                  <a:pt x="1267" y="1421"/>
                </a:lnTo>
                <a:lnTo>
                  <a:pt x="1266" y="1421"/>
                </a:lnTo>
                <a:lnTo>
                  <a:pt x="1264" y="1421"/>
                </a:lnTo>
                <a:lnTo>
                  <a:pt x="1266" y="1421"/>
                </a:lnTo>
                <a:lnTo>
                  <a:pt x="1266" y="1419"/>
                </a:lnTo>
                <a:lnTo>
                  <a:pt x="1267" y="1419"/>
                </a:lnTo>
                <a:lnTo>
                  <a:pt x="1266" y="1419"/>
                </a:lnTo>
                <a:lnTo>
                  <a:pt x="1266" y="1417"/>
                </a:lnTo>
                <a:lnTo>
                  <a:pt x="1264" y="1417"/>
                </a:lnTo>
                <a:lnTo>
                  <a:pt x="1264" y="1419"/>
                </a:lnTo>
                <a:lnTo>
                  <a:pt x="1264" y="1421"/>
                </a:lnTo>
                <a:lnTo>
                  <a:pt x="1262" y="1421"/>
                </a:lnTo>
                <a:lnTo>
                  <a:pt x="1260" y="1421"/>
                </a:lnTo>
                <a:lnTo>
                  <a:pt x="1258" y="1421"/>
                </a:lnTo>
                <a:lnTo>
                  <a:pt x="1260" y="1423"/>
                </a:lnTo>
                <a:lnTo>
                  <a:pt x="1262" y="1423"/>
                </a:lnTo>
                <a:lnTo>
                  <a:pt x="1264" y="1423"/>
                </a:lnTo>
                <a:lnTo>
                  <a:pt x="1266" y="1423"/>
                </a:lnTo>
                <a:lnTo>
                  <a:pt x="1267" y="1423"/>
                </a:lnTo>
                <a:lnTo>
                  <a:pt x="1267" y="1425"/>
                </a:lnTo>
                <a:lnTo>
                  <a:pt x="1267" y="1426"/>
                </a:lnTo>
                <a:lnTo>
                  <a:pt x="1266" y="1425"/>
                </a:lnTo>
                <a:lnTo>
                  <a:pt x="1264" y="1425"/>
                </a:lnTo>
                <a:lnTo>
                  <a:pt x="1266" y="1425"/>
                </a:lnTo>
                <a:lnTo>
                  <a:pt x="1266" y="1426"/>
                </a:lnTo>
                <a:lnTo>
                  <a:pt x="1266" y="1428"/>
                </a:lnTo>
                <a:lnTo>
                  <a:pt x="1264" y="1428"/>
                </a:lnTo>
                <a:lnTo>
                  <a:pt x="1262" y="1428"/>
                </a:lnTo>
                <a:lnTo>
                  <a:pt x="1262" y="1430"/>
                </a:lnTo>
                <a:lnTo>
                  <a:pt x="1264" y="1430"/>
                </a:lnTo>
                <a:lnTo>
                  <a:pt x="1266" y="1428"/>
                </a:lnTo>
                <a:lnTo>
                  <a:pt x="1267" y="1428"/>
                </a:lnTo>
                <a:lnTo>
                  <a:pt x="1267" y="1426"/>
                </a:lnTo>
                <a:lnTo>
                  <a:pt x="1269" y="1426"/>
                </a:lnTo>
                <a:lnTo>
                  <a:pt x="1269" y="1428"/>
                </a:lnTo>
                <a:lnTo>
                  <a:pt x="1267" y="1428"/>
                </a:lnTo>
                <a:lnTo>
                  <a:pt x="1269" y="1430"/>
                </a:lnTo>
                <a:lnTo>
                  <a:pt x="1267" y="1430"/>
                </a:lnTo>
                <a:lnTo>
                  <a:pt x="1266" y="1430"/>
                </a:lnTo>
                <a:lnTo>
                  <a:pt x="1266" y="1432"/>
                </a:lnTo>
                <a:lnTo>
                  <a:pt x="1264" y="1432"/>
                </a:lnTo>
                <a:lnTo>
                  <a:pt x="1262" y="1430"/>
                </a:lnTo>
                <a:lnTo>
                  <a:pt x="1260" y="1430"/>
                </a:lnTo>
                <a:lnTo>
                  <a:pt x="1258" y="1430"/>
                </a:lnTo>
                <a:lnTo>
                  <a:pt x="1258" y="1428"/>
                </a:lnTo>
                <a:lnTo>
                  <a:pt x="1256" y="1428"/>
                </a:lnTo>
                <a:lnTo>
                  <a:pt x="1258" y="1428"/>
                </a:lnTo>
                <a:lnTo>
                  <a:pt x="1260" y="1426"/>
                </a:lnTo>
                <a:lnTo>
                  <a:pt x="1260" y="1425"/>
                </a:lnTo>
                <a:lnTo>
                  <a:pt x="1258" y="1425"/>
                </a:lnTo>
                <a:lnTo>
                  <a:pt x="1258" y="1426"/>
                </a:lnTo>
                <a:lnTo>
                  <a:pt x="1256" y="1426"/>
                </a:lnTo>
                <a:lnTo>
                  <a:pt x="1254" y="1426"/>
                </a:lnTo>
                <a:lnTo>
                  <a:pt x="1254" y="1428"/>
                </a:lnTo>
                <a:lnTo>
                  <a:pt x="1252" y="1428"/>
                </a:lnTo>
                <a:lnTo>
                  <a:pt x="1250" y="1428"/>
                </a:lnTo>
                <a:lnTo>
                  <a:pt x="1250" y="1430"/>
                </a:lnTo>
                <a:lnTo>
                  <a:pt x="1248" y="1430"/>
                </a:lnTo>
                <a:lnTo>
                  <a:pt x="1248" y="1428"/>
                </a:lnTo>
                <a:lnTo>
                  <a:pt x="1248" y="1430"/>
                </a:lnTo>
                <a:lnTo>
                  <a:pt x="1246" y="1430"/>
                </a:lnTo>
                <a:lnTo>
                  <a:pt x="1246" y="1432"/>
                </a:lnTo>
                <a:lnTo>
                  <a:pt x="1244" y="1432"/>
                </a:lnTo>
                <a:lnTo>
                  <a:pt x="1243" y="1432"/>
                </a:lnTo>
                <a:lnTo>
                  <a:pt x="1243" y="1430"/>
                </a:lnTo>
                <a:lnTo>
                  <a:pt x="1243" y="1432"/>
                </a:lnTo>
                <a:lnTo>
                  <a:pt x="1243" y="1430"/>
                </a:lnTo>
                <a:lnTo>
                  <a:pt x="1244" y="1430"/>
                </a:lnTo>
                <a:lnTo>
                  <a:pt x="1243" y="1430"/>
                </a:lnTo>
                <a:lnTo>
                  <a:pt x="1244" y="1428"/>
                </a:lnTo>
                <a:lnTo>
                  <a:pt x="1244" y="1426"/>
                </a:lnTo>
                <a:lnTo>
                  <a:pt x="1244" y="1425"/>
                </a:lnTo>
                <a:lnTo>
                  <a:pt x="1244" y="1426"/>
                </a:lnTo>
                <a:lnTo>
                  <a:pt x="1243" y="1426"/>
                </a:lnTo>
                <a:lnTo>
                  <a:pt x="1243" y="1428"/>
                </a:lnTo>
                <a:lnTo>
                  <a:pt x="1241" y="1428"/>
                </a:lnTo>
                <a:lnTo>
                  <a:pt x="1241" y="1426"/>
                </a:lnTo>
                <a:lnTo>
                  <a:pt x="1241" y="1428"/>
                </a:lnTo>
                <a:lnTo>
                  <a:pt x="1239" y="1428"/>
                </a:lnTo>
                <a:lnTo>
                  <a:pt x="1237" y="1428"/>
                </a:lnTo>
                <a:lnTo>
                  <a:pt x="1235" y="1428"/>
                </a:lnTo>
                <a:lnTo>
                  <a:pt x="1235" y="1426"/>
                </a:lnTo>
                <a:lnTo>
                  <a:pt x="1237" y="1426"/>
                </a:lnTo>
                <a:lnTo>
                  <a:pt x="1237" y="1425"/>
                </a:lnTo>
                <a:lnTo>
                  <a:pt x="1237" y="1426"/>
                </a:lnTo>
                <a:lnTo>
                  <a:pt x="1237" y="1425"/>
                </a:lnTo>
                <a:lnTo>
                  <a:pt x="1235" y="1425"/>
                </a:lnTo>
                <a:lnTo>
                  <a:pt x="1235" y="1423"/>
                </a:lnTo>
                <a:lnTo>
                  <a:pt x="1235" y="1421"/>
                </a:lnTo>
                <a:lnTo>
                  <a:pt x="1237" y="1421"/>
                </a:lnTo>
                <a:lnTo>
                  <a:pt x="1235" y="1421"/>
                </a:lnTo>
                <a:lnTo>
                  <a:pt x="1237" y="1421"/>
                </a:lnTo>
                <a:lnTo>
                  <a:pt x="1237" y="1419"/>
                </a:lnTo>
                <a:lnTo>
                  <a:pt x="1235" y="1421"/>
                </a:lnTo>
                <a:lnTo>
                  <a:pt x="1235" y="1423"/>
                </a:lnTo>
                <a:lnTo>
                  <a:pt x="1235" y="1421"/>
                </a:lnTo>
                <a:lnTo>
                  <a:pt x="1233" y="1421"/>
                </a:lnTo>
                <a:lnTo>
                  <a:pt x="1231" y="1421"/>
                </a:lnTo>
                <a:lnTo>
                  <a:pt x="1229" y="1421"/>
                </a:lnTo>
                <a:lnTo>
                  <a:pt x="1229" y="1419"/>
                </a:lnTo>
                <a:lnTo>
                  <a:pt x="1231" y="1419"/>
                </a:lnTo>
                <a:lnTo>
                  <a:pt x="1231" y="1417"/>
                </a:lnTo>
                <a:lnTo>
                  <a:pt x="1231" y="1415"/>
                </a:lnTo>
                <a:lnTo>
                  <a:pt x="1229" y="1415"/>
                </a:lnTo>
                <a:lnTo>
                  <a:pt x="1227" y="1415"/>
                </a:lnTo>
                <a:lnTo>
                  <a:pt x="1227" y="1413"/>
                </a:lnTo>
                <a:lnTo>
                  <a:pt x="1229" y="1413"/>
                </a:lnTo>
                <a:lnTo>
                  <a:pt x="1227" y="1413"/>
                </a:lnTo>
                <a:lnTo>
                  <a:pt x="1227" y="1411"/>
                </a:lnTo>
                <a:lnTo>
                  <a:pt x="1225" y="1411"/>
                </a:lnTo>
                <a:lnTo>
                  <a:pt x="1227" y="1409"/>
                </a:lnTo>
                <a:lnTo>
                  <a:pt x="1229" y="1409"/>
                </a:lnTo>
                <a:lnTo>
                  <a:pt x="1231" y="1409"/>
                </a:lnTo>
                <a:lnTo>
                  <a:pt x="1233" y="1409"/>
                </a:lnTo>
                <a:lnTo>
                  <a:pt x="1233" y="1407"/>
                </a:lnTo>
                <a:lnTo>
                  <a:pt x="1235" y="1407"/>
                </a:lnTo>
                <a:lnTo>
                  <a:pt x="1233" y="1407"/>
                </a:lnTo>
                <a:lnTo>
                  <a:pt x="1231" y="1405"/>
                </a:lnTo>
                <a:lnTo>
                  <a:pt x="1229" y="1405"/>
                </a:lnTo>
                <a:lnTo>
                  <a:pt x="1227" y="1405"/>
                </a:lnTo>
                <a:lnTo>
                  <a:pt x="1225" y="1405"/>
                </a:lnTo>
                <a:lnTo>
                  <a:pt x="1225" y="1407"/>
                </a:lnTo>
                <a:lnTo>
                  <a:pt x="1225" y="1405"/>
                </a:lnTo>
                <a:lnTo>
                  <a:pt x="1225" y="1407"/>
                </a:lnTo>
                <a:lnTo>
                  <a:pt x="1223" y="1407"/>
                </a:lnTo>
                <a:lnTo>
                  <a:pt x="1221" y="1407"/>
                </a:lnTo>
                <a:lnTo>
                  <a:pt x="1223" y="1407"/>
                </a:lnTo>
                <a:lnTo>
                  <a:pt x="1221" y="1407"/>
                </a:lnTo>
                <a:lnTo>
                  <a:pt x="1221" y="1409"/>
                </a:lnTo>
                <a:lnTo>
                  <a:pt x="1221" y="1407"/>
                </a:lnTo>
                <a:lnTo>
                  <a:pt x="1219" y="1407"/>
                </a:lnTo>
                <a:lnTo>
                  <a:pt x="1219" y="1409"/>
                </a:lnTo>
                <a:lnTo>
                  <a:pt x="1219" y="1407"/>
                </a:lnTo>
                <a:lnTo>
                  <a:pt x="1219" y="1409"/>
                </a:lnTo>
                <a:lnTo>
                  <a:pt x="1218" y="1409"/>
                </a:lnTo>
                <a:lnTo>
                  <a:pt x="1216" y="1409"/>
                </a:lnTo>
                <a:lnTo>
                  <a:pt x="1218" y="1409"/>
                </a:lnTo>
                <a:lnTo>
                  <a:pt x="1218" y="1407"/>
                </a:lnTo>
                <a:lnTo>
                  <a:pt x="1219" y="1407"/>
                </a:lnTo>
                <a:lnTo>
                  <a:pt x="1219" y="1405"/>
                </a:lnTo>
                <a:lnTo>
                  <a:pt x="1221" y="1405"/>
                </a:lnTo>
                <a:lnTo>
                  <a:pt x="1221" y="1403"/>
                </a:lnTo>
                <a:lnTo>
                  <a:pt x="1223" y="1403"/>
                </a:lnTo>
                <a:lnTo>
                  <a:pt x="1221" y="1403"/>
                </a:lnTo>
                <a:lnTo>
                  <a:pt x="1223" y="1403"/>
                </a:lnTo>
                <a:lnTo>
                  <a:pt x="1223" y="1401"/>
                </a:lnTo>
                <a:lnTo>
                  <a:pt x="1225" y="1403"/>
                </a:lnTo>
                <a:lnTo>
                  <a:pt x="1225" y="1401"/>
                </a:lnTo>
                <a:lnTo>
                  <a:pt x="1223" y="1401"/>
                </a:lnTo>
                <a:lnTo>
                  <a:pt x="1225" y="1400"/>
                </a:lnTo>
                <a:lnTo>
                  <a:pt x="1227" y="1398"/>
                </a:lnTo>
                <a:lnTo>
                  <a:pt x="1229" y="1396"/>
                </a:lnTo>
                <a:lnTo>
                  <a:pt x="1229" y="1394"/>
                </a:lnTo>
                <a:lnTo>
                  <a:pt x="1229" y="1392"/>
                </a:lnTo>
                <a:lnTo>
                  <a:pt x="1229" y="1394"/>
                </a:lnTo>
                <a:lnTo>
                  <a:pt x="1229" y="1392"/>
                </a:lnTo>
                <a:lnTo>
                  <a:pt x="1227" y="1392"/>
                </a:lnTo>
                <a:lnTo>
                  <a:pt x="1227" y="1394"/>
                </a:lnTo>
                <a:lnTo>
                  <a:pt x="1225" y="1394"/>
                </a:lnTo>
                <a:lnTo>
                  <a:pt x="1225" y="1396"/>
                </a:lnTo>
                <a:lnTo>
                  <a:pt x="1223" y="1396"/>
                </a:lnTo>
                <a:lnTo>
                  <a:pt x="1221" y="1398"/>
                </a:lnTo>
                <a:lnTo>
                  <a:pt x="1221" y="1400"/>
                </a:lnTo>
                <a:lnTo>
                  <a:pt x="1221" y="1401"/>
                </a:lnTo>
                <a:lnTo>
                  <a:pt x="1221" y="1400"/>
                </a:lnTo>
                <a:lnTo>
                  <a:pt x="1219" y="1400"/>
                </a:lnTo>
                <a:lnTo>
                  <a:pt x="1218" y="1400"/>
                </a:lnTo>
                <a:lnTo>
                  <a:pt x="1216" y="1401"/>
                </a:lnTo>
                <a:lnTo>
                  <a:pt x="1214" y="1401"/>
                </a:lnTo>
                <a:lnTo>
                  <a:pt x="1216" y="1400"/>
                </a:lnTo>
                <a:lnTo>
                  <a:pt x="1214" y="1400"/>
                </a:lnTo>
                <a:lnTo>
                  <a:pt x="1212" y="1400"/>
                </a:lnTo>
                <a:lnTo>
                  <a:pt x="1210" y="1400"/>
                </a:lnTo>
                <a:lnTo>
                  <a:pt x="1210" y="1401"/>
                </a:lnTo>
                <a:lnTo>
                  <a:pt x="1210" y="1400"/>
                </a:lnTo>
                <a:lnTo>
                  <a:pt x="1208" y="1400"/>
                </a:lnTo>
                <a:lnTo>
                  <a:pt x="1208" y="1401"/>
                </a:lnTo>
                <a:lnTo>
                  <a:pt x="1206" y="1401"/>
                </a:lnTo>
                <a:lnTo>
                  <a:pt x="1204" y="1401"/>
                </a:lnTo>
                <a:lnTo>
                  <a:pt x="1204" y="1403"/>
                </a:lnTo>
                <a:lnTo>
                  <a:pt x="1202" y="1403"/>
                </a:lnTo>
                <a:lnTo>
                  <a:pt x="1202" y="1405"/>
                </a:lnTo>
                <a:lnTo>
                  <a:pt x="1204" y="1405"/>
                </a:lnTo>
                <a:lnTo>
                  <a:pt x="1204" y="1407"/>
                </a:lnTo>
                <a:lnTo>
                  <a:pt x="1202" y="1407"/>
                </a:lnTo>
                <a:lnTo>
                  <a:pt x="1204" y="1405"/>
                </a:lnTo>
                <a:lnTo>
                  <a:pt x="1202" y="1405"/>
                </a:lnTo>
                <a:lnTo>
                  <a:pt x="1202" y="1407"/>
                </a:lnTo>
                <a:lnTo>
                  <a:pt x="1200" y="1407"/>
                </a:lnTo>
                <a:lnTo>
                  <a:pt x="1202" y="1407"/>
                </a:lnTo>
                <a:lnTo>
                  <a:pt x="1200" y="1407"/>
                </a:lnTo>
                <a:lnTo>
                  <a:pt x="1202" y="1407"/>
                </a:lnTo>
                <a:lnTo>
                  <a:pt x="1200" y="1407"/>
                </a:lnTo>
                <a:lnTo>
                  <a:pt x="1200" y="1409"/>
                </a:lnTo>
                <a:lnTo>
                  <a:pt x="1202" y="1409"/>
                </a:lnTo>
                <a:lnTo>
                  <a:pt x="1200" y="1409"/>
                </a:lnTo>
                <a:lnTo>
                  <a:pt x="1198" y="1411"/>
                </a:lnTo>
                <a:lnTo>
                  <a:pt x="1198" y="1409"/>
                </a:lnTo>
                <a:lnTo>
                  <a:pt x="1200" y="1409"/>
                </a:lnTo>
                <a:lnTo>
                  <a:pt x="1198" y="1409"/>
                </a:lnTo>
                <a:lnTo>
                  <a:pt x="1200" y="1409"/>
                </a:lnTo>
                <a:lnTo>
                  <a:pt x="1200" y="1407"/>
                </a:lnTo>
                <a:lnTo>
                  <a:pt x="1198" y="1407"/>
                </a:lnTo>
                <a:lnTo>
                  <a:pt x="1200" y="1407"/>
                </a:lnTo>
                <a:lnTo>
                  <a:pt x="1200" y="1405"/>
                </a:lnTo>
                <a:lnTo>
                  <a:pt x="1198" y="1405"/>
                </a:lnTo>
                <a:lnTo>
                  <a:pt x="1198" y="1407"/>
                </a:lnTo>
                <a:lnTo>
                  <a:pt x="1198" y="1405"/>
                </a:lnTo>
                <a:lnTo>
                  <a:pt x="1200" y="1405"/>
                </a:lnTo>
                <a:lnTo>
                  <a:pt x="1202" y="1405"/>
                </a:lnTo>
                <a:lnTo>
                  <a:pt x="1200" y="1405"/>
                </a:lnTo>
                <a:lnTo>
                  <a:pt x="1200" y="1403"/>
                </a:lnTo>
                <a:lnTo>
                  <a:pt x="1202" y="1403"/>
                </a:lnTo>
                <a:lnTo>
                  <a:pt x="1200" y="1403"/>
                </a:lnTo>
                <a:lnTo>
                  <a:pt x="1200" y="1401"/>
                </a:lnTo>
                <a:lnTo>
                  <a:pt x="1200" y="1403"/>
                </a:lnTo>
                <a:lnTo>
                  <a:pt x="1202" y="1403"/>
                </a:lnTo>
                <a:lnTo>
                  <a:pt x="1204" y="1403"/>
                </a:lnTo>
                <a:lnTo>
                  <a:pt x="1204" y="1401"/>
                </a:lnTo>
                <a:lnTo>
                  <a:pt x="1202" y="1401"/>
                </a:lnTo>
                <a:lnTo>
                  <a:pt x="1202" y="1400"/>
                </a:lnTo>
                <a:lnTo>
                  <a:pt x="1204" y="1401"/>
                </a:lnTo>
                <a:lnTo>
                  <a:pt x="1204" y="1400"/>
                </a:lnTo>
                <a:lnTo>
                  <a:pt x="1202" y="1400"/>
                </a:lnTo>
                <a:lnTo>
                  <a:pt x="1204" y="1400"/>
                </a:lnTo>
                <a:lnTo>
                  <a:pt x="1204" y="1398"/>
                </a:lnTo>
                <a:lnTo>
                  <a:pt x="1206" y="1398"/>
                </a:lnTo>
                <a:lnTo>
                  <a:pt x="1206" y="1400"/>
                </a:lnTo>
                <a:lnTo>
                  <a:pt x="1206" y="1398"/>
                </a:lnTo>
                <a:lnTo>
                  <a:pt x="1208" y="1398"/>
                </a:lnTo>
                <a:lnTo>
                  <a:pt x="1208" y="1400"/>
                </a:lnTo>
                <a:lnTo>
                  <a:pt x="1208" y="1398"/>
                </a:lnTo>
                <a:lnTo>
                  <a:pt x="1206" y="1398"/>
                </a:lnTo>
                <a:lnTo>
                  <a:pt x="1208" y="1398"/>
                </a:lnTo>
                <a:lnTo>
                  <a:pt x="1208" y="1396"/>
                </a:lnTo>
                <a:lnTo>
                  <a:pt x="1208" y="1398"/>
                </a:lnTo>
                <a:lnTo>
                  <a:pt x="1208" y="1396"/>
                </a:lnTo>
                <a:lnTo>
                  <a:pt x="1210" y="1396"/>
                </a:lnTo>
                <a:lnTo>
                  <a:pt x="1210" y="1394"/>
                </a:lnTo>
                <a:lnTo>
                  <a:pt x="1210" y="1392"/>
                </a:lnTo>
                <a:lnTo>
                  <a:pt x="1212" y="1392"/>
                </a:lnTo>
                <a:lnTo>
                  <a:pt x="1210" y="1392"/>
                </a:lnTo>
                <a:lnTo>
                  <a:pt x="1208" y="1392"/>
                </a:lnTo>
                <a:lnTo>
                  <a:pt x="1208" y="1394"/>
                </a:lnTo>
                <a:lnTo>
                  <a:pt x="1206" y="1394"/>
                </a:lnTo>
                <a:lnTo>
                  <a:pt x="1206" y="1396"/>
                </a:lnTo>
                <a:lnTo>
                  <a:pt x="1204" y="1394"/>
                </a:lnTo>
                <a:lnTo>
                  <a:pt x="1204" y="1396"/>
                </a:lnTo>
                <a:lnTo>
                  <a:pt x="1202" y="1396"/>
                </a:lnTo>
                <a:lnTo>
                  <a:pt x="1202" y="1398"/>
                </a:lnTo>
                <a:lnTo>
                  <a:pt x="1200" y="1398"/>
                </a:lnTo>
                <a:lnTo>
                  <a:pt x="1200" y="1396"/>
                </a:lnTo>
                <a:lnTo>
                  <a:pt x="1202" y="1396"/>
                </a:lnTo>
                <a:lnTo>
                  <a:pt x="1202" y="1394"/>
                </a:lnTo>
                <a:lnTo>
                  <a:pt x="1200" y="1392"/>
                </a:lnTo>
                <a:lnTo>
                  <a:pt x="1200" y="1394"/>
                </a:lnTo>
                <a:lnTo>
                  <a:pt x="1200" y="1396"/>
                </a:lnTo>
                <a:lnTo>
                  <a:pt x="1198" y="1396"/>
                </a:lnTo>
                <a:lnTo>
                  <a:pt x="1198" y="1398"/>
                </a:lnTo>
                <a:lnTo>
                  <a:pt x="1198" y="1400"/>
                </a:lnTo>
                <a:lnTo>
                  <a:pt x="1196" y="1400"/>
                </a:lnTo>
                <a:lnTo>
                  <a:pt x="1194" y="1400"/>
                </a:lnTo>
                <a:lnTo>
                  <a:pt x="1196" y="1401"/>
                </a:lnTo>
                <a:lnTo>
                  <a:pt x="1194" y="1401"/>
                </a:lnTo>
                <a:lnTo>
                  <a:pt x="1194" y="1403"/>
                </a:lnTo>
                <a:lnTo>
                  <a:pt x="1193" y="1403"/>
                </a:lnTo>
                <a:lnTo>
                  <a:pt x="1194" y="1403"/>
                </a:lnTo>
                <a:lnTo>
                  <a:pt x="1193" y="1403"/>
                </a:lnTo>
                <a:lnTo>
                  <a:pt x="1193" y="1405"/>
                </a:lnTo>
                <a:lnTo>
                  <a:pt x="1193" y="1403"/>
                </a:lnTo>
                <a:lnTo>
                  <a:pt x="1191" y="1403"/>
                </a:lnTo>
                <a:lnTo>
                  <a:pt x="1191" y="1405"/>
                </a:lnTo>
                <a:lnTo>
                  <a:pt x="1191" y="1407"/>
                </a:lnTo>
                <a:lnTo>
                  <a:pt x="1189" y="1407"/>
                </a:lnTo>
                <a:lnTo>
                  <a:pt x="1189" y="1405"/>
                </a:lnTo>
                <a:lnTo>
                  <a:pt x="1191" y="1405"/>
                </a:lnTo>
                <a:lnTo>
                  <a:pt x="1191" y="1403"/>
                </a:lnTo>
                <a:lnTo>
                  <a:pt x="1189" y="1403"/>
                </a:lnTo>
                <a:lnTo>
                  <a:pt x="1191" y="1403"/>
                </a:lnTo>
                <a:lnTo>
                  <a:pt x="1191" y="1401"/>
                </a:lnTo>
                <a:lnTo>
                  <a:pt x="1193" y="1401"/>
                </a:lnTo>
                <a:lnTo>
                  <a:pt x="1193" y="1403"/>
                </a:lnTo>
                <a:lnTo>
                  <a:pt x="1193" y="1401"/>
                </a:lnTo>
                <a:lnTo>
                  <a:pt x="1191" y="1401"/>
                </a:lnTo>
                <a:lnTo>
                  <a:pt x="1191" y="1400"/>
                </a:lnTo>
                <a:lnTo>
                  <a:pt x="1193" y="1400"/>
                </a:lnTo>
                <a:lnTo>
                  <a:pt x="1193" y="1401"/>
                </a:lnTo>
                <a:lnTo>
                  <a:pt x="1193" y="1400"/>
                </a:lnTo>
                <a:lnTo>
                  <a:pt x="1193" y="1398"/>
                </a:lnTo>
                <a:lnTo>
                  <a:pt x="1193" y="1400"/>
                </a:lnTo>
                <a:lnTo>
                  <a:pt x="1193" y="1398"/>
                </a:lnTo>
                <a:lnTo>
                  <a:pt x="1193" y="1396"/>
                </a:lnTo>
                <a:lnTo>
                  <a:pt x="1193" y="1394"/>
                </a:lnTo>
                <a:lnTo>
                  <a:pt x="1194" y="1394"/>
                </a:lnTo>
                <a:lnTo>
                  <a:pt x="1193" y="1394"/>
                </a:lnTo>
                <a:lnTo>
                  <a:pt x="1194" y="1394"/>
                </a:lnTo>
                <a:lnTo>
                  <a:pt x="1193" y="1394"/>
                </a:lnTo>
                <a:lnTo>
                  <a:pt x="1193" y="1392"/>
                </a:lnTo>
                <a:lnTo>
                  <a:pt x="1193" y="1390"/>
                </a:lnTo>
                <a:lnTo>
                  <a:pt x="1193" y="1388"/>
                </a:lnTo>
                <a:lnTo>
                  <a:pt x="1193" y="1390"/>
                </a:lnTo>
                <a:lnTo>
                  <a:pt x="1191" y="1390"/>
                </a:lnTo>
                <a:lnTo>
                  <a:pt x="1191" y="1388"/>
                </a:lnTo>
                <a:lnTo>
                  <a:pt x="1191" y="1390"/>
                </a:lnTo>
                <a:lnTo>
                  <a:pt x="1189" y="1390"/>
                </a:lnTo>
                <a:lnTo>
                  <a:pt x="1191" y="1390"/>
                </a:lnTo>
                <a:lnTo>
                  <a:pt x="1191" y="1392"/>
                </a:lnTo>
                <a:lnTo>
                  <a:pt x="1191" y="1394"/>
                </a:lnTo>
                <a:lnTo>
                  <a:pt x="1189" y="1394"/>
                </a:lnTo>
                <a:lnTo>
                  <a:pt x="1189" y="1396"/>
                </a:lnTo>
                <a:lnTo>
                  <a:pt x="1191" y="1396"/>
                </a:lnTo>
                <a:lnTo>
                  <a:pt x="1189" y="1398"/>
                </a:lnTo>
                <a:lnTo>
                  <a:pt x="1187" y="1398"/>
                </a:lnTo>
                <a:lnTo>
                  <a:pt x="1187" y="1400"/>
                </a:lnTo>
                <a:lnTo>
                  <a:pt x="1187" y="1398"/>
                </a:lnTo>
                <a:lnTo>
                  <a:pt x="1185" y="1398"/>
                </a:lnTo>
                <a:lnTo>
                  <a:pt x="1185" y="1400"/>
                </a:lnTo>
                <a:lnTo>
                  <a:pt x="1185" y="1398"/>
                </a:lnTo>
                <a:lnTo>
                  <a:pt x="1183" y="1396"/>
                </a:lnTo>
                <a:lnTo>
                  <a:pt x="1183" y="1398"/>
                </a:lnTo>
                <a:lnTo>
                  <a:pt x="1181" y="1398"/>
                </a:lnTo>
                <a:lnTo>
                  <a:pt x="1181" y="1396"/>
                </a:lnTo>
                <a:lnTo>
                  <a:pt x="1181" y="1398"/>
                </a:lnTo>
                <a:lnTo>
                  <a:pt x="1181" y="1396"/>
                </a:lnTo>
                <a:lnTo>
                  <a:pt x="1183" y="1396"/>
                </a:lnTo>
                <a:lnTo>
                  <a:pt x="1183" y="1394"/>
                </a:lnTo>
                <a:lnTo>
                  <a:pt x="1183" y="1392"/>
                </a:lnTo>
                <a:lnTo>
                  <a:pt x="1183" y="1390"/>
                </a:lnTo>
                <a:lnTo>
                  <a:pt x="1183" y="1392"/>
                </a:lnTo>
                <a:lnTo>
                  <a:pt x="1181" y="1392"/>
                </a:lnTo>
                <a:lnTo>
                  <a:pt x="1183" y="1392"/>
                </a:lnTo>
                <a:lnTo>
                  <a:pt x="1181" y="1394"/>
                </a:lnTo>
                <a:lnTo>
                  <a:pt x="1181" y="1396"/>
                </a:lnTo>
                <a:lnTo>
                  <a:pt x="1179" y="1396"/>
                </a:lnTo>
                <a:lnTo>
                  <a:pt x="1177" y="1396"/>
                </a:lnTo>
                <a:lnTo>
                  <a:pt x="1179" y="1394"/>
                </a:lnTo>
                <a:lnTo>
                  <a:pt x="1177" y="1394"/>
                </a:lnTo>
                <a:lnTo>
                  <a:pt x="1177" y="1396"/>
                </a:lnTo>
                <a:lnTo>
                  <a:pt x="1177" y="1398"/>
                </a:lnTo>
                <a:lnTo>
                  <a:pt x="1175" y="1398"/>
                </a:lnTo>
                <a:lnTo>
                  <a:pt x="1175" y="1396"/>
                </a:lnTo>
                <a:lnTo>
                  <a:pt x="1173" y="1396"/>
                </a:lnTo>
                <a:lnTo>
                  <a:pt x="1175" y="1396"/>
                </a:lnTo>
                <a:lnTo>
                  <a:pt x="1175" y="1394"/>
                </a:lnTo>
                <a:lnTo>
                  <a:pt x="1173" y="1394"/>
                </a:lnTo>
                <a:lnTo>
                  <a:pt x="1173" y="1396"/>
                </a:lnTo>
                <a:lnTo>
                  <a:pt x="1171" y="1396"/>
                </a:lnTo>
                <a:lnTo>
                  <a:pt x="1171" y="1398"/>
                </a:lnTo>
                <a:lnTo>
                  <a:pt x="1170" y="1398"/>
                </a:lnTo>
                <a:lnTo>
                  <a:pt x="1171" y="1396"/>
                </a:lnTo>
                <a:lnTo>
                  <a:pt x="1170" y="1396"/>
                </a:lnTo>
                <a:lnTo>
                  <a:pt x="1170" y="1394"/>
                </a:lnTo>
                <a:lnTo>
                  <a:pt x="1170" y="1396"/>
                </a:lnTo>
                <a:lnTo>
                  <a:pt x="1168" y="1396"/>
                </a:lnTo>
                <a:lnTo>
                  <a:pt x="1170" y="1396"/>
                </a:lnTo>
                <a:lnTo>
                  <a:pt x="1168" y="1396"/>
                </a:lnTo>
                <a:lnTo>
                  <a:pt x="1168" y="1398"/>
                </a:lnTo>
                <a:lnTo>
                  <a:pt x="1166" y="1398"/>
                </a:lnTo>
                <a:lnTo>
                  <a:pt x="1166" y="1396"/>
                </a:lnTo>
                <a:lnTo>
                  <a:pt x="1168" y="1396"/>
                </a:lnTo>
                <a:lnTo>
                  <a:pt x="1166" y="1396"/>
                </a:lnTo>
                <a:lnTo>
                  <a:pt x="1164" y="1396"/>
                </a:lnTo>
                <a:lnTo>
                  <a:pt x="1166" y="1396"/>
                </a:lnTo>
                <a:lnTo>
                  <a:pt x="1164" y="1396"/>
                </a:lnTo>
                <a:lnTo>
                  <a:pt x="1162" y="1396"/>
                </a:lnTo>
                <a:lnTo>
                  <a:pt x="1162" y="1394"/>
                </a:lnTo>
                <a:lnTo>
                  <a:pt x="1164" y="1394"/>
                </a:lnTo>
                <a:lnTo>
                  <a:pt x="1164" y="1392"/>
                </a:lnTo>
                <a:lnTo>
                  <a:pt x="1166" y="1394"/>
                </a:lnTo>
                <a:lnTo>
                  <a:pt x="1166" y="1392"/>
                </a:lnTo>
                <a:lnTo>
                  <a:pt x="1168" y="1392"/>
                </a:lnTo>
                <a:lnTo>
                  <a:pt x="1168" y="1394"/>
                </a:lnTo>
                <a:lnTo>
                  <a:pt x="1168" y="1396"/>
                </a:lnTo>
                <a:lnTo>
                  <a:pt x="1168" y="1394"/>
                </a:lnTo>
                <a:lnTo>
                  <a:pt x="1168" y="1392"/>
                </a:lnTo>
                <a:lnTo>
                  <a:pt x="1170" y="1392"/>
                </a:lnTo>
                <a:lnTo>
                  <a:pt x="1171" y="1392"/>
                </a:lnTo>
                <a:lnTo>
                  <a:pt x="1171" y="1390"/>
                </a:lnTo>
                <a:lnTo>
                  <a:pt x="1173" y="1390"/>
                </a:lnTo>
                <a:lnTo>
                  <a:pt x="1175" y="1390"/>
                </a:lnTo>
                <a:lnTo>
                  <a:pt x="1175" y="1388"/>
                </a:lnTo>
                <a:lnTo>
                  <a:pt x="1177" y="1388"/>
                </a:lnTo>
                <a:lnTo>
                  <a:pt x="1179" y="1388"/>
                </a:lnTo>
                <a:lnTo>
                  <a:pt x="1181" y="1388"/>
                </a:lnTo>
                <a:lnTo>
                  <a:pt x="1183" y="1386"/>
                </a:lnTo>
                <a:lnTo>
                  <a:pt x="1181" y="1386"/>
                </a:lnTo>
                <a:lnTo>
                  <a:pt x="1179" y="1386"/>
                </a:lnTo>
                <a:lnTo>
                  <a:pt x="1177" y="1386"/>
                </a:lnTo>
                <a:lnTo>
                  <a:pt x="1175" y="1388"/>
                </a:lnTo>
                <a:lnTo>
                  <a:pt x="1173" y="1388"/>
                </a:lnTo>
                <a:lnTo>
                  <a:pt x="1171" y="1388"/>
                </a:lnTo>
                <a:lnTo>
                  <a:pt x="1170" y="1388"/>
                </a:lnTo>
                <a:lnTo>
                  <a:pt x="1168" y="1388"/>
                </a:lnTo>
                <a:lnTo>
                  <a:pt x="1170" y="1388"/>
                </a:lnTo>
                <a:lnTo>
                  <a:pt x="1170" y="1386"/>
                </a:lnTo>
                <a:lnTo>
                  <a:pt x="1168" y="1386"/>
                </a:lnTo>
                <a:lnTo>
                  <a:pt x="1168" y="1388"/>
                </a:lnTo>
                <a:lnTo>
                  <a:pt x="1166" y="1390"/>
                </a:lnTo>
                <a:lnTo>
                  <a:pt x="1164" y="1390"/>
                </a:lnTo>
                <a:lnTo>
                  <a:pt x="1162" y="1390"/>
                </a:lnTo>
                <a:lnTo>
                  <a:pt x="1160" y="1390"/>
                </a:lnTo>
                <a:lnTo>
                  <a:pt x="1160" y="1392"/>
                </a:lnTo>
                <a:lnTo>
                  <a:pt x="1158" y="1390"/>
                </a:lnTo>
                <a:lnTo>
                  <a:pt x="1160" y="1390"/>
                </a:lnTo>
                <a:lnTo>
                  <a:pt x="1162" y="1390"/>
                </a:lnTo>
                <a:lnTo>
                  <a:pt x="1162" y="1388"/>
                </a:lnTo>
                <a:lnTo>
                  <a:pt x="1164" y="1388"/>
                </a:lnTo>
                <a:lnTo>
                  <a:pt x="1162" y="1388"/>
                </a:lnTo>
                <a:lnTo>
                  <a:pt x="1160" y="1388"/>
                </a:lnTo>
                <a:lnTo>
                  <a:pt x="1160" y="1386"/>
                </a:lnTo>
                <a:lnTo>
                  <a:pt x="1162" y="1386"/>
                </a:lnTo>
                <a:lnTo>
                  <a:pt x="1162" y="1384"/>
                </a:lnTo>
                <a:lnTo>
                  <a:pt x="1164" y="1384"/>
                </a:lnTo>
                <a:lnTo>
                  <a:pt x="1166" y="1384"/>
                </a:lnTo>
                <a:lnTo>
                  <a:pt x="1168" y="1384"/>
                </a:lnTo>
                <a:lnTo>
                  <a:pt x="1168" y="1382"/>
                </a:lnTo>
                <a:lnTo>
                  <a:pt x="1166" y="1382"/>
                </a:lnTo>
                <a:lnTo>
                  <a:pt x="1164" y="1382"/>
                </a:lnTo>
                <a:lnTo>
                  <a:pt x="1162" y="1382"/>
                </a:lnTo>
                <a:lnTo>
                  <a:pt x="1160" y="1382"/>
                </a:lnTo>
                <a:lnTo>
                  <a:pt x="1162" y="1380"/>
                </a:lnTo>
                <a:lnTo>
                  <a:pt x="1160" y="1380"/>
                </a:lnTo>
                <a:lnTo>
                  <a:pt x="1160" y="1382"/>
                </a:lnTo>
                <a:lnTo>
                  <a:pt x="1160" y="1384"/>
                </a:lnTo>
                <a:lnTo>
                  <a:pt x="1158" y="1384"/>
                </a:lnTo>
                <a:lnTo>
                  <a:pt x="1158" y="1386"/>
                </a:lnTo>
                <a:lnTo>
                  <a:pt x="1158" y="1388"/>
                </a:lnTo>
                <a:lnTo>
                  <a:pt x="1156" y="1388"/>
                </a:lnTo>
                <a:lnTo>
                  <a:pt x="1156" y="1386"/>
                </a:lnTo>
                <a:lnTo>
                  <a:pt x="1156" y="1384"/>
                </a:lnTo>
                <a:lnTo>
                  <a:pt x="1156" y="1386"/>
                </a:lnTo>
                <a:lnTo>
                  <a:pt x="1154" y="1386"/>
                </a:lnTo>
                <a:lnTo>
                  <a:pt x="1156" y="1386"/>
                </a:lnTo>
                <a:lnTo>
                  <a:pt x="1156" y="1388"/>
                </a:lnTo>
                <a:lnTo>
                  <a:pt x="1154" y="1388"/>
                </a:lnTo>
                <a:lnTo>
                  <a:pt x="1152" y="1388"/>
                </a:lnTo>
                <a:lnTo>
                  <a:pt x="1152" y="1386"/>
                </a:lnTo>
                <a:lnTo>
                  <a:pt x="1152" y="1388"/>
                </a:lnTo>
                <a:lnTo>
                  <a:pt x="1152" y="1386"/>
                </a:lnTo>
                <a:lnTo>
                  <a:pt x="1152" y="1384"/>
                </a:lnTo>
                <a:lnTo>
                  <a:pt x="1150" y="1384"/>
                </a:lnTo>
                <a:lnTo>
                  <a:pt x="1148" y="1384"/>
                </a:lnTo>
                <a:lnTo>
                  <a:pt x="1148" y="1386"/>
                </a:lnTo>
                <a:lnTo>
                  <a:pt x="1146" y="1386"/>
                </a:lnTo>
                <a:lnTo>
                  <a:pt x="1145" y="1386"/>
                </a:lnTo>
                <a:lnTo>
                  <a:pt x="1145" y="1384"/>
                </a:lnTo>
                <a:lnTo>
                  <a:pt x="1143" y="1384"/>
                </a:lnTo>
                <a:lnTo>
                  <a:pt x="1141" y="1384"/>
                </a:lnTo>
                <a:lnTo>
                  <a:pt x="1139" y="1384"/>
                </a:lnTo>
                <a:lnTo>
                  <a:pt x="1137" y="1384"/>
                </a:lnTo>
                <a:lnTo>
                  <a:pt x="1139" y="1384"/>
                </a:lnTo>
                <a:lnTo>
                  <a:pt x="1137" y="1382"/>
                </a:lnTo>
                <a:lnTo>
                  <a:pt x="1137" y="1384"/>
                </a:lnTo>
                <a:lnTo>
                  <a:pt x="1137" y="1386"/>
                </a:lnTo>
                <a:lnTo>
                  <a:pt x="1135" y="1388"/>
                </a:lnTo>
                <a:lnTo>
                  <a:pt x="1133" y="1386"/>
                </a:lnTo>
                <a:lnTo>
                  <a:pt x="1131" y="1386"/>
                </a:lnTo>
                <a:lnTo>
                  <a:pt x="1129" y="1386"/>
                </a:lnTo>
                <a:lnTo>
                  <a:pt x="1129" y="1388"/>
                </a:lnTo>
                <a:lnTo>
                  <a:pt x="1129" y="1386"/>
                </a:lnTo>
                <a:lnTo>
                  <a:pt x="1129" y="1384"/>
                </a:lnTo>
                <a:lnTo>
                  <a:pt x="1131" y="1384"/>
                </a:lnTo>
                <a:lnTo>
                  <a:pt x="1133" y="1384"/>
                </a:lnTo>
                <a:lnTo>
                  <a:pt x="1133" y="1382"/>
                </a:lnTo>
                <a:lnTo>
                  <a:pt x="1133" y="1384"/>
                </a:lnTo>
                <a:lnTo>
                  <a:pt x="1135" y="1384"/>
                </a:lnTo>
                <a:lnTo>
                  <a:pt x="1135" y="1382"/>
                </a:lnTo>
                <a:lnTo>
                  <a:pt x="1133" y="1382"/>
                </a:lnTo>
                <a:lnTo>
                  <a:pt x="1133" y="1380"/>
                </a:lnTo>
                <a:lnTo>
                  <a:pt x="1135" y="1380"/>
                </a:lnTo>
                <a:lnTo>
                  <a:pt x="1133" y="1380"/>
                </a:lnTo>
                <a:lnTo>
                  <a:pt x="1135" y="1380"/>
                </a:lnTo>
                <a:lnTo>
                  <a:pt x="1137" y="1380"/>
                </a:lnTo>
                <a:lnTo>
                  <a:pt x="1137" y="1378"/>
                </a:lnTo>
                <a:lnTo>
                  <a:pt x="1135" y="1378"/>
                </a:lnTo>
                <a:lnTo>
                  <a:pt x="1135" y="1380"/>
                </a:lnTo>
                <a:lnTo>
                  <a:pt x="1133" y="1380"/>
                </a:lnTo>
                <a:lnTo>
                  <a:pt x="1131" y="1380"/>
                </a:lnTo>
                <a:lnTo>
                  <a:pt x="1131" y="1378"/>
                </a:lnTo>
                <a:lnTo>
                  <a:pt x="1131" y="1377"/>
                </a:lnTo>
                <a:lnTo>
                  <a:pt x="1131" y="1378"/>
                </a:lnTo>
                <a:lnTo>
                  <a:pt x="1131" y="1377"/>
                </a:lnTo>
                <a:lnTo>
                  <a:pt x="1131" y="1375"/>
                </a:lnTo>
                <a:lnTo>
                  <a:pt x="1129" y="1375"/>
                </a:lnTo>
                <a:lnTo>
                  <a:pt x="1129" y="1373"/>
                </a:lnTo>
                <a:lnTo>
                  <a:pt x="1129" y="1371"/>
                </a:lnTo>
                <a:lnTo>
                  <a:pt x="1127" y="1371"/>
                </a:lnTo>
                <a:lnTo>
                  <a:pt x="1129" y="1371"/>
                </a:lnTo>
                <a:lnTo>
                  <a:pt x="1129" y="1373"/>
                </a:lnTo>
                <a:lnTo>
                  <a:pt x="1129" y="1375"/>
                </a:lnTo>
                <a:lnTo>
                  <a:pt x="1129" y="1377"/>
                </a:lnTo>
                <a:lnTo>
                  <a:pt x="1129" y="1378"/>
                </a:lnTo>
                <a:lnTo>
                  <a:pt x="1129" y="1380"/>
                </a:lnTo>
                <a:lnTo>
                  <a:pt x="1129" y="1382"/>
                </a:lnTo>
                <a:lnTo>
                  <a:pt x="1127" y="1382"/>
                </a:lnTo>
                <a:lnTo>
                  <a:pt x="1125" y="1382"/>
                </a:lnTo>
                <a:lnTo>
                  <a:pt x="1125" y="1380"/>
                </a:lnTo>
                <a:lnTo>
                  <a:pt x="1125" y="1378"/>
                </a:lnTo>
                <a:lnTo>
                  <a:pt x="1123" y="1378"/>
                </a:lnTo>
                <a:lnTo>
                  <a:pt x="1125" y="1378"/>
                </a:lnTo>
                <a:lnTo>
                  <a:pt x="1123" y="1378"/>
                </a:lnTo>
                <a:lnTo>
                  <a:pt x="1123" y="1377"/>
                </a:lnTo>
                <a:lnTo>
                  <a:pt x="1123" y="1375"/>
                </a:lnTo>
                <a:lnTo>
                  <a:pt x="1123" y="1377"/>
                </a:lnTo>
                <a:lnTo>
                  <a:pt x="1122" y="1377"/>
                </a:lnTo>
                <a:lnTo>
                  <a:pt x="1122" y="1375"/>
                </a:lnTo>
                <a:lnTo>
                  <a:pt x="1122" y="1373"/>
                </a:lnTo>
                <a:lnTo>
                  <a:pt x="1122" y="1371"/>
                </a:lnTo>
                <a:lnTo>
                  <a:pt x="1123" y="1371"/>
                </a:lnTo>
                <a:lnTo>
                  <a:pt x="1123" y="1369"/>
                </a:lnTo>
                <a:lnTo>
                  <a:pt x="1123" y="1371"/>
                </a:lnTo>
                <a:lnTo>
                  <a:pt x="1122" y="1371"/>
                </a:lnTo>
                <a:lnTo>
                  <a:pt x="1123" y="1371"/>
                </a:lnTo>
                <a:lnTo>
                  <a:pt x="1122" y="1369"/>
                </a:lnTo>
                <a:lnTo>
                  <a:pt x="1123" y="1369"/>
                </a:lnTo>
                <a:lnTo>
                  <a:pt x="1122" y="1369"/>
                </a:lnTo>
                <a:lnTo>
                  <a:pt x="1122" y="1371"/>
                </a:lnTo>
                <a:lnTo>
                  <a:pt x="1122" y="1369"/>
                </a:lnTo>
                <a:lnTo>
                  <a:pt x="1120" y="1369"/>
                </a:lnTo>
                <a:lnTo>
                  <a:pt x="1120" y="1371"/>
                </a:lnTo>
                <a:lnTo>
                  <a:pt x="1120" y="1369"/>
                </a:lnTo>
                <a:lnTo>
                  <a:pt x="1118" y="1369"/>
                </a:lnTo>
                <a:lnTo>
                  <a:pt x="1118" y="1367"/>
                </a:lnTo>
                <a:lnTo>
                  <a:pt x="1118" y="1365"/>
                </a:lnTo>
                <a:lnTo>
                  <a:pt x="1118" y="1367"/>
                </a:lnTo>
                <a:lnTo>
                  <a:pt x="1116" y="1365"/>
                </a:lnTo>
                <a:lnTo>
                  <a:pt x="1116" y="1367"/>
                </a:lnTo>
                <a:lnTo>
                  <a:pt x="1118" y="1367"/>
                </a:lnTo>
                <a:lnTo>
                  <a:pt x="1118" y="1369"/>
                </a:lnTo>
                <a:lnTo>
                  <a:pt x="1118" y="1371"/>
                </a:lnTo>
                <a:lnTo>
                  <a:pt x="1118" y="1369"/>
                </a:lnTo>
                <a:lnTo>
                  <a:pt x="1116" y="1369"/>
                </a:lnTo>
                <a:lnTo>
                  <a:pt x="1116" y="1371"/>
                </a:lnTo>
                <a:lnTo>
                  <a:pt x="1116" y="1369"/>
                </a:lnTo>
                <a:lnTo>
                  <a:pt x="1116" y="1367"/>
                </a:lnTo>
                <a:lnTo>
                  <a:pt x="1114" y="1367"/>
                </a:lnTo>
                <a:lnTo>
                  <a:pt x="1112" y="1367"/>
                </a:lnTo>
                <a:lnTo>
                  <a:pt x="1112" y="1365"/>
                </a:lnTo>
                <a:lnTo>
                  <a:pt x="1112" y="1367"/>
                </a:lnTo>
                <a:lnTo>
                  <a:pt x="1112" y="1369"/>
                </a:lnTo>
                <a:lnTo>
                  <a:pt x="1114" y="1369"/>
                </a:lnTo>
                <a:lnTo>
                  <a:pt x="1112" y="1369"/>
                </a:lnTo>
                <a:lnTo>
                  <a:pt x="1112" y="1367"/>
                </a:lnTo>
                <a:lnTo>
                  <a:pt x="1110" y="1367"/>
                </a:lnTo>
                <a:lnTo>
                  <a:pt x="1110" y="1365"/>
                </a:lnTo>
                <a:lnTo>
                  <a:pt x="1108" y="1365"/>
                </a:lnTo>
                <a:lnTo>
                  <a:pt x="1108" y="1363"/>
                </a:lnTo>
                <a:lnTo>
                  <a:pt x="1108" y="1361"/>
                </a:lnTo>
                <a:lnTo>
                  <a:pt x="1110" y="1361"/>
                </a:lnTo>
                <a:lnTo>
                  <a:pt x="1112" y="1361"/>
                </a:lnTo>
                <a:lnTo>
                  <a:pt x="1112" y="1359"/>
                </a:lnTo>
                <a:lnTo>
                  <a:pt x="1112" y="1361"/>
                </a:lnTo>
                <a:lnTo>
                  <a:pt x="1112" y="1363"/>
                </a:lnTo>
                <a:lnTo>
                  <a:pt x="1112" y="1361"/>
                </a:lnTo>
                <a:lnTo>
                  <a:pt x="1114" y="1361"/>
                </a:lnTo>
                <a:lnTo>
                  <a:pt x="1112" y="1361"/>
                </a:lnTo>
                <a:lnTo>
                  <a:pt x="1112" y="1359"/>
                </a:lnTo>
                <a:lnTo>
                  <a:pt x="1110" y="1359"/>
                </a:lnTo>
                <a:lnTo>
                  <a:pt x="1110" y="1357"/>
                </a:lnTo>
                <a:lnTo>
                  <a:pt x="1108" y="1357"/>
                </a:lnTo>
                <a:lnTo>
                  <a:pt x="1110" y="1357"/>
                </a:lnTo>
                <a:lnTo>
                  <a:pt x="1108" y="1357"/>
                </a:lnTo>
                <a:lnTo>
                  <a:pt x="1108" y="1359"/>
                </a:lnTo>
                <a:lnTo>
                  <a:pt x="1108" y="1357"/>
                </a:lnTo>
                <a:lnTo>
                  <a:pt x="1108" y="1355"/>
                </a:lnTo>
                <a:lnTo>
                  <a:pt x="1108" y="1353"/>
                </a:lnTo>
                <a:lnTo>
                  <a:pt x="1110" y="1355"/>
                </a:lnTo>
                <a:lnTo>
                  <a:pt x="1110" y="1357"/>
                </a:lnTo>
                <a:lnTo>
                  <a:pt x="1112" y="1357"/>
                </a:lnTo>
                <a:lnTo>
                  <a:pt x="1110" y="1357"/>
                </a:lnTo>
                <a:lnTo>
                  <a:pt x="1110" y="1355"/>
                </a:lnTo>
                <a:lnTo>
                  <a:pt x="1110" y="1353"/>
                </a:lnTo>
                <a:lnTo>
                  <a:pt x="1110" y="1352"/>
                </a:lnTo>
                <a:lnTo>
                  <a:pt x="1108" y="1352"/>
                </a:lnTo>
                <a:lnTo>
                  <a:pt x="1108" y="1350"/>
                </a:lnTo>
                <a:lnTo>
                  <a:pt x="1110" y="1350"/>
                </a:lnTo>
                <a:lnTo>
                  <a:pt x="1110" y="1348"/>
                </a:lnTo>
                <a:lnTo>
                  <a:pt x="1112" y="1348"/>
                </a:lnTo>
                <a:lnTo>
                  <a:pt x="1114" y="1348"/>
                </a:lnTo>
                <a:lnTo>
                  <a:pt x="1116" y="1348"/>
                </a:lnTo>
                <a:lnTo>
                  <a:pt x="1118" y="1348"/>
                </a:lnTo>
                <a:lnTo>
                  <a:pt x="1118" y="1350"/>
                </a:lnTo>
                <a:lnTo>
                  <a:pt x="1118" y="1352"/>
                </a:lnTo>
                <a:lnTo>
                  <a:pt x="1118" y="1353"/>
                </a:lnTo>
                <a:lnTo>
                  <a:pt x="1118" y="1355"/>
                </a:lnTo>
                <a:lnTo>
                  <a:pt x="1118" y="1353"/>
                </a:lnTo>
                <a:lnTo>
                  <a:pt x="1120" y="1353"/>
                </a:lnTo>
                <a:lnTo>
                  <a:pt x="1118" y="1353"/>
                </a:lnTo>
                <a:lnTo>
                  <a:pt x="1120" y="1353"/>
                </a:lnTo>
                <a:lnTo>
                  <a:pt x="1120" y="1352"/>
                </a:lnTo>
                <a:lnTo>
                  <a:pt x="1120" y="1350"/>
                </a:lnTo>
                <a:lnTo>
                  <a:pt x="1118" y="1348"/>
                </a:lnTo>
                <a:lnTo>
                  <a:pt x="1120" y="1350"/>
                </a:lnTo>
                <a:lnTo>
                  <a:pt x="1120" y="1348"/>
                </a:lnTo>
                <a:lnTo>
                  <a:pt x="1120" y="1346"/>
                </a:lnTo>
                <a:lnTo>
                  <a:pt x="1122" y="1346"/>
                </a:lnTo>
                <a:lnTo>
                  <a:pt x="1123" y="1346"/>
                </a:lnTo>
                <a:lnTo>
                  <a:pt x="1123" y="1348"/>
                </a:lnTo>
                <a:lnTo>
                  <a:pt x="1125" y="1348"/>
                </a:lnTo>
                <a:lnTo>
                  <a:pt x="1125" y="1350"/>
                </a:lnTo>
                <a:lnTo>
                  <a:pt x="1127" y="1350"/>
                </a:lnTo>
                <a:lnTo>
                  <a:pt x="1125" y="1350"/>
                </a:lnTo>
                <a:lnTo>
                  <a:pt x="1125" y="1352"/>
                </a:lnTo>
                <a:lnTo>
                  <a:pt x="1125" y="1353"/>
                </a:lnTo>
                <a:lnTo>
                  <a:pt x="1123" y="1353"/>
                </a:lnTo>
                <a:lnTo>
                  <a:pt x="1125" y="1353"/>
                </a:lnTo>
                <a:lnTo>
                  <a:pt x="1125" y="1352"/>
                </a:lnTo>
                <a:lnTo>
                  <a:pt x="1127" y="1352"/>
                </a:lnTo>
                <a:lnTo>
                  <a:pt x="1127" y="1350"/>
                </a:lnTo>
                <a:lnTo>
                  <a:pt x="1127" y="1352"/>
                </a:lnTo>
                <a:lnTo>
                  <a:pt x="1127" y="1350"/>
                </a:lnTo>
                <a:lnTo>
                  <a:pt x="1129" y="1350"/>
                </a:lnTo>
                <a:lnTo>
                  <a:pt x="1131" y="1350"/>
                </a:lnTo>
                <a:lnTo>
                  <a:pt x="1131" y="1352"/>
                </a:lnTo>
                <a:lnTo>
                  <a:pt x="1131" y="1353"/>
                </a:lnTo>
                <a:lnTo>
                  <a:pt x="1133" y="1353"/>
                </a:lnTo>
                <a:lnTo>
                  <a:pt x="1133" y="1355"/>
                </a:lnTo>
                <a:lnTo>
                  <a:pt x="1133" y="1357"/>
                </a:lnTo>
                <a:lnTo>
                  <a:pt x="1133" y="1355"/>
                </a:lnTo>
                <a:lnTo>
                  <a:pt x="1133" y="1357"/>
                </a:lnTo>
                <a:lnTo>
                  <a:pt x="1133" y="1355"/>
                </a:lnTo>
                <a:lnTo>
                  <a:pt x="1135" y="1355"/>
                </a:lnTo>
                <a:lnTo>
                  <a:pt x="1133" y="1355"/>
                </a:lnTo>
                <a:lnTo>
                  <a:pt x="1133" y="1357"/>
                </a:lnTo>
                <a:lnTo>
                  <a:pt x="1133" y="1355"/>
                </a:lnTo>
                <a:lnTo>
                  <a:pt x="1135" y="1355"/>
                </a:lnTo>
                <a:lnTo>
                  <a:pt x="1135" y="1357"/>
                </a:lnTo>
                <a:lnTo>
                  <a:pt x="1135" y="1359"/>
                </a:lnTo>
                <a:lnTo>
                  <a:pt x="1135" y="1361"/>
                </a:lnTo>
                <a:lnTo>
                  <a:pt x="1135" y="1359"/>
                </a:lnTo>
                <a:lnTo>
                  <a:pt x="1135" y="1361"/>
                </a:lnTo>
                <a:lnTo>
                  <a:pt x="1135" y="1363"/>
                </a:lnTo>
                <a:lnTo>
                  <a:pt x="1135" y="1365"/>
                </a:lnTo>
                <a:lnTo>
                  <a:pt x="1135" y="1367"/>
                </a:lnTo>
                <a:lnTo>
                  <a:pt x="1137" y="1365"/>
                </a:lnTo>
                <a:lnTo>
                  <a:pt x="1135" y="1365"/>
                </a:lnTo>
                <a:lnTo>
                  <a:pt x="1137" y="1365"/>
                </a:lnTo>
                <a:lnTo>
                  <a:pt x="1137" y="1363"/>
                </a:lnTo>
                <a:lnTo>
                  <a:pt x="1135" y="1363"/>
                </a:lnTo>
                <a:lnTo>
                  <a:pt x="1135" y="1361"/>
                </a:lnTo>
                <a:lnTo>
                  <a:pt x="1137" y="1361"/>
                </a:lnTo>
                <a:lnTo>
                  <a:pt x="1137" y="1359"/>
                </a:lnTo>
                <a:lnTo>
                  <a:pt x="1135" y="1359"/>
                </a:lnTo>
                <a:lnTo>
                  <a:pt x="1137" y="1359"/>
                </a:lnTo>
                <a:lnTo>
                  <a:pt x="1135" y="1359"/>
                </a:lnTo>
                <a:lnTo>
                  <a:pt x="1137" y="1359"/>
                </a:lnTo>
                <a:lnTo>
                  <a:pt x="1137" y="1357"/>
                </a:lnTo>
                <a:lnTo>
                  <a:pt x="1137" y="1355"/>
                </a:lnTo>
                <a:lnTo>
                  <a:pt x="1137" y="1357"/>
                </a:lnTo>
                <a:lnTo>
                  <a:pt x="1139" y="1357"/>
                </a:lnTo>
                <a:lnTo>
                  <a:pt x="1139" y="1359"/>
                </a:lnTo>
                <a:lnTo>
                  <a:pt x="1139" y="1361"/>
                </a:lnTo>
                <a:lnTo>
                  <a:pt x="1137" y="1361"/>
                </a:lnTo>
                <a:lnTo>
                  <a:pt x="1137" y="1363"/>
                </a:lnTo>
                <a:lnTo>
                  <a:pt x="1139" y="1363"/>
                </a:lnTo>
                <a:lnTo>
                  <a:pt x="1139" y="1361"/>
                </a:lnTo>
                <a:lnTo>
                  <a:pt x="1139" y="1359"/>
                </a:lnTo>
                <a:lnTo>
                  <a:pt x="1141" y="1359"/>
                </a:lnTo>
                <a:lnTo>
                  <a:pt x="1141" y="1357"/>
                </a:lnTo>
                <a:lnTo>
                  <a:pt x="1139" y="1357"/>
                </a:lnTo>
                <a:lnTo>
                  <a:pt x="1139" y="1355"/>
                </a:lnTo>
                <a:lnTo>
                  <a:pt x="1141" y="1355"/>
                </a:lnTo>
                <a:lnTo>
                  <a:pt x="1141" y="1357"/>
                </a:lnTo>
                <a:lnTo>
                  <a:pt x="1141" y="1355"/>
                </a:lnTo>
                <a:lnTo>
                  <a:pt x="1141" y="1357"/>
                </a:lnTo>
                <a:lnTo>
                  <a:pt x="1143" y="1357"/>
                </a:lnTo>
                <a:lnTo>
                  <a:pt x="1141" y="1357"/>
                </a:lnTo>
                <a:lnTo>
                  <a:pt x="1143" y="1357"/>
                </a:lnTo>
                <a:lnTo>
                  <a:pt x="1145" y="1357"/>
                </a:lnTo>
                <a:lnTo>
                  <a:pt x="1143" y="1357"/>
                </a:lnTo>
                <a:lnTo>
                  <a:pt x="1145" y="1357"/>
                </a:lnTo>
                <a:lnTo>
                  <a:pt x="1145" y="1359"/>
                </a:lnTo>
                <a:lnTo>
                  <a:pt x="1145" y="1361"/>
                </a:lnTo>
                <a:lnTo>
                  <a:pt x="1146" y="1361"/>
                </a:lnTo>
                <a:lnTo>
                  <a:pt x="1146" y="1359"/>
                </a:lnTo>
                <a:lnTo>
                  <a:pt x="1146" y="1361"/>
                </a:lnTo>
                <a:lnTo>
                  <a:pt x="1146" y="1359"/>
                </a:lnTo>
                <a:lnTo>
                  <a:pt x="1146" y="1357"/>
                </a:lnTo>
                <a:lnTo>
                  <a:pt x="1146" y="1359"/>
                </a:lnTo>
                <a:lnTo>
                  <a:pt x="1148" y="1359"/>
                </a:lnTo>
                <a:lnTo>
                  <a:pt x="1146" y="1359"/>
                </a:lnTo>
                <a:lnTo>
                  <a:pt x="1148" y="1357"/>
                </a:lnTo>
                <a:lnTo>
                  <a:pt x="1148" y="1359"/>
                </a:lnTo>
                <a:lnTo>
                  <a:pt x="1150" y="1361"/>
                </a:lnTo>
                <a:lnTo>
                  <a:pt x="1148" y="1361"/>
                </a:lnTo>
                <a:lnTo>
                  <a:pt x="1148" y="1363"/>
                </a:lnTo>
                <a:lnTo>
                  <a:pt x="1148" y="1361"/>
                </a:lnTo>
                <a:lnTo>
                  <a:pt x="1148" y="1363"/>
                </a:lnTo>
                <a:lnTo>
                  <a:pt x="1150" y="1363"/>
                </a:lnTo>
                <a:lnTo>
                  <a:pt x="1150" y="1361"/>
                </a:lnTo>
                <a:lnTo>
                  <a:pt x="1150" y="1359"/>
                </a:lnTo>
                <a:lnTo>
                  <a:pt x="1152" y="1359"/>
                </a:lnTo>
                <a:lnTo>
                  <a:pt x="1150" y="1359"/>
                </a:lnTo>
                <a:lnTo>
                  <a:pt x="1152" y="1359"/>
                </a:lnTo>
                <a:lnTo>
                  <a:pt x="1152" y="1357"/>
                </a:lnTo>
                <a:lnTo>
                  <a:pt x="1154" y="1357"/>
                </a:lnTo>
                <a:lnTo>
                  <a:pt x="1152" y="1357"/>
                </a:lnTo>
                <a:lnTo>
                  <a:pt x="1152" y="1359"/>
                </a:lnTo>
                <a:lnTo>
                  <a:pt x="1154" y="1359"/>
                </a:lnTo>
                <a:lnTo>
                  <a:pt x="1156" y="1359"/>
                </a:lnTo>
                <a:lnTo>
                  <a:pt x="1158" y="1359"/>
                </a:lnTo>
                <a:lnTo>
                  <a:pt x="1160" y="1359"/>
                </a:lnTo>
                <a:lnTo>
                  <a:pt x="1162" y="1359"/>
                </a:lnTo>
                <a:lnTo>
                  <a:pt x="1162" y="1361"/>
                </a:lnTo>
                <a:lnTo>
                  <a:pt x="1162" y="1359"/>
                </a:lnTo>
                <a:lnTo>
                  <a:pt x="1164" y="1359"/>
                </a:lnTo>
                <a:lnTo>
                  <a:pt x="1166" y="1359"/>
                </a:lnTo>
                <a:lnTo>
                  <a:pt x="1168" y="1359"/>
                </a:lnTo>
                <a:lnTo>
                  <a:pt x="1170" y="1359"/>
                </a:lnTo>
                <a:lnTo>
                  <a:pt x="1168" y="1359"/>
                </a:lnTo>
                <a:lnTo>
                  <a:pt x="1168" y="1357"/>
                </a:lnTo>
                <a:lnTo>
                  <a:pt x="1170" y="1357"/>
                </a:lnTo>
                <a:lnTo>
                  <a:pt x="1168" y="1357"/>
                </a:lnTo>
                <a:lnTo>
                  <a:pt x="1168" y="1355"/>
                </a:lnTo>
                <a:lnTo>
                  <a:pt x="1166" y="1355"/>
                </a:lnTo>
                <a:lnTo>
                  <a:pt x="1164" y="1355"/>
                </a:lnTo>
                <a:lnTo>
                  <a:pt x="1164" y="1353"/>
                </a:lnTo>
                <a:lnTo>
                  <a:pt x="1162" y="1353"/>
                </a:lnTo>
                <a:lnTo>
                  <a:pt x="1160" y="1353"/>
                </a:lnTo>
                <a:lnTo>
                  <a:pt x="1158" y="1353"/>
                </a:lnTo>
                <a:lnTo>
                  <a:pt x="1156" y="1353"/>
                </a:lnTo>
                <a:lnTo>
                  <a:pt x="1154" y="1352"/>
                </a:lnTo>
                <a:lnTo>
                  <a:pt x="1152" y="1352"/>
                </a:lnTo>
                <a:lnTo>
                  <a:pt x="1152" y="1350"/>
                </a:lnTo>
                <a:lnTo>
                  <a:pt x="1150" y="1350"/>
                </a:lnTo>
                <a:lnTo>
                  <a:pt x="1148" y="1350"/>
                </a:lnTo>
                <a:lnTo>
                  <a:pt x="1146" y="1350"/>
                </a:lnTo>
                <a:lnTo>
                  <a:pt x="1145" y="1348"/>
                </a:lnTo>
                <a:lnTo>
                  <a:pt x="1145" y="1350"/>
                </a:lnTo>
                <a:lnTo>
                  <a:pt x="1146" y="1350"/>
                </a:lnTo>
                <a:lnTo>
                  <a:pt x="1145" y="1350"/>
                </a:lnTo>
                <a:lnTo>
                  <a:pt x="1146" y="1350"/>
                </a:lnTo>
                <a:lnTo>
                  <a:pt x="1145" y="1350"/>
                </a:lnTo>
                <a:lnTo>
                  <a:pt x="1145" y="1352"/>
                </a:lnTo>
                <a:lnTo>
                  <a:pt x="1145" y="1353"/>
                </a:lnTo>
                <a:lnTo>
                  <a:pt x="1145" y="1352"/>
                </a:lnTo>
                <a:lnTo>
                  <a:pt x="1145" y="1350"/>
                </a:lnTo>
                <a:lnTo>
                  <a:pt x="1145" y="1348"/>
                </a:lnTo>
                <a:lnTo>
                  <a:pt x="1145" y="1346"/>
                </a:lnTo>
                <a:lnTo>
                  <a:pt x="1143" y="1346"/>
                </a:lnTo>
                <a:lnTo>
                  <a:pt x="1143" y="1344"/>
                </a:lnTo>
                <a:lnTo>
                  <a:pt x="1143" y="1342"/>
                </a:lnTo>
                <a:lnTo>
                  <a:pt x="1143" y="1340"/>
                </a:lnTo>
                <a:lnTo>
                  <a:pt x="1143" y="1338"/>
                </a:lnTo>
                <a:lnTo>
                  <a:pt x="1143" y="1336"/>
                </a:lnTo>
                <a:lnTo>
                  <a:pt x="1143" y="1334"/>
                </a:lnTo>
                <a:lnTo>
                  <a:pt x="1143" y="1332"/>
                </a:lnTo>
                <a:lnTo>
                  <a:pt x="1145" y="1330"/>
                </a:lnTo>
                <a:lnTo>
                  <a:pt x="1145" y="1329"/>
                </a:lnTo>
                <a:lnTo>
                  <a:pt x="1146" y="1329"/>
                </a:lnTo>
                <a:lnTo>
                  <a:pt x="1146" y="1330"/>
                </a:lnTo>
                <a:lnTo>
                  <a:pt x="1145" y="1330"/>
                </a:lnTo>
                <a:lnTo>
                  <a:pt x="1146" y="1330"/>
                </a:lnTo>
                <a:lnTo>
                  <a:pt x="1146" y="1329"/>
                </a:lnTo>
                <a:lnTo>
                  <a:pt x="1148" y="1329"/>
                </a:lnTo>
                <a:lnTo>
                  <a:pt x="1150" y="1329"/>
                </a:lnTo>
                <a:lnTo>
                  <a:pt x="1152" y="1329"/>
                </a:lnTo>
                <a:lnTo>
                  <a:pt x="1152" y="1327"/>
                </a:lnTo>
                <a:lnTo>
                  <a:pt x="1154" y="1327"/>
                </a:lnTo>
                <a:lnTo>
                  <a:pt x="1156" y="1327"/>
                </a:lnTo>
                <a:lnTo>
                  <a:pt x="1158" y="1327"/>
                </a:lnTo>
                <a:lnTo>
                  <a:pt x="1160" y="1325"/>
                </a:lnTo>
                <a:lnTo>
                  <a:pt x="1162" y="1325"/>
                </a:lnTo>
                <a:lnTo>
                  <a:pt x="1164" y="1323"/>
                </a:lnTo>
                <a:lnTo>
                  <a:pt x="1166" y="1323"/>
                </a:lnTo>
                <a:lnTo>
                  <a:pt x="1168" y="1323"/>
                </a:lnTo>
                <a:lnTo>
                  <a:pt x="1170" y="1323"/>
                </a:lnTo>
                <a:lnTo>
                  <a:pt x="1168" y="1323"/>
                </a:lnTo>
                <a:lnTo>
                  <a:pt x="1170" y="1323"/>
                </a:lnTo>
                <a:lnTo>
                  <a:pt x="1171" y="1323"/>
                </a:lnTo>
                <a:lnTo>
                  <a:pt x="1173" y="1323"/>
                </a:lnTo>
                <a:lnTo>
                  <a:pt x="1175" y="1323"/>
                </a:lnTo>
                <a:lnTo>
                  <a:pt x="1177" y="1323"/>
                </a:lnTo>
                <a:lnTo>
                  <a:pt x="1179" y="1323"/>
                </a:lnTo>
                <a:lnTo>
                  <a:pt x="1181" y="1323"/>
                </a:lnTo>
                <a:lnTo>
                  <a:pt x="1183" y="1323"/>
                </a:lnTo>
                <a:lnTo>
                  <a:pt x="1185" y="1323"/>
                </a:lnTo>
                <a:lnTo>
                  <a:pt x="1187" y="1323"/>
                </a:lnTo>
                <a:lnTo>
                  <a:pt x="1189" y="1323"/>
                </a:lnTo>
                <a:lnTo>
                  <a:pt x="1189" y="1321"/>
                </a:lnTo>
                <a:lnTo>
                  <a:pt x="1191" y="1321"/>
                </a:lnTo>
                <a:lnTo>
                  <a:pt x="1193" y="1321"/>
                </a:lnTo>
                <a:lnTo>
                  <a:pt x="1193" y="1319"/>
                </a:lnTo>
                <a:lnTo>
                  <a:pt x="1194" y="1319"/>
                </a:lnTo>
                <a:lnTo>
                  <a:pt x="1194" y="1317"/>
                </a:lnTo>
                <a:lnTo>
                  <a:pt x="1196" y="1317"/>
                </a:lnTo>
                <a:lnTo>
                  <a:pt x="1198" y="1317"/>
                </a:lnTo>
                <a:lnTo>
                  <a:pt x="1198" y="1319"/>
                </a:lnTo>
                <a:lnTo>
                  <a:pt x="1200" y="1319"/>
                </a:lnTo>
                <a:lnTo>
                  <a:pt x="1200" y="1317"/>
                </a:lnTo>
                <a:lnTo>
                  <a:pt x="1202" y="1317"/>
                </a:lnTo>
                <a:lnTo>
                  <a:pt x="1204" y="1317"/>
                </a:lnTo>
                <a:lnTo>
                  <a:pt x="1204" y="1315"/>
                </a:lnTo>
                <a:lnTo>
                  <a:pt x="1206" y="1315"/>
                </a:lnTo>
                <a:lnTo>
                  <a:pt x="1208" y="1313"/>
                </a:lnTo>
                <a:lnTo>
                  <a:pt x="1210" y="1313"/>
                </a:lnTo>
                <a:lnTo>
                  <a:pt x="1210" y="1311"/>
                </a:lnTo>
                <a:lnTo>
                  <a:pt x="1212" y="1311"/>
                </a:lnTo>
                <a:lnTo>
                  <a:pt x="1212" y="1313"/>
                </a:lnTo>
                <a:lnTo>
                  <a:pt x="1210" y="1313"/>
                </a:lnTo>
                <a:lnTo>
                  <a:pt x="1212" y="1313"/>
                </a:lnTo>
                <a:lnTo>
                  <a:pt x="1212" y="1311"/>
                </a:lnTo>
                <a:lnTo>
                  <a:pt x="1212" y="1309"/>
                </a:lnTo>
                <a:lnTo>
                  <a:pt x="1212" y="1307"/>
                </a:lnTo>
                <a:lnTo>
                  <a:pt x="1214" y="1307"/>
                </a:lnTo>
                <a:lnTo>
                  <a:pt x="1214" y="1305"/>
                </a:lnTo>
                <a:lnTo>
                  <a:pt x="1216" y="1305"/>
                </a:lnTo>
                <a:lnTo>
                  <a:pt x="1216" y="1304"/>
                </a:lnTo>
                <a:lnTo>
                  <a:pt x="1216" y="1302"/>
                </a:lnTo>
                <a:lnTo>
                  <a:pt x="1218" y="1302"/>
                </a:lnTo>
                <a:lnTo>
                  <a:pt x="1218" y="1300"/>
                </a:lnTo>
                <a:lnTo>
                  <a:pt x="1219" y="1300"/>
                </a:lnTo>
                <a:lnTo>
                  <a:pt x="1221" y="1300"/>
                </a:lnTo>
                <a:lnTo>
                  <a:pt x="1221" y="1302"/>
                </a:lnTo>
                <a:lnTo>
                  <a:pt x="1223" y="1302"/>
                </a:lnTo>
                <a:lnTo>
                  <a:pt x="1225" y="1302"/>
                </a:lnTo>
                <a:lnTo>
                  <a:pt x="1227" y="1302"/>
                </a:lnTo>
                <a:lnTo>
                  <a:pt x="1227" y="1304"/>
                </a:lnTo>
                <a:lnTo>
                  <a:pt x="1229" y="1304"/>
                </a:lnTo>
                <a:lnTo>
                  <a:pt x="1229" y="1305"/>
                </a:lnTo>
                <a:lnTo>
                  <a:pt x="1231" y="1305"/>
                </a:lnTo>
                <a:lnTo>
                  <a:pt x="1231" y="1307"/>
                </a:lnTo>
                <a:lnTo>
                  <a:pt x="1233" y="1307"/>
                </a:lnTo>
                <a:lnTo>
                  <a:pt x="1235" y="1307"/>
                </a:lnTo>
                <a:lnTo>
                  <a:pt x="1237" y="1307"/>
                </a:lnTo>
                <a:lnTo>
                  <a:pt x="1239" y="1309"/>
                </a:lnTo>
                <a:lnTo>
                  <a:pt x="1241" y="1309"/>
                </a:lnTo>
                <a:lnTo>
                  <a:pt x="1243" y="1309"/>
                </a:lnTo>
                <a:lnTo>
                  <a:pt x="1244" y="1309"/>
                </a:lnTo>
                <a:lnTo>
                  <a:pt x="1246" y="1309"/>
                </a:lnTo>
                <a:lnTo>
                  <a:pt x="1248" y="1309"/>
                </a:lnTo>
                <a:lnTo>
                  <a:pt x="1248" y="1311"/>
                </a:lnTo>
                <a:lnTo>
                  <a:pt x="1250" y="1311"/>
                </a:lnTo>
                <a:lnTo>
                  <a:pt x="1252" y="1311"/>
                </a:lnTo>
                <a:lnTo>
                  <a:pt x="1254" y="1311"/>
                </a:lnTo>
                <a:lnTo>
                  <a:pt x="1254" y="1313"/>
                </a:lnTo>
                <a:lnTo>
                  <a:pt x="1256" y="1313"/>
                </a:lnTo>
                <a:lnTo>
                  <a:pt x="1258" y="1313"/>
                </a:lnTo>
                <a:lnTo>
                  <a:pt x="1260" y="1313"/>
                </a:lnTo>
                <a:lnTo>
                  <a:pt x="1260" y="1315"/>
                </a:lnTo>
                <a:lnTo>
                  <a:pt x="1262" y="1315"/>
                </a:lnTo>
                <a:lnTo>
                  <a:pt x="1264" y="1315"/>
                </a:lnTo>
                <a:lnTo>
                  <a:pt x="1264" y="1317"/>
                </a:lnTo>
                <a:lnTo>
                  <a:pt x="1266" y="1317"/>
                </a:lnTo>
                <a:lnTo>
                  <a:pt x="1264" y="1319"/>
                </a:lnTo>
                <a:lnTo>
                  <a:pt x="1264" y="1321"/>
                </a:lnTo>
                <a:lnTo>
                  <a:pt x="1262" y="1321"/>
                </a:lnTo>
                <a:lnTo>
                  <a:pt x="1262" y="1323"/>
                </a:lnTo>
                <a:lnTo>
                  <a:pt x="1262" y="1325"/>
                </a:lnTo>
                <a:lnTo>
                  <a:pt x="1262" y="1327"/>
                </a:lnTo>
                <a:lnTo>
                  <a:pt x="1262" y="1329"/>
                </a:lnTo>
                <a:lnTo>
                  <a:pt x="1262" y="1330"/>
                </a:lnTo>
                <a:lnTo>
                  <a:pt x="1264" y="1330"/>
                </a:lnTo>
                <a:lnTo>
                  <a:pt x="1264" y="1332"/>
                </a:lnTo>
                <a:lnTo>
                  <a:pt x="1264" y="1334"/>
                </a:lnTo>
                <a:lnTo>
                  <a:pt x="1264" y="1332"/>
                </a:lnTo>
                <a:lnTo>
                  <a:pt x="1266" y="1332"/>
                </a:lnTo>
                <a:lnTo>
                  <a:pt x="1266" y="1334"/>
                </a:lnTo>
                <a:lnTo>
                  <a:pt x="1267" y="1334"/>
                </a:lnTo>
                <a:lnTo>
                  <a:pt x="1267" y="1336"/>
                </a:lnTo>
                <a:lnTo>
                  <a:pt x="1269" y="1336"/>
                </a:lnTo>
                <a:lnTo>
                  <a:pt x="1271" y="1336"/>
                </a:lnTo>
                <a:lnTo>
                  <a:pt x="1273" y="1336"/>
                </a:lnTo>
                <a:lnTo>
                  <a:pt x="1273" y="1338"/>
                </a:lnTo>
                <a:lnTo>
                  <a:pt x="1275" y="1338"/>
                </a:lnTo>
                <a:lnTo>
                  <a:pt x="1275" y="1340"/>
                </a:lnTo>
                <a:lnTo>
                  <a:pt x="1275" y="1342"/>
                </a:lnTo>
                <a:lnTo>
                  <a:pt x="1275" y="1344"/>
                </a:lnTo>
                <a:lnTo>
                  <a:pt x="1275" y="1346"/>
                </a:lnTo>
                <a:lnTo>
                  <a:pt x="1277" y="1346"/>
                </a:lnTo>
                <a:lnTo>
                  <a:pt x="1277" y="1348"/>
                </a:lnTo>
                <a:lnTo>
                  <a:pt x="1277" y="1350"/>
                </a:lnTo>
                <a:lnTo>
                  <a:pt x="1279" y="1350"/>
                </a:lnTo>
                <a:lnTo>
                  <a:pt x="1279" y="1352"/>
                </a:lnTo>
                <a:lnTo>
                  <a:pt x="1279" y="1353"/>
                </a:lnTo>
                <a:lnTo>
                  <a:pt x="1279" y="1355"/>
                </a:lnTo>
                <a:lnTo>
                  <a:pt x="1281" y="1355"/>
                </a:lnTo>
                <a:lnTo>
                  <a:pt x="1281" y="1357"/>
                </a:lnTo>
                <a:lnTo>
                  <a:pt x="1283" y="1359"/>
                </a:lnTo>
                <a:lnTo>
                  <a:pt x="1283" y="1361"/>
                </a:lnTo>
                <a:lnTo>
                  <a:pt x="1285" y="1361"/>
                </a:lnTo>
                <a:lnTo>
                  <a:pt x="1285" y="1363"/>
                </a:lnTo>
                <a:lnTo>
                  <a:pt x="1285" y="1365"/>
                </a:lnTo>
                <a:lnTo>
                  <a:pt x="1285" y="1367"/>
                </a:lnTo>
                <a:lnTo>
                  <a:pt x="1285" y="1369"/>
                </a:lnTo>
                <a:lnTo>
                  <a:pt x="1285" y="1371"/>
                </a:lnTo>
                <a:lnTo>
                  <a:pt x="1283" y="1371"/>
                </a:lnTo>
                <a:lnTo>
                  <a:pt x="1285" y="1371"/>
                </a:lnTo>
                <a:lnTo>
                  <a:pt x="1285" y="1369"/>
                </a:lnTo>
                <a:lnTo>
                  <a:pt x="1285" y="1371"/>
                </a:lnTo>
                <a:lnTo>
                  <a:pt x="1285" y="1369"/>
                </a:lnTo>
                <a:lnTo>
                  <a:pt x="1287" y="1369"/>
                </a:lnTo>
                <a:lnTo>
                  <a:pt x="1287" y="1371"/>
                </a:lnTo>
                <a:lnTo>
                  <a:pt x="1287" y="1369"/>
                </a:lnTo>
                <a:lnTo>
                  <a:pt x="1287" y="1367"/>
                </a:lnTo>
                <a:lnTo>
                  <a:pt x="1287" y="1365"/>
                </a:lnTo>
                <a:lnTo>
                  <a:pt x="1287" y="1363"/>
                </a:lnTo>
                <a:lnTo>
                  <a:pt x="1289" y="1363"/>
                </a:lnTo>
                <a:lnTo>
                  <a:pt x="1287" y="1363"/>
                </a:lnTo>
                <a:lnTo>
                  <a:pt x="1287" y="1361"/>
                </a:lnTo>
                <a:lnTo>
                  <a:pt x="1287" y="1359"/>
                </a:lnTo>
                <a:lnTo>
                  <a:pt x="1287" y="1357"/>
                </a:lnTo>
                <a:lnTo>
                  <a:pt x="1285" y="1357"/>
                </a:lnTo>
                <a:lnTo>
                  <a:pt x="1285" y="1355"/>
                </a:lnTo>
                <a:lnTo>
                  <a:pt x="1283" y="1355"/>
                </a:lnTo>
                <a:lnTo>
                  <a:pt x="1283" y="1353"/>
                </a:lnTo>
                <a:lnTo>
                  <a:pt x="1281" y="1353"/>
                </a:lnTo>
                <a:lnTo>
                  <a:pt x="1283" y="1353"/>
                </a:lnTo>
                <a:lnTo>
                  <a:pt x="1281" y="1353"/>
                </a:lnTo>
                <a:lnTo>
                  <a:pt x="1283" y="1353"/>
                </a:lnTo>
                <a:lnTo>
                  <a:pt x="1283" y="1352"/>
                </a:lnTo>
                <a:lnTo>
                  <a:pt x="1283" y="1350"/>
                </a:lnTo>
                <a:lnTo>
                  <a:pt x="1283" y="1348"/>
                </a:lnTo>
                <a:lnTo>
                  <a:pt x="1283" y="1346"/>
                </a:lnTo>
                <a:lnTo>
                  <a:pt x="1281" y="1346"/>
                </a:lnTo>
                <a:lnTo>
                  <a:pt x="1281" y="1344"/>
                </a:lnTo>
                <a:lnTo>
                  <a:pt x="1279" y="1344"/>
                </a:lnTo>
                <a:lnTo>
                  <a:pt x="1279" y="1342"/>
                </a:lnTo>
                <a:lnTo>
                  <a:pt x="1279" y="1340"/>
                </a:lnTo>
                <a:lnTo>
                  <a:pt x="1279" y="1338"/>
                </a:lnTo>
                <a:lnTo>
                  <a:pt x="1279" y="1336"/>
                </a:lnTo>
                <a:lnTo>
                  <a:pt x="1279" y="1334"/>
                </a:lnTo>
                <a:lnTo>
                  <a:pt x="1279" y="1332"/>
                </a:lnTo>
                <a:lnTo>
                  <a:pt x="1281" y="1332"/>
                </a:lnTo>
                <a:lnTo>
                  <a:pt x="1281" y="1330"/>
                </a:lnTo>
                <a:lnTo>
                  <a:pt x="1279" y="1330"/>
                </a:lnTo>
                <a:lnTo>
                  <a:pt x="1279" y="1329"/>
                </a:lnTo>
                <a:lnTo>
                  <a:pt x="1279" y="1327"/>
                </a:lnTo>
                <a:lnTo>
                  <a:pt x="1279" y="1325"/>
                </a:lnTo>
                <a:lnTo>
                  <a:pt x="1279" y="1323"/>
                </a:lnTo>
                <a:lnTo>
                  <a:pt x="1279" y="1321"/>
                </a:lnTo>
                <a:lnTo>
                  <a:pt x="1279" y="1319"/>
                </a:lnTo>
                <a:lnTo>
                  <a:pt x="1281" y="1319"/>
                </a:lnTo>
                <a:lnTo>
                  <a:pt x="1283" y="1319"/>
                </a:lnTo>
                <a:lnTo>
                  <a:pt x="1285" y="1319"/>
                </a:lnTo>
                <a:lnTo>
                  <a:pt x="1285" y="1321"/>
                </a:lnTo>
                <a:lnTo>
                  <a:pt x="1287" y="1323"/>
                </a:lnTo>
                <a:lnTo>
                  <a:pt x="1289" y="1323"/>
                </a:lnTo>
                <a:lnTo>
                  <a:pt x="1289" y="1321"/>
                </a:lnTo>
                <a:lnTo>
                  <a:pt x="1291" y="1321"/>
                </a:lnTo>
                <a:lnTo>
                  <a:pt x="1292" y="1321"/>
                </a:lnTo>
                <a:lnTo>
                  <a:pt x="1294" y="1321"/>
                </a:lnTo>
                <a:lnTo>
                  <a:pt x="1296" y="1321"/>
                </a:lnTo>
                <a:lnTo>
                  <a:pt x="1298" y="1321"/>
                </a:lnTo>
                <a:lnTo>
                  <a:pt x="1298" y="1323"/>
                </a:lnTo>
                <a:lnTo>
                  <a:pt x="1300" y="1323"/>
                </a:lnTo>
                <a:lnTo>
                  <a:pt x="1300" y="1321"/>
                </a:lnTo>
                <a:lnTo>
                  <a:pt x="1302" y="1321"/>
                </a:lnTo>
                <a:lnTo>
                  <a:pt x="1304" y="1321"/>
                </a:lnTo>
                <a:lnTo>
                  <a:pt x="1304" y="1323"/>
                </a:lnTo>
                <a:lnTo>
                  <a:pt x="1306" y="1323"/>
                </a:lnTo>
                <a:lnTo>
                  <a:pt x="1308" y="1323"/>
                </a:lnTo>
                <a:lnTo>
                  <a:pt x="1308" y="1325"/>
                </a:lnTo>
                <a:lnTo>
                  <a:pt x="1310" y="1325"/>
                </a:lnTo>
                <a:lnTo>
                  <a:pt x="1312" y="1325"/>
                </a:lnTo>
                <a:lnTo>
                  <a:pt x="1314" y="1325"/>
                </a:lnTo>
                <a:lnTo>
                  <a:pt x="1315" y="1325"/>
                </a:lnTo>
                <a:lnTo>
                  <a:pt x="1315" y="1327"/>
                </a:lnTo>
                <a:lnTo>
                  <a:pt x="1317" y="1327"/>
                </a:lnTo>
                <a:lnTo>
                  <a:pt x="1317" y="1329"/>
                </a:lnTo>
                <a:lnTo>
                  <a:pt x="1319" y="1329"/>
                </a:lnTo>
                <a:lnTo>
                  <a:pt x="1321" y="1329"/>
                </a:lnTo>
                <a:lnTo>
                  <a:pt x="1321" y="1327"/>
                </a:lnTo>
                <a:lnTo>
                  <a:pt x="1321" y="1329"/>
                </a:lnTo>
                <a:lnTo>
                  <a:pt x="1321" y="1327"/>
                </a:lnTo>
                <a:lnTo>
                  <a:pt x="1319" y="1327"/>
                </a:lnTo>
                <a:lnTo>
                  <a:pt x="1319" y="1325"/>
                </a:lnTo>
                <a:lnTo>
                  <a:pt x="1317" y="1325"/>
                </a:lnTo>
                <a:lnTo>
                  <a:pt x="1317" y="1323"/>
                </a:lnTo>
                <a:lnTo>
                  <a:pt x="1315" y="1323"/>
                </a:lnTo>
                <a:lnTo>
                  <a:pt x="1317" y="1323"/>
                </a:lnTo>
                <a:lnTo>
                  <a:pt x="1319" y="1323"/>
                </a:lnTo>
                <a:lnTo>
                  <a:pt x="1319" y="1325"/>
                </a:lnTo>
                <a:lnTo>
                  <a:pt x="1321" y="1325"/>
                </a:lnTo>
                <a:lnTo>
                  <a:pt x="1319" y="1325"/>
                </a:lnTo>
                <a:lnTo>
                  <a:pt x="1321" y="1325"/>
                </a:lnTo>
                <a:lnTo>
                  <a:pt x="1319" y="1325"/>
                </a:lnTo>
                <a:lnTo>
                  <a:pt x="1321" y="1325"/>
                </a:lnTo>
                <a:lnTo>
                  <a:pt x="1319" y="1325"/>
                </a:lnTo>
                <a:lnTo>
                  <a:pt x="1319" y="1323"/>
                </a:lnTo>
                <a:lnTo>
                  <a:pt x="1319" y="1325"/>
                </a:lnTo>
                <a:lnTo>
                  <a:pt x="1319" y="1323"/>
                </a:lnTo>
                <a:lnTo>
                  <a:pt x="1319" y="1325"/>
                </a:lnTo>
                <a:lnTo>
                  <a:pt x="1319" y="1323"/>
                </a:lnTo>
                <a:lnTo>
                  <a:pt x="1317" y="1323"/>
                </a:lnTo>
                <a:lnTo>
                  <a:pt x="1317" y="1321"/>
                </a:lnTo>
                <a:lnTo>
                  <a:pt x="1315" y="1321"/>
                </a:lnTo>
                <a:lnTo>
                  <a:pt x="1315" y="1319"/>
                </a:lnTo>
                <a:lnTo>
                  <a:pt x="1314" y="1319"/>
                </a:lnTo>
                <a:lnTo>
                  <a:pt x="1314" y="1317"/>
                </a:lnTo>
                <a:lnTo>
                  <a:pt x="1312" y="1317"/>
                </a:lnTo>
                <a:lnTo>
                  <a:pt x="1310" y="1317"/>
                </a:lnTo>
                <a:lnTo>
                  <a:pt x="1310" y="1315"/>
                </a:lnTo>
                <a:lnTo>
                  <a:pt x="1308" y="1315"/>
                </a:lnTo>
                <a:lnTo>
                  <a:pt x="1306" y="1315"/>
                </a:lnTo>
                <a:lnTo>
                  <a:pt x="1304" y="1315"/>
                </a:lnTo>
                <a:lnTo>
                  <a:pt x="1302" y="1315"/>
                </a:lnTo>
                <a:lnTo>
                  <a:pt x="1300" y="1315"/>
                </a:lnTo>
                <a:lnTo>
                  <a:pt x="1298" y="1315"/>
                </a:lnTo>
                <a:lnTo>
                  <a:pt x="1296" y="1315"/>
                </a:lnTo>
                <a:lnTo>
                  <a:pt x="1294" y="1315"/>
                </a:lnTo>
                <a:lnTo>
                  <a:pt x="1294" y="1317"/>
                </a:lnTo>
                <a:lnTo>
                  <a:pt x="1292" y="1317"/>
                </a:lnTo>
                <a:lnTo>
                  <a:pt x="1292" y="1319"/>
                </a:lnTo>
                <a:lnTo>
                  <a:pt x="1291" y="1319"/>
                </a:lnTo>
                <a:lnTo>
                  <a:pt x="1289" y="1319"/>
                </a:lnTo>
                <a:lnTo>
                  <a:pt x="1287" y="1319"/>
                </a:lnTo>
                <a:lnTo>
                  <a:pt x="1287" y="1317"/>
                </a:lnTo>
                <a:lnTo>
                  <a:pt x="1287" y="1315"/>
                </a:lnTo>
                <a:lnTo>
                  <a:pt x="1285" y="1315"/>
                </a:lnTo>
                <a:lnTo>
                  <a:pt x="1285" y="1313"/>
                </a:lnTo>
                <a:lnTo>
                  <a:pt x="1283" y="1311"/>
                </a:lnTo>
                <a:lnTo>
                  <a:pt x="1283" y="1309"/>
                </a:lnTo>
                <a:lnTo>
                  <a:pt x="1281" y="1309"/>
                </a:lnTo>
                <a:lnTo>
                  <a:pt x="1281" y="1307"/>
                </a:lnTo>
                <a:lnTo>
                  <a:pt x="1283" y="1307"/>
                </a:lnTo>
                <a:lnTo>
                  <a:pt x="1283" y="1305"/>
                </a:lnTo>
                <a:lnTo>
                  <a:pt x="1281" y="1305"/>
                </a:lnTo>
                <a:lnTo>
                  <a:pt x="1281" y="1307"/>
                </a:lnTo>
                <a:lnTo>
                  <a:pt x="1279" y="1307"/>
                </a:lnTo>
                <a:lnTo>
                  <a:pt x="1279" y="1305"/>
                </a:lnTo>
                <a:lnTo>
                  <a:pt x="1277" y="1305"/>
                </a:lnTo>
                <a:lnTo>
                  <a:pt x="1277" y="1304"/>
                </a:lnTo>
                <a:lnTo>
                  <a:pt x="1275" y="1304"/>
                </a:lnTo>
                <a:lnTo>
                  <a:pt x="1275" y="1302"/>
                </a:lnTo>
                <a:lnTo>
                  <a:pt x="1275" y="1300"/>
                </a:lnTo>
                <a:lnTo>
                  <a:pt x="1277" y="1300"/>
                </a:lnTo>
                <a:lnTo>
                  <a:pt x="1277" y="1298"/>
                </a:lnTo>
                <a:lnTo>
                  <a:pt x="1277" y="1296"/>
                </a:lnTo>
                <a:lnTo>
                  <a:pt x="1279" y="1298"/>
                </a:lnTo>
                <a:lnTo>
                  <a:pt x="1279" y="1296"/>
                </a:lnTo>
                <a:lnTo>
                  <a:pt x="1281" y="1296"/>
                </a:lnTo>
                <a:lnTo>
                  <a:pt x="1283" y="1296"/>
                </a:lnTo>
                <a:lnTo>
                  <a:pt x="1281" y="1296"/>
                </a:lnTo>
                <a:lnTo>
                  <a:pt x="1281" y="1294"/>
                </a:lnTo>
                <a:lnTo>
                  <a:pt x="1279" y="1294"/>
                </a:lnTo>
                <a:lnTo>
                  <a:pt x="1277" y="1296"/>
                </a:lnTo>
                <a:lnTo>
                  <a:pt x="1277" y="1298"/>
                </a:lnTo>
                <a:lnTo>
                  <a:pt x="1275" y="1298"/>
                </a:lnTo>
                <a:lnTo>
                  <a:pt x="1275" y="1296"/>
                </a:lnTo>
                <a:lnTo>
                  <a:pt x="1275" y="1294"/>
                </a:lnTo>
                <a:lnTo>
                  <a:pt x="1277" y="1294"/>
                </a:lnTo>
                <a:lnTo>
                  <a:pt x="1275" y="1294"/>
                </a:lnTo>
                <a:lnTo>
                  <a:pt x="1273" y="1294"/>
                </a:lnTo>
                <a:lnTo>
                  <a:pt x="1273" y="1296"/>
                </a:lnTo>
                <a:lnTo>
                  <a:pt x="1271" y="1296"/>
                </a:lnTo>
                <a:lnTo>
                  <a:pt x="1269" y="1296"/>
                </a:lnTo>
                <a:lnTo>
                  <a:pt x="1269" y="1294"/>
                </a:lnTo>
                <a:lnTo>
                  <a:pt x="1267" y="1294"/>
                </a:lnTo>
                <a:lnTo>
                  <a:pt x="1266" y="1292"/>
                </a:lnTo>
                <a:lnTo>
                  <a:pt x="1264" y="1292"/>
                </a:lnTo>
                <a:lnTo>
                  <a:pt x="1262" y="1290"/>
                </a:lnTo>
                <a:lnTo>
                  <a:pt x="1264" y="1290"/>
                </a:lnTo>
                <a:lnTo>
                  <a:pt x="1262" y="1290"/>
                </a:lnTo>
                <a:lnTo>
                  <a:pt x="1260" y="1290"/>
                </a:lnTo>
                <a:lnTo>
                  <a:pt x="1258" y="1288"/>
                </a:lnTo>
                <a:lnTo>
                  <a:pt x="1256" y="1288"/>
                </a:lnTo>
                <a:lnTo>
                  <a:pt x="1254" y="1288"/>
                </a:lnTo>
                <a:lnTo>
                  <a:pt x="1254" y="1290"/>
                </a:lnTo>
                <a:lnTo>
                  <a:pt x="1252" y="1290"/>
                </a:lnTo>
                <a:lnTo>
                  <a:pt x="1250" y="1290"/>
                </a:lnTo>
                <a:lnTo>
                  <a:pt x="1248" y="1290"/>
                </a:lnTo>
                <a:lnTo>
                  <a:pt x="1246" y="1290"/>
                </a:lnTo>
                <a:lnTo>
                  <a:pt x="1244" y="1290"/>
                </a:lnTo>
                <a:lnTo>
                  <a:pt x="1244" y="1288"/>
                </a:lnTo>
                <a:lnTo>
                  <a:pt x="1243" y="1288"/>
                </a:lnTo>
                <a:lnTo>
                  <a:pt x="1243" y="1286"/>
                </a:lnTo>
                <a:lnTo>
                  <a:pt x="1241" y="1286"/>
                </a:lnTo>
                <a:lnTo>
                  <a:pt x="1239" y="1286"/>
                </a:lnTo>
                <a:lnTo>
                  <a:pt x="1239" y="1284"/>
                </a:lnTo>
                <a:lnTo>
                  <a:pt x="1237" y="1284"/>
                </a:lnTo>
                <a:lnTo>
                  <a:pt x="1237" y="1282"/>
                </a:lnTo>
                <a:lnTo>
                  <a:pt x="1235" y="1282"/>
                </a:lnTo>
                <a:lnTo>
                  <a:pt x="1233" y="1282"/>
                </a:lnTo>
                <a:lnTo>
                  <a:pt x="1233" y="1281"/>
                </a:lnTo>
                <a:lnTo>
                  <a:pt x="1231" y="1281"/>
                </a:lnTo>
                <a:lnTo>
                  <a:pt x="1229" y="1281"/>
                </a:lnTo>
                <a:lnTo>
                  <a:pt x="1227" y="1281"/>
                </a:lnTo>
                <a:lnTo>
                  <a:pt x="1225" y="1281"/>
                </a:lnTo>
                <a:lnTo>
                  <a:pt x="1225" y="1279"/>
                </a:lnTo>
                <a:lnTo>
                  <a:pt x="1223" y="1279"/>
                </a:lnTo>
                <a:lnTo>
                  <a:pt x="1223" y="1281"/>
                </a:lnTo>
                <a:lnTo>
                  <a:pt x="1221" y="1281"/>
                </a:lnTo>
                <a:lnTo>
                  <a:pt x="1219" y="1281"/>
                </a:lnTo>
                <a:lnTo>
                  <a:pt x="1218" y="1281"/>
                </a:lnTo>
                <a:lnTo>
                  <a:pt x="1218" y="1282"/>
                </a:lnTo>
                <a:lnTo>
                  <a:pt x="1216" y="1282"/>
                </a:lnTo>
                <a:lnTo>
                  <a:pt x="1216" y="1284"/>
                </a:lnTo>
                <a:lnTo>
                  <a:pt x="1216" y="1286"/>
                </a:lnTo>
                <a:lnTo>
                  <a:pt x="1214" y="1286"/>
                </a:lnTo>
                <a:lnTo>
                  <a:pt x="1214" y="1288"/>
                </a:lnTo>
                <a:lnTo>
                  <a:pt x="1212" y="1288"/>
                </a:lnTo>
                <a:lnTo>
                  <a:pt x="1212" y="1290"/>
                </a:lnTo>
                <a:lnTo>
                  <a:pt x="1210" y="1288"/>
                </a:lnTo>
                <a:lnTo>
                  <a:pt x="1210" y="1286"/>
                </a:lnTo>
                <a:lnTo>
                  <a:pt x="1210" y="1284"/>
                </a:lnTo>
                <a:lnTo>
                  <a:pt x="1210" y="1282"/>
                </a:lnTo>
                <a:lnTo>
                  <a:pt x="1210" y="1284"/>
                </a:lnTo>
                <a:lnTo>
                  <a:pt x="1208" y="1284"/>
                </a:lnTo>
                <a:lnTo>
                  <a:pt x="1208" y="1282"/>
                </a:lnTo>
                <a:lnTo>
                  <a:pt x="1206" y="1282"/>
                </a:lnTo>
                <a:lnTo>
                  <a:pt x="1204" y="1282"/>
                </a:lnTo>
                <a:lnTo>
                  <a:pt x="1202" y="1282"/>
                </a:lnTo>
                <a:lnTo>
                  <a:pt x="1202" y="1281"/>
                </a:lnTo>
                <a:lnTo>
                  <a:pt x="1202" y="1282"/>
                </a:lnTo>
                <a:lnTo>
                  <a:pt x="1202" y="1281"/>
                </a:lnTo>
                <a:lnTo>
                  <a:pt x="1200" y="1281"/>
                </a:lnTo>
                <a:lnTo>
                  <a:pt x="1202" y="1281"/>
                </a:lnTo>
                <a:lnTo>
                  <a:pt x="1202" y="1279"/>
                </a:lnTo>
                <a:lnTo>
                  <a:pt x="1202" y="1281"/>
                </a:lnTo>
                <a:lnTo>
                  <a:pt x="1200" y="1281"/>
                </a:lnTo>
                <a:lnTo>
                  <a:pt x="1198" y="1282"/>
                </a:lnTo>
                <a:lnTo>
                  <a:pt x="1198" y="1281"/>
                </a:lnTo>
                <a:lnTo>
                  <a:pt x="1196" y="1282"/>
                </a:lnTo>
                <a:lnTo>
                  <a:pt x="1194" y="1282"/>
                </a:lnTo>
                <a:lnTo>
                  <a:pt x="1193" y="1282"/>
                </a:lnTo>
                <a:lnTo>
                  <a:pt x="1193" y="1281"/>
                </a:lnTo>
                <a:lnTo>
                  <a:pt x="1193" y="1282"/>
                </a:lnTo>
                <a:lnTo>
                  <a:pt x="1193" y="1281"/>
                </a:lnTo>
                <a:lnTo>
                  <a:pt x="1191" y="1281"/>
                </a:lnTo>
                <a:lnTo>
                  <a:pt x="1189" y="1281"/>
                </a:lnTo>
                <a:lnTo>
                  <a:pt x="1187" y="1281"/>
                </a:lnTo>
                <a:lnTo>
                  <a:pt x="1185" y="1281"/>
                </a:lnTo>
                <a:lnTo>
                  <a:pt x="1183" y="1281"/>
                </a:lnTo>
                <a:lnTo>
                  <a:pt x="1181" y="1281"/>
                </a:lnTo>
                <a:lnTo>
                  <a:pt x="1179" y="1281"/>
                </a:lnTo>
                <a:lnTo>
                  <a:pt x="1179" y="1282"/>
                </a:lnTo>
                <a:lnTo>
                  <a:pt x="1177" y="1282"/>
                </a:lnTo>
                <a:lnTo>
                  <a:pt x="1177" y="1284"/>
                </a:lnTo>
                <a:lnTo>
                  <a:pt x="1177" y="1286"/>
                </a:lnTo>
                <a:lnTo>
                  <a:pt x="1177" y="1288"/>
                </a:lnTo>
                <a:lnTo>
                  <a:pt x="1177" y="1286"/>
                </a:lnTo>
                <a:lnTo>
                  <a:pt x="1175" y="1286"/>
                </a:lnTo>
                <a:lnTo>
                  <a:pt x="1173" y="1286"/>
                </a:lnTo>
                <a:lnTo>
                  <a:pt x="1171" y="1286"/>
                </a:lnTo>
                <a:lnTo>
                  <a:pt x="1171" y="1284"/>
                </a:lnTo>
                <a:lnTo>
                  <a:pt x="1171" y="1286"/>
                </a:lnTo>
                <a:lnTo>
                  <a:pt x="1170" y="1286"/>
                </a:lnTo>
                <a:lnTo>
                  <a:pt x="1168" y="1286"/>
                </a:lnTo>
                <a:lnTo>
                  <a:pt x="1166" y="1286"/>
                </a:lnTo>
                <a:lnTo>
                  <a:pt x="1164" y="1286"/>
                </a:lnTo>
                <a:lnTo>
                  <a:pt x="1164" y="1284"/>
                </a:lnTo>
                <a:lnTo>
                  <a:pt x="1162" y="1284"/>
                </a:lnTo>
                <a:lnTo>
                  <a:pt x="1160" y="1284"/>
                </a:lnTo>
                <a:lnTo>
                  <a:pt x="1158" y="1284"/>
                </a:lnTo>
                <a:lnTo>
                  <a:pt x="1156" y="1282"/>
                </a:lnTo>
                <a:lnTo>
                  <a:pt x="1158" y="1282"/>
                </a:lnTo>
                <a:lnTo>
                  <a:pt x="1158" y="1284"/>
                </a:lnTo>
                <a:lnTo>
                  <a:pt x="1158" y="1282"/>
                </a:lnTo>
                <a:lnTo>
                  <a:pt x="1156" y="1282"/>
                </a:lnTo>
                <a:lnTo>
                  <a:pt x="1158" y="1282"/>
                </a:lnTo>
                <a:lnTo>
                  <a:pt x="1158" y="1281"/>
                </a:lnTo>
                <a:lnTo>
                  <a:pt x="1156" y="1281"/>
                </a:lnTo>
                <a:lnTo>
                  <a:pt x="1156" y="1279"/>
                </a:lnTo>
                <a:lnTo>
                  <a:pt x="1154" y="1279"/>
                </a:lnTo>
                <a:lnTo>
                  <a:pt x="1156" y="1279"/>
                </a:lnTo>
                <a:lnTo>
                  <a:pt x="1154" y="1279"/>
                </a:lnTo>
                <a:lnTo>
                  <a:pt x="1154" y="1277"/>
                </a:lnTo>
                <a:lnTo>
                  <a:pt x="1154" y="1275"/>
                </a:lnTo>
                <a:lnTo>
                  <a:pt x="1152" y="1275"/>
                </a:lnTo>
                <a:lnTo>
                  <a:pt x="1154" y="1275"/>
                </a:lnTo>
                <a:lnTo>
                  <a:pt x="1154" y="1277"/>
                </a:lnTo>
                <a:lnTo>
                  <a:pt x="1156" y="1277"/>
                </a:lnTo>
                <a:lnTo>
                  <a:pt x="1156" y="1275"/>
                </a:lnTo>
                <a:lnTo>
                  <a:pt x="1154" y="1275"/>
                </a:lnTo>
                <a:lnTo>
                  <a:pt x="1154" y="1273"/>
                </a:lnTo>
                <a:lnTo>
                  <a:pt x="1152" y="1273"/>
                </a:lnTo>
                <a:lnTo>
                  <a:pt x="1152" y="1275"/>
                </a:lnTo>
                <a:lnTo>
                  <a:pt x="1152" y="1273"/>
                </a:lnTo>
                <a:lnTo>
                  <a:pt x="1154" y="1273"/>
                </a:lnTo>
                <a:lnTo>
                  <a:pt x="1154" y="1271"/>
                </a:lnTo>
                <a:lnTo>
                  <a:pt x="1156" y="1271"/>
                </a:lnTo>
                <a:lnTo>
                  <a:pt x="1156" y="1269"/>
                </a:lnTo>
                <a:lnTo>
                  <a:pt x="1154" y="1269"/>
                </a:lnTo>
                <a:lnTo>
                  <a:pt x="1154" y="1267"/>
                </a:lnTo>
                <a:lnTo>
                  <a:pt x="1154" y="1269"/>
                </a:lnTo>
                <a:lnTo>
                  <a:pt x="1154" y="1271"/>
                </a:lnTo>
                <a:lnTo>
                  <a:pt x="1154" y="1269"/>
                </a:lnTo>
                <a:lnTo>
                  <a:pt x="1154" y="1271"/>
                </a:lnTo>
                <a:lnTo>
                  <a:pt x="1152" y="1271"/>
                </a:lnTo>
                <a:lnTo>
                  <a:pt x="1152" y="1273"/>
                </a:lnTo>
                <a:lnTo>
                  <a:pt x="1150" y="1273"/>
                </a:lnTo>
                <a:lnTo>
                  <a:pt x="1150" y="1275"/>
                </a:lnTo>
                <a:lnTo>
                  <a:pt x="1150" y="1277"/>
                </a:lnTo>
                <a:lnTo>
                  <a:pt x="1152" y="1279"/>
                </a:lnTo>
                <a:lnTo>
                  <a:pt x="1152" y="1281"/>
                </a:lnTo>
                <a:lnTo>
                  <a:pt x="1152" y="1282"/>
                </a:lnTo>
                <a:lnTo>
                  <a:pt x="1152" y="1284"/>
                </a:lnTo>
                <a:lnTo>
                  <a:pt x="1150" y="1284"/>
                </a:lnTo>
                <a:lnTo>
                  <a:pt x="1150" y="1286"/>
                </a:lnTo>
                <a:lnTo>
                  <a:pt x="1150" y="1288"/>
                </a:lnTo>
                <a:lnTo>
                  <a:pt x="1150" y="1290"/>
                </a:lnTo>
                <a:lnTo>
                  <a:pt x="1148" y="1290"/>
                </a:lnTo>
                <a:lnTo>
                  <a:pt x="1148" y="1292"/>
                </a:lnTo>
                <a:lnTo>
                  <a:pt x="1146" y="1292"/>
                </a:lnTo>
                <a:lnTo>
                  <a:pt x="1145" y="1292"/>
                </a:lnTo>
                <a:lnTo>
                  <a:pt x="1143" y="1292"/>
                </a:lnTo>
                <a:lnTo>
                  <a:pt x="1143" y="1294"/>
                </a:lnTo>
                <a:lnTo>
                  <a:pt x="1145" y="1294"/>
                </a:lnTo>
                <a:lnTo>
                  <a:pt x="1143" y="1294"/>
                </a:lnTo>
                <a:lnTo>
                  <a:pt x="1141" y="1294"/>
                </a:lnTo>
                <a:lnTo>
                  <a:pt x="1139" y="1294"/>
                </a:lnTo>
                <a:lnTo>
                  <a:pt x="1137" y="1294"/>
                </a:lnTo>
                <a:lnTo>
                  <a:pt x="1135" y="1294"/>
                </a:lnTo>
                <a:lnTo>
                  <a:pt x="1133" y="1294"/>
                </a:lnTo>
                <a:lnTo>
                  <a:pt x="1131" y="1292"/>
                </a:lnTo>
                <a:lnTo>
                  <a:pt x="1129" y="1292"/>
                </a:lnTo>
                <a:lnTo>
                  <a:pt x="1127" y="1292"/>
                </a:lnTo>
                <a:lnTo>
                  <a:pt x="1127" y="1290"/>
                </a:lnTo>
                <a:lnTo>
                  <a:pt x="1129" y="1290"/>
                </a:lnTo>
                <a:lnTo>
                  <a:pt x="1127" y="1290"/>
                </a:lnTo>
                <a:lnTo>
                  <a:pt x="1127" y="1288"/>
                </a:lnTo>
                <a:lnTo>
                  <a:pt x="1125" y="1286"/>
                </a:lnTo>
                <a:lnTo>
                  <a:pt x="1125" y="1284"/>
                </a:lnTo>
                <a:lnTo>
                  <a:pt x="1123" y="1284"/>
                </a:lnTo>
                <a:lnTo>
                  <a:pt x="1122" y="1284"/>
                </a:lnTo>
                <a:lnTo>
                  <a:pt x="1122" y="1282"/>
                </a:lnTo>
                <a:lnTo>
                  <a:pt x="1120" y="1282"/>
                </a:lnTo>
                <a:lnTo>
                  <a:pt x="1120" y="1281"/>
                </a:lnTo>
                <a:lnTo>
                  <a:pt x="1118" y="1281"/>
                </a:lnTo>
                <a:lnTo>
                  <a:pt x="1116" y="1281"/>
                </a:lnTo>
                <a:lnTo>
                  <a:pt x="1116" y="1279"/>
                </a:lnTo>
                <a:lnTo>
                  <a:pt x="1116" y="1281"/>
                </a:lnTo>
                <a:lnTo>
                  <a:pt x="1114" y="1281"/>
                </a:lnTo>
                <a:lnTo>
                  <a:pt x="1116" y="1281"/>
                </a:lnTo>
                <a:lnTo>
                  <a:pt x="1116" y="1282"/>
                </a:lnTo>
                <a:lnTo>
                  <a:pt x="1118" y="1282"/>
                </a:lnTo>
                <a:lnTo>
                  <a:pt x="1118" y="1284"/>
                </a:lnTo>
                <a:lnTo>
                  <a:pt x="1118" y="1286"/>
                </a:lnTo>
                <a:lnTo>
                  <a:pt x="1120" y="1286"/>
                </a:lnTo>
                <a:lnTo>
                  <a:pt x="1122" y="1286"/>
                </a:lnTo>
                <a:lnTo>
                  <a:pt x="1122" y="1288"/>
                </a:lnTo>
                <a:lnTo>
                  <a:pt x="1122" y="1290"/>
                </a:lnTo>
                <a:lnTo>
                  <a:pt x="1120" y="1290"/>
                </a:lnTo>
                <a:lnTo>
                  <a:pt x="1120" y="1292"/>
                </a:lnTo>
                <a:lnTo>
                  <a:pt x="1118" y="1292"/>
                </a:lnTo>
                <a:lnTo>
                  <a:pt x="1116" y="1292"/>
                </a:lnTo>
                <a:lnTo>
                  <a:pt x="1114" y="1292"/>
                </a:lnTo>
                <a:lnTo>
                  <a:pt x="1114" y="1294"/>
                </a:lnTo>
                <a:lnTo>
                  <a:pt x="1112" y="1294"/>
                </a:lnTo>
                <a:lnTo>
                  <a:pt x="1112" y="1292"/>
                </a:lnTo>
                <a:lnTo>
                  <a:pt x="1110" y="1292"/>
                </a:lnTo>
                <a:lnTo>
                  <a:pt x="1108" y="1292"/>
                </a:lnTo>
                <a:lnTo>
                  <a:pt x="1110" y="1292"/>
                </a:lnTo>
                <a:lnTo>
                  <a:pt x="1108" y="1292"/>
                </a:lnTo>
                <a:lnTo>
                  <a:pt x="1106" y="1292"/>
                </a:lnTo>
                <a:lnTo>
                  <a:pt x="1104" y="1290"/>
                </a:lnTo>
                <a:lnTo>
                  <a:pt x="1102" y="1290"/>
                </a:lnTo>
                <a:lnTo>
                  <a:pt x="1102" y="1288"/>
                </a:lnTo>
                <a:lnTo>
                  <a:pt x="1104" y="1288"/>
                </a:lnTo>
                <a:lnTo>
                  <a:pt x="1104" y="1286"/>
                </a:lnTo>
                <a:lnTo>
                  <a:pt x="1102" y="1286"/>
                </a:lnTo>
                <a:lnTo>
                  <a:pt x="1102" y="1288"/>
                </a:lnTo>
                <a:lnTo>
                  <a:pt x="1100" y="1288"/>
                </a:lnTo>
                <a:lnTo>
                  <a:pt x="1100" y="1286"/>
                </a:lnTo>
                <a:lnTo>
                  <a:pt x="1100" y="1284"/>
                </a:lnTo>
                <a:lnTo>
                  <a:pt x="1098" y="1284"/>
                </a:lnTo>
                <a:lnTo>
                  <a:pt x="1100" y="1284"/>
                </a:lnTo>
                <a:lnTo>
                  <a:pt x="1100" y="1282"/>
                </a:lnTo>
                <a:lnTo>
                  <a:pt x="1100" y="1284"/>
                </a:lnTo>
                <a:lnTo>
                  <a:pt x="1102" y="1284"/>
                </a:lnTo>
                <a:lnTo>
                  <a:pt x="1102" y="1282"/>
                </a:lnTo>
                <a:lnTo>
                  <a:pt x="1104" y="1282"/>
                </a:lnTo>
                <a:lnTo>
                  <a:pt x="1106" y="1281"/>
                </a:lnTo>
                <a:lnTo>
                  <a:pt x="1106" y="1282"/>
                </a:lnTo>
                <a:lnTo>
                  <a:pt x="1108" y="1282"/>
                </a:lnTo>
                <a:lnTo>
                  <a:pt x="1108" y="1281"/>
                </a:lnTo>
                <a:lnTo>
                  <a:pt x="1106" y="1281"/>
                </a:lnTo>
                <a:lnTo>
                  <a:pt x="1106" y="1279"/>
                </a:lnTo>
                <a:lnTo>
                  <a:pt x="1108" y="1279"/>
                </a:lnTo>
                <a:lnTo>
                  <a:pt x="1106" y="1279"/>
                </a:lnTo>
                <a:lnTo>
                  <a:pt x="1108" y="1279"/>
                </a:lnTo>
                <a:lnTo>
                  <a:pt x="1108" y="1277"/>
                </a:lnTo>
                <a:lnTo>
                  <a:pt x="1108" y="1275"/>
                </a:lnTo>
                <a:lnTo>
                  <a:pt x="1110" y="1275"/>
                </a:lnTo>
                <a:lnTo>
                  <a:pt x="1108" y="1275"/>
                </a:lnTo>
                <a:lnTo>
                  <a:pt x="1108" y="1277"/>
                </a:lnTo>
                <a:lnTo>
                  <a:pt x="1106" y="1277"/>
                </a:lnTo>
                <a:lnTo>
                  <a:pt x="1104" y="1279"/>
                </a:lnTo>
                <a:lnTo>
                  <a:pt x="1102" y="1281"/>
                </a:lnTo>
                <a:lnTo>
                  <a:pt x="1100" y="1281"/>
                </a:lnTo>
                <a:lnTo>
                  <a:pt x="1098" y="1281"/>
                </a:lnTo>
                <a:lnTo>
                  <a:pt x="1097" y="1281"/>
                </a:lnTo>
                <a:lnTo>
                  <a:pt x="1095" y="1281"/>
                </a:lnTo>
                <a:lnTo>
                  <a:pt x="1095" y="1279"/>
                </a:lnTo>
                <a:lnTo>
                  <a:pt x="1097" y="1279"/>
                </a:lnTo>
                <a:lnTo>
                  <a:pt x="1097" y="1277"/>
                </a:lnTo>
                <a:lnTo>
                  <a:pt x="1097" y="1275"/>
                </a:lnTo>
                <a:lnTo>
                  <a:pt x="1098" y="1275"/>
                </a:lnTo>
                <a:lnTo>
                  <a:pt x="1097" y="1275"/>
                </a:lnTo>
                <a:lnTo>
                  <a:pt x="1095" y="1277"/>
                </a:lnTo>
                <a:lnTo>
                  <a:pt x="1095" y="1275"/>
                </a:lnTo>
                <a:lnTo>
                  <a:pt x="1093" y="1275"/>
                </a:lnTo>
                <a:lnTo>
                  <a:pt x="1093" y="1277"/>
                </a:lnTo>
                <a:lnTo>
                  <a:pt x="1095" y="1277"/>
                </a:lnTo>
                <a:lnTo>
                  <a:pt x="1095" y="1279"/>
                </a:lnTo>
                <a:lnTo>
                  <a:pt x="1093" y="1279"/>
                </a:lnTo>
                <a:lnTo>
                  <a:pt x="1093" y="1281"/>
                </a:lnTo>
                <a:lnTo>
                  <a:pt x="1095" y="1281"/>
                </a:lnTo>
                <a:lnTo>
                  <a:pt x="1093" y="1281"/>
                </a:lnTo>
                <a:lnTo>
                  <a:pt x="1091" y="1281"/>
                </a:lnTo>
                <a:lnTo>
                  <a:pt x="1091" y="1282"/>
                </a:lnTo>
                <a:lnTo>
                  <a:pt x="1089" y="1282"/>
                </a:lnTo>
                <a:lnTo>
                  <a:pt x="1089" y="1281"/>
                </a:lnTo>
                <a:lnTo>
                  <a:pt x="1089" y="1279"/>
                </a:lnTo>
                <a:lnTo>
                  <a:pt x="1087" y="1279"/>
                </a:lnTo>
                <a:lnTo>
                  <a:pt x="1087" y="1277"/>
                </a:lnTo>
                <a:lnTo>
                  <a:pt x="1085" y="1277"/>
                </a:lnTo>
                <a:lnTo>
                  <a:pt x="1083" y="1277"/>
                </a:lnTo>
                <a:lnTo>
                  <a:pt x="1083" y="1275"/>
                </a:lnTo>
                <a:lnTo>
                  <a:pt x="1085" y="1275"/>
                </a:lnTo>
                <a:lnTo>
                  <a:pt x="1083" y="1275"/>
                </a:lnTo>
                <a:lnTo>
                  <a:pt x="1083" y="1273"/>
                </a:lnTo>
                <a:lnTo>
                  <a:pt x="1083" y="1275"/>
                </a:lnTo>
                <a:lnTo>
                  <a:pt x="1083" y="1277"/>
                </a:lnTo>
                <a:lnTo>
                  <a:pt x="1083" y="1279"/>
                </a:lnTo>
                <a:lnTo>
                  <a:pt x="1083" y="1281"/>
                </a:lnTo>
                <a:lnTo>
                  <a:pt x="1081" y="1281"/>
                </a:lnTo>
                <a:lnTo>
                  <a:pt x="1081" y="1282"/>
                </a:lnTo>
                <a:lnTo>
                  <a:pt x="1079" y="1282"/>
                </a:lnTo>
                <a:lnTo>
                  <a:pt x="1079" y="1281"/>
                </a:lnTo>
                <a:lnTo>
                  <a:pt x="1079" y="1282"/>
                </a:lnTo>
                <a:lnTo>
                  <a:pt x="1077" y="1282"/>
                </a:lnTo>
                <a:lnTo>
                  <a:pt x="1077" y="1281"/>
                </a:lnTo>
                <a:lnTo>
                  <a:pt x="1075" y="1281"/>
                </a:lnTo>
                <a:lnTo>
                  <a:pt x="1075" y="1279"/>
                </a:lnTo>
                <a:lnTo>
                  <a:pt x="1074" y="1279"/>
                </a:lnTo>
                <a:lnTo>
                  <a:pt x="1074" y="1277"/>
                </a:lnTo>
                <a:lnTo>
                  <a:pt x="1072" y="1277"/>
                </a:lnTo>
                <a:lnTo>
                  <a:pt x="1070" y="1277"/>
                </a:lnTo>
                <a:lnTo>
                  <a:pt x="1070" y="1275"/>
                </a:lnTo>
                <a:lnTo>
                  <a:pt x="1068" y="1275"/>
                </a:lnTo>
                <a:lnTo>
                  <a:pt x="1068" y="1273"/>
                </a:lnTo>
                <a:lnTo>
                  <a:pt x="1066" y="1273"/>
                </a:lnTo>
                <a:lnTo>
                  <a:pt x="1064" y="1273"/>
                </a:lnTo>
                <a:lnTo>
                  <a:pt x="1066" y="1273"/>
                </a:lnTo>
                <a:lnTo>
                  <a:pt x="1064" y="1273"/>
                </a:lnTo>
                <a:lnTo>
                  <a:pt x="1064" y="1271"/>
                </a:lnTo>
                <a:lnTo>
                  <a:pt x="1064" y="1273"/>
                </a:lnTo>
                <a:lnTo>
                  <a:pt x="1064" y="1275"/>
                </a:lnTo>
                <a:lnTo>
                  <a:pt x="1066" y="1275"/>
                </a:lnTo>
                <a:lnTo>
                  <a:pt x="1066" y="1277"/>
                </a:lnTo>
                <a:lnTo>
                  <a:pt x="1068" y="1277"/>
                </a:lnTo>
                <a:lnTo>
                  <a:pt x="1068" y="1279"/>
                </a:lnTo>
                <a:lnTo>
                  <a:pt x="1066" y="1277"/>
                </a:lnTo>
                <a:lnTo>
                  <a:pt x="1064" y="1277"/>
                </a:lnTo>
                <a:lnTo>
                  <a:pt x="1062" y="1277"/>
                </a:lnTo>
                <a:lnTo>
                  <a:pt x="1060" y="1275"/>
                </a:lnTo>
                <a:lnTo>
                  <a:pt x="1058" y="1275"/>
                </a:lnTo>
                <a:lnTo>
                  <a:pt x="1058" y="1277"/>
                </a:lnTo>
                <a:lnTo>
                  <a:pt x="1056" y="1277"/>
                </a:lnTo>
                <a:lnTo>
                  <a:pt x="1054" y="1277"/>
                </a:lnTo>
                <a:lnTo>
                  <a:pt x="1054" y="1279"/>
                </a:lnTo>
                <a:lnTo>
                  <a:pt x="1052" y="1279"/>
                </a:lnTo>
                <a:lnTo>
                  <a:pt x="1050" y="1279"/>
                </a:lnTo>
                <a:lnTo>
                  <a:pt x="1049" y="1279"/>
                </a:lnTo>
                <a:lnTo>
                  <a:pt x="1049" y="1277"/>
                </a:lnTo>
                <a:lnTo>
                  <a:pt x="1047" y="1277"/>
                </a:lnTo>
                <a:lnTo>
                  <a:pt x="1049" y="1279"/>
                </a:lnTo>
                <a:lnTo>
                  <a:pt x="1047" y="1279"/>
                </a:lnTo>
                <a:lnTo>
                  <a:pt x="1047" y="1277"/>
                </a:lnTo>
                <a:lnTo>
                  <a:pt x="1045" y="1277"/>
                </a:lnTo>
                <a:lnTo>
                  <a:pt x="1045" y="1279"/>
                </a:lnTo>
                <a:lnTo>
                  <a:pt x="1047" y="1281"/>
                </a:lnTo>
                <a:lnTo>
                  <a:pt x="1047" y="1282"/>
                </a:lnTo>
                <a:lnTo>
                  <a:pt x="1045" y="1282"/>
                </a:lnTo>
                <a:lnTo>
                  <a:pt x="1043" y="1282"/>
                </a:lnTo>
                <a:lnTo>
                  <a:pt x="1043" y="1284"/>
                </a:lnTo>
                <a:lnTo>
                  <a:pt x="1041" y="1284"/>
                </a:lnTo>
                <a:lnTo>
                  <a:pt x="1041" y="1286"/>
                </a:lnTo>
                <a:lnTo>
                  <a:pt x="1039" y="1286"/>
                </a:lnTo>
                <a:lnTo>
                  <a:pt x="1041" y="1286"/>
                </a:lnTo>
                <a:lnTo>
                  <a:pt x="1041" y="1288"/>
                </a:lnTo>
                <a:lnTo>
                  <a:pt x="1041" y="1286"/>
                </a:lnTo>
                <a:lnTo>
                  <a:pt x="1041" y="1288"/>
                </a:lnTo>
                <a:lnTo>
                  <a:pt x="1043" y="1288"/>
                </a:lnTo>
                <a:lnTo>
                  <a:pt x="1045" y="1288"/>
                </a:lnTo>
                <a:lnTo>
                  <a:pt x="1047" y="1288"/>
                </a:lnTo>
                <a:lnTo>
                  <a:pt x="1047" y="1290"/>
                </a:lnTo>
                <a:lnTo>
                  <a:pt x="1049" y="1290"/>
                </a:lnTo>
                <a:lnTo>
                  <a:pt x="1049" y="1292"/>
                </a:lnTo>
                <a:lnTo>
                  <a:pt x="1049" y="1294"/>
                </a:lnTo>
                <a:lnTo>
                  <a:pt x="1049" y="1296"/>
                </a:lnTo>
                <a:lnTo>
                  <a:pt x="1050" y="1296"/>
                </a:lnTo>
                <a:lnTo>
                  <a:pt x="1052" y="1296"/>
                </a:lnTo>
                <a:lnTo>
                  <a:pt x="1052" y="1298"/>
                </a:lnTo>
                <a:lnTo>
                  <a:pt x="1050" y="1298"/>
                </a:lnTo>
                <a:lnTo>
                  <a:pt x="1052" y="1298"/>
                </a:lnTo>
                <a:lnTo>
                  <a:pt x="1052" y="1300"/>
                </a:lnTo>
                <a:lnTo>
                  <a:pt x="1050" y="1300"/>
                </a:lnTo>
                <a:lnTo>
                  <a:pt x="1052" y="1300"/>
                </a:lnTo>
                <a:lnTo>
                  <a:pt x="1054" y="1300"/>
                </a:lnTo>
                <a:lnTo>
                  <a:pt x="1052" y="1300"/>
                </a:lnTo>
                <a:lnTo>
                  <a:pt x="1054" y="1300"/>
                </a:lnTo>
                <a:lnTo>
                  <a:pt x="1054" y="1302"/>
                </a:lnTo>
                <a:lnTo>
                  <a:pt x="1052" y="1304"/>
                </a:lnTo>
                <a:lnTo>
                  <a:pt x="1052" y="1305"/>
                </a:lnTo>
                <a:lnTo>
                  <a:pt x="1052" y="1307"/>
                </a:lnTo>
                <a:lnTo>
                  <a:pt x="1052" y="1305"/>
                </a:lnTo>
                <a:lnTo>
                  <a:pt x="1052" y="1307"/>
                </a:lnTo>
                <a:lnTo>
                  <a:pt x="1052" y="1309"/>
                </a:lnTo>
                <a:lnTo>
                  <a:pt x="1052" y="1311"/>
                </a:lnTo>
                <a:lnTo>
                  <a:pt x="1054" y="1311"/>
                </a:lnTo>
                <a:lnTo>
                  <a:pt x="1054" y="1313"/>
                </a:lnTo>
                <a:lnTo>
                  <a:pt x="1054" y="1315"/>
                </a:lnTo>
                <a:lnTo>
                  <a:pt x="1054" y="1317"/>
                </a:lnTo>
                <a:lnTo>
                  <a:pt x="1052" y="1317"/>
                </a:lnTo>
                <a:lnTo>
                  <a:pt x="1052" y="1319"/>
                </a:lnTo>
                <a:lnTo>
                  <a:pt x="1052" y="1321"/>
                </a:lnTo>
                <a:lnTo>
                  <a:pt x="1050" y="1323"/>
                </a:lnTo>
                <a:lnTo>
                  <a:pt x="1049" y="1323"/>
                </a:lnTo>
                <a:lnTo>
                  <a:pt x="1049" y="1321"/>
                </a:lnTo>
                <a:lnTo>
                  <a:pt x="1049" y="1323"/>
                </a:lnTo>
                <a:lnTo>
                  <a:pt x="1049" y="1325"/>
                </a:lnTo>
                <a:lnTo>
                  <a:pt x="1050" y="1325"/>
                </a:lnTo>
                <a:lnTo>
                  <a:pt x="1050" y="1327"/>
                </a:lnTo>
                <a:lnTo>
                  <a:pt x="1050" y="1325"/>
                </a:lnTo>
                <a:lnTo>
                  <a:pt x="1049" y="1325"/>
                </a:lnTo>
                <a:lnTo>
                  <a:pt x="1049" y="1327"/>
                </a:lnTo>
                <a:lnTo>
                  <a:pt x="1049" y="1325"/>
                </a:lnTo>
                <a:lnTo>
                  <a:pt x="1049" y="1327"/>
                </a:lnTo>
                <a:lnTo>
                  <a:pt x="1049" y="1325"/>
                </a:lnTo>
                <a:lnTo>
                  <a:pt x="1049" y="1323"/>
                </a:lnTo>
                <a:lnTo>
                  <a:pt x="1049" y="1325"/>
                </a:lnTo>
                <a:lnTo>
                  <a:pt x="1049" y="1323"/>
                </a:lnTo>
                <a:lnTo>
                  <a:pt x="1047" y="1323"/>
                </a:lnTo>
                <a:lnTo>
                  <a:pt x="1045" y="1323"/>
                </a:lnTo>
                <a:lnTo>
                  <a:pt x="1045" y="1325"/>
                </a:lnTo>
                <a:lnTo>
                  <a:pt x="1043" y="1325"/>
                </a:lnTo>
                <a:lnTo>
                  <a:pt x="1041" y="1325"/>
                </a:lnTo>
                <a:lnTo>
                  <a:pt x="1039" y="1325"/>
                </a:lnTo>
                <a:lnTo>
                  <a:pt x="1039" y="1327"/>
                </a:lnTo>
                <a:lnTo>
                  <a:pt x="1037" y="1327"/>
                </a:lnTo>
                <a:lnTo>
                  <a:pt x="1035" y="1327"/>
                </a:lnTo>
                <a:lnTo>
                  <a:pt x="1035" y="1325"/>
                </a:lnTo>
                <a:lnTo>
                  <a:pt x="1033" y="1325"/>
                </a:lnTo>
                <a:lnTo>
                  <a:pt x="1033" y="1323"/>
                </a:lnTo>
                <a:lnTo>
                  <a:pt x="1031" y="1323"/>
                </a:lnTo>
                <a:lnTo>
                  <a:pt x="1029" y="1323"/>
                </a:lnTo>
                <a:lnTo>
                  <a:pt x="1027" y="1323"/>
                </a:lnTo>
                <a:lnTo>
                  <a:pt x="1027" y="1325"/>
                </a:lnTo>
                <a:lnTo>
                  <a:pt x="1027" y="1323"/>
                </a:lnTo>
                <a:lnTo>
                  <a:pt x="1026" y="1323"/>
                </a:lnTo>
                <a:lnTo>
                  <a:pt x="1024" y="1323"/>
                </a:lnTo>
                <a:lnTo>
                  <a:pt x="1024" y="1321"/>
                </a:lnTo>
                <a:lnTo>
                  <a:pt x="1022" y="1321"/>
                </a:lnTo>
                <a:lnTo>
                  <a:pt x="1022" y="1319"/>
                </a:lnTo>
                <a:lnTo>
                  <a:pt x="1020" y="1319"/>
                </a:lnTo>
                <a:lnTo>
                  <a:pt x="1020" y="1317"/>
                </a:lnTo>
                <a:lnTo>
                  <a:pt x="1020" y="1315"/>
                </a:lnTo>
                <a:lnTo>
                  <a:pt x="1018" y="1315"/>
                </a:lnTo>
                <a:lnTo>
                  <a:pt x="1018" y="1313"/>
                </a:lnTo>
                <a:lnTo>
                  <a:pt x="1018" y="1315"/>
                </a:lnTo>
                <a:lnTo>
                  <a:pt x="1016" y="1315"/>
                </a:lnTo>
                <a:lnTo>
                  <a:pt x="1016" y="1317"/>
                </a:lnTo>
                <a:lnTo>
                  <a:pt x="1014" y="1317"/>
                </a:lnTo>
                <a:lnTo>
                  <a:pt x="1012" y="1317"/>
                </a:lnTo>
                <a:lnTo>
                  <a:pt x="1010" y="1317"/>
                </a:lnTo>
                <a:lnTo>
                  <a:pt x="1012" y="1317"/>
                </a:lnTo>
                <a:lnTo>
                  <a:pt x="1012" y="1319"/>
                </a:lnTo>
                <a:lnTo>
                  <a:pt x="1010" y="1319"/>
                </a:lnTo>
                <a:lnTo>
                  <a:pt x="1008" y="1319"/>
                </a:lnTo>
                <a:lnTo>
                  <a:pt x="1008" y="1317"/>
                </a:lnTo>
                <a:lnTo>
                  <a:pt x="1008" y="1315"/>
                </a:lnTo>
                <a:lnTo>
                  <a:pt x="1006" y="1315"/>
                </a:lnTo>
                <a:lnTo>
                  <a:pt x="1004" y="1315"/>
                </a:lnTo>
                <a:lnTo>
                  <a:pt x="1006" y="1313"/>
                </a:lnTo>
                <a:lnTo>
                  <a:pt x="1004" y="1313"/>
                </a:lnTo>
                <a:lnTo>
                  <a:pt x="1004" y="1315"/>
                </a:lnTo>
                <a:lnTo>
                  <a:pt x="1002" y="1315"/>
                </a:lnTo>
                <a:lnTo>
                  <a:pt x="1002" y="1317"/>
                </a:lnTo>
                <a:lnTo>
                  <a:pt x="1002" y="1315"/>
                </a:lnTo>
                <a:lnTo>
                  <a:pt x="1002" y="1317"/>
                </a:lnTo>
                <a:lnTo>
                  <a:pt x="1002" y="1315"/>
                </a:lnTo>
                <a:lnTo>
                  <a:pt x="1002" y="1317"/>
                </a:lnTo>
                <a:lnTo>
                  <a:pt x="1001" y="1317"/>
                </a:lnTo>
                <a:lnTo>
                  <a:pt x="1002" y="1317"/>
                </a:lnTo>
                <a:lnTo>
                  <a:pt x="1001" y="1317"/>
                </a:lnTo>
                <a:lnTo>
                  <a:pt x="1001" y="1319"/>
                </a:lnTo>
                <a:lnTo>
                  <a:pt x="1001" y="1317"/>
                </a:lnTo>
                <a:lnTo>
                  <a:pt x="1001" y="1319"/>
                </a:lnTo>
                <a:lnTo>
                  <a:pt x="1002" y="1321"/>
                </a:lnTo>
                <a:lnTo>
                  <a:pt x="1001" y="1321"/>
                </a:lnTo>
                <a:lnTo>
                  <a:pt x="999" y="1321"/>
                </a:lnTo>
                <a:lnTo>
                  <a:pt x="997" y="1321"/>
                </a:lnTo>
                <a:lnTo>
                  <a:pt x="997" y="1319"/>
                </a:lnTo>
                <a:lnTo>
                  <a:pt x="995" y="1319"/>
                </a:lnTo>
                <a:lnTo>
                  <a:pt x="995" y="1317"/>
                </a:lnTo>
                <a:lnTo>
                  <a:pt x="995" y="1315"/>
                </a:lnTo>
                <a:lnTo>
                  <a:pt x="993" y="1315"/>
                </a:lnTo>
                <a:lnTo>
                  <a:pt x="993" y="1317"/>
                </a:lnTo>
                <a:lnTo>
                  <a:pt x="993" y="1315"/>
                </a:lnTo>
                <a:lnTo>
                  <a:pt x="991" y="1317"/>
                </a:lnTo>
                <a:lnTo>
                  <a:pt x="991" y="1315"/>
                </a:lnTo>
                <a:lnTo>
                  <a:pt x="989" y="1315"/>
                </a:lnTo>
                <a:lnTo>
                  <a:pt x="989" y="1313"/>
                </a:lnTo>
                <a:lnTo>
                  <a:pt x="987" y="1313"/>
                </a:lnTo>
                <a:lnTo>
                  <a:pt x="987" y="1315"/>
                </a:lnTo>
                <a:lnTo>
                  <a:pt x="987" y="1313"/>
                </a:lnTo>
                <a:lnTo>
                  <a:pt x="985" y="1313"/>
                </a:lnTo>
                <a:lnTo>
                  <a:pt x="985" y="1315"/>
                </a:lnTo>
                <a:lnTo>
                  <a:pt x="983" y="1315"/>
                </a:lnTo>
                <a:lnTo>
                  <a:pt x="985" y="1315"/>
                </a:lnTo>
                <a:lnTo>
                  <a:pt x="985" y="1317"/>
                </a:lnTo>
                <a:lnTo>
                  <a:pt x="987" y="1317"/>
                </a:lnTo>
                <a:lnTo>
                  <a:pt x="987" y="1315"/>
                </a:lnTo>
                <a:lnTo>
                  <a:pt x="989" y="1315"/>
                </a:lnTo>
                <a:lnTo>
                  <a:pt x="989" y="1317"/>
                </a:lnTo>
                <a:lnTo>
                  <a:pt x="989" y="1319"/>
                </a:lnTo>
                <a:lnTo>
                  <a:pt x="991" y="1319"/>
                </a:lnTo>
                <a:lnTo>
                  <a:pt x="991" y="1317"/>
                </a:lnTo>
                <a:lnTo>
                  <a:pt x="993" y="1317"/>
                </a:lnTo>
                <a:lnTo>
                  <a:pt x="993" y="1319"/>
                </a:lnTo>
                <a:lnTo>
                  <a:pt x="991" y="1319"/>
                </a:lnTo>
                <a:lnTo>
                  <a:pt x="991" y="1321"/>
                </a:lnTo>
                <a:lnTo>
                  <a:pt x="991" y="1323"/>
                </a:lnTo>
                <a:lnTo>
                  <a:pt x="989" y="1323"/>
                </a:lnTo>
                <a:lnTo>
                  <a:pt x="989" y="1321"/>
                </a:lnTo>
                <a:lnTo>
                  <a:pt x="987" y="1321"/>
                </a:lnTo>
                <a:lnTo>
                  <a:pt x="987" y="1319"/>
                </a:lnTo>
                <a:lnTo>
                  <a:pt x="985" y="1319"/>
                </a:lnTo>
                <a:lnTo>
                  <a:pt x="987" y="1319"/>
                </a:lnTo>
                <a:lnTo>
                  <a:pt x="987" y="1321"/>
                </a:lnTo>
                <a:lnTo>
                  <a:pt x="987" y="1323"/>
                </a:lnTo>
                <a:lnTo>
                  <a:pt x="985" y="1323"/>
                </a:lnTo>
                <a:lnTo>
                  <a:pt x="985" y="1325"/>
                </a:lnTo>
                <a:lnTo>
                  <a:pt x="985" y="1323"/>
                </a:lnTo>
                <a:lnTo>
                  <a:pt x="983" y="1323"/>
                </a:lnTo>
                <a:lnTo>
                  <a:pt x="983" y="1325"/>
                </a:lnTo>
                <a:lnTo>
                  <a:pt x="983" y="1323"/>
                </a:lnTo>
                <a:lnTo>
                  <a:pt x="981" y="1323"/>
                </a:lnTo>
                <a:lnTo>
                  <a:pt x="981" y="1321"/>
                </a:lnTo>
                <a:lnTo>
                  <a:pt x="981" y="1319"/>
                </a:lnTo>
                <a:lnTo>
                  <a:pt x="981" y="1321"/>
                </a:lnTo>
                <a:lnTo>
                  <a:pt x="979" y="1321"/>
                </a:lnTo>
                <a:lnTo>
                  <a:pt x="981" y="1321"/>
                </a:lnTo>
                <a:lnTo>
                  <a:pt x="979" y="1321"/>
                </a:lnTo>
                <a:lnTo>
                  <a:pt x="981" y="1321"/>
                </a:lnTo>
                <a:lnTo>
                  <a:pt x="981" y="1319"/>
                </a:lnTo>
                <a:lnTo>
                  <a:pt x="979" y="1319"/>
                </a:lnTo>
                <a:lnTo>
                  <a:pt x="981" y="1319"/>
                </a:lnTo>
                <a:lnTo>
                  <a:pt x="979" y="1319"/>
                </a:lnTo>
                <a:lnTo>
                  <a:pt x="979" y="1321"/>
                </a:lnTo>
                <a:lnTo>
                  <a:pt x="979" y="1323"/>
                </a:lnTo>
                <a:lnTo>
                  <a:pt x="979" y="1325"/>
                </a:lnTo>
                <a:lnTo>
                  <a:pt x="978" y="1325"/>
                </a:lnTo>
                <a:lnTo>
                  <a:pt x="978" y="1323"/>
                </a:lnTo>
                <a:lnTo>
                  <a:pt x="978" y="1321"/>
                </a:lnTo>
                <a:lnTo>
                  <a:pt x="978" y="1319"/>
                </a:lnTo>
                <a:lnTo>
                  <a:pt x="976" y="1321"/>
                </a:lnTo>
                <a:lnTo>
                  <a:pt x="974" y="1321"/>
                </a:lnTo>
                <a:lnTo>
                  <a:pt x="974" y="1323"/>
                </a:lnTo>
                <a:lnTo>
                  <a:pt x="972" y="1323"/>
                </a:lnTo>
                <a:lnTo>
                  <a:pt x="972" y="1321"/>
                </a:lnTo>
                <a:lnTo>
                  <a:pt x="974" y="1321"/>
                </a:lnTo>
                <a:lnTo>
                  <a:pt x="974" y="1319"/>
                </a:lnTo>
                <a:lnTo>
                  <a:pt x="974" y="1317"/>
                </a:lnTo>
                <a:lnTo>
                  <a:pt x="974" y="1315"/>
                </a:lnTo>
                <a:lnTo>
                  <a:pt x="976" y="1315"/>
                </a:lnTo>
                <a:lnTo>
                  <a:pt x="976" y="1313"/>
                </a:lnTo>
                <a:lnTo>
                  <a:pt x="976" y="1311"/>
                </a:lnTo>
                <a:lnTo>
                  <a:pt x="978" y="1311"/>
                </a:lnTo>
                <a:lnTo>
                  <a:pt x="976" y="1311"/>
                </a:lnTo>
                <a:lnTo>
                  <a:pt x="976" y="1313"/>
                </a:lnTo>
                <a:lnTo>
                  <a:pt x="974" y="1313"/>
                </a:lnTo>
                <a:lnTo>
                  <a:pt x="974" y="1315"/>
                </a:lnTo>
                <a:lnTo>
                  <a:pt x="972" y="1315"/>
                </a:lnTo>
                <a:lnTo>
                  <a:pt x="972" y="1317"/>
                </a:lnTo>
                <a:lnTo>
                  <a:pt x="970" y="1317"/>
                </a:lnTo>
                <a:lnTo>
                  <a:pt x="970" y="1319"/>
                </a:lnTo>
                <a:lnTo>
                  <a:pt x="968" y="1319"/>
                </a:lnTo>
                <a:lnTo>
                  <a:pt x="968" y="1317"/>
                </a:lnTo>
                <a:lnTo>
                  <a:pt x="970" y="1317"/>
                </a:lnTo>
                <a:lnTo>
                  <a:pt x="970" y="1315"/>
                </a:lnTo>
                <a:lnTo>
                  <a:pt x="968" y="1315"/>
                </a:lnTo>
                <a:lnTo>
                  <a:pt x="968" y="1313"/>
                </a:lnTo>
                <a:lnTo>
                  <a:pt x="968" y="1311"/>
                </a:lnTo>
                <a:lnTo>
                  <a:pt x="968" y="1313"/>
                </a:lnTo>
                <a:lnTo>
                  <a:pt x="968" y="1311"/>
                </a:lnTo>
                <a:lnTo>
                  <a:pt x="966" y="1313"/>
                </a:lnTo>
                <a:lnTo>
                  <a:pt x="968" y="1313"/>
                </a:lnTo>
                <a:lnTo>
                  <a:pt x="968" y="1315"/>
                </a:lnTo>
                <a:lnTo>
                  <a:pt x="966" y="1315"/>
                </a:lnTo>
                <a:lnTo>
                  <a:pt x="966" y="1317"/>
                </a:lnTo>
                <a:lnTo>
                  <a:pt x="964" y="1317"/>
                </a:lnTo>
                <a:lnTo>
                  <a:pt x="962" y="1317"/>
                </a:lnTo>
                <a:lnTo>
                  <a:pt x="962" y="1315"/>
                </a:lnTo>
                <a:lnTo>
                  <a:pt x="960" y="1315"/>
                </a:lnTo>
                <a:lnTo>
                  <a:pt x="960" y="1313"/>
                </a:lnTo>
                <a:lnTo>
                  <a:pt x="962" y="1313"/>
                </a:lnTo>
                <a:lnTo>
                  <a:pt x="962" y="1311"/>
                </a:lnTo>
                <a:lnTo>
                  <a:pt x="960" y="1311"/>
                </a:lnTo>
                <a:lnTo>
                  <a:pt x="958" y="1311"/>
                </a:lnTo>
                <a:lnTo>
                  <a:pt x="956" y="1311"/>
                </a:lnTo>
                <a:lnTo>
                  <a:pt x="956" y="1309"/>
                </a:lnTo>
                <a:lnTo>
                  <a:pt x="954" y="1309"/>
                </a:lnTo>
                <a:lnTo>
                  <a:pt x="956" y="1307"/>
                </a:lnTo>
                <a:lnTo>
                  <a:pt x="954" y="1307"/>
                </a:lnTo>
                <a:lnTo>
                  <a:pt x="954" y="1305"/>
                </a:lnTo>
                <a:lnTo>
                  <a:pt x="953" y="1304"/>
                </a:lnTo>
                <a:lnTo>
                  <a:pt x="954" y="1304"/>
                </a:lnTo>
                <a:lnTo>
                  <a:pt x="953" y="1304"/>
                </a:lnTo>
                <a:lnTo>
                  <a:pt x="951" y="1302"/>
                </a:lnTo>
                <a:lnTo>
                  <a:pt x="953" y="1302"/>
                </a:lnTo>
                <a:lnTo>
                  <a:pt x="951" y="1302"/>
                </a:lnTo>
                <a:lnTo>
                  <a:pt x="951" y="1300"/>
                </a:lnTo>
                <a:lnTo>
                  <a:pt x="949" y="1302"/>
                </a:lnTo>
                <a:lnTo>
                  <a:pt x="951" y="1302"/>
                </a:lnTo>
                <a:lnTo>
                  <a:pt x="949" y="1302"/>
                </a:lnTo>
                <a:lnTo>
                  <a:pt x="947" y="1302"/>
                </a:lnTo>
                <a:lnTo>
                  <a:pt x="945" y="1302"/>
                </a:lnTo>
                <a:lnTo>
                  <a:pt x="945" y="1300"/>
                </a:lnTo>
                <a:lnTo>
                  <a:pt x="945" y="1302"/>
                </a:lnTo>
                <a:lnTo>
                  <a:pt x="943" y="1300"/>
                </a:lnTo>
                <a:lnTo>
                  <a:pt x="943" y="1302"/>
                </a:lnTo>
                <a:lnTo>
                  <a:pt x="943" y="1304"/>
                </a:lnTo>
                <a:lnTo>
                  <a:pt x="943" y="1305"/>
                </a:lnTo>
                <a:lnTo>
                  <a:pt x="941" y="1305"/>
                </a:lnTo>
                <a:lnTo>
                  <a:pt x="939" y="1305"/>
                </a:lnTo>
                <a:lnTo>
                  <a:pt x="939" y="1304"/>
                </a:lnTo>
                <a:lnTo>
                  <a:pt x="937" y="1304"/>
                </a:lnTo>
                <a:lnTo>
                  <a:pt x="937" y="1302"/>
                </a:lnTo>
                <a:lnTo>
                  <a:pt x="935" y="1302"/>
                </a:lnTo>
                <a:lnTo>
                  <a:pt x="937" y="1302"/>
                </a:lnTo>
                <a:lnTo>
                  <a:pt x="935" y="1302"/>
                </a:lnTo>
                <a:lnTo>
                  <a:pt x="935" y="1300"/>
                </a:lnTo>
                <a:lnTo>
                  <a:pt x="935" y="1298"/>
                </a:lnTo>
                <a:lnTo>
                  <a:pt x="935" y="1300"/>
                </a:lnTo>
                <a:lnTo>
                  <a:pt x="935" y="1302"/>
                </a:lnTo>
                <a:lnTo>
                  <a:pt x="933" y="1302"/>
                </a:lnTo>
                <a:lnTo>
                  <a:pt x="931" y="1302"/>
                </a:lnTo>
                <a:lnTo>
                  <a:pt x="931" y="1300"/>
                </a:lnTo>
                <a:lnTo>
                  <a:pt x="931" y="1298"/>
                </a:lnTo>
                <a:lnTo>
                  <a:pt x="929" y="1298"/>
                </a:lnTo>
                <a:lnTo>
                  <a:pt x="929" y="1300"/>
                </a:lnTo>
                <a:lnTo>
                  <a:pt x="928" y="1300"/>
                </a:lnTo>
                <a:lnTo>
                  <a:pt x="929" y="1300"/>
                </a:lnTo>
                <a:lnTo>
                  <a:pt x="929" y="1302"/>
                </a:lnTo>
                <a:lnTo>
                  <a:pt x="929" y="1300"/>
                </a:lnTo>
                <a:lnTo>
                  <a:pt x="928" y="1300"/>
                </a:lnTo>
                <a:lnTo>
                  <a:pt x="928" y="1298"/>
                </a:lnTo>
                <a:lnTo>
                  <a:pt x="928" y="1300"/>
                </a:lnTo>
                <a:lnTo>
                  <a:pt x="928" y="1302"/>
                </a:lnTo>
                <a:lnTo>
                  <a:pt x="928" y="1304"/>
                </a:lnTo>
                <a:lnTo>
                  <a:pt x="926" y="1304"/>
                </a:lnTo>
                <a:lnTo>
                  <a:pt x="924" y="1304"/>
                </a:lnTo>
                <a:lnTo>
                  <a:pt x="924" y="1302"/>
                </a:lnTo>
                <a:lnTo>
                  <a:pt x="922" y="1302"/>
                </a:lnTo>
                <a:lnTo>
                  <a:pt x="922" y="1300"/>
                </a:lnTo>
                <a:lnTo>
                  <a:pt x="922" y="1298"/>
                </a:lnTo>
                <a:lnTo>
                  <a:pt x="922" y="1296"/>
                </a:lnTo>
                <a:lnTo>
                  <a:pt x="922" y="1294"/>
                </a:lnTo>
                <a:lnTo>
                  <a:pt x="922" y="1292"/>
                </a:lnTo>
                <a:lnTo>
                  <a:pt x="922" y="1290"/>
                </a:lnTo>
                <a:lnTo>
                  <a:pt x="920" y="1290"/>
                </a:lnTo>
                <a:lnTo>
                  <a:pt x="922" y="1290"/>
                </a:lnTo>
                <a:lnTo>
                  <a:pt x="920" y="1290"/>
                </a:lnTo>
                <a:lnTo>
                  <a:pt x="918" y="1290"/>
                </a:lnTo>
                <a:lnTo>
                  <a:pt x="918" y="1292"/>
                </a:lnTo>
                <a:lnTo>
                  <a:pt x="916" y="1292"/>
                </a:lnTo>
                <a:lnTo>
                  <a:pt x="914" y="1292"/>
                </a:lnTo>
                <a:lnTo>
                  <a:pt x="914" y="1294"/>
                </a:lnTo>
                <a:lnTo>
                  <a:pt x="914" y="1296"/>
                </a:lnTo>
                <a:lnTo>
                  <a:pt x="912" y="1296"/>
                </a:lnTo>
                <a:lnTo>
                  <a:pt x="912" y="1294"/>
                </a:lnTo>
                <a:lnTo>
                  <a:pt x="910" y="1294"/>
                </a:lnTo>
                <a:lnTo>
                  <a:pt x="908" y="1292"/>
                </a:lnTo>
                <a:lnTo>
                  <a:pt x="906" y="1292"/>
                </a:lnTo>
                <a:lnTo>
                  <a:pt x="906" y="1290"/>
                </a:lnTo>
                <a:lnTo>
                  <a:pt x="906" y="1292"/>
                </a:lnTo>
                <a:lnTo>
                  <a:pt x="905" y="1292"/>
                </a:lnTo>
                <a:lnTo>
                  <a:pt x="905" y="1294"/>
                </a:lnTo>
                <a:lnTo>
                  <a:pt x="903" y="1294"/>
                </a:lnTo>
                <a:lnTo>
                  <a:pt x="903" y="1296"/>
                </a:lnTo>
                <a:lnTo>
                  <a:pt x="901" y="1296"/>
                </a:lnTo>
                <a:lnTo>
                  <a:pt x="901" y="1294"/>
                </a:lnTo>
                <a:lnTo>
                  <a:pt x="901" y="1292"/>
                </a:lnTo>
                <a:lnTo>
                  <a:pt x="901" y="1290"/>
                </a:lnTo>
                <a:lnTo>
                  <a:pt x="899" y="1290"/>
                </a:lnTo>
                <a:lnTo>
                  <a:pt x="899" y="1288"/>
                </a:lnTo>
                <a:lnTo>
                  <a:pt x="897" y="1288"/>
                </a:lnTo>
                <a:lnTo>
                  <a:pt x="897" y="1290"/>
                </a:lnTo>
                <a:lnTo>
                  <a:pt x="897" y="1288"/>
                </a:lnTo>
                <a:lnTo>
                  <a:pt x="897" y="1290"/>
                </a:lnTo>
                <a:lnTo>
                  <a:pt x="897" y="1288"/>
                </a:lnTo>
                <a:lnTo>
                  <a:pt x="897" y="1286"/>
                </a:lnTo>
                <a:lnTo>
                  <a:pt x="895" y="1286"/>
                </a:lnTo>
                <a:lnTo>
                  <a:pt x="897" y="1286"/>
                </a:lnTo>
                <a:lnTo>
                  <a:pt x="897" y="1284"/>
                </a:lnTo>
                <a:lnTo>
                  <a:pt x="897" y="1282"/>
                </a:lnTo>
                <a:lnTo>
                  <a:pt x="895" y="1282"/>
                </a:lnTo>
                <a:lnTo>
                  <a:pt x="895" y="1284"/>
                </a:lnTo>
                <a:lnTo>
                  <a:pt x="893" y="1284"/>
                </a:lnTo>
                <a:lnTo>
                  <a:pt x="893" y="1286"/>
                </a:lnTo>
                <a:lnTo>
                  <a:pt x="893" y="1284"/>
                </a:lnTo>
                <a:lnTo>
                  <a:pt x="891" y="1282"/>
                </a:lnTo>
                <a:lnTo>
                  <a:pt x="891" y="1284"/>
                </a:lnTo>
                <a:lnTo>
                  <a:pt x="893" y="1284"/>
                </a:lnTo>
                <a:lnTo>
                  <a:pt x="891" y="1286"/>
                </a:lnTo>
                <a:lnTo>
                  <a:pt x="889" y="1286"/>
                </a:lnTo>
                <a:lnTo>
                  <a:pt x="889" y="1288"/>
                </a:lnTo>
                <a:lnTo>
                  <a:pt x="889" y="1290"/>
                </a:lnTo>
                <a:lnTo>
                  <a:pt x="887" y="1290"/>
                </a:lnTo>
                <a:lnTo>
                  <a:pt x="887" y="1288"/>
                </a:lnTo>
                <a:lnTo>
                  <a:pt x="885" y="1288"/>
                </a:lnTo>
                <a:lnTo>
                  <a:pt x="885" y="1286"/>
                </a:lnTo>
                <a:lnTo>
                  <a:pt x="887" y="1284"/>
                </a:lnTo>
                <a:lnTo>
                  <a:pt x="885" y="1284"/>
                </a:lnTo>
                <a:lnTo>
                  <a:pt x="887" y="1284"/>
                </a:lnTo>
                <a:lnTo>
                  <a:pt x="889" y="1284"/>
                </a:lnTo>
                <a:lnTo>
                  <a:pt x="887" y="1284"/>
                </a:lnTo>
                <a:lnTo>
                  <a:pt x="887" y="1282"/>
                </a:lnTo>
                <a:lnTo>
                  <a:pt x="885" y="1281"/>
                </a:lnTo>
                <a:lnTo>
                  <a:pt x="883" y="1282"/>
                </a:lnTo>
                <a:lnTo>
                  <a:pt x="881" y="1282"/>
                </a:lnTo>
                <a:lnTo>
                  <a:pt x="881" y="1281"/>
                </a:lnTo>
                <a:lnTo>
                  <a:pt x="880" y="1281"/>
                </a:lnTo>
                <a:lnTo>
                  <a:pt x="880" y="1279"/>
                </a:lnTo>
                <a:lnTo>
                  <a:pt x="878" y="1279"/>
                </a:lnTo>
                <a:lnTo>
                  <a:pt x="876" y="1279"/>
                </a:lnTo>
                <a:lnTo>
                  <a:pt x="874" y="1279"/>
                </a:lnTo>
                <a:lnTo>
                  <a:pt x="874" y="1277"/>
                </a:lnTo>
                <a:lnTo>
                  <a:pt x="872" y="1277"/>
                </a:lnTo>
                <a:lnTo>
                  <a:pt x="870" y="1277"/>
                </a:lnTo>
                <a:lnTo>
                  <a:pt x="868" y="1277"/>
                </a:lnTo>
                <a:lnTo>
                  <a:pt x="866" y="1277"/>
                </a:lnTo>
                <a:lnTo>
                  <a:pt x="868" y="1277"/>
                </a:lnTo>
                <a:lnTo>
                  <a:pt x="870" y="1277"/>
                </a:lnTo>
                <a:lnTo>
                  <a:pt x="868" y="1277"/>
                </a:lnTo>
                <a:lnTo>
                  <a:pt x="868" y="1275"/>
                </a:lnTo>
                <a:lnTo>
                  <a:pt x="866" y="1275"/>
                </a:lnTo>
                <a:lnTo>
                  <a:pt x="864" y="1277"/>
                </a:lnTo>
                <a:lnTo>
                  <a:pt x="864" y="1279"/>
                </a:lnTo>
                <a:lnTo>
                  <a:pt x="866" y="1279"/>
                </a:lnTo>
                <a:lnTo>
                  <a:pt x="868" y="1279"/>
                </a:lnTo>
                <a:lnTo>
                  <a:pt x="868" y="1281"/>
                </a:lnTo>
                <a:lnTo>
                  <a:pt x="870" y="1281"/>
                </a:lnTo>
                <a:lnTo>
                  <a:pt x="870" y="1282"/>
                </a:lnTo>
                <a:lnTo>
                  <a:pt x="872" y="1282"/>
                </a:lnTo>
                <a:lnTo>
                  <a:pt x="870" y="1282"/>
                </a:lnTo>
                <a:lnTo>
                  <a:pt x="870" y="1284"/>
                </a:lnTo>
                <a:lnTo>
                  <a:pt x="868" y="1284"/>
                </a:lnTo>
                <a:lnTo>
                  <a:pt x="868" y="1286"/>
                </a:lnTo>
                <a:lnTo>
                  <a:pt x="866" y="1286"/>
                </a:lnTo>
                <a:lnTo>
                  <a:pt x="866" y="1284"/>
                </a:lnTo>
                <a:lnTo>
                  <a:pt x="864" y="1284"/>
                </a:lnTo>
                <a:lnTo>
                  <a:pt x="866" y="1284"/>
                </a:lnTo>
                <a:lnTo>
                  <a:pt x="864" y="1284"/>
                </a:lnTo>
                <a:lnTo>
                  <a:pt x="862" y="1284"/>
                </a:lnTo>
                <a:lnTo>
                  <a:pt x="862" y="1286"/>
                </a:lnTo>
                <a:lnTo>
                  <a:pt x="862" y="1288"/>
                </a:lnTo>
                <a:lnTo>
                  <a:pt x="860" y="1288"/>
                </a:lnTo>
                <a:lnTo>
                  <a:pt x="860" y="1290"/>
                </a:lnTo>
                <a:lnTo>
                  <a:pt x="858" y="1288"/>
                </a:lnTo>
                <a:lnTo>
                  <a:pt x="857" y="1288"/>
                </a:lnTo>
                <a:lnTo>
                  <a:pt x="855" y="1288"/>
                </a:lnTo>
                <a:lnTo>
                  <a:pt x="855" y="1286"/>
                </a:lnTo>
                <a:lnTo>
                  <a:pt x="853" y="1286"/>
                </a:lnTo>
                <a:lnTo>
                  <a:pt x="853" y="1288"/>
                </a:lnTo>
                <a:lnTo>
                  <a:pt x="855" y="1288"/>
                </a:lnTo>
                <a:lnTo>
                  <a:pt x="853" y="1288"/>
                </a:lnTo>
                <a:lnTo>
                  <a:pt x="851" y="1288"/>
                </a:lnTo>
                <a:lnTo>
                  <a:pt x="853" y="1288"/>
                </a:lnTo>
                <a:lnTo>
                  <a:pt x="853" y="1286"/>
                </a:lnTo>
                <a:lnTo>
                  <a:pt x="853" y="1288"/>
                </a:lnTo>
                <a:lnTo>
                  <a:pt x="851" y="1288"/>
                </a:lnTo>
                <a:lnTo>
                  <a:pt x="849" y="1288"/>
                </a:lnTo>
                <a:lnTo>
                  <a:pt x="847" y="1286"/>
                </a:lnTo>
                <a:lnTo>
                  <a:pt x="847" y="1284"/>
                </a:lnTo>
                <a:lnTo>
                  <a:pt x="847" y="1282"/>
                </a:lnTo>
                <a:lnTo>
                  <a:pt x="847" y="1284"/>
                </a:lnTo>
                <a:lnTo>
                  <a:pt x="847" y="1286"/>
                </a:lnTo>
                <a:lnTo>
                  <a:pt x="847" y="1284"/>
                </a:lnTo>
                <a:lnTo>
                  <a:pt x="847" y="1282"/>
                </a:lnTo>
                <a:lnTo>
                  <a:pt x="847" y="1284"/>
                </a:lnTo>
                <a:lnTo>
                  <a:pt x="845" y="1284"/>
                </a:lnTo>
                <a:lnTo>
                  <a:pt x="845" y="1286"/>
                </a:lnTo>
                <a:lnTo>
                  <a:pt x="845" y="1288"/>
                </a:lnTo>
                <a:lnTo>
                  <a:pt x="843" y="1288"/>
                </a:lnTo>
                <a:lnTo>
                  <a:pt x="843" y="1290"/>
                </a:lnTo>
                <a:lnTo>
                  <a:pt x="843" y="1288"/>
                </a:lnTo>
                <a:lnTo>
                  <a:pt x="843" y="1286"/>
                </a:lnTo>
                <a:lnTo>
                  <a:pt x="841" y="1286"/>
                </a:lnTo>
                <a:lnTo>
                  <a:pt x="841" y="1284"/>
                </a:lnTo>
                <a:lnTo>
                  <a:pt x="841" y="1282"/>
                </a:lnTo>
                <a:lnTo>
                  <a:pt x="843" y="1282"/>
                </a:lnTo>
                <a:lnTo>
                  <a:pt x="843" y="1281"/>
                </a:lnTo>
                <a:lnTo>
                  <a:pt x="841" y="1281"/>
                </a:lnTo>
                <a:lnTo>
                  <a:pt x="841" y="1279"/>
                </a:lnTo>
                <a:lnTo>
                  <a:pt x="843" y="1279"/>
                </a:lnTo>
                <a:lnTo>
                  <a:pt x="841" y="1279"/>
                </a:lnTo>
                <a:lnTo>
                  <a:pt x="839" y="1279"/>
                </a:lnTo>
                <a:lnTo>
                  <a:pt x="839" y="1281"/>
                </a:lnTo>
                <a:lnTo>
                  <a:pt x="837" y="1281"/>
                </a:lnTo>
                <a:lnTo>
                  <a:pt x="835" y="1281"/>
                </a:lnTo>
                <a:lnTo>
                  <a:pt x="835" y="1282"/>
                </a:lnTo>
                <a:lnTo>
                  <a:pt x="833" y="1282"/>
                </a:lnTo>
                <a:lnTo>
                  <a:pt x="832" y="1282"/>
                </a:lnTo>
                <a:lnTo>
                  <a:pt x="830" y="1282"/>
                </a:lnTo>
                <a:lnTo>
                  <a:pt x="832" y="1282"/>
                </a:lnTo>
                <a:lnTo>
                  <a:pt x="832" y="1281"/>
                </a:lnTo>
                <a:lnTo>
                  <a:pt x="832" y="1279"/>
                </a:lnTo>
                <a:lnTo>
                  <a:pt x="833" y="1279"/>
                </a:lnTo>
                <a:lnTo>
                  <a:pt x="833" y="1277"/>
                </a:lnTo>
                <a:lnTo>
                  <a:pt x="832" y="1277"/>
                </a:lnTo>
                <a:lnTo>
                  <a:pt x="833" y="1277"/>
                </a:lnTo>
                <a:lnTo>
                  <a:pt x="833" y="1275"/>
                </a:lnTo>
                <a:lnTo>
                  <a:pt x="832" y="1275"/>
                </a:lnTo>
                <a:lnTo>
                  <a:pt x="832" y="1277"/>
                </a:lnTo>
                <a:lnTo>
                  <a:pt x="830" y="1277"/>
                </a:lnTo>
                <a:lnTo>
                  <a:pt x="830" y="1279"/>
                </a:lnTo>
                <a:lnTo>
                  <a:pt x="830" y="1277"/>
                </a:lnTo>
                <a:lnTo>
                  <a:pt x="828" y="1277"/>
                </a:lnTo>
                <a:lnTo>
                  <a:pt x="828" y="1275"/>
                </a:lnTo>
                <a:lnTo>
                  <a:pt x="826" y="1275"/>
                </a:lnTo>
                <a:lnTo>
                  <a:pt x="824" y="1275"/>
                </a:lnTo>
                <a:lnTo>
                  <a:pt x="826" y="1275"/>
                </a:lnTo>
                <a:lnTo>
                  <a:pt x="824" y="1275"/>
                </a:lnTo>
                <a:lnTo>
                  <a:pt x="822" y="1275"/>
                </a:lnTo>
                <a:lnTo>
                  <a:pt x="824" y="1275"/>
                </a:lnTo>
                <a:lnTo>
                  <a:pt x="822" y="1275"/>
                </a:lnTo>
                <a:lnTo>
                  <a:pt x="820" y="1275"/>
                </a:lnTo>
                <a:lnTo>
                  <a:pt x="820" y="1277"/>
                </a:lnTo>
                <a:lnTo>
                  <a:pt x="818" y="1277"/>
                </a:lnTo>
                <a:lnTo>
                  <a:pt x="818" y="1275"/>
                </a:lnTo>
                <a:lnTo>
                  <a:pt x="820" y="1275"/>
                </a:lnTo>
                <a:lnTo>
                  <a:pt x="818" y="1273"/>
                </a:lnTo>
                <a:lnTo>
                  <a:pt x="820" y="1273"/>
                </a:lnTo>
                <a:lnTo>
                  <a:pt x="820" y="1275"/>
                </a:lnTo>
                <a:lnTo>
                  <a:pt x="820" y="1273"/>
                </a:lnTo>
                <a:lnTo>
                  <a:pt x="820" y="1271"/>
                </a:lnTo>
                <a:lnTo>
                  <a:pt x="820" y="1273"/>
                </a:lnTo>
                <a:lnTo>
                  <a:pt x="820" y="1271"/>
                </a:lnTo>
                <a:lnTo>
                  <a:pt x="818" y="1271"/>
                </a:lnTo>
                <a:lnTo>
                  <a:pt x="818" y="1273"/>
                </a:lnTo>
                <a:lnTo>
                  <a:pt x="816" y="1273"/>
                </a:lnTo>
                <a:lnTo>
                  <a:pt x="816" y="1275"/>
                </a:lnTo>
                <a:lnTo>
                  <a:pt x="814" y="1275"/>
                </a:lnTo>
                <a:lnTo>
                  <a:pt x="812" y="1275"/>
                </a:lnTo>
                <a:lnTo>
                  <a:pt x="812" y="1273"/>
                </a:lnTo>
                <a:lnTo>
                  <a:pt x="812" y="1275"/>
                </a:lnTo>
                <a:lnTo>
                  <a:pt x="812" y="1273"/>
                </a:lnTo>
                <a:lnTo>
                  <a:pt x="812" y="1271"/>
                </a:lnTo>
                <a:lnTo>
                  <a:pt x="812" y="1269"/>
                </a:lnTo>
                <a:lnTo>
                  <a:pt x="814" y="1269"/>
                </a:lnTo>
                <a:lnTo>
                  <a:pt x="814" y="1267"/>
                </a:lnTo>
                <a:lnTo>
                  <a:pt x="814" y="1265"/>
                </a:lnTo>
                <a:lnTo>
                  <a:pt x="814" y="1263"/>
                </a:lnTo>
                <a:lnTo>
                  <a:pt x="814" y="1261"/>
                </a:lnTo>
                <a:lnTo>
                  <a:pt x="812" y="1261"/>
                </a:lnTo>
                <a:lnTo>
                  <a:pt x="812" y="1259"/>
                </a:lnTo>
                <a:lnTo>
                  <a:pt x="810" y="1259"/>
                </a:lnTo>
                <a:lnTo>
                  <a:pt x="810" y="1261"/>
                </a:lnTo>
                <a:lnTo>
                  <a:pt x="809" y="1261"/>
                </a:lnTo>
                <a:lnTo>
                  <a:pt x="809" y="1263"/>
                </a:lnTo>
                <a:lnTo>
                  <a:pt x="810" y="1263"/>
                </a:lnTo>
                <a:lnTo>
                  <a:pt x="809" y="1263"/>
                </a:lnTo>
                <a:lnTo>
                  <a:pt x="809" y="1265"/>
                </a:lnTo>
                <a:lnTo>
                  <a:pt x="807" y="1265"/>
                </a:lnTo>
                <a:lnTo>
                  <a:pt x="809" y="1265"/>
                </a:lnTo>
                <a:lnTo>
                  <a:pt x="807" y="1265"/>
                </a:lnTo>
                <a:lnTo>
                  <a:pt x="807" y="1263"/>
                </a:lnTo>
                <a:lnTo>
                  <a:pt x="805" y="1263"/>
                </a:lnTo>
                <a:lnTo>
                  <a:pt x="807" y="1263"/>
                </a:lnTo>
                <a:lnTo>
                  <a:pt x="805" y="1263"/>
                </a:lnTo>
                <a:lnTo>
                  <a:pt x="805" y="1261"/>
                </a:lnTo>
                <a:lnTo>
                  <a:pt x="803" y="1261"/>
                </a:lnTo>
                <a:lnTo>
                  <a:pt x="801" y="1261"/>
                </a:lnTo>
                <a:lnTo>
                  <a:pt x="801" y="1263"/>
                </a:lnTo>
                <a:lnTo>
                  <a:pt x="799" y="1261"/>
                </a:lnTo>
                <a:lnTo>
                  <a:pt x="801" y="1261"/>
                </a:lnTo>
                <a:lnTo>
                  <a:pt x="801" y="1259"/>
                </a:lnTo>
                <a:lnTo>
                  <a:pt x="799" y="1261"/>
                </a:lnTo>
                <a:lnTo>
                  <a:pt x="799" y="1263"/>
                </a:lnTo>
                <a:lnTo>
                  <a:pt x="799" y="1261"/>
                </a:lnTo>
                <a:lnTo>
                  <a:pt x="799" y="1263"/>
                </a:lnTo>
                <a:lnTo>
                  <a:pt x="799" y="1265"/>
                </a:lnTo>
                <a:lnTo>
                  <a:pt x="799" y="1267"/>
                </a:lnTo>
                <a:lnTo>
                  <a:pt x="799" y="1269"/>
                </a:lnTo>
                <a:lnTo>
                  <a:pt x="797" y="1269"/>
                </a:lnTo>
                <a:lnTo>
                  <a:pt x="795" y="1269"/>
                </a:lnTo>
                <a:lnTo>
                  <a:pt x="795" y="1267"/>
                </a:lnTo>
                <a:lnTo>
                  <a:pt x="793" y="1267"/>
                </a:lnTo>
                <a:lnTo>
                  <a:pt x="793" y="1265"/>
                </a:lnTo>
                <a:lnTo>
                  <a:pt x="793" y="1263"/>
                </a:lnTo>
                <a:lnTo>
                  <a:pt x="791" y="1263"/>
                </a:lnTo>
                <a:lnTo>
                  <a:pt x="791" y="1261"/>
                </a:lnTo>
                <a:lnTo>
                  <a:pt x="791" y="1263"/>
                </a:lnTo>
                <a:lnTo>
                  <a:pt x="791" y="1261"/>
                </a:lnTo>
                <a:lnTo>
                  <a:pt x="789" y="1261"/>
                </a:lnTo>
                <a:lnTo>
                  <a:pt x="791" y="1261"/>
                </a:lnTo>
                <a:lnTo>
                  <a:pt x="791" y="1259"/>
                </a:lnTo>
                <a:lnTo>
                  <a:pt x="793" y="1259"/>
                </a:lnTo>
                <a:lnTo>
                  <a:pt x="793" y="1257"/>
                </a:lnTo>
                <a:lnTo>
                  <a:pt x="793" y="1256"/>
                </a:lnTo>
                <a:lnTo>
                  <a:pt x="793" y="1257"/>
                </a:lnTo>
                <a:lnTo>
                  <a:pt x="793" y="1256"/>
                </a:lnTo>
                <a:lnTo>
                  <a:pt x="793" y="1254"/>
                </a:lnTo>
                <a:lnTo>
                  <a:pt x="791" y="1254"/>
                </a:lnTo>
                <a:lnTo>
                  <a:pt x="789" y="1254"/>
                </a:lnTo>
                <a:lnTo>
                  <a:pt x="789" y="1252"/>
                </a:lnTo>
                <a:lnTo>
                  <a:pt x="787" y="1252"/>
                </a:lnTo>
                <a:lnTo>
                  <a:pt x="785" y="1250"/>
                </a:lnTo>
                <a:lnTo>
                  <a:pt x="784" y="1252"/>
                </a:lnTo>
                <a:lnTo>
                  <a:pt x="784" y="1250"/>
                </a:lnTo>
                <a:lnTo>
                  <a:pt x="782" y="1250"/>
                </a:lnTo>
                <a:lnTo>
                  <a:pt x="782" y="1248"/>
                </a:lnTo>
                <a:lnTo>
                  <a:pt x="780" y="1248"/>
                </a:lnTo>
                <a:lnTo>
                  <a:pt x="778" y="1248"/>
                </a:lnTo>
                <a:lnTo>
                  <a:pt x="778" y="1246"/>
                </a:lnTo>
                <a:lnTo>
                  <a:pt x="776" y="1246"/>
                </a:lnTo>
                <a:lnTo>
                  <a:pt x="776" y="1248"/>
                </a:lnTo>
                <a:lnTo>
                  <a:pt x="774" y="1246"/>
                </a:lnTo>
                <a:lnTo>
                  <a:pt x="774" y="1248"/>
                </a:lnTo>
                <a:lnTo>
                  <a:pt x="776" y="1248"/>
                </a:lnTo>
                <a:lnTo>
                  <a:pt x="776" y="1250"/>
                </a:lnTo>
                <a:lnTo>
                  <a:pt x="778" y="1250"/>
                </a:lnTo>
                <a:lnTo>
                  <a:pt x="778" y="1252"/>
                </a:lnTo>
                <a:lnTo>
                  <a:pt x="780" y="1252"/>
                </a:lnTo>
                <a:lnTo>
                  <a:pt x="782" y="1252"/>
                </a:lnTo>
                <a:lnTo>
                  <a:pt x="782" y="1254"/>
                </a:lnTo>
                <a:lnTo>
                  <a:pt x="782" y="1256"/>
                </a:lnTo>
                <a:lnTo>
                  <a:pt x="784" y="1256"/>
                </a:lnTo>
                <a:lnTo>
                  <a:pt x="784" y="1257"/>
                </a:lnTo>
                <a:lnTo>
                  <a:pt x="784" y="1259"/>
                </a:lnTo>
                <a:lnTo>
                  <a:pt x="784" y="1257"/>
                </a:lnTo>
                <a:lnTo>
                  <a:pt x="784" y="1259"/>
                </a:lnTo>
                <a:lnTo>
                  <a:pt x="782" y="1259"/>
                </a:lnTo>
                <a:lnTo>
                  <a:pt x="780" y="1259"/>
                </a:lnTo>
                <a:lnTo>
                  <a:pt x="780" y="1261"/>
                </a:lnTo>
                <a:lnTo>
                  <a:pt x="780" y="1259"/>
                </a:lnTo>
                <a:lnTo>
                  <a:pt x="780" y="1261"/>
                </a:lnTo>
                <a:lnTo>
                  <a:pt x="780" y="1259"/>
                </a:lnTo>
                <a:lnTo>
                  <a:pt x="778" y="1259"/>
                </a:lnTo>
                <a:lnTo>
                  <a:pt x="778" y="1261"/>
                </a:lnTo>
                <a:lnTo>
                  <a:pt x="776" y="1261"/>
                </a:lnTo>
                <a:lnTo>
                  <a:pt x="776" y="1259"/>
                </a:lnTo>
                <a:lnTo>
                  <a:pt x="776" y="1257"/>
                </a:lnTo>
                <a:lnTo>
                  <a:pt x="776" y="1256"/>
                </a:lnTo>
                <a:lnTo>
                  <a:pt x="776" y="1254"/>
                </a:lnTo>
                <a:lnTo>
                  <a:pt x="774" y="1254"/>
                </a:lnTo>
                <a:lnTo>
                  <a:pt x="776" y="1254"/>
                </a:lnTo>
                <a:lnTo>
                  <a:pt x="776" y="1252"/>
                </a:lnTo>
                <a:lnTo>
                  <a:pt x="774" y="1252"/>
                </a:lnTo>
                <a:lnTo>
                  <a:pt x="774" y="1250"/>
                </a:lnTo>
                <a:lnTo>
                  <a:pt x="774" y="1248"/>
                </a:lnTo>
                <a:lnTo>
                  <a:pt x="772" y="1248"/>
                </a:lnTo>
                <a:lnTo>
                  <a:pt x="772" y="1250"/>
                </a:lnTo>
                <a:lnTo>
                  <a:pt x="772" y="1248"/>
                </a:lnTo>
                <a:lnTo>
                  <a:pt x="772" y="1250"/>
                </a:lnTo>
                <a:lnTo>
                  <a:pt x="770" y="1250"/>
                </a:lnTo>
                <a:lnTo>
                  <a:pt x="768" y="1250"/>
                </a:lnTo>
                <a:lnTo>
                  <a:pt x="768" y="1248"/>
                </a:lnTo>
                <a:lnTo>
                  <a:pt x="768" y="1246"/>
                </a:lnTo>
                <a:lnTo>
                  <a:pt x="766" y="1246"/>
                </a:lnTo>
                <a:lnTo>
                  <a:pt x="766" y="1244"/>
                </a:lnTo>
                <a:lnTo>
                  <a:pt x="766" y="1242"/>
                </a:lnTo>
                <a:lnTo>
                  <a:pt x="764" y="1242"/>
                </a:lnTo>
                <a:lnTo>
                  <a:pt x="764" y="1240"/>
                </a:lnTo>
                <a:lnTo>
                  <a:pt x="762" y="1240"/>
                </a:lnTo>
                <a:lnTo>
                  <a:pt x="761" y="1240"/>
                </a:lnTo>
                <a:lnTo>
                  <a:pt x="759" y="1240"/>
                </a:lnTo>
                <a:lnTo>
                  <a:pt x="757" y="1240"/>
                </a:lnTo>
                <a:lnTo>
                  <a:pt x="755" y="1240"/>
                </a:lnTo>
                <a:lnTo>
                  <a:pt x="755" y="1238"/>
                </a:lnTo>
                <a:lnTo>
                  <a:pt x="755" y="1240"/>
                </a:lnTo>
                <a:lnTo>
                  <a:pt x="755" y="1238"/>
                </a:lnTo>
                <a:lnTo>
                  <a:pt x="755" y="1240"/>
                </a:lnTo>
                <a:lnTo>
                  <a:pt x="753" y="1240"/>
                </a:lnTo>
                <a:lnTo>
                  <a:pt x="751" y="1240"/>
                </a:lnTo>
                <a:lnTo>
                  <a:pt x="751" y="1238"/>
                </a:lnTo>
                <a:lnTo>
                  <a:pt x="749" y="1238"/>
                </a:lnTo>
                <a:lnTo>
                  <a:pt x="747" y="1238"/>
                </a:lnTo>
                <a:lnTo>
                  <a:pt x="745" y="1238"/>
                </a:lnTo>
                <a:lnTo>
                  <a:pt x="745" y="1236"/>
                </a:lnTo>
                <a:lnTo>
                  <a:pt x="743" y="1236"/>
                </a:lnTo>
                <a:lnTo>
                  <a:pt x="743" y="1238"/>
                </a:lnTo>
                <a:lnTo>
                  <a:pt x="745" y="1238"/>
                </a:lnTo>
                <a:lnTo>
                  <a:pt x="743" y="1238"/>
                </a:lnTo>
                <a:lnTo>
                  <a:pt x="745" y="1238"/>
                </a:lnTo>
                <a:lnTo>
                  <a:pt x="743" y="1238"/>
                </a:lnTo>
                <a:lnTo>
                  <a:pt x="743" y="1240"/>
                </a:lnTo>
                <a:lnTo>
                  <a:pt x="745" y="1240"/>
                </a:lnTo>
                <a:lnTo>
                  <a:pt x="745" y="1242"/>
                </a:lnTo>
                <a:lnTo>
                  <a:pt x="745" y="1244"/>
                </a:lnTo>
                <a:lnTo>
                  <a:pt x="745" y="1242"/>
                </a:lnTo>
                <a:lnTo>
                  <a:pt x="747" y="1242"/>
                </a:lnTo>
                <a:lnTo>
                  <a:pt x="745" y="1242"/>
                </a:lnTo>
                <a:lnTo>
                  <a:pt x="747" y="1242"/>
                </a:lnTo>
                <a:lnTo>
                  <a:pt x="747" y="1240"/>
                </a:lnTo>
                <a:lnTo>
                  <a:pt x="749" y="1240"/>
                </a:lnTo>
                <a:lnTo>
                  <a:pt x="751" y="1240"/>
                </a:lnTo>
                <a:lnTo>
                  <a:pt x="751" y="1242"/>
                </a:lnTo>
                <a:lnTo>
                  <a:pt x="753" y="1242"/>
                </a:lnTo>
                <a:lnTo>
                  <a:pt x="755" y="1242"/>
                </a:lnTo>
                <a:lnTo>
                  <a:pt x="755" y="1244"/>
                </a:lnTo>
                <a:lnTo>
                  <a:pt x="753" y="1244"/>
                </a:lnTo>
                <a:lnTo>
                  <a:pt x="751" y="1244"/>
                </a:lnTo>
                <a:lnTo>
                  <a:pt x="753" y="1244"/>
                </a:lnTo>
                <a:lnTo>
                  <a:pt x="753" y="1246"/>
                </a:lnTo>
                <a:lnTo>
                  <a:pt x="751" y="1246"/>
                </a:lnTo>
                <a:lnTo>
                  <a:pt x="751" y="1248"/>
                </a:lnTo>
                <a:lnTo>
                  <a:pt x="753" y="1248"/>
                </a:lnTo>
                <a:lnTo>
                  <a:pt x="753" y="1246"/>
                </a:lnTo>
                <a:lnTo>
                  <a:pt x="753" y="1248"/>
                </a:lnTo>
                <a:lnTo>
                  <a:pt x="755" y="1248"/>
                </a:lnTo>
                <a:lnTo>
                  <a:pt x="755" y="1250"/>
                </a:lnTo>
                <a:lnTo>
                  <a:pt x="753" y="1250"/>
                </a:lnTo>
                <a:lnTo>
                  <a:pt x="751" y="1250"/>
                </a:lnTo>
                <a:lnTo>
                  <a:pt x="753" y="1250"/>
                </a:lnTo>
                <a:lnTo>
                  <a:pt x="755" y="1250"/>
                </a:lnTo>
                <a:lnTo>
                  <a:pt x="755" y="1252"/>
                </a:lnTo>
                <a:lnTo>
                  <a:pt x="755" y="1254"/>
                </a:lnTo>
                <a:lnTo>
                  <a:pt x="757" y="1254"/>
                </a:lnTo>
                <a:lnTo>
                  <a:pt x="755" y="1256"/>
                </a:lnTo>
                <a:lnTo>
                  <a:pt x="753" y="1256"/>
                </a:lnTo>
                <a:lnTo>
                  <a:pt x="753" y="1254"/>
                </a:lnTo>
                <a:lnTo>
                  <a:pt x="751" y="1254"/>
                </a:lnTo>
                <a:lnTo>
                  <a:pt x="749" y="1254"/>
                </a:lnTo>
                <a:lnTo>
                  <a:pt x="749" y="1252"/>
                </a:lnTo>
                <a:lnTo>
                  <a:pt x="749" y="1250"/>
                </a:lnTo>
                <a:lnTo>
                  <a:pt x="747" y="1250"/>
                </a:lnTo>
                <a:lnTo>
                  <a:pt x="747" y="1248"/>
                </a:lnTo>
                <a:lnTo>
                  <a:pt x="747" y="1250"/>
                </a:lnTo>
                <a:lnTo>
                  <a:pt x="745" y="1250"/>
                </a:lnTo>
                <a:lnTo>
                  <a:pt x="745" y="1252"/>
                </a:lnTo>
                <a:lnTo>
                  <a:pt x="747" y="1252"/>
                </a:lnTo>
                <a:lnTo>
                  <a:pt x="747" y="1254"/>
                </a:lnTo>
                <a:lnTo>
                  <a:pt x="745" y="1254"/>
                </a:lnTo>
                <a:lnTo>
                  <a:pt x="745" y="1256"/>
                </a:lnTo>
                <a:lnTo>
                  <a:pt x="747" y="1256"/>
                </a:lnTo>
                <a:lnTo>
                  <a:pt x="749" y="1257"/>
                </a:lnTo>
                <a:lnTo>
                  <a:pt x="751" y="1257"/>
                </a:lnTo>
                <a:lnTo>
                  <a:pt x="753" y="1257"/>
                </a:lnTo>
                <a:lnTo>
                  <a:pt x="753" y="1259"/>
                </a:lnTo>
                <a:lnTo>
                  <a:pt x="755" y="1259"/>
                </a:lnTo>
                <a:lnTo>
                  <a:pt x="753" y="1259"/>
                </a:lnTo>
                <a:lnTo>
                  <a:pt x="751" y="1259"/>
                </a:lnTo>
                <a:lnTo>
                  <a:pt x="749" y="1259"/>
                </a:lnTo>
                <a:lnTo>
                  <a:pt x="749" y="1257"/>
                </a:lnTo>
                <a:lnTo>
                  <a:pt x="747" y="1257"/>
                </a:lnTo>
                <a:lnTo>
                  <a:pt x="745" y="1257"/>
                </a:lnTo>
                <a:lnTo>
                  <a:pt x="745" y="1256"/>
                </a:lnTo>
                <a:lnTo>
                  <a:pt x="743" y="1256"/>
                </a:lnTo>
                <a:lnTo>
                  <a:pt x="743" y="1254"/>
                </a:lnTo>
                <a:lnTo>
                  <a:pt x="741" y="1254"/>
                </a:lnTo>
                <a:lnTo>
                  <a:pt x="741" y="1256"/>
                </a:lnTo>
                <a:lnTo>
                  <a:pt x="739" y="1256"/>
                </a:lnTo>
                <a:lnTo>
                  <a:pt x="741" y="1256"/>
                </a:lnTo>
                <a:lnTo>
                  <a:pt x="741" y="1254"/>
                </a:lnTo>
                <a:lnTo>
                  <a:pt x="743" y="1254"/>
                </a:lnTo>
                <a:lnTo>
                  <a:pt x="743" y="1252"/>
                </a:lnTo>
                <a:lnTo>
                  <a:pt x="745" y="1252"/>
                </a:lnTo>
                <a:lnTo>
                  <a:pt x="743" y="1252"/>
                </a:lnTo>
                <a:lnTo>
                  <a:pt x="741" y="1252"/>
                </a:lnTo>
                <a:lnTo>
                  <a:pt x="743" y="1252"/>
                </a:lnTo>
                <a:lnTo>
                  <a:pt x="741" y="1252"/>
                </a:lnTo>
                <a:lnTo>
                  <a:pt x="739" y="1254"/>
                </a:lnTo>
                <a:lnTo>
                  <a:pt x="739" y="1252"/>
                </a:lnTo>
                <a:lnTo>
                  <a:pt x="739" y="1254"/>
                </a:lnTo>
                <a:lnTo>
                  <a:pt x="737" y="1254"/>
                </a:lnTo>
                <a:lnTo>
                  <a:pt x="737" y="1256"/>
                </a:lnTo>
                <a:lnTo>
                  <a:pt x="736" y="1256"/>
                </a:lnTo>
                <a:lnTo>
                  <a:pt x="736" y="1254"/>
                </a:lnTo>
                <a:lnTo>
                  <a:pt x="737" y="1254"/>
                </a:lnTo>
                <a:lnTo>
                  <a:pt x="737" y="1252"/>
                </a:lnTo>
                <a:lnTo>
                  <a:pt x="736" y="1252"/>
                </a:lnTo>
                <a:lnTo>
                  <a:pt x="737" y="1250"/>
                </a:lnTo>
                <a:lnTo>
                  <a:pt x="736" y="1250"/>
                </a:lnTo>
                <a:lnTo>
                  <a:pt x="736" y="1252"/>
                </a:lnTo>
                <a:lnTo>
                  <a:pt x="734" y="1254"/>
                </a:lnTo>
                <a:lnTo>
                  <a:pt x="732" y="1254"/>
                </a:lnTo>
                <a:lnTo>
                  <a:pt x="732" y="1256"/>
                </a:lnTo>
                <a:lnTo>
                  <a:pt x="732" y="1254"/>
                </a:lnTo>
                <a:lnTo>
                  <a:pt x="734" y="1254"/>
                </a:lnTo>
                <a:lnTo>
                  <a:pt x="734" y="1256"/>
                </a:lnTo>
                <a:lnTo>
                  <a:pt x="734" y="1257"/>
                </a:lnTo>
                <a:lnTo>
                  <a:pt x="734" y="1256"/>
                </a:lnTo>
                <a:lnTo>
                  <a:pt x="732" y="1256"/>
                </a:lnTo>
                <a:lnTo>
                  <a:pt x="732" y="1257"/>
                </a:lnTo>
                <a:lnTo>
                  <a:pt x="730" y="1257"/>
                </a:lnTo>
                <a:lnTo>
                  <a:pt x="730" y="1256"/>
                </a:lnTo>
                <a:lnTo>
                  <a:pt x="730" y="1254"/>
                </a:lnTo>
                <a:lnTo>
                  <a:pt x="732" y="1254"/>
                </a:lnTo>
                <a:lnTo>
                  <a:pt x="730" y="1254"/>
                </a:lnTo>
                <a:lnTo>
                  <a:pt x="728" y="1254"/>
                </a:lnTo>
                <a:lnTo>
                  <a:pt x="728" y="1256"/>
                </a:lnTo>
                <a:lnTo>
                  <a:pt x="726" y="1256"/>
                </a:lnTo>
                <a:lnTo>
                  <a:pt x="726" y="1254"/>
                </a:lnTo>
                <a:lnTo>
                  <a:pt x="728" y="1254"/>
                </a:lnTo>
                <a:lnTo>
                  <a:pt x="728" y="1252"/>
                </a:lnTo>
                <a:lnTo>
                  <a:pt x="730" y="1252"/>
                </a:lnTo>
                <a:lnTo>
                  <a:pt x="732" y="1252"/>
                </a:lnTo>
                <a:lnTo>
                  <a:pt x="734" y="1252"/>
                </a:lnTo>
                <a:lnTo>
                  <a:pt x="732" y="1252"/>
                </a:lnTo>
                <a:lnTo>
                  <a:pt x="730" y="1250"/>
                </a:lnTo>
                <a:lnTo>
                  <a:pt x="728" y="1250"/>
                </a:lnTo>
                <a:lnTo>
                  <a:pt x="730" y="1250"/>
                </a:lnTo>
                <a:lnTo>
                  <a:pt x="730" y="1248"/>
                </a:lnTo>
                <a:lnTo>
                  <a:pt x="732" y="1248"/>
                </a:lnTo>
                <a:lnTo>
                  <a:pt x="732" y="1250"/>
                </a:lnTo>
                <a:lnTo>
                  <a:pt x="734" y="1250"/>
                </a:lnTo>
                <a:lnTo>
                  <a:pt x="732" y="1250"/>
                </a:lnTo>
                <a:lnTo>
                  <a:pt x="732" y="1248"/>
                </a:lnTo>
                <a:lnTo>
                  <a:pt x="734" y="1248"/>
                </a:lnTo>
                <a:lnTo>
                  <a:pt x="734" y="1246"/>
                </a:lnTo>
                <a:lnTo>
                  <a:pt x="736" y="1246"/>
                </a:lnTo>
                <a:lnTo>
                  <a:pt x="736" y="1248"/>
                </a:lnTo>
                <a:lnTo>
                  <a:pt x="736" y="1246"/>
                </a:lnTo>
                <a:lnTo>
                  <a:pt x="737" y="1248"/>
                </a:lnTo>
                <a:lnTo>
                  <a:pt x="737" y="1246"/>
                </a:lnTo>
                <a:lnTo>
                  <a:pt x="737" y="1248"/>
                </a:lnTo>
                <a:lnTo>
                  <a:pt x="737" y="1246"/>
                </a:lnTo>
                <a:lnTo>
                  <a:pt x="739" y="1246"/>
                </a:lnTo>
                <a:lnTo>
                  <a:pt x="739" y="1248"/>
                </a:lnTo>
                <a:lnTo>
                  <a:pt x="739" y="1250"/>
                </a:lnTo>
                <a:lnTo>
                  <a:pt x="739" y="1248"/>
                </a:lnTo>
                <a:lnTo>
                  <a:pt x="741" y="1248"/>
                </a:lnTo>
                <a:lnTo>
                  <a:pt x="739" y="1246"/>
                </a:lnTo>
                <a:lnTo>
                  <a:pt x="741" y="1246"/>
                </a:lnTo>
                <a:lnTo>
                  <a:pt x="741" y="1248"/>
                </a:lnTo>
                <a:lnTo>
                  <a:pt x="741" y="1246"/>
                </a:lnTo>
                <a:lnTo>
                  <a:pt x="741" y="1248"/>
                </a:lnTo>
                <a:lnTo>
                  <a:pt x="741" y="1250"/>
                </a:lnTo>
                <a:lnTo>
                  <a:pt x="743" y="1250"/>
                </a:lnTo>
                <a:lnTo>
                  <a:pt x="743" y="1248"/>
                </a:lnTo>
                <a:lnTo>
                  <a:pt x="741" y="1248"/>
                </a:lnTo>
                <a:lnTo>
                  <a:pt x="741" y="1246"/>
                </a:lnTo>
                <a:lnTo>
                  <a:pt x="741" y="1244"/>
                </a:lnTo>
                <a:lnTo>
                  <a:pt x="739" y="1244"/>
                </a:lnTo>
                <a:lnTo>
                  <a:pt x="739" y="1242"/>
                </a:lnTo>
                <a:lnTo>
                  <a:pt x="739" y="1244"/>
                </a:lnTo>
                <a:lnTo>
                  <a:pt x="739" y="1246"/>
                </a:lnTo>
                <a:lnTo>
                  <a:pt x="737" y="1246"/>
                </a:lnTo>
                <a:lnTo>
                  <a:pt x="736" y="1246"/>
                </a:lnTo>
                <a:lnTo>
                  <a:pt x="734" y="1246"/>
                </a:lnTo>
                <a:lnTo>
                  <a:pt x="734" y="1244"/>
                </a:lnTo>
                <a:lnTo>
                  <a:pt x="732" y="1244"/>
                </a:lnTo>
                <a:lnTo>
                  <a:pt x="734" y="1244"/>
                </a:lnTo>
                <a:lnTo>
                  <a:pt x="736" y="1244"/>
                </a:lnTo>
                <a:lnTo>
                  <a:pt x="736" y="1242"/>
                </a:lnTo>
                <a:lnTo>
                  <a:pt x="736" y="1240"/>
                </a:lnTo>
                <a:lnTo>
                  <a:pt x="734" y="1240"/>
                </a:lnTo>
                <a:lnTo>
                  <a:pt x="734" y="1242"/>
                </a:lnTo>
                <a:lnTo>
                  <a:pt x="732" y="1242"/>
                </a:lnTo>
                <a:lnTo>
                  <a:pt x="732" y="1244"/>
                </a:lnTo>
                <a:lnTo>
                  <a:pt x="732" y="1246"/>
                </a:lnTo>
                <a:lnTo>
                  <a:pt x="730" y="1244"/>
                </a:lnTo>
                <a:lnTo>
                  <a:pt x="730" y="1246"/>
                </a:lnTo>
                <a:lnTo>
                  <a:pt x="728" y="1246"/>
                </a:lnTo>
                <a:lnTo>
                  <a:pt x="726" y="1244"/>
                </a:lnTo>
                <a:lnTo>
                  <a:pt x="726" y="1246"/>
                </a:lnTo>
                <a:lnTo>
                  <a:pt x="726" y="1248"/>
                </a:lnTo>
                <a:lnTo>
                  <a:pt x="724" y="1248"/>
                </a:lnTo>
                <a:lnTo>
                  <a:pt x="726" y="1248"/>
                </a:lnTo>
                <a:lnTo>
                  <a:pt x="726" y="1250"/>
                </a:lnTo>
                <a:lnTo>
                  <a:pt x="724" y="1250"/>
                </a:lnTo>
                <a:lnTo>
                  <a:pt x="722" y="1250"/>
                </a:lnTo>
                <a:lnTo>
                  <a:pt x="724" y="1248"/>
                </a:lnTo>
                <a:lnTo>
                  <a:pt x="722" y="1248"/>
                </a:lnTo>
                <a:lnTo>
                  <a:pt x="722" y="1250"/>
                </a:lnTo>
                <a:lnTo>
                  <a:pt x="720" y="1250"/>
                </a:lnTo>
                <a:lnTo>
                  <a:pt x="720" y="1248"/>
                </a:lnTo>
                <a:lnTo>
                  <a:pt x="718" y="1248"/>
                </a:lnTo>
                <a:lnTo>
                  <a:pt x="720" y="1246"/>
                </a:lnTo>
                <a:lnTo>
                  <a:pt x="722" y="1246"/>
                </a:lnTo>
                <a:lnTo>
                  <a:pt x="722" y="1248"/>
                </a:lnTo>
                <a:lnTo>
                  <a:pt x="722" y="1246"/>
                </a:lnTo>
                <a:lnTo>
                  <a:pt x="724" y="1246"/>
                </a:lnTo>
                <a:lnTo>
                  <a:pt x="724" y="1244"/>
                </a:lnTo>
                <a:lnTo>
                  <a:pt x="722" y="1244"/>
                </a:lnTo>
                <a:lnTo>
                  <a:pt x="724" y="1244"/>
                </a:lnTo>
                <a:lnTo>
                  <a:pt x="724" y="1242"/>
                </a:lnTo>
                <a:lnTo>
                  <a:pt x="722" y="1244"/>
                </a:lnTo>
                <a:lnTo>
                  <a:pt x="720" y="1244"/>
                </a:lnTo>
                <a:lnTo>
                  <a:pt x="720" y="1242"/>
                </a:lnTo>
                <a:lnTo>
                  <a:pt x="722" y="1242"/>
                </a:lnTo>
                <a:lnTo>
                  <a:pt x="722" y="1240"/>
                </a:lnTo>
                <a:lnTo>
                  <a:pt x="722" y="1242"/>
                </a:lnTo>
                <a:lnTo>
                  <a:pt x="722" y="1240"/>
                </a:lnTo>
                <a:lnTo>
                  <a:pt x="720" y="1240"/>
                </a:lnTo>
                <a:lnTo>
                  <a:pt x="718" y="1240"/>
                </a:lnTo>
                <a:lnTo>
                  <a:pt x="716" y="1240"/>
                </a:lnTo>
                <a:lnTo>
                  <a:pt x="714" y="1240"/>
                </a:lnTo>
                <a:lnTo>
                  <a:pt x="712" y="1242"/>
                </a:lnTo>
                <a:lnTo>
                  <a:pt x="712" y="1240"/>
                </a:lnTo>
                <a:lnTo>
                  <a:pt x="712" y="1238"/>
                </a:lnTo>
                <a:lnTo>
                  <a:pt x="711" y="1238"/>
                </a:lnTo>
                <a:lnTo>
                  <a:pt x="709" y="1238"/>
                </a:lnTo>
                <a:lnTo>
                  <a:pt x="709" y="1236"/>
                </a:lnTo>
                <a:lnTo>
                  <a:pt x="709" y="1234"/>
                </a:lnTo>
                <a:lnTo>
                  <a:pt x="707" y="1233"/>
                </a:lnTo>
                <a:lnTo>
                  <a:pt x="705" y="1233"/>
                </a:lnTo>
                <a:lnTo>
                  <a:pt x="705" y="1231"/>
                </a:lnTo>
                <a:lnTo>
                  <a:pt x="705" y="1229"/>
                </a:lnTo>
                <a:lnTo>
                  <a:pt x="703" y="1229"/>
                </a:lnTo>
                <a:lnTo>
                  <a:pt x="701" y="1229"/>
                </a:lnTo>
                <a:lnTo>
                  <a:pt x="699" y="1229"/>
                </a:lnTo>
                <a:lnTo>
                  <a:pt x="699" y="1227"/>
                </a:lnTo>
                <a:lnTo>
                  <a:pt x="701" y="1227"/>
                </a:lnTo>
                <a:lnTo>
                  <a:pt x="699" y="1225"/>
                </a:lnTo>
                <a:lnTo>
                  <a:pt x="697" y="1225"/>
                </a:lnTo>
                <a:lnTo>
                  <a:pt x="695" y="1225"/>
                </a:lnTo>
                <a:lnTo>
                  <a:pt x="693" y="1225"/>
                </a:lnTo>
                <a:lnTo>
                  <a:pt x="693" y="1227"/>
                </a:lnTo>
                <a:lnTo>
                  <a:pt x="691" y="1227"/>
                </a:lnTo>
                <a:lnTo>
                  <a:pt x="691" y="1225"/>
                </a:lnTo>
                <a:lnTo>
                  <a:pt x="693" y="1225"/>
                </a:lnTo>
                <a:lnTo>
                  <a:pt x="693" y="1223"/>
                </a:lnTo>
                <a:lnTo>
                  <a:pt x="695" y="1221"/>
                </a:lnTo>
                <a:lnTo>
                  <a:pt x="697" y="1221"/>
                </a:lnTo>
                <a:lnTo>
                  <a:pt x="699" y="1221"/>
                </a:lnTo>
                <a:lnTo>
                  <a:pt x="699" y="1219"/>
                </a:lnTo>
                <a:lnTo>
                  <a:pt x="697" y="1219"/>
                </a:lnTo>
                <a:lnTo>
                  <a:pt x="697" y="1217"/>
                </a:lnTo>
                <a:lnTo>
                  <a:pt x="695" y="1217"/>
                </a:lnTo>
                <a:lnTo>
                  <a:pt x="695" y="1219"/>
                </a:lnTo>
                <a:lnTo>
                  <a:pt x="693" y="1219"/>
                </a:lnTo>
                <a:lnTo>
                  <a:pt x="693" y="1221"/>
                </a:lnTo>
                <a:lnTo>
                  <a:pt x="693" y="1219"/>
                </a:lnTo>
                <a:lnTo>
                  <a:pt x="693" y="1221"/>
                </a:lnTo>
                <a:lnTo>
                  <a:pt x="691" y="1221"/>
                </a:lnTo>
                <a:lnTo>
                  <a:pt x="691" y="1223"/>
                </a:lnTo>
                <a:lnTo>
                  <a:pt x="689" y="1223"/>
                </a:lnTo>
                <a:lnTo>
                  <a:pt x="689" y="1225"/>
                </a:lnTo>
                <a:lnTo>
                  <a:pt x="688" y="1225"/>
                </a:lnTo>
                <a:lnTo>
                  <a:pt x="686" y="1225"/>
                </a:lnTo>
                <a:lnTo>
                  <a:pt x="684" y="1225"/>
                </a:lnTo>
                <a:lnTo>
                  <a:pt x="682" y="1225"/>
                </a:lnTo>
                <a:lnTo>
                  <a:pt x="684" y="1225"/>
                </a:lnTo>
                <a:lnTo>
                  <a:pt x="682" y="1225"/>
                </a:lnTo>
                <a:lnTo>
                  <a:pt x="682" y="1227"/>
                </a:lnTo>
                <a:lnTo>
                  <a:pt x="680" y="1227"/>
                </a:lnTo>
                <a:lnTo>
                  <a:pt x="678" y="1227"/>
                </a:lnTo>
                <a:lnTo>
                  <a:pt x="678" y="1225"/>
                </a:lnTo>
                <a:lnTo>
                  <a:pt x="676" y="1225"/>
                </a:lnTo>
                <a:lnTo>
                  <a:pt x="674" y="1225"/>
                </a:lnTo>
                <a:lnTo>
                  <a:pt x="674" y="1227"/>
                </a:lnTo>
                <a:lnTo>
                  <a:pt x="672" y="1227"/>
                </a:lnTo>
                <a:lnTo>
                  <a:pt x="672" y="1229"/>
                </a:lnTo>
                <a:lnTo>
                  <a:pt x="672" y="1227"/>
                </a:lnTo>
                <a:lnTo>
                  <a:pt x="672" y="1225"/>
                </a:lnTo>
                <a:lnTo>
                  <a:pt x="670" y="1225"/>
                </a:lnTo>
                <a:lnTo>
                  <a:pt x="670" y="1223"/>
                </a:lnTo>
                <a:lnTo>
                  <a:pt x="668" y="1223"/>
                </a:lnTo>
                <a:lnTo>
                  <a:pt x="670" y="1223"/>
                </a:lnTo>
                <a:lnTo>
                  <a:pt x="670" y="1221"/>
                </a:lnTo>
                <a:lnTo>
                  <a:pt x="670" y="1223"/>
                </a:lnTo>
                <a:lnTo>
                  <a:pt x="672" y="1223"/>
                </a:lnTo>
                <a:lnTo>
                  <a:pt x="672" y="1221"/>
                </a:lnTo>
                <a:lnTo>
                  <a:pt x="670" y="1221"/>
                </a:lnTo>
                <a:lnTo>
                  <a:pt x="672" y="1221"/>
                </a:lnTo>
                <a:lnTo>
                  <a:pt x="674" y="1223"/>
                </a:lnTo>
                <a:lnTo>
                  <a:pt x="674" y="1225"/>
                </a:lnTo>
                <a:lnTo>
                  <a:pt x="676" y="1225"/>
                </a:lnTo>
                <a:lnTo>
                  <a:pt x="676" y="1223"/>
                </a:lnTo>
                <a:lnTo>
                  <a:pt x="676" y="1221"/>
                </a:lnTo>
                <a:lnTo>
                  <a:pt x="676" y="1219"/>
                </a:lnTo>
                <a:lnTo>
                  <a:pt x="676" y="1221"/>
                </a:lnTo>
                <a:lnTo>
                  <a:pt x="678" y="1221"/>
                </a:lnTo>
                <a:lnTo>
                  <a:pt x="678" y="1219"/>
                </a:lnTo>
                <a:lnTo>
                  <a:pt x="678" y="1221"/>
                </a:lnTo>
                <a:lnTo>
                  <a:pt x="680" y="1221"/>
                </a:lnTo>
                <a:lnTo>
                  <a:pt x="682" y="1221"/>
                </a:lnTo>
                <a:lnTo>
                  <a:pt x="682" y="1219"/>
                </a:lnTo>
                <a:lnTo>
                  <a:pt x="682" y="1217"/>
                </a:lnTo>
                <a:lnTo>
                  <a:pt x="684" y="1217"/>
                </a:lnTo>
                <a:lnTo>
                  <a:pt x="686" y="1217"/>
                </a:lnTo>
                <a:lnTo>
                  <a:pt x="688" y="1217"/>
                </a:lnTo>
                <a:lnTo>
                  <a:pt x="689" y="1217"/>
                </a:lnTo>
                <a:lnTo>
                  <a:pt x="689" y="1219"/>
                </a:lnTo>
                <a:lnTo>
                  <a:pt x="689" y="1217"/>
                </a:lnTo>
                <a:lnTo>
                  <a:pt x="689" y="1215"/>
                </a:lnTo>
                <a:lnTo>
                  <a:pt x="689" y="1213"/>
                </a:lnTo>
                <a:lnTo>
                  <a:pt x="689" y="1211"/>
                </a:lnTo>
                <a:lnTo>
                  <a:pt x="689" y="1209"/>
                </a:lnTo>
                <a:lnTo>
                  <a:pt x="688" y="1209"/>
                </a:lnTo>
                <a:lnTo>
                  <a:pt x="688" y="1208"/>
                </a:lnTo>
                <a:lnTo>
                  <a:pt x="688" y="1206"/>
                </a:lnTo>
                <a:lnTo>
                  <a:pt x="686" y="1206"/>
                </a:lnTo>
                <a:lnTo>
                  <a:pt x="686" y="1208"/>
                </a:lnTo>
                <a:lnTo>
                  <a:pt x="684" y="1208"/>
                </a:lnTo>
                <a:lnTo>
                  <a:pt x="682" y="1208"/>
                </a:lnTo>
                <a:lnTo>
                  <a:pt x="682" y="1206"/>
                </a:lnTo>
                <a:lnTo>
                  <a:pt x="682" y="1204"/>
                </a:lnTo>
                <a:lnTo>
                  <a:pt x="682" y="1202"/>
                </a:lnTo>
                <a:lnTo>
                  <a:pt x="682" y="1204"/>
                </a:lnTo>
                <a:lnTo>
                  <a:pt x="680" y="1204"/>
                </a:lnTo>
                <a:lnTo>
                  <a:pt x="678" y="1204"/>
                </a:lnTo>
                <a:lnTo>
                  <a:pt x="680" y="1204"/>
                </a:lnTo>
                <a:lnTo>
                  <a:pt x="680" y="1202"/>
                </a:lnTo>
                <a:lnTo>
                  <a:pt x="678" y="1202"/>
                </a:lnTo>
                <a:lnTo>
                  <a:pt x="676" y="1202"/>
                </a:lnTo>
                <a:lnTo>
                  <a:pt x="676" y="1204"/>
                </a:lnTo>
                <a:lnTo>
                  <a:pt x="674" y="1204"/>
                </a:lnTo>
                <a:lnTo>
                  <a:pt x="674" y="1206"/>
                </a:lnTo>
                <a:lnTo>
                  <a:pt x="674" y="1204"/>
                </a:lnTo>
                <a:lnTo>
                  <a:pt x="672" y="1204"/>
                </a:lnTo>
                <a:lnTo>
                  <a:pt x="672" y="1202"/>
                </a:lnTo>
                <a:lnTo>
                  <a:pt x="674" y="1202"/>
                </a:lnTo>
                <a:lnTo>
                  <a:pt x="672" y="1202"/>
                </a:lnTo>
                <a:lnTo>
                  <a:pt x="672" y="1204"/>
                </a:lnTo>
                <a:lnTo>
                  <a:pt x="670" y="1204"/>
                </a:lnTo>
                <a:lnTo>
                  <a:pt x="670" y="1202"/>
                </a:lnTo>
                <a:lnTo>
                  <a:pt x="670" y="1200"/>
                </a:lnTo>
                <a:lnTo>
                  <a:pt x="672" y="1200"/>
                </a:lnTo>
                <a:lnTo>
                  <a:pt x="672" y="1198"/>
                </a:lnTo>
                <a:lnTo>
                  <a:pt x="670" y="1198"/>
                </a:lnTo>
                <a:lnTo>
                  <a:pt x="672" y="1198"/>
                </a:lnTo>
                <a:lnTo>
                  <a:pt x="672" y="1200"/>
                </a:lnTo>
                <a:lnTo>
                  <a:pt x="670" y="1200"/>
                </a:lnTo>
                <a:lnTo>
                  <a:pt x="668" y="1202"/>
                </a:lnTo>
                <a:lnTo>
                  <a:pt x="666" y="1202"/>
                </a:lnTo>
                <a:lnTo>
                  <a:pt x="666" y="1200"/>
                </a:lnTo>
                <a:lnTo>
                  <a:pt x="664" y="1200"/>
                </a:lnTo>
                <a:lnTo>
                  <a:pt x="664" y="1198"/>
                </a:lnTo>
                <a:lnTo>
                  <a:pt x="666" y="1198"/>
                </a:lnTo>
                <a:lnTo>
                  <a:pt x="666" y="1196"/>
                </a:lnTo>
                <a:lnTo>
                  <a:pt x="664" y="1196"/>
                </a:lnTo>
                <a:lnTo>
                  <a:pt x="664" y="1198"/>
                </a:lnTo>
                <a:lnTo>
                  <a:pt x="663" y="1198"/>
                </a:lnTo>
                <a:lnTo>
                  <a:pt x="663" y="1196"/>
                </a:lnTo>
                <a:lnTo>
                  <a:pt x="663" y="1198"/>
                </a:lnTo>
                <a:lnTo>
                  <a:pt x="663" y="1196"/>
                </a:lnTo>
                <a:lnTo>
                  <a:pt x="661" y="1196"/>
                </a:lnTo>
                <a:lnTo>
                  <a:pt x="661" y="1194"/>
                </a:lnTo>
                <a:lnTo>
                  <a:pt x="661" y="1192"/>
                </a:lnTo>
                <a:lnTo>
                  <a:pt x="661" y="1190"/>
                </a:lnTo>
                <a:lnTo>
                  <a:pt x="659" y="1190"/>
                </a:lnTo>
                <a:lnTo>
                  <a:pt x="659" y="1192"/>
                </a:lnTo>
                <a:lnTo>
                  <a:pt x="659" y="1194"/>
                </a:lnTo>
                <a:lnTo>
                  <a:pt x="659" y="1196"/>
                </a:lnTo>
                <a:lnTo>
                  <a:pt x="657" y="1196"/>
                </a:lnTo>
                <a:lnTo>
                  <a:pt x="657" y="1194"/>
                </a:lnTo>
                <a:lnTo>
                  <a:pt x="655" y="1194"/>
                </a:lnTo>
                <a:lnTo>
                  <a:pt x="653" y="1194"/>
                </a:lnTo>
                <a:lnTo>
                  <a:pt x="653" y="1192"/>
                </a:lnTo>
                <a:lnTo>
                  <a:pt x="653" y="1194"/>
                </a:lnTo>
                <a:lnTo>
                  <a:pt x="653" y="1192"/>
                </a:lnTo>
                <a:lnTo>
                  <a:pt x="655" y="1192"/>
                </a:lnTo>
                <a:lnTo>
                  <a:pt x="653" y="1192"/>
                </a:lnTo>
                <a:lnTo>
                  <a:pt x="653" y="1194"/>
                </a:lnTo>
                <a:lnTo>
                  <a:pt x="651" y="1194"/>
                </a:lnTo>
                <a:lnTo>
                  <a:pt x="649" y="1194"/>
                </a:lnTo>
                <a:lnTo>
                  <a:pt x="647" y="1194"/>
                </a:lnTo>
                <a:lnTo>
                  <a:pt x="645" y="1194"/>
                </a:lnTo>
                <a:lnTo>
                  <a:pt x="643" y="1192"/>
                </a:lnTo>
                <a:lnTo>
                  <a:pt x="645" y="1192"/>
                </a:lnTo>
                <a:lnTo>
                  <a:pt x="647" y="1190"/>
                </a:lnTo>
                <a:lnTo>
                  <a:pt x="647" y="1188"/>
                </a:lnTo>
                <a:lnTo>
                  <a:pt x="649" y="1188"/>
                </a:lnTo>
                <a:lnTo>
                  <a:pt x="649" y="1186"/>
                </a:lnTo>
                <a:lnTo>
                  <a:pt x="651" y="1186"/>
                </a:lnTo>
                <a:lnTo>
                  <a:pt x="653" y="1186"/>
                </a:lnTo>
                <a:lnTo>
                  <a:pt x="653" y="1185"/>
                </a:lnTo>
                <a:lnTo>
                  <a:pt x="651" y="1185"/>
                </a:lnTo>
                <a:lnTo>
                  <a:pt x="651" y="1186"/>
                </a:lnTo>
                <a:lnTo>
                  <a:pt x="651" y="1185"/>
                </a:lnTo>
                <a:lnTo>
                  <a:pt x="651" y="1186"/>
                </a:lnTo>
                <a:lnTo>
                  <a:pt x="649" y="1186"/>
                </a:lnTo>
                <a:lnTo>
                  <a:pt x="647" y="1186"/>
                </a:lnTo>
                <a:lnTo>
                  <a:pt x="647" y="1185"/>
                </a:lnTo>
                <a:lnTo>
                  <a:pt x="645" y="1185"/>
                </a:lnTo>
                <a:lnTo>
                  <a:pt x="647" y="1185"/>
                </a:lnTo>
                <a:lnTo>
                  <a:pt x="645" y="1183"/>
                </a:lnTo>
                <a:lnTo>
                  <a:pt x="647" y="1183"/>
                </a:lnTo>
                <a:lnTo>
                  <a:pt x="645" y="1183"/>
                </a:lnTo>
                <a:lnTo>
                  <a:pt x="645" y="1181"/>
                </a:lnTo>
                <a:lnTo>
                  <a:pt x="643" y="1181"/>
                </a:lnTo>
                <a:lnTo>
                  <a:pt x="643" y="1183"/>
                </a:lnTo>
                <a:lnTo>
                  <a:pt x="643" y="1185"/>
                </a:lnTo>
                <a:lnTo>
                  <a:pt x="643" y="1186"/>
                </a:lnTo>
                <a:lnTo>
                  <a:pt x="645" y="1186"/>
                </a:lnTo>
                <a:lnTo>
                  <a:pt x="643" y="1186"/>
                </a:lnTo>
                <a:lnTo>
                  <a:pt x="643" y="1188"/>
                </a:lnTo>
                <a:lnTo>
                  <a:pt x="641" y="1188"/>
                </a:lnTo>
                <a:lnTo>
                  <a:pt x="640" y="1188"/>
                </a:lnTo>
                <a:lnTo>
                  <a:pt x="640" y="1186"/>
                </a:lnTo>
                <a:lnTo>
                  <a:pt x="638" y="1185"/>
                </a:lnTo>
                <a:lnTo>
                  <a:pt x="638" y="1183"/>
                </a:lnTo>
                <a:lnTo>
                  <a:pt x="638" y="1181"/>
                </a:lnTo>
                <a:lnTo>
                  <a:pt x="638" y="1179"/>
                </a:lnTo>
                <a:lnTo>
                  <a:pt x="640" y="1179"/>
                </a:lnTo>
                <a:lnTo>
                  <a:pt x="640" y="1181"/>
                </a:lnTo>
                <a:lnTo>
                  <a:pt x="640" y="1179"/>
                </a:lnTo>
                <a:lnTo>
                  <a:pt x="641" y="1179"/>
                </a:lnTo>
                <a:lnTo>
                  <a:pt x="641" y="1177"/>
                </a:lnTo>
                <a:lnTo>
                  <a:pt x="640" y="1177"/>
                </a:lnTo>
                <a:lnTo>
                  <a:pt x="640" y="1175"/>
                </a:lnTo>
                <a:lnTo>
                  <a:pt x="638" y="1175"/>
                </a:lnTo>
                <a:lnTo>
                  <a:pt x="636" y="1175"/>
                </a:lnTo>
                <a:lnTo>
                  <a:pt x="634" y="1175"/>
                </a:lnTo>
                <a:lnTo>
                  <a:pt x="632" y="1175"/>
                </a:lnTo>
                <a:lnTo>
                  <a:pt x="630" y="1175"/>
                </a:lnTo>
                <a:lnTo>
                  <a:pt x="628" y="1173"/>
                </a:lnTo>
                <a:lnTo>
                  <a:pt x="626" y="1173"/>
                </a:lnTo>
                <a:lnTo>
                  <a:pt x="626" y="1171"/>
                </a:lnTo>
                <a:lnTo>
                  <a:pt x="624" y="1171"/>
                </a:lnTo>
                <a:lnTo>
                  <a:pt x="624" y="1169"/>
                </a:lnTo>
                <a:lnTo>
                  <a:pt x="622" y="1169"/>
                </a:lnTo>
                <a:lnTo>
                  <a:pt x="620" y="1169"/>
                </a:lnTo>
                <a:lnTo>
                  <a:pt x="620" y="1167"/>
                </a:lnTo>
                <a:lnTo>
                  <a:pt x="618" y="1167"/>
                </a:lnTo>
                <a:lnTo>
                  <a:pt x="618" y="1165"/>
                </a:lnTo>
                <a:lnTo>
                  <a:pt x="620" y="1165"/>
                </a:lnTo>
                <a:lnTo>
                  <a:pt x="620" y="1163"/>
                </a:lnTo>
                <a:lnTo>
                  <a:pt x="620" y="1161"/>
                </a:lnTo>
                <a:lnTo>
                  <a:pt x="618" y="1161"/>
                </a:lnTo>
                <a:lnTo>
                  <a:pt x="618" y="1160"/>
                </a:lnTo>
                <a:lnTo>
                  <a:pt x="616" y="1160"/>
                </a:lnTo>
                <a:lnTo>
                  <a:pt x="616" y="1161"/>
                </a:lnTo>
                <a:lnTo>
                  <a:pt x="616" y="1160"/>
                </a:lnTo>
                <a:lnTo>
                  <a:pt x="615" y="1160"/>
                </a:lnTo>
                <a:lnTo>
                  <a:pt x="615" y="1158"/>
                </a:lnTo>
                <a:lnTo>
                  <a:pt x="615" y="1156"/>
                </a:lnTo>
                <a:lnTo>
                  <a:pt x="616" y="1156"/>
                </a:lnTo>
                <a:lnTo>
                  <a:pt x="618" y="1156"/>
                </a:lnTo>
                <a:lnTo>
                  <a:pt x="620" y="1156"/>
                </a:lnTo>
                <a:lnTo>
                  <a:pt x="622" y="1156"/>
                </a:lnTo>
                <a:lnTo>
                  <a:pt x="622" y="1154"/>
                </a:lnTo>
                <a:lnTo>
                  <a:pt x="624" y="1154"/>
                </a:lnTo>
                <a:lnTo>
                  <a:pt x="626" y="1154"/>
                </a:lnTo>
                <a:lnTo>
                  <a:pt x="628" y="1154"/>
                </a:lnTo>
                <a:lnTo>
                  <a:pt x="630" y="1154"/>
                </a:lnTo>
                <a:lnTo>
                  <a:pt x="632" y="1154"/>
                </a:lnTo>
                <a:lnTo>
                  <a:pt x="634" y="1154"/>
                </a:lnTo>
                <a:lnTo>
                  <a:pt x="636" y="1154"/>
                </a:lnTo>
                <a:lnTo>
                  <a:pt x="634" y="1154"/>
                </a:lnTo>
                <a:lnTo>
                  <a:pt x="634" y="1156"/>
                </a:lnTo>
                <a:lnTo>
                  <a:pt x="634" y="1158"/>
                </a:lnTo>
                <a:lnTo>
                  <a:pt x="632" y="1158"/>
                </a:lnTo>
                <a:lnTo>
                  <a:pt x="632" y="1160"/>
                </a:lnTo>
                <a:lnTo>
                  <a:pt x="634" y="1160"/>
                </a:lnTo>
                <a:lnTo>
                  <a:pt x="632" y="1160"/>
                </a:lnTo>
                <a:lnTo>
                  <a:pt x="632" y="1161"/>
                </a:lnTo>
                <a:lnTo>
                  <a:pt x="634" y="1161"/>
                </a:lnTo>
                <a:lnTo>
                  <a:pt x="634" y="1163"/>
                </a:lnTo>
                <a:lnTo>
                  <a:pt x="634" y="1165"/>
                </a:lnTo>
                <a:lnTo>
                  <a:pt x="636" y="1165"/>
                </a:lnTo>
                <a:lnTo>
                  <a:pt x="636" y="1163"/>
                </a:lnTo>
                <a:lnTo>
                  <a:pt x="634" y="1163"/>
                </a:lnTo>
                <a:lnTo>
                  <a:pt x="634" y="1161"/>
                </a:lnTo>
                <a:lnTo>
                  <a:pt x="634" y="1160"/>
                </a:lnTo>
                <a:lnTo>
                  <a:pt x="636" y="1160"/>
                </a:lnTo>
                <a:lnTo>
                  <a:pt x="636" y="1158"/>
                </a:lnTo>
                <a:lnTo>
                  <a:pt x="636" y="1156"/>
                </a:lnTo>
                <a:lnTo>
                  <a:pt x="636" y="1154"/>
                </a:lnTo>
                <a:lnTo>
                  <a:pt x="638" y="1152"/>
                </a:lnTo>
                <a:lnTo>
                  <a:pt x="636" y="1150"/>
                </a:lnTo>
                <a:lnTo>
                  <a:pt x="636" y="1148"/>
                </a:lnTo>
                <a:lnTo>
                  <a:pt x="634" y="1146"/>
                </a:lnTo>
                <a:lnTo>
                  <a:pt x="632" y="1144"/>
                </a:lnTo>
                <a:lnTo>
                  <a:pt x="630" y="1144"/>
                </a:lnTo>
                <a:lnTo>
                  <a:pt x="630" y="1142"/>
                </a:lnTo>
                <a:lnTo>
                  <a:pt x="630" y="1144"/>
                </a:lnTo>
                <a:lnTo>
                  <a:pt x="628" y="1144"/>
                </a:lnTo>
                <a:lnTo>
                  <a:pt x="628" y="1142"/>
                </a:lnTo>
                <a:lnTo>
                  <a:pt x="626" y="1142"/>
                </a:lnTo>
                <a:lnTo>
                  <a:pt x="626" y="1144"/>
                </a:lnTo>
                <a:lnTo>
                  <a:pt x="628" y="1144"/>
                </a:lnTo>
                <a:lnTo>
                  <a:pt x="626" y="1144"/>
                </a:lnTo>
                <a:lnTo>
                  <a:pt x="624" y="1144"/>
                </a:lnTo>
                <a:lnTo>
                  <a:pt x="622" y="1142"/>
                </a:lnTo>
                <a:lnTo>
                  <a:pt x="620" y="1142"/>
                </a:lnTo>
                <a:lnTo>
                  <a:pt x="622" y="1142"/>
                </a:lnTo>
                <a:lnTo>
                  <a:pt x="620" y="1142"/>
                </a:lnTo>
                <a:lnTo>
                  <a:pt x="620" y="1144"/>
                </a:lnTo>
                <a:lnTo>
                  <a:pt x="618" y="1144"/>
                </a:lnTo>
                <a:lnTo>
                  <a:pt x="618" y="1146"/>
                </a:lnTo>
                <a:lnTo>
                  <a:pt x="616" y="1146"/>
                </a:lnTo>
                <a:lnTo>
                  <a:pt x="615" y="1146"/>
                </a:lnTo>
                <a:lnTo>
                  <a:pt x="615" y="1148"/>
                </a:lnTo>
                <a:lnTo>
                  <a:pt x="613" y="1148"/>
                </a:lnTo>
                <a:lnTo>
                  <a:pt x="611" y="1148"/>
                </a:lnTo>
                <a:lnTo>
                  <a:pt x="611" y="1146"/>
                </a:lnTo>
                <a:lnTo>
                  <a:pt x="611" y="1148"/>
                </a:lnTo>
                <a:lnTo>
                  <a:pt x="611" y="1146"/>
                </a:lnTo>
                <a:lnTo>
                  <a:pt x="609" y="1146"/>
                </a:lnTo>
                <a:lnTo>
                  <a:pt x="609" y="1148"/>
                </a:lnTo>
                <a:lnTo>
                  <a:pt x="609" y="1146"/>
                </a:lnTo>
                <a:lnTo>
                  <a:pt x="607" y="1146"/>
                </a:lnTo>
                <a:lnTo>
                  <a:pt x="605" y="1146"/>
                </a:lnTo>
                <a:lnTo>
                  <a:pt x="603" y="1146"/>
                </a:lnTo>
                <a:lnTo>
                  <a:pt x="601" y="1146"/>
                </a:lnTo>
                <a:lnTo>
                  <a:pt x="603" y="1146"/>
                </a:lnTo>
                <a:lnTo>
                  <a:pt x="601" y="1146"/>
                </a:lnTo>
                <a:lnTo>
                  <a:pt x="599" y="1146"/>
                </a:lnTo>
                <a:lnTo>
                  <a:pt x="597" y="1146"/>
                </a:lnTo>
                <a:lnTo>
                  <a:pt x="599" y="1146"/>
                </a:lnTo>
                <a:lnTo>
                  <a:pt x="599" y="1144"/>
                </a:lnTo>
                <a:lnTo>
                  <a:pt x="597" y="1144"/>
                </a:lnTo>
                <a:lnTo>
                  <a:pt x="599" y="1144"/>
                </a:lnTo>
                <a:lnTo>
                  <a:pt x="597" y="1144"/>
                </a:lnTo>
                <a:lnTo>
                  <a:pt x="597" y="1146"/>
                </a:lnTo>
                <a:lnTo>
                  <a:pt x="595" y="1146"/>
                </a:lnTo>
                <a:lnTo>
                  <a:pt x="595" y="1144"/>
                </a:lnTo>
                <a:lnTo>
                  <a:pt x="595" y="1142"/>
                </a:lnTo>
                <a:lnTo>
                  <a:pt x="595" y="1144"/>
                </a:lnTo>
                <a:lnTo>
                  <a:pt x="595" y="1146"/>
                </a:lnTo>
                <a:lnTo>
                  <a:pt x="597" y="1146"/>
                </a:lnTo>
                <a:lnTo>
                  <a:pt x="597" y="1144"/>
                </a:lnTo>
                <a:lnTo>
                  <a:pt x="595" y="1144"/>
                </a:lnTo>
                <a:lnTo>
                  <a:pt x="595" y="1142"/>
                </a:lnTo>
                <a:lnTo>
                  <a:pt x="595" y="1140"/>
                </a:lnTo>
                <a:lnTo>
                  <a:pt x="593" y="1140"/>
                </a:lnTo>
                <a:lnTo>
                  <a:pt x="593" y="1138"/>
                </a:lnTo>
                <a:lnTo>
                  <a:pt x="593" y="1140"/>
                </a:lnTo>
                <a:lnTo>
                  <a:pt x="592" y="1142"/>
                </a:lnTo>
                <a:lnTo>
                  <a:pt x="590" y="1142"/>
                </a:lnTo>
                <a:lnTo>
                  <a:pt x="590" y="1140"/>
                </a:lnTo>
                <a:lnTo>
                  <a:pt x="590" y="1142"/>
                </a:lnTo>
                <a:lnTo>
                  <a:pt x="590" y="1144"/>
                </a:lnTo>
                <a:lnTo>
                  <a:pt x="590" y="1146"/>
                </a:lnTo>
                <a:lnTo>
                  <a:pt x="588" y="1146"/>
                </a:lnTo>
                <a:lnTo>
                  <a:pt x="588" y="1148"/>
                </a:lnTo>
                <a:lnTo>
                  <a:pt x="586" y="1148"/>
                </a:lnTo>
                <a:lnTo>
                  <a:pt x="586" y="1146"/>
                </a:lnTo>
                <a:lnTo>
                  <a:pt x="584" y="1146"/>
                </a:lnTo>
                <a:lnTo>
                  <a:pt x="584" y="1144"/>
                </a:lnTo>
                <a:lnTo>
                  <a:pt x="582" y="1144"/>
                </a:lnTo>
                <a:lnTo>
                  <a:pt x="582" y="1142"/>
                </a:lnTo>
                <a:lnTo>
                  <a:pt x="582" y="1140"/>
                </a:lnTo>
                <a:lnTo>
                  <a:pt x="584" y="1140"/>
                </a:lnTo>
                <a:lnTo>
                  <a:pt x="586" y="1140"/>
                </a:lnTo>
                <a:lnTo>
                  <a:pt x="588" y="1140"/>
                </a:lnTo>
                <a:lnTo>
                  <a:pt x="590" y="1140"/>
                </a:lnTo>
                <a:lnTo>
                  <a:pt x="588" y="1140"/>
                </a:lnTo>
                <a:lnTo>
                  <a:pt x="588" y="1138"/>
                </a:lnTo>
                <a:lnTo>
                  <a:pt x="588" y="1140"/>
                </a:lnTo>
                <a:lnTo>
                  <a:pt x="586" y="1138"/>
                </a:lnTo>
                <a:lnTo>
                  <a:pt x="586" y="1137"/>
                </a:lnTo>
                <a:lnTo>
                  <a:pt x="584" y="1137"/>
                </a:lnTo>
                <a:lnTo>
                  <a:pt x="582" y="1137"/>
                </a:lnTo>
                <a:lnTo>
                  <a:pt x="580" y="1137"/>
                </a:lnTo>
                <a:lnTo>
                  <a:pt x="580" y="1138"/>
                </a:lnTo>
                <a:lnTo>
                  <a:pt x="578" y="1138"/>
                </a:lnTo>
                <a:lnTo>
                  <a:pt x="578" y="1140"/>
                </a:lnTo>
                <a:lnTo>
                  <a:pt x="576" y="1140"/>
                </a:lnTo>
                <a:lnTo>
                  <a:pt x="576" y="1138"/>
                </a:lnTo>
                <a:lnTo>
                  <a:pt x="576" y="1140"/>
                </a:lnTo>
                <a:lnTo>
                  <a:pt x="574" y="1140"/>
                </a:lnTo>
                <a:lnTo>
                  <a:pt x="574" y="1138"/>
                </a:lnTo>
                <a:lnTo>
                  <a:pt x="574" y="1137"/>
                </a:lnTo>
                <a:lnTo>
                  <a:pt x="574" y="1135"/>
                </a:lnTo>
                <a:lnTo>
                  <a:pt x="576" y="1135"/>
                </a:lnTo>
                <a:lnTo>
                  <a:pt x="578" y="1135"/>
                </a:lnTo>
                <a:lnTo>
                  <a:pt x="576" y="1135"/>
                </a:lnTo>
                <a:lnTo>
                  <a:pt x="576" y="1133"/>
                </a:lnTo>
                <a:lnTo>
                  <a:pt x="574" y="1135"/>
                </a:lnTo>
                <a:lnTo>
                  <a:pt x="572" y="1135"/>
                </a:lnTo>
                <a:lnTo>
                  <a:pt x="572" y="1133"/>
                </a:lnTo>
                <a:lnTo>
                  <a:pt x="572" y="1131"/>
                </a:lnTo>
                <a:lnTo>
                  <a:pt x="570" y="1131"/>
                </a:lnTo>
                <a:lnTo>
                  <a:pt x="572" y="1131"/>
                </a:lnTo>
                <a:lnTo>
                  <a:pt x="570" y="1129"/>
                </a:lnTo>
                <a:lnTo>
                  <a:pt x="572" y="1129"/>
                </a:lnTo>
                <a:lnTo>
                  <a:pt x="570" y="1129"/>
                </a:lnTo>
                <a:lnTo>
                  <a:pt x="572" y="1127"/>
                </a:lnTo>
                <a:lnTo>
                  <a:pt x="572" y="1125"/>
                </a:lnTo>
                <a:lnTo>
                  <a:pt x="574" y="1125"/>
                </a:lnTo>
                <a:lnTo>
                  <a:pt x="574" y="1123"/>
                </a:lnTo>
                <a:lnTo>
                  <a:pt x="576" y="1123"/>
                </a:lnTo>
                <a:lnTo>
                  <a:pt x="576" y="1125"/>
                </a:lnTo>
                <a:lnTo>
                  <a:pt x="576" y="1127"/>
                </a:lnTo>
                <a:lnTo>
                  <a:pt x="576" y="1129"/>
                </a:lnTo>
                <a:lnTo>
                  <a:pt x="576" y="1131"/>
                </a:lnTo>
                <a:lnTo>
                  <a:pt x="578" y="1131"/>
                </a:lnTo>
                <a:lnTo>
                  <a:pt x="578" y="1129"/>
                </a:lnTo>
                <a:lnTo>
                  <a:pt x="578" y="1127"/>
                </a:lnTo>
                <a:lnTo>
                  <a:pt x="578" y="1125"/>
                </a:lnTo>
                <a:lnTo>
                  <a:pt x="580" y="1125"/>
                </a:lnTo>
                <a:lnTo>
                  <a:pt x="580" y="1123"/>
                </a:lnTo>
                <a:lnTo>
                  <a:pt x="580" y="1121"/>
                </a:lnTo>
                <a:lnTo>
                  <a:pt x="582" y="1121"/>
                </a:lnTo>
                <a:lnTo>
                  <a:pt x="584" y="1121"/>
                </a:lnTo>
                <a:lnTo>
                  <a:pt x="584" y="1119"/>
                </a:lnTo>
                <a:lnTo>
                  <a:pt x="586" y="1119"/>
                </a:lnTo>
                <a:lnTo>
                  <a:pt x="586" y="1117"/>
                </a:lnTo>
                <a:lnTo>
                  <a:pt x="586" y="1115"/>
                </a:lnTo>
                <a:lnTo>
                  <a:pt x="584" y="1113"/>
                </a:lnTo>
                <a:lnTo>
                  <a:pt x="586" y="1113"/>
                </a:lnTo>
                <a:lnTo>
                  <a:pt x="586" y="1115"/>
                </a:lnTo>
                <a:lnTo>
                  <a:pt x="588" y="1115"/>
                </a:lnTo>
                <a:lnTo>
                  <a:pt x="588" y="1113"/>
                </a:lnTo>
                <a:lnTo>
                  <a:pt x="586" y="1113"/>
                </a:lnTo>
                <a:lnTo>
                  <a:pt x="586" y="1112"/>
                </a:lnTo>
                <a:lnTo>
                  <a:pt x="584" y="1112"/>
                </a:lnTo>
                <a:lnTo>
                  <a:pt x="582" y="1112"/>
                </a:lnTo>
                <a:lnTo>
                  <a:pt x="580" y="1112"/>
                </a:lnTo>
                <a:lnTo>
                  <a:pt x="578" y="1112"/>
                </a:lnTo>
                <a:lnTo>
                  <a:pt x="578" y="1113"/>
                </a:lnTo>
                <a:lnTo>
                  <a:pt x="578" y="1115"/>
                </a:lnTo>
                <a:lnTo>
                  <a:pt x="578" y="1117"/>
                </a:lnTo>
                <a:lnTo>
                  <a:pt x="578" y="1115"/>
                </a:lnTo>
                <a:lnTo>
                  <a:pt x="578" y="1117"/>
                </a:lnTo>
                <a:lnTo>
                  <a:pt x="576" y="1117"/>
                </a:lnTo>
                <a:lnTo>
                  <a:pt x="576" y="1119"/>
                </a:lnTo>
                <a:lnTo>
                  <a:pt x="576" y="1121"/>
                </a:lnTo>
                <a:lnTo>
                  <a:pt x="574" y="1121"/>
                </a:lnTo>
                <a:lnTo>
                  <a:pt x="574" y="1119"/>
                </a:lnTo>
                <a:lnTo>
                  <a:pt x="574" y="1117"/>
                </a:lnTo>
                <a:lnTo>
                  <a:pt x="574" y="1119"/>
                </a:lnTo>
                <a:lnTo>
                  <a:pt x="572" y="1119"/>
                </a:lnTo>
                <a:lnTo>
                  <a:pt x="570" y="1119"/>
                </a:lnTo>
                <a:lnTo>
                  <a:pt x="568" y="1119"/>
                </a:lnTo>
                <a:lnTo>
                  <a:pt x="568" y="1121"/>
                </a:lnTo>
                <a:lnTo>
                  <a:pt x="570" y="1121"/>
                </a:lnTo>
                <a:lnTo>
                  <a:pt x="570" y="1119"/>
                </a:lnTo>
                <a:lnTo>
                  <a:pt x="572" y="1119"/>
                </a:lnTo>
                <a:lnTo>
                  <a:pt x="570" y="1121"/>
                </a:lnTo>
                <a:lnTo>
                  <a:pt x="568" y="1123"/>
                </a:lnTo>
                <a:lnTo>
                  <a:pt x="567" y="1123"/>
                </a:lnTo>
                <a:lnTo>
                  <a:pt x="567" y="1125"/>
                </a:lnTo>
                <a:lnTo>
                  <a:pt x="565" y="1125"/>
                </a:lnTo>
                <a:lnTo>
                  <a:pt x="565" y="1127"/>
                </a:lnTo>
                <a:lnTo>
                  <a:pt x="563" y="1127"/>
                </a:lnTo>
                <a:lnTo>
                  <a:pt x="563" y="1129"/>
                </a:lnTo>
                <a:lnTo>
                  <a:pt x="563" y="1127"/>
                </a:lnTo>
                <a:lnTo>
                  <a:pt x="563" y="1125"/>
                </a:lnTo>
                <a:lnTo>
                  <a:pt x="563" y="1123"/>
                </a:lnTo>
                <a:lnTo>
                  <a:pt x="563" y="1121"/>
                </a:lnTo>
                <a:lnTo>
                  <a:pt x="563" y="1119"/>
                </a:lnTo>
                <a:lnTo>
                  <a:pt x="561" y="1119"/>
                </a:lnTo>
                <a:lnTo>
                  <a:pt x="561" y="1121"/>
                </a:lnTo>
                <a:lnTo>
                  <a:pt x="559" y="1121"/>
                </a:lnTo>
                <a:lnTo>
                  <a:pt x="559" y="1119"/>
                </a:lnTo>
                <a:lnTo>
                  <a:pt x="557" y="1121"/>
                </a:lnTo>
                <a:lnTo>
                  <a:pt x="557" y="1119"/>
                </a:lnTo>
                <a:lnTo>
                  <a:pt x="557" y="1117"/>
                </a:lnTo>
                <a:lnTo>
                  <a:pt x="555" y="1117"/>
                </a:lnTo>
                <a:lnTo>
                  <a:pt x="555" y="1115"/>
                </a:lnTo>
                <a:lnTo>
                  <a:pt x="553" y="1115"/>
                </a:lnTo>
                <a:lnTo>
                  <a:pt x="555" y="1113"/>
                </a:lnTo>
                <a:lnTo>
                  <a:pt x="555" y="1112"/>
                </a:lnTo>
                <a:lnTo>
                  <a:pt x="557" y="1112"/>
                </a:lnTo>
                <a:lnTo>
                  <a:pt x="557" y="1110"/>
                </a:lnTo>
                <a:lnTo>
                  <a:pt x="557" y="1108"/>
                </a:lnTo>
                <a:lnTo>
                  <a:pt x="559" y="1108"/>
                </a:lnTo>
                <a:lnTo>
                  <a:pt x="559" y="1110"/>
                </a:lnTo>
                <a:lnTo>
                  <a:pt x="559" y="1112"/>
                </a:lnTo>
                <a:lnTo>
                  <a:pt x="559" y="1110"/>
                </a:lnTo>
                <a:lnTo>
                  <a:pt x="561" y="1110"/>
                </a:lnTo>
                <a:lnTo>
                  <a:pt x="559" y="1110"/>
                </a:lnTo>
                <a:lnTo>
                  <a:pt x="559" y="1108"/>
                </a:lnTo>
                <a:lnTo>
                  <a:pt x="561" y="1108"/>
                </a:lnTo>
                <a:lnTo>
                  <a:pt x="561" y="1106"/>
                </a:lnTo>
                <a:lnTo>
                  <a:pt x="563" y="1104"/>
                </a:lnTo>
                <a:lnTo>
                  <a:pt x="563" y="1102"/>
                </a:lnTo>
                <a:lnTo>
                  <a:pt x="563" y="1100"/>
                </a:lnTo>
                <a:lnTo>
                  <a:pt x="563" y="1098"/>
                </a:lnTo>
                <a:lnTo>
                  <a:pt x="561" y="1098"/>
                </a:lnTo>
                <a:lnTo>
                  <a:pt x="561" y="1096"/>
                </a:lnTo>
                <a:lnTo>
                  <a:pt x="561" y="1098"/>
                </a:lnTo>
                <a:lnTo>
                  <a:pt x="563" y="1098"/>
                </a:lnTo>
                <a:lnTo>
                  <a:pt x="563" y="1100"/>
                </a:lnTo>
                <a:lnTo>
                  <a:pt x="563" y="1098"/>
                </a:lnTo>
                <a:lnTo>
                  <a:pt x="565" y="1098"/>
                </a:lnTo>
                <a:lnTo>
                  <a:pt x="563" y="1098"/>
                </a:lnTo>
                <a:lnTo>
                  <a:pt x="563" y="1096"/>
                </a:lnTo>
                <a:lnTo>
                  <a:pt x="563" y="1094"/>
                </a:lnTo>
                <a:lnTo>
                  <a:pt x="563" y="1096"/>
                </a:lnTo>
                <a:lnTo>
                  <a:pt x="565" y="1096"/>
                </a:lnTo>
                <a:lnTo>
                  <a:pt x="563" y="1096"/>
                </a:lnTo>
                <a:lnTo>
                  <a:pt x="563" y="1094"/>
                </a:lnTo>
                <a:lnTo>
                  <a:pt x="561" y="1094"/>
                </a:lnTo>
                <a:lnTo>
                  <a:pt x="563" y="1094"/>
                </a:lnTo>
                <a:lnTo>
                  <a:pt x="561" y="1094"/>
                </a:lnTo>
                <a:lnTo>
                  <a:pt x="559" y="1094"/>
                </a:lnTo>
                <a:lnTo>
                  <a:pt x="559" y="1096"/>
                </a:lnTo>
                <a:lnTo>
                  <a:pt x="559" y="1094"/>
                </a:lnTo>
                <a:lnTo>
                  <a:pt x="561" y="1094"/>
                </a:lnTo>
                <a:lnTo>
                  <a:pt x="559" y="1094"/>
                </a:lnTo>
                <a:lnTo>
                  <a:pt x="559" y="1092"/>
                </a:lnTo>
                <a:lnTo>
                  <a:pt x="559" y="1094"/>
                </a:lnTo>
                <a:lnTo>
                  <a:pt x="557" y="1094"/>
                </a:lnTo>
                <a:lnTo>
                  <a:pt x="557" y="1096"/>
                </a:lnTo>
                <a:lnTo>
                  <a:pt x="559" y="1096"/>
                </a:lnTo>
                <a:lnTo>
                  <a:pt x="557" y="1096"/>
                </a:lnTo>
                <a:lnTo>
                  <a:pt x="555" y="1096"/>
                </a:lnTo>
                <a:lnTo>
                  <a:pt x="553" y="1096"/>
                </a:lnTo>
                <a:lnTo>
                  <a:pt x="553" y="1098"/>
                </a:lnTo>
                <a:lnTo>
                  <a:pt x="553" y="1100"/>
                </a:lnTo>
                <a:lnTo>
                  <a:pt x="555" y="1100"/>
                </a:lnTo>
                <a:lnTo>
                  <a:pt x="555" y="1102"/>
                </a:lnTo>
                <a:lnTo>
                  <a:pt x="553" y="1102"/>
                </a:lnTo>
                <a:lnTo>
                  <a:pt x="553" y="1104"/>
                </a:lnTo>
                <a:lnTo>
                  <a:pt x="553" y="1106"/>
                </a:lnTo>
                <a:lnTo>
                  <a:pt x="551" y="1108"/>
                </a:lnTo>
                <a:lnTo>
                  <a:pt x="549" y="1108"/>
                </a:lnTo>
                <a:lnTo>
                  <a:pt x="547" y="1106"/>
                </a:lnTo>
                <a:lnTo>
                  <a:pt x="545" y="1106"/>
                </a:lnTo>
                <a:lnTo>
                  <a:pt x="544" y="1104"/>
                </a:lnTo>
                <a:lnTo>
                  <a:pt x="542" y="1104"/>
                </a:lnTo>
                <a:lnTo>
                  <a:pt x="540" y="1104"/>
                </a:lnTo>
                <a:lnTo>
                  <a:pt x="540" y="1102"/>
                </a:lnTo>
                <a:lnTo>
                  <a:pt x="538" y="1102"/>
                </a:lnTo>
                <a:lnTo>
                  <a:pt x="538" y="1100"/>
                </a:lnTo>
                <a:lnTo>
                  <a:pt x="536" y="1100"/>
                </a:lnTo>
                <a:lnTo>
                  <a:pt x="536" y="1098"/>
                </a:lnTo>
                <a:lnTo>
                  <a:pt x="538" y="1098"/>
                </a:lnTo>
                <a:lnTo>
                  <a:pt x="538" y="1096"/>
                </a:lnTo>
                <a:lnTo>
                  <a:pt x="540" y="1096"/>
                </a:lnTo>
                <a:lnTo>
                  <a:pt x="540" y="1098"/>
                </a:lnTo>
                <a:lnTo>
                  <a:pt x="542" y="1098"/>
                </a:lnTo>
                <a:lnTo>
                  <a:pt x="544" y="1096"/>
                </a:lnTo>
                <a:lnTo>
                  <a:pt x="544" y="1098"/>
                </a:lnTo>
                <a:lnTo>
                  <a:pt x="545" y="1098"/>
                </a:lnTo>
                <a:lnTo>
                  <a:pt x="545" y="1096"/>
                </a:lnTo>
                <a:lnTo>
                  <a:pt x="544" y="1096"/>
                </a:lnTo>
                <a:lnTo>
                  <a:pt x="544" y="1094"/>
                </a:lnTo>
                <a:lnTo>
                  <a:pt x="545" y="1094"/>
                </a:lnTo>
                <a:lnTo>
                  <a:pt x="547" y="1094"/>
                </a:lnTo>
                <a:lnTo>
                  <a:pt x="547" y="1096"/>
                </a:lnTo>
                <a:lnTo>
                  <a:pt x="545" y="1096"/>
                </a:lnTo>
                <a:lnTo>
                  <a:pt x="547" y="1098"/>
                </a:lnTo>
                <a:lnTo>
                  <a:pt x="549" y="1098"/>
                </a:lnTo>
                <a:lnTo>
                  <a:pt x="549" y="1096"/>
                </a:lnTo>
                <a:lnTo>
                  <a:pt x="549" y="1094"/>
                </a:lnTo>
                <a:lnTo>
                  <a:pt x="551" y="1094"/>
                </a:lnTo>
                <a:lnTo>
                  <a:pt x="553" y="1094"/>
                </a:lnTo>
                <a:lnTo>
                  <a:pt x="553" y="1092"/>
                </a:lnTo>
                <a:lnTo>
                  <a:pt x="555" y="1092"/>
                </a:lnTo>
                <a:lnTo>
                  <a:pt x="555" y="1090"/>
                </a:lnTo>
                <a:lnTo>
                  <a:pt x="557" y="1090"/>
                </a:lnTo>
                <a:lnTo>
                  <a:pt x="559" y="1090"/>
                </a:lnTo>
                <a:lnTo>
                  <a:pt x="559" y="1089"/>
                </a:lnTo>
                <a:lnTo>
                  <a:pt x="557" y="1089"/>
                </a:lnTo>
                <a:lnTo>
                  <a:pt x="559" y="1089"/>
                </a:lnTo>
                <a:lnTo>
                  <a:pt x="559" y="1090"/>
                </a:lnTo>
                <a:lnTo>
                  <a:pt x="561" y="1090"/>
                </a:lnTo>
                <a:lnTo>
                  <a:pt x="563" y="1090"/>
                </a:lnTo>
                <a:lnTo>
                  <a:pt x="563" y="1092"/>
                </a:lnTo>
                <a:lnTo>
                  <a:pt x="565" y="1092"/>
                </a:lnTo>
                <a:lnTo>
                  <a:pt x="565" y="1094"/>
                </a:lnTo>
                <a:lnTo>
                  <a:pt x="567" y="1094"/>
                </a:lnTo>
                <a:lnTo>
                  <a:pt x="567" y="1096"/>
                </a:lnTo>
                <a:lnTo>
                  <a:pt x="568" y="1096"/>
                </a:lnTo>
                <a:lnTo>
                  <a:pt x="570" y="1096"/>
                </a:lnTo>
                <a:lnTo>
                  <a:pt x="570" y="1098"/>
                </a:lnTo>
                <a:lnTo>
                  <a:pt x="572" y="1098"/>
                </a:lnTo>
                <a:lnTo>
                  <a:pt x="574" y="1098"/>
                </a:lnTo>
                <a:lnTo>
                  <a:pt x="572" y="1098"/>
                </a:lnTo>
                <a:lnTo>
                  <a:pt x="570" y="1098"/>
                </a:lnTo>
                <a:lnTo>
                  <a:pt x="568" y="1098"/>
                </a:lnTo>
                <a:lnTo>
                  <a:pt x="568" y="1100"/>
                </a:lnTo>
                <a:lnTo>
                  <a:pt x="568" y="1102"/>
                </a:lnTo>
                <a:lnTo>
                  <a:pt x="570" y="1100"/>
                </a:lnTo>
                <a:lnTo>
                  <a:pt x="570" y="1102"/>
                </a:lnTo>
                <a:lnTo>
                  <a:pt x="570" y="1104"/>
                </a:lnTo>
                <a:lnTo>
                  <a:pt x="572" y="1104"/>
                </a:lnTo>
                <a:lnTo>
                  <a:pt x="572" y="1106"/>
                </a:lnTo>
                <a:lnTo>
                  <a:pt x="574" y="1106"/>
                </a:lnTo>
                <a:lnTo>
                  <a:pt x="576" y="1106"/>
                </a:lnTo>
                <a:lnTo>
                  <a:pt x="578" y="1106"/>
                </a:lnTo>
                <a:lnTo>
                  <a:pt x="578" y="1104"/>
                </a:lnTo>
                <a:lnTo>
                  <a:pt x="576" y="1104"/>
                </a:lnTo>
                <a:lnTo>
                  <a:pt x="576" y="1102"/>
                </a:lnTo>
                <a:lnTo>
                  <a:pt x="578" y="1102"/>
                </a:lnTo>
                <a:lnTo>
                  <a:pt x="578" y="1104"/>
                </a:lnTo>
                <a:lnTo>
                  <a:pt x="578" y="1102"/>
                </a:lnTo>
                <a:lnTo>
                  <a:pt x="576" y="1102"/>
                </a:lnTo>
                <a:lnTo>
                  <a:pt x="578" y="1102"/>
                </a:lnTo>
                <a:lnTo>
                  <a:pt x="578" y="1104"/>
                </a:lnTo>
                <a:lnTo>
                  <a:pt x="578" y="1102"/>
                </a:lnTo>
                <a:lnTo>
                  <a:pt x="580" y="1102"/>
                </a:lnTo>
                <a:lnTo>
                  <a:pt x="580" y="1104"/>
                </a:lnTo>
                <a:lnTo>
                  <a:pt x="578" y="1104"/>
                </a:lnTo>
                <a:lnTo>
                  <a:pt x="580" y="1104"/>
                </a:lnTo>
                <a:lnTo>
                  <a:pt x="580" y="1106"/>
                </a:lnTo>
                <a:lnTo>
                  <a:pt x="582" y="1106"/>
                </a:lnTo>
                <a:lnTo>
                  <a:pt x="582" y="1104"/>
                </a:lnTo>
                <a:lnTo>
                  <a:pt x="582" y="1106"/>
                </a:lnTo>
                <a:lnTo>
                  <a:pt x="582" y="1104"/>
                </a:lnTo>
                <a:lnTo>
                  <a:pt x="582" y="1106"/>
                </a:lnTo>
                <a:lnTo>
                  <a:pt x="582" y="1104"/>
                </a:lnTo>
                <a:lnTo>
                  <a:pt x="584" y="1104"/>
                </a:lnTo>
                <a:lnTo>
                  <a:pt x="584" y="1106"/>
                </a:lnTo>
                <a:lnTo>
                  <a:pt x="584" y="1108"/>
                </a:lnTo>
                <a:lnTo>
                  <a:pt x="584" y="1106"/>
                </a:lnTo>
                <a:lnTo>
                  <a:pt x="584" y="1108"/>
                </a:lnTo>
                <a:lnTo>
                  <a:pt x="586" y="1108"/>
                </a:lnTo>
                <a:lnTo>
                  <a:pt x="588" y="1108"/>
                </a:lnTo>
                <a:lnTo>
                  <a:pt x="590" y="1108"/>
                </a:lnTo>
                <a:lnTo>
                  <a:pt x="590" y="1110"/>
                </a:lnTo>
                <a:lnTo>
                  <a:pt x="590" y="1108"/>
                </a:lnTo>
                <a:lnTo>
                  <a:pt x="590" y="1110"/>
                </a:lnTo>
                <a:lnTo>
                  <a:pt x="592" y="1110"/>
                </a:lnTo>
                <a:lnTo>
                  <a:pt x="593" y="1110"/>
                </a:lnTo>
                <a:lnTo>
                  <a:pt x="592" y="1110"/>
                </a:lnTo>
                <a:lnTo>
                  <a:pt x="592" y="1112"/>
                </a:lnTo>
                <a:lnTo>
                  <a:pt x="592" y="1113"/>
                </a:lnTo>
                <a:lnTo>
                  <a:pt x="593" y="1113"/>
                </a:lnTo>
                <a:lnTo>
                  <a:pt x="593" y="1115"/>
                </a:lnTo>
                <a:lnTo>
                  <a:pt x="595" y="1115"/>
                </a:lnTo>
                <a:lnTo>
                  <a:pt x="595" y="1117"/>
                </a:lnTo>
                <a:lnTo>
                  <a:pt x="593" y="1117"/>
                </a:lnTo>
                <a:lnTo>
                  <a:pt x="592" y="1117"/>
                </a:lnTo>
                <a:lnTo>
                  <a:pt x="592" y="1119"/>
                </a:lnTo>
                <a:lnTo>
                  <a:pt x="590" y="1119"/>
                </a:lnTo>
                <a:lnTo>
                  <a:pt x="592" y="1119"/>
                </a:lnTo>
                <a:lnTo>
                  <a:pt x="592" y="1117"/>
                </a:lnTo>
                <a:lnTo>
                  <a:pt x="593" y="1117"/>
                </a:lnTo>
                <a:lnTo>
                  <a:pt x="595" y="1117"/>
                </a:lnTo>
                <a:lnTo>
                  <a:pt x="593" y="1117"/>
                </a:lnTo>
                <a:lnTo>
                  <a:pt x="593" y="1119"/>
                </a:lnTo>
                <a:lnTo>
                  <a:pt x="593" y="1121"/>
                </a:lnTo>
                <a:lnTo>
                  <a:pt x="595" y="1119"/>
                </a:lnTo>
                <a:lnTo>
                  <a:pt x="593" y="1119"/>
                </a:lnTo>
                <a:lnTo>
                  <a:pt x="595" y="1117"/>
                </a:lnTo>
                <a:lnTo>
                  <a:pt x="595" y="1115"/>
                </a:lnTo>
                <a:lnTo>
                  <a:pt x="597" y="1115"/>
                </a:lnTo>
                <a:lnTo>
                  <a:pt x="597" y="1113"/>
                </a:lnTo>
                <a:lnTo>
                  <a:pt x="599" y="1113"/>
                </a:lnTo>
                <a:lnTo>
                  <a:pt x="601" y="1113"/>
                </a:lnTo>
                <a:lnTo>
                  <a:pt x="601" y="1112"/>
                </a:lnTo>
                <a:lnTo>
                  <a:pt x="599" y="1112"/>
                </a:lnTo>
                <a:lnTo>
                  <a:pt x="599" y="1110"/>
                </a:lnTo>
                <a:lnTo>
                  <a:pt x="597" y="1110"/>
                </a:lnTo>
                <a:lnTo>
                  <a:pt x="599" y="1110"/>
                </a:lnTo>
                <a:lnTo>
                  <a:pt x="601" y="1110"/>
                </a:lnTo>
                <a:lnTo>
                  <a:pt x="603" y="1112"/>
                </a:lnTo>
                <a:lnTo>
                  <a:pt x="605" y="1112"/>
                </a:lnTo>
                <a:lnTo>
                  <a:pt x="607" y="1112"/>
                </a:lnTo>
                <a:lnTo>
                  <a:pt x="609" y="1112"/>
                </a:lnTo>
                <a:lnTo>
                  <a:pt x="611" y="1112"/>
                </a:lnTo>
                <a:lnTo>
                  <a:pt x="611" y="1113"/>
                </a:lnTo>
                <a:lnTo>
                  <a:pt x="615" y="1113"/>
                </a:lnTo>
                <a:lnTo>
                  <a:pt x="616" y="1113"/>
                </a:lnTo>
                <a:lnTo>
                  <a:pt x="618" y="1113"/>
                </a:lnTo>
                <a:lnTo>
                  <a:pt x="620" y="1113"/>
                </a:lnTo>
                <a:lnTo>
                  <a:pt x="622" y="1113"/>
                </a:lnTo>
                <a:lnTo>
                  <a:pt x="622" y="1115"/>
                </a:lnTo>
                <a:lnTo>
                  <a:pt x="624" y="1115"/>
                </a:lnTo>
                <a:lnTo>
                  <a:pt x="626" y="1115"/>
                </a:lnTo>
                <a:lnTo>
                  <a:pt x="626" y="1117"/>
                </a:lnTo>
                <a:lnTo>
                  <a:pt x="628" y="1117"/>
                </a:lnTo>
                <a:lnTo>
                  <a:pt x="630" y="1117"/>
                </a:lnTo>
                <a:lnTo>
                  <a:pt x="632" y="1117"/>
                </a:lnTo>
                <a:lnTo>
                  <a:pt x="634" y="1119"/>
                </a:lnTo>
                <a:lnTo>
                  <a:pt x="636" y="1121"/>
                </a:lnTo>
                <a:lnTo>
                  <a:pt x="638" y="1121"/>
                </a:lnTo>
                <a:lnTo>
                  <a:pt x="640" y="1121"/>
                </a:lnTo>
                <a:lnTo>
                  <a:pt x="640" y="1123"/>
                </a:lnTo>
                <a:lnTo>
                  <a:pt x="641" y="1123"/>
                </a:lnTo>
                <a:lnTo>
                  <a:pt x="643" y="1123"/>
                </a:lnTo>
                <a:lnTo>
                  <a:pt x="645" y="1123"/>
                </a:lnTo>
                <a:lnTo>
                  <a:pt x="645" y="1125"/>
                </a:lnTo>
                <a:lnTo>
                  <a:pt x="643" y="1125"/>
                </a:lnTo>
                <a:lnTo>
                  <a:pt x="645" y="1125"/>
                </a:lnTo>
                <a:lnTo>
                  <a:pt x="645" y="1123"/>
                </a:lnTo>
                <a:lnTo>
                  <a:pt x="645" y="1125"/>
                </a:lnTo>
                <a:lnTo>
                  <a:pt x="645" y="1123"/>
                </a:lnTo>
                <a:lnTo>
                  <a:pt x="645" y="1125"/>
                </a:lnTo>
                <a:lnTo>
                  <a:pt x="647" y="1125"/>
                </a:lnTo>
                <a:lnTo>
                  <a:pt x="649" y="1125"/>
                </a:lnTo>
                <a:lnTo>
                  <a:pt x="649" y="1127"/>
                </a:lnTo>
                <a:lnTo>
                  <a:pt x="651" y="1129"/>
                </a:lnTo>
                <a:lnTo>
                  <a:pt x="651" y="1131"/>
                </a:lnTo>
                <a:lnTo>
                  <a:pt x="653" y="1131"/>
                </a:lnTo>
                <a:lnTo>
                  <a:pt x="655" y="1131"/>
                </a:lnTo>
                <a:lnTo>
                  <a:pt x="655" y="1133"/>
                </a:lnTo>
                <a:lnTo>
                  <a:pt x="657" y="1133"/>
                </a:lnTo>
                <a:lnTo>
                  <a:pt x="657" y="1135"/>
                </a:lnTo>
                <a:lnTo>
                  <a:pt x="659" y="1135"/>
                </a:lnTo>
                <a:lnTo>
                  <a:pt x="659" y="1137"/>
                </a:lnTo>
                <a:lnTo>
                  <a:pt x="661" y="1138"/>
                </a:lnTo>
                <a:lnTo>
                  <a:pt x="663" y="1140"/>
                </a:lnTo>
                <a:lnTo>
                  <a:pt x="664" y="1140"/>
                </a:lnTo>
                <a:lnTo>
                  <a:pt x="664" y="1142"/>
                </a:lnTo>
                <a:lnTo>
                  <a:pt x="666" y="1142"/>
                </a:lnTo>
                <a:lnTo>
                  <a:pt x="666" y="1144"/>
                </a:lnTo>
                <a:lnTo>
                  <a:pt x="668" y="1144"/>
                </a:lnTo>
                <a:lnTo>
                  <a:pt x="668" y="1146"/>
                </a:lnTo>
                <a:lnTo>
                  <a:pt x="670" y="1146"/>
                </a:lnTo>
                <a:lnTo>
                  <a:pt x="670" y="1148"/>
                </a:lnTo>
                <a:lnTo>
                  <a:pt x="670" y="1146"/>
                </a:lnTo>
                <a:lnTo>
                  <a:pt x="668" y="1146"/>
                </a:lnTo>
                <a:lnTo>
                  <a:pt x="668" y="1144"/>
                </a:lnTo>
                <a:lnTo>
                  <a:pt x="666" y="1144"/>
                </a:lnTo>
                <a:lnTo>
                  <a:pt x="664" y="1144"/>
                </a:lnTo>
                <a:lnTo>
                  <a:pt x="664" y="1142"/>
                </a:lnTo>
                <a:lnTo>
                  <a:pt x="663" y="1142"/>
                </a:lnTo>
                <a:lnTo>
                  <a:pt x="663" y="1140"/>
                </a:lnTo>
                <a:lnTo>
                  <a:pt x="661" y="1140"/>
                </a:lnTo>
                <a:lnTo>
                  <a:pt x="659" y="1140"/>
                </a:lnTo>
                <a:lnTo>
                  <a:pt x="657" y="1140"/>
                </a:lnTo>
                <a:lnTo>
                  <a:pt x="659" y="1140"/>
                </a:lnTo>
                <a:lnTo>
                  <a:pt x="659" y="1142"/>
                </a:lnTo>
                <a:lnTo>
                  <a:pt x="659" y="1140"/>
                </a:lnTo>
                <a:lnTo>
                  <a:pt x="661" y="1140"/>
                </a:lnTo>
                <a:lnTo>
                  <a:pt x="663" y="1142"/>
                </a:lnTo>
                <a:lnTo>
                  <a:pt x="663" y="1144"/>
                </a:lnTo>
                <a:lnTo>
                  <a:pt x="664" y="1144"/>
                </a:lnTo>
                <a:lnTo>
                  <a:pt x="664" y="1146"/>
                </a:lnTo>
                <a:lnTo>
                  <a:pt x="663" y="1146"/>
                </a:lnTo>
                <a:lnTo>
                  <a:pt x="664" y="1146"/>
                </a:lnTo>
                <a:lnTo>
                  <a:pt x="664" y="1148"/>
                </a:lnTo>
                <a:lnTo>
                  <a:pt x="666" y="1148"/>
                </a:lnTo>
                <a:lnTo>
                  <a:pt x="666" y="1150"/>
                </a:lnTo>
                <a:lnTo>
                  <a:pt x="668" y="1150"/>
                </a:lnTo>
                <a:lnTo>
                  <a:pt x="666" y="1152"/>
                </a:lnTo>
                <a:lnTo>
                  <a:pt x="666" y="1154"/>
                </a:lnTo>
                <a:lnTo>
                  <a:pt x="668" y="1154"/>
                </a:lnTo>
                <a:lnTo>
                  <a:pt x="670" y="1154"/>
                </a:lnTo>
                <a:lnTo>
                  <a:pt x="670" y="1156"/>
                </a:lnTo>
                <a:lnTo>
                  <a:pt x="672" y="1156"/>
                </a:lnTo>
                <a:lnTo>
                  <a:pt x="674" y="1156"/>
                </a:lnTo>
                <a:lnTo>
                  <a:pt x="672" y="1156"/>
                </a:lnTo>
                <a:lnTo>
                  <a:pt x="672" y="1158"/>
                </a:lnTo>
                <a:lnTo>
                  <a:pt x="674" y="1158"/>
                </a:lnTo>
                <a:lnTo>
                  <a:pt x="674" y="1160"/>
                </a:lnTo>
                <a:lnTo>
                  <a:pt x="676" y="1160"/>
                </a:lnTo>
                <a:lnTo>
                  <a:pt x="674" y="1160"/>
                </a:lnTo>
                <a:lnTo>
                  <a:pt x="672" y="1160"/>
                </a:lnTo>
                <a:lnTo>
                  <a:pt x="672" y="1161"/>
                </a:lnTo>
                <a:lnTo>
                  <a:pt x="670" y="1161"/>
                </a:lnTo>
                <a:lnTo>
                  <a:pt x="670" y="1160"/>
                </a:lnTo>
                <a:lnTo>
                  <a:pt x="672" y="1160"/>
                </a:lnTo>
                <a:lnTo>
                  <a:pt x="670" y="1160"/>
                </a:lnTo>
                <a:lnTo>
                  <a:pt x="670" y="1158"/>
                </a:lnTo>
                <a:lnTo>
                  <a:pt x="668" y="1158"/>
                </a:lnTo>
                <a:lnTo>
                  <a:pt x="666" y="1156"/>
                </a:lnTo>
                <a:lnTo>
                  <a:pt x="664" y="1156"/>
                </a:lnTo>
                <a:lnTo>
                  <a:pt x="664" y="1158"/>
                </a:lnTo>
                <a:lnTo>
                  <a:pt x="663" y="1158"/>
                </a:lnTo>
                <a:lnTo>
                  <a:pt x="663" y="1160"/>
                </a:lnTo>
                <a:lnTo>
                  <a:pt x="664" y="1160"/>
                </a:lnTo>
                <a:lnTo>
                  <a:pt x="664" y="1161"/>
                </a:lnTo>
                <a:lnTo>
                  <a:pt x="663" y="1161"/>
                </a:lnTo>
                <a:lnTo>
                  <a:pt x="661" y="1161"/>
                </a:lnTo>
                <a:lnTo>
                  <a:pt x="661" y="1163"/>
                </a:lnTo>
                <a:lnTo>
                  <a:pt x="661" y="1165"/>
                </a:lnTo>
                <a:lnTo>
                  <a:pt x="661" y="1167"/>
                </a:lnTo>
                <a:lnTo>
                  <a:pt x="659" y="1167"/>
                </a:lnTo>
                <a:lnTo>
                  <a:pt x="659" y="1169"/>
                </a:lnTo>
                <a:lnTo>
                  <a:pt x="659" y="1171"/>
                </a:lnTo>
                <a:lnTo>
                  <a:pt x="657" y="1171"/>
                </a:lnTo>
                <a:lnTo>
                  <a:pt x="657" y="1173"/>
                </a:lnTo>
                <a:lnTo>
                  <a:pt x="659" y="1173"/>
                </a:lnTo>
                <a:lnTo>
                  <a:pt x="661" y="1173"/>
                </a:lnTo>
                <a:lnTo>
                  <a:pt x="661" y="1175"/>
                </a:lnTo>
                <a:lnTo>
                  <a:pt x="659" y="1175"/>
                </a:lnTo>
                <a:lnTo>
                  <a:pt x="659" y="1177"/>
                </a:lnTo>
                <a:lnTo>
                  <a:pt x="657" y="1177"/>
                </a:lnTo>
                <a:lnTo>
                  <a:pt x="657" y="1179"/>
                </a:lnTo>
                <a:lnTo>
                  <a:pt x="659" y="1179"/>
                </a:lnTo>
                <a:lnTo>
                  <a:pt x="659" y="1177"/>
                </a:lnTo>
                <a:lnTo>
                  <a:pt x="659" y="1179"/>
                </a:lnTo>
                <a:lnTo>
                  <a:pt x="661" y="1179"/>
                </a:lnTo>
                <a:lnTo>
                  <a:pt x="661" y="1177"/>
                </a:lnTo>
                <a:lnTo>
                  <a:pt x="661" y="1175"/>
                </a:lnTo>
                <a:lnTo>
                  <a:pt x="663" y="1175"/>
                </a:lnTo>
                <a:lnTo>
                  <a:pt x="661" y="1175"/>
                </a:lnTo>
                <a:lnTo>
                  <a:pt x="661" y="1173"/>
                </a:lnTo>
                <a:lnTo>
                  <a:pt x="661" y="1175"/>
                </a:lnTo>
                <a:lnTo>
                  <a:pt x="663" y="1175"/>
                </a:lnTo>
                <a:lnTo>
                  <a:pt x="663" y="1173"/>
                </a:lnTo>
                <a:lnTo>
                  <a:pt x="661" y="1173"/>
                </a:lnTo>
                <a:lnTo>
                  <a:pt x="663" y="1173"/>
                </a:lnTo>
                <a:lnTo>
                  <a:pt x="661" y="1173"/>
                </a:lnTo>
                <a:lnTo>
                  <a:pt x="663" y="1171"/>
                </a:lnTo>
                <a:lnTo>
                  <a:pt x="664" y="1171"/>
                </a:lnTo>
                <a:lnTo>
                  <a:pt x="664" y="1169"/>
                </a:lnTo>
                <a:lnTo>
                  <a:pt x="666" y="1169"/>
                </a:lnTo>
                <a:lnTo>
                  <a:pt x="666" y="1167"/>
                </a:lnTo>
                <a:lnTo>
                  <a:pt x="668" y="1167"/>
                </a:lnTo>
                <a:lnTo>
                  <a:pt x="668" y="1169"/>
                </a:lnTo>
                <a:lnTo>
                  <a:pt x="668" y="1171"/>
                </a:lnTo>
                <a:lnTo>
                  <a:pt x="668" y="1173"/>
                </a:lnTo>
                <a:lnTo>
                  <a:pt x="670" y="1173"/>
                </a:lnTo>
                <a:lnTo>
                  <a:pt x="670" y="1175"/>
                </a:lnTo>
                <a:lnTo>
                  <a:pt x="672" y="1175"/>
                </a:lnTo>
                <a:lnTo>
                  <a:pt x="672" y="1177"/>
                </a:lnTo>
                <a:lnTo>
                  <a:pt x="672" y="1179"/>
                </a:lnTo>
                <a:lnTo>
                  <a:pt x="674" y="1179"/>
                </a:lnTo>
                <a:lnTo>
                  <a:pt x="672" y="1179"/>
                </a:lnTo>
                <a:lnTo>
                  <a:pt x="672" y="1181"/>
                </a:lnTo>
                <a:lnTo>
                  <a:pt x="672" y="1183"/>
                </a:lnTo>
                <a:lnTo>
                  <a:pt x="670" y="1183"/>
                </a:lnTo>
                <a:lnTo>
                  <a:pt x="668" y="1183"/>
                </a:lnTo>
                <a:lnTo>
                  <a:pt x="668" y="1185"/>
                </a:lnTo>
                <a:lnTo>
                  <a:pt x="670" y="1185"/>
                </a:lnTo>
                <a:lnTo>
                  <a:pt x="670" y="1186"/>
                </a:lnTo>
                <a:lnTo>
                  <a:pt x="670" y="1188"/>
                </a:lnTo>
                <a:lnTo>
                  <a:pt x="670" y="1190"/>
                </a:lnTo>
                <a:lnTo>
                  <a:pt x="670" y="1192"/>
                </a:lnTo>
                <a:lnTo>
                  <a:pt x="672" y="1192"/>
                </a:lnTo>
                <a:lnTo>
                  <a:pt x="672" y="1194"/>
                </a:lnTo>
                <a:lnTo>
                  <a:pt x="672" y="1192"/>
                </a:lnTo>
                <a:lnTo>
                  <a:pt x="672" y="1190"/>
                </a:lnTo>
                <a:lnTo>
                  <a:pt x="674" y="1190"/>
                </a:lnTo>
                <a:lnTo>
                  <a:pt x="674" y="1188"/>
                </a:lnTo>
                <a:lnTo>
                  <a:pt x="676" y="1190"/>
                </a:lnTo>
                <a:lnTo>
                  <a:pt x="678" y="1192"/>
                </a:lnTo>
                <a:lnTo>
                  <a:pt x="678" y="1190"/>
                </a:lnTo>
                <a:lnTo>
                  <a:pt x="678" y="1188"/>
                </a:lnTo>
                <a:lnTo>
                  <a:pt x="678" y="1186"/>
                </a:lnTo>
                <a:lnTo>
                  <a:pt x="678" y="1185"/>
                </a:lnTo>
                <a:lnTo>
                  <a:pt x="678" y="1183"/>
                </a:lnTo>
                <a:lnTo>
                  <a:pt x="678" y="1181"/>
                </a:lnTo>
                <a:lnTo>
                  <a:pt x="678" y="1179"/>
                </a:lnTo>
                <a:lnTo>
                  <a:pt x="678" y="1177"/>
                </a:lnTo>
                <a:lnTo>
                  <a:pt x="678" y="1175"/>
                </a:lnTo>
                <a:lnTo>
                  <a:pt x="676" y="1175"/>
                </a:lnTo>
                <a:lnTo>
                  <a:pt x="674" y="1175"/>
                </a:lnTo>
                <a:lnTo>
                  <a:pt x="676" y="1175"/>
                </a:lnTo>
                <a:lnTo>
                  <a:pt x="678" y="1175"/>
                </a:lnTo>
                <a:lnTo>
                  <a:pt x="680" y="1175"/>
                </a:lnTo>
                <a:lnTo>
                  <a:pt x="680" y="1173"/>
                </a:lnTo>
                <a:lnTo>
                  <a:pt x="682" y="1173"/>
                </a:lnTo>
                <a:lnTo>
                  <a:pt x="682" y="1171"/>
                </a:lnTo>
                <a:lnTo>
                  <a:pt x="680" y="1171"/>
                </a:lnTo>
                <a:lnTo>
                  <a:pt x="682" y="1171"/>
                </a:lnTo>
                <a:lnTo>
                  <a:pt x="684" y="1171"/>
                </a:lnTo>
                <a:lnTo>
                  <a:pt x="686" y="1171"/>
                </a:lnTo>
                <a:lnTo>
                  <a:pt x="688" y="1171"/>
                </a:lnTo>
                <a:lnTo>
                  <a:pt x="689" y="1171"/>
                </a:lnTo>
                <a:lnTo>
                  <a:pt x="691" y="1171"/>
                </a:lnTo>
                <a:lnTo>
                  <a:pt x="693" y="1171"/>
                </a:lnTo>
                <a:lnTo>
                  <a:pt x="695" y="1171"/>
                </a:lnTo>
                <a:lnTo>
                  <a:pt x="697" y="1171"/>
                </a:lnTo>
                <a:lnTo>
                  <a:pt x="699" y="1171"/>
                </a:lnTo>
                <a:lnTo>
                  <a:pt x="699" y="1169"/>
                </a:lnTo>
                <a:lnTo>
                  <a:pt x="701" y="1169"/>
                </a:lnTo>
                <a:lnTo>
                  <a:pt x="703" y="1169"/>
                </a:lnTo>
                <a:lnTo>
                  <a:pt x="705" y="1169"/>
                </a:lnTo>
                <a:lnTo>
                  <a:pt x="707" y="1169"/>
                </a:lnTo>
                <a:lnTo>
                  <a:pt x="709" y="1169"/>
                </a:lnTo>
                <a:lnTo>
                  <a:pt x="711" y="1171"/>
                </a:lnTo>
                <a:lnTo>
                  <a:pt x="712" y="1171"/>
                </a:lnTo>
                <a:lnTo>
                  <a:pt x="714" y="1171"/>
                </a:lnTo>
                <a:lnTo>
                  <a:pt x="716" y="1171"/>
                </a:lnTo>
                <a:lnTo>
                  <a:pt x="718" y="1173"/>
                </a:lnTo>
                <a:lnTo>
                  <a:pt x="720" y="1173"/>
                </a:lnTo>
                <a:lnTo>
                  <a:pt x="722" y="1175"/>
                </a:lnTo>
                <a:lnTo>
                  <a:pt x="724" y="1175"/>
                </a:lnTo>
                <a:lnTo>
                  <a:pt x="724" y="1177"/>
                </a:lnTo>
                <a:lnTo>
                  <a:pt x="726" y="1177"/>
                </a:lnTo>
                <a:lnTo>
                  <a:pt x="728" y="1177"/>
                </a:lnTo>
                <a:lnTo>
                  <a:pt x="730" y="1179"/>
                </a:lnTo>
                <a:lnTo>
                  <a:pt x="732" y="1179"/>
                </a:lnTo>
                <a:lnTo>
                  <a:pt x="734" y="1179"/>
                </a:lnTo>
                <a:lnTo>
                  <a:pt x="736" y="1179"/>
                </a:lnTo>
                <a:lnTo>
                  <a:pt x="737" y="1181"/>
                </a:lnTo>
                <a:lnTo>
                  <a:pt x="739" y="1181"/>
                </a:lnTo>
                <a:lnTo>
                  <a:pt x="739" y="1183"/>
                </a:lnTo>
                <a:lnTo>
                  <a:pt x="741" y="1183"/>
                </a:lnTo>
                <a:lnTo>
                  <a:pt x="743" y="1183"/>
                </a:lnTo>
                <a:lnTo>
                  <a:pt x="743" y="1185"/>
                </a:lnTo>
                <a:lnTo>
                  <a:pt x="745" y="1185"/>
                </a:lnTo>
                <a:lnTo>
                  <a:pt x="745" y="1186"/>
                </a:lnTo>
                <a:lnTo>
                  <a:pt x="747" y="1186"/>
                </a:lnTo>
                <a:lnTo>
                  <a:pt x="749" y="1186"/>
                </a:lnTo>
                <a:lnTo>
                  <a:pt x="749" y="1188"/>
                </a:lnTo>
                <a:lnTo>
                  <a:pt x="751" y="1188"/>
                </a:lnTo>
                <a:lnTo>
                  <a:pt x="753" y="1188"/>
                </a:lnTo>
                <a:lnTo>
                  <a:pt x="753" y="1190"/>
                </a:lnTo>
                <a:lnTo>
                  <a:pt x="755" y="1190"/>
                </a:lnTo>
                <a:lnTo>
                  <a:pt x="753" y="1190"/>
                </a:lnTo>
                <a:lnTo>
                  <a:pt x="751" y="1190"/>
                </a:lnTo>
                <a:lnTo>
                  <a:pt x="751" y="1188"/>
                </a:lnTo>
                <a:lnTo>
                  <a:pt x="749" y="1188"/>
                </a:lnTo>
                <a:lnTo>
                  <a:pt x="749" y="1186"/>
                </a:lnTo>
                <a:lnTo>
                  <a:pt x="747" y="1186"/>
                </a:lnTo>
                <a:lnTo>
                  <a:pt x="745" y="1186"/>
                </a:lnTo>
                <a:lnTo>
                  <a:pt x="745" y="1185"/>
                </a:lnTo>
                <a:lnTo>
                  <a:pt x="743" y="1185"/>
                </a:lnTo>
                <a:lnTo>
                  <a:pt x="741" y="1185"/>
                </a:lnTo>
                <a:lnTo>
                  <a:pt x="741" y="1183"/>
                </a:lnTo>
                <a:lnTo>
                  <a:pt x="739" y="1183"/>
                </a:lnTo>
                <a:lnTo>
                  <a:pt x="741" y="1183"/>
                </a:lnTo>
                <a:lnTo>
                  <a:pt x="741" y="1185"/>
                </a:lnTo>
                <a:lnTo>
                  <a:pt x="743" y="1185"/>
                </a:lnTo>
                <a:lnTo>
                  <a:pt x="745" y="1186"/>
                </a:lnTo>
                <a:lnTo>
                  <a:pt x="747" y="1186"/>
                </a:lnTo>
                <a:lnTo>
                  <a:pt x="747" y="1188"/>
                </a:lnTo>
                <a:lnTo>
                  <a:pt x="747" y="1186"/>
                </a:lnTo>
                <a:lnTo>
                  <a:pt x="747" y="1188"/>
                </a:lnTo>
                <a:lnTo>
                  <a:pt x="749" y="1188"/>
                </a:lnTo>
                <a:lnTo>
                  <a:pt x="751" y="1188"/>
                </a:lnTo>
                <a:lnTo>
                  <a:pt x="751" y="1190"/>
                </a:lnTo>
                <a:lnTo>
                  <a:pt x="751" y="1188"/>
                </a:lnTo>
                <a:lnTo>
                  <a:pt x="751" y="1190"/>
                </a:lnTo>
                <a:lnTo>
                  <a:pt x="753" y="1190"/>
                </a:lnTo>
                <a:lnTo>
                  <a:pt x="753" y="1192"/>
                </a:lnTo>
                <a:lnTo>
                  <a:pt x="755" y="1192"/>
                </a:lnTo>
                <a:lnTo>
                  <a:pt x="755" y="1194"/>
                </a:lnTo>
                <a:lnTo>
                  <a:pt x="757" y="1194"/>
                </a:lnTo>
                <a:lnTo>
                  <a:pt x="759" y="1194"/>
                </a:lnTo>
                <a:lnTo>
                  <a:pt x="759" y="1196"/>
                </a:lnTo>
                <a:lnTo>
                  <a:pt x="761" y="1196"/>
                </a:lnTo>
                <a:lnTo>
                  <a:pt x="761" y="1198"/>
                </a:lnTo>
                <a:lnTo>
                  <a:pt x="762" y="1198"/>
                </a:lnTo>
                <a:lnTo>
                  <a:pt x="761" y="1196"/>
                </a:lnTo>
                <a:lnTo>
                  <a:pt x="762" y="1196"/>
                </a:lnTo>
                <a:lnTo>
                  <a:pt x="762" y="1194"/>
                </a:lnTo>
                <a:lnTo>
                  <a:pt x="762" y="1196"/>
                </a:lnTo>
                <a:lnTo>
                  <a:pt x="764" y="1196"/>
                </a:lnTo>
                <a:lnTo>
                  <a:pt x="766" y="1196"/>
                </a:lnTo>
                <a:lnTo>
                  <a:pt x="766" y="1198"/>
                </a:lnTo>
                <a:lnTo>
                  <a:pt x="768" y="1198"/>
                </a:lnTo>
                <a:lnTo>
                  <a:pt x="770" y="1198"/>
                </a:lnTo>
                <a:lnTo>
                  <a:pt x="770" y="1200"/>
                </a:lnTo>
                <a:lnTo>
                  <a:pt x="770" y="1198"/>
                </a:lnTo>
                <a:lnTo>
                  <a:pt x="768" y="1198"/>
                </a:lnTo>
                <a:lnTo>
                  <a:pt x="770" y="1200"/>
                </a:lnTo>
                <a:lnTo>
                  <a:pt x="772" y="1200"/>
                </a:lnTo>
                <a:lnTo>
                  <a:pt x="770" y="1200"/>
                </a:lnTo>
                <a:lnTo>
                  <a:pt x="772" y="1200"/>
                </a:lnTo>
                <a:lnTo>
                  <a:pt x="774" y="1200"/>
                </a:lnTo>
                <a:lnTo>
                  <a:pt x="774" y="1202"/>
                </a:lnTo>
                <a:lnTo>
                  <a:pt x="776" y="1202"/>
                </a:lnTo>
                <a:lnTo>
                  <a:pt x="778" y="1202"/>
                </a:lnTo>
                <a:lnTo>
                  <a:pt x="780" y="1202"/>
                </a:lnTo>
                <a:lnTo>
                  <a:pt x="782" y="1202"/>
                </a:lnTo>
                <a:lnTo>
                  <a:pt x="782" y="1204"/>
                </a:lnTo>
                <a:close/>
                <a:moveTo>
                  <a:pt x="789" y="1211"/>
                </a:moveTo>
                <a:lnTo>
                  <a:pt x="789" y="1209"/>
                </a:lnTo>
                <a:lnTo>
                  <a:pt x="789" y="1211"/>
                </a:lnTo>
                <a:close/>
                <a:moveTo>
                  <a:pt x="1221" y="1300"/>
                </a:moveTo>
                <a:lnTo>
                  <a:pt x="1219" y="1300"/>
                </a:lnTo>
                <a:lnTo>
                  <a:pt x="1221" y="1300"/>
                </a:lnTo>
                <a:close/>
                <a:moveTo>
                  <a:pt x="1145" y="1348"/>
                </a:moveTo>
                <a:lnTo>
                  <a:pt x="1146" y="1348"/>
                </a:lnTo>
                <a:lnTo>
                  <a:pt x="1145" y="1348"/>
                </a:lnTo>
                <a:close/>
                <a:moveTo>
                  <a:pt x="1146" y="1361"/>
                </a:moveTo>
                <a:lnTo>
                  <a:pt x="1146" y="1363"/>
                </a:lnTo>
                <a:lnTo>
                  <a:pt x="1146" y="1361"/>
                </a:lnTo>
                <a:close/>
                <a:moveTo>
                  <a:pt x="1406" y="1595"/>
                </a:moveTo>
                <a:lnTo>
                  <a:pt x="1404" y="1595"/>
                </a:lnTo>
                <a:lnTo>
                  <a:pt x="1404" y="1593"/>
                </a:lnTo>
                <a:lnTo>
                  <a:pt x="1404" y="1595"/>
                </a:lnTo>
                <a:lnTo>
                  <a:pt x="1406" y="1595"/>
                </a:lnTo>
                <a:lnTo>
                  <a:pt x="1406" y="1597"/>
                </a:lnTo>
                <a:lnTo>
                  <a:pt x="1406" y="1595"/>
                </a:lnTo>
                <a:close/>
                <a:moveTo>
                  <a:pt x="1388" y="1580"/>
                </a:moveTo>
                <a:lnTo>
                  <a:pt x="1388" y="1582"/>
                </a:lnTo>
                <a:lnTo>
                  <a:pt x="1387" y="1582"/>
                </a:lnTo>
                <a:lnTo>
                  <a:pt x="1388" y="1582"/>
                </a:lnTo>
                <a:lnTo>
                  <a:pt x="1387" y="1582"/>
                </a:lnTo>
                <a:lnTo>
                  <a:pt x="1387" y="1584"/>
                </a:lnTo>
                <a:lnTo>
                  <a:pt x="1388" y="1582"/>
                </a:lnTo>
                <a:lnTo>
                  <a:pt x="1388" y="1580"/>
                </a:lnTo>
                <a:close/>
                <a:moveTo>
                  <a:pt x="1377" y="1576"/>
                </a:moveTo>
                <a:lnTo>
                  <a:pt x="1377" y="1574"/>
                </a:lnTo>
                <a:lnTo>
                  <a:pt x="1377" y="1576"/>
                </a:lnTo>
                <a:lnTo>
                  <a:pt x="1377" y="1574"/>
                </a:lnTo>
                <a:lnTo>
                  <a:pt x="1377" y="1576"/>
                </a:lnTo>
                <a:lnTo>
                  <a:pt x="1379" y="1576"/>
                </a:lnTo>
                <a:lnTo>
                  <a:pt x="1377" y="1576"/>
                </a:lnTo>
                <a:lnTo>
                  <a:pt x="1379" y="1576"/>
                </a:lnTo>
                <a:lnTo>
                  <a:pt x="1377" y="1576"/>
                </a:lnTo>
                <a:close/>
                <a:moveTo>
                  <a:pt x="1427" y="1634"/>
                </a:moveTo>
                <a:lnTo>
                  <a:pt x="1427" y="1632"/>
                </a:lnTo>
                <a:lnTo>
                  <a:pt x="1427" y="1634"/>
                </a:lnTo>
                <a:close/>
                <a:moveTo>
                  <a:pt x="1500" y="1878"/>
                </a:moveTo>
                <a:lnTo>
                  <a:pt x="1500" y="1880"/>
                </a:lnTo>
                <a:lnTo>
                  <a:pt x="1500" y="1881"/>
                </a:lnTo>
                <a:lnTo>
                  <a:pt x="1500" y="1883"/>
                </a:lnTo>
                <a:lnTo>
                  <a:pt x="1500" y="1885"/>
                </a:lnTo>
                <a:lnTo>
                  <a:pt x="1500" y="1883"/>
                </a:lnTo>
                <a:lnTo>
                  <a:pt x="1500" y="1885"/>
                </a:lnTo>
                <a:lnTo>
                  <a:pt x="1500" y="1883"/>
                </a:lnTo>
                <a:lnTo>
                  <a:pt x="1502" y="1883"/>
                </a:lnTo>
                <a:lnTo>
                  <a:pt x="1502" y="1881"/>
                </a:lnTo>
                <a:lnTo>
                  <a:pt x="1504" y="1881"/>
                </a:lnTo>
                <a:lnTo>
                  <a:pt x="1504" y="1880"/>
                </a:lnTo>
                <a:lnTo>
                  <a:pt x="1502" y="1880"/>
                </a:lnTo>
                <a:lnTo>
                  <a:pt x="1502" y="1881"/>
                </a:lnTo>
                <a:lnTo>
                  <a:pt x="1502" y="1880"/>
                </a:lnTo>
                <a:lnTo>
                  <a:pt x="1500" y="1880"/>
                </a:lnTo>
                <a:lnTo>
                  <a:pt x="1500" y="1878"/>
                </a:lnTo>
                <a:close/>
                <a:moveTo>
                  <a:pt x="1269" y="841"/>
                </a:moveTo>
                <a:lnTo>
                  <a:pt x="1271" y="841"/>
                </a:lnTo>
                <a:lnTo>
                  <a:pt x="1271" y="839"/>
                </a:lnTo>
                <a:lnTo>
                  <a:pt x="1273" y="839"/>
                </a:lnTo>
                <a:lnTo>
                  <a:pt x="1273" y="837"/>
                </a:lnTo>
                <a:lnTo>
                  <a:pt x="1271" y="837"/>
                </a:lnTo>
                <a:lnTo>
                  <a:pt x="1273" y="837"/>
                </a:lnTo>
                <a:lnTo>
                  <a:pt x="1273" y="835"/>
                </a:lnTo>
                <a:lnTo>
                  <a:pt x="1271" y="835"/>
                </a:lnTo>
                <a:lnTo>
                  <a:pt x="1271" y="837"/>
                </a:lnTo>
                <a:lnTo>
                  <a:pt x="1271" y="839"/>
                </a:lnTo>
                <a:lnTo>
                  <a:pt x="1269" y="841"/>
                </a:lnTo>
                <a:lnTo>
                  <a:pt x="1271" y="841"/>
                </a:lnTo>
                <a:lnTo>
                  <a:pt x="1269" y="841"/>
                </a:lnTo>
                <a:lnTo>
                  <a:pt x="1271" y="841"/>
                </a:lnTo>
                <a:lnTo>
                  <a:pt x="1269" y="841"/>
                </a:lnTo>
                <a:close/>
                <a:moveTo>
                  <a:pt x="1458" y="781"/>
                </a:moveTo>
                <a:lnTo>
                  <a:pt x="1458" y="779"/>
                </a:lnTo>
                <a:lnTo>
                  <a:pt x="1456" y="779"/>
                </a:lnTo>
                <a:lnTo>
                  <a:pt x="1456" y="781"/>
                </a:lnTo>
                <a:lnTo>
                  <a:pt x="1454" y="781"/>
                </a:lnTo>
                <a:lnTo>
                  <a:pt x="1456" y="781"/>
                </a:lnTo>
                <a:lnTo>
                  <a:pt x="1458" y="781"/>
                </a:lnTo>
                <a:close/>
                <a:moveTo>
                  <a:pt x="1458" y="779"/>
                </a:moveTo>
                <a:lnTo>
                  <a:pt x="1459" y="779"/>
                </a:lnTo>
                <a:lnTo>
                  <a:pt x="1459" y="781"/>
                </a:lnTo>
                <a:lnTo>
                  <a:pt x="1461" y="781"/>
                </a:lnTo>
                <a:lnTo>
                  <a:pt x="1459" y="781"/>
                </a:lnTo>
                <a:lnTo>
                  <a:pt x="1459" y="783"/>
                </a:lnTo>
                <a:lnTo>
                  <a:pt x="1461" y="783"/>
                </a:lnTo>
                <a:lnTo>
                  <a:pt x="1461" y="781"/>
                </a:lnTo>
                <a:lnTo>
                  <a:pt x="1459" y="781"/>
                </a:lnTo>
                <a:lnTo>
                  <a:pt x="1461" y="781"/>
                </a:lnTo>
                <a:lnTo>
                  <a:pt x="1461" y="783"/>
                </a:lnTo>
                <a:lnTo>
                  <a:pt x="1459" y="783"/>
                </a:lnTo>
                <a:lnTo>
                  <a:pt x="1459" y="785"/>
                </a:lnTo>
                <a:lnTo>
                  <a:pt x="1461" y="785"/>
                </a:lnTo>
                <a:lnTo>
                  <a:pt x="1463" y="785"/>
                </a:lnTo>
                <a:lnTo>
                  <a:pt x="1463" y="783"/>
                </a:lnTo>
                <a:lnTo>
                  <a:pt x="1465" y="783"/>
                </a:lnTo>
                <a:lnTo>
                  <a:pt x="1465" y="785"/>
                </a:lnTo>
                <a:lnTo>
                  <a:pt x="1467" y="785"/>
                </a:lnTo>
                <a:lnTo>
                  <a:pt x="1465" y="785"/>
                </a:lnTo>
                <a:lnTo>
                  <a:pt x="1467" y="785"/>
                </a:lnTo>
                <a:lnTo>
                  <a:pt x="1467" y="787"/>
                </a:lnTo>
                <a:lnTo>
                  <a:pt x="1469" y="787"/>
                </a:lnTo>
                <a:lnTo>
                  <a:pt x="1467" y="787"/>
                </a:lnTo>
                <a:lnTo>
                  <a:pt x="1467" y="785"/>
                </a:lnTo>
                <a:lnTo>
                  <a:pt x="1467" y="783"/>
                </a:lnTo>
                <a:lnTo>
                  <a:pt x="1467" y="785"/>
                </a:lnTo>
                <a:lnTo>
                  <a:pt x="1467" y="783"/>
                </a:lnTo>
                <a:lnTo>
                  <a:pt x="1467" y="785"/>
                </a:lnTo>
                <a:lnTo>
                  <a:pt x="1467" y="783"/>
                </a:lnTo>
                <a:lnTo>
                  <a:pt x="1465" y="783"/>
                </a:lnTo>
                <a:lnTo>
                  <a:pt x="1465" y="781"/>
                </a:lnTo>
                <a:lnTo>
                  <a:pt x="1463" y="781"/>
                </a:lnTo>
                <a:lnTo>
                  <a:pt x="1463" y="779"/>
                </a:lnTo>
                <a:lnTo>
                  <a:pt x="1463" y="781"/>
                </a:lnTo>
                <a:lnTo>
                  <a:pt x="1461" y="781"/>
                </a:lnTo>
                <a:lnTo>
                  <a:pt x="1463" y="781"/>
                </a:lnTo>
                <a:lnTo>
                  <a:pt x="1463" y="779"/>
                </a:lnTo>
                <a:lnTo>
                  <a:pt x="1461" y="779"/>
                </a:lnTo>
                <a:lnTo>
                  <a:pt x="1463" y="779"/>
                </a:lnTo>
                <a:lnTo>
                  <a:pt x="1463" y="781"/>
                </a:lnTo>
                <a:lnTo>
                  <a:pt x="1463" y="779"/>
                </a:lnTo>
                <a:lnTo>
                  <a:pt x="1463" y="778"/>
                </a:lnTo>
                <a:lnTo>
                  <a:pt x="1461" y="778"/>
                </a:lnTo>
                <a:lnTo>
                  <a:pt x="1463" y="778"/>
                </a:lnTo>
                <a:lnTo>
                  <a:pt x="1461" y="778"/>
                </a:lnTo>
                <a:lnTo>
                  <a:pt x="1459" y="778"/>
                </a:lnTo>
                <a:lnTo>
                  <a:pt x="1461" y="778"/>
                </a:lnTo>
                <a:lnTo>
                  <a:pt x="1461" y="776"/>
                </a:lnTo>
                <a:lnTo>
                  <a:pt x="1461" y="778"/>
                </a:lnTo>
                <a:lnTo>
                  <a:pt x="1461" y="776"/>
                </a:lnTo>
                <a:lnTo>
                  <a:pt x="1461" y="778"/>
                </a:lnTo>
                <a:lnTo>
                  <a:pt x="1461" y="776"/>
                </a:lnTo>
                <a:lnTo>
                  <a:pt x="1463" y="776"/>
                </a:lnTo>
                <a:lnTo>
                  <a:pt x="1461" y="776"/>
                </a:lnTo>
                <a:lnTo>
                  <a:pt x="1463" y="776"/>
                </a:lnTo>
                <a:lnTo>
                  <a:pt x="1461" y="776"/>
                </a:lnTo>
                <a:lnTo>
                  <a:pt x="1459" y="776"/>
                </a:lnTo>
                <a:lnTo>
                  <a:pt x="1458" y="776"/>
                </a:lnTo>
                <a:lnTo>
                  <a:pt x="1459" y="776"/>
                </a:lnTo>
                <a:lnTo>
                  <a:pt x="1459" y="774"/>
                </a:lnTo>
                <a:lnTo>
                  <a:pt x="1459" y="772"/>
                </a:lnTo>
                <a:lnTo>
                  <a:pt x="1458" y="772"/>
                </a:lnTo>
                <a:lnTo>
                  <a:pt x="1458" y="774"/>
                </a:lnTo>
                <a:lnTo>
                  <a:pt x="1458" y="772"/>
                </a:lnTo>
                <a:lnTo>
                  <a:pt x="1458" y="774"/>
                </a:lnTo>
                <a:lnTo>
                  <a:pt x="1456" y="774"/>
                </a:lnTo>
                <a:lnTo>
                  <a:pt x="1456" y="772"/>
                </a:lnTo>
                <a:lnTo>
                  <a:pt x="1456" y="774"/>
                </a:lnTo>
                <a:lnTo>
                  <a:pt x="1458" y="776"/>
                </a:lnTo>
                <a:lnTo>
                  <a:pt x="1459" y="776"/>
                </a:lnTo>
                <a:lnTo>
                  <a:pt x="1458" y="778"/>
                </a:lnTo>
                <a:lnTo>
                  <a:pt x="1458" y="779"/>
                </a:lnTo>
                <a:close/>
                <a:moveTo>
                  <a:pt x="1488" y="551"/>
                </a:moveTo>
                <a:lnTo>
                  <a:pt x="1488" y="553"/>
                </a:lnTo>
                <a:lnTo>
                  <a:pt x="1488" y="551"/>
                </a:lnTo>
                <a:close/>
                <a:moveTo>
                  <a:pt x="1496" y="541"/>
                </a:moveTo>
                <a:lnTo>
                  <a:pt x="1494" y="541"/>
                </a:lnTo>
                <a:lnTo>
                  <a:pt x="1494" y="539"/>
                </a:lnTo>
                <a:lnTo>
                  <a:pt x="1496" y="541"/>
                </a:lnTo>
                <a:lnTo>
                  <a:pt x="1494" y="541"/>
                </a:lnTo>
                <a:lnTo>
                  <a:pt x="1496" y="541"/>
                </a:lnTo>
                <a:lnTo>
                  <a:pt x="1496" y="539"/>
                </a:lnTo>
                <a:lnTo>
                  <a:pt x="1496" y="538"/>
                </a:lnTo>
                <a:lnTo>
                  <a:pt x="1494" y="538"/>
                </a:lnTo>
                <a:lnTo>
                  <a:pt x="1494" y="536"/>
                </a:lnTo>
                <a:lnTo>
                  <a:pt x="1494" y="538"/>
                </a:lnTo>
                <a:lnTo>
                  <a:pt x="1492" y="539"/>
                </a:lnTo>
                <a:lnTo>
                  <a:pt x="1494" y="539"/>
                </a:lnTo>
                <a:lnTo>
                  <a:pt x="1492" y="539"/>
                </a:lnTo>
                <a:lnTo>
                  <a:pt x="1492" y="541"/>
                </a:lnTo>
                <a:lnTo>
                  <a:pt x="1492" y="543"/>
                </a:lnTo>
                <a:lnTo>
                  <a:pt x="1492" y="541"/>
                </a:lnTo>
                <a:lnTo>
                  <a:pt x="1492" y="543"/>
                </a:lnTo>
                <a:lnTo>
                  <a:pt x="1492" y="545"/>
                </a:lnTo>
                <a:lnTo>
                  <a:pt x="1492" y="543"/>
                </a:lnTo>
                <a:lnTo>
                  <a:pt x="1492" y="545"/>
                </a:lnTo>
                <a:lnTo>
                  <a:pt x="1490" y="545"/>
                </a:lnTo>
                <a:lnTo>
                  <a:pt x="1490" y="547"/>
                </a:lnTo>
                <a:lnTo>
                  <a:pt x="1492" y="547"/>
                </a:lnTo>
                <a:lnTo>
                  <a:pt x="1492" y="545"/>
                </a:lnTo>
                <a:lnTo>
                  <a:pt x="1494" y="545"/>
                </a:lnTo>
                <a:lnTo>
                  <a:pt x="1494" y="543"/>
                </a:lnTo>
                <a:lnTo>
                  <a:pt x="1494" y="541"/>
                </a:lnTo>
                <a:lnTo>
                  <a:pt x="1496" y="541"/>
                </a:lnTo>
                <a:close/>
                <a:moveTo>
                  <a:pt x="1494" y="536"/>
                </a:moveTo>
                <a:lnTo>
                  <a:pt x="1494" y="534"/>
                </a:lnTo>
                <a:lnTo>
                  <a:pt x="1494" y="536"/>
                </a:lnTo>
                <a:close/>
                <a:moveTo>
                  <a:pt x="1494" y="526"/>
                </a:moveTo>
                <a:lnTo>
                  <a:pt x="1494" y="524"/>
                </a:lnTo>
                <a:lnTo>
                  <a:pt x="1494" y="526"/>
                </a:lnTo>
                <a:close/>
                <a:moveTo>
                  <a:pt x="1390" y="653"/>
                </a:moveTo>
                <a:lnTo>
                  <a:pt x="1390" y="651"/>
                </a:lnTo>
                <a:lnTo>
                  <a:pt x="1390" y="653"/>
                </a:lnTo>
                <a:lnTo>
                  <a:pt x="1390" y="651"/>
                </a:lnTo>
                <a:lnTo>
                  <a:pt x="1388" y="651"/>
                </a:lnTo>
                <a:lnTo>
                  <a:pt x="1388" y="653"/>
                </a:lnTo>
                <a:lnTo>
                  <a:pt x="1390" y="651"/>
                </a:lnTo>
                <a:lnTo>
                  <a:pt x="1390" y="653"/>
                </a:lnTo>
                <a:close/>
                <a:moveTo>
                  <a:pt x="1264" y="635"/>
                </a:moveTo>
                <a:lnTo>
                  <a:pt x="1266" y="635"/>
                </a:lnTo>
                <a:lnTo>
                  <a:pt x="1264" y="635"/>
                </a:lnTo>
                <a:close/>
                <a:moveTo>
                  <a:pt x="1216" y="664"/>
                </a:moveTo>
                <a:lnTo>
                  <a:pt x="1218" y="664"/>
                </a:lnTo>
                <a:lnTo>
                  <a:pt x="1218" y="662"/>
                </a:lnTo>
                <a:lnTo>
                  <a:pt x="1216" y="662"/>
                </a:lnTo>
                <a:lnTo>
                  <a:pt x="1216" y="664"/>
                </a:lnTo>
                <a:close/>
                <a:moveTo>
                  <a:pt x="1218" y="664"/>
                </a:moveTo>
                <a:lnTo>
                  <a:pt x="1218" y="666"/>
                </a:lnTo>
                <a:lnTo>
                  <a:pt x="1218" y="664"/>
                </a:lnTo>
                <a:close/>
                <a:moveTo>
                  <a:pt x="1246" y="860"/>
                </a:moveTo>
                <a:lnTo>
                  <a:pt x="1248" y="860"/>
                </a:lnTo>
                <a:lnTo>
                  <a:pt x="1246" y="860"/>
                </a:lnTo>
                <a:close/>
                <a:moveTo>
                  <a:pt x="989" y="764"/>
                </a:moveTo>
                <a:lnTo>
                  <a:pt x="989" y="762"/>
                </a:lnTo>
                <a:lnTo>
                  <a:pt x="989" y="764"/>
                </a:lnTo>
                <a:close/>
                <a:moveTo>
                  <a:pt x="19" y="328"/>
                </a:moveTo>
                <a:lnTo>
                  <a:pt x="19" y="330"/>
                </a:lnTo>
                <a:lnTo>
                  <a:pt x="17" y="330"/>
                </a:lnTo>
                <a:lnTo>
                  <a:pt x="19" y="330"/>
                </a:lnTo>
                <a:lnTo>
                  <a:pt x="19" y="332"/>
                </a:lnTo>
                <a:lnTo>
                  <a:pt x="17" y="332"/>
                </a:lnTo>
                <a:lnTo>
                  <a:pt x="17" y="334"/>
                </a:lnTo>
                <a:lnTo>
                  <a:pt x="19" y="332"/>
                </a:lnTo>
                <a:lnTo>
                  <a:pt x="19" y="334"/>
                </a:lnTo>
                <a:lnTo>
                  <a:pt x="17" y="336"/>
                </a:lnTo>
                <a:lnTo>
                  <a:pt x="19" y="336"/>
                </a:lnTo>
                <a:lnTo>
                  <a:pt x="17" y="336"/>
                </a:lnTo>
                <a:lnTo>
                  <a:pt x="19" y="336"/>
                </a:lnTo>
                <a:lnTo>
                  <a:pt x="19" y="338"/>
                </a:lnTo>
                <a:lnTo>
                  <a:pt x="17" y="340"/>
                </a:lnTo>
                <a:lnTo>
                  <a:pt x="15" y="340"/>
                </a:lnTo>
                <a:lnTo>
                  <a:pt x="15" y="342"/>
                </a:lnTo>
                <a:lnTo>
                  <a:pt x="15" y="344"/>
                </a:lnTo>
                <a:lnTo>
                  <a:pt x="17" y="344"/>
                </a:lnTo>
                <a:lnTo>
                  <a:pt x="15" y="344"/>
                </a:lnTo>
                <a:lnTo>
                  <a:pt x="15" y="346"/>
                </a:lnTo>
                <a:lnTo>
                  <a:pt x="14" y="346"/>
                </a:lnTo>
                <a:lnTo>
                  <a:pt x="12" y="347"/>
                </a:lnTo>
                <a:lnTo>
                  <a:pt x="12" y="349"/>
                </a:lnTo>
                <a:lnTo>
                  <a:pt x="10" y="349"/>
                </a:lnTo>
                <a:lnTo>
                  <a:pt x="10" y="351"/>
                </a:lnTo>
                <a:lnTo>
                  <a:pt x="10" y="353"/>
                </a:lnTo>
                <a:lnTo>
                  <a:pt x="8" y="353"/>
                </a:lnTo>
                <a:lnTo>
                  <a:pt x="8" y="355"/>
                </a:lnTo>
                <a:lnTo>
                  <a:pt x="8" y="357"/>
                </a:lnTo>
                <a:lnTo>
                  <a:pt x="6" y="357"/>
                </a:lnTo>
                <a:lnTo>
                  <a:pt x="6" y="359"/>
                </a:lnTo>
                <a:lnTo>
                  <a:pt x="4" y="359"/>
                </a:lnTo>
                <a:lnTo>
                  <a:pt x="4" y="361"/>
                </a:lnTo>
                <a:lnTo>
                  <a:pt x="6" y="361"/>
                </a:lnTo>
                <a:lnTo>
                  <a:pt x="6" y="363"/>
                </a:lnTo>
                <a:lnTo>
                  <a:pt x="4" y="363"/>
                </a:lnTo>
                <a:lnTo>
                  <a:pt x="4" y="361"/>
                </a:lnTo>
                <a:lnTo>
                  <a:pt x="4" y="363"/>
                </a:lnTo>
                <a:lnTo>
                  <a:pt x="4" y="365"/>
                </a:lnTo>
                <a:lnTo>
                  <a:pt x="6" y="365"/>
                </a:lnTo>
                <a:lnTo>
                  <a:pt x="4" y="365"/>
                </a:lnTo>
                <a:lnTo>
                  <a:pt x="6" y="365"/>
                </a:lnTo>
                <a:lnTo>
                  <a:pt x="4" y="367"/>
                </a:lnTo>
                <a:lnTo>
                  <a:pt x="6" y="367"/>
                </a:lnTo>
                <a:lnTo>
                  <a:pt x="6" y="369"/>
                </a:lnTo>
                <a:lnTo>
                  <a:pt x="4" y="369"/>
                </a:lnTo>
                <a:lnTo>
                  <a:pt x="4" y="371"/>
                </a:lnTo>
                <a:lnTo>
                  <a:pt x="4" y="372"/>
                </a:lnTo>
                <a:lnTo>
                  <a:pt x="4" y="371"/>
                </a:lnTo>
                <a:lnTo>
                  <a:pt x="2" y="371"/>
                </a:lnTo>
                <a:lnTo>
                  <a:pt x="2" y="369"/>
                </a:lnTo>
                <a:lnTo>
                  <a:pt x="2" y="367"/>
                </a:lnTo>
                <a:lnTo>
                  <a:pt x="2" y="369"/>
                </a:lnTo>
                <a:lnTo>
                  <a:pt x="4" y="369"/>
                </a:lnTo>
                <a:lnTo>
                  <a:pt x="4" y="367"/>
                </a:lnTo>
                <a:lnTo>
                  <a:pt x="2" y="367"/>
                </a:lnTo>
                <a:lnTo>
                  <a:pt x="2" y="365"/>
                </a:lnTo>
                <a:lnTo>
                  <a:pt x="0" y="365"/>
                </a:lnTo>
                <a:lnTo>
                  <a:pt x="2" y="365"/>
                </a:lnTo>
                <a:lnTo>
                  <a:pt x="2" y="363"/>
                </a:lnTo>
                <a:lnTo>
                  <a:pt x="0" y="363"/>
                </a:lnTo>
                <a:lnTo>
                  <a:pt x="0" y="361"/>
                </a:lnTo>
                <a:lnTo>
                  <a:pt x="0" y="359"/>
                </a:lnTo>
                <a:lnTo>
                  <a:pt x="2" y="359"/>
                </a:lnTo>
                <a:lnTo>
                  <a:pt x="2" y="357"/>
                </a:lnTo>
                <a:lnTo>
                  <a:pt x="2" y="355"/>
                </a:lnTo>
                <a:lnTo>
                  <a:pt x="4" y="355"/>
                </a:lnTo>
                <a:lnTo>
                  <a:pt x="4" y="353"/>
                </a:lnTo>
                <a:lnTo>
                  <a:pt x="6" y="353"/>
                </a:lnTo>
                <a:lnTo>
                  <a:pt x="6" y="351"/>
                </a:lnTo>
                <a:lnTo>
                  <a:pt x="6" y="349"/>
                </a:lnTo>
                <a:lnTo>
                  <a:pt x="8" y="349"/>
                </a:lnTo>
                <a:lnTo>
                  <a:pt x="8" y="347"/>
                </a:lnTo>
                <a:lnTo>
                  <a:pt x="10" y="347"/>
                </a:lnTo>
                <a:lnTo>
                  <a:pt x="10" y="346"/>
                </a:lnTo>
                <a:lnTo>
                  <a:pt x="12" y="344"/>
                </a:lnTo>
                <a:lnTo>
                  <a:pt x="14" y="344"/>
                </a:lnTo>
                <a:lnTo>
                  <a:pt x="14" y="342"/>
                </a:lnTo>
                <a:lnTo>
                  <a:pt x="14" y="340"/>
                </a:lnTo>
                <a:lnTo>
                  <a:pt x="14" y="338"/>
                </a:lnTo>
                <a:lnTo>
                  <a:pt x="15" y="336"/>
                </a:lnTo>
                <a:lnTo>
                  <a:pt x="14" y="336"/>
                </a:lnTo>
                <a:lnTo>
                  <a:pt x="15" y="336"/>
                </a:lnTo>
                <a:lnTo>
                  <a:pt x="14" y="334"/>
                </a:lnTo>
                <a:lnTo>
                  <a:pt x="14" y="332"/>
                </a:lnTo>
                <a:lnTo>
                  <a:pt x="15" y="332"/>
                </a:lnTo>
                <a:lnTo>
                  <a:pt x="14" y="332"/>
                </a:lnTo>
                <a:lnTo>
                  <a:pt x="15" y="332"/>
                </a:lnTo>
                <a:lnTo>
                  <a:pt x="14" y="332"/>
                </a:lnTo>
                <a:lnTo>
                  <a:pt x="15" y="332"/>
                </a:lnTo>
                <a:lnTo>
                  <a:pt x="15" y="330"/>
                </a:lnTo>
                <a:lnTo>
                  <a:pt x="15" y="328"/>
                </a:lnTo>
                <a:lnTo>
                  <a:pt x="15" y="326"/>
                </a:lnTo>
                <a:lnTo>
                  <a:pt x="17" y="326"/>
                </a:lnTo>
                <a:lnTo>
                  <a:pt x="17" y="324"/>
                </a:lnTo>
                <a:lnTo>
                  <a:pt x="19" y="326"/>
                </a:lnTo>
                <a:lnTo>
                  <a:pt x="19" y="324"/>
                </a:lnTo>
                <a:lnTo>
                  <a:pt x="19" y="326"/>
                </a:lnTo>
                <a:lnTo>
                  <a:pt x="19" y="328"/>
                </a:lnTo>
                <a:close/>
                <a:moveTo>
                  <a:pt x="31" y="301"/>
                </a:moveTo>
                <a:lnTo>
                  <a:pt x="31" y="303"/>
                </a:lnTo>
                <a:lnTo>
                  <a:pt x="31" y="305"/>
                </a:lnTo>
                <a:lnTo>
                  <a:pt x="31" y="307"/>
                </a:lnTo>
                <a:lnTo>
                  <a:pt x="29" y="307"/>
                </a:lnTo>
                <a:lnTo>
                  <a:pt x="29" y="309"/>
                </a:lnTo>
                <a:lnTo>
                  <a:pt x="27" y="309"/>
                </a:lnTo>
                <a:lnTo>
                  <a:pt x="29" y="309"/>
                </a:lnTo>
                <a:lnTo>
                  <a:pt x="27" y="309"/>
                </a:lnTo>
                <a:lnTo>
                  <a:pt x="27" y="311"/>
                </a:lnTo>
                <a:lnTo>
                  <a:pt x="27" y="309"/>
                </a:lnTo>
                <a:lnTo>
                  <a:pt x="27" y="307"/>
                </a:lnTo>
                <a:lnTo>
                  <a:pt x="27" y="305"/>
                </a:lnTo>
                <a:lnTo>
                  <a:pt x="29" y="305"/>
                </a:lnTo>
                <a:lnTo>
                  <a:pt x="29" y="303"/>
                </a:lnTo>
                <a:lnTo>
                  <a:pt x="29" y="301"/>
                </a:lnTo>
                <a:lnTo>
                  <a:pt x="31" y="301"/>
                </a:lnTo>
                <a:close/>
                <a:moveTo>
                  <a:pt x="33" y="292"/>
                </a:moveTo>
                <a:lnTo>
                  <a:pt x="33" y="290"/>
                </a:lnTo>
                <a:lnTo>
                  <a:pt x="33" y="292"/>
                </a:lnTo>
                <a:close/>
                <a:moveTo>
                  <a:pt x="42" y="305"/>
                </a:moveTo>
                <a:lnTo>
                  <a:pt x="42" y="303"/>
                </a:lnTo>
                <a:lnTo>
                  <a:pt x="42" y="305"/>
                </a:lnTo>
                <a:close/>
                <a:moveTo>
                  <a:pt x="37" y="271"/>
                </a:moveTo>
                <a:lnTo>
                  <a:pt x="37" y="273"/>
                </a:lnTo>
                <a:lnTo>
                  <a:pt x="37" y="275"/>
                </a:lnTo>
                <a:lnTo>
                  <a:pt x="37" y="273"/>
                </a:lnTo>
                <a:lnTo>
                  <a:pt x="35" y="273"/>
                </a:lnTo>
                <a:lnTo>
                  <a:pt x="35" y="271"/>
                </a:lnTo>
                <a:lnTo>
                  <a:pt x="37" y="271"/>
                </a:lnTo>
                <a:lnTo>
                  <a:pt x="38" y="271"/>
                </a:lnTo>
                <a:lnTo>
                  <a:pt x="37" y="271"/>
                </a:lnTo>
                <a:close/>
                <a:moveTo>
                  <a:pt x="42" y="307"/>
                </a:moveTo>
                <a:lnTo>
                  <a:pt x="42" y="305"/>
                </a:lnTo>
                <a:lnTo>
                  <a:pt x="40" y="305"/>
                </a:lnTo>
                <a:lnTo>
                  <a:pt x="42" y="305"/>
                </a:lnTo>
                <a:lnTo>
                  <a:pt x="42" y="307"/>
                </a:lnTo>
                <a:close/>
                <a:moveTo>
                  <a:pt x="42" y="303"/>
                </a:moveTo>
                <a:lnTo>
                  <a:pt x="42" y="301"/>
                </a:lnTo>
                <a:lnTo>
                  <a:pt x="44" y="303"/>
                </a:lnTo>
                <a:lnTo>
                  <a:pt x="42" y="303"/>
                </a:lnTo>
                <a:close/>
                <a:moveTo>
                  <a:pt x="44" y="313"/>
                </a:moveTo>
                <a:lnTo>
                  <a:pt x="46" y="313"/>
                </a:lnTo>
                <a:lnTo>
                  <a:pt x="44" y="313"/>
                </a:lnTo>
                <a:lnTo>
                  <a:pt x="46" y="313"/>
                </a:lnTo>
                <a:lnTo>
                  <a:pt x="44" y="315"/>
                </a:lnTo>
                <a:lnTo>
                  <a:pt x="44" y="317"/>
                </a:lnTo>
                <a:lnTo>
                  <a:pt x="44" y="319"/>
                </a:lnTo>
                <a:lnTo>
                  <a:pt x="42" y="319"/>
                </a:lnTo>
                <a:lnTo>
                  <a:pt x="40" y="319"/>
                </a:lnTo>
                <a:lnTo>
                  <a:pt x="40" y="317"/>
                </a:lnTo>
                <a:lnTo>
                  <a:pt x="38" y="317"/>
                </a:lnTo>
                <a:lnTo>
                  <a:pt x="38" y="315"/>
                </a:lnTo>
                <a:lnTo>
                  <a:pt x="38" y="313"/>
                </a:lnTo>
                <a:lnTo>
                  <a:pt x="40" y="313"/>
                </a:lnTo>
                <a:lnTo>
                  <a:pt x="40" y="311"/>
                </a:lnTo>
                <a:lnTo>
                  <a:pt x="42" y="311"/>
                </a:lnTo>
                <a:lnTo>
                  <a:pt x="42" y="313"/>
                </a:lnTo>
                <a:lnTo>
                  <a:pt x="42" y="311"/>
                </a:lnTo>
                <a:lnTo>
                  <a:pt x="44" y="311"/>
                </a:lnTo>
                <a:lnTo>
                  <a:pt x="44" y="313"/>
                </a:lnTo>
                <a:close/>
                <a:moveTo>
                  <a:pt x="60" y="371"/>
                </a:moveTo>
                <a:lnTo>
                  <a:pt x="58" y="372"/>
                </a:lnTo>
                <a:lnTo>
                  <a:pt x="58" y="374"/>
                </a:lnTo>
                <a:lnTo>
                  <a:pt x="56" y="374"/>
                </a:lnTo>
                <a:lnTo>
                  <a:pt x="56" y="376"/>
                </a:lnTo>
                <a:lnTo>
                  <a:pt x="56" y="378"/>
                </a:lnTo>
                <a:lnTo>
                  <a:pt x="54" y="378"/>
                </a:lnTo>
                <a:lnTo>
                  <a:pt x="54" y="376"/>
                </a:lnTo>
                <a:lnTo>
                  <a:pt x="52" y="376"/>
                </a:lnTo>
                <a:lnTo>
                  <a:pt x="52" y="378"/>
                </a:lnTo>
                <a:lnTo>
                  <a:pt x="50" y="378"/>
                </a:lnTo>
                <a:lnTo>
                  <a:pt x="50" y="376"/>
                </a:lnTo>
                <a:lnTo>
                  <a:pt x="48" y="374"/>
                </a:lnTo>
                <a:lnTo>
                  <a:pt x="46" y="374"/>
                </a:lnTo>
                <a:lnTo>
                  <a:pt x="46" y="372"/>
                </a:lnTo>
                <a:lnTo>
                  <a:pt x="46" y="371"/>
                </a:lnTo>
                <a:lnTo>
                  <a:pt x="46" y="369"/>
                </a:lnTo>
                <a:lnTo>
                  <a:pt x="46" y="367"/>
                </a:lnTo>
                <a:lnTo>
                  <a:pt x="48" y="367"/>
                </a:lnTo>
                <a:lnTo>
                  <a:pt x="46" y="367"/>
                </a:lnTo>
                <a:lnTo>
                  <a:pt x="48" y="367"/>
                </a:lnTo>
                <a:lnTo>
                  <a:pt x="48" y="365"/>
                </a:lnTo>
                <a:lnTo>
                  <a:pt x="50" y="365"/>
                </a:lnTo>
                <a:lnTo>
                  <a:pt x="50" y="363"/>
                </a:lnTo>
                <a:lnTo>
                  <a:pt x="50" y="365"/>
                </a:lnTo>
                <a:lnTo>
                  <a:pt x="52" y="365"/>
                </a:lnTo>
                <a:lnTo>
                  <a:pt x="52" y="363"/>
                </a:lnTo>
                <a:lnTo>
                  <a:pt x="54" y="363"/>
                </a:lnTo>
                <a:lnTo>
                  <a:pt x="54" y="365"/>
                </a:lnTo>
                <a:lnTo>
                  <a:pt x="54" y="367"/>
                </a:lnTo>
                <a:lnTo>
                  <a:pt x="56" y="367"/>
                </a:lnTo>
                <a:lnTo>
                  <a:pt x="58" y="369"/>
                </a:lnTo>
                <a:lnTo>
                  <a:pt x="58" y="371"/>
                </a:lnTo>
                <a:lnTo>
                  <a:pt x="60" y="371"/>
                </a:lnTo>
                <a:close/>
                <a:moveTo>
                  <a:pt x="48" y="296"/>
                </a:moveTo>
                <a:lnTo>
                  <a:pt x="46" y="296"/>
                </a:lnTo>
                <a:lnTo>
                  <a:pt x="46" y="298"/>
                </a:lnTo>
                <a:lnTo>
                  <a:pt x="44" y="298"/>
                </a:lnTo>
                <a:lnTo>
                  <a:pt x="42" y="298"/>
                </a:lnTo>
                <a:lnTo>
                  <a:pt x="42" y="296"/>
                </a:lnTo>
                <a:lnTo>
                  <a:pt x="42" y="294"/>
                </a:lnTo>
                <a:lnTo>
                  <a:pt x="44" y="294"/>
                </a:lnTo>
                <a:lnTo>
                  <a:pt x="44" y="292"/>
                </a:lnTo>
                <a:lnTo>
                  <a:pt x="46" y="292"/>
                </a:lnTo>
                <a:lnTo>
                  <a:pt x="46" y="294"/>
                </a:lnTo>
                <a:lnTo>
                  <a:pt x="48" y="294"/>
                </a:lnTo>
                <a:lnTo>
                  <a:pt x="48" y="296"/>
                </a:lnTo>
                <a:close/>
                <a:moveTo>
                  <a:pt x="50" y="267"/>
                </a:moveTo>
                <a:lnTo>
                  <a:pt x="50" y="269"/>
                </a:lnTo>
                <a:lnTo>
                  <a:pt x="50" y="271"/>
                </a:lnTo>
                <a:lnTo>
                  <a:pt x="48" y="271"/>
                </a:lnTo>
                <a:lnTo>
                  <a:pt x="46" y="271"/>
                </a:lnTo>
                <a:lnTo>
                  <a:pt x="46" y="269"/>
                </a:lnTo>
                <a:lnTo>
                  <a:pt x="44" y="269"/>
                </a:lnTo>
                <a:lnTo>
                  <a:pt x="44" y="271"/>
                </a:lnTo>
                <a:lnTo>
                  <a:pt x="42" y="269"/>
                </a:lnTo>
                <a:lnTo>
                  <a:pt x="42" y="267"/>
                </a:lnTo>
                <a:lnTo>
                  <a:pt x="40" y="267"/>
                </a:lnTo>
                <a:lnTo>
                  <a:pt x="40" y="269"/>
                </a:lnTo>
                <a:lnTo>
                  <a:pt x="40" y="267"/>
                </a:lnTo>
                <a:lnTo>
                  <a:pt x="38" y="267"/>
                </a:lnTo>
                <a:lnTo>
                  <a:pt x="38" y="265"/>
                </a:lnTo>
                <a:lnTo>
                  <a:pt x="38" y="267"/>
                </a:lnTo>
                <a:lnTo>
                  <a:pt x="37" y="267"/>
                </a:lnTo>
                <a:lnTo>
                  <a:pt x="38" y="267"/>
                </a:lnTo>
                <a:lnTo>
                  <a:pt x="38" y="265"/>
                </a:lnTo>
                <a:lnTo>
                  <a:pt x="37" y="265"/>
                </a:lnTo>
                <a:lnTo>
                  <a:pt x="35" y="267"/>
                </a:lnTo>
                <a:lnTo>
                  <a:pt x="37" y="267"/>
                </a:lnTo>
                <a:lnTo>
                  <a:pt x="35" y="267"/>
                </a:lnTo>
                <a:lnTo>
                  <a:pt x="35" y="269"/>
                </a:lnTo>
                <a:lnTo>
                  <a:pt x="37" y="269"/>
                </a:lnTo>
                <a:lnTo>
                  <a:pt x="35" y="269"/>
                </a:lnTo>
                <a:lnTo>
                  <a:pt x="33" y="269"/>
                </a:lnTo>
                <a:lnTo>
                  <a:pt x="33" y="267"/>
                </a:lnTo>
                <a:lnTo>
                  <a:pt x="33" y="265"/>
                </a:lnTo>
                <a:lnTo>
                  <a:pt x="35" y="263"/>
                </a:lnTo>
                <a:lnTo>
                  <a:pt x="33" y="263"/>
                </a:lnTo>
                <a:lnTo>
                  <a:pt x="31" y="263"/>
                </a:lnTo>
                <a:lnTo>
                  <a:pt x="33" y="261"/>
                </a:lnTo>
                <a:lnTo>
                  <a:pt x="33" y="259"/>
                </a:lnTo>
                <a:lnTo>
                  <a:pt x="31" y="259"/>
                </a:lnTo>
                <a:lnTo>
                  <a:pt x="31" y="257"/>
                </a:lnTo>
                <a:lnTo>
                  <a:pt x="29" y="257"/>
                </a:lnTo>
                <a:lnTo>
                  <a:pt x="29" y="255"/>
                </a:lnTo>
                <a:lnTo>
                  <a:pt x="27" y="255"/>
                </a:lnTo>
                <a:lnTo>
                  <a:pt x="27" y="257"/>
                </a:lnTo>
                <a:lnTo>
                  <a:pt x="25" y="257"/>
                </a:lnTo>
                <a:lnTo>
                  <a:pt x="23" y="255"/>
                </a:lnTo>
                <a:lnTo>
                  <a:pt x="23" y="257"/>
                </a:lnTo>
                <a:lnTo>
                  <a:pt x="23" y="255"/>
                </a:lnTo>
                <a:lnTo>
                  <a:pt x="25" y="255"/>
                </a:lnTo>
                <a:lnTo>
                  <a:pt x="25" y="253"/>
                </a:lnTo>
                <a:lnTo>
                  <a:pt x="27" y="251"/>
                </a:lnTo>
                <a:lnTo>
                  <a:pt x="27" y="250"/>
                </a:lnTo>
                <a:lnTo>
                  <a:pt x="29" y="250"/>
                </a:lnTo>
                <a:lnTo>
                  <a:pt x="29" y="251"/>
                </a:lnTo>
                <a:lnTo>
                  <a:pt x="31" y="251"/>
                </a:lnTo>
                <a:lnTo>
                  <a:pt x="31" y="253"/>
                </a:lnTo>
                <a:lnTo>
                  <a:pt x="31" y="255"/>
                </a:lnTo>
                <a:lnTo>
                  <a:pt x="33" y="255"/>
                </a:lnTo>
                <a:lnTo>
                  <a:pt x="31" y="255"/>
                </a:lnTo>
                <a:lnTo>
                  <a:pt x="33" y="255"/>
                </a:lnTo>
                <a:lnTo>
                  <a:pt x="35" y="255"/>
                </a:lnTo>
                <a:lnTo>
                  <a:pt x="35" y="257"/>
                </a:lnTo>
                <a:lnTo>
                  <a:pt x="37" y="257"/>
                </a:lnTo>
                <a:lnTo>
                  <a:pt x="37" y="259"/>
                </a:lnTo>
                <a:lnTo>
                  <a:pt x="37" y="261"/>
                </a:lnTo>
                <a:lnTo>
                  <a:pt x="37" y="263"/>
                </a:lnTo>
                <a:lnTo>
                  <a:pt x="38" y="263"/>
                </a:lnTo>
                <a:lnTo>
                  <a:pt x="40" y="263"/>
                </a:lnTo>
                <a:lnTo>
                  <a:pt x="42" y="263"/>
                </a:lnTo>
                <a:lnTo>
                  <a:pt x="44" y="263"/>
                </a:lnTo>
                <a:lnTo>
                  <a:pt x="44" y="265"/>
                </a:lnTo>
                <a:lnTo>
                  <a:pt x="46" y="265"/>
                </a:lnTo>
                <a:lnTo>
                  <a:pt x="48" y="265"/>
                </a:lnTo>
                <a:lnTo>
                  <a:pt x="50" y="265"/>
                </a:lnTo>
                <a:lnTo>
                  <a:pt x="50" y="267"/>
                </a:lnTo>
                <a:close/>
                <a:moveTo>
                  <a:pt x="60" y="179"/>
                </a:moveTo>
                <a:lnTo>
                  <a:pt x="58" y="179"/>
                </a:lnTo>
                <a:lnTo>
                  <a:pt x="58" y="180"/>
                </a:lnTo>
                <a:lnTo>
                  <a:pt x="56" y="180"/>
                </a:lnTo>
                <a:lnTo>
                  <a:pt x="56" y="179"/>
                </a:lnTo>
                <a:lnTo>
                  <a:pt x="58" y="177"/>
                </a:lnTo>
                <a:lnTo>
                  <a:pt x="60" y="179"/>
                </a:lnTo>
                <a:close/>
                <a:moveTo>
                  <a:pt x="60" y="69"/>
                </a:moveTo>
                <a:lnTo>
                  <a:pt x="58" y="69"/>
                </a:lnTo>
                <a:lnTo>
                  <a:pt x="58" y="67"/>
                </a:lnTo>
                <a:lnTo>
                  <a:pt x="56" y="67"/>
                </a:lnTo>
                <a:lnTo>
                  <a:pt x="56" y="65"/>
                </a:lnTo>
                <a:lnTo>
                  <a:pt x="54" y="65"/>
                </a:lnTo>
                <a:lnTo>
                  <a:pt x="52" y="65"/>
                </a:lnTo>
                <a:lnTo>
                  <a:pt x="50" y="65"/>
                </a:lnTo>
                <a:lnTo>
                  <a:pt x="50" y="67"/>
                </a:lnTo>
                <a:lnTo>
                  <a:pt x="48" y="67"/>
                </a:lnTo>
                <a:lnTo>
                  <a:pt x="46" y="67"/>
                </a:lnTo>
                <a:lnTo>
                  <a:pt x="46" y="65"/>
                </a:lnTo>
                <a:lnTo>
                  <a:pt x="46" y="63"/>
                </a:lnTo>
                <a:lnTo>
                  <a:pt x="44" y="63"/>
                </a:lnTo>
                <a:lnTo>
                  <a:pt x="46" y="63"/>
                </a:lnTo>
                <a:lnTo>
                  <a:pt x="46" y="61"/>
                </a:lnTo>
                <a:lnTo>
                  <a:pt x="48" y="61"/>
                </a:lnTo>
                <a:lnTo>
                  <a:pt x="48" y="59"/>
                </a:lnTo>
                <a:lnTo>
                  <a:pt x="48" y="58"/>
                </a:lnTo>
                <a:lnTo>
                  <a:pt x="46" y="58"/>
                </a:lnTo>
                <a:lnTo>
                  <a:pt x="46" y="56"/>
                </a:lnTo>
                <a:lnTo>
                  <a:pt x="46" y="54"/>
                </a:lnTo>
                <a:lnTo>
                  <a:pt x="48" y="54"/>
                </a:lnTo>
                <a:lnTo>
                  <a:pt x="48" y="52"/>
                </a:lnTo>
                <a:lnTo>
                  <a:pt x="46" y="52"/>
                </a:lnTo>
                <a:lnTo>
                  <a:pt x="48" y="52"/>
                </a:lnTo>
                <a:lnTo>
                  <a:pt x="48" y="50"/>
                </a:lnTo>
                <a:lnTo>
                  <a:pt x="48" y="48"/>
                </a:lnTo>
                <a:lnTo>
                  <a:pt x="48" y="50"/>
                </a:lnTo>
                <a:lnTo>
                  <a:pt x="50" y="50"/>
                </a:lnTo>
                <a:lnTo>
                  <a:pt x="50" y="52"/>
                </a:lnTo>
                <a:lnTo>
                  <a:pt x="52" y="52"/>
                </a:lnTo>
                <a:lnTo>
                  <a:pt x="50" y="52"/>
                </a:lnTo>
                <a:lnTo>
                  <a:pt x="52" y="52"/>
                </a:lnTo>
                <a:lnTo>
                  <a:pt x="52" y="54"/>
                </a:lnTo>
                <a:lnTo>
                  <a:pt x="52" y="56"/>
                </a:lnTo>
                <a:lnTo>
                  <a:pt x="52" y="58"/>
                </a:lnTo>
                <a:lnTo>
                  <a:pt x="54" y="58"/>
                </a:lnTo>
                <a:lnTo>
                  <a:pt x="56" y="58"/>
                </a:lnTo>
                <a:lnTo>
                  <a:pt x="56" y="59"/>
                </a:lnTo>
                <a:lnTo>
                  <a:pt x="54" y="59"/>
                </a:lnTo>
                <a:lnTo>
                  <a:pt x="56" y="59"/>
                </a:lnTo>
                <a:lnTo>
                  <a:pt x="56" y="61"/>
                </a:lnTo>
                <a:lnTo>
                  <a:pt x="58" y="61"/>
                </a:lnTo>
                <a:lnTo>
                  <a:pt x="56" y="61"/>
                </a:lnTo>
                <a:lnTo>
                  <a:pt x="56" y="63"/>
                </a:lnTo>
                <a:lnTo>
                  <a:pt x="58" y="63"/>
                </a:lnTo>
                <a:lnTo>
                  <a:pt x="58" y="65"/>
                </a:lnTo>
                <a:lnTo>
                  <a:pt x="58" y="67"/>
                </a:lnTo>
                <a:lnTo>
                  <a:pt x="60" y="69"/>
                </a:lnTo>
                <a:close/>
                <a:moveTo>
                  <a:pt x="79" y="84"/>
                </a:moveTo>
                <a:lnTo>
                  <a:pt x="79" y="86"/>
                </a:lnTo>
                <a:lnTo>
                  <a:pt x="77" y="86"/>
                </a:lnTo>
                <a:lnTo>
                  <a:pt x="77" y="84"/>
                </a:lnTo>
                <a:lnTo>
                  <a:pt x="77" y="83"/>
                </a:lnTo>
                <a:lnTo>
                  <a:pt x="79" y="83"/>
                </a:lnTo>
                <a:lnTo>
                  <a:pt x="79" y="84"/>
                </a:lnTo>
                <a:close/>
                <a:moveTo>
                  <a:pt x="79" y="77"/>
                </a:moveTo>
                <a:lnTo>
                  <a:pt x="79" y="79"/>
                </a:lnTo>
                <a:lnTo>
                  <a:pt x="77" y="79"/>
                </a:lnTo>
                <a:lnTo>
                  <a:pt x="77" y="77"/>
                </a:lnTo>
                <a:lnTo>
                  <a:pt x="79" y="77"/>
                </a:lnTo>
                <a:close/>
                <a:moveTo>
                  <a:pt x="81" y="73"/>
                </a:moveTo>
                <a:lnTo>
                  <a:pt x="81" y="75"/>
                </a:lnTo>
                <a:lnTo>
                  <a:pt x="79" y="75"/>
                </a:lnTo>
                <a:lnTo>
                  <a:pt x="79" y="73"/>
                </a:lnTo>
                <a:lnTo>
                  <a:pt x="81" y="73"/>
                </a:lnTo>
                <a:lnTo>
                  <a:pt x="81" y="71"/>
                </a:lnTo>
                <a:lnTo>
                  <a:pt x="81" y="73"/>
                </a:lnTo>
                <a:close/>
                <a:moveTo>
                  <a:pt x="96" y="17"/>
                </a:moveTo>
                <a:lnTo>
                  <a:pt x="96" y="19"/>
                </a:lnTo>
                <a:lnTo>
                  <a:pt x="96" y="21"/>
                </a:lnTo>
                <a:lnTo>
                  <a:pt x="96" y="23"/>
                </a:lnTo>
                <a:lnTo>
                  <a:pt x="94" y="23"/>
                </a:lnTo>
                <a:lnTo>
                  <a:pt x="94" y="21"/>
                </a:lnTo>
                <a:lnTo>
                  <a:pt x="94" y="23"/>
                </a:lnTo>
                <a:lnTo>
                  <a:pt x="94" y="25"/>
                </a:lnTo>
                <a:lnTo>
                  <a:pt x="96" y="27"/>
                </a:lnTo>
                <a:lnTo>
                  <a:pt x="96" y="29"/>
                </a:lnTo>
                <a:lnTo>
                  <a:pt x="96" y="31"/>
                </a:lnTo>
                <a:lnTo>
                  <a:pt x="94" y="31"/>
                </a:lnTo>
                <a:lnTo>
                  <a:pt x="96" y="33"/>
                </a:lnTo>
                <a:lnTo>
                  <a:pt x="96" y="35"/>
                </a:lnTo>
                <a:lnTo>
                  <a:pt x="94" y="35"/>
                </a:lnTo>
                <a:lnTo>
                  <a:pt x="94" y="36"/>
                </a:lnTo>
                <a:lnTo>
                  <a:pt x="92" y="36"/>
                </a:lnTo>
                <a:lnTo>
                  <a:pt x="92" y="35"/>
                </a:lnTo>
                <a:lnTo>
                  <a:pt x="90" y="35"/>
                </a:lnTo>
                <a:lnTo>
                  <a:pt x="90" y="33"/>
                </a:lnTo>
                <a:lnTo>
                  <a:pt x="90" y="35"/>
                </a:lnTo>
                <a:lnTo>
                  <a:pt x="88" y="35"/>
                </a:lnTo>
                <a:lnTo>
                  <a:pt x="90" y="36"/>
                </a:lnTo>
                <a:lnTo>
                  <a:pt x="90" y="38"/>
                </a:lnTo>
                <a:lnTo>
                  <a:pt x="92" y="38"/>
                </a:lnTo>
                <a:lnTo>
                  <a:pt x="92" y="40"/>
                </a:lnTo>
                <a:lnTo>
                  <a:pt x="92" y="38"/>
                </a:lnTo>
                <a:lnTo>
                  <a:pt x="90" y="38"/>
                </a:lnTo>
                <a:lnTo>
                  <a:pt x="90" y="40"/>
                </a:lnTo>
                <a:lnTo>
                  <a:pt x="92" y="40"/>
                </a:lnTo>
                <a:lnTo>
                  <a:pt x="90" y="40"/>
                </a:lnTo>
                <a:lnTo>
                  <a:pt x="90" y="42"/>
                </a:lnTo>
                <a:lnTo>
                  <a:pt x="88" y="42"/>
                </a:lnTo>
                <a:lnTo>
                  <a:pt x="86" y="42"/>
                </a:lnTo>
                <a:lnTo>
                  <a:pt x="86" y="40"/>
                </a:lnTo>
                <a:lnTo>
                  <a:pt x="86" y="42"/>
                </a:lnTo>
                <a:lnTo>
                  <a:pt x="85" y="42"/>
                </a:lnTo>
                <a:lnTo>
                  <a:pt x="86" y="42"/>
                </a:lnTo>
                <a:lnTo>
                  <a:pt x="86" y="44"/>
                </a:lnTo>
                <a:lnTo>
                  <a:pt x="86" y="46"/>
                </a:lnTo>
                <a:lnTo>
                  <a:pt x="85" y="46"/>
                </a:lnTo>
                <a:lnTo>
                  <a:pt x="85" y="48"/>
                </a:lnTo>
                <a:lnTo>
                  <a:pt x="85" y="50"/>
                </a:lnTo>
                <a:lnTo>
                  <a:pt x="85" y="48"/>
                </a:lnTo>
                <a:lnTo>
                  <a:pt x="85" y="50"/>
                </a:lnTo>
                <a:lnTo>
                  <a:pt x="83" y="50"/>
                </a:lnTo>
                <a:lnTo>
                  <a:pt x="83" y="48"/>
                </a:lnTo>
                <a:lnTo>
                  <a:pt x="85" y="46"/>
                </a:lnTo>
                <a:lnTo>
                  <a:pt x="83" y="46"/>
                </a:lnTo>
                <a:lnTo>
                  <a:pt x="83" y="44"/>
                </a:lnTo>
                <a:lnTo>
                  <a:pt x="83" y="42"/>
                </a:lnTo>
                <a:lnTo>
                  <a:pt x="81" y="44"/>
                </a:lnTo>
                <a:lnTo>
                  <a:pt x="81" y="42"/>
                </a:lnTo>
                <a:lnTo>
                  <a:pt x="83" y="42"/>
                </a:lnTo>
                <a:lnTo>
                  <a:pt x="85" y="40"/>
                </a:lnTo>
                <a:lnTo>
                  <a:pt x="85" y="38"/>
                </a:lnTo>
                <a:lnTo>
                  <a:pt x="83" y="38"/>
                </a:lnTo>
                <a:lnTo>
                  <a:pt x="83" y="36"/>
                </a:lnTo>
                <a:lnTo>
                  <a:pt x="81" y="36"/>
                </a:lnTo>
                <a:lnTo>
                  <a:pt x="83" y="36"/>
                </a:lnTo>
                <a:lnTo>
                  <a:pt x="81" y="36"/>
                </a:lnTo>
                <a:lnTo>
                  <a:pt x="79" y="36"/>
                </a:lnTo>
                <a:lnTo>
                  <a:pt x="79" y="35"/>
                </a:lnTo>
                <a:lnTo>
                  <a:pt x="79" y="33"/>
                </a:lnTo>
                <a:lnTo>
                  <a:pt x="81" y="33"/>
                </a:lnTo>
                <a:lnTo>
                  <a:pt x="83" y="33"/>
                </a:lnTo>
                <a:lnTo>
                  <a:pt x="83" y="31"/>
                </a:lnTo>
                <a:lnTo>
                  <a:pt x="81" y="31"/>
                </a:lnTo>
                <a:lnTo>
                  <a:pt x="81" y="29"/>
                </a:lnTo>
                <a:lnTo>
                  <a:pt x="79" y="29"/>
                </a:lnTo>
                <a:lnTo>
                  <a:pt x="79" y="27"/>
                </a:lnTo>
                <a:lnTo>
                  <a:pt x="77" y="27"/>
                </a:lnTo>
                <a:lnTo>
                  <a:pt x="77" y="25"/>
                </a:lnTo>
                <a:lnTo>
                  <a:pt x="75" y="25"/>
                </a:lnTo>
                <a:lnTo>
                  <a:pt x="75" y="23"/>
                </a:lnTo>
                <a:lnTo>
                  <a:pt x="77" y="23"/>
                </a:lnTo>
                <a:lnTo>
                  <a:pt x="79" y="23"/>
                </a:lnTo>
                <a:lnTo>
                  <a:pt x="79" y="21"/>
                </a:lnTo>
                <a:lnTo>
                  <a:pt x="77" y="21"/>
                </a:lnTo>
                <a:lnTo>
                  <a:pt x="77" y="19"/>
                </a:lnTo>
                <a:lnTo>
                  <a:pt x="79" y="19"/>
                </a:lnTo>
                <a:lnTo>
                  <a:pt x="77" y="19"/>
                </a:lnTo>
                <a:lnTo>
                  <a:pt x="77" y="17"/>
                </a:lnTo>
                <a:lnTo>
                  <a:pt x="77" y="15"/>
                </a:lnTo>
                <a:lnTo>
                  <a:pt x="79" y="15"/>
                </a:lnTo>
                <a:lnTo>
                  <a:pt x="77" y="15"/>
                </a:lnTo>
                <a:lnTo>
                  <a:pt x="79" y="15"/>
                </a:lnTo>
                <a:lnTo>
                  <a:pt x="81" y="15"/>
                </a:lnTo>
                <a:lnTo>
                  <a:pt x="83" y="15"/>
                </a:lnTo>
                <a:lnTo>
                  <a:pt x="85" y="15"/>
                </a:lnTo>
                <a:lnTo>
                  <a:pt x="85" y="17"/>
                </a:lnTo>
                <a:lnTo>
                  <a:pt x="86" y="17"/>
                </a:lnTo>
                <a:lnTo>
                  <a:pt x="86" y="15"/>
                </a:lnTo>
                <a:lnTo>
                  <a:pt x="85" y="15"/>
                </a:lnTo>
                <a:lnTo>
                  <a:pt x="85" y="13"/>
                </a:lnTo>
                <a:lnTo>
                  <a:pt x="85" y="12"/>
                </a:lnTo>
                <a:lnTo>
                  <a:pt x="85" y="10"/>
                </a:lnTo>
                <a:lnTo>
                  <a:pt x="83" y="8"/>
                </a:lnTo>
                <a:lnTo>
                  <a:pt x="85" y="8"/>
                </a:lnTo>
                <a:lnTo>
                  <a:pt x="85" y="10"/>
                </a:lnTo>
                <a:lnTo>
                  <a:pt x="86" y="10"/>
                </a:lnTo>
                <a:lnTo>
                  <a:pt x="88" y="10"/>
                </a:lnTo>
                <a:lnTo>
                  <a:pt x="88" y="8"/>
                </a:lnTo>
                <a:lnTo>
                  <a:pt x="88" y="6"/>
                </a:lnTo>
                <a:lnTo>
                  <a:pt x="88" y="4"/>
                </a:lnTo>
                <a:lnTo>
                  <a:pt x="86" y="4"/>
                </a:lnTo>
                <a:lnTo>
                  <a:pt x="86" y="2"/>
                </a:lnTo>
                <a:lnTo>
                  <a:pt x="88" y="2"/>
                </a:lnTo>
                <a:lnTo>
                  <a:pt x="86" y="2"/>
                </a:lnTo>
                <a:lnTo>
                  <a:pt x="86" y="0"/>
                </a:lnTo>
                <a:lnTo>
                  <a:pt x="88" y="0"/>
                </a:lnTo>
                <a:lnTo>
                  <a:pt x="90" y="2"/>
                </a:lnTo>
                <a:lnTo>
                  <a:pt x="90" y="4"/>
                </a:lnTo>
                <a:lnTo>
                  <a:pt x="92" y="4"/>
                </a:lnTo>
                <a:lnTo>
                  <a:pt x="92" y="6"/>
                </a:lnTo>
                <a:lnTo>
                  <a:pt x="94" y="8"/>
                </a:lnTo>
                <a:lnTo>
                  <a:pt x="96" y="12"/>
                </a:lnTo>
                <a:lnTo>
                  <a:pt x="94" y="12"/>
                </a:lnTo>
                <a:lnTo>
                  <a:pt x="94" y="13"/>
                </a:lnTo>
                <a:lnTo>
                  <a:pt x="96" y="13"/>
                </a:lnTo>
                <a:lnTo>
                  <a:pt x="96" y="15"/>
                </a:lnTo>
                <a:lnTo>
                  <a:pt x="96" y="17"/>
                </a:lnTo>
                <a:close/>
              </a:path>
            </a:pathLst>
          </a:custGeom>
          <a:solidFill>
            <a:srgbClr val="4BACC6">
              <a:lumMod val="75000"/>
            </a:srgbClr>
          </a:solidFill>
          <a:ln w="3175">
            <a:solidFill>
              <a:sysClr val="window" lastClr="FFFF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black"/>
              </a:solidFill>
              <a:effectLst/>
              <a:uLnTx/>
              <a:uFillTx/>
              <a:ea typeface="宋体" panose="02010600030101010101" pitchFamily="2" charset="-122"/>
            </a:endParaRPr>
          </a:p>
        </p:txBody>
      </p:sp>
      <p:grpSp>
        <p:nvGrpSpPr>
          <p:cNvPr id="55" name="组合 313">
            <a:extLst>
              <a:ext uri="{FF2B5EF4-FFF2-40B4-BE49-F238E27FC236}">
                <a16:creationId xmlns:a16="http://schemas.microsoft.com/office/drawing/2014/main" id="{4A1DF630-61D4-30AD-07F6-052246658FA5}"/>
              </a:ext>
            </a:extLst>
          </p:cNvPr>
          <p:cNvGrpSpPr/>
          <p:nvPr/>
        </p:nvGrpSpPr>
        <p:grpSpPr>
          <a:xfrm>
            <a:off x="3601553" y="1166801"/>
            <a:ext cx="4632144" cy="2886794"/>
            <a:chOff x="2181225" y="1150938"/>
            <a:chExt cx="4795838" cy="3681413"/>
          </a:xfrm>
          <a:solidFill>
            <a:srgbClr val="C3B996"/>
          </a:solidFill>
        </p:grpSpPr>
        <p:sp>
          <p:nvSpPr>
            <p:cNvPr id="56" name="Freeform 1879">
              <a:extLst>
                <a:ext uri="{FF2B5EF4-FFF2-40B4-BE49-F238E27FC236}">
                  <a16:creationId xmlns:a16="http://schemas.microsoft.com/office/drawing/2014/main" id="{DD286043-5DE7-96FF-DA9B-D5BEACF8BE46}"/>
                </a:ext>
              </a:extLst>
            </p:cNvPr>
            <p:cNvSpPr>
              <a:spLocks noEditPoints="1"/>
            </p:cNvSpPr>
            <p:nvPr/>
          </p:nvSpPr>
          <p:spPr bwMode="auto">
            <a:xfrm>
              <a:off x="4227513" y="3357563"/>
              <a:ext cx="1460500" cy="1474788"/>
            </a:xfrm>
            <a:custGeom>
              <a:avLst/>
              <a:gdLst>
                <a:gd name="T0" fmla="*/ 426 w 920"/>
                <a:gd name="T1" fmla="*/ 84 h 929"/>
                <a:gd name="T2" fmla="*/ 495 w 920"/>
                <a:gd name="T3" fmla="*/ 202 h 929"/>
                <a:gd name="T4" fmla="*/ 609 w 920"/>
                <a:gd name="T5" fmla="*/ 299 h 929"/>
                <a:gd name="T6" fmla="*/ 703 w 920"/>
                <a:gd name="T7" fmla="*/ 593 h 929"/>
                <a:gd name="T8" fmla="*/ 885 w 920"/>
                <a:gd name="T9" fmla="*/ 605 h 929"/>
                <a:gd name="T10" fmla="*/ 866 w 920"/>
                <a:gd name="T11" fmla="*/ 685 h 929"/>
                <a:gd name="T12" fmla="*/ 816 w 920"/>
                <a:gd name="T13" fmla="*/ 718 h 929"/>
                <a:gd name="T14" fmla="*/ 714 w 920"/>
                <a:gd name="T15" fmla="*/ 779 h 929"/>
                <a:gd name="T16" fmla="*/ 724 w 920"/>
                <a:gd name="T17" fmla="*/ 826 h 929"/>
                <a:gd name="T18" fmla="*/ 670 w 920"/>
                <a:gd name="T19" fmla="*/ 854 h 929"/>
                <a:gd name="T20" fmla="*/ 559 w 920"/>
                <a:gd name="T21" fmla="*/ 893 h 929"/>
                <a:gd name="T22" fmla="*/ 603 w 920"/>
                <a:gd name="T23" fmla="*/ 768 h 929"/>
                <a:gd name="T24" fmla="*/ 616 w 920"/>
                <a:gd name="T25" fmla="*/ 707 h 929"/>
                <a:gd name="T26" fmla="*/ 686 w 920"/>
                <a:gd name="T27" fmla="*/ 710 h 929"/>
                <a:gd name="T28" fmla="*/ 668 w 920"/>
                <a:gd name="T29" fmla="*/ 691 h 929"/>
                <a:gd name="T30" fmla="*/ 649 w 920"/>
                <a:gd name="T31" fmla="*/ 662 h 929"/>
                <a:gd name="T32" fmla="*/ 609 w 920"/>
                <a:gd name="T33" fmla="*/ 645 h 929"/>
                <a:gd name="T34" fmla="*/ 561 w 920"/>
                <a:gd name="T35" fmla="*/ 641 h 929"/>
                <a:gd name="T36" fmla="*/ 459 w 920"/>
                <a:gd name="T37" fmla="*/ 634 h 929"/>
                <a:gd name="T38" fmla="*/ 397 w 920"/>
                <a:gd name="T39" fmla="*/ 547 h 929"/>
                <a:gd name="T40" fmla="*/ 317 w 920"/>
                <a:gd name="T41" fmla="*/ 497 h 929"/>
                <a:gd name="T42" fmla="*/ 284 w 920"/>
                <a:gd name="T43" fmla="*/ 505 h 929"/>
                <a:gd name="T44" fmla="*/ 198 w 920"/>
                <a:gd name="T45" fmla="*/ 549 h 929"/>
                <a:gd name="T46" fmla="*/ 56 w 920"/>
                <a:gd name="T47" fmla="*/ 518 h 929"/>
                <a:gd name="T48" fmla="*/ 46 w 920"/>
                <a:gd name="T49" fmla="*/ 480 h 929"/>
                <a:gd name="T50" fmla="*/ 31 w 920"/>
                <a:gd name="T51" fmla="*/ 461 h 929"/>
                <a:gd name="T52" fmla="*/ 40 w 920"/>
                <a:gd name="T53" fmla="*/ 461 h 929"/>
                <a:gd name="T54" fmla="*/ 25 w 920"/>
                <a:gd name="T55" fmla="*/ 430 h 929"/>
                <a:gd name="T56" fmla="*/ 23 w 920"/>
                <a:gd name="T57" fmla="*/ 443 h 929"/>
                <a:gd name="T58" fmla="*/ 23 w 920"/>
                <a:gd name="T59" fmla="*/ 240 h 929"/>
                <a:gd name="T60" fmla="*/ 586 w 920"/>
                <a:gd name="T61" fmla="*/ 659 h 929"/>
                <a:gd name="T62" fmla="*/ 526 w 920"/>
                <a:gd name="T63" fmla="*/ 659 h 929"/>
                <a:gd name="T64" fmla="*/ 820 w 920"/>
                <a:gd name="T65" fmla="*/ 739 h 929"/>
                <a:gd name="T66" fmla="*/ 490 w 920"/>
                <a:gd name="T67" fmla="*/ 655 h 929"/>
                <a:gd name="T68" fmla="*/ 17 w 920"/>
                <a:gd name="T69" fmla="*/ 451 h 929"/>
                <a:gd name="T70" fmla="*/ 847 w 920"/>
                <a:gd name="T71" fmla="*/ 716 h 929"/>
                <a:gd name="T72" fmla="*/ 543 w 920"/>
                <a:gd name="T73" fmla="*/ 657 h 929"/>
                <a:gd name="T74" fmla="*/ 603 w 920"/>
                <a:gd name="T75" fmla="*/ 643 h 929"/>
                <a:gd name="T76" fmla="*/ 2 w 920"/>
                <a:gd name="T77" fmla="*/ 455 h 929"/>
                <a:gd name="T78" fmla="*/ 668 w 920"/>
                <a:gd name="T79" fmla="*/ 687 h 929"/>
                <a:gd name="T80" fmla="*/ 647 w 920"/>
                <a:gd name="T81" fmla="*/ 666 h 929"/>
                <a:gd name="T82" fmla="*/ 590 w 920"/>
                <a:gd name="T83" fmla="*/ 689 h 929"/>
                <a:gd name="T84" fmla="*/ 866 w 920"/>
                <a:gd name="T85" fmla="*/ 693 h 929"/>
                <a:gd name="T86" fmla="*/ 2 w 920"/>
                <a:gd name="T87" fmla="*/ 451 h 929"/>
                <a:gd name="T88" fmla="*/ 42 w 920"/>
                <a:gd name="T89" fmla="*/ 467 h 929"/>
                <a:gd name="T90" fmla="*/ 559 w 920"/>
                <a:gd name="T91" fmla="*/ 643 h 929"/>
                <a:gd name="T92" fmla="*/ 664 w 920"/>
                <a:gd name="T93" fmla="*/ 687 h 929"/>
                <a:gd name="T94" fmla="*/ 42 w 920"/>
                <a:gd name="T95" fmla="*/ 467 h 929"/>
                <a:gd name="T96" fmla="*/ 639 w 920"/>
                <a:gd name="T97" fmla="*/ 660 h 929"/>
                <a:gd name="T98" fmla="*/ 678 w 920"/>
                <a:gd name="T99" fmla="*/ 703 h 929"/>
                <a:gd name="T100" fmla="*/ 35 w 920"/>
                <a:gd name="T101" fmla="*/ 474 h 929"/>
                <a:gd name="T102" fmla="*/ 282 w 920"/>
                <a:gd name="T103" fmla="*/ 516 h 929"/>
                <a:gd name="T104" fmla="*/ 883 w 920"/>
                <a:gd name="T105" fmla="*/ 659 h 929"/>
                <a:gd name="T106" fmla="*/ 25 w 920"/>
                <a:gd name="T107" fmla="*/ 451 h 929"/>
                <a:gd name="T108" fmla="*/ 680 w 920"/>
                <a:gd name="T109" fmla="*/ 701 h 929"/>
                <a:gd name="T110" fmla="*/ 591 w 920"/>
                <a:gd name="T111" fmla="*/ 643 h 929"/>
                <a:gd name="T112" fmla="*/ 21 w 920"/>
                <a:gd name="T113" fmla="*/ 470 h 929"/>
                <a:gd name="T114" fmla="*/ 48 w 920"/>
                <a:gd name="T115" fmla="*/ 480 h 929"/>
                <a:gd name="T116" fmla="*/ 557 w 920"/>
                <a:gd name="T117" fmla="*/ 897 h 929"/>
                <a:gd name="T118" fmla="*/ 661 w 920"/>
                <a:gd name="T119" fmla="*/ 682 h 929"/>
                <a:gd name="T120" fmla="*/ 668 w 920"/>
                <a:gd name="T121" fmla="*/ 691 h 929"/>
                <a:gd name="T122" fmla="*/ 27 w 920"/>
                <a:gd name="T123" fmla="*/ 432 h 929"/>
                <a:gd name="T124" fmla="*/ 684 w 920"/>
                <a:gd name="T125" fmla="*/ 852 h 9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920" h="929">
                  <a:moveTo>
                    <a:pt x="238" y="0"/>
                  </a:moveTo>
                  <a:lnTo>
                    <a:pt x="238" y="2"/>
                  </a:lnTo>
                  <a:lnTo>
                    <a:pt x="240" y="2"/>
                  </a:lnTo>
                  <a:lnTo>
                    <a:pt x="238" y="2"/>
                  </a:lnTo>
                  <a:lnTo>
                    <a:pt x="238" y="4"/>
                  </a:lnTo>
                  <a:lnTo>
                    <a:pt x="240" y="4"/>
                  </a:lnTo>
                  <a:lnTo>
                    <a:pt x="240" y="6"/>
                  </a:lnTo>
                  <a:lnTo>
                    <a:pt x="242" y="6"/>
                  </a:lnTo>
                  <a:lnTo>
                    <a:pt x="244" y="8"/>
                  </a:lnTo>
                  <a:lnTo>
                    <a:pt x="244" y="10"/>
                  </a:lnTo>
                  <a:lnTo>
                    <a:pt x="246" y="10"/>
                  </a:lnTo>
                  <a:lnTo>
                    <a:pt x="246" y="12"/>
                  </a:lnTo>
                  <a:lnTo>
                    <a:pt x="248" y="12"/>
                  </a:lnTo>
                  <a:lnTo>
                    <a:pt x="250" y="12"/>
                  </a:lnTo>
                  <a:lnTo>
                    <a:pt x="252" y="13"/>
                  </a:lnTo>
                  <a:lnTo>
                    <a:pt x="252" y="15"/>
                  </a:lnTo>
                  <a:lnTo>
                    <a:pt x="253" y="15"/>
                  </a:lnTo>
                  <a:lnTo>
                    <a:pt x="255" y="17"/>
                  </a:lnTo>
                  <a:lnTo>
                    <a:pt x="257" y="19"/>
                  </a:lnTo>
                  <a:lnTo>
                    <a:pt x="259" y="19"/>
                  </a:lnTo>
                  <a:lnTo>
                    <a:pt x="261" y="19"/>
                  </a:lnTo>
                  <a:lnTo>
                    <a:pt x="261" y="21"/>
                  </a:lnTo>
                  <a:lnTo>
                    <a:pt x="263" y="21"/>
                  </a:lnTo>
                  <a:lnTo>
                    <a:pt x="265" y="21"/>
                  </a:lnTo>
                  <a:lnTo>
                    <a:pt x="267" y="21"/>
                  </a:lnTo>
                  <a:lnTo>
                    <a:pt x="267" y="23"/>
                  </a:lnTo>
                  <a:lnTo>
                    <a:pt x="269" y="23"/>
                  </a:lnTo>
                  <a:lnTo>
                    <a:pt x="269" y="25"/>
                  </a:lnTo>
                  <a:lnTo>
                    <a:pt x="271" y="25"/>
                  </a:lnTo>
                  <a:lnTo>
                    <a:pt x="271" y="27"/>
                  </a:lnTo>
                  <a:lnTo>
                    <a:pt x="271" y="29"/>
                  </a:lnTo>
                  <a:lnTo>
                    <a:pt x="273" y="29"/>
                  </a:lnTo>
                  <a:lnTo>
                    <a:pt x="273" y="31"/>
                  </a:lnTo>
                  <a:lnTo>
                    <a:pt x="275" y="31"/>
                  </a:lnTo>
                  <a:lnTo>
                    <a:pt x="275" y="33"/>
                  </a:lnTo>
                  <a:lnTo>
                    <a:pt x="277" y="33"/>
                  </a:lnTo>
                  <a:lnTo>
                    <a:pt x="277" y="35"/>
                  </a:lnTo>
                  <a:lnTo>
                    <a:pt x="277" y="36"/>
                  </a:lnTo>
                  <a:lnTo>
                    <a:pt x="278" y="36"/>
                  </a:lnTo>
                  <a:lnTo>
                    <a:pt x="278" y="38"/>
                  </a:lnTo>
                  <a:lnTo>
                    <a:pt x="280" y="40"/>
                  </a:lnTo>
                  <a:lnTo>
                    <a:pt x="280" y="42"/>
                  </a:lnTo>
                  <a:lnTo>
                    <a:pt x="282" y="42"/>
                  </a:lnTo>
                  <a:lnTo>
                    <a:pt x="282" y="44"/>
                  </a:lnTo>
                  <a:lnTo>
                    <a:pt x="282" y="46"/>
                  </a:lnTo>
                  <a:lnTo>
                    <a:pt x="284" y="46"/>
                  </a:lnTo>
                  <a:lnTo>
                    <a:pt x="286" y="46"/>
                  </a:lnTo>
                  <a:lnTo>
                    <a:pt x="286" y="48"/>
                  </a:lnTo>
                  <a:lnTo>
                    <a:pt x="288" y="48"/>
                  </a:lnTo>
                  <a:lnTo>
                    <a:pt x="288" y="50"/>
                  </a:lnTo>
                  <a:lnTo>
                    <a:pt x="286" y="50"/>
                  </a:lnTo>
                  <a:lnTo>
                    <a:pt x="288" y="50"/>
                  </a:lnTo>
                  <a:lnTo>
                    <a:pt x="290" y="50"/>
                  </a:lnTo>
                  <a:lnTo>
                    <a:pt x="292" y="50"/>
                  </a:lnTo>
                  <a:lnTo>
                    <a:pt x="292" y="52"/>
                  </a:lnTo>
                  <a:lnTo>
                    <a:pt x="294" y="52"/>
                  </a:lnTo>
                  <a:lnTo>
                    <a:pt x="294" y="54"/>
                  </a:lnTo>
                  <a:lnTo>
                    <a:pt x="296" y="54"/>
                  </a:lnTo>
                  <a:lnTo>
                    <a:pt x="298" y="54"/>
                  </a:lnTo>
                  <a:lnTo>
                    <a:pt x="300" y="54"/>
                  </a:lnTo>
                  <a:lnTo>
                    <a:pt x="301" y="54"/>
                  </a:lnTo>
                  <a:lnTo>
                    <a:pt x="303" y="54"/>
                  </a:lnTo>
                  <a:lnTo>
                    <a:pt x="305" y="54"/>
                  </a:lnTo>
                  <a:lnTo>
                    <a:pt x="307" y="54"/>
                  </a:lnTo>
                  <a:lnTo>
                    <a:pt x="305" y="54"/>
                  </a:lnTo>
                  <a:lnTo>
                    <a:pt x="307" y="54"/>
                  </a:lnTo>
                  <a:lnTo>
                    <a:pt x="309" y="54"/>
                  </a:lnTo>
                  <a:lnTo>
                    <a:pt x="309" y="56"/>
                  </a:lnTo>
                  <a:lnTo>
                    <a:pt x="311" y="56"/>
                  </a:lnTo>
                  <a:lnTo>
                    <a:pt x="313" y="56"/>
                  </a:lnTo>
                  <a:lnTo>
                    <a:pt x="313" y="58"/>
                  </a:lnTo>
                  <a:lnTo>
                    <a:pt x="315" y="58"/>
                  </a:lnTo>
                  <a:lnTo>
                    <a:pt x="317" y="58"/>
                  </a:lnTo>
                  <a:lnTo>
                    <a:pt x="319" y="58"/>
                  </a:lnTo>
                  <a:lnTo>
                    <a:pt x="319" y="60"/>
                  </a:lnTo>
                  <a:lnTo>
                    <a:pt x="321" y="60"/>
                  </a:lnTo>
                  <a:lnTo>
                    <a:pt x="323" y="60"/>
                  </a:lnTo>
                  <a:lnTo>
                    <a:pt x="325" y="60"/>
                  </a:lnTo>
                  <a:lnTo>
                    <a:pt x="325" y="61"/>
                  </a:lnTo>
                  <a:lnTo>
                    <a:pt x="326" y="61"/>
                  </a:lnTo>
                  <a:lnTo>
                    <a:pt x="328" y="61"/>
                  </a:lnTo>
                  <a:lnTo>
                    <a:pt x="328" y="63"/>
                  </a:lnTo>
                  <a:lnTo>
                    <a:pt x="330" y="63"/>
                  </a:lnTo>
                  <a:lnTo>
                    <a:pt x="330" y="65"/>
                  </a:lnTo>
                  <a:lnTo>
                    <a:pt x="332" y="65"/>
                  </a:lnTo>
                  <a:lnTo>
                    <a:pt x="334" y="65"/>
                  </a:lnTo>
                  <a:lnTo>
                    <a:pt x="336" y="65"/>
                  </a:lnTo>
                  <a:lnTo>
                    <a:pt x="338" y="67"/>
                  </a:lnTo>
                  <a:lnTo>
                    <a:pt x="340" y="67"/>
                  </a:lnTo>
                  <a:lnTo>
                    <a:pt x="338" y="67"/>
                  </a:lnTo>
                  <a:lnTo>
                    <a:pt x="340" y="67"/>
                  </a:lnTo>
                  <a:lnTo>
                    <a:pt x="342" y="67"/>
                  </a:lnTo>
                  <a:lnTo>
                    <a:pt x="344" y="67"/>
                  </a:lnTo>
                  <a:lnTo>
                    <a:pt x="346" y="67"/>
                  </a:lnTo>
                  <a:lnTo>
                    <a:pt x="346" y="69"/>
                  </a:lnTo>
                  <a:lnTo>
                    <a:pt x="348" y="69"/>
                  </a:lnTo>
                  <a:lnTo>
                    <a:pt x="349" y="71"/>
                  </a:lnTo>
                  <a:lnTo>
                    <a:pt x="351" y="71"/>
                  </a:lnTo>
                  <a:lnTo>
                    <a:pt x="353" y="71"/>
                  </a:lnTo>
                  <a:lnTo>
                    <a:pt x="353" y="73"/>
                  </a:lnTo>
                  <a:lnTo>
                    <a:pt x="355" y="73"/>
                  </a:lnTo>
                  <a:lnTo>
                    <a:pt x="355" y="75"/>
                  </a:lnTo>
                  <a:lnTo>
                    <a:pt x="357" y="75"/>
                  </a:lnTo>
                  <a:lnTo>
                    <a:pt x="357" y="77"/>
                  </a:lnTo>
                  <a:lnTo>
                    <a:pt x="359" y="77"/>
                  </a:lnTo>
                  <a:lnTo>
                    <a:pt x="359" y="79"/>
                  </a:lnTo>
                  <a:lnTo>
                    <a:pt x="361" y="79"/>
                  </a:lnTo>
                  <a:lnTo>
                    <a:pt x="363" y="81"/>
                  </a:lnTo>
                  <a:lnTo>
                    <a:pt x="365" y="81"/>
                  </a:lnTo>
                  <a:lnTo>
                    <a:pt x="365" y="83"/>
                  </a:lnTo>
                  <a:lnTo>
                    <a:pt x="367" y="83"/>
                  </a:lnTo>
                  <a:lnTo>
                    <a:pt x="369" y="83"/>
                  </a:lnTo>
                  <a:lnTo>
                    <a:pt x="371" y="83"/>
                  </a:lnTo>
                  <a:lnTo>
                    <a:pt x="371" y="84"/>
                  </a:lnTo>
                  <a:lnTo>
                    <a:pt x="373" y="83"/>
                  </a:lnTo>
                  <a:lnTo>
                    <a:pt x="373" y="84"/>
                  </a:lnTo>
                  <a:lnTo>
                    <a:pt x="374" y="84"/>
                  </a:lnTo>
                  <a:lnTo>
                    <a:pt x="374" y="86"/>
                  </a:lnTo>
                  <a:lnTo>
                    <a:pt x="374" y="88"/>
                  </a:lnTo>
                  <a:lnTo>
                    <a:pt x="376" y="88"/>
                  </a:lnTo>
                  <a:lnTo>
                    <a:pt x="378" y="88"/>
                  </a:lnTo>
                  <a:lnTo>
                    <a:pt x="378" y="86"/>
                  </a:lnTo>
                  <a:lnTo>
                    <a:pt x="380" y="86"/>
                  </a:lnTo>
                  <a:lnTo>
                    <a:pt x="380" y="88"/>
                  </a:lnTo>
                  <a:lnTo>
                    <a:pt x="382" y="88"/>
                  </a:lnTo>
                  <a:lnTo>
                    <a:pt x="384" y="88"/>
                  </a:lnTo>
                  <a:lnTo>
                    <a:pt x="386" y="88"/>
                  </a:lnTo>
                  <a:lnTo>
                    <a:pt x="388" y="88"/>
                  </a:lnTo>
                  <a:lnTo>
                    <a:pt x="390" y="88"/>
                  </a:lnTo>
                  <a:lnTo>
                    <a:pt x="392" y="88"/>
                  </a:lnTo>
                  <a:lnTo>
                    <a:pt x="394" y="88"/>
                  </a:lnTo>
                  <a:lnTo>
                    <a:pt x="396" y="88"/>
                  </a:lnTo>
                  <a:lnTo>
                    <a:pt x="397" y="86"/>
                  </a:lnTo>
                  <a:lnTo>
                    <a:pt x="399" y="86"/>
                  </a:lnTo>
                  <a:lnTo>
                    <a:pt x="399" y="84"/>
                  </a:lnTo>
                  <a:lnTo>
                    <a:pt x="401" y="84"/>
                  </a:lnTo>
                  <a:lnTo>
                    <a:pt x="403" y="84"/>
                  </a:lnTo>
                  <a:lnTo>
                    <a:pt x="405" y="84"/>
                  </a:lnTo>
                  <a:lnTo>
                    <a:pt x="407" y="84"/>
                  </a:lnTo>
                  <a:lnTo>
                    <a:pt x="409" y="84"/>
                  </a:lnTo>
                  <a:lnTo>
                    <a:pt x="411" y="84"/>
                  </a:lnTo>
                  <a:lnTo>
                    <a:pt x="413" y="84"/>
                  </a:lnTo>
                  <a:lnTo>
                    <a:pt x="413" y="83"/>
                  </a:lnTo>
                  <a:lnTo>
                    <a:pt x="415" y="83"/>
                  </a:lnTo>
                  <a:lnTo>
                    <a:pt x="417" y="83"/>
                  </a:lnTo>
                  <a:lnTo>
                    <a:pt x="417" y="81"/>
                  </a:lnTo>
                  <a:lnTo>
                    <a:pt x="417" y="83"/>
                  </a:lnTo>
                  <a:lnTo>
                    <a:pt x="419" y="83"/>
                  </a:lnTo>
                  <a:lnTo>
                    <a:pt x="421" y="83"/>
                  </a:lnTo>
                  <a:lnTo>
                    <a:pt x="422" y="83"/>
                  </a:lnTo>
                  <a:lnTo>
                    <a:pt x="422" y="84"/>
                  </a:lnTo>
                  <a:lnTo>
                    <a:pt x="424" y="84"/>
                  </a:lnTo>
                  <a:lnTo>
                    <a:pt x="426" y="84"/>
                  </a:lnTo>
                  <a:lnTo>
                    <a:pt x="426" y="86"/>
                  </a:lnTo>
                  <a:lnTo>
                    <a:pt x="426" y="84"/>
                  </a:lnTo>
                  <a:lnTo>
                    <a:pt x="424" y="84"/>
                  </a:lnTo>
                  <a:lnTo>
                    <a:pt x="424" y="83"/>
                  </a:lnTo>
                  <a:lnTo>
                    <a:pt x="426" y="83"/>
                  </a:lnTo>
                  <a:lnTo>
                    <a:pt x="428" y="83"/>
                  </a:lnTo>
                  <a:lnTo>
                    <a:pt x="430" y="83"/>
                  </a:lnTo>
                  <a:lnTo>
                    <a:pt x="430" y="84"/>
                  </a:lnTo>
                  <a:lnTo>
                    <a:pt x="432" y="84"/>
                  </a:lnTo>
                  <a:lnTo>
                    <a:pt x="434" y="84"/>
                  </a:lnTo>
                  <a:lnTo>
                    <a:pt x="436" y="84"/>
                  </a:lnTo>
                  <a:lnTo>
                    <a:pt x="438" y="84"/>
                  </a:lnTo>
                  <a:lnTo>
                    <a:pt x="440" y="84"/>
                  </a:lnTo>
                  <a:lnTo>
                    <a:pt x="440" y="83"/>
                  </a:lnTo>
                  <a:lnTo>
                    <a:pt x="442" y="83"/>
                  </a:lnTo>
                  <a:lnTo>
                    <a:pt x="442" y="84"/>
                  </a:lnTo>
                  <a:lnTo>
                    <a:pt x="444" y="84"/>
                  </a:lnTo>
                  <a:lnTo>
                    <a:pt x="445" y="84"/>
                  </a:lnTo>
                  <a:lnTo>
                    <a:pt x="445" y="83"/>
                  </a:lnTo>
                  <a:lnTo>
                    <a:pt x="447" y="83"/>
                  </a:lnTo>
                  <a:lnTo>
                    <a:pt x="449" y="83"/>
                  </a:lnTo>
                  <a:lnTo>
                    <a:pt x="451" y="83"/>
                  </a:lnTo>
                  <a:lnTo>
                    <a:pt x="453" y="83"/>
                  </a:lnTo>
                  <a:lnTo>
                    <a:pt x="453" y="84"/>
                  </a:lnTo>
                  <a:lnTo>
                    <a:pt x="453" y="86"/>
                  </a:lnTo>
                  <a:lnTo>
                    <a:pt x="455" y="86"/>
                  </a:lnTo>
                  <a:lnTo>
                    <a:pt x="457" y="86"/>
                  </a:lnTo>
                  <a:lnTo>
                    <a:pt x="459" y="86"/>
                  </a:lnTo>
                  <a:lnTo>
                    <a:pt x="459" y="84"/>
                  </a:lnTo>
                  <a:lnTo>
                    <a:pt x="459" y="86"/>
                  </a:lnTo>
                  <a:lnTo>
                    <a:pt x="459" y="84"/>
                  </a:lnTo>
                  <a:lnTo>
                    <a:pt x="461" y="84"/>
                  </a:lnTo>
                  <a:lnTo>
                    <a:pt x="461" y="83"/>
                  </a:lnTo>
                  <a:lnTo>
                    <a:pt x="461" y="84"/>
                  </a:lnTo>
                  <a:lnTo>
                    <a:pt x="463" y="84"/>
                  </a:lnTo>
                  <a:lnTo>
                    <a:pt x="465" y="84"/>
                  </a:lnTo>
                  <a:lnTo>
                    <a:pt x="465" y="86"/>
                  </a:lnTo>
                  <a:lnTo>
                    <a:pt x="467" y="86"/>
                  </a:lnTo>
                  <a:lnTo>
                    <a:pt x="467" y="88"/>
                  </a:lnTo>
                  <a:lnTo>
                    <a:pt x="467" y="86"/>
                  </a:lnTo>
                  <a:lnTo>
                    <a:pt x="469" y="86"/>
                  </a:lnTo>
                  <a:lnTo>
                    <a:pt x="470" y="86"/>
                  </a:lnTo>
                  <a:lnTo>
                    <a:pt x="470" y="88"/>
                  </a:lnTo>
                  <a:lnTo>
                    <a:pt x="472" y="88"/>
                  </a:lnTo>
                  <a:lnTo>
                    <a:pt x="474" y="88"/>
                  </a:lnTo>
                  <a:lnTo>
                    <a:pt x="474" y="86"/>
                  </a:lnTo>
                  <a:lnTo>
                    <a:pt x="472" y="86"/>
                  </a:lnTo>
                  <a:lnTo>
                    <a:pt x="474" y="86"/>
                  </a:lnTo>
                  <a:lnTo>
                    <a:pt x="474" y="84"/>
                  </a:lnTo>
                  <a:lnTo>
                    <a:pt x="472" y="84"/>
                  </a:lnTo>
                  <a:lnTo>
                    <a:pt x="472" y="83"/>
                  </a:lnTo>
                  <a:lnTo>
                    <a:pt x="472" y="84"/>
                  </a:lnTo>
                  <a:lnTo>
                    <a:pt x="472" y="83"/>
                  </a:lnTo>
                  <a:lnTo>
                    <a:pt x="474" y="83"/>
                  </a:lnTo>
                  <a:lnTo>
                    <a:pt x="474" y="84"/>
                  </a:lnTo>
                  <a:lnTo>
                    <a:pt x="476" y="84"/>
                  </a:lnTo>
                  <a:lnTo>
                    <a:pt x="476" y="86"/>
                  </a:lnTo>
                  <a:lnTo>
                    <a:pt x="476" y="88"/>
                  </a:lnTo>
                  <a:lnTo>
                    <a:pt x="476" y="90"/>
                  </a:lnTo>
                  <a:lnTo>
                    <a:pt x="476" y="92"/>
                  </a:lnTo>
                  <a:lnTo>
                    <a:pt x="476" y="94"/>
                  </a:lnTo>
                  <a:lnTo>
                    <a:pt x="478" y="94"/>
                  </a:lnTo>
                  <a:lnTo>
                    <a:pt x="478" y="96"/>
                  </a:lnTo>
                  <a:lnTo>
                    <a:pt x="476" y="96"/>
                  </a:lnTo>
                  <a:lnTo>
                    <a:pt x="478" y="96"/>
                  </a:lnTo>
                  <a:lnTo>
                    <a:pt x="478" y="98"/>
                  </a:lnTo>
                  <a:lnTo>
                    <a:pt x="478" y="100"/>
                  </a:lnTo>
                  <a:lnTo>
                    <a:pt x="480" y="100"/>
                  </a:lnTo>
                  <a:lnTo>
                    <a:pt x="480" y="102"/>
                  </a:lnTo>
                  <a:lnTo>
                    <a:pt x="480" y="104"/>
                  </a:lnTo>
                  <a:lnTo>
                    <a:pt x="480" y="106"/>
                  </a:lnTo>
                  <a:lnTo>
                    <a:pt x="480" y="108"/>
                  </a:lnTo>
                  <a:lnTo>
                    <a:pt x="480" y="109"/>
                  </a:lnTo>
                  <a:lnTo>
                    <a:pt x="480" y="111"/>
                  </a:lnTo>
                  <a:lnTo>
                    <a:pt x="478" y="111"/>
                  </a:lnTo>
                  <a:lnTo>
                    <a:pt x="478" y="113"/>
                  </a:lnTo>
                  <a:lnTo>
                    <a:pt x="480" y="113"/>
                  </a:lnTo>
                  <a:lnTo>
                    <a:pt x="480" y="115"/>
                  </a:lnTo>
                  <a:lnTo>
                    <a:pt x="478" y="115"/>
                  </a:lnTo>
                  <a:lnTo>
                    <a:pt x="478" y="117"/>
                  </a:lnTo>
                  <a:lnTo>
                    <a:pt x="480" y="117"/>
                  </a:lnTo>
                  <a:lnTo>
                    <a:pt x="478" y="117"/>
                  </a:lnTo>
                  <a:lnTo>
                    <a:pt x="480" y="117"/>
                  </a:lnTo>
                  <a:lnTo>
                    <a:pt x="478" y="117"/>
                  </a:lnTo>
                  <a:lnTo>
                    <a:pt x="480" y="119"/>
                  </a:lnTo>
                  <a:lnTo>
                    <a:pt x="480" y="121"/>
                  </a:lnTo>
                  <a:lnTo>
                    <a:pt x="480" y="123"/>
                  </a:lnTo>
                  <a:lnTo>
                    <a:pt x="478" y="123"/>
                  </a:lnTo>
                  <a:lnTo>
                    <a:pt x="478" y="125"/>
                  </a:lnTo>
                  <a:lnTo>
                    <a:pt x="478" y="127"/>
                  </a:lnTo>
                  <a:lnTo>
                    <a:pt x="478" y="129"/>
                  </a:lnTo>
                  <a:lnTo>
                    <a:pt x="478" y="131"/>
                  </a:lnTo>
                  <a:lnTo>
                    <a:pt x="478" y="132"/>
                  </a:lnTo>
                  <a:lnTo>
                    <a:pt x="476" y="132"/>
                  </a:lnTo>
                  <a:lnTo>
                    <a:pt x="476" y="134"/>
                  </a:lnTo>
                  <a:lnTo>
                    <a:pt x="478" y="134"/>
                  </a:lnTo>
                  <a:lnTo>
                    <a:pt x="476" y="134"/>
                  </a:lnTo>
                  <a:lnTo>
                    <a:pt x="476" y="136"/>
                  </a:lnTo>
                  <a:lnTo>
                    <a:pt x="478" y="136"/>
                  </a:lnTo>
                  <a:lnTo>
                    <a:pt x="478" y="138"/>
                  </a:lnTo>
                  <a:lnTo>
                    <a:pt x="478" y="140"/>
                  </a:lnTo>
                  <a:lnTo>
                    <a:pt x="478" y="142"/>
                  </a:lnTo>
                  <a:lnTo>
                    <a:pt x="476" y="142"/>
                  </a:lnTo>
                  <a:lnTo>
                    <a:pt x="478" y="142"/>
                  </a:lnTo>
                  <a:lnTo>
                    <a:pt x="476" y="142"/>
                  </a:lnTo>
                  <a:lnTo>
                    <a:pt x="478" y="142"/>
                  </a:lnTo>
                  <a:lnTo>
                    <a:pt x="480" y="142"/>
                  </a:lnTo>
                  <a:lnTo>
                    <a:pt x="480" y="144"/>
                  </a:lnTo>
                  <a:lnTo>
                    <a:pt x="480" y="146"/>
                  </a:lnTo>
                  <a:lnTo>
                    <a:pt x="482" y="146"/>
                  </a:lnTo>
                  <a:lnTo>
                    <a:pt x="480" y="146"/>
                  </a:lnTo>
                  <a:lnTo>
                    <a:pt x="480" y="148"/>
                  </a:lnTo>
                  <a:lnTo>
                    <a:pt x="480" y="146"/>
                  </a:lnTo>
                  <a:lnTo>
                    <a:pt x="482" y="146"/>
                  </a:lnTo>
                  <a:lnTo>
                    <a:pt x="482" y="148"/>
                  </a:lnTo>
                  <a:lnTo>
                    <a:pt x="484" y="148"/>
                  </a:lnTo>
                  <a:lnTo>
                    <a:pt x="486" y="150"/>
                  </a:lnTo>
                  <a:lnTo>
                    <a:pt x="486" y="152"/>
                  </a:lnTo>
                  <a:lnTo>
                    <a:pt x="488" y="152"/>
                  </a:lnTo>
                  <a:lnTo>
                    <a:pt x="488" y="154"/>
                  </a:lnTo>
                  <a:lnTo>
                    <a:pt x="488" y="156"/>
                  </a:lnTo>
                  <a:lnTo>
                    <a:pt x="490" y="156"/>
                  </a:lnTo>
                  <a:lnTo>
                    <a:pt x="490" y="157"/>
                  </a:lnTo>
                  <a:lnTo>
                    <a:pt x="490" y="159"/>
                  </a:lnTo>
                  <a:lnTo>
                    <a:pt x="492" y="159"/>
                  </a:lnTo>
                  <a:lnTo>
                    <a:pt x="492" y="161"/>
                  </a:lnTo>
                  <a:lnTo>
                    <a:pt x="492" y="163"/>
                  </a:lnTo>
                  <a:lnTo>
                    <a:pt x="494" y="163"/>
                  </a:lnTo>
                  <a:lnTo>
                    <a:pt x="494" y="165"/>
                  </a:lnTo>
                  <a:lnTo>
                    <a:pt x="494" y="167"/>
                  </a:lnTo>
                  <a:lnTo>
                    <a:pt x="494" y="169"/>
                  </a:lnTo>
                  <a:lnTo>
                    <a:pt x="492" y="169"/>
                  </a:lnTo>
                  <a:lnTo>
                    <a:pt x="492" y="171"/>
                  </a:lnTo>
                  <a:lnTo>
                    <a:pt x="492" y="173"/>
                  </a:lnTo>
                  <a:lnTo>
                    <a:pt x="492" y="175"/>
                  </a:lnTo>
                  <a:lnTo>
                    <a:pt x="492" y="177"/>
                  </a:lnTo>
                  <a:lnTo>
                    <a:pt x="492" y="179"/>
                  </a:lnTo>
                  <a:lnTo>
                    <a:pt x="490" y="179"/>
                  </a:lnTo>
                  <a:lnTo>
                    <a:pt x="492" y="179"/>
                  </a:lnTo>
                  <a:lnTo>
                    <a:pt x="492" y="180"/>
                  </a:lnTo>
                  <a:lnTo>
                    <a:pt x="492" y="182"/>
                  </a:lnTo>
                  <a:lnTo>
                    <a:pt x="494" y="182"/>
                  </a:lnTo>
                  <a:lnTo>
                    <a:pt x="494" y="184"/>
                  </a:lnTo>
                  <a:lnTo>
                    <a:pt x="494" y="186"/>
                  </a:lnTo>
                  <a:lnTo>
                    <a:pt x="495" y="186"/>
                  </a:lnTo>
                  <a:lnTo>
                    <a:pt x="495" y="188"/>
                  </a:lnTo>
                  <a:lnTo>
                    <a:pt x="495" y="190"/>
                  </a:lnTo>
                  <a:lnTo>
                    <a:pt x="497" y="190"/>
                  </a:lnTo>
                  <a:lnTo>
                    <a:pt x="497" y="192"/>
                  </a:lnTo>
                  <a:lnTo>
                    <a:pt x="497" y="194"/>
                  </a:lnTo>
                  <a:lnTo>
                    <a:pt x="497" y="196"/>
                  </a:lnTo>
                  <a:lnTo>
                    <a:pt x="499" y="196"/>
                  </a:lnTo>
                  <a:lnTo>
                    <a:pt x="499" y="198"/>
                  </a:lnTo>
                  <a:lnTo>
                    <a:pt x="497" y="198"/>
                  </a:lnTo>
                  <a:lnTo>
                    <a:pt x="497" y="200"/>
                  </a:lnTo>
                  <a:lnTo>
                    <a:pt x="495" y="200"/>
                  </a:lnTo>
                  <a:lnTo>
                    <a:pt x="495" y="202"/>
                  </a:lnTo>
                  <a:lnTo>
                    <a:pt x="495" y="204"/>
                  </a:lnTo>
                  <a:lnTo>
                    <a:pt x="494" y="204"/>
                  </a:lnTo>
                  <a:lnTo>
                    <a:pt x="494" y="205"/>
                  </a:lnTo>
                  <a:lnTo>
                    <a:pt x="494" y="207"/>
                  </a:lnTo>
                  <a:lnTo>
                    <a:pt x="494" y="209"/>
                  </a:lnTo>
                  <a:lnTo>
                    <a:pt x="494" y="211"/>
                  </a:lnTo>
                  <a:lnTo>
                    <a:pt x="494" y="209"/>
                  </a:lnTo>
                  <a:lnTo>
                    <a:pt x="494" y="211"/>
                  </a:lnTo>
                  <a:lnTo>
                    <a:pt x="494" y="213"/>
                  </a:lnTo>
                  <a:lnTo>
                    <a:pt x="495" y="213"/>
                  </a:lnTo>
                  <a:lnTo>
                    <a:pt x="495" y="215"/>
                  </a:lnTo>
                  <a:lnTo>
                    <a:pt x="494" y="215"/>
                  </a:lnTo>
                  <a:lnTo>
                    <a:pt x="495" y="215"/>
                  </a:lnTo>
                  <a:lnTo>
                    <a:pt x="495" y="217"/>
                  </a:lnTo>
                  <a:lnTo>
                    <a:pt x="495" y="215"/>
                  </a:lnTo>
                  <a:lnTo>
                    <a:pt x="495" y="217"/>
                  </a:lnTo>
                  <a:lnTo>
                    <a:pt x="494" y="217"/>
                  </a:lnTo>
                  <a:lnTo>
                    <a:pt x="495" y="217"/>
                  </a:lnTo>
                  <a:lnTo>
                    <a:pt x="495" y="219"/>
                  </a:lnTo>
                  <a:lnTo>
                    <a:pt x="497" y="219"/>
                  </a:lnTo>
                  <a:lnTo>
                    <a:pt x="497" y="221"/>
                  </a:lnTo>
                  <a:lnTo>
                    <a:pt x="499" y="221"/>
                  </a:lnTo>
                  <a:lnTo>
                    <a:pt x="501" y="221"/>
                  </a:lnTo>
                  <a:lnTo>
                    <a:pt x="503" y="221"/>
                  </a:lnTo>
                  <a:lnTo>
                    <a:pt x="503" y="223"/>
                  </a:lnTo>
                  <a:lnTo>
                    <a:pt x="505" y="223"/>
                  </a:lnTo>
                  <a:lnTo>
                    <a:pt x="505" y="225"/>
                  </a:lnTo>
                  <a:lnTo>
                    <a:pt x="507" y="225"/>
                  </a:lnTo>
                  <a:lnTo>
                    <a:pt x="507" y="227"/>
                  </a:lnTo>
                  <a:lnTo>
                    <a:pt x="509" y="227"/>
                  </a:lnTo>
                  <a:lnTo>
                    <a:pt x="507" y="227"/>
                  </a:lnTo>
                  <a:lnTo>
                    <a:pt x="509" y="227"/>
                  </a:lnTo>
                  <a:lnTo>
                    <a:pt x="509" y="228"/>
                  </a:lnTo>
                  <a:lnTo>
                    <a:pt x="511" y="228"/>
                  </a:lnTo>
                  <a:lnTo>
                    <a:pt x="511" y="230"/>
                  </a:lnTo>
                  <a:lnTo>
                    <a:pt x="511" y="232"/>
                  </a:lnTo>
                  <a:lnTo>
                    <a:pt x="513" y="232"/>
                  </a:lnTo>
                  <a:lnTo>
                    <a:pt x="513" y="234"/>
                  </a:lnTo>
                  <a:lnTo>
                    <a:pt x="515" y="234"/>
                  </a:lnTo>
                  <a:lnTo>
                    <a:pt x="517" y="234"/>
                  </a:lnTo>
                  <a:lnTo>
                    <a:pt x="517" y="236"/>
                  </a:lnTo>
                  <a:lnTo>
                    <a:pt x="518" y="236"/>
                  </a:lnTo>
                  <a:lnTo>
                    <a:pt x="518" y="238"/>
                  </a:lnTo>
                  <a:lnTo>
                    <a:pt x="520" y="238"/>
                  </a:lnTo>
                  <a:lnTo>
                    <a:pt x="520" y="240"/>
                  </a:lnTo>
                  <a:lnTo>
                    <a:pt x="522" y="240"/>
                  </a:lnTo>
                  <a:lnTo>
                    <a:pt x="522" y="242"/>
                  </a:lnTo>
                  <a:lnTo>
                    <a:pt x="524" y="242"/>
                  </a:lnTo>
                  <a:lnTo>
                    <a:pt x="524" y="244"/>
                  </a:lnTo>
                  <a:lnTo>
                    <a:pt x="526" y="244"/>
                  </a:lnTo>
                  <a:lnTo>
                    <a:pt x="528" y="244"/>
                  </a:lnTo>
                  <a:lnTo>
                    <a:pt x="528" y="246"/>
                  </a:lnTo>
                  <a:lnTo>
                    <a:pt x="528" y="248"/>
                  </a:lnTo>
                  <a:lnTo>
                    <a:pt x="528" y="250"/>
                  </a:lnTo>
                  <a:lnTo>
                    <a:pt x="528" y="252"/>
                  </a:lnTo>
                  <a:lnTo>
                    <a:pt x="530" y="252"/>
                  </a:lnTo>
                  <a:lnTo>
                    <a:pt x="530" y="253"/>
                  </a:lnTo>
                  <a:lnTo>
                    <a:pt x="528" y="253"/>
                  </a:lnTo>
                  <a:lnTo>
                    <a:pt x="530" y="253"/>
                  </a:lnTo>
                  <a:lnTo>
                    <a:pt x="530" y="255"/>
                  </a:lnTo>
                  <a:lnTo>
                    <a:pt x="532" y="255"/>
                  </a:lnTo>
                  <a:lnTo>
                    <a:pt x="532" y="257"/>
                  </a:lnTo>
                  <a:lnTo>
                    <a:pt x="534" y="259"/>
                  </a:lnTo>
                  <a:lnTo>
                    <a:pt x="534" y="261"/>
                  </a:lnTo>
                  <a:lnTo>
                    <a:pt x="536" y="261"/>
                  </a:lnTo>
                  <a:lnTo>
                    <a:pt x="536" y="263"/>
                  </a:lnTo>
                  <a:lnTo>
                    <a:pt x="538" y="263"/>
                  </a:lnTo>
                  <a:lnTo>
                    <a:pt x="538" y="265"/>
                  </a:lnTo>
                  <a:lnTo>
                    <a:pt x="540" y="265"/>
                  </a:lnTo>
                  <a:lnTo>
                    <a:pt x="542" y="265"/>
                  </a:lnTo>
                  <a:lnTo>
                    <a:pt x="543" y="265"/>
                  </a:lnTo>
                  <a:lnTo>
                    <a:pt x="543" y="267"/>
                  </a:lnTo>
                  <a:lnTo>
                    <a:pt x="543" y="265"/>
                  </a:lnTo>
                  <a:lnTo>
                    <a:pt x="545" y="265"/>
                  </a:lnTo>
                  <a:lnTo>
                    <a:pt x="545" y="267"/>
                  </a:lnTo>
                  <a:lnTo>
                    <a:pt x="547" y="267"/>
                  </a:lnTo>
                  <a:lnTo>
                    <a:pt x="549" y="267"/>
                  </a:lnTo>
                  <a:lnTo>
                    <a:pt x="549" y="265"/>
                  </a:lnTo>
                  <a:lnTo>
                    <a:pt x="549" y="267"/>
                  </a:lnTo>
                  <a:lnTo>
                    <a:pt x="551" y="267"/>
                  </a:lnTo>
                  <a:lnTo>
                    <a:pt x="553" y="267"/>
                  </a:lnTo>
                  <a:lnTo>
                    <a:pt x="553" y="269"/>
                  </a:lnTo>
                  <a:lnTo>
                    <a:pt x="555" y="269"/>
                  </a:lnTo>
                  <a:lnTo>
                    <a:pt x="555" y="271"/>
                  </a:lnTo>
                  <a:lnTo>
                    <a:pt x="557" y="271"/>
                  </a:lnTo>
                  <a:lnTo>
                    <a:pt x="557" y="273"/>
                  </a:lnTo>
                  <a:lnTo>
                    <a:pt x="559" y="273"/>
                  </a:lnTo>
                  <a:lnTo>
                    <a:pt x="559" y="275"/>
                  </a:lnTo>
                  <a:lnTo>
                    <a:pt x="559" y="273"/>
                  </a:lnTo>
                  <a:lnTo>
                    <a:pt x="559" y="275"/>
                  </a:lnTo>
                  <a:lnTo>
                    <a:pt x="561" y="275"/>
                  </a:lnTo>
                  <a:lnTo>
                    <a:pt x="561" y="273"/>
                  </a:lnTo>
                  <a:lnTo>
                    <a:pt x="563" y="273"/>
                  </a:lnTo>
                  <a:lnTo>
                    <a:pt x="563" y="275"/>
                  </a:lnTo>
                  <a:lnTo>
                    <a:pt x="563" y="276"/>
                  </a:lnTo>
                  <a:lnTo>
                    <a:pt x="565" y="276"/>
                  </a:lnTo>
                  <a:lnTo>
                    <a:pt x="565" y="275"/>
                  </a:lnTo>
                  <a:lnTo>
                    <a:pt x="565" y="276"/>
                  </a:lnTo>
                  <a:lnTo>
                    <a:pt x="565" y="278"/>
                  </a:lnTo>
                  <a:lnTo>
                    <a:pt x="566" y="278"/>
                  </a:lnTo>
                  <a:lnTo>
                    <a:pt x="566" y="276"/>
                  </a:lnTo>
                  <a:lnTo>
                    <a:pt x="566" y="278"/>
                  </a:lnTo>
                  <a:lnTo>
                    <a:pt x="568" y="278"/>
                  </a:lnTo>
                  <a:lnTo>
                    <a:pt x="568" y="280"/>
                  </a:lnTo>
                  <a:lnTo>
                    <a:pt x="570" y="280"/>
                  </a:lnTo>
                  <a:lnTo>
                    <a:pt x="570" y="282"/>
                  </a:lnTo>
                  <a:lnTo>
                    <a:pt x="572" y="282"/>
                  </a:lnTo>
                  <a:lnTo>
                    <a:pt x="572" y="284"/>
                  </a:lnTo>
                  <a:lnTo>
                    <a:pt x="572" y="286"/>
                  </a:lnTo>
                  <a:lnTo>
                    <a:pt x="574" y="286"/>
                  </a:lnTo>
                  <a:lnTo>
                    <a:pt x="574" y="288"/>
                  </a:lnTo>
                  <a:lnTo>
                    <a:pt x="574" y="290"/>
                  </a:lnTo>
                  <a:lnTo>
                    <a:pt x="576" y="290"/>
                  </a:lnTo>
                  <a:lnTo>
                    <a:pt x="576" y="292"/>
                  </a:lnTo>
                  <a:lnTo>
                    <a:pt x="576" y="294"/>
                  </a:lnTo>
                  <a:lnTo>
                    <a:pt x="578" y="294"/>
                  </a:lnTo>
                  <a:lnTo>
                    <a:pt x="576" y="294"/>
                  </a:lnTo>
                  <a:lnTo>
                    <a:pt x="578" y="294"/>
                  </a:lnTo>
                  <a:lnTo>
                    <a:pt x="578" y="296"/>
                  </a:lnTo>
                  <a:lnTo>
                    <a:pt x="580" y="296"/>
                  </a:lnTo>
                  <a:lnTo>
                    <a:pt x="580" y="298"/>
                  </a:lnTo>
                  <a:lnTo>
                    <a:pt x="580" y="299"/>
                  </a:lnTo>
                  <a:lnTo>
                    <a:pt x="580" y="301"/>
                  </a:lnTo>
                  <a:lnTo>
                    <a:pt x="582" y="301"/>
                  </a:lnTo>
                  <a:lnTo>
                    <a:pt x="582" y="303"/>
                  </a:lnTo>
                  <a:lnTo>
                    <a:pt x="584" y="305"/>
                  </a:lnTo>
                  <a:lnTo>
                    <a:pt x="586" y="305"/>
                  </a:lnTo>
                  <a:lnTo>
                    <a:pt x="588" y="305"/>
                  </a:lnTo>
                  <a:lnTo>
                    <a:pt x="590" y="305"/>
                  </a:lnTo>
                  <a:lnTo>
                    <a:pt x="591" y="305"/>
                  </a:lnTo>
                  <a:lnTo>
                    <a:pt x="593" y="305"/>
                  </a:lnTo>
                  <a:lnTo>
                    <a:pt x="595" y="305"/>
                  </a:lnTo>
                  <a:lnTo>
                    <a:pt x="595" y="307"/>
                  </a:lnTo>
                  <a:lnTo>
                    <a:pt x="597" y="307"/>
                  </a:lnTo>
                  <a:lnTo>
                    <a:pt x="599" y="307"/>
                  </a:lnTo>
                  <a:lnTo>
                    <a:pt x="601" y="307"/>
                  </a:lnTo>
                  <a:lnTo>
                    <a:pt x="601" y="309"/>
                  </a:lnTo>
                  <a:lnTo>
                    <a:pt x="603" y="309"/>
                  </a:lnTo>
                  <a:lnTo>
                    <a:pt x="603" y="311"/>
                  </a:lnTo>
                  <a:lnTo>
                    <a:pt x="605" y="311"/>
                  </a:lnTo>
                  <a:lnTo>
                    <a:pt x="607" y="311"/>
                  </a:lnTo>
                  <a:lnTo>
                    <a:pt x="609" y="311"/>
                  </a:lnTo>
                  <a:lnTo>
                    <a:pt x="609" y="309"/>
                  </a:lnTo>
                  <a:lnTo>
                    <a:pt x="611" y="309"/>
                  </a:lnTo>
                  <a:lnTo>
                    <a:pt x="611" y="307"/>
                  </a:lnTo>
                  <a:lnTo>
                    <a:pt x="611" y="305"/>
                  </a:lnTo>
                  <a:lnTo>
                    <a:pt x="613" y="305"/>
                  </a:lnTo>
                  <a:lnTo>
                    <a:pt x="611" y="305"/>
                  </a:lnTo>
                  <a:lnTo>
                    <a:pt x="611" y="303"/>
                  </a:lnTo>
                  <a:lnTo>
                    <a:pt x="609" y="301"/>
                  </a:lnTo>
                  <a:lnTo>
                    <a:pt x="609" y="299"/>
                  </a:lnTo>
                  <a:lnTo>
                    <a:pt x="609" y="298"/>
                  </a:lnTo>
                  <a:lnTo>
                    <a:pt x="609" y="299"/>
                  </a:lnTo>
                  <a:lnTo>
                    <a:pt x="609" y="298"/>
                  </a:lnTo>
                  <a:lnTo>
                    <a:pt x="609" y="299"/>
                  </a:lnTo>
                  <a:lnTo>
                    <a:pt x="609" y="298"/>
                  </a:lnTo>
                  <a:lnTo>
                    <a:pt x="611" y="298"/>
                  </a:lnTo>
                  <a:lnTo>
                    <a:pt x="611" y="299"/>
                  </a:lnTo>
                  <a:lnTo>
                    <a:pt x="611" y="298"/>
                  </a:lnTo>
                  <a:lnTo>
                    <a:pt x="611" y="296"/>
                  </a:lnTo>
                  <a:lnTo>
                    <a:pt x="611" y="294"/>
                  </a:lnTo>
                  <a:lnTo>
                    <a:pt x="613" y="294"/>
                  </a:lnTo>
                  <a:lnTo>
                    <a:pt x="613" y="292"/>
                  </a:lnTo>
                  <a:lnTo>
                    <a:pt x="614" y="292"/>
                  </a:lnTo>
                  <a:lnTo>
                    <a:pt x="616" y="292"/>
                  </a:lnTo>
                  <a:lnTo>
                    <a:pt x="616" y="294"/>
                  </a:lnTo>
                  <a:lnTo>
                    <a:pt x="616" y="298"/>
                  </a:lnTo>
                  <a:lnTo>
                    <a:pt x="618" y="303"/>
                  </a:lnTo>
                  <a:lnTo>
                    <a:pt x="618" y="305"/>
                  </a:lnTo>
                  <a:lnTo>
                    <a:pt x="618" y="307"/>
                  </a:lnTo>
                  <a:lnTo>
                    <a:pt x="620" y="311"/>
                  </a:lnTo>
                  <a:lnTo>
                    <a:pt x="620" y="313"/>
                  </a:lnTo>
                  <a:lnTo>
                    <a:pt x="620" y="315"/>
                  </a:lnTo>
                  <a:lnTo>
                    <a:pt x="620" y="317"/>
                  </a:lnTo>
                  <a:lnTo>
                    <a:pt x="620" y="319"/>
                  </a:lnTo>
                  <a:lnTo>
                    <a:pt x="620" y="321"/>
                  </a:lnTo>
                  <a:lnTo>
                    <a:pt x="622" y="323"/>
                  </a:lnTo>
                  <a:lnTo>
                    <a:pt x="622" y="324"/>
                  </a:lnTo>
                  <a:lnTo>
                    <a:pt x="622" y="326"/>
                  </a:lnTo>
                  <a:lnTo>
                    <a:pt x="624" y="334"/>
                  </a:lnTo>
                  <a:lnTo>
                    <a:pt x="626" y="342"/>
                  </a:lnTo>
                  <a:lnTo>
                    <a:pt x="626" y="344"/>
                  </a:lnTo>
                  <a:lnTo>
                    <a:pt x="628" y="349"/>
                  </a:lnTo>
                  <a:lnTo>
                    <a:pt x="628" y="357"/>
                  </a:lnTo>
                  <a:lnTo>
                    <a:pt x="630" y="365"/>
                  </a:lnTo>
                  <a:lnTo>
                    <a:pt x="630" y="369"/>
                  </a:lnTo>
                  <a:lnTo>
                    <a:pt x="632" y="371"/>
                  </a:lnTo>
                  <a:lnTo>
                    <a:pt x="632" y="374"/>
                  </a:lnTo>
                  <a:lnTo>
                    <a:pt x="634" y="380"/>
                  </a:lnTo>
                  <a:lnTo>
                    <a:pt x="634" y="382"/>
                  </a:lnTo>
                  <a:lnTo>
                    <a:pt x="634" y="386"/>
                  </a:lnTo>
                  <a:lnTo>
                    <a:pt x="636" y="390"/>
                  </a:lnTo>
                  <a:lnTo>
                    <a:pt x="636" y="392"/>
                  </a:lnTo>
                  <a:lnTo>
                    <a:pt x="636" y="395"/>
                  </a:lnTo>
                  <a:lnTo>
                    <a:pt x="636" y="397"/>
                  </a:lnTo>
                  <a:lnTo>
                    <a:pt x="636" y="399"/>
                  </a:lnTo>
                  <a:lnTo>
                    <a:pt x="638" y="399"/>
                  </a:lnTo>
                  <a:lnTo>
                    <a:pt x="638" y="401"/>
                  </a:lnTo>
                  <a:lnTo>
                    <a:pt x="638" y="407"/>
                  </a:lnTo>
                  <a:lnTo>
                    <a:pt x="639" y="411"/>
                  </a:lnTo>
                  <a:lnTo>
                    <a:pt x="639" y="413"/>
                  </a:lnTo>
                  <a:lnTo>
                    <a:pt x="639" y="415"/>
                  </a:lnTo>
                  <a:lnTo>
                    <a:pt x="639" y="417"/>
                  </a:lnTo>
                  <a:lnTo>
                    <a:pt x="639" y="419"/>
                  </a:lnTo>
                  <a:lnTo>
                    <a:pt x="641" y="422"/>
                  </a:lnTo>
                  <a:lnTo>
                    <a:pt x="641" y="424"/>
                  </a:lnTo>
                  <a:lnTo>
                    <a:pt x="641" y="426"/>
                  </a:lnTo>
                  <a:lnTo>
                    <a:pt x="643" y="430"/>
                  </a:lnTo>
                  <a:lnTo>
                    <a:pt x="643" y="432"/>
                  </a:lnTo>
                  <a:lnTo>
                    <a:pt x="643" y="434"/>
                  </a:lnTo>
                  <a:lnTo>
                    <a:pt x="643" y="436"/>
                  </a:lnTo>
                  <a:lnTo>
                    <a:pt x="645" y="442"/>
                  </a:lnTo>
                  <a:lnTo>
                    <a:pt x="645" y="443"/>
                  </a:lnTo>
                  <a:lnTo>
                    <a:pt x="645" y="445"/>
                  </a:lnTo>
                  <a:lnTo>
                    <a:pt x="645" y="447"/>
                  </a:lnTo>
                  <a:lnTo>
                    <a:pt x="647" y="449"/>
                  </a:lnTo>
                  <a:lnTo>
                    <a:pt x="647" y="451"/>
                  </a:lnTo>
                  <a:lnTo>
                    <a:pt x="647" y="455"/>
                  </a:lnTo>
                  <a:lnTo>
                    <a:pt x="647" y="457"/>
                  </a:lnTo>
                  <a:lnTo>
                    <a:pt x="649" y="457"/>
                  </a:lnTo>
                  <a:lnTo>
                    <a:pt x="649" y="459"/>
                  </a:lnTo>
                  <a:lnTo>
                    <a:pt x="649" y="461"/>
                  </a:lnTo>
                  <a:lnTo>
                    <a:pt x="649" y="463"/>
                  </a:lnTo>
                  <a:lnTo>
                    <a:pt x="649" y="465"/>
                  </a:lnTo>
                  <a:lnTo>
                    <a:pt x="651" y="467"/>
                  </a:lnTo>
                  <a:lnTo>
                    <a:pt x="651" y="468"/>
                  </a:lnTo>
                  <a:lnTo>
                    <a:pt x="651" y="470"/>
                  </a:lnTo>
                  <a:lnTo>
                    <a:pt x="651" y="472"/>
                  </a:lnTo>
                  <a:lnTo>
                    <a:pt x="651" y="474"/>
                  </a:lnTo>
                  <a:lnTo>
                    <a:pt x="651" y="476"/>
                  </a:lnTo>
                  <a:lnTo>
                    <a:pt x="653" y="476"/>
                  </a:lnTo>
                  <a:lnTo>
                    <a:pt x="653" y="478"/>
                  </a:lnTo>
                  <a:lnTo>
                    <a:pt x="653" y="480"/>
                  </a:lnTo>
                  <a:lnTo>
                    <a:pt x="653" y="482"/>
                  </a:lnTo>
                  <a:lnTo>
                    <a:pt x="653" y="484"/>
                  </a:lnTo>
                  <a:lnTo>
                    <a:pt x="653" y="486"/>
                  </a:lnTo>
                  <a:lnTo>
                    <a:pt x="655" y="486"/>
                  </a:lnTo>
                  <a:lnTo>
                    <a:pt x="655" y="488"/>
                  </a:lnTo>
                  <a:lnTo>
                    <a:pt x="655" y="490"/>
                  </a:lnTo>
                  <a:lnTo>
                    <a:pt x="655" y="491"/>
                  </a:lnTo>
                  <a:lnTo>
                    <a:pt x="655" y="493"/>
                  </a:lnTo>
                  <a:lnTo>
                    <a:pt x="655" y="495"/>
                  </a:lnTo>
                  <a:lnTo>
                    <a:pt x="657" y="497"/>
                  </a:lnTo>
                  <a:lnTo>
                    <a:pt x="657" y="499"/>
                  </a:lnTo>
                  <a:lnTo>
                    <a:pt x="657" y="501"/>
                  </a:lnTo>
                  <a:lnTo>
                    <a:pt x="657" y="503"/>
                  </a:lnTo>
                  <a:lnTo>
                    <a:pt x="657" y="505"/>
                  </a:lnTo>
                  <a:lnTo>
                    <a:pt x="659" y="507"/>
                  </a:lnTo>
                  <a:lnTo>
                    <a:pt x="659" y="509"/>
                  </a:lnTo>
                  <a:lnTo>
                    <a:pt x="659" y="511"/>
                  </a:lnTo>
                  <a:lnTo>
                    <a:pt x="659" y="513"/>
                  </a:lnTo>
                  <a:lnTo>
                    <a:pt x="659" y="515"/>
                  </a:lnTo>
                  <a:lnTo>
                    <a:pt x="659" y="516"/>
                  </a:lnTo>
                  <a:lnTo>
                    <a:pt x="661" y="516"/>
                  </a:lnTo>
                  <a:lnTo>
                    <a:pt x="661" y="518"/>
                  </a:lnTo>
                  <a:lnTo>
                    <a:pt x="661" y="520"/>
                  </a:lnTo>
                  <a:lnTo>
                    <a:pt x="661" y="522"/>
                  </a:lnTo>
                  <a:lnTo>
                    <a:pt x="661" y="524"/>
                  </a:lnTo>
                  <a:lnTo>
                    <a:pt x="661" y="526"/>
                  </a:lnTo>
                  <a:lnTo>
                    <a:pt x="662" y="526"/>
                  </a:lnTo>
                  <a:lnTo>
                    <a:pt x="662" y="528"/>
                  </a:lnTo>
                  <a:lnTo>
                    <a:pt x="662" y="530"/>
                  </a:lnTo>
                  <a:lnTo>
                    <a:pt x="662" y="532"/>
                  </a:lnTo>
                  <a:lnTo>
                    <a:pt x="662" y="534"/>
                  </a:lnTo>
                  <a:lnTo>
                    <a:pt x="662" y="536"/>
                  </a:lnTo>
                  <a:lnTo>
                    <a:pt x="662" y="538"/>
                  </a:lnTo>
                  <a:lnTo>
                    <a:pt x="661" y="539"/>
                  </a:lnTo>
                  <a:lnTo>
                    <a:pt x="661" y="541"/>
                  </a:lnTo>
                  <a:lnTo>
                    <a:pt x="662" y="541"/>
                  </a:lnTo>
                  <a:lnTo>
                    <a:pt x="662" y="543"/>
                  </a:lnTo>
                  <a:lnTo>
                    <a:pt x="664" y="543"/>
                  </a:lnTo>
                  <a:lnTo>
                    <a:pt x="664" y="545"/>
                  </a:lnTo>
                  <a:lnTo>
                    <a:pt x="666" y="545"/>
                  </a:lnTo>
                  <a:lnTo>
                    <a:pt x="666" y="547"/>
                  </a:lnTo>
                  <a:lnTo>
                    <a:pt x="668" y="547"/>
                  </a:lnTo>
                  <a:lnTo>
                    <a:pt x="668" y="549"/>
                  </a:lnTo>
                  <a:lnTo>
                    <a:pt x="670" y="549"/>
                  </a:lnTo>
                  <a:lnTo>
                    <a:pt x="670" y="551"/>
                  </a:lnTo>
                  <a:lnTo>
                    <a:pt x="670" y="553"/>
                  </a:lnTo>
                  <a:lnTo>
                    <a:pt x="670" y="555"/>
                  </a:lnTo>
                  <a:lnTo>
                    <a:pt x="670" y="557"/>
                  </a:lnTo>
                  <a:lnTo>
                    <a:pt x="672" y="557"/>
                  </a:lnTo>
                  <a:lnTo>
                    <a:pt x="672" y="559"/>
                  </a:lnTo>
                  <a:lnTo>
                    <a:pt x="672" y="561"/>
                  </a:lnTo>
                  <a:lnTo>
                    <a:pt x="672" y="563"/>
                  </a:lnTo>
                  <a:lnTo>
                    <a:pt x="674" y="563"/>
                  </a:lnTo>
                  <a:lnTo>
                    <a:pt x="676" y="564"/>
                  </a:lnTo>
                  <a:lnTo>
                    <a:pt x="678" y="564"/>
                  </a:lnTo>
                  <a:lnTo>
                    <a:pt x="678" y="566"/>
                  </a:lnTo>
                  <a:lnTo>
                    <a:pt x="678" y="568"/>
                  </a:lnTo>
                  <a:lnTo>
                    <a:pt x="680" y="570"/>
                  </a:lnTo>
                  <a:lnTo>
                    <a:pt x="682" y="572"/>
                  </a:lnTo>
                  <a:lnTo>
                    <a:pt x="684" y="572"/>
                  </a:lnTo>
                  <a:lnTo>
                    <a:pt x="684" y="574"/>
                  </a:lnTo>
                  <a:lnTo>
                    <a:pt x="686" y="574"/>
                  </a:lnTo>
                  <a:lnTo>
                    <a:pt x="687" y="574"/>
                  </a:lnTo>
                  <a:lnTo>
                    <a:pt x="687" y="576"/>
                  </a:lnTo>
                  <a:lnTo>
                    <a:pt x="689" y="578"/>
                  </a:lnTo>
                  <a:lnTo>
                    <a:pt x="689" y="580"/>
                  </a:lnTo>
                  <a:lnTo>
                    <a:pt x="691" y="580"/>
                  </a:lnTo>
                  <a:lnTo>
                    <a:pt x="691" y="582"/>
                  </a:lnTo>
                  <a:lnTo>
                    <a:pt x="691" y="584"/>
                  </a:lnTo>
                  <a:lnTo>
                    <a:pt x="693" y="584"/>
                  </a:lnTo>
                  <a:lnTo>
                    <a:pt x="695" y="586"/>
                  </a:lnTo>
                  <a:lnTo>
                    <a:pt x="697" y="587"/>
                  </a:lnTo>
                  <a:lnTo>
                    <a:pt x="697" y="589"/>
                  </a:lnTo>
                  <a:lnTo>
                    <a:pt x="699" y="591"/>
                  </a:lnTo>
                  <a:lnTo>
                    <a:pt x="701" y="591"/>
                  </a:lnTo>
                  <a:lnTo>
                    <a:pt x="701" y="593"/>
                  </a:lnTo>
                  <a:lnTo>
                    <a:pt x="703" y="593"/>
                  </a:lnTo>
                  <a:lnTo>
                    <a:pt x="703" y="595"/>
                  </a:lnTo>
                  <a:lnTo>
                    <a:pt x="705" y="595"/>
                  </a:lnTo>
                  <a:lnTo>
                    <a:pt x="707" y="595"/>
                  </a:lnTo>
                  <a:lnTo>
                    <a:pt x="707" y="597"/>
                  </a:lnTo>
                  <a:lnTo>
                    <a:pt x="709" y="597"/>
                  </a:lnTo>
                  <a:lnTo>
                    <a:pt x="710" y="597"/>
                  </a:lnTo>
                  <a:lnTo>
                    <a:pt x="710" y="599"/>
                  </a:lnTo>
                  <a:lnTo>
                    <a:pt x="712" y="599"/>
                  </a:lnTo>
                  <a:lnTo>
                    <a:pt x="712" y="601"/>
                  </a:lnTo>
                  <a:lnTo>
                    <a:pt x="714" y="603"/>
                  </a:lnTo>
                  <a:lnTo>
                    <a:pt x="714" y="601"/>
                  </a:lnTo>
                  <a:lnTo>
                    <a:pt x="716" y="601"/>
                  </a:lnTo>
                  <a:lnTo>
                    <a:pt x="718" y="601"/>
                  </a:lnTo>
                  <a:lnTo>
                    <a:pt x="720" y="601"/>
                  </a:lnTo>
                  <a:lnTo>
                    <a:pt x="722" y="601"/>
                  </a:lnTo>
                  <a:lnTo>
                    <a:pt x="724" y="601"/>
                  </a:lnTo>
                  <a:lnTo>
                    <a:pt x="726" y="601"/>
                  </a:lnTo>
                  <a:lnTo>
                    <a:pt x="728" y="601"/>
                  </a:lnTo>
                  <a:lnTo>
                    <a:pt x="730" y="601"/>
                  </a:lnTo>
                  <a:lnTo>
                    <a:pt x="730" y="603"/>
                  </a:lnTo>
                  <a:lnTo>
                    <a:pt x="732" y="603"/>
                  </a:lnTo>
                  <a:lnTo>
                    <a:pt x="732" y="601"/>
                  </a:lnTo>
                  <a:lnTo>
                    <a:pt x="734" y="601"/>
                  </a:lnTo>
                  <a:lnTo>
                    <a:pt x="735" y="601"/>
                  </a:lnTo>
                  <a:lnTo>
                    <a:pt x="737" y="599"/>
                  </a:lnTo>
                  <a:lnTo>
                    <a:pt x="739" y="599"/>
                  </a:lnTo>
                  <a:lnTo>
                    <a:pt x="739" y="601"/>
                  </a:lnTo>
                  <a:lnTo>
                    <a:pt x="741" y="601"/>
                  </a:lnTo>
                  <a:lnTo>
                    <a:pt x="743" y="601"/>
                  </a:lnTo>
                  <a:lnTo>
                    <a:pt x="745" y="601"/>
                  </a:lnTo>
                  <a:lnTo>
                    <a:pt x="745" y="599"/>
                  </a:lnTo>
                  <a:lnTo>
                    <a:pt x="745" y="601"/>
                  </a:lnTo>
                  <a:lnTo>
                    <a:pt x="747" y="601"/>
                  </a:lnTo>
                  <a:lnTo>
                    <a:pt x="749" y="601"/>
                  </a:lnTo>
                  <a:lnTo>
                    <a:pt x="751" y="601"/>
                  </a:lnTo>
                  <a:lnTo>
                    <a:pt x="753" y="601"/>
                  </a:lnTo>
                  <a:lnTo>
                    <a:pt x="755" y="601"/>
                  </a:lnTo>
                  <a:lnTo>
                    <a:pt x="757" y="601"/>
                  </a:lnTo>
                  <a:lnTo>
                    <a:pt x="759" y="601"/>
                  </a:lnTo>
                  <a:lnTo>
                    <a:pt x="759" y="599"/>
                  </a:lnTo>
                  <a:lnTo>
                    <a:pt x="760" y="601"/>
                  </a:lnTo>
                  <a:lnTo>
                    <a:pt x="762" y="601"/>
                  </a:lnTo>
                  <a:lnTo>
                    <a:pt x="764" y="601"/>
                  </a:lnTo>
                  <a:lnTo>
                    <a:pt x="766" y="601"/>
                  </a:lnTo>
                  <a:lnTo>
                    <a:pt x="766" y="603"/>
                  </a:lnTo>
                  <a:lnTo>
                    <a:pt x="768" y="603"/>
                  </a:lnTo>
                  <a:lnTo>
                    <a:pt x="770" y="603"/>
                  </a:lnTo>
                  <a:lnTo>
                    <a:pt x="770" y="605"/>
                  </a:lnTo>
                  <a:lnTo>
                    <a:pt x="772" y="605"/>
                  </a:lnTo>
                  <a:lnTo>
                    <a:pt x="774" y="605"/>
                  </a:lnTo>
                  <a:lnTo>
                    <a:pt x="776" y="605"/>
                  </a:lnTo>
                  <a:lnTo>
                    <a:pt x="776" y="607"/>
                  </a:lnTo>
                  <a:lnTo>
                    <a:pt x="778" y="607"/>
                  </a:lnTo>
                  <a:lnTo>
                    <a:pt x="780" y="607"/>
                  </a:lnTo>
                  <a:lnTo>
                    <a:pt x="780" y="609"/>
                  </a:lnTo>
                  <a:lnTo>
                    <a:pt x="780" y="611"/>
                  </a:lnTo>
                  <a:lnTo>
                    <a:pt x="780" y="612"/>
                  </a:lnTo>
                  <a:lnTo>
                    <a:pt x="782" y="612"/>
                  </a:lnTo>
                  <a:lnTo>
                    <a:pt x="783" y="612"/>
                  </a:lnTo>
                  <a:lnTo>
                    <a:pt x="783" y="614"/>
                  </a:lnTo>
                  <a:lnTo>
                    <a:pt x="785" y="614"/>
                  </a:lnTo>
                  <a:lnTo>
                    <a:pt x="785" y="616"/>
                  </a:lnTo>
                  <a:lnTo>
                    <a:pt x="787" y="616"/>
                  </a:lnTo>
                  <a:lnTo>
                    <a:pt x="789" y="616"/>
                  </a:lnTo>
                  <a:lnTo>
                    <a:pt x="791" y="616"/>
                  </a:lnTo>
                  <a:lnTo>
                    <a:pt x="791" y="618"/>
                  </a:lnTo>
                  <a:lnTo>
                    <a:pt x="793" y="618"/>
                  </a:lnTo>
                  <a:lnTo>
                    <a:pt x="795" y="618"/>
                  </a:lnTo>
                  <a:lnTo>
                    <a:pt x="797" y="618"/>
                  </a:lnTo>
                  <a:lnTo>
                    <a:pt x="799" y="616"/>
                  </a:lnTo>
                  <a:lnTo>
                    <a:pt x="797" y="616"/>
                  </a:lnTo>
                  <a:lnTo>
                    <a:pt x="797" y="614"/>
                  </a:lnTo>
                  <a:lnTo>
                    <a:pt x="797" y="612"/>
                  </a:lnTo>
                  <a:lnTo>
                    <a:pt x="797" y="611"/>
                  </a:lnTo>
                  <a:lnTo>
                    <a:pt x="799" y="611"/>
                  </a:lnTo>
                  <a:lnTo>
                    <a:pt x="801" y="611"/>
                  </a:lnTo>
                  <a:lnTo>
                    <a:pt x="803" y="611"/>
                  </a:lnTo>
                  <a:lnTo>
                    <a:pt x="803" y="612"/>
                  </a:lnTo>
                  <a:lnTo>
                    <a:pt x="805" y="612"/>
                  </a:lnTo>
                  <a:lnTo>
                    <a:pt x="805" y="614"/>
                  </a:lnTo>
                  <a:lnTo>
                    <a:pt x="805" y="616"/>
                  </a:lnTo>
                  <a:lnTo>
                    <a:pt x="805" y="618"/>
                  </a:lnTo>
                  <a:lnTo>
                    <a:pt x="805" y="620"/>
                  </a:lnTo>
                  <a:lnTo>
                    <a:pt x="807" y="620"/>
                  </a:lnTo>
                  <a:lnTo>
                    <a:pt x="808" y="620"/>
                  </a:lnTo>
                  <a:lnTo>
                    <a:pt x="808" y="622"/>
                  </a:lnTo>
                  <a:lnTo>
                    <a:pt x="810" y="622"/>
                  </a:lnTo>
                  <a:lnTo>
                    <a:pt x="808" y="622"/>
                  </a:lnTo>
                  <a:lnTo>
                    <a:pt x="808" y="624"/>
                  </a:lnTo>
                  <a:lnTo>
                    <a:pt x="810" y="624"/>
                  </a:lnTo>
                  <a:lnTo>
                    <a:pt x="810" y="626"/>
                  </a:lnTo>
                  <a:lnTo>
                    <a:pt x="812" y="626"/>
                  </a:lnTo>
                  <a:lnTo>
                    <a:pt x="812" y="628"/>
                  </a:lnTo>
                  <a:lnTo>
                    <a:pt x="812" y="630"/>
                  </a:lnTo>
                  <a:lnTo>
                    <a:pt x="814" y="630"/>
                  </a:lnTo>
                  <a:lnTo>
                    <a:pt x="816" y="630"/>
                  </a:lnTo>
                  <a:lnTo>
                    <a:pt x="818" y="630"/>
                  </a:lnTo>
                  <a:lnTo>
                    <a:pt x="820" y="630"/>
                  </a:lnTo>
                  <a:lnTo>
                    <a:pt x="822" y="630"/>
                  </a:lnTo>
                  <a:lnTo>
                    <a:pt x="822" y="632"/>
                  </a:lnTo>
                  <a:lnTo>
                    <a:pt x="824" y="632"/>
                  </a:lnTo>
                  <a:lnTo>
                    <a:pt x="826" y="632"/>
                  </a:lnTo>
                  <a:lnTo>
                    <a:pt x="828" y="632"/>
                  </a:lnTo>
                  <a:lnTo>
                    <a:pt x="830" y="632"/>
                  </a:lnTo>
                  <a:lnTo>
                    <a:pt x="831" y="632"/>
                  </a:lnTo>
                  <a:lnTo>
                    <a:pt x="831" y="630"/>
                  </a:lnTo>
                  <a:lnTo>
                    <a:pt x="833" y="630"/>
                  </a:lnTo>
                  <a:lnTo>
                    <a:pt x="831" y="630"/>
                  </a:lnTo>
                  <a:lnTo>
                    <a:pt x="831" y="628"/>
                  </a:lnTo>
                  <a:lnTo>
                    <a:pt x="833" y="628"/>
                  </a:lnTo>
                  <a:lnTo>
                    <a:pt x="833" y="626"/>
                  </a:lnTo>
                  <a:lnTo>
                    <a:pt x="835" y="626"/>
                  </a:lnTo>
                  <a:lnTo>
                    <a:pt x="837" y="626"/>
                  </a:lnTo>
                  <a:lnTo>
                    <a:pt x="839" y="626"/>
                  </a:lnTo>
                  <a:lnTo>
                    <a:pt x="841" y="626"/>
                  </a:lnTo>
                  <a:lnTo>
                    <a:pt x="843" y="626"/>
                  </a:lnTo>
                  <a:lnTo>
                    <a:pt x="843" y="628"/>
                  </a:lnTo>
                  <a:lnTo>
                    <a:pt x="845" y="628"/>
                  </a:lnTo>
                  <a:lnTo>
                    <a:pt x="847" y="630"/>
                  </a:lnTo>
                  <a:lnTo>
                    <a:pt x="849" y="630"/>
                  </a:lnTo>
                  <a:lnTo>
                    <a:pt x="849" y="632"/>
                  </a:lnTo>
                  <a:lnTo>
                    <a:pt x="851" y="632"/>
                  </a:lnTo>
                  <a:lnTo>
                    <a:pt x="853" y="632"/>
                  </a:lnTo>
                  <a:lnTo>
                    <a:pt x="853" y="630"/>
                  </a:lnTo>
                  <a:lnTo>
                    <a:pt x="855" y="630"/>
                  </a:lnTo>
                  <a:lnTo>
                    <a:pt x="855" y="628"/>
                  </a:lnTo>
                  <a:lnTo>
                    <a:pt x="856" y="628"/>
                  </a:lnTo>
                  <a:lnTo>
                    <a:pt x="856" y="626"/>
                  </a:lnTo>
                  <a:lnTo>
                    <a:pt x="856" y="624"/>
                  </a:lnTo>
                  <a:lnTo>
                    <a:pt x="858" y="624"/>
                  </a:lnTo>
                  <a:lnTo>
                    <a:pt x="860" y="624"/>
                  </a:lnTo>
                  <a:lnTo>
                    <a:pt x="860" y="622"/>
                  </a:lnTo>
                  <a:lnTo>
                    <a:pt x="862" y="622"/>
                  </a:lnTo>
                  <a:lnTo>
                    <a:pt x="862" y="620"/>
                  </a:lnTo>
                  <a:lnTo>
                    <a:pt x="864" y="620"/>
                  </a:lnTo>
                  <a:lnTo>
                    <a:pt x="864" y="618"/>
                  </a:lnTo>
                  <a:lnTo>
                    <a:pt x="866" y="618"/>
                  </a:lnTo>
                  <a:lnTo>
                    <a:pt x="868" y="618"/>
                  </a:lnTo>
                  <a:lnTo>
                    <a:pt x="868" y="616"/>
                  </a:lnTo>
                  <a:lnTo>
                    <a:pt x="870" y="616"/>
                  </a:lnTo>
                  <a:lnTo>
                    <a:pt x="872" y="616"/>
                  </a:lnTo>
                  <a:lnTo>
                    <a:pt x="872" y="614"/>
                  </a:lnTo>
                  <a:lnTo>
                    <a:pt x="872" y="612"/>
                  </a:lnTo>
                  <a:lnTo>
                    <a:pt x="874" y="612"/>
                  </a:lnTo>
                  <a:lnTo>
                    <a:pt x="876" y="612"/>
                  </a:lnTo>
                  <a:lnTo>
                    <a:pt x="876" y="611"/>
                  </a:lnTo>
                  <a:lnTo>
                    <a:pt x="876" y="612"/>
                  </a:lnTo>
                  <a:lnTo>
                    <a:pt x="878" y="612"/>
                  </a:lnTo>
                  <a:lnTo>
                    <a:pt x="878" y="611"/>
                  </a:lnTo>
                  <a:lnTo>
                    <a:pt x="879" y="611"/>
                  </a:lnTo>
                  <a:lnTo>
                    <a:pt x="881" y="611"/>
                  </a:lnTo>
                  <a:lnTo>
                    <a:pt x="881" y="609"/>
                  </a:lnTo>
                  <a:lnTo>
                    <a:pt x="883" y="609"/>
                  </a:lnTo>
                  <a:lnTo>
                    <a:pt x="885" y="607"/>
                  </a:lnTo>
                  <a:lnTo>
                    <a:pt x="885" y="605"/>
                  </a:lnTo>
                  <a:lnTo>
                    <a:pt x="887" y="605"/>
                  </a:lnTo>
                  <a:lnTo>
                    <a:pt x="889" y="605"/>
                  </a:lnTo>
                  <a:lnTo>
                    <a:pt x="891" y="605"/>
                  </a:lnTo>
                  <a:lnTo>
                    <a:pt x="891" y="603"/>
                  </a:lnTo>
                  <a:lnTo>
                    <a:pt x="893" y="603"/>
                  </a:lnTo>
                  <a:lnTo>
                    <a:pt x="895" y="603"/>
                  </a:lnTo>
                  <a:lnTo>
                    <a:pt x="897" y="603"/>
                  </a:lnTo>
                  <a:lnTo>
                    <a:pt x="899" y="603"/>
                  </a:lnTo>
                  <a:lnTo>
                    <a:pt x="899" y="601"/>
                  </a:lnTo>
                  <a:lnTo>
                    <a:pt x="901" y="601"/>
                  </a:lnTo>
                  <a:lnTo>
                    <a:pt x="901" y="603"/>
                  </a:lnTo>
                  <a:lnTo>
                    <a:pt x="903" y="603"/>
                  </a:lnTo>
                  <a:lnTo>
                    <a:pt x="904" y="603"/>
                  </a:lnTo>
                  <a:lnTo>
                    <a:pt x="906" y="603"/>
                  </a:lnTo>
                  <a:lnTo>
                    <a:pt x="908" y="603"/>
                  </a:lnTo>
                  <a:lnTo>
                    <a:pt x="910" y="603"/>
                  </a:lnTo>
                  <a:lnTo>
                    <a:pt x="912" y="603"/>
                  </a:lnTo>
                  <a:lnTo>
                    <a:pt x="912" y="605"/>
                  </a:lnTo>
                  <a:lnTo>
                    <a:pt x="912" y="607"/>
                  </a:lnTo>
                  <a:lnTo>
                    <a:pt x="912" y="609"/>
                  </a:lnTo>
                  <a:lnTo>
                    <a:pt x="912" y="611"/>
                  </a:lnTo>
                  <a:lnTo>
                    <a:pt x="912" y="612"/>
                  </a:lnTo>
                  <a:lnTo>
                    <a:pt x="912" y="614"/>
                  </a:lnTo>
                  <a:lnTo>
                    <a:pt x="912" y="616"/>
                  </a:lnTo>
                  <a:lnTo>
                    <a:pt x="912" y="618"/>
                  </a:lnTo>
                  <a:lnTo>
                    <a:pt x="912" y="620"/>
                  </a:lnTo>
                  <a:lnTo>
                    <a:pt x="914" y="620"/>
                  </a:lnTo>
                  <a:lnTo>
                    <a:pt x="914" y="622"/>
                  </a:lnTo>
                  <a:lnTo>
                    <a:pt x="916" y="622"/>
                  </a:lnTo>
                  <a:lnTo>
                    <a:pt x="918" y="624"/>
                  </a:lnTo>
                  <a:lnTo>
                    <a:pt x="920" y="624"/>
                  </a:lnTo>
                  <a:lnTo>
                    <a:pt x="920" y="626"/>
                  </a:lnTo>
                  <a:lnTo>
                    <a:pt x="918" y="626"/>
                  </a:lnTo>
                  <a:lnTo>
                    <a:pt x="918" y="628"/>
                  </a:lnTo>
                  <a:lnTo>
                    <a:pt x="916" y="628"/>
                  </a:lnTo>
                  <a:lnTo>
                    <a:pt x="918" y="628"/>
                  </a:lnTo>
                  <a:lnTo>
                    <a:pt x="916" y="628"/>
                  </a:lnTo>
                  <a:lnTo>
                    <a:pt x="916" y="630"/>
                  </a:lnTo>
                  <a:lnTo>
                    <a:pt x="916" y="628"/>
                  </a:lnTo>
                  <a:lnTo>
                    <a:pt x="916" y="630"/>
                  </a:lnTo>
                  <a:lnTo>
                    <a:pt x="914" y="630"/>
                  </a:lnTo>
                  <a:lnTo>
                    <a:pt x="916" y="630"/>
                  </a:lnTo>
                  <a:lnTo>
                    <a:pt x="914" y="630"/>
                  </a:lnTo>
                  <a:lnTo>
                    <a:pt x="914" y="632"/>
                  </a:lnTo>
                  <a:lnTo>
                    <a:pt x="914" y="634"/>
                  </a:lnTo>
                  <a:lnTo>
                    <a:pt x="914" y="632"/>
                  </a:lnTo>
                  <a:lnTo>
                    <a:pt x="914" y="634"/>
                  </a:lnTo>
                  <a:lnTo>
                    <a:pt x="914" y="635"/>
                  </a:lnTo>
                  <a:lnTo>
                    <a:pt x="914" y="634"/>
                  </a:lnTo>
                  <a:lnTo>
                    <a:pt x="914" y="635"/>
                  </a:lnTo>
                  <a:lnTo>
                    <a:pt x="912" y="635"/>
                  </a:lnTo>
                  <a:lnTo>
                    <a:pt x="912" y="637"/>
                  </a:lnTo>
                  <a:lnTo>
                    <a:pt x="910" y="637"/>
                  </a:lnTo>
                  <a:lnTo>
                    <a:pt x="910" y="639"/>
                  </a:lnTo>
                  <a:lnTo>
                    <a:pt x="908" y="639"/>
                  </a:lnTo>
                  <a:lnTo>
                    <a:pt x="908" y="641"/>
                  </a:lnTo>
                  <a:lnTo>
                    <a:pt x="906" y="641"/>
                  </a:lnTo>
                  <a:lnTo>
                    <a:pt x="904" y="641"/>
                  </a:lnTo>
                  <a:lnTo>
                    <a:pt x="903" y="641"/>
                  </a:lnTo>
                  <a:lnTo>
                    <a:pt x="901" y="641"/>
                  </a:lnTo>
                  <a:lnTo>
                    <a:pt x="899" y="641"/>
                  </a:lnTo>
                  <a:lnTo>
                    <a:pt x="899" y="643"/>
                  </a:lnTo>
                  <a:lnTo>
                    <a:pt x="899" y="641"/>
                  </a:lnTo>
                  <a:lnTo>
                    <a:pt x="899" y="643"/>
                  </a:lnTo>
                  <a:lnTo>
                    <a:pt x="897" y="643"/>
                  </a:lnTo>
                  <a:lnTo>
                    <a:pt x="895" y="643"/>
                  </a:lnTo>
                  <a:lnTo>
                    <a:pt x="895" y="645"/>
                  </a:lnTo>
                  <a:lnTo>
                    <a:pt x="895" y="643"/>
                  </a:lnTo>
                  <a:lnTo>
                    <a:pt x="895" y="645"/>
                  </a:lnTo>
                  <a:lnTo>
                    <a:pt x="897" y="645"/>
                  </a:lnTo>
                  <a:lnTo>
                    <a:pt x="897" y="643"/>
                  </a:lnTo>
                  <a:lnTo>
                    <a:pt x="897" y="645"/>
                  </a:lnTo>
                  <a:lnTo>
                    <a:pt x="895" y="645"/>
                  </a:lnTo>
                  <a:lnTo>
                    <a:pt x="895" y="647"/>
                  </a:lnTo>
                  <a:lnTo>
                    <a:pt x="895" y="645"/>
                  </a:lnTo>
                  <a:lnTo>
                    <a:pt x="895" y="647"/>
                  </a:lnTo>
                  <a:lnTo>
                    <a:pt x="895" y="645"/>
                  </a:lnTo>
                  <a:lnTo>
                    <a:pt x="895" y="647"/>
                  </a:lnTo>
                  <a:lnTo>
                    <a:pt x="893" y="647"/>
                  </a:lnTo>
                  <a:lnTo>
                    <a:pt x="895" y="647"/>
                  </a:lnTo>
                  <a:lnTo>
                    <a:pt x="895" y="649"/>
                  </a:lnTo>
                  <a:lnTo>
                    <a:pt x="895" y="647"/>
                  </a:lnTo>
                  <a:lnTo>
                    <a:pt x="895" y="649"/>
                  </a:lnTo>
                  <a:lnTo>
                    <a:pt x="893" y="649"/>
                  </a:lnTo>
                  <a:lnTo>
                    <a:pt x="893" y="647"/>
                  </a:lnTo>
                  <a:lnTo>
                    <a:pt x="893" y="649"/>
                  </a:lnTo>
                  <a:lnTo>
                    <a:pt x="893" y="651"/>
                  </a:lnTo>
                  <a:lnTo>
                    <a:pt x="891" y="651"/>
                  </a:lnTo>
                  <a:lnTo>
                    <a:pt x="891" y="649"/>
                  </a:lnTo>
                  <a:lnTo>
                    <a:pt x="891" y="651"/>
                  </a:lnTo>
                  <a:lnTo>
                    <a:pt x="889" y="651"/>
                  </a:lnTo>
                  <a:lnTo>
                    <a:pt x="891" y="651"/>
                  </a:lnTo>
                  <a:lnTo>
                    <a:pt x="889" y="651"/>
                  </a:lnTo>
                  <a:lnTo>
                    <a:pt x="891" y="651"/>
                  </a:lnTo>
                  <a:lnTo>
                    <a:pt x="889" y="651"/>
                  </a:lnTo>
                  <a:lnTo>
                    <a:pt x="891" y="651"/>
                  </a:lnTo>
                  <a:lnTo>
                    <a:pt x="889" y="651"/>
                  </a:lnTo>
                  <a:lnTo>
                    <a:pt x="889" y="653"/>
                  </a:lnTo>
                  <a:lnTo>
                    <a:pt x="889" y="655"/>
                  </a:lnTo>
                  <a:lnTo>
                    <a:pt x="887" y="655"/>
                  </a:lnTo>
                  <a:lnTo>
                    <a:pt x="887" y="657"/>
                  </a:lnTo>
                  <a:lnTo>
                    <a:pt x="885" y="657"/>
                  </a:lnTo>
                  <a:lnTo>
                    <a:pt x="885" y="659"/>
                  </a:lnTo>
                  <a:lnTo>
                    <a:pt x="883" y="659"/>
                  </a:lnTo>
                  <a:lnTo>
                    <a:pt x="883" y="657"/>
                  </a:lnTo>
                  <a:lnTo>
                    <a:pt x="883" y="659"/>
                  </a:lnTo>
                  <a:lnTo>
                    <a:pt x="883" y="657"/>
                  </a:lnTo>
                  <a:lnTo>
                    <a:pt x="883" y="659"/>
                  </a:lnTo>
                  <a:lnTo>
                    <a:pt x="883" y="660"/>
                  </a:lnTo>
                  <a:lnTo>
                    <a:pt x="881" y="660"/>
                  </a:lnTo>
                  <a:lnTo>
                    <a:pt x="883" y="660"/>
                  </a:lnTo>
                  <a:lnTo>
                    <a:pt x="881" y="660"/>
                  </a:lnTo>
                  <a:lnTo>
                    <a:pt x="883" y="660"/>
                  </a:lnTo>
                  <a:lnTo>
                    <a:pt x="881" y="660"/>
                  </a:lnTo>
                  <a:lnTo>
                    <a:pt x="881" y="662"/>
                  </a:lnTo>
                  <a:lnTo>
                    <a:pt x="881" y="660"/>
                  </a:lnTo>
                  <a:lnTo>
                    <a:pt x="883" y="660"/>
                  </a:lnTo>
                  <a:lnTo>
                    <a:pt x="883" y="659"/>
                  </a:lnTo>
                  <a:lnTo>
                    <a:pt x="883" y="660"/>
                  </a:lnTo>
                  <a:lnTo>
                    <a:pt x="883" y="659"/>
                  </a:lnTo>
                  <a:lnTo>
                    <a:pt x="883" y="660"/>
                  </a:lnTo>
                  <a:lnTo>
                    <a:pt x="881" y="660"/>
                  </a:lnTo>
                  <a:lnTo>
                    <a:pt x="881" y="662"/>
                  </a:lnTo>
                  <a:lnTo>
                    <a:pt x="881" y="664"/>
                  </a:lnTo>
                  <a:lnTo>
                    <a:pt x="879" y="664"/>
                  </a:lnTo>
                  <a:lnTo>
                    <a:pt x="881" y="664"/>
                  </a:lnTo>
                  <a:lnTo>
                    <a:pt x="879" y="664"/>
                  </a:lnTo>
                  <a:lnTo>
                    <a:pt x="881" y="664"/>
                  </a:lnTo>
                  <a:lnTo>
                    <a:pt x="881" y="662"/>
                  </a:lnTo>
                  <a:lnTo>
                    <a:pt x="881" y="664"/>
                  </a:lnTo>
                  <a:lnTo>
                    <a:pt x="879" y="664"/>
                  </a:lnTo>
                  <a:lnTo>
                    <a:pt x="881" y="664"/>
                  </a:lnTo>
                  <a:lnTo>
                    <a:pt x="879" y="664"/>
                  </a:lnTo>
                  <a:lnTo>
                    <a:pt x="879" y="666"/>
                  </a:lnTo>
                  <a:lnTo>
                    <a:pt x="878" y="666"/>
                  </a:lnTo>
                  <a:lnTo>
                    <a:pt x="878" y="668"/>
                  </a:lnTo>
                  <a:lnTo>
                    <a:pt x="878" y="670"/>
                  </a:lnTo>
                  <a:lnTo>
                    <a:pt x="876" y="670"/>
                  </a:lnTo>
                  <a:lnTo>
                    <a:pt x="876" y="672"/>
                  </a:lnTo>
                  <a:lnTo>
                    <a:pt x="874" y="672"/>
                  </a:lnTo>
                  <a:lnTo>
                    <a:pt x="874" y="674"/>
                  </a:lnTo>
                  <a:lnTo>
                    <a:pt x="874" y="676"/>
                  </a:lnTo>
                  <a:lnTo>
                    <a:pt x="872" y="676"/>
                  </a:lnTo>
                  <a:lnTo>
                    <a:pt x="872" y="678"/>
                  </a:lnTo>
                  <a:lnTo>
                    <a:pt x="872" y="680"/>
                  </a:lnTo>
                  <a:lnTo>
                    <a:pt x="870" y="680"/>
                  </a:lnTo>
                  <a:lnTo>
                    <a:pt x="872" y="680"/>
                  </a:lnTo>
                  <a:lnTo>
                    <a:pt x="870" y="680"/>
                  </a:lnTo>
                  <a:lnTo>
                    <a:pt x="870" y="682"/>
                  </a:lnTo>
                  <a:lnTo>
                    <a:pt x="868" y="682"/>
                  </a:lnTo>
                  <a:lnTo>
                    <a:pt x="870" y="682"/>
                  </a:lnTo>
                  <a:lnTo>
                    <a:pt x="868" y="682"/>
                  </a:lnTo>
                  <a:lnTo>
                    <a:pt x="868" y="683"/>
                  </a:lnTo>
                  <a:lnTo>
                    <a:pt x="868" y="685"/>
                  </a:lnTo>
                  <a:lnTo>
                    <a:pt x="866" y="685"/>
                  </a:lnTo>
                  <a:lnTo>
                    <a:pt x="866" y="687"/>
                  </a:lnTo>
                  <a:lnTo>
                    <a:pt x="866" y="685"/>
                  </a:lnTo>
                  <a:lnTo>
                    <a:pt x="868" y="685"/>
                  </a:lnTo>
                  <a:lnTo>
                    <a:pt x="866" y="685"/>
                  </a:lnTo>
                  <a:lnTo>
                    <a:pt x="868" y="685"/>
                  </a:lnTo>
                  <a:lnTo>
                    <a:pt x="866" y="685"/>
                  </a:lnTo>
                  <a:lnTo>
                    <a:pt x="866" y="687"/>
                  </a:lnTo>
                  <a:lnTo>
                    <a:pt x="866" y="689"/>
                  </a:lnTo>
                  <a:lnTo>
                    <a:pt x="864" y="689"/>
                  </a:lnTo>
                  <a:lnTo>
                    <a:pt x="864" y="691"/>
                  </a:lnTo>
                  <a:lnTo>
                    <a:pt x="864" y="693"/>
                  </a:lnTo>
                  <a:lnTo>
                    <a:pt x="864" y="695"/>
                  </a:lnTo>
                  <a:lnTo>
                    <a:pt x="864" y="693"/>
                  </a:lnTo>
                  <a:lnTo>
                    <a:pt x="864" y="695"/>
                  </a:lnTo>
                  <a:lnTo>
                    <a:pt x="862" y="695"/>
                  </a:lnTo>
                  <a:lnTo>
                    <a:pt x="862" y="697"/>
                  </a:lnTo>
                  <a:lnTo>
                    <a:pt x="860" y="697"/>
                  </a:lnTo>
                  <a:lnTo>
                    <a:pt x="860" y="695"/>
                  </a:lnTo>
                  <a:lnTo>
                    <a:pt x="860" y="697"/>
                  </a:lnTo>
                  <a:lnTo>
                    <a:pt x="858" y="697"/>
                  </a:lnTo>
                  <a:lnTo>
                    <a:pt x="860" y="697"/>
                  </a:lnTo>
                  <a:lnTo>
                    <a:pt x="858" y="697"/>
                  </a:lnTo>
                  <a:lnTo>
                    <a:pt x="858" y="699"/>
                  </a:lnTo>
                  <a:lnTo>
                    <a:pt x="858" y="697"/>
                  </a:lnTo>
                  <a:lnTo>
                    <a:pt x="858" y="699"/>
                  </a:lnTo>
                  <a:lnTo>
                    <a:pt x="858" y="697"/>
                  </a:lnTo>
                  <a:lnTo>
                    <a:pt x="858" y="699"/>
                  </a:lnTo>
                  <a:lnTo>
                    <a:pt x="858" y="697"/>
                  </a:lnTo>
                  <a:lnTo>
                    <a:pt x="858" y="699"/>
                  </a:lnTo>
                  <a:lnTo>
                    <a:pt x="858" y="697"/>
                  </a:lnTo>
                  <a:lnTo>
                    <a:pt x="858" y="699"/>
                  </a:lnTo>
                  <a:lnTo>
                    <a:pt x="858" y="697"/>
                  </a:lnTo>
                  <a:lnTo>
                    <a:pt x="858" y="699"/>
                  </a:lnTo>
                  <a:lnTo>
                    <a:pt x="858" y="697"/>
                  </a:lnTo>
                  <a:lnTo>
                    <a:pt x="858" y="699"/>
                  </a:lnTo>
                  <a:lnTo>
                    <a:pt x="856" y="699"/>
                  </a:lnTo>
                  <a:lnTo>
                    <a:pt x="858" y="699"/>
                  </a:lnTo>
                  <a:lnTo>
                    <a:pt x="856" y="699"/>
                  </a:lnTo>
                  <a:lnTo>
                    <a:pt x="855" y="699"/>
                  </a:lnTo>
                  <a:lnTo>
                    <a:pt x="855" y="701"/>
                  </a:lnTo>
                  <a:lnTo>
                    <a:pt x="853" y="701"/>
                  </a:lnTo>
                  <a:lnTo>
                    <a:pt x="853" y="703"/>
                  </a:lnTo>
                  <a:lnTo>
                    <a:pt x="853" y="701"/>
                  </a:lnTo>
                  <a:lnTo>
                    <a:pt x="853" y="703"/>
                  </a:lnTo>
                  <a:lnTo>
                    <a:pt x="853" y="701"/>
                  </a:lnTo>
                  <a:lnTo>
                    <a:pt x="851" y="701"/>
                  </a:lnTo>
                  <a:lnTo>
                    <a:pt x="851" y="703"/>
                  </a:lnTo>
                  <a:lnTo>
                    <a:pt x="851" y="701"/>
                  </a:lnTo>
                  <a:lnTo>
                    <a:pt x="853" y="701"/>
                  </a:lnTo>
                  <a:lnTo>
                    <a:pt x="851" y="701"/>
                  </a:lnTo>
                  <a:lnTo>
                    <a:pt x="853" y="701"/>
                  </a:lnTo>
                  <a:lnTo>
                    <a:pt x="851" y="701"/>
                  </a:lnTo>
                  <a:lnTo>
                    <a:pt x="853" y="701"/>
                  </a:lnTo>
                  <a:lnTo>
                    <a:pt x="851" y="701"/>
                  </a:lnTo>
                  <a:lnTo>
                    <a:pt x="851" y="703"/>
                  </a:lnTo>
                  <a:lnTo>
                    <a:pt x="851" y="701"/>
                  </a:lnTo>
                  <a:lnTo>
                    <a:pt x="851" y="703"/>
                  </a:lnTo>
                  <a:lnTo>
                    <a:pt x="849" y="703"/>
                  </a:lnTo>
                  <a:lnTo>
                    <a:pt x="849" y="705"/>
                  </a:lnTo>
                  <a:lnTo>
                    <a:pt x="849" y="703"/>
                  </a:lnTo>
                  <a:lnTo>
                    <a:pt x="849" y="705"/>
                  </a:lnTo>
                  <a:lnTo>
                    <a:pt x="849" y="703"/>
                  </a:lnTo>
                  <a:lnTo>
                    <a:pt x="849" y="705"/>
                  </a:lnTo>
                  <a:lnTo>
                    <a:pt x="847" y="705"/>
                  </a:lnTo>
                  <a:lnTo>
                    <a:pt x="849" y="705"/>
                  </a:lnTo>
                  <a:lnTo>
                    <a:pt x="847" y="705"/>
                  </a:lnTo>
                  <a:lnTo>
                    <a:pt x="847" y="707"/>
                  </a:lnTo>
                  <a:lnTo>
                    <a:pt x="845" y="707"/>
                  </a:lnTo>
                  <a:lnTo>
                    <a:pt x="845" y="708"/>
                  </a:lnTo>
                  <a:lnTo>
                    <a:pt x="843" y="708"/>
                  </a:lnTo>
                  <a:lnTo>
                    <a:pt x="845" y="708"/>
                  </a:lnTo>
                  <a:lnTo>
                    <a:pt x="843" y="708"/>
                  </a:lnTo>
                  <a:lnTo>
                    <a:pt x="843" y="710"/>
                  </a:lnTo>
                  <a:lnTo>
                    <a:pt x="843" y="708"/>
                  </a:lnTo>
                  <a:lnTo>
                    <a:pt x="843" y="710"/>
                  </a:lnTo>
                  <a:lnTo>
                    <a:pt x="841" y="710"/>
                  </a:lnTo>
                  <a:lnTo>
                    <a:pt x="839" y="710"/>
                  </a:lnTo>
                  <a:lnTo>
                    <a:pt x="839" y="712"/>
                  </a:lnTo>
                  <a:lnTo>
                    <a:pt x="837" y="712"/>
                  </a:lnTo>
                  <a:lnTo>
                    <a:pt x="839" y="712"/>
                  </a:lnTo>
                  <a:lnTo>
                    <a:pt x="837" y="712"/>
                  </a:lnTo>
                  <a:lnTo>
                    <a:pt x="839" y="712"/>
                  </a:lnTo>
                  <a:lnTo>
                    <a:pt x="837" y="712"/>
                  </a:lnTo>
                  <a:lnTo>
                    <a:pt x="839" y="712"/>
                  </a:lnTo>
                  <a:lnTo>
                    <a:pt x="837" y="712"/>
                  </a:lnTo>
                  <a:lnTo>
                    <a:pt x="835" y="712"/>
                  </a:lnTo>
                  <a:lnTo>
                    <a:pt x="833" y="712"/>
                  </a:lnTo>
                  <a:lnTo>
                    <a:pt x="833" y="714"/>
                  </a:lnTo>
                  <a:lnTo>
                    <a:pt x="831" y="714"/>
                  </a:lnTo>
                  <a:lnTo>
                    <a:pt x="831" y="712"/>
                  </a:lnTo>
                  <a:lnTo>
                    <a:pt x="831" y="714"/>
                  </a:lnTo>
                  <a:lnTo>
                    <a:pt x="830" y="714"/>
                  </a:lnTo>
                  <a:lnTo>
                    <a:pt x="830" y="716"/>
                  </a:lnTo>
                  <a:lnTo>
                    <a:pt x="828" y="716"/>
                  </a:lnTo>
                  <a:lnTo>
                    <a:pt x="828" y="718"/>
                  </a:lnTo>
                  <a:lnTo>
                    <a:pt x="826" y="718"/>
                  </a:lnTo>
                  <a:lnTo>
                    <a:pt x="826" y="720"/>
                  </a:lnTo>
                  <a:lnTo>
                    <a:pt x="824" y="720"/>
                  </a:lnTo>
                  <a:lnTo>
                    <a:pt x="824" y="722"/>
                  </a:lnTo>
                  <a:lnTo>
                    <a:pt x="822" y="722"/>
                  </a:lnTo>
                  <a:lnTo>
                    <a:pt x="822" y="724"/>
                  </a:lnTo>
                  <a:lnTo>
                    <a:pt x="822" y="726"/>
                  </a:lnTo>
                  <a:lnTo>
                    <a:pt x="820" y="726"/>
                  </a:lnTo>
                  <a:lnTo>
                    <a:pt x="820" y="728"/>
                  </a:lnTo>
                  <a:lnTo>
                    <a:pt x="820" y="726"/>
                  </a:lnTo>
                  <a:lnTo>
                    <a:pt x="820" y="728"/>
                  </a:lnTo>
                  <a:lnTo>
                    <a:pt x="818" y="728"/>
                  </a:lnTo>
                  <a:lnTo>
                    <a:pt x="818" y="726"/>
                  </a:lnTo>
                  <a:lnTo>
                    <a:pt x="820" y="726"/>
                  </a:lnTo>
                  <a:lnTo>
                    <a:pt x="818" y="726"/>
                  </a:lnTo>
                  <a:lnTo>
                    <a:pt x="816" y="726"/>
                  </a:lnTo>
                  <a:lnTo>
                    <a:pt x="816" y="728"/>
                  </a:lnTo>
                  <a:lnTo>
                    <a:pt x="816" y="726"/>
                  </a:lnTo>
                  <a:lnTo>
                    <a:pt x="818" y="726"/>
                  </a:lnTo>
                  <a:lnTo>
                    <a:pt x="816" y="726"/>
                  </a:lnTo>
                  <a:lnTo>
                    <a:pt x="818" y="726"/>
                  </a:lnTo>
                  <a:lnTo>
                    <a:pt x="816" y="726"/>
                  </a:lnTo>
                  <a:lnTo>
                    <a:pt x="818" y="726"/>
                  </a:lnTo>
                  <a:lnTo>
                    <a:pt x="818" y="724"/>
                  </a:lnTo>
                  <a:lnTo>
                    <a:pt x="818" y="726"/>
                  </a:lnTo>
                  <a:lnTo>
                    <a:pt x="818" y="724"/>
                  </a:lnTo>
                  <a:lnTo>
                    <a:pt x="818" y="722"/>
                  </a:lnTo>
                  <a:lnTo>
                    <a:pt x="820" y="722"/>
                  </a:lnTo>
                  <a:lnTo>
                    <a:pt x="820" y="720"/>
                  </a:lnTo>
                  <a:lnTo>
                    <a:pt x="822" y="720"/>
                  </a:lnTo>
                  <a:lnTo>
                    <a:pt x="824" y="720"/>
                  </a:lnTo>
                  <a:lnTo>
                    <a:pt x="822" y="720"/>
                  </a:lnTo>
                  <a:lnTo>
                    <a:pt x="824" y="720"/>
                  </a:lnTo>
                  <a:lnTo>
                    <a:pt x="822" y="720"/>
                  </a:lnTo>
                  <a:lnTo>
                    <a:pt x="824" y="720"/>
                  </a:lnTo>
                  <a:lnTo>
                    <a:pt x="824" y="718"/>
                  </a:lnTo>
                  <a:lnTo>
                    <a:pt x="822" y="718"/>
                  </a:lnTo>
                  <a:lnTo>
                    <a:pt x="824" y="718"/>
                  </a:lnTo>
                  <a:lnTo>
                    <a:pt x="822" y="718"/>
                  </a:lnTo>
                  <a:lnTo>
                    <a:pt x="824" y="718"/>
                  </a:lnTo>
                  <a:lnTo>
                    <a:pt x="822" y="718"/>
                  </a:lnTo>
                  <a:lnTo>
                    <a:pt x="824" y="718"/>
                  </a:lnTo>
                  <a:lnTo>
                    <a:pt x="822" y="718"/>
                  </a:lnTo>
                  <a:lnTo>
                    <a:pt x="824" y="718"/>
                  </a:lnTo>
                  <a:lnTo>
                    <a:pt x="822" y="718"/>
                  </a:lnTo>
                  <a:lnTo>
                    <a:pt x="824" y="718"/>
                  </a:lnTo>
                  <a:lnTo>
                    <a:pt x="822" y="718"/>
                  </a:lnTo>
                  <a:lnTo>
                    <a:pt x="822" y="720"/>
                  </a:lnTo>
                  <a:lnTo>
                    <a:pt x="822" y="718"/>
                  </a:lnTo>
                  <a:lnTo>
                    <a:pt x="820" y="718"/>
                  </a:lnTo>
                  <a:lnTo>
                    <a:pt x="820" y="720"/>
                  </a:lnTo>
                  <a:lnTo>
                    <a:pt x="820" y="722"/>
                  </a:lnTo>
                  <a:lnTo>
                    <a:pt x="818" y="722"/>
                  </a:lnTo>
                  <a:lnTo>
                    <a:pt x="818" y="724"/>
                  </a:lnTo>
                  <a:lnTo>
                    <a:pt x="816" y="724"/>
                  </a:lnTo>
                  <a:lnTo>
                    <a:pt x="816" y="722"/>
                  </a:lnTo>
                  <a:lnTo>
                    <a:pt x="816" y="720"/>
                  </a:lnTo>
                  <a:lnTo>
                    <a:pt x="818" y="720"/>
                  </a:lnTo>
                  <a:lnTo>
                    <a:pt x="818" y="718"/>
                  </a:lnTo>
                  <a:lnTo>
                    <a:pt x="816" y="718"/>
                  </a:lnTo>
                  <a:lnTo>
                    <a:pt x="816" y="720"/>
                  </a:lnTo>
                  <a:lnTo>
                    <a:pt x="814" y="720"/>
                  </a:lnTo>
                  <a:lnTo>
                    <a:pt x="812" y="720"/>
                  </a:lnTo>
                  <a:lnTo>
                    <a:pt x="812" y="722"/>
                  </a:lnTo>
                  <a:lnTo>
                    <a:pt x="812" y="720"/>
                  </a:lnTo>
                  <a:lnTo>
                    <a:pt x="812" y="722"/>
                  </a:lnTo>
                  <a:lnTo>
                    <a:pt x="810" y="722"/>
                  </a:lnTo>
                  <a:lnTo>
                    <a:pt x="808" y="722"/>
                  </a:lnTo>
                  <a:lnTo>
                    <a:pt x="807" y="722"/>
                  </a:lnTo>
                  <a:lnTo>
                    <a:pt x="807" y="724"/>
                  </a:lnTo>
                  <a:lnTo>
                    <a:pt x="807" y="722"/>
                  </a:lnTo>
                  <a:lnTo>
                    <a:pt x="807" y="724"/>
                  </a:lnTo>
                  <a:lnTo>
                    <a:pt x="805" y="724"/>
                  </a:lnTo>
                  <a:lnTo>
                    <a:pt x="805" y="722"/>
                  </a:lnTo>
                  <a:lnTo>
                    <a:pt x="805" y="724"/>
                  </a:lnTo>
                  <a:lnTo>
                    <a:pt x="803" y="724"/>
                  </a:lnTo>
                  <a:lnTo>
                    <a:pt x="801" y="724"/>
                  </a:lnTo>
                  <a:lnTo>
                    <a:pt x="801" y="726"/>
                  </a:lnTo>
                  <a:lnTo>
                    <a:pt x="801" y="724"/>
                  </a:lnTo>
                  <a:lnTo>
                    <a:pt x="801" y="726"/>
                  </a:lnTo>
                  <a:lnTo>
                    <a:pt x="799" y="726"/>
                  </a:lnTo>
                  <a:lnTo>
                    <a:pt x="799" y="728"/>
                  </a:lnTo>
                  <a:lnTo>
                    <a:pt x="797" y="728"/>
                  </a:lnTo>
                  <a:lnTo>
                    <a:pt x="799" y="728"/>
                  </a:lnTo>
                  <a:lnTo>
                    <a:pt x="797" y="728"/>
                  </a:lnTo>
                  <a:lnTo>
                    <a:pt x="797" y="730"/>
                  </a:lnTo>
                  <a:lnTo>
                    <a:pt x="797" y="728"/>
                  </a:lnTo>
                  <a:lnTo>
                    <a:pt x="797" y="730"/>
                  </a:lnTo>
                  <a:lnTo>
                    <a:pt x="795" y="730"/>
                  </a:lnTo>
                  <a:lnTo>
                    <a:pt x="793" y="730"/>
                  </a:lnTo>
                  <a:lnTo>
                    <a:pt x="793" y="731"/>
                  </a:lnTo>
                  <a:lnTo>
                    <a:pt x="793" y="733"/>
                  </a:lnTo>
                  <a:lnTo>
                    <a:pt x="793" y="731"/>
                  </a:lnTo>
                  <a:lnTo>
                    <a:pt x="793" y="733"/>
                  </a:lnTo>
                  <a:lnTo>
                    <a:pt x="793" y="731"/>
                  </a:lnTo>
                  <a:lnTo>
                    <a:pt x="793" y="733"/>
                  </a:lnTo>
                  <a:lnTo>
                    <a:pt x="791" y="733"/>
                  </a:lnTo>
                  <a:lnTo>
                    <a:pt x="791" y="735"/>
                  </a:lnTo>
                  <a:lnTo>
                    <a:pt x="789" y="735"/>
                  </a:lnTo>
                  <a:lnTo>
                    <a:pt x="791" y="735"/>
                  </a:lnTo>
                  <a:lnTo>
                    <a:pt x="789" y="735"/>
                  </a:lnTo>
                  <a:lnTo>
                    <a:pt x="787" y="735"/>
                  </a:lnTo>
                  <a:lnTo>
                    <a:pt x="789" y="735"/>
                  </a:lnTo>
                  <a:lnTo>
                    <a:pt x="787" y="735"/>
                  </a:lnTo>
                  <a:lnTo>
                    <a:pt x="789" y="735"/>
                  </a:lnTo>
                  <a:lnTo>
                    <a:pt x="789" y="737"/>
                  </a:lnTo>
                  <a:lnTo>
                    <a:pt x="787" y="737"/>
                  </a:lnTo>
                  <a:lnTo>
                    <a:pt x="789" y="737"/>
                  </a:lnTo>
                  <a:lnTo>
                    <a:pt x="789" y="739"/>
                  </a:lnTo>
                  <a:lnTo>
                    <a:pt x="789" y="737"/>
                  </a:lnTo>
                  <a:lnTo>
                    <a:pt x="791" y="737"/>
                  </a:lnTo>
                  <a:lnTo>
                    <a:pt x="789" y="737"/>
                  </a:lnTo>
                  <a:lnTo>
                    <a:pt x="789" y="739"/>
                  </a:lnTo>
                  <a:lnTo>
                    <a:pt x="787" y="739"/>
                  </a:lnTo>
                  <a:lnTo>
                    <a:pt x="787" y="737"/>
                  </a:lnTo>
                  <a:lnTo>
                    <a:pt x="785" y="737"/>
                  </a:lnTo>
                  <a:lnTo>
                    <a:pt x="785" y="739"/>
                  </a:lnTo>
                  <a:lnTo>
                    <a:pt x="783" y="739"/>
                  </a:lnTo>
                  <a:lnTo>
                    <a:pt x="782" y="739"/>
                  </a:lnTo>
                  <a:lnTo>
                    <a:pt x="782" y="741"/>
                  </a:lnTo>
                  <a:lnTo>
                    <a:pt x="780" y="741"/>
                  </a:lnTo>
                  <a:lnTo>
                    <a:pt x="778" y="741"/>
                  </a:lnTo>
                  <a:lnTo>
                    <a:pt x="778" y="743"/>
                  </a:lnTo>
                  <a:lnTo>
                    <a:pt x="776" y="743"/>
                  </a:lnTo>
                  <a:lnTo>
                    <a:pt x="774" y="743"/>
                  </a:lnTo>
                  <a:lnTo>
                    <a:pt x="772" y="743"/>
                  </a:lnTo>
                  <a:lnTo>
                    <a:pt x="772" y="745"/>
                  </a:lnTo>
                  <a:lnTo>
                    <a:pt x="770" y="745"/>
                  </a:lnTo>
                  <a:lnTo>
                    <a:pt x="768" y="745"/>
                  </a:lnTo>
                  <a:lnTo>
                    <a:pt x="766" y="745"/>
                  </a:lnTo>
                  <a:lnTo>
                    <a:pt x="766" y="747"/>
                  </a:lnTo>
                  <a:lnTo>
                    <a:pt x="764" y="747"/>
                  </a:lnTo>
                  <a:lnTo>
                    <a:pt x="762" y="747"/>
                  </a:lnTo>
                  <a:lnTo>
                    <a:pt x="764" y="747"/>
                  </a:lnTo>
                  <a:lnTo>
                    <a:pt x="762" y="747"/>
                  </a:lnTo>
                  <a:lnTo>
                    <a:pt x="762" y="749"/>
                  </a:lnTo>
                  <a:lnTo>
                    <a:pt x="760" y="749"/>
                  </a:lnTo>
                  <a:lnTo>
                    <a:pt x="759" y="749"/>
                  </a:lnTo>
                  <a:lnTo>
                    <a:pt x="759" y="751"/>
                  </a:lnTo>
                  <a:lnTo>
                    <a:pt x="757" y="751"/>
                  </a:lnTo>
                  <a:lnTo>
                    <a:pt x="757" y="753"/>
                  </a:lnTo>
                  <a:lnTo>
                    <a:pt x="755" y="753"/>
                  </a:lnTo>
                  <a:lnTo>
                    <a:pt x="753" y="753"/>
                  </a:lnTo>
                  <a:lnTo>
                    <a:pt x="751" y="753"/>
                  </a:lnTo>
                  <a:lnTo>
                    <a:pt x="749" y="753"/>
                  </a:lnTo>
                  <a:lnTo>
                    <a:pt x="749" y="755"/>
                  </a:lnTo>
                  <a:lnTo>
                    <a:pt x="747" y="755"/>
                  </a:lnTo>
                  <a:lnTo>
                    <a:pt x="745" y="755"/>
                  </a:lnTo>
                  <a:lnTo>
                    <a:pt x="745" y="756"/>
                  </a:lnTo>
                  <a:lnTo>
                    <a:pt x="743" y="756"/>
                  </a:lnTo>
                  <a:lnTo>
                    <a:pt x="741" y="756"/>
                  </a:lnTo>
                  <a:lnTo>
                    <a:pt x="739" y="756"/>
                  </a:lnTo>
                  <a:lnTo>
                    <a:pt x="741" y="756"/>
                  </a:lnTo>
                  <a:lnTo>
                    <a:pt x="739" y="756"/>
                  </a:lnTo>
                  <a:lnTo>
                    <a:pt x="739" y="758"/>
                  </a:lnTo>
                  <a:lnTo>
                    <a:pt x="737" y="758"/>
                  </a:lnTo>
                  <a:lnTo>
                    <a:pt x="735" y="758"/>
                  </a:lnTo>
                  <a:lnTo>
                    <a:pt x="735" y="760"/>
                  </a:lnTo>
                  <a:lnTo>
                    <a:pt x="734" y="760"/>
                  </a:lnTo>
                  <a:lnTo>
                    <a:pt x="734" y="762"/>
                  </a:lnTo>
                  <a:lnTo>
                    <a:pt x="732" y="762"/>
                  </a:lnTo>
                  <a:lnTo>
                    <a:pt x="730" y="762"/>
                  </a:lnTo>
                  <a:lnTo>
                    <a:pt x="730" y="764"/>
                  </a:lnTo>
                  <a:lnTo>
                    <a:pt x="730" y="762"/>
                  </a:lnTo>
                  <a:lnTo>
                    <a:pt x="730" y="764"/>
                  </a:lnTo>
                  <a:lnTo>
                    <a:pt x="730" y="762"/>
                  </a:lnTo>
                  <a:lnTo>
                    <a:pt x="728" y="762"/>
                  </a:lnTo>
                  <a:lnTo>
                    <a:pt x="728" y="764"/>
                  </a:lnTo>
                  <a:lnTo>
                    <a:pt x="728" y="766"/>
                  </a:lnTo>
                  <a:lnTo>
                    <a:pt x="726" y="766"/>
                  </a:lnTo>
                  <a:lnTo>
                    <a:pt x="726" y="768"/>
                  </a:lnTo>
                  <a:lnTo>
                    <a:pt x="724" y="768"/>
                  </a:lnTo>
                  <a:lnTo>
                    <a:pt x="724" y="770"/>
                  </a:lnTo>
                  <a:lnTo>
                    <a:pt x="724" y="772"/>
                  </a:lnTo>
                  <a:lnTo>
                    <a:pt x="724" y="770"/>
                  </a:lnTo>
                  <a:lnTo>
                    <a:pt x="724" y="772"/>
                  </a:lnTo>
                  <a:lnTo>
                    <a:pt x="724" y="770"/>
                  </a:lnTo>
                  <a:lnTo>
                    <a:pt x="724" y="772"/>
                  </a:lnTo>
                  <a:lnTo>
                    <a:pt x="722" y="772"/>
                  </a:lnTo>
                  <a:lnTo>
                    <a:pt x="722" y="774"/>
                  </a:lnTo>
                  <a:lnTo>
                    <a:pt x="720" y="774"/>
                  </a:lnTo>
                  <a:lnTo>
                    <a:pt x="720" y="776"/>
                  </a:lnTo>
                  <a:lnTo>
                    <a:pt x="720" y="774"/>
                  </a:lnTo>
                  <a:lnTo>
                    <a:pt x="720" y="776"/>
                  </a:lnTo>
                  <a:lnTo>
                    <a:pt x="720" y="774"/>
                  </a:lnTo>
                  <a:lnTo>
                    <a:pt x="720" y="776"/>
                  </a:lnTo>
                  <a:lnTo>
                    <a:pt x="720" y="778"/>
                  </a:lnTo>
                  <a:lnTo>
                    <a:pt x="720" y="776"/>
                  </a:lnTo>
                  <a:lnTo>
                    <a:pt x="720" y="778"/>
                  </a:lnTo>
                  <a:lnTo>
                    <a:pt x="720" y="776"/>
                  </a:lnTo>
                  <a:lnTo>
                    <a:pt x="720" y="778"/>
                  </a:lnTo>
                  <a:lnTo>
                    <a:pt x="720" y="776"/>
                  </a:lnTo>
                  <a:lnTo>
                    <a:pt x="720" y="778"/>
                  </a:lnTo>
                  <a:lnTo>
                    <a:pt x="720" y="776"/>
                  </a:lnTo>
                  <a:lnTo>
                    <a:pt x="718" y="776"/>
                  </a:lnTo>
                  <a:lnTo>
                    <a:pt x="718" y="778"/>
                  </a:lnTo>
                  <a:lnTo>
                    <a:pt x="718" y="776"/>
                  </a:lnTo>
                  <a:lnTo>
                    <a:pt x="718" y="778"/>
                  </a:lnTo>
                  <a:lnTo>
                    <a:pt x="718" y="776"/>
                  </a:lnTo>
                  <a:lnTo>
                    <a:pt x="718" y="778"/>
                  </a:lnTo>
                  <a:lnTo>
                    <a:pt x="718" y="776"/>
                  </a:lnTo>
                  <a:lnTo>
                    <a:pt x="718" y="778"/>
                  </a:lnTo>
                  <a:lnTo>
                    <a:pt x="716" y="778"/>
                  </a:lnTo>
                  <a:lnTo>
                    <a:pt x="714" y="778"/>
                  </a:lnTo>
                  <a:lnTo>
                    <a:pt x="712" y="778"/>
                  </a:lnTo>
                  <a:lnTo>
                    <a:pt x="712" y="779"/>
                  </a:lnTo>
                  <a:lnTo>
                    <a:pt x="712" y="778"/>
                  </a:lnTo>
                  <a:lnTo>
                    <a:pt x="712" y="779"/>
                  </a:lnTo>
                  <a:lnTo>
                    <a:pt x="714" y="779"/>
                  </a:lnTo>
                  <a:lnTo>
                    <a:pt x="714" y="778"/>
                  </a:lnTo>
                  <a:lnTo>
                    <a:pt x="712" y="778"/>
                  </a:lnTo>
                  <a:lnTo>
                    <a:pt x="714" y="778"/>
                  </a:lnTo>
                  <a:lnTo>
                    <a:pt x="714" y="779"/>
                  </a:lnTo>
                  <a:lnTo>
                    <a:pt x="712" y="779"/>
                  </a:lnTo>
                  <a:lnTo>
                    <a:pt x="714" y="779"/>
                  </a:lnTo>
                  <a:lnTo>
                    <a:pt x="712" y="779"/>
                  </a:lnTo>
                  <a:lnTo>
                    <a:pt x="712" y="781"/>
                  </a:lnTo>
                  <a:lnTo>
                    <a:pt x="710" y="781"/>
                  </a:lnTo>
                  <a:lnTo>
                    <a:pt x="710" y="783"/>
                  </a:lnTo>
                  <a:lnTo>
                    <a:pt x="709" y="783"/>
                  </a:lnTo>
                  <a:lnTo>
                    <a:pt x="710" y="783"/>
                  </a:lnTo>
                  <a:lnTo>
                    <a:pt x="709" y="783"/>
                  </a:lnTo>
                  <a:lnTo>
                    <a:pt x="710" y="783"/>
                  </a:lnTo>
                  <a:lnTo>
                    <a:pt x="709" y="783"/>
                  </a:lnTo>
                  <a:lnTo>
                    <a:pt x="707" y="783"/>
                  </a:lnTo>
                  <a:lnTo>
                    <a:pt x="707" y="785"/>
                  </a:lnTo>
                  <a:lnTo>
                    <a:pt x="705" y="785"/>
                  </a:lnTo>
                  <a:lnTo>
                    <a:pt x="705" y="783"/>
                  </a:lnTo>
                  <a:lnTo>
                    <a:pt x="703" y="783"/>
                  </a:lnTo>
                  <a:lnTo>
                    <a:pt x="703" y="781"/>
                  </a:lnTo>
                  <a:lnTo>
                    <a:pt x="701" y="781"/>
                  </a:lnTo>
                  <a:lnTo>
                    <a:pt x="701" y="779"/>
                  </a:lnTo>
                  <a:lnTo>
                    <a:pt x="701" y="781"/>
                  </a:lnTo>
                  <a:lnTo>
                    <a:pt x="701" y="779"/>
                  </a:lnTo>
                  <a:lnTo>
                    <a:pt x="701" y="781"/>
                  </a:lnTo>
                  <a:lnTo>
                    <a:pt x="701" y="779"/>
                  </a:lnTo>
                  <a:lnTo>
                    <a:pt x="701" y="781"/>
                  </a:lnTo>
                  <a:lnTo>
                    <a:pt x="701" y="779"/>
                  </a:lnTo>
                  <a:lnTo>
                    <a:pt x="699" y="779"/>
                  </a:lnTo>
                  <a:lnTo>
                    <a:pt x="697" y="779"/>
                  </a:lnTo>
                  <a:lnTo>
                    <a:pt x="697" y="781"/>
                  </a:lnTo>
                  <a:lnTo>
                    <a:pt x="697" y="779"/>
                  </a:lnTo>
                  <a:lnTo>
                    <a:pt x="695" y="779"/>
                  </a:lnTo>
                  <a:lnTo>
                    <a:pt x="695" y="781"/>
                  </a:lnTo>
                  <a:lnTo>
                    <a:pt x="695" y="779"/>
                  </a:lnTo>
                  <a:lnTo>
                    <a:pt x="693" y="779"/>
                  </a:lnTo>
                  <a:lnTo>
                    <a:pt x="691" y="779"/>
                  </a:lnTo>
                  <a:lnTo>
                    <a:pt x="691" y="778"/>
                  </a:lnTo>
                  <a:lnTo>
                    <a:pt x="691" y="776"/>
                  </a:lnTo>
                  <a:lnTo>
                    <a:pt x="691" y="774"/>
                  </a:lnTo>
                  <a:lnTo>
                    <a:pt x="691" y="772"/>
                  </a:lnTo>
                  <a:lnTo>
                    <a:pt x="689" y="772"/>
                  </a:lnTo>
                  <a:lnTo>
                    <a:pt x="691" y="772"/>
                  </a:lnTo>
                  <a:lnTo>
                    <a:pt x="691" y="774"/>
                  </a:lnTo>
                  <a:lnTo>
                    <a:pt x="691" y="776"/>
                  </a:lnTo>
                  <a:lnTo>
                    <a:pt x="691" y="778"/>
                  </a:lnTo>
                  <a:lnTo>
                    <a:pt x="691" y="779"/>
                  </a:lnTo>
                  <a:lnTo>
                    <a:pt x="693" y="779"/>
                  </a:lnTo>
                  <a:lnTo>
                    <a:pt x="695" y="779"/>
                  </a:lnTo>
                  <a:lnTo>
                    <a:pt x="695" y="781"/>
                  </a:lnTo>
                  <a:lnTo>
                    <a:pt x="695" y="779"/>
                  </a:lnTo>
                  <a:lnTo>
                    <a:pt x="697" y="779"/>
                  </a:lnTo>
                  <a:lnTo>
                    <a:pt x="697" y="781"/>
                  </a:lnTo>
                  <a:lnTo>
                    <a:pt x="697" y="779"/>
                  </a:lnTo>
                  <a:lnTo>
                    <a:pt x="697" y="781"/>
                  </a:lnTo>
                  <a:lnTo>
                    <a:pt x="697" y="779"/>
                  </a:lnTo>
                  <a:lnTo>
                    <a:pt x="699" y="779"/>
                  </a:lnTo>
                  <a:lnTo>
                    <a:pt x="701" y="779"/>
                  </a:lnTo>
                  <a:lnTo>
                    <a:pt x="701" y="781"/>
                  </a:lnTo>
                  <a:lnTo>
                    <a:pt x="701" y="779"/>
                  </a:lnTo>
                  <a:lnTo>
                    <a:pt x="701" y="781"/>
                  </a:lnTo>
                  <a:lnTo>
                    <a:pt x="701" y="779"/>
                  </a:lnTo>
                  <a:lnTo>
                    <a:pt x="701" y="781"/>
                  </a:lnTo>
                  <a:lnTo>
                    <a:pt x="701" y="779"/>
                  </a:lnTo>
                  <a:lnTo>
                    <a:pt x="701" y="781"/>
                  </a:lnTo>
                  <a:lnTo>
                    <a:pt x="703" y="781"/>
                  </a:lnTo>
                  <a:lnTo>
                    <a:pt x="703" y="783"/>
                  </a:lnTo>
                  <a:lnTo>
                    <a:pt x="705" y="783"/>
                  </a:lnTo>
                  <a:lnTo>
                    <a:pt x="705" y="785"/>
                  </a:lnTo>
                  <a:lnTo>
                    <a:pt x="707" y="785"/>
                  </a:lnTo>
                  <a:lnTo>
                    <a:pt x="707" y="783"/>
                  </a:lnTo>
                  <a:lnTo>
                    <a:pt x="709" y="783"/>
                  </a:lnTo>
                  <a:lnTo>
                    <a:pt x="709" y="785"/>
                  </a:lnTo>
                  <a:lnTo>
                    <a:pt x="709" y="783"/>
                  </a:lnTo>
                  <a:lnTo>
                    <a:pt x="709" y="785"/>
                  </a:lnTo>
                  <a:lnTo>
                    <a:pt x="709" y="787"/>
                  </a:lnTo>
                  <a:lnTo>
                    <a:pt x="709" y="789"/>
                  </a:lnTo>
                  <a:lnTo>
                    <a:pt x="707" y="789"/>
                  </a:lnTo>
                  <a:lnTo>
                    <a:pt x="707" y="791"/>
                  </a:lnTo>
                  <a:lnTo>
                    <a:pt x="707" y="793"/>
                  </a:lnTo>
                  <a:lnTo>
                    <a:pt x="707" y="795"/>
                  </a:lnTo>
                  <a:lnTo>
                    <a:pt x="705" y="795"/>
                  </a:lnTo>
                  <a:lnTo>
                    <a:pt x="707" y="795"/>
                  </a:lnTo>
                  <a:lnTo>
                    <a:pt x="705" y="795"/>
                  </a:lnTo>
                  <a:lnTo>
                    <a:pt x="705" y="797"/>
                  </a:lnTo>
                  <a:lnTo>
                    <a:pt x="705" y="799"/>
                  </a:lnTo>
                  <a:lnTo>
                    <a:pt x="703" y="799"/>
                  </a:lnTo>
                  <a:lnTo>
                    <a:pt x="703" y="801"/>
                  </a:lnTo>
                  <a:lnTo>
                    <a:pt x="703" y="803"/>
                  </a:lnTo>
                  <a:lnTo>
                    <a:pt x="703" y="804"/>
                  </a:lnTo>
                  <a:lnTo>
                    <a:pt x="705" y="804"/>
                  </a:lnTo>
                  <a:lnTo>
                    <a:pt x="707" y="804"/>
                  </a:lnTo>
                  <a:lnTo>
                    <a:pt x="709" y="804"/>
                  </a:lnTo>
                  <a:lnTo>
                    <a:pt x="709" y="806"/>
                  </a:lnTo>
                  <a:lnTo>
                    <a:pt x="710" y="806"/>
                  </a:lnTo>
                  <a:lnTo>
                    <a:pt x="710" y="804"/>
                  </a:lnTo>
                  <a:lnTo>
                    <a:pt x="712" y="804"/>
                  </a:lnTo>
                  <a:lnTo>
                    <a:pt x="712" y="806"/>
                  </a:lnTo>
                  <a:lnTo>
                    <a:pt x="714" y="806"/>
                  </a:lnTo>
                  <a:lnTo>
                    <a:pt x="716" y="806"/>
                  </a:lnTo>
                  <a:lnTo>
                    <a:pt x="718" y="806"/>
                  </a:lnTo>
                  <a:lnTo>
                    <a:pt x="720" y="806"/>
                  </a:lnTo>
                  <a:lnTo>
                    <a:pt x="720" y="804"/>
                  </a:lnTo>
                  <a:lnTo>
                    <a:pt x="722" y="804"/>
                  </a:lnTo>
                  <a:lnTo>
                    <a:pt x="724" y="804"/>
                  </a:lnTo>
                  <a:lnTo>
                    <a:pt x="724" y="806"/>
                  </a:lnTo>
                  <a:lnTo>
                    <a:pt x="724" y="804"/>
                  </a:lnTo>
                  <a:lnTo>
                    <a:pt x="726" y="804"/>
                  </a:lnTo>
                  <a:lnTo>
                    <a:pt x="728" y="804"/>
                  </a:lnTo>
                  <a:lnTo>
                    <a:pt x="728" y="803"/>
                  </a:lnTo>
                  <a:lnTo>
                    <a:pt x="730" y="803"/>
                  </a:lnTo>
                  <a:lnTo>
                    <a:pt x="730" y="801"/>
                  </a:lnTo>
                  <a:lnTo>
                    <a:pt x="732" y="801"/>
                  </a:lnTo>
                  <a:lnTo>
                    <a:pt x="734" y="801"/>
                  </a:lnTo>
                  <a:lnTo>
                    <a:pt x="734" y="799"/>
                  </a:lnTo>
                  <a:lnTo>
                    <a:pt x="735" y="799"/>
                  </a:lnTo>
                  <a:lnTo>
                    <a:pt x="735" y="797"/>
                  </a:lnTo>
                  <a:lnTo>
                    <a:pt x="737" y="797"/>
                  </a:lnTo>
                  <a:lnTo>
                    <a:pt x="737" y="799"/>
                  </a:lnTo>
                  <a:lnTo>
                    <a:pt x="737" y="801"/>
                  </a:lnTo>
                  <a:lnTo>
                    <a:pt x="737" y="803"/>
                  </a:lnTo>
                  <a:lnTo>
                    <a:pt x="739" y="803"/>
                  </a:lnTo>
                  <a:lnTo>
                    <a:pt x="739" y="804"/>
                  </a:lnTo>
                  <a:lnTo>
                    <a:pt x="739" y="806"/>
                  </a:lnTo>
                  <a:lnTo>
                    <a:pt x="737" y="806"/>
                  </a:lnTo>
                  <a:lnTo>
                    <a:pt x="739" y="806"/>
                  </a:lnTo>
                  <a:lnTo>
                    <a:pt x="739" y="808"/>
                  </a:lnTo>
                  <a:lnTo>
                    <a:pt x="739" y="810"/>
                  </a:lnTo>
                  <a:lnTo>
                    <a:pt x="741" y="810"/>
                  </a:lnTo>
                  <a:lnTo>
                    <a:pt x="739" y="810"/>
                  </a:lnTo>
                  <a:lnTo>
                    <a:pt x="741" y="810"/>
                  </a:lnTo>
                  <a:lnTo>
                    <a:pt x="741" y="812"/>
                  </a:lnTo>
                  <a:lnTo>
                    <a:pt x="741" y="814"/>
                  </a:lnTo>
                  <a:lnTo>
                    <a:pt x="743" y="814"/>
                  </a:lnTo>
                  <a:lnTo>
                    <a:pt x="743" y="816"/>
                  </a:lnTo>
                  <a:lnTo>
                    <a:pt x="745" y="816"/>
                  </a:lnTo>
                  <a:lnTo>
                    <a:pt x="747" y="816"/>
                  </a:lnTo>
                  <a:lnTo>
                    <a:pt x="749" y="816"/>
                  </a:lnTo>
                  <a:lnTo>
                    <a:pt x="749" y="818"/>
                  </a:lnTo>
                  <a:lnTo>
                    <a:pt x="749" y="820"/>
                  </a:lnTo>
                  <a:lnTo>
                    <a:pt x="747" y="820"/>
                  </a:lnTo>
                  <a:lnTo>
                    <a:pt x="747" y="822"/>
                  </a:lnTo>
                  <a:lnTo>
                    <a:pt x="745" y="822"/>
                  </a:lnTo>
                  <a:lnTo>
                    <a:pt x="743" y="822"/>
                  </a:lnTo>
                  <a:lnTo>
                    <a:pt x="743" y="824"/>
                  </a:lnTo>
                  <a:lnTo>
                    <a:pt x="741" y="824"/>
                  </a:lnTo>
                  <a:lnTo>
                    <a:pt x="741" y="826"/>
                  </a:lnTo>
                  <a:lnTo>
                    <a:pt x="741" y="824"/>
                  </a:lnTo>
                  <a:lnTo>
                    <a:pt x="739" y="824"/>
                  </a:lnTo>
                  <a:lnTo>
                    <a:pt x="737" y="824"/>
                  </a:lnTo>
                  <a:lnTo>
                    <a:pt x="737" y="822"/>
                  </a:lnTo>
                  <a:lnTo>
                    <a:pt x="737" y="824"/>
                  </a:lnTo>
                  <a:lnTo>
                    <a:pt x="735" y="824"/>
                  </a:lnTo>
                  <a:lnTo>
                    <a:pt x="734" y="824"/>
                  </a:lnTo>
                  <a:lnTo>
                    <a:pt x="732" y="824"/>
                  </a:lnTo>
                  <a:lnTo>
                    <a:pt x="730" y="824"/>
                  </a:lnTo>
                  <a:lnTo>
                    <a:pt x="730" y="826"/>
                  </a:lnTo>
                  <a:lnTo>
                    <a:pt x="728" y="826"/>
                  </a:lnTo>
                  <a:lnTo>
                    <a:pt x="726" y="826"/>
                  </a:lnTo>
                  <a:lnTo>
                    <a:pt x="724" y="826"/>
                  </a:lnTo>
                  <a:lnTo>
                    <a:pt x="724" y="827"/>
                  </a:lnTo>
                  <a:lnTo>
                    <a:pt x="722" y="827"/>
                  </a:lnTo>
                  <a:lnTo>
                    <a:pt x="720" y="827"/>
                  </a:lnTo>
                  <a:lnTo>
                    <a:pt x="720" y="829"/>
                  </a:lnTo>
                  <a:lnTo>
                    <a:pt x="720" y="827"/>
                  </a:lnTo>
                  <a:lnTo>
                    <a:pt x="718" y="827"/>
                  </a:lnTo>
                  <a:lnTo>
                    <a:pt x="718" y="829"/>
                  </a:lnTo>
                  <a:lnTo>
                    <a:pt x="716" y="829"/>
                  </a:lnTo>
                  <a:lnTo>
                    <a:pt x="714" y="829"/>
                  </a:lnTo>
                  <a:lnTo>
                    <a:pt x="712" y="829"/>
                  </a:lnTo>
                  <a:lnTo>
                    <a:pt x="710" y="829"/>
                  </a:lnTo>
                  <a:lnTo>
                    <a:pt x="710" y="831"/>
                  </a:lnTo>
                  <a:lnTo>
                    <a:pt x="710" y="829"/>
                  </a:lnTo>
                  <a:lnTo>
                    <a:pt x="710" y="831"/>
                  </a:lnTo>
                  <a:lnTo>
                    <a:pt x="709" y="831"/>
                  </a:lnTo>
                  <a:lnTo>
                    <a:pt x="709" y="829"/>
                  </a:lnTo>
                  <a:lnTo>
                    <a:pt x="709" y="831"/>
                  </a:lnTo>
                  <a:lnTo>
                    <a:pt x="707" y="831"/>
                  </a:lnTo>
                  <a:lnTo>
                    <a:pt x="707" y="833"/>
                  </a:lnTo>
                  <a:lnTo>
                    <a:pt x="705" y="833"/>
                  </a:lnTo>
                  <a:lnTo>
                    <a:pt x="703" y="833"/>
                  </a:lnTo>
                  <a:lnTo>
                    <a:pt x="701" y="833"/>
                  </a:lnTo>
                  <a:lnTo>
                    <a:pt x="703" y="833"/>
                  </a:lnTo>
                  <a:lnTo>
                    <a:pt x="701" y="833"/>
                  </a:lnTo>
                  <a:lnTo>
                    <a:pt x="701" y="835"/>
                  </a:lnTo>
                  <a:lnTo>
                    <a:pt x="699" y="835"/>
                  </a:lnTo>
                  <a:lnTo>
                    <a:pt x="697" y="835"/>
                  </a:lnTo>
                  <a:lnTo>
                    <a:pt x="697" y="837"/>
                  </a:lnTo>
                  <a:lnTo>
                    <a:pt x="697" y="835"/>
                  </a:lnTo>
                  <a:lnTo>
                    <a:pt x="697" y="837"/>
                  </a:lnTo>
                  <a:lnTo>
                    <a:pt x="697" y="835"/>
                  </a:lnTo>
                  <a:lnTo>
                    <a:pt x="697" y="837"/>
                  </a:lnTo>
                  <a:lnTo>
                    <a:pt x="697" y="835"/>
                  </a:lnTo>
                  <a:lnTo>
                    <a:pt x="697" y="837"/>
                  </a:lnTo>
                  <a:lnTo>
                    <a:pt x="697" y="835"/>
                  </a:lnTo>
                  <a:lnTo>
                    <a:pt x="697" y="837"/>
                  </a:lnTo>
                  <a:lnTo>
                    <a:pt x="695" y="837"/>
                  </a:lnTo>
                  <a:lnTo>
                    <a:pt x="693" y="837"/>
                  </a:lnTo>
                  <a:lnTo>
                    <a:pt x="691" y="837"/>
                  </a:lnTo>
                  <a:lnTo>
                    <a:pt x="691" y="839"/>
                  </a:lnTo>
                  <a:lnTo>
                    <a:pt x="689" y="839"/>
                  </a:lnTo>
                  <a:lnTo>
                    <a:pt x="687" y="839"/>
                  </a:lnTo>
                  <a:lnTo>
                    <a:pt x="687" y="841"/>
                  </a:lnTo>
                  <a:lnTo>
                    <a:pt x="687" y="843"/>
                  </a:lnTo>
                  <a:lnTo>
                    <a:pt x="686" y="843"/>
                  </a:lnTo>
                  <a:lnTo>
                    <a:pt x="686" y="845"/>
                  </a:lnTo>
                  <a:lnTo>
                    <a:pt x="686" y="847"/>
                  </a:lnTo>
                  <a:lnTo>
                    <a:pt x="686" y="849"/>
                  </a:lnTo>
                  <a:lnTo>
                    <a:pt x="686" y="847"/>
                  </a:lnTo>
                  <a:lnTo>
                    <a:pt x="686" y="849"/>
                  </a:lnTo>
                  <a:lnTo>
                    <a:pt x="686" y="847"/>
                  </a:lnTo>
                  <a:lnTo>
                    <a:pt x="686" y="849"/>
                  </a:lnTo>
                  <a:lnTo>
                    <a:pt x="686" y="847"/>
                  </a:lnTo>
                  <a:lnTo>
                    <a:pt x="686" y="849"/>
                  </a:lnTo>
                  <a:lnTo>
                    <a:pt x="684" y="849"/>
                  </a:lnTo>
                  <a:lnTo>
                    <a:pt x="686" y="849"/>
                  </a:lnTo>
                  <a:lnTo>
                    <a:pt x="686" y="847"/>
                  </a:lnTo>
                  <a:lnTo>
                    <a:pt x="686" y="849"/>
                  </a:lnTo>
                  <a:lnTo>
                    <a:pt x="684" y="849"/>
                  </a:lnTo>
                  <a:lnTo>
                    <a:pt x="686" y="849"/>
                  </a:lnTo>
                  <a:lnTo>
                    <a:pt x="684" y="849"/>
                  </a:lnTo>
                  <a:lnTo>
                    <a:pt x="686" y="849"/>
                  </a:lnTo>
                  <a:lnTo>
                    <a:pt x="684" y="849"/>
                  </a:lnTo>
                  <a:lnTo>
                    <a:pt x="686" y="849"/>
                  </a:lnTo>
                  <a:lnTo>
                    <a:pt x="684" y="849"/>
                  </a:lnTo>
                  <a:lnTo>
                    <a:pt x="684" y="847"/>
                  </a:lnTo>
                  <a:lnTo>
                    <a:pt x="684" y="849"/>
                  </a:lnTo>
                  <a:lnTo>
                    <a:pt x="684" y="847"/>
                  </a:lnTo>
                  <a:lnTo>
                    <a:pt x="684" y="849"/>
                  </a:lnTo>
                  <a:lnTo>
                    <a:pt x="684" y="847"/>
                  </a:lnTo>
                  <a:lnTo>
                    <a:pt x="684" y="849"/>
                  </a:lnTo>
                  <a:lnTo>
                    <a:pt x="684" y="847"/>
                  </a:lnTo>
                  <a:lnTo>
                    <a:pt x="684" y="849"/>
                  </a:lnTo>
                  <a:lnTo>
                    <a:pt x="684" y="847"/>
                  </a:lnTo>
                  <a:lnTo>
                    <a:pt x="684" y="849"/>
                  </a:lnTo>
                  <a:lnTo>
                    <a:pt x="684" y="847"/>
                  </a:lnTo>
                  <a:lnTo>
                    <a:pt x="684" y="849"/>
                  </a:lnTo>
                  <a:lnTo>
                    <a:pt x="684" y="847"/>
                  </a:lnTo>
                  <a:lnTo>
                    <a:pt x="684" y="849"/>
                  </a:lnTo>
                  <a:lnTo>
                    <a:pt x="684" y="847"/>
                  </a:lnTo>
                  <a:lnTo>
                    <a:pt x="684" y="849"/>
                  </a:lnTo>
                  <a:lnTo>
                    <a:pt x="682" y="849"/>
                  </a:lnTo>
                  <a:lnTo>
                    <a:pt x="682" y="847"/>
                  </a:lnTo>
                  <a:lnTo>
                    <a:pt x="682" y="849"/>
                  </a:lnTo>
                  <a:lnTo>
                    <a:pt x="682" y="847"/>
                  </a:lnTo>
                  <a:lnTo>
                    <a:pt x="682" y="849"/>
                  </a:lnTo>
                  <a:lnTo>
                    <a:pt x="682" y="847"/>
                  </a:lnTo>
                  <a:lnTo>
                    <a:pt x="682" y="849"/>
                  </a:lnTo>
                  <a:lnTo>
                    <a:pt x="680" y="849"/>
                  </a:lnTo>
                  <a:lnTo>
                    <a:pt x="680" y="850"/>
                  </a:lnTo>
                  <a:lnTo>
                    <a:pt x="680" y="849"/>
                  </a:lnTo>
                  <a:lnTo>
                    <a:pt x="680" y="850"/>
                  </a:lnTo>
                  <a:lnTo>
                    <a:pt x="680" y="852"/>
                  </a:lnTo>
                  <a:lnTo>
                    <a:pt x="682" y="852"/>
                  </a:lnTo>
                  <a:lnTo>
                    <a:pt x="682" y="854"/>
                  </a:lnTo>
                  <a:lnTo>
                    <a:pt x="682" y="852"/>
                  </a:lnTo>
                  <a:lnTo>
                    <a:pt x="684" y="852"/>
                  </a:lnTo>
                  <a:lnTo>
                    <a:pt x="682" y="852"/>
                  </a:lnTo>
                  <a:lnTo>
                    <a:pt x="684" y="852"/>
                  </a:lnTo>
                  <a:lnTo>
                    <a:pt x="682" y="852"/>
                  </a:lnTo>
                  <a:lnTo>
                    <a:pt x="684" y="852"/>
                  </a:lnTo>
                  <a:lnTo>
                    <a:pt x="686" y="852"/>
                  </a:lnTo>
                  <a:lnTo>
                    <a:pt x="687" y="852"/>
                  </a:lnTo>
                  <a:lnTo>
                    <a:pt x="686" y="852"/>
                  </a:lnTo>
                  <a:lnTo>
                    <a:pt x="687" y="852"/>
                  </a:lnTo>
                  <a:lnTo>
                    <a:pt x="689" y="852"/>
                  </a:lnTo>
                  <a:lnTo>
                    <a:pt x="691" y="852"/>
                  </a:lnTo>
                  <a:lnTo>
                    <a:pt x="689" y="852"/>
                  </a:lnTo>
                  <a:lnTo>
                    <a:pt x="691" y="852"/>
                  </a:lnTo>
                  <a:lnTo>
                    <a:pt x="693" y="852"/>
                  </a:lnTo>
                  <a:lnTo>
                    <a:pt x="691" y="852"/>
                  </a:lnTo>
                  <a:lnTo>
                    <a:pt x="689" y="852"/>
                  </a:lnTo>
                  <a:lnTo>
                    <a:pt x="691" y="852"/>
                  </a:lnTo>
                  <a:lnTo>
                    <a:pt x="693" y="852"/>
                  </a:lnTo>
                  <a:lnTo>
                    <a:pt x="691" y="852"/>
                  </a:lnTo>
                  <a:lnTo>
                    <a:pt x="693" y="852"/>
                  </a:lnTo>
                  <a:lnTo>
                    <a:pt x="695" y="852"/>
                  </a:lnTo>
                  <a:lnTo>
                    <a:pt x="693" y="852"/>
                  </a:lnTo>
                  <a:lnTo>
                    <a:pt x="695" y="852"/>
                  </a:lnTo>
                  <a:lnTo>
                    <a:pt x="697" y="852"/>
                  </a:lnTo>
                  <a:lnTo>
                    <a:pt x="695" y="852"/>
                  </a:lnTo>
                  <a:lnTo>
                    <a:pt x="697" y="852"/>
                  </a:lnTo>
                  <a:lnTo>
                    <a:pt x="695" y="852"/>
                  </a:lnTo>
                  <a:lnTo>
                    <a:pt x="697" y="852"/>
                  </a:lnTo>
                  <a:lnTo>
                    <a:pt x="695" y="852"/>
                  </a:lnTo>
                  <a:lnTo>
                    <a:pt x="697" y="852"/>
                  </a:lnTo>
                  <a:lnTo>
                    <a:pt x="699" y="852"/>
                  </a:lnTo>
                  <a:lnTo>
                    <a:pt x="697" y="852"/>
                  </a:lnTo>
                  <a:lnTo>
                    <a:pt x="699" y="852"/>
                  </a:lnTo>
                  <a:lnTo>
                    <a:pt x="697" y="852"/>
                  </a:lnTo>
                  <a:lnTo>
                    <a:pt x="699" y="852"/>
                  </a:lnTo>
                  <a:lnTo>
                    <a:pt x="701" y="852"/>
                  </a:lnTo>
                  <a:lnTo>
                    <a:pt x="699" y="852"/>
                  </a:lnTo>
                  <a:lnTo>
                    <a:pt x="697" y="852"/>
                  </a:lnTo>
                  <a:lnTo>
                    <a:pt x="695" y="852"/>
                  </a:lnTo>
                  <a:lnTo>
                    <a:pt x="695" y="854"/>
                  </a:lnTo>
                  <a:lnTo>
                    <a:pt x="695" y="852"/>
                  </a:lnTo>
                  <a:lnTo>
                    <a:pt x="695" y="854"/>
                  </a:lnTo>
                  <a:lnTo>
                    <a:pt x="693" y="854"/>
                  </a:lnTo>
                  <a:lnTo>
                    <a:pt x="693" y="852"/>
                  </a:lnTo>
                  <a:lnTo>
                    <a:pt x="693" y="854"/>
                  </a:lnTo>
                  <a:lnTo>
                    <a:pt x="693" y="852"/>
                  </a:lnTo>
                  <a:lnTo>
                    <a:pt x="691" y="852"/>
                  </a:lnTo>
                  <a:lnTo>
                    <a:pt x="689" y="852"/>
                  </a:lnTo>
                  <a:lnTo>
                    <a:pt x="687" y="852"/>
                  </a:lnTo>
                  <a:lnTo>
                    <a:pt x="686" y="852"/>
                  </a:lnTo>
                  <a:lnTo>
                    <a:pt x="684" y="852"/>
                  </a:lnTo>
                  <a:lnTo>
                    <a:pt x="682" y="852"/>
                  </a:lnTo>
                  <a:lnTo>
                    <a:pt x="682" y="854"/>
                  </a:lnTo>
                  <a:lnTo>
                    <a:pt x="680" y="854"/>
                  </a:lnTo>
                  <a:lnTo>
                    <a:pt x="678" y="854"/>
                  </a:lnTo>
                  <a:lnTo>
                    <a:pt x="676" y="854"/>
                  </a:lnTo>
                  <a:lnTo>
                    <a:pt x="674" y="854"/>
                  </a:lnTo>
                  <a:lnTo>
                    <a:pt x="672" y="854"/>
                  </a:lnTo>
                  <a:lnTo>
                    <a:pt x="670" y="854"/>
                  </a:lnTo>
                  <a:lnTo>
                    <a:pt x="668" y="854"/>
                  </a:lnTo>
                  <a:lnTo>
                    <a:pt x="668" y="852"/>
                  </a:lnTo>
                  <a:lnTo>
                    <a:pt x="666" y="852"/>
                  </a:lnTo>
                  <a:lnTo>
                    <a:pt x="664" y="852"/>
                  </a:lnTo>
                  <a:lnTo>
                    <a:pt x="662" y="852"/>
                  </a:lnTo>
                  <a:lnTo>
                    <a:pt x="661" y="852"/>
                  </a:lnTo>
                  <a:lnTo>
                    <a:pt x="659" y="852"/>
                  </a:lnTo>
                  <a:lnTo>
                    <a:pt x="657" y="852"/>
                  </a:lnTo>
                  <a:lnTo>
                    <a:pt x="655" y="852"/>
                  </a:lnTo>
                  <a:lnTo>
                    <a:pt x="653" y="852"/>
                  </a:lnTo>
                  <a:lnTo>
                    <a:pt x="653" y="854"/>
                  </a:lnTo>
                  <a:lnTo>
                    <a:pt x="653" y="852"/>
                  </a:lnTo>
                  <a:lnTo>
                    <a:pt x="651" y="852"/>
                  </a:lnTo>
                  <a:lnTo>
                    <a:pt x="651" y="854"/>
                  </a:lnTo>
                  <a:lnTo>
                    <a:pt x="649" y="854"/>
                  </a:lnTo>
                  <a:lnTo>
                    <a:pt x="647" y="854"/>
                  </a:lnTo>
                  <a:lnTo>
                    <a:pt x="645" y="854"/>
                  </a:lnTo>
                  <a:lnTo>
                    <a:pt x="643" y="854"/>
                  </a:lnTo>
                  <a:lnTo>
                    <a:pt x="641" y="854"/>
                  </a:lnTo>
                  <a:lnTo>
                    <a:pt x="639" y="854"/>
                  </a:lnTo>
                  <a:lnTo>
                    <a:pt x="639" y="856"/>
                  </a:lnTo>
                  <a:lnTo>
                    <a:pt x="638" y="856"/>
                  </a:lnTo>
                  <a:lnTo>
                    <a:pt x="638" y="858"/>
                  </a:lnTo>
                  <a:lnTo>
                    <a:pt x="636" y="858"/>
                  </a:lnTo>
                  <a:lnTo>
                    <a:pt x="636" y="860"/>
                  </a:lnTo>
                  <a:lnTo>
                    <a:pt x="634" y="860"/>
                  </a:lnTo>
                  <a:lnTo>
                    <a:pt x="632" y="860"/>
                  </a:lnTo>
                  <a:lnTo>
                    <a:pt x="632" y="862"/>
                  </a:lnTo>
                  <a:lnTo>
                    <a:pt x="630" y="862"/>
                  </a:lnTo>
                  <a:lnTo>
                    <a:pt x="630" y="864"/>
                  </a:lnTo>
                  <a:lnTo>
                    <a:pt x="628" y="864"/>
                  </a:lnTo>
                  <a:lnTo>
                    <a:pt x="628" y="866"/>
                  </a:lnTo>
                  <a:lnTo>
                    <a:pt x="626" y="866"/>
                  </a:lnTo>
                  <a:lnTo>
                    <a:pt x="626" y="868"/>
                  </a:lnTo>
                  <a:lnTo>
                    <a:pt x="626" y="870"/>
                  </a:lnTo>
                  <a:lnTo>
                    <a:pt x="624" y="870"/>
                  </a:lnTo>
                  <a:lnTo>
                    <a:pt x="624" y="872"/>
                  </a:lnTo>
                  <a:lnTo>
                    <a:pt x="622" y="872"/>
                  </a:lnTo>
                  <a:lnTo>
                    <a:pt x="622" y="874"/>
                  </a:lnTo>
                  <a:lnTo>
                    <a:pt x="620" y="874"/>
                  </a:lnTo>
                  <a:lnTo>
                    <a:pt x="620" y="875"/>
                  </a:lnTo>
                  <a:lnTo>
                    <a:pt x="618" y="875"/>
                  </a:lnTo>
                  <a:lnTo>
                    <a:pt x="618" y="877"/>
                  </a:lnTo>
                  <a:lnTo>
                    <a:pt x="618" y="879"/>
                  </a:lnTo>
                  <a:lnTo>
                    <a:pt x="616" y="879"/>
                  </a:lnTo>
                  <a:lnTo>
                    <a:pt x="616" y="881"/>
                  </a:lnTo>
                  <a:lnTo>
                    <a:pt x="618" y="881"/>
                  </a:lnTo>
                  <a:lnTo>
                    <a:pt x="618" y="883"/>
                  </a:lnTo>
                  <a:lnTo>
                    <a:pt x="618" y="885"/>
                  </a:lnTo>
                  <a:lnTo>
                    <a:pt x="616" y="885"/>
                  </a:lnTo>
                  <a:lnTo>
                    <a:pt x="614" y="885"/>
                  </a:lnTo>
                  <a:lnTo>
                    <a:pt x="616" y="885"/>
                  </a:lnTo>
                  <a:lnTo>
                    <a:pt x="616" y="883"/>
                  </a:lnTo>
                  <a:lnTo>
                    <a:pt x="616" y="885"/>
                  </a:lnTo>
                  <a:lnTo>
                    <a:pt x="616" y="883"/>
                  </a:lnTo>
                  <a:lnTo>
                    <a:pt x="616" y="885"/>
                  </a:lnTo>
                  <a:lnTo>
                    <a:pt x="616" y="883"/>
                  </a:lnTo>
                  <a:lnTo>
                    <a:pt x="616" y="881"/>
                  </a:lnTo>
                  <a:lnTo>
                    <a:pt x="616" y="879"/>
                  </a:lnTo>
                  <a:lnTo>
                    <a:pt x="616" y="881"/>
                  </a:lnTo>
                  <a:lnTo>
                    <a:pt x="614" y="881"/>
                  </a:lnTo>
                  <a:lnTo>
                    <a:pt x="616" y="881"/>
                  </a:lnTo>
                  <a:lnTo>
                    <a:pt x="614" y="881"/>
                  </a:lnTo>
                  <a:lnTo>
                    <a:pt x="616" y="881"/>
                  </a:lnTo>
                  <a:lnTo>
                    <a:pt x="614" y="881"/>
                  </a:lnTo>
                  <a:lnTo>
                    <a:pt x="614" y="883"/>
                  </a:lnTo>
                  <a:lnTo>
                    <a:pt x="613" y="883"/>
                  </a:lnTo>
                  <a:lnTo>
                    <a:pt x="614" y="883"/>
                  </a:lnTo>
                  <a:lnTo>
                    <a:pt x="613" y="883"/>
                  </a:lnTo>
                  <a:lnTo>
                    <a:pt x="613" y="885"/>
                  </a:lnTo>
                  <a:lnTo>
                    <a:pt x="614" y="885"/>
                  </a:lnTo>
                  <a:lnTo>
                    <a:pt x="613" y="885"/>
                  </a:lnTo>
                  <a:lnTo>
                    <a:pt x="611" y="885"/>
                  </a:lnTo>
                  <a:lnTo>
                    <a:pt x="611" y="887"/>
                  </a:lnTo>
                  <a:lnTo>
                    <a:pt x="609" y="887"/>
                  </a:lnTo>
                  <a:lnTo>
                    <a:pt x="607" y="887"/>
                  </a:lnTo>
                  <a:lnTo>
                    <a:pt x="605" y="889"/>
                  </a:lnTo>
                  <a:lnTo>
                    <a:pt x="603" y="889"/>
                  </a:lnTo>
                  <a:lnTo>
                    <a:pt x="603" y="891"/>
                  </a:lnTo>
                  <a:lnTo>
                    <a:pt x="601" y="891"/>
                  </a:lnTo>
                  <a:lnTo>
                    <a:pt x="601" y="893"/>
                  </a:lnTo>
                  <a:lnTo>
                    <a:pt x="599" y="893"/>
                  </a:lnTo>
                  <a:lnTo>
                    <a:pt x="599" y="895"/>
                  </a:lnTo>
                  <a:lnTo>
                    <a:pt x="597" y="895"/>
                  </a:lnTo>
                  <a:lnTo>
                    <a:pt x="595" y="895"/>
                  </a:lnTo>
                  <a:lnTo>
                    <a:pt x="595" y="897"/>
                  </a:lnTo>
                  <a:lnTo>
                    <a:pt x="593" y="897"/>
                  </a:lnTo>
                  <a:lnTo>
                    <a:pt x="593" y="898"/>
                  </a:lnTo>
                  <a:lnTo>
                    <a:pt x="591" y="898"/>
                  </a:lnTo>
                  <a:lnTo>
                    <a:pt x="591" y="900"/>
                  </a:lnTo>
                  <a:lnTo>
                    <a:pt x="591" y="902"/>
                  </a:lnTo>
                  <a:lnTo>
                    <a:pt x="590" y="902"/>
                  </a:lnTo>
                  <a:lnTo>
                    <a:pt x="590" y="904"/>
                  </a:lnTo>
                  <a:lnTo>
                    <a:pt x="590" y="906"/>
                  </a:lnTo>
                  <a:lnTo>
                    <a:pt x="590" y="908"/>
                  </a:lnTo>
                  <a:lnTo>
                    <a:pt x="590" y="910"/>
                  </a:lnTo>
                  <a:lnTo>
                    <a:pt x="590" y="912"/>
                  </a:lnTo>
                  <a:lnTo>
                    <a:pt x="590" y="914"/>
                  </a:lnTo>
                  <a:lnTo>
                    <a:pt x="590" y="912"/>
                  </a:lnTo>
                  <a:lnTo>
                    <a:pt x="590" y="910"/>
                  </a:lnTo>
                  <a:lnTo>
                    <a:pt x="588" y="910"/>
                  </a:lnTo>
                  <a:lnTo>
                    <a:pt x="588" y="908"/>
                  </a:lnTo>
                  <a:lnTo>
                    <a:pt x="586" y="908"/>
                  </a:lnTo>
                  <a:lnTo>
                    <a:pt x="586" y="906"/>
                  </a:lnTo>
                  <a:lnTo>
                    <a:pt x="584" y="906"/>
                  </a:lnTo>
                  <a:lnTo>
                    <a:pt x="582" y="906"/>
                  </a:lnTo>
                  <a:lnTo>
                    <a:pt x="580" y="906"/>
                  </a:lnTo>
                  <a:lnTo>
                    <a:pt x="578" y="906"/>
                  </a:lnTo>
                  <a:lnTo>
                    <a:pt x="576" y="906"/>
                  </a:lnTo>
                  <a:lnTo>
                    <a:pt x="576" y="908"/>
                  </a:lnTo>
                  <a:lnTo>
                    <a:pt x="574" y="908"/>
                  </a:lnTo>
                  <a:lnTo>
                    <a:pt x="574" y="910"/>
                  </a:lnTo>
                  <a:lnTo>
                    <a:pt x="572" y="910"/>
                  </a:lnTo>
                  <a:lnTo>
                    <a:pt x="572" y="908"/>
                  </a:lnTo>
                  <a:lnTo>
                    <a:pt x="572" y="910"/>
                  </a:lnTo>
                  <a:lnTo>
                    <a:pt x="570" y="910"/>
                  </a:lnTo>
                  <a:lnTo>
                    <a:pt x="568" y="910"/>
                  </a:lnTo>
                  <a:lnTo>
                    <a:pt x="566" y="910"/>
                  </a:lnTo>
                  <a:lnTo>
                    <a:pt x="565" y="910"/>
                  </a:lnTo>
                  <a:lnTo>
                    <a:pt x="565" y="908"/>
                  </a:lnTo>
                  <a:lnTo>
                    <a:pt x="563" y="908"/>
                  </a:lnTo>
                  <a:lnTo>
                    <a:pt x="561" y="908"/>
                  </a:lnTo>
                  <a:lnTo>
                    <a:pt x="559" y="908"/>
                  </a:lnTo>
                  <a:lnTo>
                    <a:pt x="559" y="906"/>
                  </a:lnTo>
                  <a:lnTo>
                    <a:pt x="559" y="904"/>
                  </a:lnTo>
                  <a:lnTo>
                    <a:pt x="559" y="902"/>
                  </a:lnTo>
                  <a:lnTo>
                    <a:pt x="559" y="900"/>
                  </a:lnTo>
                  <a:lnTo>
                    <a:pt x="559" y="898"/>
                  </a:lnTo>
                  <a:lnTo>
                    <a:pt x="559" y="900"/>
                  </a:lnTo>
                  <a:lnTo>
                    <a:pt x="557" y="900"/>
                  </a:lnTo>
                  <a:lnTo>
                    <a:pt x="557" y="898"/>
                  </a:lnTo>
                  <a:lnTo>
                    <a:pt x="559" y="898"/>
                  </a:lnTo>
                  <a:lnTo>
                    <a:pt x="559" y="897"/>
                  </a:lnTo>
                  <a:lnTo>
                    <a:pt x="557" y="897"/>
                  </a:lnTo>
                  <a:lnTo>
                    <a:pt x="559" y="897"/>
                  </a:lnTo>
                  <a:lnTo>
                    <a:pt x="557" y="897"/>
                  </a:lnTo>
                  <a:lnTo>
                    <a:pt x="559" y="897"/>
                  </a:lnTo>
                  <a:lnTo>
                    <a:pt x="557" y="897"/>
                  </a:lnTo>
                  <a:lnTo>
                    <a:pt x="559" y="897"/>
                  </a:lnTo>
                  <a:lnTo>
                    <a:pt x="557" y="897"/>
                  </a:lnTo>
                  <a:lnTo>
                    <a:pt x="559" y="897"/>
                  </a:lnTo>
                  <a:lnTo>
                    <a:pt x="557" y="897"/>
                  </a:lnTo>
                  <a:lnTo>
                    <a:pt x="557" y="895"/>
                  </a:lnTo>
                  <a:lnTo>
                    <a:pt x="559" y="895"/>
                  </a:lnTo>
                  <a:lnTo>
                    <a:pt x="557" y="895"/>
                  </a:lnTo>
                  <a:lnTo>
                    <a:pt x="559" y="895"/>
                  </a:lnTo>
                  <a:lnTo>
                    <a:pt x="557" y="895"/>
                  </a:lnTo>
                  <a:lnTo>
                    <a:pt x="559" y="895"/>
                  </a:lnTo>
                  <a:lnTo>
                    <a:pt x="557" y="895"/>
                  </a:lnTo>
                  <a:lnTo>
                    <a:pt x="557" y="893"/>
                  </a:lnTo>
                  <a:lnTo>
                    <a:pt x="559" y="893"/>
                  </a:lnTo>
                  <a:lnTo>
                    <a:pt x="557" y="893"/>
                  </a:lnTo>
                  <a:lnTo>
                    <a:pt x="559" y="893"/>
                  </a:lnTo>
                  <a:lnTo>
                    <a:pt x="557" y="893"/>
                  </a:lnTo>
                  <a:lnTo>
                    <a:pt x="559" y="893"/>
                  </a:lnTo>
                  <a:lnTo>
                    <a:pt x="559" y="891"/>
                  </a:lnTo>
                  <a:lnTo>
                    <a:pt x="561" y="891"/>
                  </a:lnTo>
                  <a:lnTo>
                    <a:pt x="561" y="889"/>
                  </a:lnTo>
                  <a:lnTo>
                    <a:pt x="563" y="889"/>
                  </a:lnTo>
                  <a:lnTo>
                    <a:pt x="565" y="889"/>
                  </a:lnTo>
                  <a:lnTo>
                    <a:pt x="565" y="887"/>
                  </a:lnTo>
                  <a:lnTo>
                    <a:pt x="566" y="887"/>
                  </a:lnTo>
                  <a:lnTo>
                    <a:pt x="568" y="887"/>
                  </a:lnTo>
                  <a:lnTo>
                    <a:pt x="568" y="889"/>
                  </a:lnTo>
                  <a:lnTo>
                    <a:pt x="570" y="889"/>
                  </a:lnTo>
                  <a:lnTo>
                    <a:pt x="572" y="889"/>
                  </a:lnTo>
                  <a:lnTo>
                    <a:pt x="574" y="889"/>
                  </a:lnTo>
                  <a:lnTo>
                    <a:pt x="576" y="889"/>
                  </a:lnTo>
                  <a:lnTo>
                    <a:pt x="578" y="889"/>
                  </a:lnTo>
                  <a:lnTo>
                    <a:pt x="580" y="889"/>
                  </a:lnTo>
                  <a:lnTo>
                    <a:pt x="580" y="887"/>
                  </a:lnTo>
                  <a:lnTo>
                    <a:pt x="582" y="887"/>
                  </a:lnTo>
                  <a:lnTo>
                    <a:pt x="584" y="887"/>
                  </a:lnTo>
                  <a:lnTo>
                    <a:pt x="586" y="887"/>
                  </a:lnTo>
                  <a:lnTo>
                    <a:pt x="588" y="887"/>
                  </a:lnTo>
                  <a:lnTo>
                    <a:pt x="588" y="885"/>
                  </a:lnTo>
                  <a:lnTo>
                    <a:pt x="590" y="885"/>
                  </a:lnTo>
                  <a:lnTo>
                    <a:pt x="590" y="883"/>
                  </a:lnTo>
                  <a:lnTo>
                    <a:pt x="590" y="881"/>
                  </a:lnTo>
                  <a:lnTo>
                    <a:pt x="590" y="879"/>
                  </a:lnTo>
                  <a:lnTo>
                    <a:pt x="590" y="877"/>
                  </a:lnTo>
                  <a:lnTo>
                    <a:pt x="588" y="877"/>
                  </a:lnTo>
                  <a:lnTo>
                    <a:pt x="590" y="877"/>
                  </a:lnTo>
                  <a:lnTo>
                    <a:pt x="590" y="875"/>
                  </a:lnTo>
                  <a:lnTo>
                    <a:pt x="588" y="875"/>
                  </a:lnTo>
                  <a:lnTo>
                    <a:pt x="588" y="874"/>
                  </a:lnTo>
                  <a:lnTo>
                    <a:pt x="588" y="875"/>
                  </a:lnTo>
                  <a:lnTo>
                    <a:pt x="586" y="875"/>
                  </a:lnTo>
                  <a:lnTo>
                    <a:pt x="588" y="875"/>
                  </a:lnTo>
                  <a:lnTo>
                    <a:pt x="586" y="875"/>
                  </a:lnTo>
                  <a:lnTo>
                    <a:pt x="588" y="875"/>
                  </a:lnTo>
                  <a:lnTo>
                    <a:pt x="586" y="875"/>
                  </a:lnTo>
                  <a:lnTo>
                    <a:pt x="588" y="875"/>
                  </a:lnTo>
                  <a:lnTo>
                    <a:pt x="586" y="875"/>
                  </a:lnTo>
                  <a:lnTo>
                    <a:pt x="586" y="874"/>
                  </a:lnTo>
                  <a:lnTo>
                    <a:pt x="586" y="875"/>
                  </a:lnTo>
                  <a:lnTo>
                    <a:pt x="586" y="874"/>
                  </a:lnTo>
                  <a:lnTo>
                    <a:pt x="586" y="875"/>
                  </a:lnTo>
                  <a:lnTo>
                    <a:pt x="586" y="874"/>
                  </a:lnTo>
                  <a:lnTo>
                    <a:pt x="586" y="875"/>
                  </a:lnTo>
                  <a:lnTo>
                    <a:pt x="586" y="874"/>
                  </a:lnTo>
                  <a:lnTo>
                    <a:pt x="586" y="875"/>
                  </a:lnTo>
                  <a:lnTo>
                    <a:pt x="586" y="874"/>
                  </a:lnTo>
                  <a:lnTo>
                    <a:pt x="586" y="875"/>
                  </a:lnTo>
                  <a:lnTo>
                    <a:pt x="586" y="874"/>
                  </a:lnTo>
                  <a:lnTo>
                    <a:pt x="586" y="875"/>
                  </a:lnTo>
                  <a:lnTo>
                    <a:pt x="584" y="875"/>
                  </a:lnTo>
                  <a:lnTo>
                    <a:pt x="582" y="875"/>
                  </a:lnTo>
                  <a:lnTo>
                    <a:pt x="582" y="874"/>
                  </a:lnTo>
                  <a:lnTo>
                    <a:pt x="582" y="875"/>
                  </a:lnTo>
                  <a:lnTo>
                    <a:pt x="582" y="874"/>
                  </a:lnTo>
                  <a:lnTo>
                    <a:pt x="582" y="875"/>
                  </a:lnTo>
                  <a:lnTo>
                    <a:pt x="580" y="875"/>
                  </a:lnTo>
                  <a:lnTo>
                    <a:pt x="580" y="874"/>
                  </a:lnTo>
                  <a:lnTo>
                    <a:pt x="578" y="874"/>
                  </a:lnTo>
                  <a:lnTo>
                    <a:pt x="578" y="872"/>
                  </a:lnTo>
                  <a:lnTo>
                    <a:pt x="580" y="872"/>
                  </a:lnTo>
                  <a:lnTo>
                    <a:pt x="580" y="870"/>
                  </a:lnTo>
                  <a:lnTo>
                    <a:pt x="582" y="870"/>
                  </a:lnTo>
                  <a:lnTo>
                    <a:pt x="580" y="870"/>
                  </a:lnTo>
                  <a:lnTo>
                    <a:pt x="582" y="870"/>
                  </a:lnTo>
                  <a:lnTo>
                    <a:pt x="582" y="868"/>
                  </a:lnTo>
                  <a:lnTo>
                    <a:pt x="582" y="866"/>
                  </a:lnTo>
                  <a:lnTo>
                    <a:pt x="582" y="864"/>
                  </a:lnTo>
                  <a:lnTo>
                    <a:pt x="582" y="862"/>
                  </a:lnTo>
                  <a:lnTo>
                    <a:pt x="584" y="862"/>
                  </a:lnTo>
                  <a:lnTo>
                    <a:pt x="584" y="860"/>
                  </a:lnTo>
                  <a:lnTo>
                    <a:pt x="584" y="858"/>
                  </a:lnTo>
                  <a:lnTo>
                    <a:pt x="584" y="856"/>
                  </a:lnTo>
                  <a:lnTo>
                    <a:pt x="582" y="856"/>
                  </a:lnTo>
                  <a:lnTo>
                    <a:pt x="582" y="854"/>
                  </a:lnTo>
                  <a:lnTo>
                    <a:pt x="582" y="852"/>
                  </a:lnTo>
                  <a:lnTo>
                    <a:pt x="584" y="852"/>
                  </a:lnTo>
                  <a:lnTo>
                    <a:pt x="582" y="852"/>
                  </a:lnTo>
                  <a:lnTo>
                    <a:pt x="584" y="852"/>
                  </a:lnTo>
                  <a:lnTo>
                    <a:pt x="582" y="852"/>
                  </a:lnTo>
                  <a:lnTo>
                    <a:pt x="582" y="850"/>
                  </a:lnTo>
                  <a:lnTo>
                    <a:pt x="582" y="849"/>
                  </a:lnTo>
                  <a:lnTo>
                    <a:pt x="582" y="847"/>
                  </a:lnTo>
                  <a:lnTo>
                    <a:pt x="584" y="847"/>
                  </a:lnTo>
                  <a:lnTo>
                    <a:pt x="582" y="847"/>
                  </a:lnTo>
                  <a:lnTo>
                    <a:pt x="584" y="847"/>
                  </a:lnTo>
                  <a:lnTo>
                    <a:pt x="582" y="847"/>
                  </a:lnTo>
                  <a:lnTo>
                    <a:pt x="584" y="847"/>
                  </a:lnTo>
                  <a:lnTo>
                    <a:pt x="584" y="845"/>
                  </a:lnTo>
                  <a:lnTo>
                    <a:pt x="584" y="843"/>
                  </a:lnTo>
                  <a:lnTo>
                    <a:pt x="584" y="841"/>
                  </a:lnTo>
                  <a:lnTo>
                    <a:pt x="586" y="841"/>
                  </a:lnTo>
                  <a:lnTo>
                    <a:pt x="588" y="841"/>
                  </a:lnTo>
                  <a:lnTo>
                    <a:pt x="588" y="839"/>
                  </a:lnTo>
                  <a:lnTo>
                    <a:pt x="590" y="839"/>
                  </a:lnTo>
                  <a:lnTo>
                    <a:pt x="591" y="839"/>
                  </a:lnTo>
                  <a:lnTo>
                    <a:pt x="591" y="837"/>
                  </a:lnTo>
                  <a:lnTo>
                    <a:pt x="593" y="837"/>
                  </a:lnTo>
                  <a:lnTo>
                    <a:pt x="595" y="837"/>
                  </a:lnTo>
                  <a:lnTo>
                    <a:pt x="595" y="835"/>
                  </a:lnTo>
                  <a:lnTo>
                    <a:pt x="595" y="833"/>
                  </a:lnTo>
                  <a:lnTo>
                    <a:pt x="597" y="833"/>
                  </a:lnTo>
                  <a:lnTo>
                    <a:pt x="597" y="831"/>
                  </a:lnTo>
                  <a:lnTo>
                    <a:pt x="599" y="831"/>
                  </a:lnTo>
                  <a:lnTo>
                    <a:pt x="599" y="829"/>
                  </a:lnTo>
                  <a:lnTo>
                    <a:pt x="599" y="827"/>
                  </a:lnTo>
                  <a:lnTo>
                    <a:pt x="601" y="827"/>
                  </a:lnTo>
                  <a:lnTo>
                    <a:pt x="599" y="827"/>
                  </a:lnTo>
                  <a:lnTo>
                    <a:pt x="599" y="826"/>
                  </a:lnTo>
                  <a:lnTo>
                    <a:pt x="601" y="826"/>
                  </a:lnTo>
                  <a:lnTo>
                    <a:pt x="599" y="826"/>
                  </a:lnTo>
                  <a:lnTo>
                    <a:pt x="601" y="826"/>
                  </a:lnTo>
                  <a:lnTo>
                    <a:pt x="599" y="826"/>
                  </a:lnTo>
                  <a:lnTo>
                    <a:pt x="601" y="826"/>
                  </a:lnTo>
                  <a:lnTo>
                    <a:pt x="603" y="826"/>
                  </a:lnTo>
                  <a:lnTo>
                    <a:pt x="603" y="824"/>
                  </a:lnTo>
                  <a:lnTo>
                    <a:pt x="605" y="824"/>
                  </a:lnTo>
                  <a:lnTo>
                    <a:pt x="605" y="822"/>
                  </a:lnTo>
                  <a:lnTo>
                    <a:pt x="607" y="822"/>
                  </a:lnTo>
                  <a:lnTo>
                    <a:pt x="609" y="820"/>
                  </a:lnTo>
                  <a:lnTo>
                    <a:pt x="609" y="818"/>
                  </a:lnTo>
                  <a:lnTo>
                    <a:pt x="611" y="818"/>
                  </a:lnTo>
                  <a:lnTo>
                    <a:pt x="611" y="816"/>
                  </a:lnTo>
                  <a:lnTo>
                    <a:pt x="613" y="816"/>
                  </a:lnTo>
                  <a:lnTo>
                    <a:pt x="613" y="814"/>
                  </a:lnTo>
                  <a:lnTo>
                    <a:pt x="613" y="812"/>
                  </a:lnTo>
                  <a:lnTo>
                    <a:pt x="613" y="810"/>
                  </a:lnTo>
                  <a:lnTo>
                    <a:pt x="613" y="808"/>
                  </a:lnTo>
                  <a:lnTo>
                    <a:pt x="611" y="808"/>
                  </a:lnTo>
                  <a:lnTo>
                    <a:pt x="611" y="806"/>
                  </a:lnTo>
                  <a:lnTo>
                    <a:pt x="611" y="804"/>
                  </a:lnTo>
                  <a:lnTo>
                    <a:pt x="611" y="803"/>
                  </a:lnTo>
                  <a:lnTo>
                    <a:pt x="611" y="801"/>
                  </a:lnTo>
                  <a:lnTo>
                    <a:pt x="611" y="799"/>
                  </a:lnTo>
                  <a:lnTo>
                    <a:pt x="611" y="797"/>
                  </a:lnTo>
                  <a:lnTo>
                    <a:pt x="609" y="797"/>
                  </a:lnTo>
                  <a:lnTo>
                    <a:pt x="609" y="795"/>
                  </a:lnTo>
                  <a:lnTo>
                    <a:pt x="609" y="793"/>
                  </a:lnTo>
                  <a:lnTo>
                    <a:pt x="609" y="791"/>
                  </a:lnTo>
                  <a:lnTo>
                    <a:pt x="609" y="789"/>
                  </a:lnTo>
                  <a:lnTo>
                    <a:pt x="609" y="787"/>
                  </a:lnTo>
                  <a:lnTo>
                    <a:pt x="609" y="785"/>
                  </a:lnTo>
                  <a:lnTo>
                    <a:pt x="607" y="785"/>
                  </a:lnTo>
                  <a:lnTo>
                    <a:pt x="607" y="783"/>
                  </a:lnTo>
                  <a:lnTo>
                    <a:pt x="607" y="781"/>
                  </a:lnTo>
                  <a:lnTo>
                    <a:pt x="607" y="779"/>
                  </a:lnTo>
                  <a:lnTo>
                    <a:pt x="607" y="778"/>
                  </a:lnTo>
                  <a:lnTo>
                    <a:pt x="607" y="776"/>
                  </a:lnTo>
                  <a:lnTo>
                    <a:pt x="605" y="776"/>
                  </a:lnTo>
                  <a:lnTo>
                    <a:pt x="605" y="774"/>
                  </a:lnTo>
                  <a:lnTo>
                    <a:pt x="605" y="772"/>
                  </a:lnTo>
                  <a:lnTo>
                    <a:pt x="605" y="770"/>
                  </a:lnTo>
                  <a:lnTo>
                    <a:pt x="603" y="770"/>
                  </a:lnTo>
                  <a:lnTo>
                    <a:pt x="603" y="768"/>
                  </a:lnTo>
                  <a:lnTo>
                    <a:pt x="605" y="768"/>
                  </a:lnTo>
                  <a:lnTo>
                    <a:pt x="603" y="768"/>
                  </a:lnTo>
                  <a:lnTo>
                    <a:pt x="605" y="768"/>
                  </a:lnTo>
                  <a:lnTo>
                    <a:pt x="605" y="766"/>
                  </a:lnTo>
                  <a:lnTo>
                    <a:pt x="605" y="764"/>
                  </a:lnTo>
                  <a:lnTo>
                    <a:pt x="607" y="764"/>
                  </a:lnTo>
                  <a:lnTo>
                    <a:pt x="607" y="762"/>
                  </a:lnTo>
                  <a:lnTo>
                    <a:pt x="607" y="760"/>
                  </a:lnTo>
                  <a:lnTo>
                    <a:pt x="607" y="762"/>
                  </a:lnTo>
                  <a:lnTo>
                    <a:pt x="609" y="762"/>
                  </a:lnTo>
                  <a:lnTo>
                    <a:pt x="609" y="760"/>
                  </a:lnTo>
                  <a:lnTo>
                    <a:pt x="609" y="762"/>
                  </a:lnTo>
                  <a:lnTo>
                    <a:pt x="607" y="762"/>
                  </a:lnTo>
                  <a:lnTo>
                    <a:pt x="609" y="762"/>
                  </a:lnTo>
                  <a:lnTo>
                    <a:pt x="609" y="760"/>
                  </a:lnTo>
                  <a:lnTo>
                    <a:pt x="607" y="760"/>
                  </a:lnTo>
                  <a:lnTo>
                    <a:pt x="609" y="760"/>
                  </a:lnTo>
                  <a:lnTo>
                    <a:pt x="609" y="758"/>
                  </a:lnTo>
                  <a:lnTo>
                    <a:pt x="609" y="756"/>
                  </a:lnTo>
                  <a:lnTo>
                    <a:pt x="609" y="755"/>
                  </a:lnTo>
                  <a:lnTo>
                    <a:pt x="609" y="753"/>
                  </a:lnTo>
                  <a:lnTo>
                    <a:pt x="607" y="753"/>
                  </a:lnTo>
                  <a:lnTo>
                    <a:pt x="609" y="753"/>
                  </a:lnTo>
                  <a:lnTo>
                    <a:pt x="607" y="753"/>
                  </a:lnTo>
                  <a:lnTo>
                    <a:pt x="609" y="753"/>
                  </a:lnTo>
                  <a:lnTo>
                    <a:pt x="607" y="753"/>
                  </a:lnTo>
                  <a:lnTo>
                    <a:pt x="609" y="753"/>
                  </a:lnTo>
                  <a:lnTo>
                    <a:pt x="609" y="751"/>
                  </a:lnTo>
                  <a:lnTo>
                    <a:pt x="611" y="751"/>
                  </a:lnTo>
                  <a:lnTo>
                    <a:pt x="611" y="749"/>
                  </a:lnTo>
                  <a:lnTo>
                    <a:pt x="611" y="747"/>
                  </a:lnTo>
                  <a:lnTo>
                    <a:pt x="613" y="747"/>
                  </a:lnTo>
                  <a:lnTo>
                    <a:pt x="613" y="745"/>
                  </a:lnTo>
                  <a:lnTo>
                    <a:pt x="614" y="745"/>
                  </a:lnTo>
                  <a:lnTo>
                    <a:pt x="614" y="743"/>
                  </a:lnTo>
                  <a:lnTo>
                    <a:pt x="616" y="743"/>
                  </a:lnTo>
                  <a:lnTo>
                    <a:pt x="616" y="741"/>
                  </a:lnTo>
                  <a:lnTo>
                    <a:pt x="616" y="739"/>
                  </a:lnTo>
                  <a:lnTo>
                    <a:pt x="616" y="737"/>
                  </a:lnTo>
                  <a:lnTo>
                    <a:pt x="616" y="735"/>
                  </a:lnTo>
                  <a:lnTo>
                    <a:pt x="618" y="735"/>
                  </a:lnTo>
                  <a:lnTo>
                    <a:pt x="618" y="733"/>
                  </a:lnTo>
                  <a:lnTo>
                    <a:pt x="618" y="731"/>
                  </a:lnTo>
                  <a:lnTo>
                    <a:pt x="620" y="731"/>
                  </a:lnTo>
                  <a:lnTo>
                    <a:pt x="620" y="730"/>
                  </a:lnTo>
                  <a:lnTo>
                    <a:pt x="620" y="728"/>
                  </a:lnTo>
                  <a:lnTo>
                    <a:pt x="618" y="728"/>
                  </a:lnTo>
                  <a:lnTo>
                    <a:pt x="618" y="726"/>
                  </a:lnTo>
                  <a:lnTo>
                    <a:pt x="618" y="724"/>
                  </a:lnTo>
                  <a:lnTo>
                    <a:pt x="618" y="722"/>
                  </a:lnTo>
                  <a:lnTo>
                    <a:pt x="618" y="720"/>
                  </a:lnTo>
                  <a:lnTo>
                    <a:pt x="616" y="720"/>
                  </a:lnTo>
                  <a:lnTo>
                    <a:pt x="616" y="718"/>
                  </a:lnTo>
                  <a:lnTo>
                    <a:pt x="614" y="718"/>
                  </a:lnTo>
                  <a:lnTo>
                    <a:pt x="614" y="716"/>
                  </a:lnTo>
                  <a:lnTo>
                    <a:pt x="614" y="714"/>
                  </a:lnTo>
                  <a:lnTo>
                    <a:pt x="614" y="716"/>
                  </a:lnTo>
                  <a:lnTo>
                    <a:pt x="614" y="714"/>
                  </a:lnTo>
                  <a:lnTo>
                    <a:pt x="614" y="716"/>
                  </a:lnTo>
                  <a:lnTo>
                    <a:pt x="614" y="714"/>
                  </a:lnTo>
                  <a:lnTo>
                    <a:pt x="613" y="714"/>
                  </a:lnTo>
                  <a:lnTo>
                    <a:pt x="613" y="712"/>
                  </a:lnTo>
                  <a:lnTo>
                    <a:pt x="613" y="714"/>
                  </a:lnTo>
                  <a:lnTo>
                    <a:pt x="613" y="712"/>
                  </a:lnTo>
                  <a:lnTo>
                    <a:pt x="613" y="714"/>
                  </a:lnTo>
                  <a:lnTo>
                    <a:pt x="613" y="712"/>
                  </a:lnTo>
                  <a:lnTo>
                    <a:pt x="613" y="710"/>
                  </a:lnTo>
                  <a:lnTo>
                    <a:pt x="613" y="708"/>
                  </a:lnTo>
                  <a:lnTo>
                    <a:pt x="611" y="708"/>
                  </a:lnTo>
                  <a:lnTo>
                    <a:pt x="613" y="708"/>
                  </a:lnTo>
                  <a:lnTo>
                    <a:pt x="611" y="708"/>
                  </a:lnTo>
                  <a:lnTo>
                    <a:pt x="611" y="707"/>
                  </a:lnTo>
                  <a:lnTo>
                    <a:pt x="611" y="708"/>
                  </a:lnTo>
                  <a:lnTo>
                    <a:pt x="611" y="707"/>
                  </a:lnTo>
                  <a:lnTo>
                    <a:pt x="611" y="708"/>
                  </a:lnTo>
                  <a:lnTo>
                    <a:pt x="611" y="707"/>
                  </a:lnTo>
                  <a:lnTo>
                    <a:pt x="611" y="708"/>
                  </a:lnTo>
                  <a:lnTo>
                    <a:pt x="609" y="708"/>
                  </a:lnTo>
                  <a:lnTo>
                    <a:pt x="607" y="708"/>
                  </a:lnTo>
                  <a:lnTo>
                    <a:pt x="607" y="707"/>
                  </a:lnTo>
                  <a:lnTo>
                    <a:pt x="607" y="705"/>
                  </a:lnTo>
                  <a:lnTo>
                    <a:pt x="605" y="705"/>
                  </a:lnTo>
                  <a:lnTo>
                    <a:pt x="607" y="705"/>
                  </a:lnTo>
                  <a:lnTo>
                    <a:pt x="605" y="705"/>
                  </a:lnTo>
                  <a:lnTo>
                    <a:pt x="605" y="703"/>
                  </a:lnTo>
                  <a:lnTo>
                    <a:pt x="605" y="705"/>
                  </a:lnTo>
                  <a:lnTo>
                    <a:pt x="605" y="703"/>
                  </a:lnTo>
                  <a:lnTo>
                    <a:pt x="605" y="705"/>
                  </a:lnTo>
                  <a:lnTo>
                    <a:pt x="605" y="703"/>
                  </a:lnTo>
                  <a:lnTo>
                    <a:pt x="605" y="705"/>
                  </a:lnTo>
                  <a:lnTo>
                    <a:pt x="605" y="703"/>
                  </a:lnTo>
                  <a:lnTo>
                    <a:pt x="605" y="705"/>
                  </a:lnTo>
                  <a:lnTo>
                    <a:pt x="605" y="703"/>
                  </a:lnTo>
                  <a:lnTo>
                    <a:pt x="603" y="703"/>
                  </a:lnTo>
                  <a:lnTo>
                    <a:pt x="605" y="703"/>
                  </a:lnTo>
                  <a:lnTo>
                    <a:pt x="603" y="703"/>
                  </a:lnTo>
                  <a:lnTo>
                    <a:pt x="603" y="701"/>
                  </a:lnTo>
                  <a:lnTo>
                    <a:pt x="601" y="701"/>
                  </a:lnTo>
                  <a:lnTo>
                    <a:pt x="603" y="701"/>
                  </a:lnTo>
                  <a:lnTo>
                    <a:pt x="601" y="701"/>
                  </a:lnTo>
                  <a:lnTo>
                    <a:pt x="603" y="701"/>
                  </a:lnTo>
                  <a:lnTo>
                    <a:pt x="601" y="701"/>
                  </a:lnTo>
                  <a:lnTo>
                    <a:pt x="601" y="699"/>
                  </a:lnTo>
                  <a:lnTo>
                    <a:pt x="599" y="699"/>
                  </a:lnTo>
                  <a:lnTo>
                    <a:pt x="599" y="697"/>
                  </a:lnTo>
                  <a:lnTo>
                    <a:pt x="601" y="697"/>
                  </a:lnTo>
                  <a:lnTo>
                    <a:pt x="599" y="697"/>
                  </a:lnTo>
                  <a:lnTo>
                    <a:pt x="601" y="697"/>
                  </a:lnTo>
                  <a:lnTo>
                    <a:pt x="599" y="697"/>
                  </a:lnTo>
                  <a:lnTo>
                    <a:pt x="597" y="697"/>
                  </a:lnTo>
                  <a:lnTo>
                    <a:pt x="595" y="697"/>
                  </a:lnTo>
                  <a:lnTo>
                    <a:pt x="595" y="695"/>
                  </a:lnTo>
                  <a:lnTo>
                    <a:pt x="593" y="695"/>
                  </a:lnTo>
                  <a:lnTo>
                    <a:pt x="593" y="697"/>
                  </a:lnTo>
                  <a:lnTo>
                    <a:pt x="593" y="695"/>
                  </a:lnTo>
                  <a:lnTo>
                    <a:pt x="593" y="697"/>
                  </a:lnTo>
                  <a:lnTo>
                    <a:pt x="593" y="695"/>
                  </a:lnTo>
                  <a:lnTo>
                    <a:pt x="593" y="697"/>
                  </a:lnTo>
                  <a:lnTo>
                    <a:pt x="593" y="695"/>
                  </a:lnTo>
                  <a:lnTo>
                    <a:pt x="595" y="695"/>
                  </a:lnTo>
                  <a:lnTo>
                    <a:pt x="595" y="693"/>
                  </a:lnTo>
                  <a:lnTo>
                    <a:pt x="595" y="695"/>
                  </a:lnTo>
                  <a:lnTo>
                    <a:pt x="595" y="693"/>
                  </a:lnTo>
                  <a:lnTo>
                    <a:pt x="595" y="695"/>
                  </a:lnTo>
                  <a:lnTo>
                    <a:pt x="595" y="693"/>
                  </a:lnTo>
                  <a:lnTo>
                    <a:pt x="593" y="693"/>
                  </a:lnTo>
                  <a:lnTo>
                    <a:pt x="593" y="695"/>
                  </a:lnTo>
                  <a:lnTo>
                    <a:pt x="593" y="693"/>
                  </a:lnTo>
                  <a:lnTo>
                    <a:pt x="595" y="693"/>
                  </a:lnTo>
                  <a:lnTo>
                    <a:pt x="593" y="693"/>
                  </a:lnTo>
                  <a:lnTo>
                    <a:pt x="595" y="693"/>
                  </a:lnTo>
                  <a:lnTo>
                    <a:pt x="597" y="693"/>
                  </a:lnTo>
                  <a:lnTo>
                    <a:pt x="599" y="693"/>
                  </a:lnTo>
                  <a:lnTo>
                    <a:pt x="601" y="693"/>
                  </a:lnTo>
                  <a:lnTo>
                    <a:pt x="603" y="693"/>
                  </a:lnTo>
                  <a:lnTo>
                    <a:pt x="605" y="693"/>
                  </a:lnTo>
                  <a:lnTo>
                    <a:pt x="607" y="693"/>
                  </a:lnTo>
                  <a:lnTo>
                    <a:pt x="607" y="691"/>
                  </a:lnTo>
                  <a:lnTo>
                    <a:pt x="609" y="691"/>
                  </a:lnTo>
                  <a:lnTo>
                    <a:pt x="611" y="691"/>
                  </a:lnTo>
                  <a:lnTo>
                    <a:pt x="613" y="691"/>
                  </a:lnTo>
                  <a:lnTo>
                    <a:pt x="613" y="693"/>
                  </a:lnTo>
                  <a:lnTo>
                    <a:pt x="613" y="695"/>
                  </a:lnTo>
                  <a:lnTo>
                    <a:pt x="611" y="695"/>
                  </a:lnTo>
                  <a:lnTo>
                    <a:pt x="611" y="697"/>
                  </a:lnTo>
                  <a:lnTo>
                    <a:pt x="611" y="699"/>
                  </a:lnTo>
                  <a:lnTo>
                    <a:pt x="613" y="699"/>
                  </a:lnTo>
                  <a:lnTo>
                    <a:pt x="614" y="699"/>
                  </a:lnTo>
                  <a:lnTo>
                    <a:pt x="614" y="701"/>
                  </a:lnTo>
                  <a:lnTo>
                    <a:pt x="614" y="703"/>
                  </a:lnTo>
                  <a:lnTo>
                    <a:pt x="616" y="703"/>
                  </a:lnTo>
                  <a:lnTo>
                    <a:pt x="616" y="705"/>
                  </a:lnTo>
                  <a:lnTo>
                    <a:pt x="614" y="705"/>
                  </a:lnTo>
                  <a:lnTo>
                    <a:pt x="616" y="705"/>
                  </a:lnTo>
                  <a:lnTo>
                    <a:pt x="616" y="707"/>
                  </a:lnTo>
                  <a:lnTo>
                    <a:pt x="618" y="707"/>
                  </a:lnTo>
                  <a:lnTo>
                    <a:pt x="618" y="705"/>
                  </a:lnTo>
                  <a:lnTo>
                    <a:pt x="618" y="707"/>
                  </a:lnTo>
                  <a:lnTo>
                    <a:pt x="618" y="708"/>
                  </a:lnTo>
                  <a:lnTo>
                    <a:pt x="620" y="708"/>
                  </a:lnTo>
                  <a:lnTo>
                    <a:pt x="622" y="708"/>
                  </a:lnTo>
                  <a:lnTo>
                    <a:pt x="624" y="708"/>
                  </a:lnTo>
                  <a:lnTo>
                    <a:pt x="622" y="708"/>
                  </a:lnTo>
                  <a:lnTo>
                    <a:pt x="622" y="710"/>
                  </a:lnTo>
                  <a:lnTo>
                    <a:pt x="622" y="712"/>
                  </a:lnTo>
                  <a:lnTo>
                    <a:pt x="622" y="710"/>
                  </a:lnTo>
                  <a:lnTo>
                    <a:pt x="624" y="710"/>
                  </a:lnTo>
                  <a:lnTo>
                    <a:pt x="626" y="710"/>
                  </a:lnTo>
                  <a:lnTo>
                    <a:pt x="624" y="710"/>
                  </a:lnTo>
                  <a:lnTo>
                    <a:pt x="624" y="712"/>
                  </a:lnTo>
                  <a:lnTo>
                    <a:pt x="626" y="712"/>
                  </a:lnTo>
                  <a:lnTo>
                    <a:pt x="626" y="710"/>
                  </a:lnTo>
                  <a:lnTo>
                    <a:pt x="628" y="710"/>
                  </a:lnTo>
                  <a:lnTo>
                    <a:pt x="628" y="708"/>
                  </a:lnTo>
                  <a:lnTo>
                    <a:pt x="626" y="708"/>
                  </a:lnTo>
                  <a:lnTo>
                    <a:pt x="626" y="707"/>
                  </a:lnTo>
                  <a:lnTo>
                    <a:pt x="628" y="707"/>
                  </a:lnTo>
                  <a:lnTo>
                    <a:pt x="630" y="707"/>
                  </a:lnTo>
                  <a:lnTo>
                    <a:pt x="630" y="708"/>
                  </a:lnTo>
                  <a:lnTo>
                    <a:pt x="628" y="708"/>
                  </a:lnTo>
                  <a:lnTo>
                    <a:pt x="628" y="710"/>
                  </a:lnTo>
                  <a:lnTo>
                    <a:pt x="628" y="712"/>
                  </a:lnTo>
                  <a:lnTo>
                    <a:pt x="628" y="710"/>
                  </a:lnTo>
                  <a:lnTo>
                    <a:pt x="628" y="712"/>
                  </a:lnTo>
                  <a:lnTo>
                    <a:pt x="630" y="712"/>
                  </a:lnTo>
                  <a:lnTo>
                    <a:pt x="628" y="712"/>
                  </a:lnTo>
                  <a:lnTo>
                    <a:pt x="628" y="714"/>
                  </a:lnTo>
                  <a:lnTo>
                    <a:pt x="628" y="716"/>
                  </a:lnTo>
                  <a:lnTo>
                    <a:pt x="626" y="716"/>
                  </a:lnTo>
                  <a:lnTo>
                    <a:pt x="626" y="718"/>
                  </a:lnTo>
                  <a:lnTo>
                    <a:pt x="624" y="718"/>
                  </a:lnTo>
                  <a:lnTo>
                    <a:pt x="624" y="720"/>
                  </a:lnTo>
                  <a:lnTo>
                    <a:pt x="624" y="722"/>
                  </a:lnTo>
                  <a:lnTo>
                    <a:pt x="626" y="722"/>
                  </a:lnTo>
                  <a:lnTo>
                    <a:pt x="626" y="720"/>
                  </a:lnTo>
                  <a:lnTo>
                    <a:pt x="626" y="718"/>
                  </a:lnTo>
                  <a:lnTo>
                    <a:pt x="628" y="718"/>
                  </a:lnTo>
                  <a:lnTo>
                    <a:pt x="630" y="716"/>
                  </a:lnTo>
                  <a:lnTo>
                    <a:pt x="632" y="716"/>
                  </a:lnTo>
                  <a:lnTo>
                    <a:pt x="634" y="716"/>
                  </a:lnTo>
                  <a:lnTo>
                    <a:pt x="636" y="716"/>
                  </a:lnTo>
                  <a:lnTo>
                    <a:pt x="636" y="718"/>
                  </a:lnTo>
                  <a:lnTo>
                    <a:pt x="636" y="720"/>
                  </a:lnTo>
                  <a:lnTo>
                    <a:pt x="636" y="722"/>
                  </a:lnTo>
                  <a:lnTo>
                    <a:pt x="636" y="724"/>
                  </a:lnTo>
                  <a:lnTo>
                    <a:pt x="636" y="726"/>
                  </a:lnTo>
                  <a:lnTo>
                    <a:pt x="636" y="728"/>
                  </a:lnTo>
                  <a:lnTo>
                    <a:pt x="634" y="728"/>
                  </a:lnTo>
                  <a:lnTo>
                    <a:pt x="636" y="728"/>
                  </a:lnTo>
                  <a:lnTo>
                    <a:pt x="634" y="728"/>
                  </a:lnTo>
                  <a:lnTo>
                    <a:pt x="636" y="728"/>
                  </a:lnTo>
                  <a:lnTo>
                    <a:pt x="634" y="728"/>
                  </a:lnTo>
                  <a:lnTo>
                    <a:pt x="636" y="728"/>
                  </a:lnTo>
                  <a:lnTo>
                    <a:pt x="636" y="730"/>
                  </a:lnTo>
                  <a:lnTo>
                    <a:pt x="636" y="728"/>
                  </a:lnTo>
                  <a:lnTo>
                    <a:pt x="638" y="728"/>
                  </a:lnTo>
                  <a:lnTo>
                    <a:pt x="638" y="726"/>
                  </a:lnTo>
                  <a:lnTo>
                    <a:pt x="638" y="724"/>
                  </a:lnTo>
                  <a:lnTo>
                    <a:pt x="639" y="724"/>
                  </a:lnTo>
                  <a:lnTo>
                    <a:pt x="639" y="722"/>
                  </a:lnTo>
                  <a:lnTo>
                    <a:pt x="641" y="722"/>
                  </a:lnTo>
                  <a:lnTo>
                    <a:pt x="641" y="720"/>
                  </a:lnTo>
                  <a:lnTo>
                    <a:pt x="643" y="720"/>
                  </a:lnTo>
                  <a:lnTo>
                    <a:pt x="641" y="720"/>
                  </a:lnTo>
                  <a:lnTo>
                    <a:pt x="643" y="720"/>
                  </a:lnTo>
                  <a:lnTo>
                    <a:pt x="645" y="720"/>
                  </a:lnTo>
                  <a:lnTo>
                    <a:pt x="647" y="720"/>
                  </a:lnTo>
                  <a:lnTo>
                    <a:pt x="649" y="720"/>
                  </a:lnTo>
                  <a:lnTo>
                    <a:pt x="649" y="722"/>
                  </a:lnTo>
                  <a:lnTo>
                    <a:pt x="649" y="724"/>
                  </a:lnTo>
                  <a:lnTo>
                    <a:pt x="649" y="726"/>
                  </a:lnTo>
                  <a:lnTo>
                    <a:pt x="651" y="726"/>
                  </a:lnTo>
                  <a:lnTo>
                    <a:pt x="653" y="726"/>
                  </a:lnTo>
                  <a:lnTo>
                    <a:pt x="655" y="726"/>
                  </a:lnTo>
                  <a:lnTo>
                    <a:pt x="655" y="728"/>
                  </a:lnTo>
                  <a:lnTo>
                    <a:pt x="657" y="728"/>
                  </a:lnTo>
                  <a:lnTo>
                    <a:pt x="659" y="728"/>
                  </a:lnTo>
                  <a:lnTo>
                    <a:pt x="661" y="728"/>
                  </a:lnTo>
                  <a:lnTo>
                    <a:pt x="662" y="728"/>
                  </a:lnTo>
                  <a:lnTo>
                    <a:pt x="664" y="728"/>
                  </a:lnTo>
                  <a:lnTo>
                    <a:pt x="664" y="730"/>
                  </a:lnTo>
                  <a:lnTo>
                    <a:pt x="664" y="728"/>
                  </a:lnTo>
                  <a:lnTo>
                    <a:pt x="666" y="728"/>
                  </a:lnTo>
                  <a:lnTo>
                    <a:pt x="666" y="730"/>
                  </a:lnTo>
                  <a:lnTo>
                    <a:pt x="666" y="728"/>
                  </a:lnTo>
                  <a:lnTo>
                    <a:pt x="668" y="728"/>
                  </a:lnTo>
                  <a:lnTo>
                    <a:pt x="668" y="730"/>
                  </a:lnTo>
                  <a:lnTo>
                    <a:pt x="668" y="728"/>
                  </a:lnTo>
                  <a:lnTo>
                    <a:pt x="668" y="730"/>
                  </a:lnTo>
                  <a:lnTo>
                    <a:pt x="670" y="730"/>
                  </a:lnTo>
                  <a:lnTo>
                    <a:pt x="672" y="730"/>
                  </a:lnTo>
                  <a:lnTo>
                    <a:pt x="674" y="730"/>
                  </a:lnTo>
                  <a:lnTo>
                    <a:pt x="672" y="730"/>
                  </a:lnTo>
                  <a:lnTo>
                    <a:pt x="674" y="730"/>
                  </a:lnTo>
                  <a:lnTo>
                    <a:pt x="674" y="731"/>
                  </a:lnTo>
                  <a:lnTo>
                    <a:pt x="674" y="730"/>
                  </a:lnTo>
                  <a:lnTo>
                    <a:pt x="676" y="730"/>
                  </a:lnTo>
                  <a:lnTo>
                    <a:pt x="676" y="728"/>
                  </a:lnTo>
                  <a:lnTo>
                    <a:pt x="678" y="728"/>
                  </a:lnTo>
                  <a:lnTo>
                    <a:pt x="678" y="726"/>
                  </a:lnTo>
                  <a:lnTo>
                    <a:pt x="678" y="724"/>
                  </a:lnTo>
                  <a:lnTo>
                    <a:pt x="678" y="722"/>
                  </a:lnTo>
                  <a:lnTo>
                    <a:pt x="678" y="720"/>
                  </a:lnTo>
                  <a:lnTo>
                    <a:pt x="678" y="718"/>
                  </a:lnTo>
                  <a:lnTo>
                    <a:pt x="678" y="716"/>
                  </a:lnTo>
                  <a:lnTo>
                    <a:pt x="676" y="716"/>
                  </a:lnTo>
                  <a:lnTo>
                    <a:pt x="676" y="714"/>
                  </a:lnTo>
                  <a:lnTo>
                    <a:pt x="674" y="714"/>
                  </a:lnTo>
                  <a:lnTo>
                    <a:pt x="672" y="714"/>
                  </a:lnTo>
                  <a:lnTo>
                    <a:pt x="672" y="712"/>
                  </a:lnTo>
                  <a:lnTo>
                    <a:pt x="672" y="714"/>
                  </a:lnTo>
                  <a:lnTo>
                    <a:pt x="672" y="712"/>
                  </a:lnTo>
                  <a:lnTo>
                    <a:pt x="670" y="712"/>
                  </a:lnTo>
                  <a:lnTo>
                    <a:pt x="670" y="710"/>
                  </a:lnTo>
                  <a:lnTo>
                    <a:pt x="670" y="708"/>
                  </a:lnTo>
                  <a:lnTo>
                    <a:pt x="672" y="708"/>
                  </a:lnTo>
                  <a:lnTo>
                    <a:pt x="672" y="707"/>
                  </a:lnTo>
                  <a:lnTo>
                    <a:pt x="674" y="707"/>
                  </a:lnTo>
                  <a:lnTo>
                    <a:pt x="672" y="707"/>
                  </a:lnTo>
                  <a:lnTo>
                    <a:pt x="674" y="707"/>
                  </a:lnTo>
                  <a:lnTo>
                    <a:pt x="674" y="705"/>
                  </a:lnTo>
                  <a:lnTo>
                    <a:pt x="674" y="707"/>
                  </a:lnTo>
                  <a:lnTo>
                    <a:pt x="674" y="705"/>
                  </a:lnTo>
                  <a:lnTo>
                    <a:pt x="676" y="705"/>
                  </a:lnTo>
                  <a:lnTo>
                    <a:pt x="678" y="705"/>
                  </a:lnTo>
                  <a:lnTo>
                    <a:pt x="680" y="705"/>
                  </a:lnTo>
                  <a:lnTo>
                    <a:pt x="680" y="707"/>
                  </a:lnTo>
                  <a:lnTo>
                    <a:pt x="678" y="707"/>
                  </a:lnTo>
                  <a:lnTo>
                    <a:pt x="678" y="708"/>
                  </a:lnTo>
                  <a:lnTo>
                    <a:pt x="678" y="710"/>
                  </a:lnTo>
                  <a:lnTo>
                    <a:pt x="678" y="708"/>
                  </a:lnTo>
                  <a:lnTo>
                    <a:pt x="680" y="708"/>
                  </a:lnTo>
                  <a:lnTo>
                    <a:pt x="680" y="707"/>
                  </a:lnTo>
                  <a:lnTo>
                    <a:pt x="682" y="707"/>
                  </a:lnTo>
                  <a:lnTo>
                    <a:pt x="682" y="708"/>
                  </a:lnTo>
                  <a:lnTo>
                    <a:pt x="682" y="710"/>
                  </a:lnTo>
                  <a:lnTo>
                    <a:pt x="680" y="710"/>
                  </a:lnTo>
                  <a:lnTo>
                    <a:pt x="682" y="710"/>
                  </a:lnTo>
                  <a:lnTo>
                    <a:pt x="680" y="710"/>
                  </a:lnTo>
                  <a:lnTo>
                    <a:pt x="682" y="710"/>
                  </a:lnTo>
                  <a:lnTo>
                    <a:pt x="684" y="710"/>
                  </a:lnTo>
                  <a:lnTo>
                    <a:pt x="684" y="712"/>
                  </a:lnTo>
                  <a:lnTo>
                    <a:pt x="684" y="710"/>
                  </a:lnTo>
                  <a:lnTo>
                    <a:pt x="682" y="710"/>
                  </a:lnTo>
                  <a:lnTo>
                    <a:pt x="684" y="710"/>
                  </a:lnTo>
                  <a:lnTo>
                    <a:pt x="684" y="708"/>
                  </a:lnTo>
                  <a:lnTo>
                    <a:pt x="684" y="710"/>
                  </a:lnTo>
                  <a:lnTo>
                    <a:pt x="686" y="710"/>
                  </a:lnTo>
                  <a:lnTo>
                    <a:pt x="684" y="710"/>
                  </a:lnTo>
                  <a:lnTo>
                    <a:pt x="686" y="710"/>
                  </a:lnTo>
                  <a:lnTo>
                    <a:pt x="686" y="712"/>
                  </a:lnTo>
                  <a:lnTo>
                    <a:pt x="686" y="710"/>
                  </a:lnTo>
                  <a:lnTo>
                    <a:pt x="686" y="708"/>
                  </a:lnTo>
                  <a:lnTo>
                    <a:pt x="687" y="708"/>
                  </a:lnTo>
                  <a:lnTo>
                    <a:pt x="686" y="708"/>
                  </a:lnTo>
                  <a:lnTo>
                    <a:pt x="686" y="710"/>
                  </a:lnTo>
                  <a:lnTo>
                    <a:pt x="687" y="710"/>
                  </a:lnTo>
                  <a:lnTo>
                    <a:pt x="687" y="708"/>
                  </a:lnTo>
                  <a:lnTo>
                    <a:pt x="689" y="708"/>
                  </a:lnTo>
                  <a:lnTo>
                    <a:pt x="687" y="708"/>
                  </a:lnTo>
                  <a:lnTo>
                    <a:pt x="689" y="708"/>
                  </a:lnTo>
                  <a:lnTo>
                    <a:pt x="687" y="708"/>
                  </a:lnTo>
                  <a:lnTo>
                    <a:pt x="687" y="707"/>
                  </a:lnTo>
                  <a:lnTo>
                    <a:pt x="687" y="708"/>
                  </a:lnTo>
                  <a:lnTo>
                    <a:pt x="687" y="707"/>
                  </a:lnTo>
                  <a:lnTo>
                    <a:pt x="686" y="707"/>
                  </a:lnTo>
                  <a:lnTo>
                    <a:pt x="684" y="707"/>
                  </a:lnTo>
                  <a:lnTo>
                    <a:pt x="686" y="707"/>
                  </a:lnTo>
                  <a:lnTo>
                    <a:pt x="686" y="705"/>
                  </a:lnTo>
                  <a:lnTo>
                    <a:pt x="684" y="705"/>
                  </a:lnTo>
                  <a:lnTo>
                    <a:pt x="686" y="705"/>
                  </a:lnTo>
                  <a:lnTo>
                    <a:pt x="684" y="705"/>
                  </a:lnTo>
                  <a:lnTo>
                    <a:pt x="686" y="705"/>
                  </a:lnTo>
                  <a:lnTo>
                    <a:pt x="684" y="705"/>
                  </a:lnTo>
                  <a:lnTo>
                    <a:pt x="686" y="705"/>
                  </a:lnTo>
                  <a:lnTo>
                    <a:pt x="684" y="705"/>
                  </a:lnTo>
                  <a:lnTo>
                    <a:pt x="686" y="705"/>
                  </a:lnTo>
                  <a:lnTo>
                    <a:pt x="684" y="705"/>
                  </a:lnTo>
                  <a:lnTo>
                    <a:pt x="686" y="705"/>
                  </a:lnTo>
                  <a:lnTo>
                    <a:pt x="684" y="705"/>
                  </a:lnTo>
                  <a:lnTo>
                    <a:pt x="684" y="703"/>
                  </a:lnTo>
                  <a:lnTo>
                    <a:pt x="682" y="703"/>
                  </a:lnTo>
                  <a:lnTo>
                    <a:pt x="682" y="705"/>
                  </a:lnTo>
                  <a:lnTo>
                    <a:pt x="682" y="703"/>
                  </a:lnTo>
                  <a:lnTo>
                    <a:pt x="684" y="703"/>
                  </a:lnTo>
                  <a:lnTo>
                    <a:pt x="682" y="703"/>
                  </a:lnTo>
                  <a:lnTo>
                    <a:pt x="684" y="703"/>
                  </a:lnTo>
                  <a:lnTo>
                    <a:pt x="686" y="703"/>
                  </a:lnTo>
                  <a:lnTo>
                    <a:pt x="684" y="703"/>
                  </a:lnTo>
                  <a:lnTo>
                    <a:pt x="684" y="701"/>
                  </a:lnTo>
                  <a:lnTo>
                    <a:pt x="686" y="701"/>
                  </a:lnTo>
                  <a:lnTo>
                    <a:pt x="684" y="701"/>
                  </a:lnTo>
                  <a:lnTo>
                    <a:pt x="684" y="703"/>
                  </a:lnTo>
                  <a:lnTo>
                    <a:pt x="682" y="703"/>
                  </a:lnTo>
                  <a:lnTo>
                    <a:pt x="684" y="703"/>
                  </a:lnTo>
                  <a:lnTo>
                    <a:pt x="684" y="701"/>
                  </a:lnTo>
                  <a:lnTo>
                    <a:pt x="684" y="703"/>
                  </a:lnTo>
                  <a:lnTo>
                    <a:pt x="684" y="701"/>
                  </a:lnTo>
                  <a:lnTo>
                    <a:pt x="684" y="699"/>
                  </a:lnTo>
                  <a:lnTo>
                    <a:pt x="684" y="701"/>
                  </a:lnTo>
                  <a:lnTo>
                    <a:pt x="682" y="701"/>
                  </a:lnTo>
                  <a:lnTo>
                    <a:pt x="684" y="701"/>
                  </a:lnTo>
                  <a:lnTo>
                    <a:pt x="682" y="701"/>
                  </a:lnTo>
                  <a:lnTo>
                    <a:pt x="682" y="703"/>
                  </a:lnTo>
                  <a:lnTo>
                    <a:pt x="682" y="701"/>
                  </a:lnTo>
                  <a:lnTo>
                    <a:pt x="680" y="701"/>
                  </a:lnTo>
                  <a:lnTo>
                    <a:pt x="682" y="701"/>
                  </a:lnTo>
                  <a:lnTo>
                    <a:pt x="682" y="699"/>
                  </a:lnTo>
                  <a:lnTo>
                    <a:pt x="682" y="701"/>
                  </a:lnTo>
                  <a:lnTo>
                    <a:pt x="682" y="699"/>
                  </a:lnTo>
                  <a:lnTo>
                    <a:pt x="680" y="699"/>
                  </a:lnTo>
                  <a:lnTo>
                    <a:pt x="682" y="699"/>
                  </a:lnTo>
                  <a:lnTo>
                    <a:pt x="680" y="699"/>
                  </a:lnTo>
                  <a:lnTo>
                    <a:pt x="682" y="699"/>
                  </a:lnTo>
                  <a:lnTo>
                    <a:pt x="680" y="699"/>
                  </a:lnTo>
                  <a:lnTo>
                    <a:pt x="680" y="697"/>
                  </a:lnTo>
                  <a:lnTo>
                    <a:pt x="680" y="699"/>
                  </a:lnTo>
                  <a:lnTo>
                    <a:pt x="680" y="697"/>
                  </a:lnTo>
                  <a:lnTo>
                    <a:pt x="680" y="699"/>
                  </a:lnTo>
                  <a:lnTo>
                    <a:pt x="680" y="697"/>
                  </a:lnTo>
                  <a:lnTo>
                    <a:pt x="680" y="699"/>
                  </a:lnTo>
                  <a:lnTo>
                    <a:pt x="680" y="697"/>
                  </a:lnTo>
                  <a:lnTo>
                    <a:pt x="678" y="697"/>
                  </a:lnTo>
                  <a:lnTo>
                    <a:pt x="678" y="699"/>
                  </a:lnTo>
                  <a:lnTo>
                    <a:pt x="680" y="699"/>
                  </a:lnTo>
                  <a:lnTo>
                    <a:pt x="678" y="699"/>
                  </a:lnTo>
                  <a:lnTo>
                    <a:pt x="678" y="697"/>
                  </a:lnTo>
                  <a:lnTo>
                    <a:pt x="678" y="699"/>
                  </a:lnTo>
                  <a:lnTo>
                    <a:pt x="678" y="697"/>
                  </a:lnTo>
                  <a:lnTo>
                    <a:pt x="678" y="699"/>
                  </a:lnTo>
                  <a:lnTo>
                    <a:pt x="676" y="699"/>
                  </a:lnTo>
                  <a:lnTo>
                    <a:pt x="678" y="699"/>
                  </a:lnTo>
                  <a:lnTo>
                    <a:pt x="676" y="699"/>
                  </a:lnTo>
                  <a:lnTo>
                    <a:pt x="678" y="699"/>
                  </a:lnTo>
                  <a:lnTo>
                    <a:pt x="676" y="699"/>
                  </a:lnTo>
                  <a:lnTo>
                    <a:pt x="676" y="697"/>
                  </a:lnTo>
                  <a:lnTo>
                    <a:pt x="676" y="699"/>
                  </a:lnTo>
                  <a:lnTo>
                    <a:pt x="676" y="697"/>
                  </a:lnTo>
                  <a:lnTo>
                    <a:pt x="676" y="699"/>
                  </a:lnTo>
                  <a:lnTo>
                    <a:pt x="678" y="699"/>
                  </a:lnTo>
                  <a:lnTo>
                    <a:pt x="676" y="699"/>
                  </a:lnTo>
                  <a:lnTo>
                    <a:pt x="676" y="697"/>
                  </a:lnTo>
                  <a:lnTo>
                    <a:pt x="676" y="699"/>
                  </a:lnTo>
                  <a:lnTo>
                    <a:pt x="676" y="697"/>
                  </a:lnTo>
                  <a:lnTo>
                    <a:pt x="676" y="695"/>
                  </a:lnTo>
                  <a:lnTo>
                    <a:pt x="676" y="697"/>
                  </a:lnTo>
                  <a:lnTo>
                    <a:pt x="676" y="695"/>
                  </a:lnTo>
                  <a:lnTo>
                    <a:pt x="676" y="697"/>
                  </a:lnTo>
                  <a:lnTo>
                    <a:pt x="676" y="695"/>
                  </a:lnTo>
                  <a:lnTo>
                    <a:pt x="676" y="697"/>
                  </a:lnTo>
                  <a:lnTo>
                    <a:pt x="678" y="697"/>
                  </a:lnTo>
                  <a:lnTo>
                    <a:pt x="676" y="697"/>
                  </a:lnTo>
                  <a:lnTo>
                    <a:pt x="676" y="695"/>
                  </a:lnTo>
                  <a:lnTo>
                    <a:pt x="674" y="695"/>
                  </a:lnTo>
                  <a:lnTo>
                    <a:pt x="676" y="695"/>
                  </a:lnTo>
                  <a:lnTo>
                    <a:pt x="674" y="695"/>
                  </a:lnTo>
                  <a:lnTo>
                    <a:pt x="676" y="695"/>
                  </a:lnTo>
                  <a:lnTo>
                    <a:pt x="674" y="695"/>
                  </a:lnTo>
                  <a:lnTo>
                    <a:pt x="676" y="695"/>
                  </a:lnTo>
                  <a:lnTo>
                    <a:pt x="674" y="695"/>
                  </a:lnTo>
                  <a:lnTo>
                    <a:pt x="672" y="695"/>
                  </a:lnTo>
                  <a:lnTo>
                    <a:pt x="672" y="693"/>
                  </a:lnTo>
                  <a:lnTo>
                    <a:pt x="672" y="695"/>
                  </a:lnTo>
                  <a:lnTo>
                    <a:pt x="672" y="693"/>
                  </a:lnTo>
                  <a:lnTo>
                    <a:pt x="672" y="695"/>
                  </a:lnTo>
                  <a:lnTo>
                    <a:pt x="674" y="695"/>
                  </a:lnTo>
                  <a:lnTo>
                    <a:pt x="672" y="695"/>
                  </a:lnTo>
                  <a:lnTo>
                    <a:pt x="672" y="693"/>
                  </a:lnTo>
                  <a:lnTo>
                    <a:pt x="674" y="693"/>
                  </a:lnTo>
                  <a:lnTo>
                    <a:pt x="672" y="693"/>
                  </a:lnTo>
                  <a:lnTo>
                    <a:pt x="674" y="693"/>
                  </a:lnTo>
                  <a:lnTo>
                    <a:pt x="672" y="693"/>
                  </a:lnTo>
                  <a:lnTo>
                    <a:pt x="674" y="693"/>
                  </a:lnTo>
                  <a:lnTo>
                    <a:pt x="672" y="693"/>
                  </a:lnTo>
                  <a:lnTo>
                    <a:pt x="674" y="693"/>
                  </a:lnTo>
                  <a:lnTo>
                    <a:pt x="674" y="691"/>
                  </a:lnTo>
                  <a:lnTo>
                    <a:pt x="674" y="693"/>
                  </a:lnTo>
                  <a:lnTo>
                    <a:pt x="674" y="691"/>
                  </a:lnTo>
                  <a:lnTo>
                    <a:pt x="672" y="691"/>
                  </a:lnTo>
                  <a:lnTo>
                    <a:pt x="672" y="693"/>
                  </a:lnTo>
                  <a:lnTo>
                    <a:pt x="670" y="693"/>
                  </a:lnTo>
                  <a:lnTo>
                    <a:pt x="672" y="693"/>
                  </a:lnTo>
                  <a:lnTo>
                    <a:pt x="670" y="693"/>
                  </a:lnTo>
                  <a:lnTo>
                    <a:pt x="668" y="693"/>
                  </a:lnTo>
                  <a:lnTo>
                    <a:pt x="668" y="691"/>
                  </a:lnTo>
                  <a:lnTo>
                    <a:pt x="668" y="693"/>
                  </a:lnTo>
                  <a:lnTo>
                    <a:pt x="668" y="691"/>
                  </a:lnTo>
                  <a:lnTo>
                    <a:pt x="670" y="691"/>
                  </a:lnTo>
                  <a:lnTo>
                    <a:pt x="670" y="693"/>
                  </a:lnTo>
                  <a:lnTo>
                    <a:pt x="670" y="691"/>
                  </a:lnTo>
                  <a:lnTo>
                    <a:pt x="668" y="691"/>
                  </a:lnTo>
                  <a:lnTo>
                    <a:pt x="666" y="691"/>
                  </a:lnTo>
                  <a:lnTo>
                    <a:pt x="668" y="691"/>
                  </a:lnTo>
                  <a:lnTo>
                    <a:pt x="670" y="691"/>
                  </a:lnTo>
                  <a:lnTo>
                    <a:pt x="672" y="691"/>
                  </a:lnTo>
                  <a:lnTo>
                    <a:pt x="674" y="691"/>
                  </a:lnTo>
                  <a:lnTo>
                    <a:pt x="676" y="691"/>
                  </a:lnTo>
                  <a:lnTo>
                    <a:pt x="674" y="691"/>
                  </a:lnTo>
                  <a:lnTo>
                    <a:pt x="672" y="691"/>
                  </a:lnTo>
                  <a:lnTo>
                    <a:pt x="670" y="691"/>
                  </a:lnTo>
                  <a:lnTo>
                    <a:pt x="672" y="691"/>
                  </a:lnTo>
                  <a:lnTo>
                    <a:pt x="670" y="691"/>
                  </a:lnTo>
                  <a:lnTo>
                    <a:pt x="668" y="691"/>
                  </a:lnTo>
                  <a:lnTo>
                    <a:pt x="668" y="689"/>
                  </a:lnTo>
                  <a:lnTo>
                    <a:pt x="668" y="691"/>
                  </a:lnTo>
                  <a:lnTo>
                    <a:pt x="666" y="691"/>
                  </a:lnTo>
                  <a:lnTo>
                    <a:pt x="666" y="689"/>
                  </a:lnTo>
                  <a:lnTo>
                    <a:pt x="668" y="689"/>
                  </a:lnTo>
                  <a:lnTo>
                    <a:pt x="666" y="689"/>
                  </a:lnTo>
                  <a:lnTo>
                    <a:pt x="668" y="689"/>
                  </a:lnTo>
                  <a:lnTo>
                    <a:pt x="670" y="689"/>
                  </a:lnTo>
                  <a:lnTo>
                    <a:pt x="668" y="689"/>
                  </a:lnTo>
                  <a:lnTo>
                    <a:pt x="670" y="689"/>
                  </a:lnTo>
                  <a:lnTo>
                    <a:pt x="670" y="687"/>
                  </a:lnTo>
                  <a:lnTo>
                    <a:pt x="672" y="687"/>
                  </a:lnTo>
                  <a:lnTo>
                    <a:pt x="672" y="685"/>
                  </a:lnTo>
                  <a:lnTo>
                    <a:pt x="670" y="685"/>
                  </a:lnTo>
                  <a:lnTo>
                    <a:pt x="672" y="685"/>
                  </a:lnTo>
                  <a:lnTo>
                    <a:pt x="672" y="687"/>
                  </a:lnTo>
                  <a:lnTo>
                    <a:pt x="670" y="687"/>
                  </a:lnTo>
                  <a:lnTo>
                    <a:pt x="670" y="685"/>
                  </a:lnTo>
                  <a:lnTo>
                    <a:pt x="670" y="687"/>
                  </a:lnTo>
                  <a:lnTo>
                    <a:pt x="670" y="685"/>
                  </a:lnTo>
                  <a:lnTo>
                    <a:pt x="670" y="687"/>
                  </a:lnTo>
                  <a:lnTo>
                    <a:pt x="670" y="685"/>
                  </a:lnTo>
                  <a:lnTo>
                    <a:pt x="670" y="683"/>
                  </a:lnTo>
                  <a:lnTo>
                    <a:pt x="668" y="683"/>
                  </a:lnTo>
                  <a:lnTo>
                    <a:pt x="668" y="685"/>
                  </a:lnTo>
                  <a:lnTo>
                    <a:pt x="668" y="683"/>
                  </a:lnTo>
                  <a:lnTo>
                    <a:pt x="668" y="685"/>
                  </a:lnTo>
                  <a:lnTo>
                    <a:pt x="668" y="683"/>
                  </a:lnTo>
                  <a:lnTo>
                    <a:pt x="666" y="683"/>
                  </a:lnTo>
                  <a:lnTo>
                    <a:pt x="668" y="683"/>
                  </a:lnTo>
                  <a:lnTo>
                    <a:pt x="666" y="683"/>
                  </a:lnTo>
                  <a:lnTo>
                    <a:pt x="668" y="683"/>
                  </a:lnTo>
                  <a:lnTo>
                    <a:pt x="666" y="683"/>
                  </a:lnTo>
                  <a:lnTo>
                    <a:pt x="668" y="683"/>
                  </a:lnTo>
                  <a:lnTo>
                    <a:pt x="666" y="683"/>
                  </a:lnTo>
                  <a:lnTo>
                    <a:pt x="666" y="685"/>
                  </a:lnTo>
                  <a:lnTo>
                    <a:pt x="666" y="683"/>
                  </a:lnTo>
                  <a:lnTo>
                    <a:pt x="666" y="685"/>
                  </a:lnTo>
                  <a:lnTo>
                    <a:pt x="666" y="683"/>
                  </a:lnTo>
                  <a:lnTo>
                    <a:pt x="666" y="685"/>
                  </a:lnTo>
                  <a:lnTo>
                    <a:pt x="666" y="683"/>
                  </a:lnTo>
                  <a:lnTo>
                    <a:pt x="666" y="685"/>
                  </a:lnTo>
                  <a:lnTo>
                    <a:pt x="664" y="685"/>
                  </a:lnTo>
                  <a:lnTo>
                    <a:pt x="664" y="683"/>
                  </a:lnTo>
                  <a:lnTo>
                    <a:pt x="664" y="685"/>
                  </a:lnTo>
                  <a:lnTo>
                    <a:pt x="664" y="683"/>
                  </a:lnTo>
                  <a:lnTo>
                    <a:pt x="664" y="685"/>
                  </a:lnTo>
                  <a:lnTo>
                    <a:pt x="664" y="683"/>
                  </a:lnTo>
                  <a:lnTo>
                    <a:pt x="666" y="683"/>
                  </a:lnTo>
                  <a:lnTo>
                    <a:pt x="664" y="683"/>
                  </a:lnTo>
                  <a:lnTo>
                    <a:pt x="666" y="683"/>
                  </a:lnTo>
                  <a:lnTo>
                    <a:pt x="664" y="683"/>
                  </a:lnTo>
                  <a:lnTo>
                    <a:pt x="666" y="683"/>
                  </a:lnTo>
                  <a:lnTo>
                    <a:pt x="666" y="682"/>
                  </a:lnTo>
                  <a:lnTo>
                    <a:pt x="666" y="683"/>
                  </a:lnTo>
                  <a:lnTo>
                    <a:pt x="666" y="682"/>
                  </a:lnTo>
                  <a:lnTo>
                    <a:pt x="666" y="683"/>
                  </a:lnTo>
                  <a:lnTo>
                    <a:pt x="666" y="682"/>
                  </a:lnTo>
                  <a:lnTo>
                    <a:pt x="666" y="683"/>
                  </a:lnTo>
                  <a:lnTo>
                    <a:pt x="664" y="683"/>
                  </a:lnTo>
                  <a:lnTo>
                    <a:pt x="666" y="683"/>
                  </a:lnTo>
                  <a:lnTo>
                    <a:pt x="664" y="683"/>
                  </a:lnTo>
                  <a:lnTo>
                    <a:pt x="664" y="682"/>
                  </a:lnTo>
                  <a:lnTo>
                    <a:pt x="662" y="682"/>
                  </a:lnTo>
                  <a:lnTo>
                    <a:pt x="664" y="682"/>
                  </a:lnTo>
                  <a:lnTo>
                    <a:pt x="662" y="682"/>
                  </a:lnTo>
                  <a:lnTo>
                    <a:pt x="664" y="682"/>
                  </a:lnTo>
                  <a:lnTo>
                    <a:pt x="664" y="680"/>
                  </a:lnTo>
                  <a:lnTo>
                    <a:pt x="666" y="680"/>
                  </a:lnTo>
                  <a:lnTo>
                    <a:pt x="666" y="678"/>
                  </a:lnTo>
                  <a:lnTo>
                    <a:pt x="668" y="678"/>
                  </a:lnTo>
                  <a:lnTo>
                    <a:pt x="666" y="678"/>
                  </a:lnTo>
                  <a:lnTo>
                    <a:pt x="668" y="678"/>
                  </a:lnTo>
                  <a:lnTo>
                    <a:pt x="666" y="678"/>
                  </a:lnTo>
                  <a:lnTo>
                    <a:pt x="666" y="676"/>
                  </a:lnTo>
                  <a:lnTo>
                    <a:pt x="666" y="678"/>
                  </a:lnTo>
                  <a:lnTo>
                    <a:pt x="666" y="676"/>
                  </a:lnTo>
                  <a:lnTo>
                    <a:pt x="666" y="678"/>
                  </a:lnTo>
                  <a:lnTo>
                    <a:pt x="666" y="680"/>
                  </a:lnTo>
                  <a:lnTo>
                    <a:pt x="666" y="678"/>
                  </a:lnTo>
                  <a:lnTo>
                    <a:pt x="666" y="680"/>
                  </a:lnTo>
                  <a:lnTo>
                    <a:pt x="664" y="680"/>
                  </a:lnTo>
                  <a:lnTo>
                    <a:pt x="666" y="680"/>
                  </a:lnTo>
                  <a:lnTo>
                    <a:pt x="666" y="678"/>
                  </a:lnTo>
                  <a:lnTo>
                    <a:pt x="666" y="680"/>
                  </a:lnTo>
                  <a:lnTo>
                    <a:pt x="664" y="680"/>
                  </a:lnTo>
                  <a:lnTo>
                    <a:pt x="662" y="680"/>
                  </a:lnTo>
                  <a:lnTo>
                    <a:pt x="662" y="682"/>
                  </a:lnTo>
                  <a:lnTo>
                    <a:pt x="662" y="680"/>
                  </a:lnTo>
                  <a:lnTo>
                    <a:pt x="662" y="682"/>
                  </a:lnTo>
                  <a:lnTo>
                    <a:pt x="662" y="680"/>
                  </a:lnTo>
                  <a:lnTo>
                    <a:pt x="662" y="682"/>
                  </a:lnTo>
                  <a:lnTo>
                    <a:pt x="662" y="683"/>
                  </a:lnTo>
                  <a:lnTo>
                    <a:pt x="662" y="682"/>
                  </a:lnTo>
                  <a:lnTo>
                    <a:pt x="662" y="683"/>
                  </a:lnTo>
                  <a:lnTo>
                    <a:pt x="661" y="683"/>
                  </a:lnTo>
                  <a:lnTo>
                    <a:pt x="661" y="682"/>
                  </a:lnTo>
                  <a:lnTo>
                    <a:pt x="662" y="682"/>
                  </a:lnTo>
                  <a:lnTo>
                    <a:pt x="661" y="682"/>
                  </a:lnTo>
                  <a:lnTo>
                    <a:pt x="662" y="682"/>
                  </a:lnTo>
                  <a:lnTo>
                    <a:pt x="661" y="682"/>
                  </a:lnTo>
                  <a:lnTo>
                    <a:pt x="661" y="683"/>
                  </a:lnTo>
                  <a:lnTo>
                    <a:pt x="661" y="682"/>
                  </a:lnTo>
                  <a:lnTo>
                    <a:pt x="661" y="683"/>
                  </a:lnTo>
                  <a:lnTo>
                    <a:pt x="661" y="682"/>
                  </a:lnTo>
                  <a:lnTo>
                    <a:pt x="661" y="680"/>
                  </a:lnTo>
                  <a:lnTo>
                    <a:pt x="661" y="682"/>
                  </a:lnTo>
                  <a:lnTo>
                    <a:pt x="661" y="680"/>
                  </a:lnTo>
                  <a:lnTo>
                    <a:pt x="661" y="682"/>
                  </a:lnTo>
                  <a:lnTo>
                    <a:pt x="661" y="680"/>
                  </a:lnTo>
                  <a:lnTo>
                    <a:pt x="659" y="680"/>
                  </a:lnTo>
                  <a:lnTo>
                    <a:pt x="661" y="680"/>
                  </a:lnTo>
                  <a:lnTo>
                    <a:pt x="659" y="680"/>
                  </a:lnTo>
                  <a:lnTo>
                    <a:pt x="661" y="680"/>
                  </a:lnTo>
                  <a:lnTo>
                    <a:pt x="659" y="680"/>
                  </a:lnTo>
                  <a:lnTo>
                    <a:pt x="659" y="678"/>
                  </a:lnTo>
                  <a:lnTo>
                    <a:pt x="661" y="678"/>
                  </a:lnTo>
                  <a:lnTo>
                    <a:pt x="661" y="676"/>
                  </a:lnTo>
                  <a:lnTo>
                    <a:pt x="659" y="676"/>
                  </a:lnTo>
                  <a:lnTo>
                    <a:pt x="657" y="676"/>
                  </a:lnTo>
                  <a:lnTo>
                    <a:pt x="659" y="676"/>
                  </a:lnTo>
                  <a:lnTo>
                    <a:pt x="657" y="676"/>
                  </a:lnTo>
                  <a:lnTo>
                    <a:pt x="655" y="676"/>
                  </a:lnTo>
                  <a:lnTo>
                    <a:pt x="655" y="674"/>
                  </a:lnTo>
                  <a:lnTo>
                    <a:pt x="655" y="676"/>
                  </a:lnTo>
                  <a:lnTo>
                    <a:pt x="655" y="674"/>
                  </a:lnTo>
                  <a:lnTo>
                    <a:pt x="655" y="672"/>
                  </a:lnTo>
                  <a:lnTo>
                    <a:pt x="653" y="672"/>
                  </a:lnTo>
                  <a:lnTo>
                    <a:pt x="655" y="672"/>
                  </a:lnTo>
                  <a:lnTo>
                    <a:pt x="653" y="672"/>
                  </a:lnTo>
                  <a:lnTo>
                    <a:pt x="655" y="672"/>
                  </a:lnTo>
                  <a:lnTo>
                    <a:pt x="653" y="672"/>
                  </a:lnTo>
                  <a:lnTo>
                    <a:pt x="655" y="672"/>
                  </a:lnTo>
                  <a:lnTo>
                    <a:pt x="653" y="672"/>
                  </a:lnTo>
                  <a:lnTo>
                    <a:pt x="651" y="672"/>
                  </a:lnTo>
                  <a:lnTo>
                    <a:pt x="653" y="672"/>
                  </a:lnTo>
                  <a:lnTo>
                    <a:pt x="651" y="672"/>
                  </a:lnTo>
                  <a:lnTo>
                    <a:pt x="651" y="670"/>
                  </a:lnTo>
                  <a:lnTo>
                    <a:pt x="651" y="672"/>
                  </a:lnTo>
                  <a:lnTo>
                    <a:pt x="651" y="670"/>
                  </a:lnTo>
                  <a:lnTo>
                    <a:pt x="649" y="670"/>
                  </a:lnTo>
                  <a:lnTo>
                    <a:pt x="649" y="668"/>
                  </a:lnTo>
                  <a:lnTo>
                    <a:pt x="649" y="666"/>
                  </a:lnTo>
                  <a:lnTo>
                    <a:pt x="649" y="664"/>
                  </a:lnTo>
                  <a:lnTo>
                    <a:pt x="649" y="662"/>
                  </a:lnTo>
                  <a:lnTo>
                    <a:pt x="649" y="664"/>
                  </a:lnTo>
                  <a:lnTo>
                    <a:pt x="649" y="662"/>
                  </a:lnTo>
                  <a:lnTo>
                    <a:pt x="649" y="664"/>
                  </a:lnTo>
                  <a:lnTo>
                    <a:pt x="649" y="662"/>
                  </a:lnTo>
                  <a:lnTo>
                    <a:pt x="649" y="664"/>
                  </a:lnTo>
                  <a:lnTo>
                    <a:pt x="649" y="662"/>
                  </a:lnTo>
                  <a:lnTo>
                    <a:pt x="647" y="662"/>
                  </a:lnTo>
                  <a:lnTo>
                    <a:pt x="647" y="664"/>
                  </a:lnTo>
                  <a:lnTo>
                    <a:pt x="647" y="662"/>
                  </a:lnTo>
                  <a:lnTo>
                    <a:pt x="649" y="662"/>
                  </a:lnTo>
                  <a:lnTo>
                    <a:pt x="647" y="662"/>
                  </a:lnTo>
                  <a:lnTo>
                    <a:pt x="649" y="662"/>
                  </a:lnTo>
                  <a:lnTo>
                    <a:pt x="647" y="662"/>
                  </a:lnTo>
                  <a:lnTo>
                    <a:pt x="647" y="660"/>
                  </a:lnTo>
                  <a:lnTo>
                    <a:pt x="645" y="660"/>
                  </a:lnTo>
                  <a:lnTo>
                    <a:pt x="647" y="660"/>
                  </a:lnTo>
                  <a:lnTo>
                    <a:pt x="647" y="662"/>
                  </a:lnTo>
                  <a:lnTo>
                    <a:pt x="647" y="660"/>
                  </a:lnTo>
                  <a:lnTo>
                    <a:pt x="647" y="662"/>
                  </a:lnTo>
                  <a:lnTo>
                    <a:pt x="647" y="660"/>
                  </a:lnTo>
                  <a:lnTo>
                    <a:pt x="647" y="662"/>
                  </a:lnTo>
                  <a:lnTo>
                    <a:pt x="647" y="664"/>
                  </a:lnTo>
                  <a:lnTo>
                    <a:pt x="645" y="664"/>
                  </a:lnTo>
                  <a:lnTo>
                    <a:pt x="643" y="664"/>
                  </a:lnTo>
                  <a:lnTo>
                    <a:pt x="643" y="662"/>
                  </a:lnTo>
                  <a:lnTo>
                    <a:pt x="645" y="662"/>
                  </a:lnTo>
                  <a:lnTo>
                    <a:pt x="643" y="662"/>
                  </a:lnTo>
                  <a:lnTo>
                    <a:pt x="645" y="662"/>
                  </a:lnTo>
                  <a:lnTo>
                    <a:pt x="643" y="662"/>
                  </a:lnTo>
                  <a:lnTo>
                    <a:pt x="643" y="664"/>
                  </a:lnTo>
                  <a:lnTo>
                    <a:pt x="643" y="662"/>
                  </a:lnTo>
                  <a:lnTo>
                    <a:pt x="643" y="664"/>
                  </a:lnTo>
                  <a:lnTo>
                    <a:pt x="643" y="662"/>
                  </a:lnTo>
                  <a:lnTo>
                    <a:pt x="643" y="664"/>
                  </a:lnTo>
                  <a:lnTo>
                    <a:pt x="643" y="662"/>
                  </a:lnTo>
                  <a:lnTo>
                    <a:pt x="641" y="662"/>
                  </a:lnTo>
                  <a:lnTo>
                    <a:pt x="643" y="662"/>
                  </a:lnTo>
                  <a:lnTo>
                    <a:pt x="641" y="662"/>
                  </a:lnTo>
                  <a:lnTo>
                    <a:pt x="643" y="662"/>
                  </a:lnTo>
                  <a:lnTo>
                    <a:pt x="643" y="660"/>
                  </a:lnTo>
                  <a:lnTo>
                    <a:pt x="643" y="662"/>
                  </a:lnTo>
                  <a:lnTo>
                    <a:pt x="643" y="660"/>
                  </a:lnTo>
                  <a:lnTo>
                    <a:pt x="643" y="662"/>
                  </a:lnTo>
                  <a:lnTo>
                    <a:pt x="643" y="660"/>
                  </a:lnTo>
                  <a:lnTo>
                    <a:pt x="643" y="662"/>
                  </a:lnTo>
                  <a:lnTo>
                    <a:pt x="643" y="660"/>
                  </a:lnTo>
                  <a:lnTo>
                    <a:pt x="641" y="660"/>
                  </a:lnTo>
                  <a:lnTo>
                    <a:pt x="639" y="660"/>
                  </a:lnTo>
                  <a:lnTo>
                    <a:pt x="639" y="659"/>
                  </a:lnTo>
                  <a:lnTo>
                    <a:pt x="639" y="660"/>
                  </a:lnTo>
                  <a:lnTo>
                    <a:pt x="639" y="659"/>
                  </a:lnTo>
                  <a:lnTo>
                    <a:pt x="641" y="659"/>
                  </a:lnTo>
                  <a:lnTo>
                    <a:pt x="639" y="659"/>
                  </a:lnTo>
                  <a:lnTo>
                    <a:pt x="641" y="659"/>
                  </a:lnTo>
                  <a:lnTo>
                    <a:pt x="639" y="659"/>
                  </a:lnTo>
                  <a:lnTo>
                    <a:pt x="641" y="659"/>
                  </a:lnTo>
                  <a:lnTo>
                    <a:pt x="639" y="659"/>
                  </a:lnTo>
                  <a:lnTo>
                    <a:pt x="638" y="659"/>
                  </a:lnTo>
                  <a:lnTo>
                    <a:pt x="639" y="659"/>
                  </a:lnTo>
                  <a:lnTo>
                    <a:pt x="638" y="659"/>
                  </a:lnTo>
                  <a:lnTo>
                    <a:pt x="639" y="659"/>
                  </a:lnTo>
                  <a:lnTo>
                    <a:pt x="639" y="657"/>
                  </a:lnTo>
                  <a:lnTo>
                    <a:pt x="639" y="659"/>
                  </a:lnTo>
                  <a:lnTo>
                    <a:pt x="639" y="657"/>
                  </a:lnTo>
                  <a:lnTo>
                    <a:pt x="639" y="659"/>
                  </a:lnTo>
                  <a:lnTo>
                    <a:pt x="639" y="657"/>
                  </a:lnTo>
                  <a:lnTo>
                    <a:pt x="638" y="657"/>
                  </a:lnTo>
                  <a:lnTo>
                    <a:pt x="638" y="659"/>
                  </a:lnTo>
                  <a:lnTo>
                    <a:pt x="638" y="657"/>
                  </a:lnTo>
                  <a:lnTo>
                    <a:pt x="636" y="657"/>
                  </a:lnTo>
                  <a:lnTo>
                    <a:pt x="638" y="657"/>
                  </a:lnTo>
                  <a:lnTo>
                    <a:pt x="638" y="655"/>
                  </a:lnTo>
                  <a:lnTo>
                    <a:pt x="638" y="657"/>
                  </a:lnTo>
                  <a:lnTo>
                    <a:pt x="638" y="655"/>
                  </a:lnTo>
                  <a:lnTo>
                    <a:pt x="636" y="655"/>
                  </a:lnTo>
                  <a:lnTo>
                    <a:pt x="636" y="657"/>
                  </a:lnTo>
                  <a:lnTo>
                    <a:pt x="636" y="655"/>
                  </a:lnTo>
                  <a:lnTo>
                    <a:pt x="636" y="657"/>
                  </a:lnTo>
                  <a:lnTo>
                    <a:pt x="636" y="655"/>
                  </a:lnTo>
                  <a:lnTo>
                    <a:pt x="636" y="653"/>
                  </a:lnTo>
                  <a:lnTo>
                    <a:pt x="638" y="653"/>
                  </a:lnTo>
                  <a:lnTo>
                    <a:pt x="636" y="653"/>
                  </a:lnTo>
                  <a:lnTo>
                    <a:pt x="634" y="653"/>
                  </a:lnTo>
                  <a:lnTo>
                    <a:pt x="636" y="653"/>
                  </a:lnTo>
                  <a:lnTo>
                    <a:pt x="634" y="653"/>
                  </a:lnTo>
                  <a:lnTo>
                    <a:pt x="634" y="651"/>
                  </a:lnTo>
                  <a:lnTo>
                    <a:pt x="636" y="651"/>
                  </a:lnTo>
                  <a:lnTo>
                    <a:pt x="634" y="651"/>
                  </a:lnTo>
                  <a:lnTo>
                    <a:pt x="632" y="651"/>
                  </a:lnTo>
                  <a:lnTo>
                    <a:pt x="632" y="649"/>
                  </a:lnTo>
                  <a:lnTo>
                    <a:pt x="630" y="649"/>
                  </a:lnTo>
                  <a:lnTo>
                    <a:pt x="630" y="647"/>
                  </a:lnTo>
                  <a:lnTo>
                    <a:pt x="630" y="649"/>
                  </a:lnTo>
                  <a:lnTo>
                    <a:pt x="630" y="647"/>
                  </a:lnTo>
                  <a:lnTo>
                    <a:pt x="630" y="645"/>
                  </a:lnTo>
                  <a:lnTo>
                    <a:pt x="630" y="647"/>
                  </a:lnTo>
                  <a:lnTo>
                    <a:pt x="630" y="645"/>
                  </a:lnTo>
                  <a:lnTo>
                    <a:pt x="630" y="643"/>
                  </a:lnTo>
                  <a:lnTo>
                    <a:pt x="630" y="645"/>
                  </a:lnTo>
                  <a:lnTo>
                    <a:pt x="628" y="645"/>
                  </a:lnTo>
                  <a:lnTo>
                    <a:pt x="630" y="645"/>
                  </a:lnTo>
                  <a:lnTo>
                    <a:pt x="630" y="643"/>
                  </a:lnTo>
                  <a:lnTo>
                    <a:pt x="628" y="645"/>
                  </a:lnTo>
                  <a:lnTo>
                    <a:pt x="628" y="643"/>
                  </a:lnTo>
                  <a:lnTo>
                    <a:pt x="630" y="643"/>
                  </a:lnTo>
                  <a:lnTo>
                    <a:pt x="628" y="643"/>
                  </a:lnTo>
                  <a:lnTo>
                    <a:pt x="630" y="643"/>
                  </a:lnTo>
                  <a:lnTo>
                    <a:pt x="628" y="643"/>
                  </a:lnTo>
                  <a:lnTo>
                    <a:pt x="628" y="645"/>
                  </a:lnTo>
                  <a:lnTo>
                    <a:pt x="628" y="643"/>
                  </a:lnTo>
                  <a:lnTo>
                    <a:pt x="628" y="645"/>
                  </a:lnTo>
                  <a:lnTo>
                    <a:pt x="628" y="643"/>
                  </a:lnTo>
                  <a:lnTo>
                    <a:pt x="628" y="645"/>
                  </a:lnTo>
                  <a:lnTo>
                    <a:pt x="628" y="643"/>
                  </a:lnTo>
                  <a:lnTo>
                    <a:pt x="628" y="645"/>
                  </a:lnTo>
                  <a:lnTo>
                    <a:pt x="626" y="645"/>
                  </a:lnTo>
                  <a:lnTo>
                    <a:pt x="628" y="647"/>
                  </a:lnTo>
                  <a:lnTo>
                    <a:pt x="626" y="647"/>
                  </a:lnTo>
                  <a:lnTo>
                    <a:pt x="626" y="645"/>
                  </a:lnTo>
                  <a:lnTo>
                    <a:pt x="628" y="645"/>
                  </a:lnTo>
                  <a:lnTo>
                    <a:pt x="626" y="645"/>
                  </a:lnTo>
                  <a:lnTo>
                    <a:pt x="626" y="643"/>
                  </a:lnTo>
                  <a:lnTo>
                    <a:pt x="626" y="645"/>
                  </a:lnTo>
                  <a:lnTo>
                    <a:pt x="626" y="643"/>
                  </a:lnTo>
                  <a:lnTo>
                    <a:pt x="626" y="645"/>
                  </a:lnTo>
                  <a:lnTo>
                    <a:pt x="626" y="643"/>
                  </a:lnTo>
                  <a:lnTo>
                    <a:pt x="626" y="645"/>
                  </a:lnTo>
                  <a:lnTo>
                    <a:pt x="624" y="645"/>
                  </a:lnTo>
                  <a:lnTo>
                    <a:pt x="626" y="645"/>
                  </a:lnTo>
                  <a:lnTo>
                    <a:pt x="624" y="645"/>
                  </a:lnTo>
                  <a:lnTo>
                    <a:pt x="626" y="645"/>
                  </a:lnTo>
                  <a:lnTo>
                    <a:pt x="624" y="645"/>
                  </a:lnTo>
                  <a:lnTo>
                    <a:pt x="624" y="643"/>
                  </a:lnTo>
                  <a:lnTo>
                    <a:pt x="624" y="645"/>
                  </a:lnTo>
                  <a:lnTo>
                    <a:pt x="624" y="643"/>
                  </a:lnTo>
                  <a:lnTo>
                    <a:pt x="624" y="645"/>
                  </a:lnTo>
                  <a:lnTo>
                    <a:pt x="622" y="645"/>
                  </a:lnTo>
                  <a:lnTo>
                    <a:pt x="624" y="645"/>
                  </a:lnTo>
                  <a:lnTo>
                    <a:pt x="624" y="643"/>
                  </a:lnTo>
                  <a:lnTo>
                    <a:pt x="624" y="645"/>
                  </a:lnTo>
                  <a:lnTo>
                    <a:pt x="622" y="645"/>
                  </a:lnTo>
                  <a:lnTo>
                    <a:pt x="622" y="643"/>
                  </a:lnTo>
                  <a:lnTo>
                    <a:pt x="622" y="645"/>
                  </a:lnTo>
                  <a:lnTo>
                    <a:pt x="622" y="643"/>
                  </a:lnTo>
                  <a:lnTo>
                    <a:pt x="622" y="645"/>
                  </a:lnTo>
                  <a:lnTo>
                    <a:pt x="622" y="643"/>
                  </a:lnTo>
                  <a:lnTo>
                    <a:pt x="622" y="645"/>
                  </a:lnTo>
                  <a:lnTo>
                    <a:pt x="622" y="643"/>
                  </a:lnTo>
                  <a:lnTo>
                    <a:pt x="622" y="645"/>
                  </a:lnTo>
                  <a:lnTo>
                    <a:pt x="620" y="645"/>
                  </a:lnTo>
                  <a:lnTo>
                    <a:pt x="618" y="645"/>
                  </a:lnTo>
                  <a:lnTo>
                    <a:pt x="618" y="643"/>
                  </a:lnTo>
                  <a:lnTo>
                    <a:pt x="618" y="645"/>
                  </a:lnTo>
                  <a:lnTo>
                    <a:pt x="616" y="645"/>
                  </a:lnTo>
                  <a:lnTo>
                    <a:pt x="618" y="645"/>
                  </a:lnTo>
                  <a:lnTo>
                    <a:pt x="618" y="643"/>
                  </a:lnTo>
                  <a:lnTo>
                    <a:pt x="616" y="645"/>
                  </a:lnTo>
                  <a:lnTo>
                    <a:pt x="614" y="645"/>
                  </a:lnTo>
                  <a:lnTo>
                    <a:pt x="613" y="645"/>
                  </a:lnTo>
                  <a:lnTo>
                    <a:pt x="613" y="647"/>
                  </a:lnTo>
                  <a:lnTo>
                    <a:pt x="611" y="647"/>
                  </a:lnTo>
                  <a:lnTo>
                    <a:pt x="613" y="647"/>
                  </a:lnTo>
                  <a:lnTo>
                    <a:pt x="611" y="647"/>
                  </a:lnTo>
                  <a:lnTo>
                    <a:pt x="609" y="647"/>
                  </a:lnTo>
                  <a:lnTo>
                    <a:pt x="611" y="647"/>
                  </a:lnTo>
                  <a:lnTo>
                    <a:pt x="609" y="647"/>
                  </a:lnTo>
                  <a:lnTo>
                    <a:pt x="609" y="645"/>
                  </a:lnTo>
                  <a:lnTo>
                    <a:pt x="611" y="645"/>
                  </a:lnTo>
                  <a:lnTo>
                    <a:pt x="611" y="643"/>
                  </a:lnTo>
                  <a:lnTo>
                    <a:pt x="609" y="643"/>
                  </a:lnTo>
                  <a:lnTo>
                    <a:pt x="607" y="643"/>
                  </a:lnTo>
                  <a:lnTo>
                    <a:pt x="605" y="643"/>
                  </a:lnTo>
                  <a:lnTo>
                    <a:pt x="603" y="643"/>
                  </a:lnTo>
                  <a:lnTo>
                    <a:pt x="603" y="645"/>
                  </a:lnTo>
                  <a:lnTo>
                    <a:pt x="601" y="645"/>
                  </a:lnTo>
                  <a:lnTo>
                    <a:pt x="601" y="643"/>
                  </a:lnTo>
                  <a:lnTo>
                    <a:pt x="601" y="645"/>
                  </a:lnTo>
                  <a:lnTo>
                    <a:pt x="599" y="645"/>
                  </a:lnTo>
                  <a:lnTo>
                    <a:pt x="597" y="645"/>
                  </a:lnTo>
                  <a:lnTo>
                    <a:pt x="597" y="647"/>
                  </a:lnTo>
                  <a:lnTo>
                    <a:pt x="595" y="647"/>
                  </a:lnTo>
                  <a:lnTo>
                    <a:pt x="595" y="645"/>
                  </a:lnTo>
                  <a:lnTo>
                    <a:pt x="595" y="643"/>
                  </a:lnTo>
                  <a:lnTo>
                    <a:pt x="595" y="645"/>
                  </a:lnTo>
                  <a:lnTo>
                    <a:pt x="593" y="645"/>
                  </a:lnTo>
                  <a:lnTo>
                    <a:pt x="593" y="647"/>
                  </a:lnTo>
                  <a:lnTo>
                    <a:pt x="591" y="647"/>
                  </a:lnTo>
                  <a:lnTo>
                    <a:pt x="591" y="649"/>
                  </a:lnTo>
                  <a:lnTo>
                    <a:pt x="590" y="649"/>
                  </a:lnTo>
                  <a:lnTo>
                    <a:pt x="588" y="649"/>
                  </a:lnTo>
                  <a:lnTo>
                    <a:pt x="588" y="651"/>
                  </a:lnTo>
                  <a:lnTo>
                    <a:pt x="588" y="649"/>
                  </a:lnTo>
                  <a:lnTo>
                    <a:pt x="588" y="651"/>
                  </a:lnTo>
                  <a:lnTo>
                    <a:pt x="588" y="649"/>
                  </a:lnTo>
                  <a:lnTo>
                    <a:pt x="590" y="649"/>
                  </a:lnTo>
                  <a:lnTo>
                    <a:pt x="590" y="647"/>
                  </a:lnTo>
                  <a:lnTo>
                    <a:pt x="591" y="647"/>
                  </a:lnTo>
                  <a:lnTo>
                    <a:pt x="591" y="645"/>
                  </a:lnTo>
                  <a:lnTo>
                    <a:pt x="593" y="645"/>
                  </a:lnTo>
                  <a:lnTo>
                    <a:pt x="591" y="645"/>
                  </a:lnTo>
                  <a:lnTo>
                    <a:pt x="590" y="645"/>
                  </a:lnTo>
                  <a:lnTo>
                    <a:pt x="588" y="645"/>
                  </a:lnTo>
                  <a:lnTo>
                    <a:pt x="590" y="645"/>
                  </a:lnTo>
                  <a:lnTo>
                    <a:pt x="591" y="645"/>
                  </a:lnTo>
                  <a:lnTo>
                    <a:pt x="591" y="643"/>
                  </a:lnTo>
                  <a:lnTo>
                    <a:pt x="591" y="645"/>
                  </a:lnTo>
                  <a:lnTo>
                    <a:pt x="591" y="643"/>
                  </a:lnTo>
                  <a:lnTo>
                    <a:pt x="593" y="643"/>
                  </a:lnTo>
                  <a:lnTo>
                    <a:pt x="595" y="643"/>
                  </a:lnTo>
                  <a:lnTo>
                    <a:pt x="593" y="643"/>
                  </a:lnTo>
                  <a:lnTo>
                    <a:pt x="595" y="643"/>
                  </a:lnTo>
                  <a:lnTo>
                    <a:pt x="595" y="641"/>
                  </a:lnTo>
                  <a:lnTo>
                    <a:pt x="595" y="643"/>
                  </a:lnTo>
                  <a:lnTo>
                    <a:pt x="595" y="641"/>
                  </a:lnTo>
                  <a:lnTo>
                    <a:pt x="593" y="641"/>
                  </a:lnTo>
                  <a:lnTo>
                    <a:pt x="593" y="643"/>
                  </a:lnTo>
                  <a:lnTo>
                    <a:pt x="591" y="643"/>
                  </a:lnTo>
                  <a:lnTo>
                    <a:pt x="590" y="643"/>
                  </a:lnTo>
                  <a:lnTo>
                    <a:pt x="590" y="645"/>
                  </a:lnTo>
                  <a:lnTo>
                    <a:pt x="588" y="645"/>
                  </a:lnTo>
                  <a:lnTo>
                    <a:pt x="586" y="645"/>
                  </a:lnTo>
                  <a:lnTo>
                    <a:pt x="588" y="645"/>
                  </a:lnTo>
                  <a:lnTo>
                    <a:pt x="588" y="643"/>
                  </a:lnTo>
                  <a:lnTo>
                    <a:pt x="588" y="645"/>
                  </a:lnTo>
                  <a:lnTo>
                    <a:pt x="588" y="643"/>
                  </a:lnTo>
                  <a:lnTo>
                    <a:pt x="588" y="645"/>
                  </a:lnTo>
                  <a:lnTo>
                    <a:pt x="590" y="645"/>
                  </a:lnTo>
                  <a:lnTo>
                    <a:pt x="588" y="643"/>
                  </a:lnTo>
                  <a:lnTo>
                    <a:pt x="590" y="643"/>
                  </a:lnTo>
                  <a:lnTo>
                    <a:pt x="588" y="643"/>
                  </a:lnTo>
                  <a:lnTo>
                    <a:pt x="590" y="643"/>
                  </a:lnTo>
                  <a:lnTo>
                    <a:pt x="590" y="645"/>
                  </a:lnTo>
                  <a:lnTo>
                    <a:pt x="590" y="643"/>
                  </a:lnTo>
                  <a:lnTo>
                    <a:pt x="590" y="645"/>
                  </a:lnTo>
                  <a:lnTo>
                    <a:pt x="590" y="643"/>
                  </a:lnTo>
                  <a:lnTo>
                    <a:pt x="591" y="643"/>
                  </a:lnTo>
                  <a:lnTo>
                    <a:pt x="593" y="641"/>
                  </a:lnTo>
                  <a:lnTo>
                    <a:pt x="591" y="641"/>
                  </a:lnTo>
                  <a:lnTo>
                    <a:pt x="593" y="641"/>
                  </a:lnTo>
                  <a:lnTo>
                    <a:pt x="591" y="641"/>
                  </a:lnTo>
                  <a:lnTo>
                    <a:pt x="593" y="641"/>
                  </a:lnTo>
                  <a:lnTo>
                    <a:pt x="591" y="641"/>
                  </a:lnTo>
                  <a:lnTo>
                    <a:pt x="590" y="641"/>
                  </a:lnTo>
                  <a:lnTo>
                    <a:pt x="590" y="639"/>
                  </a:lnTo>
                  <a:lnTo>
                    <a:pt x="588" y="639"/>
                  </a:lnTo>
                  <a:lnTo>
                    <a:pt x="590" y="639"/>
                  </a:lnTo>
                  <a:lnTo>
                    <a:pt x="588" y="639"/>
                  </a:lnTo>
                  <a:lnTo>
                    <a:pt x="590" y="639"/>
                  </a:lnTo>
                  <a:lnTo>
                    <a:pt x="591" y="639"/>
                  </a:lnTo>
                  <a:lnTo>
                    <a:pt x="591" y="641"/>
                  </a:lnTo>
                  <a:lnTo>
                    <a:pt x="593" y="641"/>
                  </a:lnTo>
                  <a:lnTo>
                    <a:pt x="593" y="639"/>
                  </a:lnTo>
                  <a:lnTo>
                    <a:pt x="591" y="639"/>
                  </a:lnTo>
                  <a:lnTo>
                    <a:pt x="590" y="639"/>
                  </a:lnTo>
                  <a:lnTo>
                    <a:pt x="588" y="639"/>
                  </a:lnTo>
                  <a:lnTo>
                    <a:pt x="590" y="639"/>
                  </a:lnTo>
                  <a:lnTo>
                    <a:pt x="588" y="639"/>
                  </a:lnTo>
                  <a:lnTo>
                    <a:pt x="586" y="639"/>
                  </a:lnTo>
                  <a:lnTo>
                    <a:pt x="588" y="639"/>
                  </a:lnTo>
                  <a:lnTo>
                    <a:pt x="588" y="641"/>
                  </a:lnTo>
                  <a:lnTo>
                    <a:pt x="586" y="641"/>
                  </a:lnTo>
                  <a:lnTo>
                    <a:pt x="588" y="641"/>
                  </a:lnTo>
                  <a:lnTo>
                    <a:pt x="588" y="643"/>
                  </a:lnTo>
                  <a:lnTo>
                    <a:pt x="588" y="641"/>
                  </a:lnTo>
                  <a:lnTo>
                    <a:pt x="588" y="643"/>
                  </a:lnTo>
                  <a:lnTo>
                    <a:pt x="586" y="643"/>
                  </a:lnTo>
                  <a:lnTo>
                    <a:pt x="586" y="641"/>
                  </a:lnTo>
                  <a:lnTo>
                    <a:pt x="586" y="643"/>
                  </a:lnTo>
                  <a:lnTo>
                    <a:pt x="584" y="643"/>
                  </a:lnTo>
                  <a:lnTo>
                    <a:pt x="582" y="643"/>
                  </a:lnTo>
                  <a:lnTo>
                    <a:pt x="584" y="643"/>
                  </a:lnTo>
                  <a:lnTo>
                    <a:pt x="584" y="645"/>
                  </a:lnTo>
                  <a:lnTo>
                    <a:pt x="584" y="647"/>
                  </a:lnTo>
                  <a:lnTo>
                    <a:pt x="582" y="647"/>
                  </a:lnTo>
                  <a:lnTo>
                    <a:pt x="584" y="647"/>
                  </a:lnTo>
                  <a:lnTo>
                    <a:pt x="584" y="645"/>
                  </a:lnTo>
                  <a:lnTo>
                    <a:pt x="582" y="645"/>
                  </a:lnTo>
                  <a:lnTo>
                    <a:pt x="582" y="643"/>
                  </a:lnTo>
                  <a:lnTo>
                    <a:pt x="582" y="641"/>
                  </a:lnTo>
                  <a:lnTo>
                    <a:pt x="584" y="641"/>
                  </a:lnTo>
                  <a:lnTo>
                    <a:pt x="582" y="641"/>
                  </a:lnTo>
                  <a:lnTo>
                    <a:pt x="584" y="641"/>
                  </a:lnTo>
                  <a:lnTo>
                    <a:pt x="582" y="641"/>
                  </a:lnTo>
                  <a:lnTo>
                    <a:pt x="584" y="641"/>
                  </a:lnTo>
                  <a:lnTo>
                    <a:pt x="586" y="641"/>
                  </a:lnTo>
                  <a:lnTo>
                    <a:pt x="584" y="641"/>
                  </a:lnTo>
                  <a:lnTo>
                    <a:pt x="584" y="639"/>
                  </a:lnTo>
                  <a:lnTo>
                    <a:pt x="586" y="639"/>
                  </a:lnTo>
                  <a:lnTo>
                    <a:pt x="584" y="639"/>
                  </a:lnTo>
                  <a:lnTo>
                    <a:pt x="582" y="639"/>
                  </a:lnTo>
                  <a:lnTo>
                    <a:pt x="582" y="641"/>
                  </a:lnTo>
                  <a:lnTo>
                    <a:pt x="580" y="641"/>
                  </a:lnTo>
                  <a:lnTo>
                    <a:pt x="578" y="641"/>
                  </a:lnTo>
                  <a:lnTo>
                    <a:pt x="576" y="641"/>
                  </a:lnTo>
                  <a:lnTo>
                    <a:pt x="574" y="641"/>
                  </a:lnTo>
                  <a:lnTo>
                    <a:pt x="574" y="643"/>
                  </a:lnTo>
                  <a:lnTo>
                    <a:pt x="572" y="643"/>
                  </a:lnTo>
                  <a:lnTo>
                    <a:pt x="570" y="643"/>
                  </a:lnTo>
                  <a:lnTo>
                    <a:pt x="570" y="641"/>
                  </a:lnTo>
                  <a:lnTo>
                    <a:pt x="570" y="643"/>
                  </a:lnTo>
                  <a:lnTo>
                    <a:pt x="570" y="641"/>
                  </a:lnTo>
                  <a:lnTo>
                    <a:pt x="568" y="641"/>
                  </a:lnTo>
                  <a:lnTo>
                    <a:pt x="568" y="643"/>
                  </a:lnTo>
                  <a:lnTo>
                    <a:pt x="568" y="641"/>
                  </a:lnTo>
                  <a:lnTo>
                    <a:pt x="568" y="643"/>
                  </a:lnTo>
                  <a:lnTo>
                    <a:pt x="566" y="643"/>
                  </a:lnTo>
                  <a:lnTo>
                    <a:pt x="566" y="641"/>
                  </a:lnTo>
                  <a:lnTo>
                    <a:pt x="566" y="643"/>
                  </a:lnTo>
                  <a:lnTo>
                    <a:pt x="566" y="641"/>
                  </a:lnTo>
                  <a:lnTo>
                    <a:pt x="566" y="643"/>
                  </a:lnTo>
                  <a:lnTo>
                    <a:pt x="566" y="641"/>
                  </a:lnTo>
                  <a:lnTo>
                    <a:pt x="566" y="643"/>
                  </a:lnTo>
                  <a:lnTo>
                    <a:pt x="565" y="643"/>
                  </a:lnTo>
                  <a:lnTo>
                    <a:pt x="566" y="643"/>
                  </a:lnTo>
                  <a:lnTo>
                    <a:pt x="565" y="643"/>
                  </a:lnTo>
                  <a:lnTo>
                    <a:pt x="566" y="643"/>
                  </a:lnTo>
                  <a:lnTo>
                    <a:pt x="565" y="643"/>
                  </a:lnTo>
                  <a:lnTo>
                    <a:pt x="565" y="641"/>
                  </a:lnTo>
                  <a:lnTo>
                    <a:pt x="565" y="643"/>
                  </a:lnTo>
                  <a:lnTo>
                    <a:pt x="565" y="641"/>
                  </a:lnTo>
                  <a:lnTo>
                    <a:pt x="563" y="641"/>
                  </a:lnTo>
                  <a:lnTo>
                    <a:pt x="561" y="641"/>
                  </a:lnTo>
                  <a:lnTo>
                    <a:pt x="559" y="641"/>
                  </a:lnTo>
                  <a:lnTo>
                    <a:pt x="557" y="641"/>
                  </a:lnTo>
                  <a:lnTo>
                    <a:pt x="557" y="639"/>
                  </a:lnTo>
                  <a:lnTo>
                    <a:pt x="557" y="641"/>
                  </a:lnTo>
                  <a:lnTo>
                    <a:pt x="555" y="641"/>
                  </a:lnTo>
                  <a:lnTo>
                    <a:pt x="555" y="639"/>
                  </a:lnTo>
                  <a:lnTo>
                    <a:pt x="555" y="641"/>
                  </a:lnTo>
                  <a:lnTo>
                    <a:pt x="555" y="639"/>
                  </a:lnTo>
                  <a:lnTo>
                    <a:pt x="557" y="639"/>
                  </a:lnTo>
                  <a:lnTo>
                    <a:pt x="555" y="639"/>
                  </a:lnTo>
                  <a:lnTo>
                    <a:pt x="553" y="639"/>
                  </a:lnTo>
                  <a:lnTo>
                    <a:pt x="555" y="639"/>
                  </a:lnTo>
                  <a:lnTo>
                    <a:pt x="553" y="639"/>
                  </a:lnTo>
                  <a:lnTo>
                    <a:pt x="551" y="639"/>
                  </a:lnTo>
                  <a:lnTo>
                    <a:pt x="551" y="641"/>
                  </a:lnTo>
                  <a:lnTo>
                    <a:pt x="551" y="639"/>
                  </a:lnTo>
                  <a:lnTo>
                    <a:pt x="551" y="641"/>
                  </a:lnTo>
                  <a:lnTo>
                    <a:pt x="551" y="639"/>
                  </a:lnTo>
                  <a:lnTo>
                    <a:pt x="549" y="639"/>
                  </a:lnTo>
                  <a:lnTo>
                    <a:pt x="549" y="641"/>
                  </a:lnTo>
                  <a:lnTo>
                    <a:pt x="547" y="641"/>
                  </a:lnTo>
                  <a:lnTo>
                    <a:pt x="545" y="641"/>
                  </a:lnTo>
                  <a:lnTo>
                    <a:pt x="543" y="643"/>
                  </a:lnTo>
                  <a:lnTo>
                    <a:pt x="543" y="641"/>
                  </a:lnTo>
                  <a:lnTo>
                    <a:pt x="543" y="643"/>
                  </a:lnTo>
                  <a:lnTo>
                    <a:pt x="542" y="643"/>
                  </a:lnTo>
                  <a:lnTo>
                    <a:pt x="542" y="641"/>
                  </a:lnTo>
                  <a:lnTo>
                    <a:pt x="542" y="643"/>
                  </a:lnTo>
                  <a:lnTo>
                    <a:pt x="542" y="641"/>
                  </a:lnTo>
                  <a:lnTo>
                    <a:pt x="543" y="641"/>
                  </a:lnTo>
                  <a:lnTo>
                    <a:pt x="543" y="639"/>
                  </a:lnTo>
                  <a:lnTo>
                    <a:pt x="543" y="641"/>
                  </a:lnTo>
                  <a:lnTo>
                    <a:pt x="543" y="639"/>
                  </a:lnTo>
                  <a:lnTo>
                    <a:pt x="542" y="639"/>
                  </a:lnTo>
                  <a:lnTo>
                    <a:pt x="542" y="641"/>
                  </a:lnTo>
                  <a:lnTo>
                    <a:pt x="540" y="641"/>
                  </a:lnTo>
                  <a:lnTo>
                    <a:pt x="542" y="641"/>
                  </a:lnTo>
                  <a:lnTo>
                    <a:pt x="540" y="641"/>
                  </a:lnTo>
                  <a:lnTo>
                    <a:pt x="538" y="641"/>
                  </a:lnTo>
                  <a:lnTo>
                    <a:pt x="536" y="641"/>
                  </a:lnTo>
                  <a:lnTo>
                    <a:pt x="536" y="643"/>
                  </a:lnTo>
                  <a:lnTo>
                    <a:pt x="536" y="641"/>
                  </a:lnTo>
                  <a:lnTo>
                    <a:pt x="536" y="643"/>
                  </a:lnTo>
                  <a:lnTo>
                    <a:pt x="534" y="643"/>
                  </a:lnTo>
                  <a:lnTo>
                    <a:pt x="532" y="643"/>
                  </a:lnTo>
                  <a:lnTo>
                    <a:pt x="530" y="643"/>
                  </a:lnTo>
                  <a:lnTo>
                    <a:pt x="528" y="643"/>
                  </a:lnTo>
                  <a:lnTo>
                    <a:pt x="530" y="643"/>
                  </a:lnTo>
                  <a:lnTo>
                    <a:pt x="528" y="643"/>
                  </a:lnTo>
                  <a:lnTo>
                    <a:pt x="528" y="645"/>
                  </a:lnTo>
                  <a:lnTo>
                    <a:pt x="528" y="643"/>
                  </a:lnTo>
                  <a:lnTo>
                    <a:pt x="528" y="645"/>
                  </a:lnTo>
                  <a:lnTo>
                    <a:pt x="528" y="643"/>
                  </a:lnTo>
                  <a:lnTo>
                    <a:pt x="528" y="645"/>
                  </a:lnTo>
                  <a:lnTo>
                    <a:pt x="526" y="645"/>
                  </a:lnTo>
                  <a:lnTo>
                    <a:pt x="526" y="643"/>
                  </a:lnTo>
                  <a:lnTo>
                    <a:pt x="526" y="645"/>
                  </a:lnTo>
                  <a:lnTo>
                    <a:pt x="526" y="643"/>
                  </a:lnTo>
                  <a:lnTo>
                    <a:pt x="526" y="645"/>
                  </a:lnTo>
                  <a:lnTo>
                    <a:pt x="526" y="643"/>
                  </a:lnTo>
                  <a:lnTo>
                    <a:pt x="526" y="645"/>
                  </a:lnTo>
                  <a:lnTo>
                    <a:pt x="524" y="645"/>
                  </a:lnTo>
                  <a:lnTo>
                    <a:pt x="524" y="643"/>
                  </a:lnTo>
                  <a:lnTo>
                    <a:pt x="522" y="643"/>
                  </a:lnTo>
                  <a:lnTo>
                    <a:pt x="520" y="643"/>
                  </a:lnTo>
                  <a:lnTo>
                    <a:pt x="520" y="645"/>
                  </a:lnTo>
                  <a:lnTo>
                    <a:pt x="520" y="643"/>
                  </a:lnTo>
                  <a:lnTo>
                    <a:pt x="518" y="643"/>
                  </a:lnTo>
                  <a:lnTo>
                    <a:pt x="517" y="643"/>
                  </a:lnTo>
                  <a:lnTo>
                    <a:pt x="515" y="643"/>
                  </a:lnTo>
                  <a:lnTo>
                    <a:pt x="513" y="643"/>
                  </a:lnTo>
                  <a:lnTo>
                    <a:pt x="511" y="643"/>
                  </a:lnTo>
                  <a:lnTo>
                    <a:pt x="509" y="643"/>
                  </a:lnTo>
                  <a:lnTo>
                    <a:pt x="507" y="643"/>
                  </a:lnTo>
                  <a:lnTo>
                    <a:pt x="507" y="641"/>
                  </a:lnTo>
                  <a:lnTo>
                    <a:pt x="507" y="643"/>
                  </a:lnTo>
                  <a:lnTo>
                    <a:pt x="507" y="641"/>
                  </a:lnTo>
                  <a:lnTo>
                    <a:pt x="507" y="643"/>
                  </a:lnTo>
                  <a:lnTo>
                    <a:pt x="505" y="641"/>
                  </a:lnTo>
                  <a:lnTo>
                    <a:pt x="505" y="643"/>
                  </a:lnTo>
                  <a:lnTo>
                    <a:pt x="505" y="641"/>
                  </a:lnTo>
                  <a:lnTo>
                    <a:pt x="503" y="641"/>
                  </a:lnTo>
                  <a:lnTo>
                    <a:pt x="503" y="643"/>
                  </a:lnTo>
                  <a:lnTo>
                    <a:pt x="503" y="641"/>
                  </a:lnTo>
                  <a:lnTo>
                    <a:pt x="503" y="643"/>
                  </a:lnTo>
                  <a:lnTo>
                    <a:pt x="503" y="641"/>
                  </a:lnTo>
                  <a:lnTo>
                    <a:pt x="503" y="643"/>
                  </a:lnTo>
                  <a:lnTo>
                    <a:pt x="501" y="643"/>
                  </a:lnTo>
                  <a:lnTo>
                    <a:pt x="503" y="643"/>
                  </a:lnTo>
                  <a:lnTo>
                    <a:pt x="501" y="643"/>
                  </a:lnTo>
                  <a:lnTo>
                    <a:pt x="501" y="641"/>
                  </a:lnTo>
                  <a:lnTo>
                    <a:pt x="503" y="641"/>
                  </a:lnTo>
                  <a:lnTo>
                    <a:pt x="501" y="641"/>
                  </a:lnTo>
                  <a:lnTo>
                    <a:pt x="499" y="641"/>
                  </a:lnTo>
                  <a:lnTo>
                    <a:pt x="497" y="641"/>
                  </a:lnTo>
                  <a:lnTo>
                    <a:pt x="495" y="641"/>
                  </a:lnTo>
                  <a:lnTo>
                    <a:pt x="494" y="641"/>
                  </a:lnTo>
                  <a:lnTo>
                    <a:pt x="492" y="641"/>
                  </a:lnTo>
                  <a:lnTo>
                    <a:pt x="490" y="641"/>
                  </a:lnTo>
                  <a:lnTo>
                    <a:pt x="488" y="641"/>
                  </a:lnTo>
                  <a:lnTo>
                    <a:pt x="488" y="639"/>
                  </a:lnTo>
                  <a:lnTo>
                    <a:pt x="486" y="639"/>
                  </a:lnTo>
                  <a:lnTo>
                    <a:pt x="484" y="639"/>
                  </a:lnTo>
                  <a:lnTo>
                    <a:pt x="484" y="641"/>
                  </a:lnTo>
                  <a:lnTo>
                    <a:pt x="484" y="639"/>
                  </a:lnTo>
                  <a:lnTo>
                    <a:pt x="484" y="641"/>
                  </a:lnTo>
                  <a:lnTo>
                    <a:pt x="484" y="639"/>
                  </a:lnTo>
                  <a:lnTo>
                    <a:pt x="482" y="639"/>
                  </a:lnTo>
                  <a:lnTo>
                    <a:pt x="482" y="641"/>
                  </a:lnTo>
                  <a:lnTo>
                    <a:pt x="480" y="641"/>
                  </a:lnTo>
                  <a:lnTo>
                    <a:pt x="480" y="639"/>
                  </a:lnTo>
                  <a:lnTo>
                    <a:pt x="480" y="641"/>
                  </a:lnTo>
                  <a:lnTo>
                    <a:pt x="480" y="639"/>
                  </a:lnTo>
                  <a:lnTo>
                    <a:pt x="478" y="639"/>
                  </a:lnTo>
                  <a:lnTo>
                    <a:pt x="476" y="639"/>
                  </a:lnTo>
                  <a:lnTo>
                    <a:pt x="476" y="637"/>
                  </a:lnTo>
                  <a:lnTo>
                    <a:pt x="476" y="635"/>
                  </a:lnTo>
                  <a:lnTo>
                    <a:pt x="478" y="635"/>
                  </a:lnTo>
                  <a:lnTo>
                    <a:pt x="476" y="635"/>
                  </a:lnTo>
                  <a:lnTo>
                    <a:pt x="478" y="635"/>
                  </a:lnTo>
                  <a:lnTo>
                    <a:pt x="476" y="635"/>
                  </a:lnTo>
                  <a:lnTo>
                    <a:pt x="478" y="635"/>
                  </a:lnTo>
                  <a:lnTo>
                    <a:pt x="478" y="634"/>
                  </a:lnTo>
                  <a:lnTo>
                    <a:pt x="476" y="634"/>
                  </a:lnTo>
                  <a:lnTo>
                    <a:pt x="478" y="634"/>
                  </a:lnTo>
                  <a:lnTo>
                    <a:pt x="478" y="632"/>
                  </a:lnTo>
                  <a:lnTo>
                    <a:pt x="478" y="630"/>
                  </a:lnTo>
                  <a:lnTo>
                    <a:pt x="476" y="630"/>
                  </a:lnTo>
                  <a:lnTo>
                    <a:pt x="476" y="628"/>
                  </a:lnTo>
                  <a:lnTo>
                    <a:pt x="474" y="628"/>
                  </a:lnTo>
                  <a:lnTo>
                    <a:pt x="472" y="628"/>
                  </a:lnTo>
                  <a:lnTo>
                    <a:pt x="474" y="628"/>
                  </a:lnTo>
                  <a:lnTo>
                    <a:pt x="472" y="628"/>
                  </a:lnTo>
                  <a:lnTo>
                    <a:pt x="470" y="628"/>
                  </a:lnTo>
                  <a:lnTo>
                    <a:pt x="470" y="630"/>
                  </a:lnTo>
                  <a:lnTo>
                    <a:pt x="470" y="632"/>
                  </a:lnTo>
                  <a:lnTo>
                    <a:pt x="469" y="632"/>
                  </a:lnTo>
                  <a:lnTo>
                    <a:pt x="469" y="630"/>
                  </a:lnTo>
                  <a:lnTo>
                    <a:pt x="469" y="632"/>
                  </a:lnTo>
                  <a:lnTo>
                    <a:pt x="469" y="630"/>
                  </a:lnTo>
                  <a:lnTo>
                    <a:pt x="467" y="630"/>
                  </a:lnTo>
                  <a:lnTo>
                    <a:pt x="467" y="632"/>
                  </a:lnTo>
                  <a:lnTo>
                    <a:pt x="467" y="630"/>
                  </a:lnTo>
                  <a:lnTo>
                    <a:pt x="467" y="632"/>
                  </a:lnTo>
                  <a:lnTo>
                    <a:pt x="467" y="630"/>
                  </a:lnTo>
                  <a:lnTo>
                    <a:pt x="465" y="630"/>
                  </a:lnTo>
                  <a:lnTo>
                    <a:pt x="465" y="632"/>
                  </a:lnTo>
                  <a:lnTo>
                    <a:pt x="463" y="632"/>
                  </a:lnTo>
                  <a:lnTo>
                    <a:pt x="463" y="630"/>
                  </a:lnTo>
                  <a:lnTo>
                    <a:pt x="463" y="632"/>
                  </a:lnTo>
                  <a:lnTo>
                    <a:pt x="461" y="632"/>
                  </a:lnTo>
                  <a:lnTo>
                    <a:pt x="461" y="634"/>
                  </a:lnTo>
                  <a:lnTo>
                    <a:pt x="461" y="632"/>
                  </a:lnTo>
                  <a:lnTo>
                    <a:pt x="461" y="634"/>
                  </a:lnTo>
                  <a:lnTo>
                    <a:pt x="459" y="634"/>
                  </a:lnTo>
                  <a:lnTo>
                    <a:pt x="459" y="632"/>
                  </a:lnTo>
                  <a:lnTo>
                    <a:pt x="457" y="632"/>
                  </a:lnTo>
                  <a:lnTo>
                    <a:pt x="457" y="630"/>
                  </a:lnTo>
                  <a:lnTo>
                    <a:pt x="455" y="630"/>
                  </a:lnTo>
                  <a:lnTo>
                    <a:pt x="455" y="628"/>
                  </a:lnTo>
                  <a:lnTo>
                    <a:pt x="455" y="626"/>
                  </a:lnTo>
                  <a:lnTo>
                    <a:pt x="457" y="626"/>
                  </a:lnTo>
                  <a:lnTo>
                    <a:pt x="457" y="624"/>
                  </a:lnTo>
                  <a:lnTo>
                    <a:pt x="457" y="622"/>
                  </a:lnTo>
                  <a:lnTo>
                    <a:pt x="459" y="622"/>
                  </a:lnTo>
                  <a:lnTo>
                    <a:pt x="459" y="620"/>
                  </a:lnTo>
                  <a:lnTo>
                    <a:pt x="461" y="620"/>
                  </a:lnTo>
                  <a:lnTo>
                    <a:pt x="461" y="618"/>
                  </a:lnTo>
                  <a:lnTo>
                    <a:pt x="461" y="620"/>
                  </a:lnTo>
                  <a:lnTo>
                    <a:pt x="461" y="618"/>
                  </a:lnTo>
                  <a:lnTo>
                    <a:pt x="461" y="616"/>
                  </a:lnTo>
                  <a:lnTo>
                    <a:pt x="459" y="616"/>
                  </a:lnTo>
                  <a:lnTo>
                    <a:pt x="459" y="614"/>
                  </a:lnTo>
                  <a:lnTo>
                    <a:pt x="457" y="616"/>
                  </a:lnTo>
                  <a:lnTo>
                    <a:pt x="457" y="618"/>
                  </a:lnTo>
                  <a:lnTo>
                    <a:pt x="457" y="620"/>
                  </a:lnTo>
                  <a:lnTo>
                    <a:pt x="455" y="620"/>
                  </a:lnTo>
                  <a:lnTo>
                    <a:pt x="455" y="618"/>
                  </a:lnTo>
                  <a:lnTo>
                    <a:pt x="455" y="616"/>
                  </a:lnTo>
                  <a:lnTo>
                    <a:pt x="455" y="614"/>
                  </a:lnTo>
                  <a:lnTo>
                    <a:pt x="455" y="612"/>
                  </a:lnTo>
                  <a:lnTo>
                    <a:pt x="455" y="611"/>
                  </a:lnTo>
                  <a:lnTo>
                    <a:pt x="457" y="611"/>
                  </a:lnTo>
                  <a:lnTo>
                    <a:pt x="459" y="611"/>
                  </a:lnTo>
                  <a:lnTo>
                    <a:pt x="461" y="611"/>
                  </a:lnTo>
                  <a:lnTo>
                    <a:pt x="463" y="609"/>
                  </a:lnTo>
                  <a:lnTo>
                    <a:pt x="463" y="607"/>
                  </a:lnTo>
                  <a:lnTo>
                    <a:pt x="461" y="607"/>
                  </a:lnTo>
                  <a:lnTo>
                    <a:pt x="461" y="605"/>
                  </a:lnTo>
                  <a:lnTo>
                    <a:pt x="459" y="605"/>
                  </a:lnTo>
                  <a:lnTo>
                    <a:pt x="457" y="605"/>
                  </a:lnTo>
                  <a:lnTo>
                    <a:pt x="455" y="605"/>
                  </a:lnTo>
                  <a:lnTo>
                    <a:pt x="455" y="603"/>
                  </a:lnTo>
                  <a:lnTo>
                    <a:pt x="455" y="605"/>
                  </a:lnTo>
                  <a:lnTo>
                    <a:pt x="453" y="605"/>
                  </a:lnTo>
                  <a:lnTo>
                    <a:pt x="451" y="605"/>
                  </a:lnTo>
                  <a:lnTo>
                    <a:pt x="451" y="607"/>
                  </a:lnTo>
                  <a:lnTo>
                    <a:pt x="453" y="607"/>
                  </a:lnTo>
                  <a:lnTo>
                    <a:pt x="451" y="607"/>
                  </a:lnTo>
                  <a:lnTo>
                    <a:pt x="451" y="609"/>
                  </a:lnTo>
                  <a:lnTo>
                    <a:pt x="451" y="607"/>
                  </a:lnTo>
                  <a:lnTo>
                    <a:pt x="449" y="607"/>
                  </a:lnTo>
                  <a:lnTo>
                    <a:pt x="449" y="605"/>
                  </a:lnTo>
                  <a:lnTo>
                    <a:pt x="449" y="603"/>
                  </a:lnTo>
                  <a:lnTo>
                    <a:pt x="447" y="603"/>
                  </a:lnTo>
                  <a:lnTo>
                    <a:pt x="447" y="605"/>
                  </a:lnTo>
                  <a:lnTo>
                    <a:pt x="445" y="605"/>
                  </a:lnTo>
                  <a:lnTo>
                    <a:pt x="445" y="603"/>
                  </a:lnTo>
                  <a:lnTo>
                    <a:pt x="444" y="603"/>
                  </a:lnTo>
                  <a:lnTo>
                    <a:pt x="444" y="601"/>
                  </a:lnTo>
                  <a:lnTo>
                    <a:pt x="444" y="599"/>
                  </a:lnTo>
                  <a:lnTo>
                    <a:pt x="444" y="597"/>
                  </a:lnTo>
                  <a:lnTo>
                    <a:pt x="445" y="597"/>
                  </a:lnTo>
                  <a:lnTo>
                    <a:pt x="445" y="595"/>
                  </a:lnTo>
                  <a:lnTo>
                    <a:pt x="445" y="593"/>
                  </a:lnTo>
                  <a:lnTo>
                    <a:pt x="444" y="593"/>
                  </a:lnTo>
                  <a:lnTo>
                    <a:pt x="444" y="591"/>
                  </a:lnTo>
                  <a:lnTo>
                    <a:pt x="445" y="591"/>
                  </a:lnTo>
                  <a:lnTo>
                    <a:pt x="445" y="589"/>
                  </a:lnTo>
                  <a:lnTo>
                    <a:pt x="445" y="587"/>
                  </a:lnTo>
                  <a:lnTo>
                    <a:pt x="447" y="587"/>
                  </a:lnTo>
                  <a:lnTo>
                    <a:pt x="445" y="587"/>
                  </a:lnTo>
                  <a:lnTo>
                    <a:pt x="447" y="587"/>
                  </a:lnTo>
                  <a:lnTo>
                    <a:pt x="447" y="586"/>
                  </a:lnTo>
                  <a:lnTo>
                    <a:pt x="447" y="584"/>
                  </a:lnTo>
                  <a:lnTo>
                    <a:pt x="449" y="584"/>
                  </a:lnTo>
                  <a:lnTo>
                    <a:pt x="449" y="582"/>
                  </a:lnTo>
                  <a:lnTo>
                    <a:pt x="449" y="580"/>
                  </a:lnTo>
                  <a:lnTo>
                    <a:pt x="447" y="580"/>
                  </a:lnTo>
                  <a:lnTo>
                    <a:pt x="447" y="578"/>
                  </a:lnTo>
                  <a:lnTo>
                    <a:pt x="445" y="578"/>
                  </a:lnTo>
                  <a:lnTo>
                    <a:pt x="444" y="578"/>
                  </a:lnTo>
                  <a:lnTo>
                    <a:pt x="444" y="576"/>
                  </a:lnTo>
                  <a:lnTo>
                    <a:pt x="444" y="574"/>
                  </a:lnTo>
                  <a:lnTo>
                    <a:pt x="442" y="574"/>
                  </a:lnTo>
                  <a:lnTo>
                    <a:pt x="442" y="572"/>
                  </a:lnTo>
                  <a:lnTo>
                    <a:pt x="440" y="572"/>
                  </a:lnTo>
                  <a:lnTo>
                    <a:pt x="438" y="572"/>
                  </a:lnTo>
                  <a:lnTo>
                    <a:pt x="438" y="570"/>
                  </a:lnTo>
                  <a:lnTo>
                    <a:pt x="436" y="570"/>
                  </a:lnTo>
                  <a:lnTo>
                    <a:pt x="434" y="570"/>
                  </a:lnTo>
                  <a:lnTo>
                    <a:pt x="434" y="568"/>
                  </a:lnTo>
                  <a:lnTo>
                    <a:pt x="432" y="568"/>
                  </a:lnTo>
                  <a:lnTo>
                    <a:pt x="432" y="566"/>
                  </a:lnTo>
                  <a:lnTo>
                    <a:pt x="430" y="566"/>
                  </a:lnTo>
                  <a:lnTo>
                    <a:pt x="428" y="566"/>
                  </a:lnTo>
                  <a:lnTo>
                    <a:pt x="428" y="564"/>
                  </a:lnTo>
                  <a:lnTo>
                    <a:pt x="430" y="564"/>
                  </a:lnTo>
                  <a:lnTo>
                    <a:pt x="428" y="564"/>
                  </a:lnTo>
                  <a:lnTo>
                    <a:pt x="428" y="563"/>
                  </a:lnTo>
                  <a:lnTo>
                    <a:pt x="430" y="563"/>
                  </a:lnTo>
                  <a:lnTo>
                    <a:pt x="430" y="561"/>
                  </a:lnTo>
                  <a:lnTo>
                    <a:pt x="430" y="559"/>
                  </a:lnTo>
                  <a:lnTo>
                    <a:pt x="428" y="559"/>
                  </a:lnTo>
                  <a:lnTo>
                    <a:pt x="428" y="557"/>
                  </a:lnTo>
                  <a:lnTo>
                    <a:pt x="430" y="557"/>
                  </a:lnTo>
                  <a:lnTo>
                    <a:pt x="432" y="557"/>
                  </a:lnTo>
                  <a:lnTo>
                    <a:pt x="432" y="555"/>
                  </a:lnTo>
                  <a:lnTo>
                    <a:pt x="432" y="553"/>
                  </a:lnTo>
                  <a:lnTo>
                    <a:pt x="434" y="553"/>
                  </a:lnTo>
                  <a:lnTo>
                    <a:pt x="432" y="553"/>
                  </a:lnTo>
                  <a:lnTo>
                    <a:pt x="432" y="551"/>
                  </a:lnTo>
                  <a:lnTo>
                    <a:pt x="432" y="553"/>
                  </a:lnTo>
                  <a:lnTo>
                    <a:pt x="432" y="551"/>
                  </a:lnTo>
                  <a:lnTo>
                    <a:pt x="430" y="551"/>
                  </a:lnTo>
                  <a:lnTo>
                    <a:pt x="432" y="551"/>
                  </a:lnTo>
                  <a:lnTo>
                    <a:pt x="430" y="551"/>
                  </a:lnTo>
                  <a:lnTo>
                    <a:pt x="432" y="551"/>
                  </a:lnTo>
                  <a:lnTo>
                    <a:pt x="430" y="551"/>
                  </a:lnTo>
                  <a:lnTo>
                    <a:pt x="430" y="549"/>
                  </a:lnTo>
                  <a:lnTo>
                    <a:pt x="432" y="549"/>
                  </a:lnTo>
                  <a:lnTo>
                    <a:pt x="432" y="547"/>
                  </a:lnTo>
                  <a:lnTo>
                    <a:pt x="432" y="545"/>
                  </a:lnTo>
                  <a:lnTo>
                    <a:pt x="432" y="547"/>
                  </a:lnTo>
                  <a:lnTo>
                    <a:pt x="432" y="545"/>
                  </a:lnTo>
                  <a:lnTo>
                    <a:pt x="434" y="545"/>
                  </a:lnTo>
                  <a:lnTo>
                    <a:pt x="434" y="543"/>
                  </a:lnTo>
                  <a:lnTo>
                    <a:pt x="434" y="541"/>
                  </a:lnTo>
                  <a:lnTo>
                    <a:pt x="432" y="541"/>
                  </a:lnTo>
                  <a:lnTo>
                    <a:pt x="430" y="541"/>
                  </a:lnTo>
                  <a:lnTo>
                    <a:pt x="432" y="541"/>
                  </a:lnTo>
                  <a:lnTo>
                    <a:pt x="432" y="543"/>
                  </a:lnTo>
                  <a:lnTo>
                    <a:pt x="430" y="543"/>
                  </a:lnTo>
                  <a:lnTo>
                    <a:pt x="430" y="541"/>
                  </a:lnTo>
                  <a:lnTo>
                    <a:pt x="428" y="541"/>
                  </a:lnTo>
                  <a:lnTo>
                    <a:pt x="426" y="541"/>
                  </a:lnTo>
                  <a:lnTo>
                    <a:pt x="424" y="541"/>
                  </a:lnTo>
                  <a:lnTo>
                    <a:pt x="424" y="543"/>
                  </a:lnTo>
                  <a:lnTo>
                    <a:pt x="422" y="543"/>
                  </a:lnTo>
                  <a:lnTo>
                    <a:pt x="421" y="543"/>
                  </a:lnTo>
                  <a:lnTo>
                    <a:pt x="419" y="543"/>
                  </a:lnTo>
                  <a:lnTo>
                    <a:pt x="417" y="543"/>
                  </a:lnTo>
                  <a:lnTo>
                    <a:pt x="415" y="543"/>
                  </a:lnTo>
                  <a:lnTo>
                    <a:pt x="413" y="543"/>
                  </a:lnTo>
                  <a:lnTo>
                    <a:pt x="413" y="545"/>
                  </a:lnTo>
                  <a:lnTo>
                    <a:pt x="411" y="545"/>
                  </a:lnTo>
                  <a:lnTo>
                    <a:pt x="411" y="547"/>
                  </a:lnTo>
                  <a:lnTo>
                    <a:pt x="409" y="547"/>
                  </a:lnTo>
                  <a:lnTo>
                    <a:pt x="409" y="545"/>
                  </a:lnTo>
                  <a:lnTo>
                    <a:pt x="409" y="547"/>
                  </a:lnTo>
                  <a:lnTo>
                    <a:pt x="409" y="545"/>
                  </a:lnTo>
                  <a:lnTo>
                    <a:pt x="409" y="547"/>
                  </a:lnTo>
                  <a:lnTo>
                    <a:pt x="407" y="547"/>
                  </a:lnTo>
                  <a:lnTo>
                    <a:pt x="405" y="547"/>
                  </a:lnTo>
                  <a:lnTo>
                    <a:pt x="403" y="547"/>
                  </a:lnTo>
                  <a:lnTo>
                    <a:pt x="401" y="547"/>
                  </a:lnTo>
                  <a:lnTo>
                    <a:pt x="399" y="547"/>
                  </a:lnTo>
                  <a:lnTo>
                    <a:pt x="397" y="547"/>
                  </a:lnTo>
                  <a:lnTo>
                    <a:pt x="396" y="547"/>
                  </a:lnTo>
                  <a:lnTo>
                    <a:pt x="397" y="547"/>
                  </a:lnTo>
                  <a:lnTo>
                    <a:pt x="396" y="547"/>
                  </a:lnTo>
                  <a:lnTo>
                    <a:pt x="394" y="547"/>
                  </a:lnTo>
                  <a:lnTo>
                    <a:pt x="394" y="545"/>
                  </a:lnTo>
                  <a:lnTo>
                    <a:pt x="392" y="545"/>
                  </a:lnTo>
                  <a:lnTo>
                    <a:pt x="390" y="545"/>
                  </a:lnTo>
                  <a:lnTo>
                    <a:pt x="390" y="543"/>
                  </a:lnTo>
                  <a:lnTo>
                    <a:pt x="388" y="543"/>
                  </a:lnTo>
                  <a:lnTo>
                    <a:pt x="390" y="543"/>
                  </a:lnTo>
                  <a:lnTo>
                    <a:pt x="388" y="543"/>
                  </a:lnTo>
                  <a:lnTo>
                    <a:pt x="390" y="543"/>
                  </a:lnTo>
                  <a:lnTo>
                    <a:pt x="388" y="541"/>
                  </a:lnTo>
                  <a:lnTo>
                    <a:pt x="386" y="541"/>
                  </a:lnTo>
                  <a:lnTo>
                    <a:pt x="386" y="539"/>
                  </a:lnTo>
                  <a:lnTo>
                    <a:pt x="384" y="539"/>
                  </a:lnTo>
                  <a:lnTo>
                    <a:pt x="384" y="538"/>
                  </a:lnTo>
                  <a:lnTo>
                    <a:pt x="382" y="538"/>
                  </a:lnTo>
                  <a:lnTo>
                    <a:pt x="384" y="538"/>
                  </a:lnTo>
                  <a:lnTo>
                    <a:pt x="384" y="539"/>
                  </a:lnTo>
                  <a:lnTo>
                    <a:pt x="386" y="539"/>
                  </a:lnTo>
                  <a:lnTo>
                    <a:pt x="386" y="538"/>
                  </a:lnTo>
                  <a:lnTo>
                    <a:pt x="384" y="538"/>
                  </a:lnTo>
                  <a:lnTo>
                    <a:pt x="382" y="538"/>
                  </a:lnTo>
                  <a:lnTo>
                    <a:pt x="382" y="536"/>
                  </a:lnTo>
                  <a:lnTo>
                    <a:pt x="380" y="534"/>
                  </a:lnTo>
                  <a:lnTo>
                    <a:pt x="380" y="532"/>
                  </a:lnTo>
                  <a:lnTo>
                    <a:pt x="378" y="532"/>
                  </a:lnTo>
                  <a:lnTo>
                    <a:pt x="380" y="532"/>
                  </a:lnTo>
                  <a:lnTo>
                    <a:pt x="378" y="532"/>
                  </a:lnTo>
                  <a:lnTo>
                    <a:pt x="378" y="530"/>
                  </a:lnTo>
                  <a:lnTo>
                    <a:pt x="378" y="532"/>
                  </a:lnTo>
                  <a:lnTo>
                    <a:pt x="378" y="530"/>
                  </a:lnTo>
                  <a:lnTo>
                    <a:pt x="378" y="528"/>
                  </a:lnTo>
                  <a:lnTo>
                    <a:pt x="376" y="528"/>
                  </a:lnTo>
                  <a:lnTo>
                    <a:pt x="376" y="526"/>
                  </a:lnTo>
                  <a:lnTo>
                    <a:pt x="376" y="524"/>
                  </a:lnTo>
                  <a:lnTo>
                    <a:pt x="374" y="524"/>
                  </a:lnTo>
                  <a:lnTo>
                    <a:pt x="374" y="522"/>
                  </a:lnTo>
                  <a:lnTo>
                    <a:pt x="374" y="520"/>
                  </a:lnTo>
                  <a:lnTo>
                    <a:pt x="374" y="518"/>
                  </a:lnTo>
                  <a:lnTo>
                    <a:pt x="374" y="520"/>
                  </a:lnTo>
                  <a:lnTo>
                    <a:pt x="374" y="518"/>
                  </a:lnTo>
                  <a:lnTo>
                    <a:pt x="373" y="518"/>
                  </a:lnTo>
                  <a:lnTo>
                    <a:pt x="373" y="516"/>
                  </a:lnTo>
                  <a:lnTo>
                    <a:pt x="373" y="515"/>
                  </a:lnTo>
                  <a:lnTo>
                    <a:pt x="371" y="515"/>
                  </a:lnTo>
                  <a:lnTo>
                    <a:pt x="373" y="515"/>
                  </a:lnTo>
                  <a:lnTo>
                    <a:pt x="371" y="515"/>
                  </a:lnTo>
                  <a:lnTo>
                    <a:pt x="371" y="513"/>
                  </a:lnTo>
                  <a:lnTo>
                    <a:pt x="373" y="513"/>
                  </a:lnTo>
                  <a:lnTo>
                    <a:pt x="371" y="513"/>
                  </a:lnTo>
                  <a:lnTo>
                    <a:pt x="371" y="511"/>
                  </a:lnTo>
                  <a:lnTo>
                    <a:pt x="371" y="509"/>
                  </a:lnTo>
                  <a:lnTo>
                    <a:pt x="369" y="509"/>
                  </a:lnTo>
                  <a:lnTo>
                    <a:pt x="371" y="509"/>
                  </a:lnTo>
                  <a:lnTo>
                    <a:pt x="369" y="509"/>
                  </a:lnTo>
                  <a:lnTo>
                    <a:pt x="369" y="507"/>
                  </a:lnTo>
                  <a:lnTo>
                    <a:pt x="371" y="507"/>
                  </a:lnTo>
                  <a:lnTo>
                    <a:pt x="369" y="507"/>
                  </a:lnTo>
                  <a:lnTo>
                    <a:pt x="369" y="509"/>
                  </a:lnTo>
                  <a:lnTo>
                    <a:pt x="369" y="507"/>
                  </a:lnTo>
                  <a:lnTo>
                    <a:pt x="369" y="509"/>
                  </a:lnTo>
                  <a:lnTo>
                    <a:pt x="369" y="507"/>
                  </a:lnTo>
                  <a:lnTo>
                    <a:pt x="367" y="507"/>
                  </a:lnTo>
                  <a:lnTo>
                    <a:pt x="369" y="507"/>
                  </a:lnTo>
                  <a:lnTo>
                    <a:pt x="367" y="507"/>
                  </a:lnTo>
                  <a:lnTo>
                    <a:pt x="367" y="505"/>
                  </a:lnTo>
                  <a:lnTo>
                    <a:pt x="369" y="505"/>
                  </a:lnTo>
                  <a:lnTo>
                    <a:pt x="367" y="505"/>
                  </a:lnTo>
                  <a:lnTo>
                    <a:pt x="369" y="505"/>
                  </a:lnTo>
                  <a:lnTo>
                    <a:pt x="367" y="505"/>
                  </a:lnTo>
                  <a:lnTo>
                    <a:pt x="369" y="505"/>
                  </a:lnTo>
                  <a:lnTo>
                    <a:pt x="369" y="503"/>
                  </a:lnTo>
                  <a:lnTo>
                    <a:pt x="369" y="505"/>
                  </a:lnTo>
                  <a:lnTo>
                    <a:pt x="367" y="505"/>
                  </a:lnTo>
                  <a:lnTo>
                    <a:pt x="367" y="503"/>
                  </a:lnTo>
                  <a:lnTo>
                    <a:pt x="365" y="503"/>
                  </a:lnTo>
                  <a:lnTo>
                    <a:pt x="365" y="501"/>
                  </a:lnTo>
                  <a:lnTo>
                    <a:pt x="363" y="501"/>
                  </a:lnTo>
                  <a:lnTo>
                    <a:pt x="363" y="499"/>
                  </a:lnTo>
                  <a:lnTo>
                    <a:pt x="365" y="499"/>
                  </a:lnTo>
                  <a:lnTo>
                    <a:pt x="363" y="497"/>
                  </a:lnTo>
                  <a:lnTo>
                    <a:pt x="363" y="499"/>
                  </a:lnTo>
                  <a:lnTo>
                    <a:pt x="363" y="497"/>
                  </a:lnTo>
                  <a:lnTo>
                    <a:pt x="363" y="499"/>
                  </a:lnTo>
                  <a:lnTo>
                    <a:pt x="363" y="497"/>
                  </a:lnTo>
                  <a:lnTo>
                    <a:pt x="361" y="497"/>
                  </a:lnTo>
                  <a:lnTo>
                    <a:pt x="359" y="497"/>
                  </a:lnTo>
                  <a:lnTo>
                    <a:pt x="359" y="499"/>
                  </a:lnTo>
                  <a:lnTo>
                    <a:pt x="359" y="497"/>
                  </a:lnTo>
                  <a:lnTo>
                    <a:pt x="357" y="497"/>
                  </a:lnTo>
                  <a:lnTo>
                    <a:pt x="357" y="499"/>
                  </a:lnTo>
                  <a:lnTo>
                    <a:pt x="359" y="499"/>
                  </a:lnTo>
                  <a:lnTo>
                    <a:pt x="357" y="499"/>
                  </a:lnTo>
                  <a:lnTo>
                    <a:pt x="359" y="499"/>
                  </a:lnTo>
                  <a:lnTo>
                    <a:pt x="357" y="499"/>
                  </a:lnTo>
                  <a:lnTo>
                    <a:pt x="359" y="499"/>
                  </a:lnTo>
                  <a:lnTo>
                    <a:pt x="359" y="501"/>
                  </a:lnTo>
                  <a:lnTo>
                    <a:pt x="357" y="501"/>
                  </a:lnTo>
                  <a:lnTo>
                    <a:pt x="357" y="499"/>
                  </a:lnTo>
                  <a:lnTo>
                    <a:pt x="357" y="501"/>
                  </a:lnTo>
                  <a:lnTo>
                    <a:pt x="357" y="499"/>
                  </a:lnTo>
                  <a:lnTo>
                    <a:pt x="355" y="499"/>
                  </a:lnTo>
                  <a:lnTo>
                    <a:pt x="355" y="501"/>
                  </a:lnTo>
                  <a:lnTo>
                    <a:pt x="353" y="501"/>
                  </a:lnTo>
                  <a:lnTo>
                    <a:pt x="353" y="499"/>
                  </a:lnTo>
                  <a:lnTo>
                    <a:pt x="355" y="499"/>
                  </a:lnTo>
                  <a:lnTo>
                    <a:pt x="355" y="497"/>
                  </a:lnTo>
                  <a:lnTo>
                    <a:pt x="353" y="497"/>
                  </a:lnTo>
                  <a:lnTo>
                    <a:pt x="351" y="497"/>
                  </a:lnTo>
                  <a:lnTo>
                    <a:pt x="351" y="495"/>
                  </a:lnTo>
                  <a:lnTo>
                    <a:pt x="349" y="495"/>
                  </a:lnTo>
                  <a:lnTo>
                    <a:pt x="349" y="497"/>
                  </a:lnTo>
                  <a:lnTo>
                    <a:pt x="349" y="495"/>
                  </a:lnTo>
                  <a:lnTo>
                    <a:pt x="349" y="497"/>
                  </a:lnTo>
                  <a:lnTo>
                    <a:pt x="348" y="497"/>
                  </a:lnTo>
                  <a:lnTo>
                    <a:pt x="349" y="497"/>
                  </a:lnTo>
                  <a:lnTo>
                    <a:pt x="348" y="497"/>
                  </a:lnTo>
                  <a:lnTo>
                    <a:pt x="348" y="499"/>
                  </a:lnTo>
                  <a:lnTo>
                    <a:pt x="346" y="499"/>
                  </a:lnTo>
                  <a:lnTo>
                    <a:pt x="344" y="499"/>
                  </a:lnTo>
                  <a:lnTo>
                    <a:pt x="342" y="499"/>
                  </a:lnTo>
                  <a:lnTo>
                    <a:pt x="340" y="499"/>
                  </a:lnTo>
                  <a:lnTo>
                    <a:pt x="340" y="497"/>
                  </a:lnTo>
                  <a:lnTo>
                    <a:pt x="340" y="495"/>
                  </a:lnTo>
                  <a:lnTo>
                    <a:pt x="340" y="497"/>
                  </a:lnTo>
                  <a:lnTo>
                    <a:pt x="338" y="497"/>
                  </a:lnTo>
                  <a:lnTo>
                    <a:pt x="338" y="495"/>
                  </a:lnTo>
                  <a:lnTo>
                    <a:pt x="338" y="497"/>
                  </a:lnTo>
                  <a:lnTo>
                    <a:pt x="338" y="499"/>
                  </a:lnTo>
                  <a:lnTo>
                    <a:pt x="338" y="497"/>
                  </a:lnTo>
                  <a:lnTo>
                    <a:pt x="336" y="497"/>
                  </a:lnTo>
                  <a:lnTo>
                    <a:pt x="338" y="497"/>
                  </a:lnTo>
                  <a:lnTo>
                    <a:pt x="336" y="497"/>
                  </a:lnTo>
                  <a:lnTo>
                    <a:pt x="336" y="499"/>
                  </a:lnTo>
                  <a:lnTo>
                    <a:pt x="334" y="499"/>
                  </a:lnTo>
                  <a:lnTo>
                    <a:pt x="336" y="499"/>
                  </a:lnTo>
                  <a:lnTo>
                    <a:pt x="334" y="499"/>
                  </a:lnTo>
                  <a:lnTo>
                    <a:pt x="332" y="499"/>
                  </a:lnTo>
                  <a:lnTo>
                    <a:pt x="330" y="499"/>
                  </a:lnTo>
                  <a:lnTo>
                    <a:pt x="330" y="501"/>
                  </a:lnTo>
                  <a:lnTo>
                    <a:pt x="328" y="501"/>
                  </a:lnTo>
                  <a:lnTo>
                    <a:pt x="328" y="499"/>
                  </a:lnTo>
                  <a:lnTo>
                    <a:pt x="328" y="501"/>
                  </a:lnTo>
                  <a:lnTo>
                    <a:pt x="326" y="501"/>
                  </a:lnTo>
                  <a:lnTo>
                    <a:pt x="326" y="499"/>
                  </a:lnTo>
                  <a:lnTo>
                    <a:pt x="326" y="497"/>
                  </a:lnTo>
                  <a:lnTo>
                    <a:pt x="325" y="497"/>
                  </a:lnTo>
                  <a:lnTo>
                    <a:pt x="325" y="499"/>
                  </a:lnTo>
                  <a:lnTo>
                    <a:pt x="325" y="497"/>
                  </a:lnTo>
                  <a:lnTo>
                    <a:pt x="323" y="497"/>
                  </a:lnTo>
                  <a:lnTo>
                    <a:pt x="323" y="495"/>
                  </a:lnTo>
                  <a:lnTo>
                    <a:pt x="321" y="495"/>
                  </a:lnTo>
                  <a:lnTo>
                    <a:pt x="319" y="495"/>
                  </a:lnTo>
                  <a:lnTo>
                    <a:pt x="317" y="495"/>
                  </a:lnTo>
                  <a:lnTo>
                    <a:pt x="317" y="497"/>
                  </a:lnTo>
                  <a:lnTo>
                    <a:pt x="315" y="497"/>
                  </a:lnTo>
                  <a:lnTo>
                    <a:pt x="315" y="495"/>
                  </a:lnTo>
                  <a:lnTo>
                    <a:pt x="317" y="495"/>
                  </a:lnTo>
                  <a:lnTo>
                    <a:pt x="317" y="493"/>
                  </a:lnTo>
                  <a:lnTo>
                    <a:pt x="315" y="493"/>
                  </a:lnTo>
                  <a:lnTo>
                    <a:pt x="317" y="493"/>
                  </a:lnTo>
                  <a:lnTo>
                    <a:pt x="315" y="493"/>
                  </a:lnTo>
                  <a:lnTo>
                    <a:pt x="313" y="493"/>
                  </a:lnTo>
                  <a:lnTo>
                    <a:pt x="313" y="495"/>
                  </a:lnTo>
                  <a:lnTo>
                    <a:pt x="311" y="495"/>
                  </a:lnTo>
                  <a:lnTo>
                    <a:pt x="311" y="493"/>
                  </a:lnTo>
                  <a:lnTo>
                    <a:pt x="309" y="493"/>
                  </a:lnTo>
                  <a:lnTo>
                    <a:pt x="309" y="491"/>
                  </a:lnTo>
                  <a:lnTo>
                    <a:pt x="307" y="491"/>
                  </a:lnTo>
                  <a:lnTo>
                    <a:pt x="307" y="493"/>
                  </a:lnTo>
                  <a:lnTo>
                    <a:pt x="305" y="493"/>
                  </a:lnTo>
                  <a:lnTo>
                    <a:pt x="305" y="491"/>
                  </a:lnTo>
                  <a:lnTo>
                    <a:pt x="307" y="491"/>
                  </a:lnTo>
                  <a:lnTo>
                    <a:pt x="305" y="491"/>
                  </a:lnTo>
                  <a:lnTo>
                    <a:pt x="303" y="491"/>
                  </a:lnTo>
                  <a:lnTo>
                    <a:pt x="305" y="491"/>
                  </a:lnTo>
                  <a:lnTo>
                    <a:pt x="303" y="491"/>
                  </a:lnTo>
                  <a:lnTo>
                    <a:pt x="303" y="493"/>
                  </a:lnTo>
                  <a:lnTo>
                    <a:pt x="303" y="491"/>
                  </a:lnTo>
                  <a:lnTo>
                    <a:pt x="301" y="491"/>
                  </a:lnTo>
                  <a:lnTo>
                    <a:pt x="300" y="491"/>
                  </a:lnTo>
                  <a:lnTo>
                    <a:pt x="298" y="491"/>
                  </a:lnTo>
                  <a:lnTo>
                    <a:pt x="298" y="490"/>
                  </a:lnTo>
                  <a:lnTo>
                    <a:pt x="296" y="490"/>
                  </a:lnTo>
                  <a:lnTo>
                    <a:pt x="296" y="488"/>
                  </a:lnTo>
                  <a:lnTo>
                    <a:pt x="296" y="490"/>
                  </a:lnTo>
                  <a:lnTo>
                    <a:pt x="296" y="488"/>
                  </a:lnTo>
                  <a:lnTo>
                    <a:pt x="296" y="486"/>
                  </a:lnTo>
                  <a:lnTo>
                    <a:pt x="294" y="486"/>
                  </a:lnTo>
                  <a:lnTo>
                    <a:pt x="294" y="488"/>
                  </a:lnTo>
                  <a:lnTo>
                    <a:pt x="294" y="490"/>
                  </a:lnTo>
                  <a:lnTo>
                    <a:pt x="294" y="488"/>
                  </a:lnTo>
                  <a:lnTo>
                    <a:pt x="292" y="488"/>
                  </a:lnTo>
                  <a:lnTo>
                    <a:pt x="294" y="488"/>
                  </a:lnTo>
                  <a:lnTo>
                    <a:pt x="292" y="488"/>
                  </a:lnTo>
                  <a:lnTo>
                    <a:pt x="290" y="488"/>
                  </a:lnTo>
                  <a:lnTo>
                    <a:pt x="292" y="488"/>
                  </a:lnTo>
                  <a:lnTo>
                    <a:pt x="290" y="488"/>
                  </a:lnTo>
                  <a:lnTo>
                    <a:pt x="292" y="488"/>
                  </a:lnTo>
                  <a:lnTo>
                    <a:pt x="292" y="490"/>
                  </a:lnTo>
                  <a:lnTo>
                    <a:pt x="292" y="488"/>
                  </a:lnTo>
                  <a:lnTo>
                    <a:pt x="292" y="490"/>
                  </a:lnTo>
                  <a:lnTo>
                    <a:pt x="290" y="490"/>
                  </a:lnTo>
                  <a:lnTo>
                    <a:pt x="292" y="490"/>
                  </a:lnTo>
                  <a:lnTo>
                    <a:pt x="290" y="490"/>
                  </a:lnTo>
                  <a:lnTo>
                    <a:pt x="290" y="491"/>
                  </a:lnTo>
                  <a:lnTo>
                    <a:pt x="290" y="490"/>
                  </a:lnTo>
                  <a:lnTo>
                    <a:pt x="290" y="491"/>
                  </a:lnTo>
                  <a:lnTo>
                    <a:pt x="290" y="490"/>
                  </a:lnTo>
                  <a:lnTo>
                    <a:pt x="288" y="490"/>
                  </a:lnTo>
                  <a:lnTo>
                    <a:pt x="286" y="490"/>
                  </a:lnTo>
                  <a:lnTo>
                    <a:pt x="286" y="491"/>
                  </a:lnTo>
                  <a:lnTo>
                    <a:pt x="288" y="491"/>
                  </a:lnTo>
                  <a:lnTo>
                    <a:pt x="288" y="493"/>
                  </a:lnTo>
                  <a:lnTo>
                    <a:pt x="286" y="493"/>
                  </a:lnTo>
                  <a:lnTo>
                    <a:pt x="286" y="495"/>
                  </a:lnTo>
                  <a:lnTo>
                    <a:pt x="286" y="497"/>
                  </a:lnTo>
                  <a:lnTo>
                    <a:pt x="288" y="497"/>
                  </a:lnTo>
                  <a:lnTo>
                    <a:pt x="288" y="499"/>
                  </a:lnTo>
                  <a:lnTo>
                    <a:pt x="290" y="499"/>
                  </a:lnTo>
                  <a:lnTo>
                    <a:pt x="292" y="499"/>
                  </a:lnTo>
                  <a:lnTo>
                    <a:pt x="292" y="501"/>
                  </a:lnTo>
                  <a:lnTo>
                    <a:pt x="294" y="501"/>
                  </a:lnTo>
                  <a:lnTo>
                    <a:pt x="294" y="503"/>
                  </a:lnTo>
                  <a:lnTo>
                    <a:pt x="294" y="505"/>
                  </a:lnTo>
                  <a:lnTo>
                    <a:pt x="294" y="507"/>
                  </a:lnTo>
                  <a:lnTo>
                    <a:pt x="292" y="507"/>
                  </a:lnTo>
                  <a:lnTo>
                    <a:pt x="292" y="509"/>
                  </a:lnTo>
                  <a:lnTo>
                    <a:pt x="292" y="511"/>
                  </a:lnTo>
                  <a:lnTo>
                    <a:pt x="290" y="511"/>
                  </a:lnTo>
                  <a:lnTo>
                    <a:pt x="290" y="513"/>
                  </a:lnTo>
                  <a:lnTo>
                    <a:pt x="290" y="515"/>
                  </a:lnTo>
                  <a:lnTo>
                    <a:pt x="290" y="513"/>
                  </a:lnTo>
                  <a:lnTo>
                    <a:pt x="288" y="513"/>
                  </a:lnTo>
                  <a:lnTo>
                    <a:pt x="288" y="515"/>
                  </a:lnTo>
                  <a:lnTo>
                    <a:pt x="288" y="513"/>
                  </a:lnTo>
                  <a:lnTo>
                    <a:pt x="288" y="511"/>
                  </a:lnTo>
                  <a:lnTo>
                    <a:pt x="288" y="513"/>
                  </a:lnTo>
                  <a:lnTo>
                    <a:pt x="286" y="513"/>
                  </a:lnTo>
                  <a:lnTo>
                    <a:pt x="286" y="515"/>
                  </a:lnTo>
                  <a:lnTo>
                    <a:pt x="286" y="513"/>
                  </a:lnTo>
                  <a:lnTo>
                    <a:pt x="286" y="515"/>
                  </a:lnTo>
                  <a:lnTo>
                    <a:pt x="286" y="513"/>
                  </a:lnTo>
                  <a:lnTo>
                    <a:pt x="286" y="515"/>
                  </a:lnTo>
                  <a:lnTo>
                    <a:pt x="286" y="513"/>
                  </a:lnTo>
                  <a:lnTo>
                    <a:pt x="286" y="515"/>
                  </a:lnTo>
                  <a:lnTo>
                    <a:pt x="286" y="513"/>
                  </a:lnTo>
                  <a:lnTo>
                    <a:pt x="284" y="513"/>
                  </a:lnTo>
                  <a:lnTo>
                    <a:pt x="284" y="511"/>
                  </a:lnTo>
                  <a:lnTo>
                    <a:pt x="284" y="513"/>
                  </a:lnTo>
                  <a:lnTo>
                    <a:pt x="284" y="515"/>
                  </a:lnTo>
                  <a:lnTo>
                    <a:pt x="286" y="515"/>
                  </a:lnTo>
                  <a:lnTo>
                    <a:pt x="284" y="515"/>
                  </a:lnTo>
                  <a:lnTo>
                    <a:pt x="284" y="516"/>
                  </a:lnTo>
                  <a:lnTo>
                    <a:pt x="284" y="515"/>
                  </a:lnTo>
                  <a:lnTo>
                    <a:pt x="284" y="516"/>
                  </a:lnTo>
                  <a:lnTo>
                    <a:pt x="284" y="515"/>
                  </a:lnTo>
                  <a:lnTo>
                    <a:pt x="284" y="516"/>
                  </a:lnTo>
                  <a:lnTo>
                    <a:pt x="282" y="516"/>
                  </a:lnTo>
                  <a:lnTo>
                    <a:pt x="282" y="518"/>
                  </a:lnTo>
                  <a:lnTo>
                    <a:pt x="282" y="516"/>
                  </a:lnTo>
                  <a:lnTo>
                    <a:pt x="282" y="518"/>
                  </a:lnTo>
                  <a:lnTo>
                    <a:pt x="282" y="516"/>
                  </a:lnTo>
                  <a:lnTo>
                    <a:pt x="280" y="516"/>
                  </a:lnTo>
                  <a:lnTo>
                    <a:pt x="280" y="518"/>
                  </a:lnTo>
                  <a:lnTo>
                    <a:pt x="280" y="516"/>
                  </a:lnTo>
                  <a:lnTo>
                    <a:pt x="280" y="515"/>
                  </a:lnTo>
                  <a:lnTo>
                    <a:pt x="280" y="516"/>
                  </a:lnTo>
                  <a:lnTo>
                    <a:pt x="278" y="516"/>
                  </a:lnTo>
                  <a:lnTo>
                    <a:pt x="278" y="518"/>
                  </a:lnTo>
                  <a:lnTo>
                    <a:pt x="278" y="520"/>
                  </a:lnTo>
                  <a:lnTo>
                    <a:pt x="278" y="518"/>
                  </a:lnTo>
                  <a:lnTo>
                    <a:pt x="278" y="520"/>
                  </a:lnTo>
                  <a:lnTo>
                    <a:pt x="277" y="520"/>
                  </a:lnTo>
                  <a:lnTo>
                    <a:pt x="278" y="520"/>
                  </a:lnTo>
                  <a:lnTo>
                    <a:pt x="277" y="520"/>
                  </a:lnTo>
                  <a:lnTo>
                    <a:pt x="278" y="520"/>
                  </a:lnTo>
                  <a:lnTo>
                    <a:pt x="277" y="520"/>
                  </a:lnTo>
                  <a:lnTo>
                    <a:pt x="278" y="520"/>
                  </a:lnTo>
                  <a:lnTo>
                    <a:pt x="278" y="522"/>
                  </a:lnTo>
                  <a:lnTo>
                    <a:pt x="277" y="522"/>
                  </a:lnTo>
                  <a:lnTo>
                    <a:pt x="277" y="524"/>
                  </a:lnTo>
                  <a:lnTo>
                    <a:pt x="277" y="522"/>
                  </a:lnTo>
                  <a:lnTo>
                    <a:pt x="277" y="524"/>
                  </a:lnTo>
                  <a:lnTo>
                    <a:pt x="277" y="526"/>
                  </a:lnTo>
                  <a:lnTo>
                    <a:pt x="275" y="526"/>
                  </a:lnTo>
                  <a:lnTo>
                    <a:pt x="275" y="524"/>
                  </a:lnTo>
                  <a:lnTo>
                    <a:pt x="275" y="522"/>
                  </a:lnTo>
                  <a:lnTo>
                    <a:pt x="275" y="520"/>
                  </a:lnTo>
                  <a:lnTo>
                    <a:pt x="275" y="522"/>
                  </a:lnTo>
                  <a:lnTo>
                    <a:pt x="275" y="520"/>
                  </a:lnTo>
                  <a:lnTo>
                    <a:pt x="275" y="522"/>
                  </a:lnTo>
                  <a:lnTo>
                    <a:pt x="273" y="522"/>
                  </a:lnTo>
                  <a:lnTo>
                    <a:pt x="273" y="520"/>
                  </a:lnTo>
                  <a:lnTo>
                    <a:pt x="275" y="520"/>
                  </a:lnTo>
                  <a:lnTo>
                    <a:pt x="275" y="518"/>
                  </a:lnTo>
                  <a:lnTo>
                    <a:pt x="275" y="516"/>
                  </a:lnTo>
                  <a:lnTo>
                    <a:pt x="275" y="518"/>
                  </a:lnTo>
                  <a:lnTo>
                    <a:pt x="277" y="518"/>
                  </a:lnTo>
                  <a:lnTo>
                    <a:pt x="277" y="516"/>
                  </a:lnTo>
                  <a:lnTo>
                    <a:pt x="277" y="515"/>
                  </a:lnTo>
                  <a:lnTo>
                    <a:pt x="278" y="515"/>
                  </a:lnTo>
                  <a:lnTo>
                    <a:pt x="278" y="513"/>
                  </a:lnTo>
                  <a:lnTo>
                    <a:pt x="280" y="513"/>
                  </a:lnTo>
                  <a:lnTo>
                    <a:pt x="280" y="511"/>
                  </a:lnTo>
                  <a:lnTo>
                    <a:pt x="282" y="511"/>
                  </a:lnTo>
                  <a:lnTo>
                    <a:pt x="282" y="509"/>
                  </a:lnTo>
                  <a:lnTo>
                    <a:pt x="284" y="509"/>
                  </a:lnTo>
                  <a:lnTo>
                    <a:pt x="284" y="507"/>
                  </a:lnTo>
                  <a:lnTo>
                    <a:pt x="284" y="505"/>
                  </a:lnTo>
                  <a:lnTo>
                    <a:pt x="284" y="503"/>
                  </a:lnTo>
                  <a:lnTo>
                    <a:pt x="284" y="501"/>
                  </a:lnTo>
                  <a:lnTo>
                    <a:pt x="282" y="501"/>
                  </a:lnTo>
                  <a:lnTo>
                    <a:pt x="284" y="501"/>
                  </a:lnTo>
                  <a:lnTo>
                    <a:pt x="284" y="499"/>
                  </a:lnTo>
                  <a:lnTo>
                    <a:pt x="282" y="499"/>
                  </a:lnTo>
                  <a:lnTo>
                    <a:pt x="280" y="499"/>
                  </a:lnTo>
                  <a:lnTo>
                    <a:pt x="280" y="497"/>
                  </a:lnTo>
                  <a:lnTo>
                    <a:pt x="278" y="497"/>
                  </a:lnTo>
                  <a:lnTo>
                    <a:pt x="277" y="497"/>
                  </a:lnTo>
                  <a:lnTo>
                    <a:pt x="277" y="499"/>
                  </a:lnTo>
                  <a:lnTo>
                    <a:pt x="277" y="501"/>
                  </a:lnTo>
                  <a:lnTo>
                    <a:pt x="275" y="501"/>
                  </a:lnTo>
                  <a:lnTo>
                    <a:pt x="275" y="503"/>
                  </a:lnTo>
                  <a:lnTo>
                    <a:pt x="275" y="505"/>
                  </a:lnTo>
                  <a:lnTo>
                    <a:pt x="275" y="507"/>
                  </a:lnTo>
                  <a:lnTo>
                    <a:pt x="277" y="507"/>
                  </a:lnTo>
                  <a:lnTo>
                    <a:pt x="275" y="507"/>
                  </a:lnTo>
                  <a:lnTo>
                    <a:pt x="275" y="509"/>
                  </a:lnTo>
                  <a:lnTo>
                    <a:pt x="275" y="511"/>
                  </a:lnTo>
                  <a:lnTo>
                    <a:pt x="275" y="513"/>
                  </a:lnTo>
                  <a:lnTo>
                    <a:pt x="273" y="513"/>
                  </a:lnTo>
                  <a:lnTo>
                    <a:pt x="271" y="513"/>
                  </a:lnTo>
                  <a:lnTo>
                    <a:pt x="271" y="515"/>
                  </a:lnTo>
                  <a:lnTo>
                    <a:pt x="273" y="515"/>
                  </a:lnTo>
                  <a:lnTo>
                    <a:pt x="271" y="516"/>
                  </a:lnTo>
                  <a:lnTo>
                    <a:pt x="271" y="518"/>
                  </a:lnTo>
                  <a:lnTo>
                    <a:pt x="271" y="520"/>
                  </a:lnTo>
                  <a:lnTo>
                    <a:pt x="269" y="520"/>
                  </a:lnTo>
                  <a:lnTo>
                    <a:pt x="269" y="522"/>
                  </a:lnTo>
                  <a:lnTo>
                    <a:pt x="269" y="524"/>
                  </a:lnTo>
                  <a:lnTo>
                    <a:pt x="269" y="526"/>
                  </a:lnTo>
                  <a:lnTo>
                    <a:pt x="269" y="528"/>
                  </a:lnTo>
                  <a:lnTo>
                    <a:pt x="267" y="528"/>
                  </a:lnTo>
                  <a:lnTo>
                    <a:pt x="267" y="530"/>
                  </a:lnTo>
                  <a:lnTo>
                    <a:pt x="269" y="530"/>
                  </a:lnTo>
                  <a:lnTo>
                    <a:pt x="267" y="530"/>
                  </a:lnTo>
                  <a:lnTo>
                    <a:pt x="267" y="532"/>
                  </a:lnTo>
                  <a:lnTo>
                    <a:pt x="267" y="530"/>
                  </a:lnTo>
                  <a:lnTo>
                    <a:pt x="267" y="532"/>
                  </a:lnTo>
                  <a:lnTo>
                    <a:pt x="265" y="532"/>
                  </a:lnTo>
                  <a:lnTo>
                    <a:pt x="265" y="530"/>
                  </a:lnTo>
                  <a:lnTo>
                    <a:pt x="265" y="532"/>
                  </a:lnTo>
                  <a:lnTo>
                    <a:pt x="265" y="530"/>
                  </a:lnTo>
                  <a:lnTo>
                    <a:pt x="267" y="530"/>
                  </a:lnTo>
                  <a:lnTo>
                    <a:pt x="265" y="530"/>
                  </a:lnTo>
                  <a:lnTo>
                    <a:pt x="265" y="532"/>
                  </a:lnTo>
                  <a:lnTo>
                    <a:pt x="263" y="532"/>
                  </a:lnTo>
                  <a:lnTo>
                    <a:pt x="261" y="532"/>
                  </a:lnTo>
                  <a:lnTo>
                    <a:pt x="259" y="532"/>
                  </a:lnTo>
                  <a:lnTo>
                    <a:pt x="259" y="534"/>
                  </a:lnTo>
                  <a:lnTo>
                    <a:pt x="259" y="532"/>
                  </a:lnTo>
                  <a:lnTo>
                    <a:pt x="261" y="532"/>
                  </a:lnTo>
                  <a:lnTo>
                    <a:pt x="261" y="530"/>
                  </a:lnTo>
                  <a:lnTo>
                    <a:pt x="263" y="530"/>
                  </a:lnTo>
                  <a:lnTo>
                    <a:pt x="263" y="528"/>
                  </a:lnTo>
                  <a:lnTo>
                    <a:pt x="261" y="528"/>
                  </a:lnTo>
                  <a:lnTo>
                    <a:pt x="263" y="528"/>
                  </a:lnTo>
                  <a:lnTo>
                    <a:pt x="263" y="526"/>
                  </a:lnTo>
                  <a:lnTo>
                    <a:pt x="263" y="524"/>
                  </a:lnTo>
                  <a:lnTo>
                    <a:pt x="263" y="522"/>
                  </a:lnTo>
                  <a:lnTo>
                    <a:pt x="265" y="522"/>
                  </a:lnTo>
                  <a:lnTo>
                    <a:pt x="265" y="520"/>
                  </a:lnTo>
                  <a:lnTo>
                    <a:pt x="265" y="518"/>
                  </a:lnTo>
                  <a:lnTo>
                    <a:pt x="267" y="518"/>
                  </a:lnTo>
                  <a:lnTo>
                    <a:pt x="267" y="516"/>
                  </a:lnTo>
                  <a:lnTo>
                    <a:pt x="265" y="516"/>
                  </a:lnTo>
                  <a:lnTo>
                    <a:pt x="263" y="516"/>
                  </a:lnTo>
                  <a:lnTo>
                    <a:pt x="261" y="516"/>
                  </a:lnTo>
                  <a:lnTo>
                    <a:pt x="261" y="518"/>
                  </a:lnTo>
                  <a:lnTo>
                    <a:pt x="259" y="518"/>
                  </a:lnTo>
                  <a:lnTo>
                    <a:pt x="259" y="520"/>
                  </a:lnTo>
                  <a:lnTo>
                    <a:pt x="259" y="518"/>
                  </a:lnTo>
                  <a:lnTo>
                    <a:pt x="259" y="520"/>
                  </a:lnTo>
                  <a:lnTo>
                    <a:pt x="257" y="520"/>
                  </a:lnTo>
                  <a:lnTo>
                    <a:pt x="255" y="520"/>
                  </a:lnTo>
                  <a:lnTo>
                    <a:pt x="253" y="520"/>
                  </a:lnTo>
                  <a:lnTo>
                    <a:pt x="253" y="522"/>
                  </a:lnTo>
                  <a:lnTo>
                    <a:pt x="252" y="522"/>
                  </a:lnTo>
                  <a:lnTo>
                    <a:pt x="250" y="522"/>
                  </a:lnTo>
                  <a:lnTo>
                    <a:pt x="250" y="524"/>
                  </a:lnTo>
                  <a:lnTo>
                    <a:pt x="248" y="524"/>
                  </a:lnTo>
                  <a:lnTo>
                    <a:pt x="250" y="524"/>
                  </a:lnTo>
                  <a:lnTo>
                    <a:pt x="248" y="524"/>
                  </a:lnTo>
                  <a:lnTo>
                    <a:pt x="248" y="526"/>
                  </a:lnTo>
                  <a:lnTo>
                    <a:pt x="248" y="524"/>
                  </a:lnTo>
                  <a:lnTo>
                    <a:pt x="248" y="526"/>
                  </a:lnTo>
                  <a:lnTo>
                    <a:pt x="248" y="528"/>
                  </a:lnTo>
                  <a:lnTo>
                    <a:pt x="248" y="530"/>
                  </a:lnTo>
                  <a:lnTo>
                    <a:pt x="248" y="532"/>
                  </a:lnTo>
                  <a:lnTo>
                    <a:pt x="248" y="534"/>
                  </a:lnTo>
                  <a:lnTo>
                    <a:pt x="248" y="536"/>
                  </a:lnTo>
                  <a:lnTo>
                    <a:pt x="246" y="536"/>
                  </a:lnTo>
                  <a:lnTo>
                    <a:pt x="246" y="538"/>
                  </a:lnTo>
                  <a:lnTo>
                    <a:pt x="246" y="539"/>
                  </a:lnTo>
                  <a:lnTo>
                    <a:pt x="246" y="541"/>
                  </a:lnTo>
                  <a:lnTo>
                    <a:pt x="244" y="541"/>
                  </a:lnTo>
                  <a:lnTo>
                    <a:pt x="246" y="541"/>
                  </a:lnTo>
                  <a:lnTo>
                    <a:pt x="246" y="539"/>
                  </a:lnTo>
                  <a:lnTo>
                    <a:pt x="244" y="539"/>
                  </a:lnTo>
                  <a:lnTo>
                    <a:pt x="244" y="541"/>
                  </a:lnTo>
                  <a:lnTo>
                    <a:pt x="246" y="541"/>
                  </a:lnTo>
                  <a:lnTo>
                    <a:pt x="246" y="543"/>
                  </a:lnTo>
                  <a:lnTo>
                    <a:pt x="244" y="543"/>
                  </a:lnTo>
                  <a:lnTo>
                    <a:pt x="244" y="545"/>
                  </a:lnTo>
                  <a:lnTo>
                    <a:pt x="242" y="545"/>
                  </a:lnTo>
                  <a:lnTo>
                    <a:pt x="244" y="545"/>
                  </a:lnTo>
                  <a:lnTo>
                    <a:pt x="242" y="545"/>
                  </a:lnTo>
                  <a:lnTo>
                    <a:pt x="242" y="547"/>
                  </a:lnTo>
                  <a:lnTo>
                    <a:pt x="244" y="547"/>
                  </a:lnTo>
                  <a:lnTo>
                    <a:pt x="244" y="545"/>
                  </a:lnTo>
                  <a:lnTo>
                    <a:pt x="244" y="547"/>
                  </a:lnTo>
                  <a:lnTo>
                    <a:pt x="242" y="547"/>
                  </a:lnTo>
                  <a:lnTo>
                    <a:pt x="240" y="547"/>
                  </a:lnTo>
                  <a:lnTo>
                    <a:pt x="238" y="547"/>
                  </a:lnTo>
                  <a:lnTo>
                    <a:pt x="238" y="549"/>
                  </a:lnTo>
                  <a:lnTo>
                    <a:pt x="240" y="549"/>
                  </a:lnTo>
                  <a:lnTo>
                    <a:pt x="238" y="549"/>
                  </a:lnTo>
                  <a:lnTo>
                    <a:pt x="240" y="549"/>
                  </a:lnTo>
                  <a:lnTo>
                    <a:pt x="238" y="549"/>
                  </a:lnTo>
                  <a:lnTo>
                    <a:pt x="238" y="551"/>
                  </a:lnTo>
                  <a:lnTo>
                    <a:pt x="236" y="551"/>
                  </a:lnTo>
                  <a:lnTo>
                    <a:pt x="236" y="553"/>
                  </a:lnTo>
                  <a:lnTo>
                    <a:pt x="234" y="553"/>
                  </a:lnTo>
                  <a:lnTo>
                    <a:pt x="232" y="553"/>
                  </a:lnTo>
                  <a:lnTo>
                    <a:pt x="234" y="553"/>
                  </a:lnTo>
                  <a:lnTo>
                    <a:pt x="232" y="553"/>
                  </a:lnTo>
                  <a:lnTo>
                    <a:pt x="230" y="553"/>
                  </a:lnTo>
                  <a:lnTo>
                    <a:pt x="228" y="553"/>
                  </a:lnTo>
                  <a:lnTo>
                    <a:pt x="227" y="553"/>
                  </a:lnTo>
                  <a:lnTo>
                    <a:pt x="225" y="553"/>
                  </a:lnTo>
                  <a:lnTo>
                    <a:pt x="223" y="553"/>
                  </a:lnTo>
                  <a:lnTo>
                    <a:pt x="223" y="555"/>
                  </a:lnTo>
                  <a:lnTo>
                    <a:pt x="223" y="553"/>
                  </a:lnTo>
                  <a:lnTo>
                    <a:pt x="223" y="555"/>
                  </a:lnTo>
                  <a:lnTo>
                    <a:pt x="221" y="555"/>
                  </a:lnTo>
                  <a:lnTo>
                    <a:pt x="219" y="555"/>
                  </a:lnTo>
                  <a:lnTo>
                    <a:pt x="219" y="553"/>
                  </a:lnTo>
                  <a:lnTo>
                    <a:pt x="217" y="553"/>
                  </a:lnTo>
                  <a:lnTo>
                    <a:pt x="215" y="553"/>
                  </a:lnTo>
                  <a:lnTo>
                    <a:pt x="215" y="551"/>
                  </a:lnTo>
                  <a:lnTo>
                    <a:pt x="215" y="549"/>
                  </a:lnTo>
                  <a:lnTo>
                    <a:pt x="213" y="549"/>
                  </a:lnTo>
                  <a:lnTo>
                    <a:pt x="213" y="547"/>
                  </a:lnTo>
                  <a:lnTo>
                    <a:pt x="211" y="547"/>
                  </a:lnTo>
                  <a:lnTo>
                    <a:pt x="209" y="547"/>
                  </a:lnTo>
                  <a:lnTo>
                    <a:pt x="207" y="547"/>
                  </a:lnTo>
                  <a:lnTo>
                    <a:pt x="205" y="547"/>
                  </a:lnTo>
                  <a:lnTo>
                    <a:pt x="204" y="547"/>
                  </a:lnTo>
                  <a:lnTo>
                    <a:pt x="204" y="549"/>
                  </a:lnTo>
                  <a:lnTo>
                    <a:pt x="204" y="547"/>
                  </a:lnTo>
                  <a:lnTo>
                    <a:pt x="202" y="547"/>
                  </a:lnTo>
                  <a:lnTo>
                    <a:pt x="202" y="549"/>
                  </a:lnTo>
                  <a:lnTo>
                    <a:pt x="200" y="549"/>
                  </a:lnTo>
                  <a:lnTo>
                    <a:pt x="198" y="549"/>
                  </a:lnTo>
                  <a:lnTo>
                    <a:pt x="198" y="547"/>
                  </a:lnTo>
                  <a:lnTo>
                    <a:pt x="198" y="549"/>
                  </a:lnTo>
                  <a:lnTo>
                    <a:pt x="196" y="549"/>
                  </a:lnTo>
                  <a:lnTo>
                    <a:pt x="196" y="547"/>
                  </a:lnTo>
                  <a:lnTo>
                    <a:pt x="194" y="547"/>
                  </a:lnTo>
                  <a:lnTo>
                    <a:pt x="194" y="549"/>
                  </a:lnTo>
                  <a:lnTo>
                    <a:pt x="192" y="549"/>
                  </a:lnTo>
                  <a:lnTo>
                    <a:pt x="190" y="549"/>
                  </a:lnTo>
                  <a:lnTo>
                    <a:pt x="190" y="547"/>
                  </a:lnTo>
                  <a:lnTo>
                    <a:pt x="192" y="547"/>
                  </a:lnTo>
                  <a:lnTo>
                    <a:pt x="190" y="547"/>
                  </a:lnTo>
                  <a:lnTo>
                    <a:pt x="188" y="547"/>
                  </a:lnTo>
                  <a:lnTo>
                    <a:pt x="188" y="549"/>
                  </a:lnTo>
                  <a:lnTo>
                    <a:pt x="186" y="549"/>
                  </a:lnTo>
                  <a:lnTo>
                    <a:pt x="184" y="549"/>
                  </a:lnTo>
                  <a:lnTo>
                    <a:pt x="182" y="549"/>
                  </a:lnTo>
                  <a:lnTo>
                    <a:pt x="182" y="547"/>
                  </a:lnTo>
                  <a:lnTo>
                    <a:pt x="180" y="547"/>
                  </a:lnTo>
                  <a:lnTo>
                    <a:pt x="180" y="545"/>
                  </a:lnTo>
                  <a:lnTo>
                    <a:pt x="182" y="545"/>
                  </a:lnTo>
                  <a:lnTo>
                    <a:pt x="180" y="545"/>
                  </a:lnTo>
                  <a:lnTo>
                    <a:pt x="180" y="543"/>
                  </a:lnTo>
                  <a:lnTo>
                    <a:pt x="180" y="541"/>
                  </a:lnTo>
                  <a:lnTo>
                    <a:pt x="179" y="541"/>
                  </a:lnTo>
                  <a:lnTo>
                    <a:pt x="179" y="539"/>
                  </a:lnTo>
                  <a:lnTo>
                    <a:pt x="177" y="539"/>
                  </a:lnTo>
                  <a:lnTo>
                    <a:pt x="175" y="541"/>
                  </a:lnTo>
                  <a:lnTo>
                    <a:pt x="173" y="541"/>
                  </a:lnTo>
                  <a:lnTo>
                    <a:pt x="173" y="543"/>
                  </a:lnTo>
                  <a:lnTo>
                    <a:pt x="171" y="543"/>
                  </a:lnTo>
                  <a:lnTo>
                    <a:pt x="169" y="543"/>
                  </a:lnTo>
                  <a:lnTo>
                    <a:pt x="169" y="545"/>
                  </a:lnTo>
                  <a:lnTo>
                    <a:pt x="167" y="545"/>
                  </a:lnTo>
                  <a:lnTo>
                    <a:pt x="165" y="547"/>
                  </a:lnTo>
                  <a:lnTo>
                    <a:pt x="163" y="547"/>
                  </a:lnTo>
                  <a:lnTo>
                    <a:pt x="163" y="549"/>
                  </a:lnTo>
                  <a:lnTo>
                    <a:pt x="161" y="549"/>
                  </a:lnTo>
                  <a:lnTo>
                    <a:pt x="161" y="551"/>
                  </a:lnTo>
                  <a:lnTo>
                    <a:pt x="159" y="551"/>
                  </a:lnTo>
                  <a:lnTo>
                    <a:pt x="157" y="551"/>
                  </a:lnTo>
                  <a:lnTo>
                    <a:pt x="156" y="551"/>
                  </a:lnTo>
                  <a:lnTo>
                    <a:pt x="156" y="553"/>
                  </a:lnTo>
                  <a:lnTo>
                    <a:pt x="154" y="553"/>
                  </a:lnTo>
                  <a:lnTo>
                    <a:pt x="154" y="551"/>
                  </a:lnTo>
                  <a:lnTo>
                    <a:pt x="152" y="551"/>
                  </a:lnTo>
                  <a:lnTo>
                    <a:pt x="150" y="551"/>
                  </a:lnTo>
                  <a:lnTo>
                    <a:pt x="150" y="553"/>
                  </a:lnTo>
                  <a:lnTo>
                    <a:pt x="148" y="553"/>
                  </a:lnTo>
                  <a:lnTo>
                    <a:pt x="148" y="551"/>
                  </a:lnTo>
                  <a:lnTo>
                    <a:pt x="148" y="549"/>
                  </a:lnTo>
                  <a:lnTo>
                    <a:pt x="150" y="549"/>
                  </a:lnTo>
                  <a:lnTo>
                    <a:pt x="148" y="549"/>
                  </a:lnTo>
                  <a:lnTo>
                    <a:pt x="146" y="549"/>
                  </a:lnTo>
                  <a:lnTo>
                    <a:pt x="146" y="547"/>
                  </a:lnTo>
                  <a:lnTo>
                    <a:pt x="144" y="547"/>
                  </a:lnTo>
                  <a:lnTo>
                    <a:pt x="144" y="549"/>
                  </a:lnTo>
                  <a:lnTo>
                    <a:pt x="144" y="547"/>
                  </a:lnTo>
                  <a:lnTo>
                    <a:pt x="142" y="547"/>
                  </a:lnTo>
                  <a:lnTo>
                    <a:pt x="144" y="547"/>
                  </a:lnTo>
                  <a:lnTo>
                    <a:pt x="144" y="545"/>
                  </a:lnTo>
                  <a:lnTo>
                    <a:pt x="142" y="545"/>
                  </a:lnTo>
                  <a:lnTo>
                    <a:pt x="142" y="543"/>
                  </a:lnTo>
                  <a:lnTo>
                    <a:pt x="142" y="541"/>
                  </a:lnTo>
                  <a:lnTo>
                    <a:pt x="142" y="543"/>
                  </a:lnTo>
                  <a:lnTo>
                    <a:pt x="140" y="543"/>
                  </a:lnTo>
                  <a:lnTo>
                    <a:pt x="140" y="541"/>
                  </a:lnTo>
                  <a:lnTo>
                    <a:pt x="140" y="543"/>
                  </a:lnTo>
                  <a:lnTo>
                    <a:pt x="138" y="543"/>
                  </a:lnTo>
                  <a:lnTo>
                    <a:pt x="138" y="541"/>
                  </a:lnTo>
                  <a:lnTo>
                    <a:pt x="136" y="541"/>
                  </a:lnTo>
                  <a:lnTo>
                    <a:pt x="134" y="541"/>
                  </a:lnTo>
                  <a:lnTo>
                    <a:pt x="134" y="539"/>
                  </a:lnTo>
                  <a:lnTo>
                    <a:pt x="132" y="539"/>
                  </a:lnTo>
                  <a:lnTo>
                    <a:pt x="132" y="541"/>
                  </a:lnTo>
                  <a:lnTo>
                    <a:pt x="132" y="539"/>
                  </a:lnTo>
                  <a:lnTo>
                    <a:pt x="132" y="541"/>
                  </a:lnTo>
                  <a:lnTo>
                    <a:pt x="132" y="539"/>
                  </a:lnTo>
                  <a:lnTo>
                    <a:pt x="131" y="539"/>
                  </a:lnTo>
                  <a:lnTo>
                    <a:pt x="131" y="538"/>
                  </a:lnTo>
                  <a:lnTo>
                    <a:pt x="131" y="536"/>
                  </a:lnTo>
                  <a:lnTo>
                    <a:pt x="129" y="536"/>
                  </a:lnTo>
                  <a:lnTo>
                    <a:pt x="129" y="534"/>
                  </a:lnTo>
                  <a:lnTo>
                    <a:pt x="129" y="532"/>
                  </a:lnTo>
                  <a:lnTo>
                    <a:pt x="127" y="532"/>
                  </a:lnTo>
                  <a:lnTo>
                    <a:pt x="127" y="534"/>
                  </a:lnTo>
                  <a:lnTo>
                    <a:pt x="125" y="534"/>
                  </a:lnTo>
                  <a:lnTo>
                    <a:pt x="125" y="532"/>
                  </a:lnTo>
                  <a:lnTo>
                    <a:pt x="123" y="532"/>
                  </a:lnTo>
                  <a:lnTo>
                    <a:pt x="123" y="534"/>
                  </a:lnTo>
                  <a:lnTo>
                    <a:pt x="121" y="534"/>
                  </a:lnTo>
                  <a:lnTo>
                    <a:pt x="119" y="534"/>
                  </a:lnTo>
                  <a:lnTo>
                    <a:pt x="117" y="534"/>
                  </a:lnTo>
                  <a:lnTo>
                    <a:pt x="117" y="536"/>
                  </a:lnTo>
                  <a:lnTo>
                    <a:pt x="117" y="538"/>
                  </a:lnTo>
                  <a:lnTo>
                    <a:pt x="119" y="538"/>
                  </a:lnTo>
                  <a:lnTo>
                    <a:pt x="119" y="539"/>
                  </a:lnTo>
                  <a:lnTo>
                    <a:pt x="117" y="539"/>
                  </a:lnTo>
                  <a:lnTo>
                    <a:pt x="115" y="539"/>
                  </a:lnTo>
                  <a:lnTo>
                    <a:pt x="115" y="541"/>
                  </a:lnTo>
                  <a:lnTo>
                    <a:pt x="115" y="539"/>
                  </a:lnTo>
                  <a:lnTo>
                    <a:pt x="113" y="539"/>
                  </a:lnTo>
                  <a:lnTo>
                    <a:pt x="113" y="538"/>
                  </a:lnTo>
                  <a:lnTo>
                    <a:pt x="113" y="536"/>
                  </a:lnTo>
                  <a:lnTo>
                    <a:pt x="111" y="536"/>
                  </a:lnTo>
                  <a:lnTo>
                    <a:pt x="111" y="534"/>
                  </a:lnTo>
                  <a:lnTo>
                    <a:pt x="111" y="532"/>
                  </a:lnTo>
                  <a:lnTo>
                    <a:pt x="109" y="532"/>
                  </a:lnTo>
                  <a:lnTo>
                    <a:pt x="111" y="532"/>
                  </a:lnTo>
                  <a:lnTo>
                    <a:pt x="111" y="530"/>
                  </a:lnTo>
                  <a:lnTo>
                    <a:pt x="111" y="528"/>
                  </a:lnTo>
                  <a:lnTo>
                    <a:pt x="109" y="528"/>
                  </a:lnTo>
                  <a:lnTo>
                    <a:pt x="109" y="526"/>
                  </a:lnTo>
                  <a:lnTo>
                    <a:pt x="108" y="526"/>
                  </a:lnTo>
                  <a:lnTo>
                    <a:pt x="108" y="528"/>
                  </a:lnTo>
                  <a:lnTo>
                    <a:pt x="106" y="528"/>
                  </a:lnTo>
                  <a:lnTo>
                    <a:pt x="104" y="528"/>
                  </a:lnTo>
                  <a:lnTo>
                    <a:pt x="102" y="528"/>
                  </a:lnTo>
                  <a:lnTo>
                    <a:pt x="102" y="526"/>
                  </a:lnTo>
                  <a:lnTo>
                    <a:pt x="100" y="526"/>
                  </a:lnTo>
                  <a:lnTo>
                    <a:pt x="102" y="524"/>
                  </a:lnTo>
                  <a:lnTo>
                    <a:pt x="104" y="524"/>
                  </a:lnTo>
                  <a:lnTo>
                    <a:pt x="104" y="522"/>
                  </a:lnTo>
                  <a:lnTo>
                    <a:pt x="104" y="520"/>
                  </a:lnTo>
                  <a:lnTo>
                    <a:pt x="100" y="520"/>
                  </a:lnTo>
                  <a:lnTo>
                    <a:pt x="98" y="520"/>
                  </a:lnTo>
                  <a:lnTo>
                    <a:pt x="96" y="518"/>
                  </a:lnTo>
                  <a:lnTo>
                    <a:pt x="94" y="518"/>
                  </a:lnTo>
                  <a:lnTo>
                    <a:pt x="92" y="516"/>
                  </a:lnTo>
                  <a:lnTo>
                    <a:pt x="90" y="516"/>
                  </a:lnTo>
                  <a:lnTo>
                    <a:pt x="90" y="515"/>
                  </a:lnTo>
                  <a:lnTo>
                    <a:pt x="88" y="515"/>
                  </a:lnTo>
                  <a:lnTo>
                    <a:pt x="86" y="515"/>
                  </a:lnTo>
                  <a:lnTo>
                    <a:pt x="84" y="515"/>
                  </a:lnTo>
                  <a:lnTo>
                    <a:pt x="81" y="515"/>
                  </a:lnTo>
                  <a:lnTo>
                    <a:pt x="79" y="515"/>
                  </a:lnTo>
                  <a:lnTo>
                    <a:pt x="77" y="515"/>
                  </a:lnTo>
                  <a:lnTo>
                    <a:pt x="75" y="515"/>
                  </a:lnTo>
                  <a:lnTo>
                    <a:pt x="73" y="515"/>
                  </a:lnTo>
                  <a:lnTo>
                    <a:pt x="73" y="516"/>
                  </a:lnTo>
                  <a:lnTo>
                    <a:pt x="71" y="516"/>
                  </a:lnTo>
                  <a:lnTo>
                    <a:pt x="69" y="516"/>
                  </a:lnTo>
                  <a:lnTo>
                    <a:pt x="69" y="518"/>
                  </a:lnTo>
                  <a:lnTo>
                    <a:pt x="69" y="520"/>
                  </a:lnTo>
                  <a:lnTo>
                    <a:pt x="67" y="520"/>
                  </a:lnTo>
                  <a:lnTo>
                    <a:pt x="65" y="520"/>
                  </a:lnTo>
                  <a:lnTo>
                    <a:pt x="63" y="520"/>
                  </a:lnTo>
                  <a:lnTo>
                    <a:pt x="61" y="520"/>
                  </a:lnTo>
                  <a:lnTo>
                    <a:pt x="61" y="522"/>
                  </a:lnTo>
                  <a:lnTo>
                    <a:pt x="60" y="522"/>
                  </a:lnTo>
                  <a:lnTo>
                    <a:pt x="58" y="522"/>
                  </a:lnTo>
                  <a:lnTo>
                    <a:pt x="56" y="522"/>
                  </a:lnTo>
                  <a:lnTo>
                    <a:pt x="56" y="520"/>
                  </a:lnTo>
                  <a:lnTo>
                    <a:pt x="54" y="520"/>
                  </a:lnTo>
                  <a:lnTo>
                    <a:pt x="54" y="518"/>
                  </a:lnTo>
                  <a:lnTo>
                    <a:pt x="56" y="518"/>
                  </a:lnTo>
                  <a:lnTo>
                    <a:pt x="54" y="516"/>
                  </a:lnTo>
                  <a:lnTo>
                    <a:pt x="54" y="515"/>
                  </a:lnTo>
                  <a:lnTo>
                    <a:pt x="52" y="515"/>
                  </a:lnTo>
                  <a:lnTo>
                    <a:pt x="50" y="515"/>
                  </a:lnTo>
                  <a:lnTo>
                    <a:pt x="48" y="515"/>
                  </a:lnTo>
                  <a:lnTo>
                    <a:pt x="48" y="513"/>
                  </a:lnTo>
                  <a:lnTo>
                    <a:pt x="46" y="513"/>
                  </a:lnTo>
                  <a:lnTo>
                    <a:pt x="44" y="513"/>
                  </a:lnTo>
                  <a:lnTo>
                    <a:pt x="42" y="513"/>
                  </a:lnTo>
                  <a:lnTo>
                    <a:pt x="40" y="513"/>
                  </a:lnTo>
                  <a:lnTo>
                    <a:pt x="38" y="513"/>
                  </a:lnTo>
                  <a:lnTo>
                    <a:pt x="36" y="513"/>
                  </a:lnTo>
                  <a:lnTo>
                    <a:pt x="36" y="511"/>
                  </a:lnTo>
                  <a:lnTo>
                    <a:pt x="36" y="509"/>
                  </a:lnTo>
                  <a:lnTo>
                    <a:pt x="35" y="509"/>
                  </a:lnTo>
                  <a:lnTo>
                    <a:pt x="33" y="509"/>
                  </a:lnTo>
                  <a:lnTo>
                    <a:pt x="31" y="509"/>
                  </a:lnTo>
                  <a:lnTo>
                    <a:pt x="29" y="509"/>
                  </a:lnTo>
                  <a:lnTo>
                    <a:pt x="27" y="509"/>
                  </a:lnTo>
                  <a:lnTo>
                    <a:pt x="25" y="509"/>
                  </a:lnTo>
                  <a:lnTo>
                    <a:pt x="25" y="507"/>
                  </a:lnTo>
                  <a:lnTo>
                    <a:pt x="23" y="507"/>
                  </a:lnTo>
                  <a:lnTo>
                    <a:pt x="21" y="507"/>
                  </a:lnTo>
                  <a:lnTo>
                    <a:pt x="21" y="505"/>
                  </a:lnTo>
                  <a:lnTo>
                    <a:pt x="19" y="505"/>
                  </a:lnTo>
                  <a:lnTo>
                    <a:pt x="19" y="503"/>
                  </a:lnTo>
                  <a:lnTo>
                    <a:pt x="19" y="501"/>
                  </a:lnTo>
                  <a:lnTo>
                    <a:pt x="17" y="501"/>
                  </a:lnTo>
                  <a:lnTo>
                    <a:pt x="17" y="499"/>
                  </a:lnTo>
                  <a:lnTo>
                    <a:pt x="19" y="499"/>
                  </a:lnTo>
                  <a:lnTo>
                    <a:pt x="17" y="501"/>
                  </a:lnTo>
                  <a:lnTo>
                    <a:pt x="19" y="501"/>
                  </a:lnTo>
                  <a:lnTo>
                    <a:pt x="19" y="499"/>
                  </a:lnTo>
                  <a:lnTo>
                    <a:pt x="21" y="499"/>
                  </a:lnTo>
                  <a:lnTo>
                    <a:pt x="19" y="499"/>
                  </a:lnTo>
                  <a:lnTo>
                    <a:pt x="21" y="499"/>
                  </a:lnTo>
                  <a:lnTo>
                    <a:pt x="19" y="499"/>
                  </a:lnTo>
                  <a:lnTo>
                    <a:pt x="19" y="497"/>
                  </a:lnTo>
                  <a:lnTo>
                    <a:pt x="21" y="497"/>
                  </a:lnTo>
                  <a:lnTo>
                    <a:pt x="21" y="495"/>
                  </a:lnTo>
                  <a:lnTo>
                    <a:pt x="23" y="495"/>
                  </a:lnTo>
                  <a:lnTo>
                    <a:pt x="23" y="493"/>
                  </a:lnTo>
                  <a:lnTo>
                    <a:pt x="21" y="493"/>
                  </a:lnTo>
                  <a:lnTo>
                    <a:pt x="23" y="493"/>
                  </a:lnTo>
                  <a:lnTo>
                    <a:pt x="25" y="493"/>
                  </a:lnTo>
                  <a:lnTo>
                    <a:pt x="25" y="491"/>
                  </a:lnTo>
                  <a:lnTo>
                    <a:pt x="25" y="493"/>
                  </a:lnTo>
                  <a:lnTo>
                    <a:pt x="25" y="491"/>
                  </a:lnTo>
                  <a:lnTo>
                    <a:pt x="25" y="493"/>
                  </a:lnTo>
                  <a:lnTo>
                    <a:pt x="27" y="493"/>
                  </a:lnTo>
                  <a:lnTo>
                    <a:pt x="27" y="491"/>
                  </a:lnTo>
                  <a:lnTo>
                    <a:pt x="29" y="491"/>
                  </a:lnTo>
                  <a:lnTo>
                    <a:pt x="29" y="493"/>
                  </a:lnTo>
                  <a:lnTo>
                    <a:pt x="29" y="491"/>
                  </a:lnTo>
                  <a:lnTo>
                    <a:pt x="31" y="491"/>
                  </a:lnTo>
                  <a:lnTo>
                    <a:pt x="31" y="493"/>
                  </a:lnTo>
                  <a:lnTo>
                    <a:pt x="33" y="493"/>
                  </a:lnTo>
                  <a:lnTo>
                    <a:pt x="31" y="493"/>
                  </a:lnTo>
                  <a:lnTo>
                    <a:pt x="31" y="491"/>
                  </a:lnTo>
                  <a:lnTo>
                    <a:pt x="29" y="491"/>
                  </a:lnTo>
                  <a:lnTo>
                    <a:pt x="29" y="490"/>
                  </a:lnTo>
                  <a:lnTo>
                    <a:pt x="31" y="490"/>
                  </a:lnTo>
                  <a:lnTo>
                    <a:pt x="31" y="488"/>
                  </a:lnTo>
                  <a:lnTo>
                    <a:pt x="33" y="488"/>
                  </a:lnTo>
                  <a:lnTo>
                    <a:pt x="33" y="486"/>
                  </a:lnTo>
                  <a:lnTo>
                    <a:pt x="35" y="486"/>
                  </a:lnTo>
                  <a:lnTo>
                    <a:pt x="36" y="486"/>
                  </a:lnTo>
                  <a:lnTo>
                    <a:pt x="36" y="488"/>
                  </a:lnTo>
                  <a:lnTo>
                    <a:pt x="36" y="486"/>
                  </a:lnTo>
                  <a:lnTo>
                    <a:pt x="36" y="488"/>
                  </a:lnTo>
                  <a:lnTo>
                    <a:pt x="36" y="486"/>
                  </a:lnTo>
                  <a:lnTo>
                    <a:pt x="35" y="486"/>
                  </a:lnTo>
                  <a:lnTo>
                    <a:pt x="35" y="484"/>
                  </a:lnTo>
                  <a:lnTo>
                    <a:pt x="35" y="486"/>
                  </a:lnTo>
                  <a:lnTo>
                    <a:pt x="35" y="484"/>
                  </a:lnTo>
                  <a:lnTo>
                    <a:pt x="35" y="486"/>
                  </a:lnTo>
                  <a:lnTo>
                    <a:pt x="35" y="484"/>
                  </a:lnTo>
                  <a:lnTo>
                    <a:pt x="33" y="484"/>
                  </a:lnTo>
                  <a:lnTo>
                    <a:pt x="35" y="484"/>
                  </a:lnTo>
                  <a:lnTo>
                    <a:pt x="35" y="482"/>
                  </a:lnTo>
                  <a:lnTo>
                    <a:pt x="35" y="484"/>
                  </a:lnTo>
                  <a:lnTo>
                    <a:pt x="35" y="482"/>
                  </a:lnTo>
                  <a:lnTo>
                    <a:pt x="35" y="484"/>
                  </a:lnTo>
                  <a:lnTo>
                    <a:pt x="35" y="482"/>
                  </a:lnTo>
                  <a:lnTo>
                    <a:pt x="36" y="482"/>
                  </a:lnTo>
                  <a:lnTo>
                    <a:pt x="35" y="482"/>
                  </a:lnTo>
                  <a:lnTo>
                    <a:pt x="36" y="482"/>
                  </a:lnTo>
                  <a:lnTo>
                    <a:pt x="38" y="482"/>
                  </a:lnTo>
                  <a:lnTo>
                    <a:pt x="38" y="484"/>
                  </a:lnTo>
                  <a:lnTo>
                    <a:pt x="38" y="482"/>
                  </a:lnTo>
                  <a:lnTo>
                    <a:pt x="38" y="484"/>
                  </a:lnTo>
                  <a:lnTo>
                    <a:pt x="40" y="484"/>
                  </a:lnTo>
                  <a:lnTo>
                    <a:pt x="40" y="486"/>
                  </a:lnTo>
                  <a:lnTo>
                    <a:pt x="40" y="484"/>
                  </a:lnTo>
                  <a:lnTo>
                    <a:pt x="42" y="484"/>
                  </a:lnTo>
                  <a:lnTo>
                    <a:pt x="44" y="484"/>
                  </a:lnTo>
                  <a:lnTo>
                    <a:pt x="42" y="484"/>
                  </a:lnTo>
                  <a:lnTo>
                    <a:pt x="44" y="484"/>
                  </a:lnTo>
                  <a:lnTo>
                    <a:pt x="44" y="486"/>
                  </a:lnTo>
                  <a:lnTo>
                    <a:pt x="44" y="484"/>
                  </a:lnTo>
                  <a:lnTo>
                    <a:pt x="46" y="484"/>
                  </a:lnTo>
                  <a:lnTo>
                    <a:pt x="46" y="486"/>
                  </a:lnTo>
                  <a:lnTo>
                    <a:pt x="46" y="484"/>
                  </a:lnTo>
                  <a:lnTo>
                    <a:pt x="46" y="486"/>
                  </a:lnTo>
                  <a:lnTo>
                    <a:pt x="48" y="486"/>
                  </a:lnTo>
                  <a:lnTo>
                    <a:pt x="48" y="488"/>
                  </a:lnTo>
                  <a:lnTo>
                    <a:pt x="48" y="490"/>
                  </a:lnTo>
                  <a:lnTo>
                    <a:pt x="48" y="488"/>
                  </a:lnTo>
                  <a:lnTo>
                    <a:pt x="48" y="486"/>
                  </a:lnTo>
                  <a:lnTo>
                    <a:pt x="50" y="486"/>
                  </a:lnTo>
                  <a:lnTo>
                    <a:pt x="50" y="484"/>
                  </a:lnTo>
                  <a:lnTo>
                    <a:pt x="50" y="482"/>
                  </a:lnTo>
                  <a:lnTo>
                    <a:pt x="50" y="484"/>
                  </a:lnTo>
                  <a:lnTo>
                    <a:pt x="50" y="482"/>
                  </a:lnTo>
                  <a:lnTo>
                    <a:pt x="50" y="480"/>
                  </a:lnTo>
                  <a:lnTo>
                    <a:pt x="52" y="480"/>
                  </a:lnTo>
                  <a:lnTo>
                    <a:pt x="50" y="480"/>
                  </a:lnTo>
                  <a:lnTo>
                    <a:pt x="50" y="482"/>
                  </a:lnTo>
                  <a:lnTo>
                    <a:pt x="50" y="480"/>
                  </a:lnTo>
                  <a:lnTo>
                    <a:pt x="50" y="482"/>
                  </a:lnTo>
                  <a:lnTo>
                    <a:pt x="50" y="484"/>
                  </a:lnTo>
                  <a:lnTo>
                    <a:pt x="48" y="484"/>
                  </a:lnTo>
                  <a:lnTo>
                    <a:pt x="46" y="484"/>
                  </a:lnTo>
                  <a:lnTo>
                    <a:pt x="48" y="484"/>
                  </a:lnTo>
                  <a:lnTo>
                    <a:pt x="46" y="484"/>
                  </a:lnTo>
                  <a:lnTo>
                    <a:pt x="46" y="482"/>
                  </a:lnTo>
                  <a:lnTo>
                    <a:pt x="46" y="484"/>
                  </a:lnTo>
                  <a:lnTo>
                    <a:pt x="48" y="484"/>
                  </a:lnTo>
                  <a:lnTo>
                    <a:pt x="46" y="484"/>
                  </a:lnTo>
                  <a:lnTo>
                    <a:pt x="44" y="484"/>
                  </a:lnTo>
                  <a:lnTo>
                    <a:pt x="46" y="484"/>
                  </a:lnTo>
                  <a:lnTo>
                    <a:pt x="44" y="484"/>
                  </a:lnTo>
                  <a:lnTo>
                    <a:pt x="46" y="484"/>
                  </a:lnTo>
                  <a:lnTo>
                    <a:pt x="44" y="484"/>
                  </a:lnTo>
                  <a:lnTo>
                    <a:pt x="44" y="482"/>
                  </a:lnTo>
                  <a:lnTo>
                    <a:pt x="46" y="482"/>
                  </a:lnTo>
                  <a:lnTo>
                    <a:pt x="44" y="482"/>
                  </a:lnTo>
                  <a:lnTo>
                    <a:pt x="46" y="482"/>
                  </a:lnTo>
                  <a:lnTo>
                    <a:pt x="46" y="480"/>
                  </a:lnTo>
                  <a:lnTo>
                    <a:pt x="46" y="482"/>
                  </a:lnTo>
                  <a:lnTo>
                    <a:pt x="46" y="480"/>
                  </a:lnTo>
                  <a:lnTo>
                    <a:pt x="46" y="482"/>
                  </a:lnTo>
                  <a:lnTo>
                    <a:pt x="48" y="482"/>
                  </a:lnTo>
                  <a:lnTo>
                    <a:pt x="46" y="482"/>
                  </a:lnTo>
                  <a:lnTo>
                    <a:pt x="48" y="482"/>
                  </a:lnTo>
                  <a:lnTo>
                    <a:pt x="50" y="482"/>
                  </a:lnTo>
                  <a:lnTo>
                    <a:pt x="50" y="480"/>
                  </a:lnTo>
                  <a:lnTo>
                    <a:pt x="48" y="480"/>
                  </a:lnTo>
                  <a:lnTo>
                    <a:pt x="50" y="480"/>
                  </a:lnTo>
                  <a:lnTo>
                    <a:pt x="48" y="480"/>
                  </a:lnTo>
                  <a:lnTo>
                    <a:pt x="46" y="480"/>
                  </a:lnTo>
                  <a:lnTo>
                    <a:pt x="48" y="480"/>
                  </a:lnTo>
                  <a:lnTo>
                    <a:pt x="46" y="480"/>
                  </a:lnTo>
                  <a:lnTo>
                    <a:pt x="44" y="480"/>
                  </a:lnTo>
                  <a:lnTo>
                    <a:pt x="46" y="480"/>
                  </a:lnTo>
                  <a:lnTo>
                    <a:pt x="48" y="480"/>
                  </a:lnTo>
                  <a:lnTo>
                    <a:pt x="48" y="478"/>
                  </a:lnTo>
                  <a:lnTo>
                    <a:pt x="48" y="480"/>
                  </a:lnTo>
                  <a:lnTo>
                    <a:pt x="46" y="480"/>
                  </a:lnTo>
                  <a:lnTo>
                    <a:pt x="48" y="480"/>
                  </a:lnTo>
                  <a:lnTo>
                    <a:pt x="48" y="478"/>
                  </a:lnTo>
                  <a:lnTo>
                    <a:pt x="48" y="480"/>
                  </a:lnTo>
                  <a:lnTo>
                    <a:pt x="50" y="480"/>
                  </a:lnTo>
                  <a:lnTo>
                    <a:pt x="48" y="480"/>
                  </a:lnTo>
                  <a:lnTo>
                    <a:pt x="48" y="478"/>
                  </a:lnTo>
                  <a:lnTo>
                    <a:pt x="50" y="478"/>
                  </a:lnTo>
                  <a:lnTo>
                    <a:pt x="50" y="480"/>
                  </a:lnTo>
                  <a:lnTo>
                    <a:pt x="50" y="478"/>
                  </a:lnTo>
                  <a:lnTo>
                    <a:pt x="48" y="478"/>
                  </a:lnTo>
                  <a:lnTo>
                    <a:pt x="46" y="478"/>
                  </a:lnTo>
                  <a:lnTo>
                    <a:pt x="44" y="478"/>
                  </a:lnTo>
                  <a:lnTo>
                    <a:pt x="44" y="480"/>
                  </a:lnTo>
                  <a:lnTo>
                    <a:pt x="42" y="480"/>
                  </a:lnTo>
                  <a:lnTo>
                    <a:pt x="42" y="478"/>
                  </a:lnTo>
                  <a:lnTo>
                    <a:pt x="42" y="480"/>
                  </a:lnTo>
                  <a:lnTo>
                    <a:pt x="42" y="478"/>
                  </a:lnTo>
                  <a:lnTo>
                    <a:pt x="40" y="478"/>
                  </a:lnTo>
                  <a:lnTo>
                    <a:pt x="40" y="480"/>
                  </a:lnTo>
                  <a:lnTo>
                    <a:pt x="38" y="480"/>
                  </a:lnTo>
                  <a:lnTo>
                    <a:pt x="38" y="478"/>
                  </a:lnTo>
                  <a:lnTo>
                    <a:pt x="40" y="478"/>
                  </a:lnTo>
                  <a:lnTo>
                    <a:pt x="38" y="478"/>
                  </a:lnTo>
                  <a:lnTo>
                    <a:pt x="40" y="478"/>
                  </a:lnTo>
                  <a:lnTo>
                    <a:pt x="38" y="478"/>
                  </a:lnTo>
                  <a:lnTo>
                    <a:pt x="40" y="478"/>
                  </a:lnTo>
                  <a:lnTo>
                    <a:pt x="40" y="476"/>
                  </a:lnTo>
                  <a:lnTo>
                    <a:pt x="38" y="476"/>
                  </a:lnTo>
                  <a:lnTo>
                    <a:pt x="40" y="478"/>
                  </a:lnTo>
                  <a:lnTo>
                    <a:pt x="38" y="478"/>
                  </a:lnTo>
                  <a:lnTo>
                    <a:pt x="38" y="476"/>
                  </a:lnTo>
                  <a:lnTo>
                    <a:pt x="38" y="478"/>
                  </a:lnTo>
                  <a:lnTo>
                    <a:pt x="36" y="478"/>
                  </a:lnTo>
                  <a:lnTo>
                    <a:pt x="36" y="476"/>
                  </a:lnTo>
                  <a:lnTo>
                    <a:pt x="36" y="474"/>
                  </a:lnTo>
                  <a:lnTo>
                    <a:pt x="36" y="476"/>
                  </a:lnTo>
                  <a:lnTo>
                    <a:pt x="35" y="476"/>
                  </a:lnTo>
                  <a:lnTo>
                    <a:pt x="36" y="476"/>
                  </a:lnTo>
                  <a:lnTo>
                    <a:pt x="36" y="474"/>
                  </a:lnTo>
                  <a:lnTo>
                    <a:pt x="35" y="474"/>
                  </a:lnTo>
                  <a:lnTo>
                    <a:pt x="35" y="472"/>
                  </a:lnTo>
                  <a:lnTo>
                    <a:pt x="35" y="474"/>
                  </a:lnTo>
                  <a:lnTo>
                    <a:pt x="35" y="472"/>
                  </a:lnTo>
                  <a:lnTo>
                    <a:pt x="36" y="472"/>
                  </a:lnTo>
                  <a:lnTo>
                    <a:pt x="35" y="472"/>
                  </a:lnTo>
                  <a:lnTo>
                    <a:pt x="33" y="472"/>
                  </a:lnTo>
                  <a:lnTo>
                    <a:pt x="35" y="472"/>
                  </a:lnTo>
                  <a:lnTo>
                    <a:pt x="33" y="472"/>
                  </a:lnTo>
                  <a:lnTo>
                    <a:pt x="33" y="474"/>
                  </a:lnTo>
                  <a:lnTo>
                    <a:pt x="33" y="472"/>
                  </a:lnTo>
                  <a:lnTo>
                    <a:pt x="33" y="474"/>
                  </a:lnTo>
                  <a:lnTo>
                    <a:pt x="33" y="472"/>
                  </a:lnTo>
                  <a:lnTo>
                    <a:pt x="31" y="472"/>
                  </a:lnTo>
                  <a:lnTo>
                    <a:pt x="33" y="472"/>
                  </a:lnTo>
                  <a:lnTo>
                    <a:pt x="31" y="472"/>
                  </a:lnTo>
                  <a:lnTo>
                    <a:pt x="33" y="472"/>
                  </a:lnTo>
                  <a:lnTo>
                    <a:pt x="31" y="472"/>
                  </a:lnTo>
                  <a:lnTo>
                    <a:pt x="31" y="474"/>
                  </a:lnTo>
                  <a:lnTo>
                    <a:pt x="31" y="472"/>
                  </a:lnTo>
                  <a:lnTo>
                    <a:pt x="31" y="474"/>
                  </a:lnTo>
                  <a:lnTo>
                    <a:pt x="31" y="472"/>
                  </a:lnTo>
                  <a:lnTo>
                    <a:pt x="31" y="474"/>
                  </a:lnTo>
                  <a:lnTo>
                    <a:pt x="29" y="474"/>
                  </a:lnTo>
                  <a:lnTo>
                    <a:pt x="29" y="476"/>
                  </a:lnTo>
                  <a:lnTo>
                    <a:pt x="29" y="474"/>
                  </a:lnTo>
                  <a:lnTo>
                    <a:pt x="29" y="476"/>
                  </a:lnTo>
                  <a:lnTo>
                    <a:pt x="29" y="474"/>
                  </a:lnTo>
                  <a:lnTo>
                    <a:pt x="27" y="474"/>
                  </a:lnTo>
                  <a:lnTo>
                    <a:pt x="27" y="472"/>
                  </a:lnTo>
                  <a:lnTo>
                    <a:pt x="25" y="472"/>
                  </a:lnTo>
                  <a:lnTo>
                    <a:pt x="27" y="472"/>
                  </a:lnTo>
                  <a:lnTo>
                    <a:pt x="25" y="472"/>
                  </a:lnTo>
                  <a:lnTo>
                    <a:pt x="25" y="470"/>
                  </a:lnTo>
                  <a:lnTo>
                    <a:pt x="23" y="470"/>
                  </a:lnTo>
                  <a:lnTo>
                    <a:pt x="25" y="470"/>
                  </a:lnTo>
                  <a:lnTo>
                    <a:pt x="23" y="470"/>
                  </a:lnTo>
                  <a:lnTo>
                    <a:pt x="25" y="470"/>
                  </a:lnTo>
                  <a:lnTo>
                    <a:pt x="23" y="470"/>
                  </a:lnTo>
                  <a:lnTo>
                    <a:pt x="21" y="470"/>
                  </a:lnTo>
                  <a:lnTo>
                    <a:pt x="21" y="468"/>
                  </a:lnTo>
                  <a:lnTo>
                    <a:pt x="23" y="468"/>
                  </a:lnTo>
                  <a:lnTo>
                    <a:pt x="21" y="468"/>
                  </a:lnTo>
                  <a:lnTo>
                    <a:pt x="23" y="468"/>
                  </a:lnTo>
                  <a:lnTo>
                    <a:pt x="25" y="468"/>
                  </a:lnTo>
                  <a:lnTo>
                    <a:pt x="25" y="467"/>
                  </a:lnTo>
                  <a:lnTo>
                    <a:pt x="25" y="468"/>
                  </a:lnTo>
                  <a:lnTo>
                    <a:pt x="25" y="467"/>
                  </a:lnTo>
                  <a:lnTo>
                    <a:pt x="23" y="467"/>
                  </a:lnTo>
                  <a:lnTo>
                    <a:pt x="25" y="467"/>
                  </a:lnTo>
                  <a:lnTo>
                    <a:pt x="23" y="467"/>
                  </a:lnTo>
                  <a:lnTo>
                    <a:pt x="23" y="468"/>
                  </a:lnTo>
                  <a:lnTo>
                    <a:pt x="23" y="467"/>
                  </a:lnTo>
                  <a:lnTo>
                    <a:pt x="21" y="467"/>
                  </a:lnTo>
                  <a:lnTo>
                    <a:pt x="21" y="465"/>
                  </a:lnTo>
                  <a:lnTo>
                    <a:pt x="21" y="467"/>
                  </a:lnTo>
                  <a:lnTo>
                    <a:pt x="19" y="467"/>
                  </a:lnTo>
                  <a:lnTo>
                    <a:pt x="19" y="465"/>
                  </a:lnTo>
                  <a:lnTo>
                    <a:pt x="21" y="465"/>
                  </a:lnTo>
                  <a:lnTo>
                    <a:pt x="19" y="465"/>
                  </a:lnTo>
                  <a:lnTo>
                    <a:pt x="21" y="465"/>
                  </a:lnTo>
                  <a:lnTo>
                    <a:pt x="19" y="465"/>
                  </a:lnTo>
                  <a:lnTo>
                    <a:pt x="19" y="463"/>
                  </a:lnTo>
                  <a:lnTo>
                    <a:pt x="21" y="463"/>
                  </a:lnTo>
                  <a:lnTo>
                    <a:pt x="19" y="463"/>
                  </a:lnTo>
                  <a:lnTo>
                    <a:pt x="19" y="461"/>
                  </a:lnTo>
                  <a:lnTo>
                    <a:pt x="19" y="463"/>
                  </a:lnTo>
                  <a:lnTo>
                    <a:pt x="17" y="463"/>
                  </a:lnTo>
                  <a:lnTo>
                    <a:pt x="17" y="461"/>
                  </a:lnTo>
                  <a:lnTo>
                    <a:pt x="17" y="463"/>
                  </a:lnTo>
                  <a:lnTo>
                    <a:pt x="19" y="463"/>
                  </a:lnTo>
                  <a:lnTo>
                    <a:pt x="19" y="461"/>
                  </a:lnTo>
                  <a:lnTo>
                    <a:pt x="17" y="461"/>
                  </a:lnTo>
                  <a:lnTo>
                    <a:pt x="19" y="461"/>
                  </a:lnTo>
                  <a:lnTo>
                    <a:pt x="17" y="461"/>
                  </a:lnTo>
                  <a:lnTo>
                    <a:pt x="19" y="461"/>
                  </a:lnTo>
                  <a:lnTo>
                    <a:pt x="19" y="459"/>
                  </a:lnTo>
                  <a:lnTo>
                    <a:pt x="21" y="459"/>
                  </a:lnTo>
                  <a:lnTo>
                    <a:pt x="19" y="459"/>
                  </a:lnTo>
                  <a:lnTo>
                    <a:pt x="21" y="459"/>
                  </a:lnTo>
                  <a:lnTo>
                    <a:pt x="19" y="459"/>
                  </a:lnTo>
                  <a:lnTo>
                    <a:pt x="21" y="459"/>
                  </a:lnTo>
                  <a:lnTo>
                    <a:pt x="19" y="459"/>
                  </a:lnTo>
                  <a:lnTo>
                    <a:pt x="19" y="461"/>
                  </a:lnTo>
                  <a:lnTo>
                    <a:pt x="19" y="459"/>
                  </a:lnTo>
                  <a:lnTo>
                    <a:pt x="19" y="461"/>
                  </a:lnTo>
                  <a:lnTo>
                    <a:pt x="21" y="461"/>
                  </a:lnTo>
                  <a:lnTo>
                    <a:pt x="21" y="459"/>
                  </a:lnTo>
                  <a:lnTo>
                    <a:pt x="21" y="461"/>
                  </a:lnTo>
                  <a:lnTo>
                    <a:pt x="21" y="459"/>
                  </a:lnTo>
                  <a:lnTo>
                    <a:pt x="21" y="461"/>
                  </a:lnTo>
                  <a:lnTo>
                    <a:pt x="21" y="463"/>
                  </a:lnTo>
                  <a:lnTo>
                    <a:pt x="21" y="461"/>
                  </a:lnTo>
                  <a:lnTo>
                    <a:pt x="23" y="461"/>
                  </a:lnTo>
                  <a:lnTo>
                    <a:pt x="23" y="463"/>
                  </a:lnTo>
                  <a:lnTo>
                    <a:pt x="23" y="461"/>
                  </a:lnTo>
                  <a:lnTo>
                    <a:pt x="25" y="461"/>
                  </a:lnTo>
                  <a:lnTo>
                    <a:pt x="25" y="463"/>
                  </a:lnTo>
                  <a:lnTo>
                    <a:pt x="25" y="461"/>
                  </a:lnTo>
                  <a:lnTo>
                    <a:pt x="25" y="463"/>
                  </a:lnTo>
                  <a:lnTo>
                    <a:pt x="25" y="461"/>
                  </a:lnTo>
                  <a:lnTo>
                    <a:pt x="27" y="461"/>
                  </a:lnTo>
                  <a:lnTo>
                    <a:pt x="29" y="461"/>
                  </a:lnTo>
                  <a:lnTo>
                    <a:pt x="31" y="461"/>
                  </a:lnTo>
                  <a:lnTo>
                    <a:pt x="31" y="459"/>
                  </a:lnTo>
                  <a:lnTo>
                    <a:pt x="31" y="461"/>
                  </a:lnTo>
                  <a:lnTo>
                    <a:pt x="31" y="459"/>
                  </a:lnTo>
                  <a:lnTo>
                    <a:pt x="31" y="461"/>
                  </a:lnTo>
                  <a:lnTo>
                    <a:pt x="31" y="459"/>
                  </a:lnTo>
                  <a:lnTo>
                    <a:pt x="31" y="461"/>
                  </a:lnTo>
                  <a:lnTo>
                    <a:pt x="33" y="461"/>
                  </a:lnTo>
                  <a:lnTo>
                    <a:pt x="31" y="461"/>
                  </a:lnTo>
                  <a:lnTo>
                    <a:pt x="33" y="461"/>
                  </a:lnTo>
                  <a:lnTo>
                    <a:pt x="33" y="459"/>
                  </a:lnTo>
                  <a:lnTo>
                    <a:pt x="33" y="461"/>
                  </a:lnTo>
                  <a:lnTo>
                    <a:pt x="33" y="459"/>
                  </a:lnTo>
                  <a:lnTo>
                    <a:pt x="33" y="461"/>
                  </a:lnTo>
                  <a:lnTo>
                    <a:pt x="33" y="459"/>
                  </a:lnTo>
                  <a:lnTo>
                    <a:pt x="33" y="461"/>
                  </a:lnTo>
                  <a:lnTo>
                    <a:pt x="33" y="459"/>
                  </a:lnTo>
                  <a:lnTo>
                    <a:pt x="33" y="461"/>
                  </a:lnTo>
                  <a:lnTo>
                    <a:pt x="35" y="461"/>
                  </a:lnTo>
                  <a:lnTo>
                    <a:pt x="33" y="459"/>
                  </a:lnTo>
                  <a:lnTo>
                    <a:pt x="35" y="459"/>
                  </a:lnTo>
                  <a:lnTo>
                    <a:pt x="35" y="461"/>
                  </a:lnTo>
                  <a:lnTo>
                    <a:pt x="35" y="459"/>
                  </a:lnTo>
                  <a:lnTo>
                    <a:pt x="35" y="461"/>
                  </a:lnTo>
                  <a:lnTo>
                    <a:pt x="36" y="461"/>
                  </a:lnTo>
                  <a:lnTo>
                    <a:pt x="36" y="459"/>
                  </a:lnTo>
                  <a:lnTo>
                    <a:pt x="35" y="461"/>
                  </a:lnTo>
                  <a:lnTo>
                    <a:pt x="35" y="459"/>
                  </a:lnTo>
                  <a:lnTo>
                    <a:pt x="36" y="459"/>
                  </a:lnTo>
                  <a:lnTo>
                    <a:pt x="35" y="459"/>
                  </a:lnTo>
                  <a:lnTo>
                    <a:pt x="36" y="459"/>
                  </a:lnTo>
                  <a:lnTo>
                    <a:pt x="36" y="461"/>
                  </a:lnTo>
                  <a:lnTo>
                    <a:pt x="35" y="461"/>
                  </a:lnTo>
                  <a:lnTo>
                    <a:pt x="36" y="461"/>
                  </a:lnTo>
                  <a:lnTo>
                    <a:pt x="36" y="463"/>
                  </a:lnTo>
                  <a:lnTo>
                    <a:pt x="38" y="463"/>
                  </a:lnTo>
                  <a:lnTo>
                    <a:pt x="36" y="463"/>
                  </a:lnTo>
                  <a:lnTo>
                    <a:pt x="36" y="465"/>
                  </a:lnTo>
                  <a:lnTo>
                    <a:pt x="35" y="465"/>
                  </a:lnTo>
                  <a:lnTo>
                    <a:pt x="35" y="467"/>
                  </a:lnTo>
                  <a:lnTo>
                    <a:pt x="36" y="467"/>
                  </a:lnTo>
                  <a:lnTo>
                    <a:pt x="35" y="467"/>
                  </a:lnTo>
                  <a:lnTo>
                    <a:pt x="36" y="467"/>
                  </a:lnTo>
                  <a:lnTo>
                    <a:pt x="36" y="465"/>
                  </a:lnTo>
                  <a:lnTo>
                    <a:pt x="38" y="465"/>
                  </a:lnTo>
                  <a:lnTo>
                    <a:pt x="40" y="465"/>
                  </a:lnTo>
                  <a:lnTo>
                    <a:pt x="38" y="465"/>
                  </a:lnTo>
                  <a:lnTo>
                    <a:pt x="40" y="465"/>
                  </a:lnTo>
                  <a:lnTo>
                    <a:pt x="40" y="467"/>
                  </a:lnTo>
                  <a:lnTo>
                    <a:pt x="38" y="467"/>
                  </a:lnTo>
                  <a:lnTo>
                    <a:pt x="38" y="465"/>
                  </a:lnTo>
                  <a:lnTo>
                    <a:pt x="38" y="467"/>
                  </a:lnTo>
                  <a:lnTo>
                    <a:pt x="38" y="465"/>
                  </a:lnTo>
                  <a:lnTo>
                    <a:pt x="38" y="467"/>
                  </a:lnTo>
                  <a:lnTo>
                    <a:pt x="38" y="465"/>
                  </a:lnTo>
                  <a:lnTo>
                    <a:pt x="38" y="467"/>
                  </a:lnTo>
                  <a:lnTo>
                    <a:pt x="40" y="467"/>
                  </a:lnTo>
                  <a:lnTo>
                    <a:pt x="38" y="467"/>
                  </a:lnTo>
                  <a:lnTo>
                    <a:pt x="38" y="468"/>
                  </a:lnTo>
                  <a:lnTo>
                    <a:pt x="38" y="467"/>
                  </a:lnTo>
                  <a:lnTo>
                    <a:pt x="38" y="468"/>
                  </a:lnTo>
                  <a:lnTo>
                    <a:pt x="38" y="467"/>
                  </a:lnTo>
                  <a:lnTo>
                    <a:pt x="38" y="468"/>
                  </a:lnTo>
                  <a:lnTo>
                    <a:pt x="40" y="468"/>
                  </a:lnTo>
                  <a:lnTo>
                    <a:pt x="38" y="468"/>
                  </a:lnTo>
                  <a:lnTo>
                    <a:pt x="40" y="468"/>
                  </a:lnTo>
                  <a:lnTo>
                    <a:pt x="38" y="468"/>
                  </a:lnTo>
                  <a:lnTo>
                    <a:pt x="38" y="470"/>
                  </a:lnTo>
                  <a:lnTo>
                    <a:pt x="40" y="470"/>
                  </a:lnTo>
                  <a:lnTo>
                    <a:pt x="38" y="470"/>
                  </a:lnTo>
                  <a:lnTo>
                    <a:pt x="40" y="470"/>
                  </a:lnTo>
                  <a:lnTo>
                    <a:pt x="42" y="470"/>
                  </a:lnTo>
                  <a:lnTo>
                    <a:pt x="40" y="470"/>
                  </a:lnTo>
                  <a:lnTo>
                    <a:pt x="42" y="470"/>
                  </a:lnTo>
                  <a:lnTo>
                    <a:pt x="42" y="472"/>
                  </a:lnTo>
                  <a:lnTo>
                    <a:pt x="44" y="472"/>
                  </a:lnTo>
                  <a:lnTo>
                    <a:pt x="42" y="472"/>
                  </a:lnTo>
                  <a:lnTo>
                    <a:pt x="44" y="472"/>
                  </a:lnTo>
                  <a:lnTo>
                    <a:pt x="44" y="474"/>
                  </a:lnTo>
                  <a:lnTo>
                    <a:pt x="44" y="472"/>
                  </a:lnTo>
                  <a:lnTo>
                    <a:pt x="46" y="472"/>
                  </a:lnTo>
                  <a:lnTo>
                    <a:pt x="46" y="474"/>
                  </a:lnTo>
                  <a:lnTo>
                    <a:pt x="44" y="474"/>
                  </a:lnTo>
                  <a:lnTo>
                    <a:pt x="46" y="474"/>
                  </a:lnTo>
                  <a:lnTo>
                    <a:pt x="44" y="474"/>
                  </a:lnTo>
                  <a:lnTo>
                    <a:pt x="46" y="474"/>
                  </a:lnTo>
                  <a:lnTo>
                    <a:pt x="44" y="474"/>
                  </a:lnTo>
                  <a:lnTo>
                    <a:pt x="46" y="474"/>
                  </a:lnTo>
                  <a:lnTo>
                    <a:pt x="46" y="476"/>
                  </a:lnTo>
                  <a:lnTo>
                    <a:pt x="44" y="476"/>
                  </a:lnTo>
                  <a:lnTo>
                    <a:pt x="44" y="474"/>
                  </a:lnTo>
                  <a:lnTo>
                    <a:pt x="44" y="476"/>
                  </a:lnTo>
                  <a:lnTo>
                    <a:pt x="44" y="474"/>
                  </a:lnTo>
                  <a:lnTo>
                    <a:pt x="44" y="476"/>
                  </a:lnTo>
                  <a:lnTo>
                    <a:pt x="42" y="476"/>
                  </a:lnTo>
                  <a:lnTo>
                    <a:pt x="44" y="476"/>
                  </a:lnTo>
                  <a:lnTo>
                    <a:pt x="42" y="476"/>
                  </a:lnTo>
                  <a:lnTo>
                    <a:pt x="40" y="476"/>
                  </a:lnTo>
                  <a:lnTo>
                    <a:pt x="42" y="476"/>
                  </a:lnTo>
                  <a:lnTo>
                    <a:pt x="44" y="476"/>
                  </a:lnTo>
                  <a:lnTo>
                    <a:pt x="42" y="476"/>
                  </a:lnTo>
                  <a:lnTo>
                    <a:pt x="42" y="478"/>
                  </a:lnTo>
                  <a:lnTo>
                    <a:pt x="44" y="478"/>
                  </a:lnTo>
                  <a:lnTo>
                    <a:pt x="42" y="478"/>
                  </a:lnTo>
                  <a:lnTo>
                    <a:pt x="44" y="478"/>
                  </a:lnTo>
                  <a:lnTo>
                    <a:pt x="44" y="476"/>
                  </a:lnTo>
                  <a:lnTo>
                    <a:pt x="46" y="476"/>
                  </a:lnTo>
                  <a:lnTo>
                    <a:pt x="46" y="474"/>
                  </a:lnTo>
                  <a:lnTo>
                    <a:pt x="46" y="476"/>
                  </a:lnTo>
                  <a:lnTo>
                    <a:pt x="46" y="474"/>
                  </a:lnTo>
                  <a:lnTo>
                    <a:pt x="46" y="472"/>
                  </a:lnTo>
                  <a:lnTo>
                    <a:pt x="46" y="470"/>
                  </a:lnTo>
                  <a:lnTo>
                    <a:pt x="46" y="468"/>
                  </a:lnTo>
                  <a:lnTo>
                    <a:pt x="46" y="470"/>
                  </a:lnTo>
                  <a:lnTo>
                    <a:pt x="46" y="468"/>
                  </a:lnTo>
                  <a:lnTo>
                    <a:pt x="46" y="467"/>
                  </a:lnTo>
                  <a:lnTo>
                    <a:pt x="46" y="468"/>
                  </a:lnTo>
                  <a:lnTo>
                    <a:pt x="48" y="468"/>
                  </a:lnTo>
                  <a:lnTo>
                    <a:pt x="48" y="470"/>
                  </a:lnTo>
                  <a:lnTo>
                    <a:pt x="48" y="468"/>
                  </a:lnTo>
                  <a:lnTo>
                    <a:pt x="48" y="470"/>
                  </a:lnTo>
                  <a:lnTo>
                    <a:pt x="48" y="468"/>
                  </a:lnTo>
                  <a:lnTo>
                    <a:pt x="48" y="470"/>
                  </a:lnTo>
                  <a:lnTo>
                    <a:pt x="48" y="468"/>
                  </a:lnTo>
                  <a:lnTo>
                    <a:pt x="50" y="468"/>
                  </a:lnTo>
                  <a:lnTo>
                    <a:pt x="48" y="468"/>
                  </a:lnTo>
                  <a:lnTo>
                    <a:pt x="50" y="468"/>
                  </a:lnTo>
                  <a:lnTo>
                    <a:pt x="48" y="468"/>
                  </a:lnTo>
                  <a:lnTo>
                    <a:pt x="48" y="467"/>
                  </a:lnTo>
                  <a:lnTo>
                    <a:pt x="46" y="467"/>
                  </a:lnTo>
                  <a:lnTo>
                    <a:pt x="44" y="467"/>
                  </a:lnTo>
                  <a:lnTo>
                    <a:pt x="44" y="465"/>
                  </a:lnTo>
                  <a:lnTo>
                    <a:pt x="42" y="465"/>
                  </a:lnTo>
                  <a:lnTo>
                    <a:pt x="44" y="465"/>
                  </a:lnTo>
                  <a:lnTo>
                    <a:pt x="42" y="465"/>
                  </a:lnTo>
                  <a:lnTo>
                    <a:pt x="42" y="463"/>
                  </a:lnTo>
                  <a:lnTo>
                    <a:pt x="40" y="463"/>
                  </a:lnTo>
                  <a:lnTo>
                    <a:pt x="40" y="461"/>
                  </a:lnTo>
                  <a:lnTo>
                    <a:pt x="42" y="461"/>
                  </a:lnTo>
                  <a:lnTo>
                    <a:pt x="40" y="461"/>
                  </a:lnTo>
                  <a:lnTo>
                    <a:pt x="42" y="461"/>
                  </a:lnTo>
                  <a:lnTo>
                    <a:pt x="42" y="463"/>
                  </a:lnTo>
                  <a:lnTo>
                    <a:pt x="44" y="463"/>
                  </a:lnTo>
                  <a:lnTo>
                    <a:pt x="46" y="463"/>
                  </a:lnTo>
                  <a:lnTo>
                    <a:pt x="48" y="463"/>
                  </a:lnTo>
                  <a:lnTo>
                    <a:pt x="50" y="463"/>
                  </a:lnTo>
                  <a:lnTo>
                    <a:pt x="48" y="463"/>
                  </a:lnTo>
                  <a:lnTo>
                    <a:pt x="48" y="461"/>
                  </a:lnTo>
                  <a:lnTo>
                    <a:pt x="48" y="463"/>
                  </a:lnTo>
                  <a:lnTo>
                    <a:pt x="46" y="463"/>
                  </a:lnTo>
                  <a:lnTo>
                    <a:pt x="44" y="463"/>
                  </a:lnTo>
                  <a:lnTo>
                    <a:pt x="44" y="461"/>
                  </a:lnTo>
                  <a:lnTo>
                    <a:pt x="42" y="461"/>
                  </a:lnTo>
                  <a:lnTo>
                    <a:pt x="44" y="461"/>
                  </a:lnTo>
                  <a:lnTo>
                    <a:pt x="42" y="461"/>
                  </a:lnTo>
                  <a:lnTo>
                    <a:pt x="44" y="461"/>
                  </a:lnTo>
                  <a:lnTo>
                    <a:pt x="44" y="463"/>
                  </a:lnTo>
                  <a:lnTo>
                    <a:pt x="44" y="461"/>
                  </a:lnTo>
                  <a:lnTo>
                    <a:pt x="44" y="463"/>
                  </a:lnTo>
                  <a:lnTo>
                    <a:pt x="44" y="461"/>
                  </a:lnTo>
                  <a:lnTo>
                    <a:pt x="42" y="461"/>
                  </a:lnTo>
                  <a:lnTo>
                    <a:pt x="40" y="461"/>
                  </a:lnTo>
                  <a:lnTo>
                    <a:pt x="42" y="461"/>
                  </a:lnTo>
                  <a:lnTo>
                    <a:pt x="40" y="461"/>
                  </a:lnTo>
                  <a:lnTo>
                    <a:pt x="40" y="459"/>
                  </a:lnTo>
                  <a:lnTo>
                    <a:pt x="40" y="461"/>
                  </a:lnTo>
                  <a:lnTo>
                    <a:pt x="38" y="461"/>
                  </a:lnTo>
                  <a:lnTo>
                    <a:pt x="38" y="459"/>
                  </a:lnTo>
                  <a:lnTo>
                    <a:pt x="36" y="459"/>
                  </a:lnTo>
                  <a:lnTo>
                    <a:pt x="38" y="459"/>
                  </a:lnTo>
                  <a:lnTo>
                    <a:pt x="40" y="459"/>
                  </a:lnTo>
                  <a:lnTo>
                    <a:pt x="38" y="459"/>
                  </a:lnTo>
                  <a:lnTo>
                    <a:pt x="38" y="457"/>
                  </a:lnTo>
                  <a:lnTo>
                    <a:pt x="40" y="457"/>
                  </a:lnTo>
                  <a:lnTo>
                    <a:pt x="38" y="457"/>
                  </a:lnTo>
                  <a:lnTo>
                    <a:pt x="38" y="459"/>
                  </a:lnTo>
                  <a:lnTo>
                    <a:pt x="36" y="459"/>
                  </a:lnTo>
                  <a:lnTo>
                    <a:pt x="36" y="457"/>
                  </a:lnTo>
                  <a:lnTo>
                    <a:pt x="36" y="459"/>
                  </a:lnTo>
                  <a:lnTo>
                    <a:pt x="36" y="457"/>
                  </a:lnTo>
                  <a:lnTo>
                    <a:pt x="36" y="459"/>
                  </a:lnTo>
                  <a:lnTo>
                    <a:pt x="36" y="457"/>
                  </a:lnTo>
                  <a:lnTo>
                    <a:pt x="36" y="459"/>
                  </a:lnTo>
                  <a:lnTo>
                    <a:pt x="36" y="457"/>
                  </a:lnTo>
                  <a:lnTo>
                    <a:pt x="35" y="457"/>
                  </a:lnTo>
                  <a:lnTo>
                    <a:pt x="35" y="459"/>
                  </a:lnTo>
                  <a:lnTo>
                    <a:pt x="35" y="457"/>
                  </a:lnTo>
                  <a:lnTo>
                    <a:pt x="36" y="457"/>
                  </a:lnTo>
                  <a:lnTo>
                    <a:pt x="35" y="457"/>
                  </a:lnTo>
                  <a:lnTo>
                    <a:pt x="36" y="457"/>
                  </a:lnTo>
                  <a:lnTo>
                    <a:pt x="35" y="457"/>
                  </a:lnTo>
                  <a:lnTo>
                    <a:pt x="36" y="457"/>
                  </a:lnTo>
                  <a:lnTo>
                    <a:pt x="36" y="455"/>
                  </a:lnTo>
                  <a:lnTo>
                    <a:pt x="35" y="455"/>
                  </a:lnTo>
                  <a:lnTo>
                    <a:pt x="35" y="457"/>
                  </a:lnTo>
                  <a:lnTo>
                    <a:pt x="35" y="455"/>
                  </a:lnTo>
                  <a:lnTo>
                    <a:pt x="36" y="455"/>
                  </a:lnTo>
                  <a:lnTo>
                    <a:pt x="35" y="455"/>
                  </a:lnTo>
                  <a:lnTo>
                    <a:pt x="33" y="455"/>
                  </a:lnTo>
                  <a:lnTo>
                    <a:pt x="33" y="453"/>
                  </a:lnTo>
                  <a:lnTo>
                    <a:pt x="31" y="453"/>
                  </a:lnTo>
                  <a:lnTo>
                    <a:pt x="31" y="451"/>
                  </a:lnTo>
                  <a:lnTo>
                    <a:pt x="33" y="453"/>
                  </a:lnTo>
                  <a:lnTo>
                    <a:pt x="33" y="451"/>
                  </a:lnTo>
                  <a:lnTo>
                    <a:pt x="31" y="451"/>
                  </a:lnTo>
                  <a:lnTo>
                    <a:pt x="33" y="451"/>
                  </a:lnTo>
                  <a:lnTo>
                    <a:pt x="33" y="453"/>
                  </a:lnTo>
                  <a:lnTo>
                    <a:pt x="35" y="453"/>
                  </a:lnTo>
                  <a:lnTo>
                    <a:pt x="36" y="453"/>
                  </a:lnTo>
                  <a:lnTo>
                    <a:pt x="35" y="453"/>
                  </a:lnTo>
                  <a:lnTo>
                    <a:pt x="36" y="453"/>
                  </a:lnTo>
                  <a:lnTo>
                    <a:pt x="38" y="453"/>
                  </a:lnTo>
                  <a:lnTo>
                    <a:pt x="40" y="453"/>
                  </a:lnTo>
                  <a:lnTo>
                    <a:pt x="38" y="453"/>
                  </a:lnTo>
                  <a:lnTo>
                    <a:pt x="36" y="453"/>
                  </a:lnTo>
                  <a:lnTo>
                    <a:pt x="36" y="451"/>
                  </a:lnTo>
                  <a:lnTo>
                    <a:pt x="36" y="453"/>
                  </a:lnTo>
                  <a:lnTo>
                    <a:pt x="38" y="453"/>
                  </a:lnTo>
                  <a:lnTo>
                    <a:pt x="36" y="453"/>
                  </a:lnTo>
                  <a:lnTo>
                    <a:pt x="38" y="453"/>
                  </a:lnTo>
                  <a:lnTo>
                    <a:pt x="38" y="451"/>
                  </a:lnTo>
                  <a:lnTo>
                    <a:pt x="36" y="451"/>
                  </a:lnTo>
                  <a:lnTo>
                    <a:pt x="35" y="451"/>
                  </a:lnTo>
                  <a:lnTo>
                    <a:pt x="33" y="451"/>
                  </a:lnTo>
                  <a:lnTo>
                    <a:pt x="35" y="451"/>
                  </a:lnTo>
                  <a:lnTo>
                    <a:pt x="33" y="451"/>
                  </a:lnTo>
                  <a:lnTo>
                    <a:pt x="33" y="449"/>
                  </a:lnTo>
                  <a:lnTo>
                    <a:pt x="33" y="451"/>
                  </a:lnTo>
                  <a:lnTo>
                    <a:pt x="33" y="449"/>
                  </a:lnTo>
                  <a:lnTo>
                    <a:pt x="35" y="449"/>
                  </a:lnTo>
                  <a:lnTo>
                    <a:pt x="35" y="451"/>
                  </a:lnTo>
                  <a:lnTo>
                    <a:pt x="35" y="449"/>
                  </a:lnTo>
                  <a:lnTo>
                    <a:pt x="35" y="451"/>
                  </a:lnTo>
                  <a:lnTo>
                    <a:pt x="36" y="451"/>
                  </a:lnTo>
                  <a:lnTo>
                    <a:pt x="36" y="449"/>
                  </a:lnTo>
                  <a:lnTo>
                    <a:pt x="35" y="449"/>
                  </a:lnTo>
                  <a:lnTo>
                    <a:pt x="36" y="449"/>
                  </a:lnTo>
                  <a:lnTo>
                    <a:pt x="36" y="447"/>
                  </a:lnTo>
                  <a:lnTo>
                    <a:pt x="36" y="449"/>
                  </a:lnTo>
                  <a:lnTo>
                    <a:pt x="36" y="447"/>
                  </a:lnTo>
                  <a:lnTo>
                    <a:pt x="35" y="447"/>
                  </a:lnTo>
                  <a:lnTo>
                    <a:pt x="36" y="447"/>
                  </a:lnTo>
                  <a:lnTo>
                    <a:pt x="35" y="447"/>
                  </a:lnTo>
                  <a:lnTo>
                    <a:pt x="35" y="445"/>
                  </a:lnTo>
                  <a:lnTo>
                    <a:pt x="35" y="447"/>
                  </a:lnTo>
                  <a:lnTo>
                    <a:pt x="35" y="445"/>
                  </a:lnTo>
                  <a:lnTo>
                    <a:pt x="35" y="443"/>
                  </a:lnTo>
                  <a:lnTo>
                    <a:pt x="35" y="445"/>
                  </a:lnTo>
                  <a:lnTo>
                    <a:pt x="33" y="445"/>
                  </a:lnTo>
                  <a:lnTo>
                    <a:pt x="35" y="445"/>
                  </a:lnTo>
                  <a:lnTo>
                    <a:pt x="33" y="445"/>
                  </a:lnTo>
                  <a:lnTo>
                    <a:pt x="33" y="443"/>
                  </a:lnTo>
                  <a:lnTo>
                    <a:pt x="33" y="445"/>
                  </a:lnTo>
                  <a:lnTo>
                    <a:pt x="31" y="445"/>
                  </a:lnTo>
                  <a:lnTo>
                    <a:pt x="31" y="443"/>
                  </a:lnTo>
                  <a:lnTo>
                    <a:pt x="31" y="445"/>
                  </a:lnTo>
                  <a:lnTo>
                    <a:pt x="31" y="443"/>
                  </a:lnTo>
                  <a:lnTo>
                    <a:pt x="29" y="443"/>
                  </a:lnTo>
                  <a:lnTo>
                    <a:pt x="29" y="445"/>
                  </a:lnTo>
                  <a:lnTo>
                    <a:pt x="29" y="443"/>
                  </a:lnTo>
                  <a:lnTo>
                    <a:pt x="29" y="445"/>
                  </a:lnTo>
                  <a:lnTo>
                    <a:pt x="27" y="445"/>
                  </a:lnTo>
                  <a:lnTo>
                    <a:pt x="27" y="443"/>
                  </a:lnTo>
                  <a:lnTo>
                    <a:pt x="29" y="443"/>
                  </a:lnTo>
                  <a:lnTo>
                    <a:pt x="27" y="443"/>
                  </a:lnTo>
                  <a:lnTo>
                    <a:pt x="29" y="443"/>
                  </a:lnTo>
                  <a:lnTo>
                    <a:pt x="31" y="443"/>
                  </a:lnTo>
                  <a:lnTo>
                    <a:pt x="29" y="443"/>
                  </a:lnTo>
                  <a:lnTo>
                    <a:pt x="29" y="442"/>
                  </a:lnTo>
                  <a:lnTo>
                    <a:pt x="31" y="442"/>
                  </a:lnTo>
                  <a:lnTo>
                    <a:pt x="29" y="442"/>
                  </a:lnTo>
                  <a:lnTo>
                    <a:pt x="27" y="442"/>
                  </a:lnTo>
                  <a:lnTo>
                    <a:pt x="29" y="442"/>
                  </a:lnTo>
                  <a:lnTo>
                    <a:pt x="27" y="442"/>
                  </a:lnTo>
                  <a:lnTo>
                    <a:pt x="29" y="442"/>
                  </a:lnTo>
                  <a:lnTo>
                    <a:pt x="29" y="440"/>
                  </a:lnTo>
                  <a:lnTo>
                    <a:pt x="29" y="438"/>
                  </a:lnTo>
                  <a:lnTo>
                    <a:pt x="29" y="440"/>
                  </a:lnTo>
                  <a:lnTo>
                    <a:pt x="29" y="438"/>
                  </a:lnTo>
                  <a:lnTo>
                    <a:pt x="27" y="438"/>
                  </a:lnTo>
                  <a:lnTo>
                    <a:pt x="29" y="438"/>
                  </a:lnTo>
                  <a:lnTo>
                    <a:pt x="27" y="438"/>
                  </a:lnTo>
                  <a:lnTo>
                    <a:pt x="27" y="436"/>
                  </a:lnTo>
                  <a:lnTo>
                    <a:pt x="27" y="438"/>
                  </a:lnTo>
                  <a:lnTo>
                    <a:pt x="27" y="436"/>
                  </a:lnTo>
                  <a:lnTo>
                    <a:pt x="29" y="436"/>
                  </a:lnTo>
                  <a:lnTo>
                    <a:pt x="27" y="436"/>
                  </a:lnTo>
                  <a:lnTo>
                    <a:pt x="25" y="436"/>
                  </a:lnTo>
                  <a:lnTo>
                    <a:pt x="27" y="436"/>
                  </a:lnTo>
                  <a:lnTo>
                    <a:pt x="25" y="436"/>
                  </a:lnTo>
                  <a:lnTo>
                    <a:pt x="27" y="436"/>
                  </a:lnTo>
                  <a:lnTo>
                    <a:pt x="25" y="436"/>
                  </a:lnTo>
                  <a:lnTo>
                    <a:pt x="27" y="436"/>
                  </a:lnTo>
                  <a:lnTo>
                    <a:pt x="27" y="434"/>
                  </a:lnTo>
                  <a:lnTo>
                    <a:pt x="27" y="436"/>
                  </a:lnTo>
                  <a:lnTo>
                    <a:pt x="27" y="434"/>
                  </a:lnTo>
                  <a:lnTo>
                    <a:pt x="27" y="432"/>
                  </a:lnTo>
                  <a:lnTo>
                    <a:pt x="29" y="432"/>
                  </a:lnTo>
                  <a:lnTo>
                    <a:pt x="27" y="432"/>
                  </a:lnTo>
                  <a:lnTo>
                    <a:pt x="27" y="430"/>
                  </a:lnTo>
                  <a:lnTo>
                    <a:pt x="27" y="428"/>
                  </a:lnTo>
                  <a:lnTo>
                    <a:pt x="29" y="428"/>
                  </a:lnTo>
                  <a:lnTo>
                    <a:pt x="31" y="428"/>
                  </a:lnTo>
                  <a:lnTo>
                    <a:pt x="31" y="426"/>
                  </a:lnTo>
                  <a:lnTo>
                    <a:pt x="31" y="428"/>
                  </a:lnTo>
                  <a:lnTo>
                    <a:pt x="29" y="428"/>
                  </a:lnTo>
                  <a:lnTo>
                    <a:pt x="29" y="426"/>
                  </a:lnTo>
                  <a:lnTo>
                    <a:pt x="27" y="426"/>
                  </a:lnTo>
                  <a:lnTo>
                    <a:pt x="27" y="428"/>
                  </a:lnTo>
                  <a:lnTo>
                    <a:pt x="27" y="426"/>
                  </a:lnTo>
                  <a:lnTo>
                    <a:pt x="29" y="426"/>
                  </a:lnTo>
                  <a:lnTo>
                    <a:pt x="29" y="428"/>
                  </a:lnTo>
                  <a:lnTo>
                    <a:pt x="27" y="428"/>
                  </a:lnTo>
                  <a:lnTo>
                    <a:pt x="27" y="430"/>
                  </a:lnTo>
                  <a:lnTo>
                    <a:pt x="27" y="432"/>
                  </a:lnTo>
                  <a:lnTo>
                    <a:pt x="27" y="430"/>
                  </a:lnTo>
                  <a:lnTo>
                    <a:pt x="25" y="430"/>
                  </a:lnTo>
                  <a:lnTo>
                    <a:pt x="27" y="430"/>
                  </a:lnTo>
                  <a:lnTo>
                    <a:pt x="25" y="430"/>
                  </a:lnTo>
                  <a:lnTo>
                    <a:pt x="27" y="430"/>
                  </a:lnTo>
                  <a:lnTo>
                    <a:pt x="25" y="430"/>
                  </a:lnTo>
                  <a:lnTo>
                    <a:pt x="27" y="430"/>
                  </a:lnTo>
                  <a:lnTo>
                    <a:pt x="27" y="428"/>
                  </a:lnTo>
                  <a:lnTo>
                    <a:pt x="25" y="428"/>
                  </a:lnTo>
                  <a:lnTo>
                    <a:pt x="27" y="428"/>
                  </a:lnTo>
                  <a:lnTo>
                    <a:pt x="25" y="428"/>
                  </a:lnTo>
                  <a:lnTo>
                    <a:pt x="25" y="430"/>
                  </a:lnTo>
                  <a:lnTo>
                    <a:pt x="25" y="428"/>
                  </a:lnTo>
                  <a:lnTo>
                    <a:pt x="25" y="430"/>
                  </a:lnTo>
                  <a:lnTo>
                    <a:pt x="25" y="428"/>
                  </a:lnTo>
                  <a:lnTo>
                    <a:pt x="23" y="428"/>
                  </a:lnTo>
                  <a:lnTo>
                    <a:pt x="23" y="430"/>
                  </a:lnTo>
                  <a:lnTo>
                    <a:pt x="21" y="430"/>
                  </a:lnTo>
                  <a:lnTo>
                    <a:pt x="21" y="432"/>
                  </a:lnTo>
                  <a:lnTo>
                    <a:pt x="21" y="434"/>
                  </a:lnTo>
                  <a:lnTo>
                    <a:pt x="21" y="432"/>
                  </a:lnTo>
                  <a:lnTo>
                    <a:pt x="23" y="432"/>
                  </a:lnTo>
                  <a:lnTo>
                    <a:pt x="21" y="432"/>
                  </a:lnTo>
                  <a:lnTo>
                    <a:pt x="23" y="432"/>
                  </a:lnTo>
                  <a:lnTo>
                    <a:pt x="23" y="434"/>
                  </a:lnTo>
                  <a:lnTo>
                    <a:pt x="23" y="432"/>
                  </a:lnTo>
                  <a:lnTo>
                    <a:pt x="23" y="434"/>
                  </a:lnTo>
                  <a:lnTo>
                    <a:pt x="23" y="436"/>
                  </a:lnTo>
                  <a:lnTo>
                    <a:pt x="23" y="434"/>
                  </a:lnTo>
                  <a:lnTo>
                    <a:pt x="23" y="436"/>
                  </a:lnTo>
                  <a:lnTo>
                    <a:pt x="25" y="436"/>
                  </a:lnTo>
                  <a:lnTo>
                    <a:pt x="25" y="434"/>
                  </a:lnTo>
                  <a:lnTo>
                    <a:pt x="25" y="436"/>
                  </a:lnTo>
                  <a:lnTo>
                    <a:pt x="25" y="434"/>
                  </a:lnTo>
                  <a:lnTo>
                    <a:pt x="25" y="436"/>
                  </a:lnTo>
                  <a:lnTo>
                    <a:pt x="25" y="438"/>
                  </a:lnTo>
                  <a:lnTo>
                    <a:pt x="23" y="438"/>
                  </a:lnTo>
                  <a:lnTo>
                    <a:pt x="21" y="438"/>
                  </a:lnTo>
                  <a:lnTo>
                    <a:pt x="23" y="438"/>
                  </a:lnTo>
                  <a:lnTo>
                    <a:pt x="21" y="438"/>
                  </a:lnTo>
                  <a:lnTo>
                    <a:pt x="21" y="440"/>
                  </a:lnTo>
                  <a:lnTo>
                    <a:pt x="23" y="440"/>
                  </a:lnTo>
                  <a:lnTo>
                    <a:pt x="21" y="440"/>
                  </a:lnTo>
                  <a:lnTo>
                    <a:pt x="23" y="440"/>
                  </a:lnTo>
                  <a:lnTo>
                    <a:pt x="21" y="440"/>
                  </a:lnTo>
                  <a:lnTo>
                    <a:pt x="21" y="438"/>
                  </a:lnTo>
                  <a:lnTo>
                    <a:pt x="23" y="438"/>
                  </a:lnTo>
                  <a:lnTo>
                    <a:pt x="25" y="438"/>
                  </a:lnTo>
                  <a:lnTo>
                    <a:pt x="25" y="436"/>
                  </a:lnTo>
                  <a:lnTo>
                    <a:pt x="25" y="438"/>
                  </a:lnTo>
                  <a:lnTo>
                    <a:pt x="27" y="438"/>
                  </a:lnTo>
                  <a:lnTo>
                    <a:pt x="25" y="438"/>
                  </a:lnTo>
                  <a:lnTo>
                    <a:pt x="27" y="438"/>
                  </a:lnTo>
                  <a:lnTo>
                    <a:pt x="25" y="438"/>
                  </a:lnTo>
                  <a:lnTo>
                    <a:pt x="27" y="438"/>
                  </a:lnTo>
                  <a:lnTo>
                    <a:pt x="25" y="438"/>
                  </a:lnTo>
                  <a:lnTo>
                    <a:pt x="25" y="440"/>
                  </a:lnTo>
                  <a:lnTo>
                    <a:pt x="27" y="440"/>
                  </a:lnTo>
                  <a:lnTo>
                    <a:pt x="25" y="440"/>
                  </a:lnTo>
                  <a:lnTo>
                    <a:pt x="27" y="440"/>
                  </a:lnTo>
                  <a:lnTo>
                    <a:pt x="25" y="440"/>
                  </a:lnTo>
                  <a:lnTo>
                    <a:pt x="27" y="440"/>
                  </a:lnTo>
                  <a:lnTo>
                    <a:pt x="25" y="440"/>
                  </a:lnTo>
                  <a:lnTo>
                    <a:pt x="27" y="440"/>
                  </a:lnTo>
                  <a:lnTo>
                    <a:pt x="25" y="440"/>
                  </a:lnTo>
                  <a:lnTo>
                    <a:pt x="27" y="440"/>
                  </a:lnTo>
                  <a:lnTo>
                    <a:pt x="25" y="440"/>
                  </a:lnTo>
                  <a:lnTo>
                    <a:pt x="27" y="440"/>
                  </a:lnTo>
                  <a:lnTo>
                    <a:pt x="25" y="440"/>
                  </a:lnTo>
                  <a:lnTo>
                    <a:pt x="27" y="440"/>
                  </a:lnTo>
                  <a:lnTo>
                    <a:pt x="25" y="440"/>
                  </a:lnTo>
                  <a:lnTo>
                    <a:pt x="27" y="440"/>
                  </a:lnTo>
                  <a:lnTo>
                    <a:pt x="27" y="442"/>
                  </a:lnTo>
                  <a:lnTo>
                    <a:pt x="27" y="440"/>
                  </a:lnTo>
                  <a:lnTo>
                    <a:pt x="27" y="442"/>
                  </a:lnTo>
                  <a:lnTo>
                    <a:pt x="27" y="440"/>
                  </a:lnTo>
                  <a:lnTo>
                    <a:pt x="29" y="440"/>
                  </a:lnTo>
                  <a:lnTo>
                    <a:pt x="29" y="442"/>
                  </a:lnTo>
                  <a:lnTo>
                    <a:pt x="27" y="442"/>
                  </a:lnTo>
                  <a:lnTo>
                    <a:pt x="25" y="442"/>
                  </a:lnTo>
                  <a:lnTo>
                    <a:pt x="25" y="440"/>
                  </a:lnTo>
                  <a:lnTo>
                    <a:pt x="23" y="440"/>
                  </a:lnTo>
                  <a:lnTo>
                    <a:pt x="23" y="442"/>
                  </a:lnTo>
                  <a:lnTo>
                    <a:pt x="21" y="442"/>
                  </a:lnTo>
                  <a:lnTo>
                    <a:pt x="23" y="442"/>
                  </a:lnTo>
                  <a:lnTo>
                    <a:pt x="23" y="440"/>
                  </a:lnTo>
                  <a:lnTo>
                    <a:pt x="25" y="440"/>
                  </a:lnTo>
                  <a:lnTo>
                    <a:pt x="25" y="442"/>
                  </a:lnTo>
                  <a:lnTo>
                    <a:pt x="23" y="442"/>
                  </a:lnTo>
                  <a:lnTo>
                    <a:pt x="25" y="442"/>
                  </a:lnTo>
                  <a:lnTo>
                    <a:pt x="23" y="442"/>
                  </a:lnTo>
                  <a:lnTo>
                    <a:pt x="25" y="442"/>
                  </a:lnTo>
                  <a:lnTo>
                    <a:pt x="23" y="442"/>
                  </a:lnTo>
                  <a:lnTo>
                    <a:pt x="25" y="442"/>
                  </a:lnTo>
                  <a:lnTo>
                    <a:pt x="27" y="442"/>
                  </a:lnTo>
                  <a:lnTo>
                    <a:pt x="25" y="442"/>
                  </a:lnTo>
                  <a:lnTo>
                    <a:pt x="27" y="442"/>
                  </a:lnTo>
                  <a:lnTo>
                    <a:pt x="29" y="442"/>
                  </a:lnTo>
                  <a:lnTo>
                    <a:pt x="27" y="442"/>
                  </a:lnTo>
                  <a:lnTo>
                    <a:pt x="29" y="442"/>
                  </a:lnTo>
                  <a:lnTo>
                    <a:pt x="27" y="442"/>
                  </a:lnTo>
                  <a:lnTo>
                    <a:pt x="29" y="442"/>
                  </a:lnTo>
                  <a:lnTo>
                    <a:pt x="27" y="442"/>
                  </a:lnTo>
                  <a:lnTo>
                    <a:pt x="25" y="442"/>
                  </a:lnTo>
                  <a:lnTo>
                    <a:pt x="25" y="443"/>
                  </a:lnTo>
                  <a:lnTo>
                    <a:pt x="27" y="443"/>
                  </a:lnTo>
                  <a:lnTo>
                    <a:pt x="25" y="443"/>
                  </a:lnTo>
                  <a:lnTo>
                    <a:pt x="27" y="443"/>
                  </a:lnTo>
                  <a:lnTo>
                    <a:pt x="25" y="443"/>
                  </a:lnTo>
                  <a:lnTo>
                    <a:pt x="27" y="443"/>
                  </a:lnTo>
                  <a:lnTo>
                    <a:pt x="25" y="443"/>
                  </a:lnTo>
                  <a:lnTo>
                    <a:pt x="27" y="443"/>
                  </a:lnTo>
                  <a:lnTo>
                    <a:pt x="27" y="445"/>
                  </a:lnTo>
                  <a:lnTo>
                    <a:pt x="29" y="445"/>
                  </a:lnTo>
                  <a:lnTo>
                    <a:pt x="27" y="445"/>
                  </a:lnTo>
                  <a:lnTo>
                    <a:pt x="27" y="447"/>
                  </a:lnTo>
                  <a:lnTo>
                    <a:pt x="25" y="447"/>
                  </a:lnTo>
                  <a:lnTo>
                    <a:pt x="27" y="447"/>
                  </a:lnTo>
                  <a:lnTo>
                    <a:pt x="27" y="445"/>
                  </a:lnTo>
                  <a:lnTo>
                    <a:pt x="27" y="447"/>
                  </a:lnTo>
                  <a:lnTo>
                    <a:pt x="27" y="445"/>
                  </a:lnTo>
                  <a:lnTo>
                    <a:pt x="27" y="447"/>
                  </a:lnTo>
                  <a:lnTo>
                    <a:pt x="27" y="445"/>
                  </a:lnTo>
                  <a:lnTo>
                    <a:pt x="29" y="445"/>
                  </a:lnTo>
                  <a:lnTo>
                    <a:pt x="27" y="445"/>
                  </a:lnTo>
                  <a:lnTo>
                    <a:pt x="29" y="445"/>
                  </a:lnTo>
                  <a:lnTo>
                    <a:pt x="29" y="447"/>
                  </a:lnTo>
                  <a:lnTo>
                    <a:pt x="27" y="447"/>
                  </a:lnTo>
                  <a:lnTo>
                    <a:pt x="29" y="447"/>
                  </a:lnTo>
                  <a:lnTo>
                    <a:pt x="27" y="447"/>
                  </a:lnTo>
                  <a:lnTo>
                    <a:pt x="25" y="447"/>
                  </a:lnTo>
                  <a:lnTo>
                    <a:pt x="25" y="449"/>
                  </a:lnTo>
                  <a:lnTo>
                    <a:pt x="23" y="449"/>
                  </a:lnTo>
                  <a:lnTo>
                    <a:pt x="23" y="447"/>
                  </a:lnTo>
                  <a:lnTo>
                    <a:pt x="23" y="449"/>
                  </a:lnTo>
                  <a:lnTo>
                    <a:pt x="21" y="449"/>
                  </a:lnTo>
                  <a:lnTo>
                    <a:pt x="21" y="447"/>
                  </a:lnTo>
                  <a:lnTo>
                    <a:pt x="21" y="449"/>
                  </a:lnTo>
                  <a:lnTo>
                    <a:pt x="21" y="447"/>
                  </a:lnTo>
                  <a:lnTo>
                    <a:pt x="23" y="447"/>
                  </a:lnTo>
                  <a:lnTo>
                    <a:pt x="23" y="445"/>
                  </a:lnTo>
                  <a:lnTo>
                    <a:pt x="21" y="445"/>
                  </a:lnTo>
                  <a:lnTo>
                    <a:pt x="23" y="445"/>
                  </a:lnTo>
                  <a:lnTo>
                    <a:pt x="21" y="445"/>
                  </a:lnTo>
                  <a:lnTo>
                    <a:pt x="23" y="445"/>
                  </a:lnTo>
                  <a:lnTo>
                    <a:pt x="25" y="445"/>
                  </a:lnTo>
                  <a:lnTo>
                    <a:pt x="25" y="447"/>
                  </a:lnTo>
                  <a:lnTo>
                    <a:pt x="27" y="445"/>
                  </a:lnTo>
                  <a:lnTo>
                    <a:pt x="25" y="445"/>
                  </a:lnTo>
                  <a:lnTo>
                    <a:pt x="27" y="445"/>
                  </a:lnTo>
                  <a:lnTo>
                    <a:pt x="25" y="445"/>
                  </a:lnTo>
                  <a:lnTo>
                    <a:pt x="27" y="445"/>
                  </a:lnTo>
                  <a:lnTo>
                    <a:pt x="25" y="445"/>
                  </a:lnTo>
                  <a:lnTo>
                    <a:pt x="23" y="445"/>
                  </a:lnTo>
                  <a:lnTo>
                    <a:pt x="23" y="443"/>
                  </a:lnTo>
                  <a:lnTo>
                    <a:pt x="23" y="445"/>
                  </a:lnTo>
                  <a:lnTo>
                    <a:pt x="23" y="443"/>
                  </a:lnTo>
                  <a:lnTo>
                    <a:pt x="21" y="443"/>
                  </a:lnTo>
                  <a:lnTo>
                    <a:pt x="23" y="443"/>
                  </a:lnTo>
                  <a:lnTo>
                    <a:pt x="21" y="443"/>
                  </a:lnTo>
                  <a:lnTo>
                    <a:pt x="23" y="443"/>
                  </a:lnTo>
                  <a:lnTo>
                    <a:pt x="23" y="445"/>
                  </a:lnTo>
                  <a:lnTo>
                    <a:pt x="21" y="445"/>
                  </a:lnTo>
                  <a:lnTo>
                    <a:pt x="21" y="443"/>
                  </a:lnTo>
                  <a:lnTo>
                    <a:pt x="21" y="445"/>
                  </a:lnTo>
                  <a:lnTo>
                    <a:pt x="19" y="445"/>
                  </a:lnTo>
                  <a:lnTo>
                    <a:pt x="17" y="445"/>
                  </a:lnTo>
                  <a:lnTo>
                    <a:pt x="15" y="445"/>
                  </a:lnTo>
                  <a:lnTo>
                    <a:pt x="17" y="445"/>
                  </a:lnTo>
                  <a:lnTo>
                    <a:pt x="15" y="445"/>
                  </a:lnTo>
                  <a:lnTo>
                    <a:pt x="17" y="445"/>
                  </a:lnTo>
                  <a:lnTo>
                    <a:pt x="15" y="445"/>
                  </a:lnTo>
                  <a:lnTo>
                    <a:pt x="13" y="445"/>
                  </a:lnTo>
                  <a:lnTo>
                    <a:pt x="15" y="445"/>
                  </a:lnTo>
                  <a:lnTo>
                    <a:pt x="15" y="447"/>
                  </a:lnTo>
                  <a:lnTo>
                    <a:pt x="13" y="447"/>
                  </a:lnTo>
                  <a:lnTo>
                    <a:pt x="15" y="447"/>
                  </a:lnTo>
                  <a:lnTo>
                    <a:pt x="13" y="447"/>
                  </a:lnTo>
                  <a:lnTo>
                    <a:pt x="12" y="447"/>
                  </a:lnTo>
                  <a:lnTo>
                    <a:pt x="10" y="447"/>
                  </a:lnTo>
                  <a:lnTo>
                    <a:pt x="12" y="447"/>
                  </a:lnTo>
                  <a:lnTo>
                    <a:pt x="13" y="447"/>
                  </a:lnTo>
                  <a:lnTo>
                    <a:pt x="12" y="447"/>
                  </a:lnTo>
                  <a:lnTo>
                    <a:pt x="13" y="447"/>
                  </a:lnTo>
                  <a:lnTo>
                    <a:pt x="12" y="447"/>
                  </a:lnTo>
                  <a:lnTo>
                    <a:pt x="12" y="449"/>
                  </a:lnTo>
                  <a:lnTo>
                    <a:pt x="13" y="449"/>
                  </a:lnTo>
                  <a:lnTo>
                    <a:pt x="13" y="447"/>
                  </a:lnTo>
                  <a:lnTo>
                    <a:pt x="15" y="447"/>
                  </a:lnTo>
                  <a:lnTo>
                    <a:pt x="15" y="449"/>
                  </a:lnTo>
                  <a:lnTo>
                    <a:pt x="13" y="449"/>
                  </a:lnTo>
                  <a:lnTo>
                    <a:pt x="15" y="449"/>
                  </a:lnTo>
                  <a:lnTo>
                    <a:pt x="15" y="447"/>
                  </a:lnTo>
                  <a:lnTo>
                    <a:pt x="15" y="449"/>
                  </a:lnTo>
                  <a:lnTo>
                    <a:pt x="17" y="449"/>
                  </a:lnTo>
                  <a:lnTo>
                    <a:pt x="17" y="451"/>
                  </a:lnTo>
                  <a:lnTo>
                    <a:pt x="15" y="451"/>
                  </a:lnTo>
                  <a:lnTo>
                    <a:pt x="13" y="451"/>
                  </a:lnTo>
                  <a:lnTo>
                    <a:pt x="13" y="453"/>
                  </a:lnTo>
                  <a:lnTo>
                    <a:pt x="12" y="453"/>
                  </a:lnTo>
                  <a:lnTo>
                    <a:pt x="10" y="453"/>
                  </a:lnTo>
                  <a:lnTo>
                    <a:pt x="8" y="453"/>
                  </a:lnTo>
                  <a:lnTo>
                    <a:pt x="8" y="451"/>
                  </a:lnTo>
                  <a:lnTo>
                    <a:pt x="10" y="451"/>
                  </a:lnTo>
                  <a:lnTo>
                    <a:pt x="10" y="453"/>
                  </a:lnTo>
                  <a:lnTo>
                    <a:pt x="10" y="451"/>
                  </a:lnTo>
                  <a:lnTo>
                    <a:pt x="10" y="449"/>
                  </a:lnTo>
                  <a:lnTo>
                    <a:pt x="8" y="449"/>
                  </a:lnTo>
                  <a:lnTo>
                    <a:pt x="10" y="449"/>
                  </a:lnTo>
                  <a:lnTo>
                    <a:pt x="8" y="449"/>
                  </a:lnTo>
                  <a:lnTo>
                    <a:pt x="10" y="449"/>
                  </a:lnTo>
                  <a:lnTo>
                    <a:pt x="8" y="449"/>
                  </a:lnTo>
                  <a:lnTo>
                    <a:pt x="10" y="449"/>
                  </a:lnTo>
                  <a:lnTo>
                    <a:pt x="8" y="449"/>
                  </a:lnTo>
                  <a:lnTo>
                    <a:pt x="10" y="449"/>
                  </a:lnTo>
                  <a:lnTo>
                    <a:pt x="8" y="449"/>
                  </a:lnTo>
                  <a:lnTo>
                    <a:pt x="6" y="449"/>
                  </a:lnTo>
                  <a:lnTo>
                    <a:pt x="4" y="449"/>
                  </a:lnTo>
                  <a:lnTo>
                    <a:pt x="4" y="451"/>
                  </a:lnTo>
                  <a:lnTo>
                    <a:pt x="4" y="449"/>
                  </a:lnTo>
                  <a:lnTo>
                    <a:pt x="4" y="447"/>
                  </a:lnTo>
                  <a:lnTo>
                    <a:pt x="2" y="447"/>
                  </a:lnTo>
                  <a:lnTo>
                    <a:pt x="4" y="447"/>
                  </a:lnTo>
                  <a:lnTo>
                    <a:pt x="2" y="447"/>
                  </a:lnTo>
                  <a:lnTo>
                    <a:pt x="2" y="445"/>
                  </a:lnTo>
                  <a:lnTo>
                    <a:pt x="2" y="443"/>
                  </a:lnTo>
                  <a:lnTo>
                    <a:pt x="2" y="442"/>
                  </a:lnTo>
                  <a:lnTo>
                    <a:pt x="2" y="440"/>
                  </a:lnTo>
                  <a:lnTo>
                    <a:pt x="2" y="438"/>
                  </a:lnTo>
                  <a:lnTo>
                    <a:pt x="2" y="436"/>
                  </a:lnTo>
                  <a:lnTo>
                    <a:pt x="2" y="434"/>
                  </a:lnTo>
                  <a:lnTo>
                    <a:pt x="2" y="432"/>
                  </a:lnTo>
                  <a:lnTo>
                    <a:pt x="2" y="430"/>
                  </a:lnTo>
                  <a:lnTo>
                    <a:pt x="2" y="428"/>
                  </a:lnTo>
                  <a:lnTo>
                    <a:pt x="4" y="428"/>
                  </a:lnTo>
                  <a:lnTo>
                    <a:pt x="4" y="426"/>
                  </a:lnTo>
                  <a:lnTo>
                    <a:pt x="4" y="424"/>
                  </a:lnTo>
                  <a:lnTo>
                    <a:pt x="4" y="422"/>
                  </a:lnTo>
                  <a:lnTo>
                    <a:pt x="4" y="419"/>
                  </a:lnTo>
                  <a:lnTo>
                    <a:pt x="4" y="417"/>
                  </a:lnTo>
                  <a:lnTo>
                    <a:pt x="4" y="415"/>
                  </a:lnTo>
                  <a:lnTo>
                    <a:pt x="4" y="413"/>
                  </a:lnTo>
                  <a:lnTo>
                    <a:pt x="4" y="411"/>
                  </a:lnTo>
                  <a:lnTo>
                    <a:pt x="4" y="409"/>
                  </a:lnTo>
                  <a:lnTo>
                    <a:pt x="4" y="405"/>
                  </a:lnTo>
                  <a:lnTo>
                    <a:pt x="4" y="403"/>
                  </a:lnTo>
                  <a:lnTo>
                    <a:pt x="4" y="401"/>
                  </a:lnTo>
                  <a:lnTo>
                    <a:pt x="4" y="399"/>
                  </a:lnTo>
                  <a:lnTo>
                    <a:pt x="4" y="397"/>
                  </a:lnTo>
                  <a:lnTo>
                    <a:pt x="4" y="395"/>
                  </a:lnTo>
                  <a:lnTo>
                    <a:pt x="4" y="394"/>
                  </a:lnTo>
                  <a:lnTo>
                    <a:pt x="4" y="392"/>
                  </a:lnTo>
                  <a:lnTo>
                    <a:pt x="6" y="390"/>
                  </a:lnTo>
                  <a:lnTo>
                    <a:pt x="6" y="388"/>
                  </a:lnTo>
                  <a:lnTo>
                    <a:pt x="6" y="386"/>
                  </a:lnTo>
                  <a:lnTo>
                    <a:pt x="6" y="384"/>
                  </a:lnTo>
                  <a:lnTo>
                    <a:pt x="6" y="382"/>
                  </a:lnTo>
                  <a:lnTo>
                    <a:pt x="6" y="380"/>
                  </a:lnTo>
                  <a:lnTo>
                    <a:pt x="6" y="378"/>
                  </a:lnTo>
                  <a:lnTo>
                    <a:pt x="6" y="376"/>
                  </a:lnTo>
                  <a:lnTo>
                    <a:pt x="6" y="374"/>
                  </a:lnTo>
                  <a:lnTo>
                    <a:pt x="6" y="372"/>
                  </a:lnTo>
                  <a:lnTo>
                    <a:pt x="6" y="371"/>
                  </a:lnTo>
                  <a:lnTo>
                    <a:pt x="6" y="369"/>
                  </a:lnTo>
                  <a:lnTo>
                    <a:pt x="6" y="367"/>
                  </a:lnTo>
                  <a:lnTo>
                    <a:pt x="6" y="365"/>
                  </a:lnTo>
                  <a:lnTo>
                    <a:pt x="6" y="363"/>
                  </a:lnTo>
                  <a:lnTo>
                    <a:pt x="6" y="359"/>
                  </a:lnTo>
                  <a:lnTo>
                    <a:pt x="6" y="357"/>
                  </a:lnTo>
                  <a:lnTo>
                    <a:pt x="6" y="355"/>
                  </a:lnTo>
                  <a:lnTo>
                    <a:pt x="8" y="351"/>
                  </a:lnTo>
                  <a:lnTo>
                    <a:pt x="8" y="349"/>
                  </a:lnTo>
                  <a:lnTo>
                    <a:pt x="8" y="347"/>
                  </a:lnTo>
                  <a:lnTo>
                    <a:pt x="8" y="342"/>
                  </a:lnTo>
                  <a:lnTo>
                    <a:pt x="8" y="336"/>
                  </a:lnTo>
                  <a:lnTo>
                    <a:pt x="8" y="332"/>
                  </a:lnTo>
                  <a:lnTo>
                    <a:pt x="8" y="328"/>
                  </a:lnTo>
                  <a:lnTo>
                    <a:pt x="8" y="326"/>
                  </a:lnTo>
                  <a:lnTo>
                    <a:pt x="8" y="323"/>
                  </a:lnTo>
                  <a:lnTo>
                    <a:pt x="8" y="319"/>
                  </a:lnTo>
                  <a:lnTo>
                    <a:pt x="10" y="317"/>
                  </a:lnTo>
                  <a:lnTo>
                    <a:pt x="8" y="317"/>
                  </a:lnTo>
                  <a:lnTo>
                    <a:pt x="10" y="317"/>
                  </a:lnTo>
                  <a:lnTo>
                    <a:pt x="10" y="313"/>
                  </a:lnTo>
                  <a:lnTo>
                    <a:pt x="10" y="309"/>
                  </a:lnTo>
                  <a:lnTo>
                    <a:pt x="10" y="303"/>
                  </a:lnTo>
                  <a:lnTo>
                    <a:pt x="10" y="301"/>
                  </a:lnTo>
                  <a:lnTo>
                    <a:pt x="10" y="299"/>
                  </a:lnTo>
                  <a:lnTo>
                    <a:pt x="10" y="294"/>
                  </a:lnTo>
                  <a:lnTo>
                    <a:pt x="10" y="290"/>
                  </a:lnTo>
                  <a:lnTo>
                    <a:pt x="10" y="288"/>
                  </a:lnTo>
                  <a:lnTo>
                    <a:pt x="10" y="284"/>
                  </a:lnTo>
                  <a:lnTo>
                    <a:pt x="10" y="282"/>
                  </a:lnTo>
                  <a:lnTo>
                    <a:pt x="10" y="280"/>
                  </a:lnTo>
                  <a:lnTo>
                    <a:pt x="12" y="278"/>
                  </a:lnTo>
                  <a:lnTo>
                    <a:pt x="12" y="276"/>
                  </a:lnTo>
                  <a:lnTo>
                    <a:pt x="12" y="275"/>
                  </a:lnTo>
                  <a:lnTo>
                    <a:pt x="12" y="271"/>
                  </a:lnTo>
                  <a:lnTo>
                    <a:pt x="12" y="269"/>
                  </a:lnTo>
                  <a:lnTo>
                    <a:pt x="12" y="267"/>
                  </a:lnTo>
                  <a:lnTo>
                    <a:pt x="12" y="265"/>
                  </a:lnTo>
                  <a:lnTo>
                    <a:pt x="12" y="263"/>
                  </a:lnTo>
                  <a:lnTo>
                    <a:pt x="12" y="261"/>
                  </a:lnTo>
                  <a:lnTo>
                    <a:pt x="12" y="259"/>
                  </a:lnTo>
                  <a:lnTo>
                    <a:pt x="12" y="257"/>
                  </a:lnTo>
                  <a:lnTo>
                    <a:pt x="12" y="255"/>
                  </a:lnTo>
                  <a:lnTo>
                    <a:pt x="12" y="253"/>
                  </a:lnTo>
                  <a:lnTo>
                    <a:pt x="12" y="252"/>
                  </a:lnTo>
                  <a:lnTo>
                    <a:pt x="12" y="248"/>
                  </a:lnTo>
                  <a:lnTo>
                    <a:pt x="13" y="248"/>
                  </a:lnTo>
                  <a:lnTo>
                    <a:pt x="17" y="244"/>
                  </a:lnTo>
                  <a:lnTo>
                    <a:pt x="17" y="242"/>
                  </a:lnTo>
                  <a:lnTo>
                    <a:pt x="19" y="242"/>
                  </a:lnTo>
                  <a:lnTo>
                    <a:pt x="23" y="240"/>
                  </a:lnTo>
                  <a:lnTo>
                    <a:pt x="23" y="238"/>
                  </a:lnTo>
                  <a:lnTo>
                    <a:pt x="25" y="236"/>
                  </a:lnTo>
                  <a:lnTo>
                    <a:pt x="29" y="232"/>
                  </a:lnTo>
                  <a:lnTo>
                    <a:pt x="36" y="227"/>
                  </a:lnTo>
                  <a:lnTo>
                    <a:pt x="38" y="225"/>
                  </a:lnTo>
                  <a:lnTo>
                    <a:pt x="40" y="223"/>
                  </a:lnTo>
                  <a:lnTo>
                    <a:pt x="46" y="217"/>
                  </a:lnTo>
                  <a:lnTo>
                    <a:pt x="50" y="213"/>
                  </a:lnTo>
                  <a:lnTo>
                    <a:pt x="52" y="211"/>
                  </a:lnTo>
                  <a:lnTo>
                    <a:pt x="54" y="211"/>
                  </a:lnTo>
                  <a:lnTo>
                    <a:pt x="56" y="209"/>
                  </a:lnTo>
                  <a:lnTo>
                    <a:pt x="58" y="207"/>
                  </a:lnTo>
                  <a:lnTo>
                    <a:pt x="60" y="205"/>
                  </a:lnTo>
                  <a:lnTo>
                    <a:pt x="63" y="202"/>
                  </a:lnTo>
                  <a:lnTo>
                    <a:pt x="67" y="198"/>
                  </a:lnTo>
                  <a:lnTo>
                    <a:pt x="69" y="198"/>
                  </a:lnTo>
                  <a:lnTo>
                    <a:pt x="69" y="196"/>
                  </a:lnTo>
                  <a:lnTo>
                    <a:pt x="71" y="194"/>
                  </a:lnTo>
                  <a:lnTo>
                    <a:pt x="73" y="192"/>
                  </a:lnTo>
                  <a:lnTo>
                    <a:pt x="75" y="190"/>
                  </a:lnTo>
                  <a:lnTo>
                    <a:pt x="77" y="188"/>
                  </a:lnTo>
                  <a:lnTo>
                    <a:pt x="83" y="180"/>
                  </a:lnTo>
                  <a:lnTo>
                    <a:pt x="84" y="179"/>
                  </a:lnTo>
                  <a:lnTo>
                    <a:pt x="86" y="177"/>
                  </a:lnTo>
                  <a:lnTo>
                    <a:pt x="88" y="175"/>
                  </a:lnTo>
                  <a:lnTo>
                    <a:pt x="88" y="173"/>
                  </a:lnTo>
                  <a:lnTo>
                    <a:pt x="90" y="173"/>
                  </a:lnTo>
                  <a:lnTo>
                    <a:pt x="90" y="171"/>
                  </a:lnTo>
                  <a:lnTo>
                    <a:pt x="92" y="171"/>
                  </a:lnTo>
                  <a:lnTo>
                    <a:pt x="94" y="167"/>
                  </a:lnTo>
                  <a:lnTo>
                    <a:pt x="94" y="165"/>
                  </a:lnTo>
                  <a:lnTo>
                    <a:pt x="96" y="165"/>
                  </a:lnTo>
                  <a:lnTo>
                    <a:pt x="96" y="163"/>
                  </a:lnTo>
                  <a:lnTo>
                    <a:pt x="98" y="163"/>
                  </a:lnTo>
                  <a:lnTo>
                    <a:pt x="104" y="156"/>
                  </a:lnTo>
                  <a:lnTo>
                    <a:pt x="106" y="154"/>
                  </a:lnTo>
                  <a:lnTo>
                    <a:pt x="106" y="152"/>
                  </a:lnTo>
                  <a:lnTo>
                    <a:pt x="108" y="152"/>
                  </a:lnTo>
                  <a:lnTo>
                    <a:pt x="109" y="148"/>
                  </a:lnTo>
                  <a:lnTo>
                    <a:pt x="111" y="146"/>
                  </a:lnTo>
                  <a:lnTo>
                    <a:pt x="113" y="146"/>
                  </a:lnTo>
                  <a:lnTo>
                    <a:pt x="113" y="144"/>
                  </a:lnTo>
                  <a:lnTo>
                    <a:pt x="115" y="144"/>
                  </a:lnTo>
                  <a:lnTo>
                    <a:pt x="115" y="142"/>
                  </a:lnTo>
                  <a:lnTo>
                    <a:pt x="117" y="140"/>
                  </a:lnTo>
                  <a:lnTo>
                    <a:pt x="123" y="132"/>
                  </a:lnTo>
                  <a:lnTo>
                    <a:pt x="125" y="131"/>
                  </a:lnTo>
                  <a:lnTo>
                    <a:pt x="127" y="129"/>
                  </a:lnTo>
                  <a:lnTo>
                    <a:pt x="131" y="125"/>
                  </a:lnTo>
                  <a:lnTo>
                    <a:pt x="131" y="123"/>
                  </a:lnTo>
                  <a:lnTo>
                    <a:pt x="136" y="117"/>
                  </a:lnTo>
                  <a:lnTo>
                    <a:pt x="140" y="111"/>
                  </a:lnTo>
                  <a:lnTo>
                    <a:pt x="144" y="108"/>
                  </a:lnTo>
                  <a:lnTo>
                    <a:pt x="148" y="102"/>
                  </a:lnTo>
                  <a:lnTo>
                    <a:pt x="150" y="102"/>
                  </a:lnTo>
                  <a:lnTo>
                    <a:pt x="152" y="100"/>
                  </a:lnTo>
                  <a:lnTo>
                    <a:pt x="152" y="98"/>
                  </a:lnTo>
                  <a:lnTo>
                    <a:pt x="154" y="96"/>
                  </a:lnTo>
                  <a:lnTo>
                    <a:pt x="154" y="94"/>
                  </a:lnTo>
                  <a:lnTo>
                    <a:pt x="161" y="88"/>
                  </a:lnTo>
                  <a:lnTo>
                    <a:pt x="161" y="86"/>
                  </a:lnTo>
                  <a:lnTo>
                    <a:pt x="167" y="81"/>
                  </a:lnTo>
                  <a:lnTo>
                    <a:pt x="167" y="79"/>
                  </a:lnTo>
                  <a:lnTo>
                    <a:pt x="171" y="75"/>
                  </a:lnTo>
                  <a:lnTo>
                    <a:pt x="173" y="73"/>
                  </a:lnTo>
                  <a:lnTo>
                    <a:pt x="175" y="71"/>
                  </a:lnTo>
                  <a:lnTo>
                    <a:pt x="177" y="69"/>
                  </a:lnTo>
                  <a:lnTo>
                    <a:pt x="179" y="65"/>
                  </a:lnTo>
                  <a:lnTo>
                    <a:pt x="182" y="63"/>
                  </a:lnTo>
                  <a:lnTo>
                    <a:pt x="182" y="61"/>
                  </a:lnTo>
                  <a:lnTo>
                    <a:pt x="184" y="60"/>
                  </a:lnTo>
                  <a:lnTo>
                    <a:pt x="186" y="58"/>
                  </a:lnTo>
                  <a:lnTo>
                    <a:pt x="188" y="56"/>
                  </a:lnTo>
                  <a:lnTo>
                    <a:pt x="190" y="54"/>
                  </a:lnTo>
                  <a:lnTo>
                    <a:pt x="192" y="50"/>
                  </a:lnTo>
                  <a:lnTo>
                    <a:pt x="196" y="46"/>
                  </a:lnTo>
                  <a:lnTo>
                    <a:pt x="198" y="44"/>
                  </a:lnTo>
                  <a:lnTo>
                    <a:pt x="200" y="42"/>
                  </a:lnTo>
                  <a:lnTo>
                    <a:pt x="200" y="40"/>
                  </a:lnTo>
                  <a:lnTo>
                    <a:pt x="202" y="38"/>
                  </a:lnTo>
                  <a:lnTo>
                    <a:pt x="205" y="35"/>
                  </a:lnTo>
                  <a:lnTo>
                    <a:pt x="207" y="33"/>
                  </a:lnTo>
                  <a:lnTo>
                    <a:pt x="211" y="27"/>
                  </a:lnTo>
                  <a:lnTo>
                    <a:pt x="215" y="23"/>
                  </a:lnTo>
                  <a:lnTo>
                    <a:pt x="217" y="21"/>
                  </a:lnTo>
                  <a:lnTo>
                    <a:pt x="219" y="19"/>
                  </a:lnTo>
                  <a:lnTo>
                    <a:pt x="223" y="13"/>
                  </a:lnTo>
                  <a:lnTo>
                    <a:pt x="225" y="12"/>
                  </a:lnTo>
                  <a:lnTo>
                    <a:pt x="225" y="10"/>
                  </a:lnTo>
                  <a:lnTo>
                    <a:pt x="228" y="8"/>
                  </a:lnTo>
                  <a:lnTo>
                    <a:pt x="232" y="2"/>
                  </a:lnTo>
                  <a:lnTo>
                    <a:pt x="234" y="2"/>
                  </a:lnTo>
                  <a:lnTo>
                    <a:pt x="236" y="2"/>
                  </a:lnTo>
                  <a:lnTo>
                    <a:pt x="236" y="0"/>
                  </a:lnTo>
                  <a:lnTo>
                    <a:pt x="238" y="0"/>
                  </a:lnTo>
                  <a:close/>
                  <a:moveTo>
                    <a:pt x="50" y="463"/>
                  </a:moveTo>
                  <a:lnTo>
                    <a:pt x="50" y="465"/>
                  </a:lnTo>
                  <a:lnTo>
                    <a:pt x="50" y="463"/>
                  </a:lnTo>
                  <a:lnTo>
                    <a:pt x="48" y="463"/>
                  </a:lnTo>
                  <a:lnTo>
                    <a:pt x="48" y="465"/>
                  </a:lnTo>
                  <a:lnTo>
                    <a:pt x="46" y="465"/>
                  </a:lnTo>
                  <a:lnTo>
                    <a:pt x="44" y="465"/>
                  </a:lnTo>
                  <a:lnTo>
                    <a:pt x="46" y="465"/>
                  </a:lnTo>
                  <a:lnTo>
                    <a:pt x="46" y="467"/>
                  </a:lnTo>
                  <a:lnTo>
                    <a:pt x="46" y="465"/>
                  </a:lnTo>
                  <a:lnTo>
                    <a:pt x="46" y="467"/>
                  </a:lnTo>
                  <a:lnTo>
                    <a:pt x="46" y="465"/>
                  </a:lnTo>
                  <a:lnTo>
                    <a:pt x="48" y="465"/>
                  </a:lnTo>
                  <a:lnTo>
                    <a:pt x="48" y="467"/>
                  </a:lnTo>
                  <a:lnTo>
                    <a:pt x="48" y="465"/>
                  </a:lnTo>
                  <a:lnTo>
                    <a:pt x="48" y="467"/>
                  </a:lnTo>
                  <a:lnTo>
                    <a:pt x="48" y="465"/>
                  </a:lnTo>
                  <a:lnTo>
                    <a:pt x="48" y="467"/>
                  </a:lnTo>
                  <a:lnTo>
                    <a:pt x="48" y="465"/>
                  </a:lnTo>
                  <a:lnTo>
                    <a:pt x="48" y="467"/>
                  </a:lnTo>
                  <a:lnTo>
                    <a:pt x="50" y="467"/>
                  </a:lnTo>
                  <a:lnTo>
                    <a:pt x="48" y="467"/>
                  </a:lnTo>
                  <a:lnTo>
                    <a:pt x="50" y="467"/>
                  </a:lnTo>
                  <a:lnTo>
                    <a:pt x="50" y="465"/>
                  </a:lnTo>
                  <a:lnTo>
                    <a:pt x="50" y="467"/>
                  </a:lnTo>
                  <a:lnTo>
                    <a:pt x="50" y="465"/>
                  </a:lnTo>
                  <a:lnTo>
                    <a:pt x="48" y="465"/>
                  </a:lnTo>
                  <a:lnTo>
                    <a:pt x="50" y="465"/>
                  </a:lnTo>
                  <a:lnTo>
                    <a:pt x="48" y="465"/>
                  </a:lnTo>
                  <a:lnTo>
                    <a:pt x="50" y="465"/>
                  </a:lnTo>
                  <a:lnTo>
                    <a:pt x="52" y="465"/>
                  </a:lnTo>
                  <a:lnTo>
                    <a:pt x="54" y="465"/>
                  </a:lnTo>
                  <a:lnTo>
                    <a:pt x="56" y="465"/>
                  </a:lnTo>
                  <a:lnTo>
                    <a:pt x="54" y="465"/>
                  </a:lnTo>
                  <a:lnTo>
                    <a:pt x="52" y="465"/>
                  </a:lnTo>
                  <a:lnTo>
                    <a:pt x="52" y="463"/>
                  </a:lnTo>
                  <a:lnTo>
                    <a:pt x="52" y="465"/>
                  </a:lnTo>
                  <a:lnTo>
                    <a:pt x="52" y="463"/>
                  </a:lnTo>
                  <a:lnTo>
                    <a:pt x="52" y="465"/>
                  </a:lnTo>
                  <a:lnTo>
                    <a:pt x="52" y="463"/>
                  </a:lnTo>
                  <a:lnTo>
                    <a:pt x="50" y="463"/>
                  </a:lnTo>
                  <a:close/>
                  <a:moveTo>
                    <a:pt x="576" y="649"/>
                  </a:moveTo>
                  <a:lnTo>
                    <a:pt x="578" y="649"/>
                  </a:lnTo>
                  <a:lnTo>
                    <a:pt x="578" y="651"/>
                  </a:lnTo>
                  <a:lnTo>
                    <a:pt x="578" y="653"/>
                  </a:lnTo>
                  <a:lnTo>
                    <a:pt x="578" y="655"/>
                  </a:lnTo>
                  <a:lnTo>
                    <a:pt x="580" y="655"/>
                  </a:lnTo>
                  <a:lnTo>
                    <a:pt x="582" y="655"/>
                  </a:lnTo>
                  <a:lnTo>
                    <a:pt x="582" y="657"/>
                  </a:lnTo>
                  <a:lnTo>
                    <a:pt x="582" y="659"/>
                  </a:lnTo>
                  <a:lnTo>
                    <a:pt x="582" y="660"/>
                  </a:lnTo>
                  <a:lnTo>
                    <a:pt x="582" y="662"/>
                  </a:lnTo>
                  <a:lnTo>
                    <a:pt x="584" y="662"/>
                  </a:lnTo>
                  <a:lnTo>
                    <a:pt x="584" y="664"/>
                  </a:lnTo>
                  <a:lnTo>
                    <a:pt x="586" y="664"/>
                  </a:lnTo>
                  <a:lnTo>
                    <a:pt x="586" y="662"/>
                  </a:lnTo>
                  <a:lnTo>
                    <a:pt x="586" y="660"/>
                  </a:lnTo>
                  <a:lnTo>
                    <a:pt x="584" y="660"/>
                  </a:lnTo>
                  <a:lnTo>
                    <a:pt x="586" y="660"/>
                  </a:lnTo>
                  <a:lnTo>
                    <a:pt x="586" y="659"/>
                  </a:lnTo>
                  <a:lnTo>
                    <a:pt x="586" y="657"/>
                  </a:lnTo>
                  <a:lnTo>
                    <a:pt x="586" y="655"/>
                  </a:lnTo>
                  <a:lnTo>
                    <a:pt x="588" y="655"/>
                  </a:lnTo>
                  <a:lnTo>
                    <a:pt x="588" y="653"/>
                  </a:lnTo>
                  <a:lnTo>
                    <a:pt x="590" y="653"/>
                  </a:lnTo>
                  <a:lnTo>
                    <a:pt x="590" y="655"/>
                  </a:lnTo>
                  <a:lnTo>
                    <a:pt x="590" y="657"/>
                  </a:lnTo>
                  <a:lnTo>
                    <a:pt x="590" y="659"/>
                  </a:lnTo>
                  <a:lnTo>
                    <a:pt x="588" y="659"/>
                  </a:lnTo>
                  <a:lnTo>
                    <a:pt x="588" y="660"/>
                  </a:lnTo>
                  <a:lnTo>
                    <a:pt x="590" y="660"/>
                  </a:lnTo>
                  <a:lnTo>
                    <a:pt x="590" y="659"/>
                  </a:lnTo>
                  <a:lnTo>
                    <a:pt x="591" y="659"/>
                  </a:lnTo>
                  <a:lnTo>
                    <a:pt x="593" y="659"/>
                  </a:lnTo>
                  <a:lnTo>
                    <a:pt x="593" y="660"/>
                  </a:lnTo>
                  <a:lnTo>
                    <a:pt x="593" y="662"/>
                  </a:lnTo>
                  <a:lnTo>
                    <a:pt x="591" y="664"/>
                  </a:lnTo>
                  <a:lnTo>
                    <a:pt x="591" y="666"/>
                  </a:lnTo>
                  <a:lnTo>
                    <a:pt x="591" y="668"/>
                  </a:lnTo>
                  <a:lnTo>
                    <a:pt x="590" y="668"/>
                  </a:lnTo>
                  <a:lnTo>
                    <a:pt x="590" y="670"/>
                  </a:lnTo>
                  <a:lnTo>
                    <a:pt x="590" y="672"/>
                  </a:lnTo>
                  <a:lnTo>
                    <a:pt x="588" y="672"/>
                  </a:lnTo>
                  <a:lnTo>
                    <a:pt x="588" y="674"/>
                  </a:lnTo>
                  <a:lnTo>
                    <a:pt x="588" y="676"/>
                  </a:lnTo>
                  <a:lnTo>
                    <a:pt x="586" y="676"/>
                  </a:lnTo>
                  <a:lnTo>
                    <a:pt x="586" y="678"/>
                  </a:lnTo>
                  <a:lnTo>
                    <a:pt x="584" y="678"/>
                  </a:lnTo>
                  <a:lnTo>
                    <a:pt x="582" y="678"/>
                  </a:lnTo>
                  <a:lnTo>
                    <a:pt x="582" y="676"/>
                  </a:lnTo>
                  <a:lnTo>
                    <a:pt x="582" y="678"/>
                  </a:lnTo>
                  <a:lnTo>
                    <a:pt x="582" y="676"/>
                  </a:lnTo>
                  <a:lnTo>
                    <a:pt x="580" y="676"/>
                  </a:lnTo>
                  <a:lnTo>
                    <a:pt x="580" y="678"/>
                  </a:lnTo>
                  <a:lnTo>
                    <a:pt x="578" y="678"/>
                  </a:lnTo>
                  <a:lnTo>
                    <a:pt x="578" y="676"/>
                  </a:lnTo>
                  <a:lnTo>
                    <a:pt x="578" y="678"/>
                  </a:lnTo>
                  <a:lnTo>
                    <a:pt x="578" y="676"/>
                  </a:lnTo>
                  <a:lnTo>
                    <a:pt x="578" y="674"/>
                  </a:lnTo>
                  <a:lnTo>
                    <a:pt x="580" y="674"/>
                  </a:lnTo>
                  <a:lnTo>
                    <a:pt x="582" y="674"/>
                  </a:lnTo>
                  <a:lnTo>
                    <a:pt x="582" y="672"/>
                  </a:lnTo>
                  <a:lnTo>
                    <a:pt x="582" y="674"/>
                  </a:lnTo>
                  <a:lnTo>
                    <a:pt x="582" y="672"/>
                  </a:lnTo>
                  <a:lnTo>
                    <a:pt x="584" y="672"/>
                  </a:lnTo>
                  <a:lnTo>
                    <a:pt x="584" y="670"/>
                  </a:lnTo>
                  <a:lnTo>
                    <a:pt x="586" y="670"/>
                  </a:lnTo>
                  <a:lnTo>
                    <a:pt x="586" y="668"/>
                  </a:lnTo>
                  <a:lnTo>
                    <a:pt x="588" y="668"/>
                  </a:lnTo>
                  <a:lnTo>
                    <a:pt x="588" y="666"/>
                  </a:lnTo>
                  <a:lnTo>
                    <a:pt x="586" y="666"/>
                  </a:lnTo>
                  <a:lnTo>
                    <a:pt x="584" y="666"/>
                  </a:lnTo>
                  <a:lnTo>
                    <a:pt x="584" y="668"/>
                  </a:lnTo>
                  <a:lnTo>
                    <a:pt x="584" y="666"/>
                  </a:lnTo>
                  <a:lnTo>
                    <a:pt x="584" y="668"/>
                  </a:lnTo>
                  <a:lnTo>
                    <a:pt x="582" y="668"/>
                  </a:lnTo>
                  <a:lnTo>
                    <a:pt x="584" y="668"/>
                  </a:lnTo>
                  <a:lnTo>
                    <a:pt x="582" y="668"/>
                  </a:lnTo>
                  <a:lnTo>
                    <a:pt x="582" y="670"/>
                  </a:lnTo>
                  <a:lnTo>
                    <a:pt x="580" y="670"/>
                  </a:lnTo>
                  <a:lnTo>
                    <a:pt x="580" y="672"/>
                  </a:lnTo>
                  <a:lnTo>
                    <a:pt x="580" y="674"/>
                  </a:lnTo>
                  <a:lnTo>
                    <a:pt x="580" y="672"/>
                  </a:lnTo>
                  <a:lnTo>
                    <a:pt x="578" y="672"/>
                  </a:lnTo>
                  <a:lnTo>
                    <a:pt x="578" y="674"/>
                  </a:lnTo>
                  <a:lnTo>
                    <a:pt x="576" y="674"/>
                  </a:lnTo>
                  <a:lnTo>
                    <a:pt x="576" y="676"/>
                  </a:lnTo>
                  <a:lnTo>
                    <a:pt x="578" y="676"/>
                  </a:lnTo>
                  <a:lnTo>
                    <a:pt x="576" y="676"/>
                  </a:lnTo>
                  <a:lnTo>
                    <a:pt x="578" y="676"/>
                  </a:lnTo>
                  <a:lnTo>
                    <a:pt x="576" y="676"/>
                  </a:lnTo>
                  <a:lnTo>
                    <a:pt x="578" y="676"/>
                  </a:lnTo>
                  <a:lnTo>
                    <a:pt x="576" y="676"/>
                  </a:lnTo>
                  <a:lnTo>
                    <a:pt x="576" y="678"/>
                  </a:lnTo>
                  <a:lnTo>
                    <a:pt x="574" y="678"/>
                  </a:lnTo>
                  <a:lnTo>
                    <a:pt x="574" y="676"/>
                  </a:lnTo>
                  <a:lnTo>
                    <a:pt x="574" y="678"/>
                  </a:lnTo>
                  <a:lnTo>
                    <a:pt x="574" y="676"/>
                  </a:lnTo>
                  <a:lnTo>
                    <a:pt x="574" y="678"/>
                  </a:lnTo>
                  <a:lnTo>
                    <a:pt x="574" y="676"/>
                  </a:lnTo>
                  <a:lnTo>
                    <a:pt x="572" y="676"/>
                  </a:lnTo>
                  <a:lnTo>
                    <a:pt x="572" y="674"/>
                  </a:lnTo>
                  <a:lnTo>
                    <a:pt x="572" y="676"/>
                  </a:lnTo>
                  <a:lnTo>
                    <a:pt x="570" y="676"/>
                  </a:lnTo>
                  <a:lnTo>
                    <a:pt x="570" y="674"/>
                  </a:lnTo>
                  <a:lnTo>
                    <a:pt x="568" y="674"/>
                  </a:lnTo>
                  <a:lnTo>
                    <a:pt x="566" y="674"/>
                  </a:lnTo>
                  <a:lnTo>
                    <a:pt x="566" y="672"/>
                  </a:lnTo>
                  <a:lnTo>
                    <a:pt x="565" y="672"/>
                  </a:lnTo>
                  <a:lnTo>
                    <a:pt x="563" y="672"/>
                  </a:lnTo>
                  <a:lnTo>
                    <a:pt x="563" y="670"/>
                  </a:lnTo>
                  <a:lnTo>
                    <a:pt x="561" y="670"/>
                  </a:lnTo>
                  <a:lnTo>
                    <a:pt x="559" y="670"/>
                  </a:lnTo>
                  <a:lnTo>
                    <a:pt x="557" y="670"/>
                  </a:lnTo>
                  <a:lnTo>
                    <a:pt x="555" y="670"/>
                  </a:lnTo>
                  <a:lnTo>
                    <a:pt x="555" y="668"/>
                  </a:lnTo>
                  <a:lnTo>
                    <a:pt x="555" y="670"/>
                  </a:lnTo>
                  <a:lnTo>
                    <a:pt x="555" y="668"/>
                  </a:lnTo>
                  <a:lnTo>
                    <a:pt x="553" y="670"/>
                  </a:lnTo>
                  <a:lnTo>
                    <a:pt x="553" y="668"/>
                  </a:lnTo>
                  <a:lnTo>
                    <a:pt x="551" y="668"/>
                  </a:lnTo>
                  <a:lnTo>
                    <a:pt x="549" y="668"/>
                  </a:lnTo>
                  <a:lnTo>
                    <a:pt x="547" y="668"/>
                  </a:lnTo>
                  <a:lnTo>
                    <a:pt x="545" y="668"/>
                  </a:lnTo>
                  <a:lnTo>
                    <a:pt x="545" y="666"/>
                  </a:lnTo>
                  <a:lnTo>
                    <a:pt x="545" y="668"/>
                  </a:lnTo>
                  <a:lnTo>
                    <a:pt x="545" y="666"/>
                  </a:lnTo>
                  <a:lnTo>
                    <a:pt x="543" y="666"/>
                  </a:lnTo>
                  <a:lnTo>
                    <a:pt x="543" y="668"/>
                  </a:lnTo>
                  <a:lnTo>
                    <a:pt x="543" y="666"/>
                  </a:lnTo>
                  <a:lnTo>
                    <a:pt x="542" y="666"/>
                  </a:lnTo>
                  <a:lnTo>
                    <a:pt x="543" y="666"/>
                  </a:lnTo>
                  <a:lnTo>
                    <a:pt x="542" y="666"/>
                  </a:lnTo>
                  <a:lnTo>
                    <a:pt x="542" y="668"/>
                  </a:lnTo>
                  <a:lnTo>
                    <a:pt x="542" y="666"/>
                  </a:lnTo>
                  <a:lnTo>
                    <a:pt x="542" y="668"/>
                  </a:lnTo>
                  <a:lnTo>
                    <a:pt x="542" y="666"/>
                  </a:lnTo>
                  <a:lnTo>
                    <a:pt x="540" y="666"/>
                  </a:lnTo>
                  <a:lnTo>
                    <a:pt x="538" y="666"/>
                  </a:lnTo>
                  <a:lnTo>
                    <a:pt x="538" y="668"/>
                  </a:lnTo>
                  <a:lnTo>
                    <a:pt x="536" y="668"/>
                  </a:lnTo>
                  <a:lnTo>
                    <a:pt x="536" y="666"/>
                  </a:lnTo>
                  <a:lnTo>
                    <a:pt x="536" y="668"/>
                  </a:lnTo>
                  <a:lnTo>
                    <a:pt x="536" y="666"/>
                  </a:lnTo>
                  <a:lnTo>
                    <a:pt x="536" y="668"/>
                  </a:lnTo>
                  <a:lnTo>
                    <a:pt x="536" y="666"/>
                  </a:lnTo>
                  <a:lnTo>
                    <a:pt x="536" y="668"/>
                  </a:lnTo>
                  <a:lnTo>
                    <a:pt x="534" y="668"/>
                  </a:lnTo>
                  <a:lnTo>
                    <a:pt x="534" y="666"/>
                  </a:lnTo>
                  <a:lnTo>
                    <a:pt x="532" y="666"/>
                  </a:lnTo>
                  <a:lnTo>
                    <a:pt x="534" y="666"/>
                  </a:lnTo>
                  <a:lnTo>
                    <a:pt x="534" y="664"/>
                  </a:lnTo>
                  <a:lnTo>
                    <a:pt x="532" y="664"/>
                  </a:lnTo>
                  <a:lnTo>
                    <a:pt x="532" y="666"/>
                  </a:lnTo>
                  <a:lnTo>
                    <a:pt x="530" y="666"/>
                  </a:lnTo>
                  <a:lnTo>
                    <a:pt x="530" y="664"/>
                  </a:lnTo>
                  <a:lnTo>
                    <a:pt x="530" y="666"/>
                  </a:lnTo>
                  <a:lnTo>
                    <a:pt x="530" y="664"/>
                  </a:lnTo>
                  <a:lnTo>
                    <a:pt x="528" y="664"/>
                  </a:lnTo>
                  <a:lnTo>
                    <a:pt x="528" y="666"/>
                  </a:lnTo>
                  <a:lnTo>
                    <a:pt x="528" y="664"/>
                  </a:lnTo>
                  <a:lnTo>
                    <a:pt x="528" y="666"/>
                  </a:lnTo>
                  <a:lnTo>
                    <a:pt x="528" y="664"/>
                  </a:lnTo>
                  <a:lnTo>
                    <a:pt x="526" y="664"/>
                  </a:lnTo>
                  <a:lnTo>
                    <a:pt x="524" y="664"/>
                  </a:lnTo>
                  <a:lnTo>
                    <a:pt x="522" y="664"/>
                  </a:lnTo>
                  <a:lnTo>
                    <a:pt x="520" y="664"/>
                  </a:lnTo>
                  <a:lnTo>
                    <a:pt x="520" y="662"/>
                  </a:lnTo>
                  <a:lnTo>
                    <a:pt x="520" y="660"/>
                  </a:lnTo>
                  <a:lnTo>
                    <a:pt x="520" y="659"/>
                  </a:lnTo>
                  <a:lnTo>
                    <a:pt x="522" y="659"/>
                  </a:lnTo>
                  <a:lnTo>
                    <a:pt x="524" y="659"/>
                  </a:lnTo>
                  <a:lnTo>
                    <a:pt x="524" y="660"/>
                  </a:lnTo>
                  <a:lnTo>
                    <a:pt x="526" y="660"/>
                  </a:lnTo>
                  <a:lnTo>
                    <a:pt x="526" y="659"/>
                  </a:lnTo>
                  <a:lnTo>
                    <a:pt x="528" y="659"/>
                  </a:lnTo>
                  <a:lnTo>
                    <a:pt x="530" y="659"/>
                  </a:lnTo>
                  <a:lnTo>
                    <a:pt x="530" y="660"/>
                  </a:lnTo>
                  <a:lnTo>
                    <a:pt x="530" y="659"/>
                  </a:lnTo>
                  <a:lnTo>
                    <a:pt x="532" y="659"/>
                  </a:lnTo>
                  <a:lnTo>
                    <a:pt x="532" y="657"/>
                  </a:lnTo>
                  <a:lnTo>
                    <a:pt x="534" y="657"/>
                  </a:lnTo>
                  <a:lnTo>
                    <a:pt x="536" y="657"/>
                  </a:lnTo>
                  <a:lnTo>
                    <a:pt x="536" y="655"/>
                  </a:lnTo>
                  <a:lnTo>
                    <a:pt x="538" y="655"/>
                  </a:lnTo>
                  <a:lnTo>
                    <a:pt x="538" y="657"/>
                  </a:lnTo>
                  <a:lnTo>
                    <a:pt x="538" y="659"/>
                  </a:lnTo>
                  <a:lnTo>
                    <a:pt x="538" y="660"/>
                  </a:lnTo>
                  <a:lnTo>
                    <a:pt x="540" y="660"/>
                  </a:lnTo>
                  <a:lnTo>
                    <a:pt x="542" y="662"/>
                  </a:lnTo>
                  <a:lnTo>
                    <a:pt x="542" y="664"/>
                  </a:lnTo>
                  <a:lnTo>
                    <a:pt x="543" y="664"/>
                  </a:lnTo>
                  <a:lnTo>
                    <a:pt x="543" y="662"/>
                  </a:lnTo>
                  <a:lnTo>
                    <a:pt x="545" y="662"/>
                  </a:lnTo>
                  <a:lnTo>
                    <a:pt x="545" y="664"/>
                  </a:lnTo>
                  <a:lnTo>
                    <a:pt x="547" y="664"/>
                  </a:lnTo>
                  <a:lnTo>
                    <a:pt x="547" y="662"/>
                  </a:lnTo>
                  <a:lnTo>
                    <a:pt x="549" y="662"/>
                  </a:lnTo>
                  <a:lnTo>
                    <a:pt x="549" y="664"/>
                  </a:lnTo>
                  <a:lnTo>
                    <a:pt x="551" y="664"/>
                  </a:lnTo>
                  <a:lnTo>
                    <a:pt x="551" y="662"/>
                  </a:lnTo>
                  <a:lnTo>
                    <a:pt x="551" y="664"/>
                  </a:lnTo>
                  <a:lnTo>
                    <a:pt x="551" y="666"/>
                  </a:lnTo>
                  <a:lnTo>
                    <a:pt x="553" y="664"/>
                  </a:lnTo>
                  <a:lnTo>
                    <a:pt x="553" y="662"/>
                  </a:lnTo>
                  <a:lnTo>
                    <a:pt x="553" y="660"/>
                  </a:lnTo>
                  <a:lnTo>
                    <a:pt x="551" y="660"/>
                  </a:lnTo>
                  <a:lnTo>
                    <a:pt x="551" y="662"/>
                  </a:lnTo>
                  <a:lnTo>
                    <a:pt x="551" y="660"/>
                  </a:lnTo>
                  <a:lnTo>
                    <a:pt x="549" y="660"/>
                  </a:lnTo>
                  <a:lnTo>
                    <a:pt x="547" y="660"/>
                  </a:lnTo>
                  <a:lnTo>
                    <a:pt x="549" y="659"/>
                  </a:lnTo>
                  <a:lnTo>
                    <a:pt x="551" y="659"/>
                  </a:lnTo>
                  <a:lnTo>
                    <a:pt x="551" y="657"/>
                  </a:lnTo>
                  <a:lnTo>
                    <a:pt x="551" y="655"/>
                  </a:lnTo>
                  <a:lnTo>
                    <a:pt x="553" y="655"/>
                  </a:lnTo>
                  <a:lnTo>
                    <a:pt x="553" y="657"/>
                  </a:lnTo>
                  <a:lnTo>
                    <a:pt x="555" y="657"/>
                  </a:lnTo>
                  <a:lnTo>
                    <a:pt x="555" y="655"/>
                  </a:lnTo>
                  <a:lnTo>
                    <a:pt x="555" y="653"/>
                  </a:lnTo>
                  <a:lnTo>
                    <a:pt x="555" y="655"/>
                  </a:lnTo>
                  <a:lnTo>
                    <a:pt x="555" y="653"/>
                  </a:lnTo>
                  <a:lnTo>
                    <a:pt x="555" y="655"/>
                  </a:lnTo>
                  <a:lnTo>
                    <a:pt x="555" y="653"/>
                  </a:lnTo>
                  <a:lnTo>
                    <a:pt x="557" y="653"/>
                  </a:lnTo>
                  <a:lnTo>
                    <a:pt x="559" y="653"/>
                  </a:lnTo>
                  <a:lnTo>
                    <a:pt x="559" y="651"/>
                  </a:lnTo>
                  <a:lnTo>
                    <a:pt x="561" y="651"/>
                  </a:lnTo>
                  <a:lnTo>
                    <a:pt x="561" y="653"/>
                  </a:lnTo>
                  <a:lnTo>
                    <a:pt x="561" y="655"/>
                  </a:lnTo>
                  <a:lnTo>
                    <a:pt x="563" y="655"/>
                  </a:lnTo>
                  <a:lnTo>
                    <a:pt x="563" y="657"/>
                  </a:lnTo>
                  <a:lnTo>
                    <a:pt x="563" y="655"/>
                  </a:lnTo>
                  <a:lnTo>
                    <a:pt x="563" y="653"/>
                  </a:lnTo>
                  <a:lnTo>
                    <a:pt x="565" y="653"/>
                  </a:lnTo>
                  <a:lnTo>
                    <a:pt x="565" y="655"/>
                  </a:lnTo>
                  <a:lnTo>
                    <a:pt x="565" y="653"/>
                  </a:lnTo>
                  <a:lnTo>
                    <a:pt x="565" y="655"/>
                  </a:lnTo>
                  <a:lnTo>
                    <a:pt x="565" y="653"/>
                  </a:lnTo>
                  <a:lnTo>
                    <a:pt x="565" y="655"/>
                  </a:lnTo>
                  <a:lnTo>
                    <a:pt x="565" y="653"/>
                  </a:lnTo>
                  <a:lnTo>
                    <a:pt x="565" y="655"/>
                  </a:lnTo>
                  <a:lnTo>
                    <a:pt x="565" y="657"/>
                  </a:lnTo>
                  <a:lnTo>
                    <a:pt x="566" y="657"/>
                  </a:lnTo>
                  <a:lnTo>
                    <a:pt x="566" y="659"/>
                  </a:lnTo>
                  <a:lnTo>
                    <a:pt x="568" y="659"/>
                  </a:lnTo>
                  <a:lnTo>
                    <a:pt x="568" y="660"/>
                  </a:lnTo>
                  <a:lnTo>
                    <a:pt x="568" y="659"/>
                  </a:lnTo>
                  <a:lnTo>
                    <a:pt x="568" y="657"/>
                  </a:lnTo>
                  <a:lnTo>
                    <a:pt x="568" y="655"/>
                  </a:lnTo>
                  <a:lnTo>
                    <a:pt x="568" y="657"/>
                  </a:lnTo>
                  <a:lnTo>
                    <a:pt x="568" y="655"/>
                  </a:lnTo>
                  <a:lnTo>
                    <a:pt x="570" y="655"/>
                  </a:lnTo>
                  <a:lnTo>
                    <a:pt x="570" y="653"/>
                  </a:lnTo>
                  <a:lnTo>
                    <a:pt x="572" y="653"/>
                  </a:lnTo>
                  <a:lnTo>
                    <a:pt x="572" y="651"/>
                  </a:lnTo>
                  <a:lnTo>
                    <a:pt x="570" y="651"/>
                  </a:lnTo>
                  <a:lnTo>
                    <a:pt x="572" y="651"/>
                  </a:lnTo>
                  <a:lnTo>
                    <a:pt x="574" y="651"/>
                  </a:lnTo>
                  <a:lnTo>
                    <a:pt x="574" y="649"/>
                  </a:lnTo>
                  <a:lnTo>
                    <a:pt x="576" y="649"/>
                  </a:lnTo>
                  <a:lnTo>
                    <a:pt x="574" y="649"/>
                  </a:lnTo>
                  <a:lnTo>
                    <a:pt x="576" y="649"/>
                  </a:lnTo>
                  <a:close/>
                  <a:moveTo>
                    <a:pt x="816" y="720"/>
                  </a:moveTo>
                  <a:lnTo>
                    <a:pt x="816" y="722"/>
                  </a:lnTo>
                  <a:lnTo>
                    <a:pt x="816" y="724"/>
                  </a:lnTo>
                  <a:lnTo>
                    <a:pt x="816" y="726"/>
                  </a:lnTo>
                  <a:lnTo>
                    <a:pt x="816" y="728"/>
                  </a:lnTo>
                  <a:lnTo>
                    <a:pt x="814" y="728"/>
                  </a:lnTo>
                  <a:lnTo>
                    <a:pt x="814" y="730"/>
                  </a:lnTo>
                  <a:lnTo>
                    <a:pt x="814" y="731"/>
                  </a:lnTo>
                  <a:lnTo>
                    <a:pt x="814" y="730"/>
                  </a:lnTo>
                  <a:lnTo>
                    <a:pt x="814" y="731"/>
                  </a:lnTo>
                  <a:lnTo>
                    <a:pt x="814" y="730"/>
                  </a:lnTo>
                  <a:lnTo>
                    <a:pt x="816" y="730"/>
                  </a:lnTo>
                  <a:lnTo>
                    <a:pt x="814" y="730"/>
                  </a:lnTo>
                  <a:lnTo>
                    <a:pt x="816" y="730"/>
                  </a:lnTo>
                  <a:lnTo>
                    <a:pt x="814" y="730"/>
                  </a:lnTo>
                  <a:lnTo>
                    <a:pt x="816" y="730"/>
                  </a:lnTo>
                  <a:lnTo>
                    <a:pt x="816" y="728"/>
                  </a:lnTo>
                  <a:lnTo>
                    <a:pt x="818" y="728"/>
                  </a:lnTo>
                  <a:lnTo>
                    <a:pt x="820" y="728"/>
                  </a:lnTo>
                  <a:lnTo>
                    <a:pt x="822" y="728"/>
                  </a:lnTo>
                  <a:lnTo>
                    <a:pt x="822" y="726"/>
                  </a:lnTo>
                  <a:lnTo>
                    <a:pt x="824" y="726"/>
                  </a:lnTo>
                  <a:lnTo>
                    <a:pt x="824" y="724"/>
                  </a:lnTo>
                  <a:lnTo>
                    <a:pt x="826" y="724"/>
                  </a:lnTo>
                  <a:lnTo>
                    <a:pt x="826" y="722"/>
                  </a:lnTo>
                  <a:lnTo>
                    <a:pt x="824" y="722"/>
                  </a:lnTo>
                  <a:lnTo>
                    <a:pt x="826" y="722"/>
                  </a:lnTo>
                  <a:lnTo>
                    <a:pt x="826" y="724"/>
                  </a:lnTo>
                  <a:lnTo>
                    <a:pt x="826" y="722"/>
                  </a:lnTo>
                  <a:lnTo>
                    <a:pt x="828" y="722"/>
                  </a:lnTo>
                  <a:lnTo>
                    <a:pt x="826" y="724"/>
                  </a:lnTo>
                  <a:lnTo>
                    <a:pt x="826" y="726"/>
                  </a:lnTo>
                  <a:lnTo>
                    <a:pt x="824" y="726"/>
                  </a:lnTo>
                  <a:lnTo>
                    <a:pt x="826" y="726"/>
                  </a:lnTo>
                  <a:lnTo>
                    <a:pt x="824" y="726"/>
                  </a:lnTo>
                  <a:lnTo>
                    <a:pt x="826" y="726"/>
                  </a:lnTo>
                  <a:lnTo>
                    <a:pt x="826" y="728"/>
                  </a:lnTo>
                  <a:lnTo>
                    <a:pt x="824" y="728"/>
                  </a:lnTo>
                  <a:lnTo>
                    <a:pt x="822" y="728"/>
                  </a:lnTo>
                  <a:lnTo>
                    <a:pt x="822" y="730"/>
                  </a:lnTo>
                  <a:lnTo>
                    <a:pt x="820" y="730"/>
                  </a:lnTo>
                  <a:lnTo>
                    <a:pt x="820" y="731"/>
                  </a:lnTo>
                  <a:lnTo>
                    <a:pt x="822" y="731"/>
                  </a:lnTo>
                  <a:lnTo>
                    <a:pt x="820" y="731"/>
                  </a:lnTo>
                  <a:lnTo>
                    <a:pt x="820" y="733"/>
                  </a:lnTo>
                  <a:lnTo>
                    <a:pt x="818" y="733"/>
                  </a:lnTo>
                  <a:lnTo>
                    <a:pt x="818" y="735"/>
                  </a:lnTo>
                  <a:lnTo>
                    <a:pt x="820" y="733"/>
                  </a:lnTo>
                  <a:lnTo>
                    <a:pt x="820" y="735"/>
                  </a:lnTo>
                  <a:lnTo>
                    <a:pt x="820" y="737"/>
                  </a:lnTo>
                  <a:lnTo>
                    <a:pt x="820" y="735"/>
                  </a:lnTo>
                  <a:lnTo>
                    <a:pt x="822" y="735"/>
                  </a:lnTo>
                  <a:lnTo>
                    <a:pt x="822" y="733"/>
                  </a:lnTo>
                  <a:lnTo>
                    <a:pt x="824" y="733"/>
                  </a:lnTo>
                  <a:lnTo>
                    <a:pt x="826" y="733"/>
                  </a:lnTo>
                  <a:lnTo>
                    <a:pt x="828" y="733"/>
                  </a:lnTo>
                  <a:lnTo>
                    <a:pt x="828" y="731"/>
                  </a:lnTo>
                  <a:lnTo>
                    <a:pt x="828" y="733"/>
                  </a:lnTo>
                  <a:lnTo>
                    <a:pt x="826" y="733"/>
                  </a:lnTo>
                  <a:lnTo>
                    <a:pt x="826" y="735"/>
                  </a:lnTo>
                  <a:lnTo>
                    <a:pt x="826" y="733"/>
                  </a:lnTo>
                  <a:lnTo>
                    <a:pt x="826" y="735"/>
                  </a:lnTo>
                  <a:lnTo>
                    <a:pt x="824" y="735"/>
                  </a:lnTo>
                  <a:lnTo>
                    <a:pt x="824" y="737"/>
                  </a:lnTo>
                  <a:lnTo>
                    <a:pt x="822" y="737"/>
                  </a:lnTo>
                  <a:lnTo>
                    <a:pt x="820" y="737"/>
                  </a:lnTo>
                  <a:lnTo>
                    <a:pt x="820" y="739"/>
                  </a:lnTo>
                  <a:lnTo>
                    <a:pt x="818" y="739"/>
                  </a:lnTo>
                  <a:lnTo>
                    <a:pt x="820" y="739"/>
                  </a:lnTo>
                  <a:lnTo>
                    <a:pt x="818" y="739"/>
                  </a:lnTo>
                  <a:lnTo>
                    <a:pt x="820" y="739"/>
                  </a:lnTo>
                  <a:lnTo>
                    <a:pt x="818" y="739"/>
                  </a:lnTo>
                  <a:lnTo>
                    <a:pt x="820" y="739"/>
                  </a:lnTo>
                  <a:lnTo>
                    <a:pt x="818" y="739"/>
                  </a:lnTo>
                  <a:lnTo>
                    <a:pt x="818" y="741"/>
                  </a:lnTo>
                  <a:lnTo>
                    <a:pt x="816" y="741"/>
                  </a:lnTo>
                  <a:lnTo>
                    <a:pt x="814" y="741"/>
                  </a:lnTo>
                  <a:lnTo>
                    <a:pt x="812" y="741"/>
                  </a:lnTo>
                  <a:lnTo>
                    <a:pt x="812" y="739"/>
                  </a:lnTo>
                  <a:lnTo>
                    <a:pt x="810" y="739"/>
                  </a:lnTo>
                  <a:lnTo>
                    <a:pt x="808" y="739"/>
                  </a:lnTo>
                  <a:lnTo>
                    <a:pt x="808" y="737"/>
                  </a:lnTo>
                  <a:lnTo>
                    <a:pt x="807" y="737"/>
                  </a:lnTo>
                  <a:lnTo>
                    <a:pt x="808" y="737"/>
                  </a:lnTo>
                  <a:lnTo>
                    <a:pt x="808" y="739"/>
                  </a:lnTo>
                  <a:lnTo>
                    <a:pt x="810" y="739"/>
                  </a:lnTo>
                  <a:lnTo>
                    <a:pt x="810" y="737"/>
                  </a:lnTo>
                  <a:lnTo>
                    <a:pt x="810" y="735"/>
                  </a:lnTo>
                  <a:lnTo>
                    <a:pt x="808" y="735"/>
                  </a:lnTo>
                  <a:lnTo>
                    <a:pt x="808" y="737"/>
                  </a:lnTo>
                  <a:lnTo>
                    <a:pt x="808" y="735"/>
                  </a:lnTo>
                  <a:lnTo>
                    <a:pt x="810" y="735"/>
                  </a:lnTo>
                  <a:lnTo>
                    <a:pt x="808" y="735"/>
                  </a:lnTo>
                  <a:lnTo>
                    <a:pt x="808" y="737"/>
                  </a:lnTo>
                  <a:lnTo>
                    <a:pt x="808" y="735"/>
                  </a:lnTo>
                  <a:lnTo>
                    <a:pt x="807" y="735"/>
                  </a:lnTo>
                  <a:lnTo>
                    <a:pt x="808" y="735"/>
                  </a:lnTo>
                  <a:lnTo>
                    <a:pt x="807" y="735"/>
                  </a:lnTo>
                  <a:lnTo>
                    <a:pt x="807" y="737"/>
                  </a:lnTo>
                  <a:lnTo>
                    <a:pt x="805" y="737"/>
                  </a:lnTo>
                  <a:lnTo>
                    <a:pt x="805" y="739"/>
                  </a:lnTo>
                  <a:lnTo>
                    <a:pt x="803" y="739"/>
                  </a:lnTo>
                  <a:lnTo>
                    <a:pt x="801" y="739"/>
                  </a:lnTo>
                  <a:lnTo>
                    <a:pt x="799" y="739"/>
                  </a:lnTo>
                  <a:lnTo>
                    <a:pt x="799" y="737"/>
                  </a:lnTo>
                  <a:lnTo>
                    <a:pt x="799" y="739"/>
                  </a:lnTo>
                  <a:lnTo>
                    <a:pt x="797" y="739"/>
                  </a:lnTo>
                  <a:lnTo>
                    <a:pt x="797" y="737"/>
                  </a:lnTo>
                  <a:lnTo>
                    <a:pt x="797" y="739"/>
                  </a:lnTo>
                  <a:lnTo>
                    <a:pt x="797" y="737"/>
                  </a:lnTo>
                  <a:lnTo>
                    <a:pt x="795" y="737"/>
                  </a:lnTo>
                  <a:lnTo>
                    <a:pt x="793" y="737"/>
                  </a:lnTo>
                  <a:lnTo>
                    <a:pt x="793" y="735"/>
                  </a:lnTo>
                  <a:lnTo>
                    <a:pt x="793" y="737"/>
                  </a:lnTo>
                  <a:lnTo>
                    <a:pt x="795" y="737"/>
                  </a:lnTo>
                  <a:lnTo>
                    <a:pt x="797" y="737"/>
                  </a:lnTo>
                  <a:lnTo>
                    <a:pt x="797" y="735"/>
                  </a:lnTo>
                  <a:lnTo>
                    <a:pt x="795" y="735"/>
                  </a:lnTo>
                  <a:lnTo>
                    <a:pt x="793" y="735"/>
                  </a:lnTo>
                  <a:lnTo>
                    <a:pt x="795" y="735"/>
                  </a:lnTo>
                  <a:lnTo>
                    <a:pt x="793" y="735"/>
                  </a:lnTo>
                  <a:lnTo>
                    <a:pt x="795" y="735"/>
                  </a:lnTo>
                  <a:lnTo>
                    <a:pt x="793" y="735"/>
                  </a:lnTo>
                  <a:lnTo>
                    <a:pt x="793" y="733"/>
                  </a:lnTo>
                  <a:lnTo>
                    <a:pt x="793" y="735"/>
                  </a:lnTo>
                  <a:lnTo>
                    <a:pt x="791" y="735"/>
                  </a:lnTo>
                  <a:lnTo>
                    <a:pt x="791" y="737"/>
                  </a:lnTo>
                  <a:lnTo>
                    <a:pt x="789" y="737"/>
                  </a:lnTo>
                  <a:lnTo>
                    <a:pt x="791" y="737"/>
                  </a:lnTo>
                  <a:lnTo>
                    <a:pt x="789" y="737"/>
                  </a:lnTo>
                  <a:lnTo>
                    <a:pt x="789" y="735"/>
                  </a:lnTo>
                  <a:lnTo>
                    <a:pt x="789" y="737"/>
                  </a:lnTo>
                  <a:lnTo>
                    <a:pt x="789" y="735"/>
                  </a:lnTo>
                  <a:lnTo>
                    <a:pt x="791" y="735"/>
                  </a:lnTo>
                  <a:lnTo>
                    <a:pt x="791" y="733"/>
                  </a:lnTo>
                  <a:lnTo>
                    <a:pt x="793" y="733"/>
                  </a:lnTo>
                  <a:lnTo>
                    <a:pt x="795" y="733"/>
                  </a:lnTo>
                  <a:lnTo>
                    <a:pt x="795" y="731"/>
                  </a:lnTo>
                  <a:lnTo>
                    <a:pt x="797" y="731"/>
                  </a:lnTo>
                  <a:lnTo>
                    <a:pt x="797" y="730"/>
                  </a:lnTo>
                  <a:lnTo>
                    <a:pt x="797" y="728"/>
                  </a:lnTo>
                  <a:lnTo>
                    <a:pt x="797" y="730"/>
                  </a:lnTo>
                  <a:lnTo>
                    <a:pt x="797" y="728"/>
                  </a:lnTo>
                  <a:lnTo>
                    <a:pt x="799" y="728"/>
                  </a:lnTo>
                  <a:lnTo>
                    <a:pt x="801" y="728"/>
                  </a:lnTo>
                  <a:lnTo>
                    <a:pt x="801" y="726"/>
                  </a:lnTo>
                  <a:lnTo>
                    <a:pt x="801" y="728"/>
                  </a:lnTo>
                  <a:lnTo>
                    <a:pt x="801" y="726"/>
                  </a:lnTo>
                  <a:lnTo>
                    <a:pt x="803" y="726"/>
                  </a:lnTo>
                  <a:lnTo>
                    <a:pt x="805" y="726"/>
                  </a:lnTo>
                  <a:lnTo>
                    <a:pt x="805" y="724"/>
                  </a:lnTo>
                  <a:lnTo>
                    <a:pt x="805" y="726"/>
                  </a:lnTo>
                  <a:lnTo>
                    <a:pt x="805" y="724"/>
                  </a:lnTo>
                  <a:lnTo>
                    <a:pt x="807" y="724"/>
                  </a:lnTo>
                  <a:lnTo>
                    <a:pt x="805" y="724"/>
                  </a:lnTo>
                  <a:lnTo>
                    <a:pt x="805" y="726"/>
                  </a:lnTo>
                  <a:lnTo>
                    <a:pt x="805" y="728"/>
                  </a:lnTo>
                  <a:lnTo>
                    <a:pt x="803" y="728"/>
                  </a:lnTo>
                  <a:lnTo>
                    <a:pt x="805" y="728"/>
                  </a:lnTo>
                  <a:lnTo>
                    <a:pt x="803" y="728"/>
                  </a:lnTo>
                  <a:lnTo>
                    <a:pt x="801" y="728"/>
                  </a:lnTo>
                  <a:lnTo>
                    <a:pt x="803" y="728"/>
                  </a:lnTo>
                  <a:lnTo>
                    <a:pt x="805" y="728"/>
                  </a:lnTo>
                  <a:lnTo>
                    <a:pt x="805" y="726"/>
                  </a:lnTo>
                  <a:lnTo>
                    <a:pt x="805" y="728"/>
                  </a:lnTo>
                  <a:lnTo>
                    <a:pt x="807" y="728"/>
                  </a:lnTo>
                  <a:lnTo>
                    <a:pt x="805" y="728"/>
                  </a:lnTo>
                  <a:lnTo>
                    <a:pt x="807" y="728"/>
                  </a:lnTo>
                  <a:lnTo>
                    <a:pt x="807" y="730"/>
                  </a:lnTo>
                  <a:lnTo>
                    <a:pt x="807" y="728"/>
                  </a:lnTo>
                  <a:lnTo>
                    <a:pt x="808" y="728"/>
                  </a:lnTo>
                  <a:lnTo>
                    <a:pt x="808" y="726"/>
                  </a:lnTo>
                  <a:lnTo>
                    <a:pt x="808" y="728"/>
                  </a:lnTo>
                  <a:lnTo>
                    <a:pt x="808" y="726"/>
                  </a:lnTo>
                  <a:lnTo>
                    <a:pt x="808" y="728"/>
                  </a:lnTo>
                  <a:lnTo>
                    <a:pt x="808" y="726"/>
                  </a:lnTo>
                  <a:lnTo>
                    <a:pt x="808" y="728"/>
                  </a:lnTo>
                  <a:lnTo>
                    <a:pt x="808" y="726"/>
                  </a:lnTo>
                  <a:lnTo>
                    <a:pt x="808" y="728"/>
                  </a:lnTo>
                  <a:lnTo>
                    <a:pt x="807" y="728"/>
                  </a:lnTo>
                  <a:lnTo>
                    <a:pt x="807" y="726"/>
                  </a:lnTo>
                  <a:lnTo>
                    <a:pt x="808" y="726"/>
                  </a:lnTo>
                  <a:lnTo>
                    <a:pt x="808" y="724"/>
                  </a:lnTo>
                  <a:lnTo>
                    <a:pt x="810" y="724"/>
                  </a:lnTo>
                  <a:lnTo>
                    <a:pt x="810" y="726"/>
                  </a:lnTo>
                  <a:lnTo>
                    <a:pt x="810" y="724"/>
                  </a:lnTo>
                  <a:lnTo>
                    <a:pt x="810" y="722"/>
                  </a:lnTo>
                  <a:lnTo>
                    <a:pt x="812" y="722"/>
                  </a:lnTo>
                  <a:lnTo>
                    <a:pt x="814" y="722"/>
                  </a:lnTo>
                  <a:lnTo>
                    <a:pt x="814" y="720"/>
                  </a:lnTo>
                  <a:lnTo>
                    <a:pt x="816" y="720"/>
                  </a:lnTo>
                  <a:close/>
                  <a:moveTo>
                    <a:pt x="484" y="641"/>
                  </a:moveTo>
                  <a:lnTo>
                    <a:pt x="486" y="641"/>
                  </a:lnTo>
                  <a:lnTo>
                    <a:pt x="484" y="641"/>
                  </a:lnTo>
                  <a:lnTo>
                    <a:pt x="484" y="643"/>
                  </a:lnTo>
                  <a:lnTo>
                    <a:pt x="484" y="641"/>
                  </a:lnTo>
                  <a:lnTo>
                    <a:pt x="484" y="643"/>
                  </a:lnTo>
                  <a:lnTo>
                    <a:pt x="484" y="641"/>
                  </a:lnTo>
                  <a:lnTo>
                    <a:pt x="484" y="643"/>
                  </a:lnTo>
                  <a:lnTo>
                    <a:pt x="486" y="643"/>
                  </a:lnTo>
                  <a:lnTo>
                    <a:pt x="484" y="643"/>
                  </a:lnTo>
                  <a:lnTo>
                    <a:pt x="486" y="643"/>
                  </a:lnTo>
                  <a:lnTo>
                    <a:pt x="486" y="641"/>
                  </a:lnTo>
                  <a:lnTo>
                    <a:pt x="486" y="643"/>
                  </a:lnTo>
                  <a:lnTo>
                    <a:pt x="488" y="643"/>
                  </a:lnTo>
                  <a:lnTo>
                    <a:pt x="490" y="643"/>
                  </a:lnTo>
                  <a:lnTo>
                    <a:pt x="490" y="645"/>
                  </a:lnTo>
                  <a:lnTo>
                    <a:pt x="492" y="645"/>
                  </a:lnTo>
                  <a:lnTo>
                    <a:pt x="494" y="645"/>
                  </a:lnTo>
                  <a:lnTo>
                    <a:pt x="494" y="647"/>
                  </a:lnTo>
                  <a:lnTo>
                    <a:pt x="492" y="647"/>
                  </a:lnTo>
                  <a:lnTo>
                    <a:pt x="494" y="647"/>
                  </a:lnTo>
                  <a:lnTo>
                    <a:pt x="494" y="649"/>
                  </a:lnTo>
                  <a:lnTo>
                    <a:pt x="492" y="649"/>
                  </a:lnTo>
                  <a:lnTo>
                    <a:pt x="492" y="651"/>
                  </a:lnTo>
                  <a:lnTo>
                    <a:pt x="490" y="651"/>
                  </a:lnTo>
                  <a:lnTo>
                    <a:pt x="488" y="651"/>
                  </a:lnTo>
                  <a:lnTo>
                    <a:pt x="490" y="651"/>
                  </a:lnTo>
                  <a:lnTo>
                    <a:pt x="490" y="653"/>
                  </a:lnTo>
                  <a:lnTo>
                    <a:pt x="490" y="655"/>
                  </a:lnTo>
                  <a:lnTo>
                    <a:pt x="490" y="653"/>
                  </a:lnTo>
                  <a:lnTo>
                    <a:pt x="490" y="655"/>
                  </a:lnTo>
                  <a:lnTo>
                    <a:pt x="488" y="655"/>
                  </a:lnTo>
                  <a:lnTo>
                    <a:pt x="488" y="657"/>
                  </a:lnTo>
                  <a:lnTo>
                    <a:pt x="486" y="657"/>
                  </a:lnTo>
                  <a:lnTo>
                    <a:pt x="486" y="655"/>
                  </a:lnTo>
                  <a:lnTo>
                    <a:pt x="486" y="653"/>
                  </a:lnTo>
                  <a:lnTo>
                    <a:pt x="484" y="653"/>
                  </a:lnTo>
                  <a:lnTo>
                    <a:pt x="486" y="653"/>
                  </a:lnTo>
                  <a:lnTo>
                    <a:pt x="484" y="653"/>
                  </a:lnTo>
                  <a:lnTo>
                    <a:pt x="484" y="651"/>
                  </a:lnTo>
                  <a:lnTo>
                    <a:pt x="482" y="651"/>
                  </a:lnTo>
                  <a:lnTo>
                    <a:pt x="482" y="649"/>
                  </a:lnTo>
                  <a:lnTo>
                    <a:pt x="480" y="649"/>
                  </a:lnTo>
                  <a:lnTo>
                    <a:pt x="480" y="647"/>
                  </a:lnTo>
                  <a:lnTo>
                    <a:pt x="478" y="647"/>
                  </a:lnTo>
                  <a:lnTo>
                    <a:pt x="478" y="645"/>
                  </a:lnTo>
                  <a:lnTo>
                    <a:pt x="478" y="643"/>
                  </a:lnTo>
                  <a:lnTo>
                    <a:pt x="478" y="641"/>
                  </a:lnTo>
                  <a:lnTo>
                    <a:pt x="480" y="641"/>
                  </a:lnTo>
                  <a:lnTo>
                    <a:pt x="478" y="641"/>
                  </a:lnTo>
                  <a:lnTo>
                    <a:pt x="480" y="641"/>
                  </a:lnTo>
                  <a:lnTo>
                    <a:pt x="480" y="643"/>
                  </a:lnTo>
                  <a:lnTo>
                    <a:pt x="482" y="643"/>
                  </a:lnTo>
                  <a:lnTo>
                    <a:pt x="482" y="641"/>
                  </a:lnTo>
                  <a:lnTo>
                    <a:pt x="484" y="641"/>
                  </a:lnTo>
                  <a:close/>
                  <a:moveTo>
                    <a:pt x="19" y="449"/>
                  </a:moveTo>
                  <a:lnTo>
                    <a:pt x="21" y="449"/>
                  </a:lnTo>
                  <a:lnTo>
                    <a:pt x="23" y="449"/>
                  </a:lnTo>
                  <a:lnTo>
                    <a:pt x="25" y="449"/>
                  </a:lnTo>
                  <a:lnTo>
                    <a:pt x="23" y="449"/>
                  </a:lnTo>
                  <a:lnTo>
                    <a:pt x="25" y="449"/>
                  </a:lnTo>
                  <a:lnTo>
                    <a:pt x="23" y="449"/>
                  </a:lnTo>
                  <a:lnTo>
                    <a:pt x="25" y="449"/>
                  </a:lnTo>
                  <a:lnTo>
                    <a:pt x="23" y="449"/>
                  </a:lnTo>
                  <a:lnTo>
                    <a:pt x="25" y="449"/>
                  </a:lnTo>
                  <a:lnTo>
                    <a:pt x="23" y="449"/>
                  </a:lnTo>
                  <a:lnTo>
                    <a:pt x="25" y="449"/>
                  </a:lnTo>
                  <a:lnTo>
                    <a:pt x="23" y="449"/>
                  </a:lnTo>
                  <a:lnTo>
                    <a:pt x="23" y="451"/>
                  </a:lnTo>
                  <a:lnTo>
                    <a:pt x="23" y="453"/>
                  </a:lnTo>
                  <a:lnTo>
                    <a:pt x="21" y="453"/>
                  </a:lnTo>
                  <a:lnTo>
                    <a:pt x="23" y="453"/>
                  </a:lnTo>
                  <a:lnTo>
                    <a:pt x="23" y="455"/>
                  </a:lnTo>
                  <a:lnTo>
                    <a:pt x="21" y="455"/>
                  </a:lnTo>
                  <a:lnTo>
                    <a:pt x="21" y="453"/>
                  </a:lnTo>
                  <a:lnTo>
                    <a:pt x="21" y="455"/>
                  </a:lnTo>
                  <a:lnTo>
                    <a:pt x="19" y="455"/>
                  </a:lnTo>
                  <a:lnTo>
                    <a:pt x="17" y="457"/>
                  </a:lnTo>
                  <a:lnTo>
                    <a:pt x="17" y="455"/>
                  </a:lnTo>
                  <a:lnTo>
                    <a:pt x="17" y="457"/>
                  </a:lnTo>
                  <a:lnTo>
                    <a:pt x="15" y="457"/>
                  </a:lnTo>
                  <a:lnTo>
                    <a:pt x="15" y="459"/>
                  </a:lnTo>
                  <a:lnTo>
                    <a:pt x="15" y="457"/>
                  </a:lnTo>
                  <a:lnTo>
                    <a:pt x="13" y="457"/>
                  </a:lnTo>
                  <a:lnTo>
                    <a:pt x="12" y="457"/>
                  </a:lnTo>
                  <a:lnTo>
                    <a:pt x="13" y="457"/>
                  </a:lnTo>
                  <a:lnTo>
                    <a:pt x="13" y="459"/>
                  </a:lnTo>
                  <a:lnTo>
                    <a:pt x="13" y="457"/>
                  </a:lnTo>
                  <a:lnTo>
                    <a:pt x="15" y="457"/>
                  </a:lnTo>
                  <a:lnTo>
                    <a:pt x="15" y="459"/>
                  </a:lnTo>
                  <a:lnTo>
                    <a:pt x="15" y="457"/>
                  </a:lnTo>
                  <a:lnTo>
                    <a:pt x="13" y="457"/>
                  </a:lnTo>
                  <a:lnTo>
                    <a:pt x="13" y="459"/>
                  </a:lnTo>
                  <a:lnTo>
                    <a:pt x="13" y="457"/>
                  </a:lnTo>
                  <a:lnTo>
                    <a:pt x="13" y="459"/>
                  </a:lnTo>
                  <a:lnTo>
                    <a:pt x="13" y="457"/>
                  </a:lnTo>
                  <a:lnTo>
                    <a:pt x="13" y="459"/>
                  </a:lnTo>
                  <a:lnTo>
                    <a:pt x="15" y="459"/>
                  </a:lnTo>
                  <a:lnTo>
                    <a:pt x="13" y="459"/>
                  </a:lnTo>
                  <a:lnTo>
                    <a:pt x="15" y="459"/>
                  </a:lnTo>
                  <a:lnTo>
                    <a:pt x="13" y="459"/>
                  </a:lnTo>
                  <a:lnTo>
                    <a:pt x="15" y="459"/>
                  </a:lnTo>
                  <a:lnTo>
                    <a:pt x="13" y="459"/>
                  </a:lnTo>
                  <a:lnTo>
                    <a:pt x="13" y="461"/>
                  </a:lnTo>
                  <a:lnTo>
                    <a:pt x="12" y="461"/>
                  </a:lnTo>
                  <a:lnTo>
                    <a:pt x="13" y="461"/>
                  </a:lnTo>
                  <a:lnTo>
                    <a:pt x="12" y="461"/>
                  </a:lnTo>
                  <a:lnTo>
                    <a:pt x="13" y="461"/>
                  </a:lnTo>
                  <a:lnTo>
                    <a:pt x="13" y="459"/>
                  </a:lnTo>
                  <a:lnTo>
                    <a:pt x="12" y="459"/>
                  </a:lnTo>
                  <a:lnTo>
                    <a:pt x="13" y="459"/>
                  </a:lnTo>
                  <a:lnTo>
                    <a:pt x="12" y="461"/>
                  </a:lnTo>
                  <a:lnTo>
                    <a:pt x="12" y="459"/>
                  </a:lnTo>
                  <a:lnTo>
                    <a:pt x="12" y="461"/>
                  </a:lnTo>
                  <a:lnTo>
                    <a:pt x="10" y="461"/>
                  </a:lnTo>
                  <a:lnTo>
                    <a:pt x="10" y="463"/>
                  </a:lnTo>
                  <a:lnTo>
                    <a:pt x="12" y="463"/>
                  </a:lnTo>
                  <a:lnTo>
                    <a:pt x="10" y="463"/>
                  </a:lnTo>
                  <a:lnTo>
                    <a:pt x="12" y="463"/>
                  </a:lnTo>
                  <a:lnTo>
                    <a:pt x="10" y="463"/>
                  </a:lnTo>
                  <a:lnTo>
                    <a:pt x="12" y="463"/>
                  </a:lnTo>
                  <a:lnTo>
                    <a:pt x="10" y="463"/>
                  </a:lnTo>
                  <a:lnTo>
                    <a:pt x="12" y="463"/>
                  </a:lnTo>
                  <a:lnTo>
                    <a:pt x="12" y="465"/>
                  </a:lnTo>
                  <a:lnTo>
                    <a:pt x="10" y="465"/>
                  </a:lnTo>
                  <a:lnTo>
                    <a:pt x="12" y="465"/>
                  </a:lnTo>
                  <a:lnTo>
                    <a:pt x="10" y="465"/>
                  </a:lnTo>
                  <a:lnTo>
                    <a:pt x="8" y="465"/>
                  </a:lnTo>
                  <a:lnTo>
                    <a:pt x="10" y="465"/>
                  </a:lnTo>
                  <a:lnTo>
                    <a:pt x="8" y="465"/>
                  </a:lnTo>
                  <a:lnTo>
                    <a:pt x="8" y="467"/>
                  </a:lnTo>
                  <a:lnTo>
                    <a:pt x="6" y="467"/>
                  </a:lnTo>
                  <a:lnTo>
                    <a:pt x="6" y="465"/>
                  </a:lnTo>
                  <a:lnTo>
                    <a:pt x="4" y="465"/>
                  </a:lnTo>
                  <a:lnTo>
                    <a:pt x="4" y="467"/>
                  </a:lnTo>
                  <a:lnTo>
                    <a:pt x="2" y="467"/>
                  </a:lnTo>
                  <a:lnTo>
                    <a:pt x="2" y="465"/>
                  </a:lnTo>
                  <a:lnTo>
                    <a:pt x="0" y="465"/>
                  </a:lnTo>
                  <a:lnTo>
                    <a:pt x="2" y="465"/>
                  </a:lnTo>
                  <a:lnTo>
                    <a:pt x="2" y="463"/>
                  </a:lnTo>
                  <a:lnTo>
                    <a:pt x="2" y="461"/>
                  </a:lnTo>
                  <a:lnTo>
                    <a:pt x="4" y="461"/>
                  </a:lnTo>
                  <a:lnTo>
                    <a:pt x="4" y="459"/>
                  </a:lnTo>
                  <a:lnTo>
                    <a:pt x="4" y="461"/>
                  </a:lnTo>
                  <a:lnTo>
                    <a:pt x="6" y="461"/>
                  </a:lnTo>
                  <a:lnTo>
                    <a:pt x="6" y="459"/>
                  </a:lnTo>
                  <a:lnTo>
                    <a:pt x="8" y="459"/>
                  </a:lnTo>
                  <a:lnTo>
                    <a:pt x="10" y="459"/>
                  </a:lnTo>
                  <a:lnTo>
                    <a:pt x="8" y="459"/>
                  </a:lnTo>
                  <a:lnTo>
                    <a:pt x="10" y="459"/>
                  </a:lnTo>
                  <a:lnTo>
                    <a:pt x="10" y="457"/>
                  </a:lnTo>
                  <a:lnTo>
                    <a:pt x="10" y="455"/>
                  </a:lnTo>
                  <a:lnTo>
                    <a:pt x="10" y="457"/>
                  </a:lnTo>
                  <a:lnTo>
                    <a:pt x="10" y="455"/>
                  </a:lnTo>
                  <a:lnTo>
                    <a:pt x="12" y="455"/>
                  </a:lnTo>
                  <a:lnTo>
                    <a:pt x="12" y="457"/>
                  </a:lnTo>
                  <a:lnTo>
                    <a:pt x="10" y="457"/>
                  </a:lnTo>
                  <a:lnTo>
                    <a:pt x="12" y="457"/>
                  </a:lnTo>
                  <a:lnTo>
                    <a:pt x="12" y="455"/>
                  </a:lnTo>
                  <a:lnTo>
                    <a:pt x="12" y="457"/>
                  </a:lnTo>
                  <a:lnTo>
                    <a:pt x="12" y="455"/>
                  </a:lnTo>
                  <a:lnTo>
                    <a:pt x="13" y="455"/>
                  </a:lnTo>
                  <a:lnTo>
                    <a:pt x="13" y="457"/>
                  </a:lnTo>
                  <a:lnTo>
                    <a:pt x="13" y="455"/>
                  </a:lnTo>
                  <a:lnTo>
                    <a:pt x="15" y="455"/>
                  </a:lnTo>
                  <a:lnTo>
                    <a:pt x="13" y="455"/>
                  </a:lnTo>
                  <a:lnTo>
                    <a:pt x="12" y="455"/>
                  </a:lnTo>
                  <a:lnTo>
                    <a:pt x="13" y="455"/>
                  </a:lnTo>
                  <a:lnTo>
                    <a:pt x="13" y="453"/>
                  </a:lnTo>
                  <a:lnTo>
                    <a:pt x="15" y="453"/>
                  </a:lnTo>
                  <a:lnTo>
                    <a:pt x="15" y="451"/>
                  </a:lnTo>
                  <a:lnTo>
                    <a:pt x="15" y="453"/>
                  </a:lnTo>
                  <a:lnTo>
                    <a:pt x="17" y="453"/>
                  </a:lnTo>
                  <a:lnTo>
                    <a:pt x="15" y="453"/>
                  </a:lnTo>
                  <a:lnTo>
                    <a:pt x="17" y="453"/>
                  </a:lnTo>
                  <a:lnTo>
                    <a:pt x="17" y="451"/>
                  </a:lnTo>
                  <a:lnTo>
                    <a:pt x="15" y="451"/>
                  </a:lnTo>
                  <a:lnTo>
                    <a:pt x="17" y="451"/>
                  </a:lnTo>
                  <a:lnTo>
                    <a:pt x="17" y="453"/>
                  </a:lnTo>
                  <a:lnTo>
                    <a:pt x="17" y="451"/>
                  </a:lnTo>
                  <a:lnTo>
                    <a:pt x="17" y="453"/>
                  </a:lnTo>
                  <a:lnTo>
                    <a:pt x="19" y="453"/>
                  </a:lnTo>
                  <a:lnTo>
                    <a:pt x="17" y="453"/>
                  </a:lnTo>
                  <a:lnTo>
                    <a:pt x="19" y="453"/>
                  </a:lnTo>
                  <a:lnTo>
                    <a:pt x="17" y="453"/>
                  </a:lnTo>
                  <a:lnTo>
                    <a:pt x="17" y="451"/>
                  </a:lnTo>
                  <a:lnTo>
                    <a:pt x="19" y="451"/>
                  </a:lnTo>
                  <a:lnTo>
                    <a:pt x="17" y="451"/>
                  </a:lnTo>
                  <a:lnTo>
                    <a:pt x="19" y="451"/>
                  </a:lnTo>
                  <a:lnTo>
                    <a:pt x="17" y="451"/>
                  </a:lnTo>
                  <a:lnTo>
                    <a:pt x="19" y="451"/>
                  </a:lnTo>
                  <a:lnTo>
                    <a:pt x="17" y="451"/>
                  </a:lnTo>
                  <a:lnTo>
                    <a:pt x="17" y="449"/>
                  </a:lnTo>
                  <a:lnTo>
                    <a:pt x="19" y="449"/>
                  </a:lnTo>
                  <a:lnTo>
                    <a:pt x="19" y="451"/>
                  </a:lnTo>
                  <a:lnTo>
                    <a:pt x="19" y="449"/>
                  </a:lnTo>
                  <a:lnTo>
                    <a:pt x="19" y="451"/>
                  </a:lnTo>
                  <a:lnTo>
                    <a:pt x="19" y="449"/>
                  </a:lnTo>
                  <a:lnTo>
                    <a:pt x="17" y="449"/>
                  </a:lnTo>
                  <a:lnTo>
                    <a:pt x="19" y="449"/>
                  </a:lnTo>
                  <a:close/>
                  <a:moveTo>
                    <a:pt x="301" y="495"/>
                  </a:moveTo>
                  <a:lnTo>
                    <a:pt x="303" y="495"/>
                  </a:lnTo>
                  <a:lnTo>
                    <a:pt x="305" y="495"/>
                  </a:lnTo>
                  <a:lnTo>
                    <a:pt x="305" y="497"/>
                  </a:lnTo>
                  <a:lnTo>
                    <a:pt x="307" y="497"/>
                  </a:lnTo>
                  <a:lnTo>
                    <a:pt x="307" y="499"/>
                  </a:lnTo>
                  <a:lnTo>
                    <a:pt x="307" y="501"/>
                  </a:lnTo>
                  <a:lnTo>
                    <a:pt x="305" y="501"/>
                  </a:lnTo>
                  <a:lnTo>
                    <a:pt x="305" y="499"/>
                  </a:lnTo>
                  <a:lnTo>
                    <a:pt x="305" y="501"/>
                  </a:lnTo>
                  <a:lnTo>
                    <a:pt x="305" y="503"/>
                  </a:lnTo>
                  <a:lnTo>
                    <a:pt x="303" y="503"/>
                  </a:lnTo>
                  <a:lnTo>
                    <a:pt x="305" y="503"/>
                  </a:lnTo>
                  <a:lnTo>
                    <a:pt x="303" y="503"/>
                  </a:lnTo>
                  <a:lnTo>
                    <a:pt x="301" y="503"/>
                  </a:lnTo>
                  <a:lnTo>
                    <a:pt x="301" y="501"/>
                  </a:lnTo>
                  <a:lnTo>
                    <a:pt x="301" y="503"/>
                  </a:lnTo>
                  <a:lnTo>
                    <a:pt x="301" y="501"/>
                  </a:lnTo>
                  <a:lnTo>
                    <a:pt x="301" y="503"/>
                  </a:lnTo>
                  <a:lnTo>
                    <a:pt x="300" y="503"/>
                  </a:lnTo>
                  <a:lnTo>
                    <a:pt x="298" y="503"/>
                  </a:lnTo>
                  <a:lnTo>
                    <a:pt x="298" y="505"/>
                  </a:lnTo>
                  <a:lnTo>
                    <a:pt x="296" y="505"/>
                  </a:lnTo>
                  <a:lnTo>
                    <a:pt x="298" y="505"/>
                  </a:lnTo>
                  <a:lnTo>
                    <a:pt x="298" y="507"/>
                  </a:lnTo>
                  <a:lnTo>
                    <a:pt x="296" y="507"/>
                  </a:lnTo>
                  <a:lnTo>
                    <a:pt x="294" y="507"/>
                  </a:lnTo>
                  <a:lnTo>
                    <a:pt x="296" y="507"/>
                  </a:lnTo>
                  <a:lnTo>
                    <a:pt x="296" y="505"/>
                  </a:lnTo>
                  <a:lnTo>
                    <a:pt x="294" y="505"/>
                  </a:lnTo>
                  <a:lnTo>
                    <a:pt x="294" y="503"/>
                  </a:lnTo>
                  <a:lnTo>
                    <a:pt x="294" y="501"/>
                  </a:lnTo>
                  <a:lnTo>
                    <a:pt x="294" y="499"/>
                  </a:lnTo>
                  <a:lnTo>
                    <a:pt x="296" y="499"/>
                  </a:lnTo>
                  <a:lnTo>
                    <a:pt x="296" y="497"/>
                  </a:lnTo>
                  <a:lnTo>
                    <a:pt x="298" y="497"/>
                  </a:lnTo>
                  <a:lnTo>
                    <a:pt x="298" y="495"/>
                  </a:lnTo>
                  <a:lnTo>
                    <a:pt x="298" y="497"/>
                  </a:lnTo>
                  <a:lnTo>
                    <a:pt x="298" y="495"/>
                  </a:lnTo>
                  <a:lnTo>
                    <a:pt x="300" y="495"/>
                  </a:lnTo>
                  <a:lnTo>
                    <a:pt x="301" y="495"/>
                  </a:lnTo>
                  <a:close/>
                  <a:moveTo>
                    <a:pt x="397" y="557"/>
                  </a:moveTo>
                  <a:lnTo>
                    <a:pt x="399" y="557"/>
                  </a:lnTo>
                  <a:lnTo>
                    <a:pt x="401" y="557"/>
                  </a:lnTo>
                  <a:lnTo>
                    <a:pt x="403" y="557"/>
                  </a:lnTo>
                  <a:lnTo>
                    <a:pt x="403" y="559"/>
                  </a:lnTo>
                  <a:lnTo>
                    <a:pt x="401" y="559"/>
                  </a:lnTo>
                  <a:lnTo>
                    <a:pt x="403" y="559"/>
                  </a:lnTo>
                  <a:lnTo>
                    <a:pt x="401" y="559"/>
                  </a:lnTo>
                  <a:lnTo>
                    <a:pt x="401" y="561"/>
                  </a:lnTo>
                  <a:lnTo>
                    <a:pt x="401" y="559"/>
                  </a:lnTo>
                  <a:lnTo>
                    <a:pt x="401" y="561"/>
                  </a:lnTo>
                  <a:lnTo>
                    <a:pt x="399" y="561"/>
                  </a:lnTo>
                  <a:lnTo>
                    <a:pt x="401" y="561"/>
                  </a:lnTo>
                  <a:lnTo>
                    <a:pt x="399" y="561"/>
                  </a:lnTo>
                  <a:lnTo>
                    <a:pt x="397" y="561"/>
                  </a:lnTo>
                  <a:lnTo>
                    <a:pt x="396" y="561"/>
                  </a:lnTo>
                  <a:lnTo>
                    <a:pt x="397" y="561"/>
                  </a:lnTo>
                  <a:lnTo>
                    <a:pt x="396" y="561"/>
                  </a:lnTo>
                  <a:lnTo>
                    <a:pt x="397" y="561"/>
                  </a:lnTo>
                  <a:lnTo>
                    <a:pt x="396" y="561"/>
                  </a:lnTo>
                  <a:lnTo>
                    <a:pt x="394" y="561"/>
                  </a:lnTo>
                  <a:lnTo>
                    <a:pt x="396" y="561"/>
                  </a:lnTo>
                  <a:lnTo>
                    <a:pt x="396" y="563"/>
                  </a:lnTo>
                  <a:lnTo>
                    <a:pt x="394" y="563"/>
                  </a:lnTo>
                  <a:lnTo>
                    <a:pt x="394" y="561"/>
                  </a:lnTo>
                  <a:lnTo>
                    <a:pt x="392" y="561"/>
                  </a:lnTo>
                  <a:lnTo>
                    <a:pt x="392" y="563"/>
                  </a:lnTo>
                  <a:lnTo>
                    <a:pt x="392" y="561"/>
                  </a:lnTo>
                  <a:lnTo>
                    <a:pt x="392" y="563"/>
                  </a:lnTo>
                  <a:lnTo>
                    <a:pt x="392" y="561"/>
                  </a:lnTo>
                  <a:lnTo>
                    <a:pt x="390" y="563"/>
                  </a:lnTo>
                  <a:lnTo>
                    <a:pt x="390" y="561"/>
                  </a:lnTo>
                  <a:lnTo>
                    <a:pt x="390" y="563"/>
                  </a:lnTo>
                  <a:lnTo>
                    <a:pt x="390" y="561"/>
                  </a:lnTo>
                  <a:lnTo>
                    <a:pt x="388" y="561"/>
                  </a:lnTo>
                  <a:lnTo>
                    <a:pt x="388" y="559"/>
                  </a:lnTo>
                  <a:lnTo>
                    <a:pt x="390" y="559"/>
                  </a:lnTo>
                  <a:lnTo>
                    <a:pt x="392" y="557"/>
                  </a:lnTo>
                  <a:lnTo>
                    <a:pt x="394" y="557"/>
                  </a:lnTo>
                  <a:lnTo>
                    <a:pt x="396" y="557"/>
                  </a:lnTo>
                  <a:lnTo>
                    <a:pt x="396" y="555"/>
                  </a:lnTo>
                  <a:lnTo>
                    <a:pt x="397" y="555"/>
                  </a:lnTo>
                  <a:lnTo>
                    <a:pt x="397" y="557"/>
                  </a:lnTo>
                  <a:close/>
                  <a:moveTo>
                    <a:pt x="513" y="659"/>
                  </a:moveTo>
                  <a:lnTo>
                    <a:pt x="515" y="659"/>
                  </a:lnTo>
                  <a:lnTo>
                    <a:pt x="517" y="659"/>
                  </a:lnTo>
                  <a:lnTo>
                    <a:pt x="517" y="660"/>
                  </a:lnTo>
                  <a:lnTo>
                    <a:pt x="517" y="659"/>
                  </a:lnTo>
                  <a:lnTo>
                    <a:pt x="517" y="660"/>
                  </a:lnTo>
                  <a:lnTo>
                    <a:pt x="517" y="659"/>
                  </a:lnTo>
                  <a:lnTo>
                    <a:pt x="518" y="659"/>
                  </a:lnTo>
                  <a:lnTo>
                    <a:pt x="518" y="660"/>
                  </a:lnTo>
                  <a:lnTo>
                    <a:pt x="518" y="662"/>
                  </a:lnTo>
                  <a:lnTo>
                    <a:pt x="517" y="664"/>
                  </a:lnTo>
                  <a:lnTo>
                    <a:pt x="517" y="666"/>
                  </a:lnTo>
                  <a:lnTo>
                    <a:pt x="515" y="666"/>
                  </a:lnTo>
                  <a:lnTo>
                    <a:pt x="513" y="666"/>
                  </a:lnTo>
                  <a:lnTo>
                    <a:pt x="513" y="664"/>
                  </a:lnTo>
                  <a:lnTo>
                    <a:pt x="511" y="664"/>
                  </a:lnTo>
                  <a:lnTo>
                    <a:pt x="509" y="664"/>
                  </a:lnTo>
                  <a:lnTo>
                    <a:pt x="509" y="666"/>
                  </a:lnTo>
                  <a:lnTo>
                    <a:pt x="509" y="664"/>
                  </a:lnTo>
                  <a:lnTo>
                    <a:pt x="509" y="662"/>
                  </a:lnTo>
                  <a:lnTo>
                    <a:pt x="509" y="660"/>
                  </a:lnTo>
                  <a:lnTo>
                    <a:pt x="511" y="660"/>
                  </a:lnTo>
                  <a:lnTo>
                    <a:pt x="511" y="659"/>
                  </a:lnTo>
                  <a:lnTo>
                    <a:pt x="513" y="659"/>
                  </a:lnTo>
                  <a:lnTo>
                    <a:pt x="513" y="657"/>
                  </a:lnTo>
                  <a:lnTo>
                    <a:pt x="513" y="659"/>
                  </a:lnTo>
                  <a:close/>
                  <a:moveTo>
                    <a:pt x="855" y="707"/>
                  </a:moveTo>
                  <a:lnTo>
                    <a:pt x="855" y="708"/>
                  </a:lnTo>
                  <a:lnTo>
                    <a:pt x="853" y="708"/>
                  </a:lnTo>
                  <a:lnTo>
                    <a:pt x="851" y="708"/>
                  </a:lnTo>
                  <a:lnTo>
                    <a:pt x="851" y="710"/>
                  </a:lnTo>
                  <a:lnTo>
                    <a:pt x="851" y="708"/>
                  </a:lnTo>
                  <a:lnTo>
                    <a:pt x="851" y="710"/>
                  </a:lnTo>
                  <a:lnTo>
                    <a:pt x="851" y="708"/>
                  </a:lnTo>
                  <a:lnTo>
                    <a:pt x="851" y="710"/>
                  </a:lnTo>
                  <a:lnTo>
                    <a:pt x="849" y="710"/>
                  </a:lnTo>
                  <a:lnTo>
                    <a:pt x="847" y="710"/>
                  </a:lnTo>
                  <a:lnTo>
                    <a:pt x="845" y="710"/>
                  </a:lnTo>
                  <a:lnTo>
                    <a:pt x="847" y="710"/>
                  </a:lnTo>
                  <a:lnTo>
                    <a:pt x="845" y="710"/>
                  </a:lnTo>
                  <a:lnTo>
                    <a:pt x="845" y="712"/>
                  </a:lnTo>
                  <a:lnTo>
                    <a:pt x="845" y="710"/>
                  </a:lnTo>
                  <a:lnTo>
                    <a:pt x="845" y="712"/>
                  </a:lnTo>
                  <a:lnTo>
                    <a:pt x="847" y="710"/>
                  </a:lnTo>
                  <a:lnTo>
                    <a:pt x="845" y="710"/>
                  </a:lnTo>
                  <a:lnTo>
                    <a:pt x="847" y="710"/>
                  </a:lnTo>
                  <a:lnTo>
                    <a:pt x="847" y="712"/>
                  </a:lnTo>
                  <a:lnTo>
                    <a:pt x="849" y="712"/>
                  </a:lnTo>
                  <a:lnTo>
                    <a:pt x="849" y="710"/>
                  </a:lnTo>
                  <a:lnTo>
                    <a:pt x="849" y="712"/>
                  </a:lnTo>
                  <a:lnTo>
                    <a:pt x="847" y="712"/>
                  </a:lnTo>
                  <a:lnTo>
                    <a:pt x="847" y="714"/>
                  </a:lnTo>
                  <a:lnTo>
                    <a:pt x="847" y="716"/>
                  </a:lnTo>
                  <a:lnTo>
                    <a:pt x="847" y="714"/>
                  </a:lnTo>
                  <a:lnTo>
                    <a:pt x="849" y="714"/>
                  </a:lnTo>
                  <a:lnTo>
                    <a:pt x="847" y="714"/>
                  </a:lnTo>
                  <a:lnTo>
                    <a:pt x="847" y="716"/>
                  </a:lnTo>
                  <a:lnTo>
                    <a:pt x="845" y="716"/>
                  </a:lnTo>
                  <a:lnTo>
                    <a:pt x="845" y="718"/>
                  </a:lnTo>
                  <a:lnTo>
                    <a:pt x="845" y="716"/>
                  </a:lnTo>
                  <a:lnTo>
                    <a:pt x="843" y="716"/>
                  </a:lnTo>
                  <a:lnTo>
                    <a:pt x="843" y="718"/>
                  </a:lnTo>
                  <a:lnTo>
                    <a:pt x="843" y="716"/>
                  </a:lnTo>
                  <a:lnTo>
                    <a:pt x="843" y="714"/>
                  </a:lnTo>
                  <a:lnTo>
                    <a:pt x="843" y="716"/>
                  </a:lnTo>
                  <a:lnTo>
                    <a:pt x="843" y="714"/>
                  </a:lnTo>
                  <a:lnTo>
                    <a:pt x="843" y="716"/>
                  </a:lnTo>
                  <a:lnTo>
                    <a:pt x="843" y="714"/>
                  </a:lnTo>
                  <a:lnTo>
                    <a:pt x="843" y="716"/>
                  </a:lnTo>
                  <a:lnTo>
                    <a:pt x="841" y="716"/>
                  </a:lnTo>
                  <a:lnTo>
                    <a:pt x="841" y="714"/>
                  </a:lnTo>
                  <a:lnTo>
                    <a:pt x="841" y="712"/>
                  </a:lnTo>
                  <a:lnTo>
                    <a:pt x="843" y="712"/>
                  </a:lnTo>
                  <a:lnTo>
                    <a:pt x="845" y="712"/>
                  </a:lnTo>
                  <a:lnTo>
                    <a:pt x="845" y="710"/>
                  </a:lnTo>
                  <a:lnTo>
                    <a:pt x="843" y="710"/>
                  </a:lnTo>
                  <a:lnTo>
                    <a:pt x="843" y="712"/>
                  </a:lnTo>
                  <a:lnTo>
                    <a:pt x="843" y="710"/>
                  </a:lnTo>
                  <a:lnTo>
                    <a:pt x="843" y="712"/>
                  </a:lnTo>
                  <a:lnTo>
                    <a:pt x="843" y="710"/>
                  </a:lnTo>
                  <a:lnTo>
                    <a:pt x="843" y="712"/>
                  </a:lnTo>
                  <a:lnTo>
                    <a:pt x="843" y="710"/>
                  </a:lnTo>
                  <a:lnTo>
                    <a:pt x="845" y="710"/>
                  </a:lnTo>
                  <a:lnTo>
                    <a:pt x="845" y="708"/>
                  </a:lnTo>
                  <a:lnTo>
                    <a:pt x="845" y="710"/>
                  </a:lnTo>
                  <a:lnTo>
                    <a:pt x="845" y="708"/>
                  </a:lnTo>
                  <a:lnTo>
                    <a:pt x="845" y="710"/>
                  </a:lnTo>
                  <a:lnTo>
                    <a:pt x="845" y="708"/>
                  </a:lnTo>
                  <a:lnTo>
                    <a:pt x="847" y="708"/>
                  </a:lnTo>
                  <a:lnTo>
                    <a:pt x="849" y="708"/>
                  </a:lnTo>
                  <a:lnTo>
                    <a:pt x="851" y="708"/>
                  </a:lnTo>
                  <a:lnTo>
                    <a:pt x="849" y="708"/>
                  </a:lnTo>
                  <a:lnTo>
                    <a:pt x="851" y="708"/>
                  </a:lnTo>
                  <a:lnTo>
                    <a:pt x="849" y="708"/>
                  </a:lnTo>
                  <a:lnTo>
                    <a:pt x="851" y="708"/>
                  </a:lnTo>
                  <a:lnTo>
                    <a:pt x="849" y="708"/>
                  </a:lnTo>
                  <a:lnTo>
                    <a:pt x="851" y="708"/>
                  </a:lnTo>
                  <a:lnTo>
                    <a:pt x="851" y="707"/>
                  </a:lnTo>
                  <a:lnTo>
                    <a:pt x="853" y="707"/>
                  </a:lnTo>
                  <a:lnTo>
                    <a:pt x="853" y="708"/>
                  </a:lnTo>
                  <a:lnTo>
                    <a:pt x="853" y="707"/>
                  </a:lnTo>
                  <a:lnTo>
                    <a:pt x="855" y="707"/>
                  </a:lnTo>
                  <a:close/>
                  <a:moveTo>
                    <a:pt x="21" y="476"/>
                  </a:moveTo>
                  <a:lnTo>
                    <a:pt x="21" y="478"/>
                  </a:lnTo>
                  <a:lnTo>
                    <a:pt x="21" y="480"/>
                  </a:lnTo>
                  <a:lnTo>
                    <a:pt x="21" y="478"/>
                  </a:lnTo>
                  <a:lnTo>
                    <a:pt x="23" y="478"/>
                  </a:lnTo>
                  <a:lnTo>
                    <a:pt x="21" y="478"/>
                  </a:lnTo>
                  <a:lnTo>
                    <a:pt x="23" y="478"/>
                  </a:lnTo>
                  <a:lnTo>
                    <a:pt x="25" y="478"/>
                  </a:lnTo>
                  <a:lnTo>
                    <a:pt x="25" y="476"/>
                  </a:lnTo>
                  <a:lnTo>
                    <a:pt x="25" y="478"/>
                  </a:lnTo>
                  <a:lnTo>
                    <a:pt x="25" y="476"/>
                  </a:lnTo>
                  <a:lnTo>
                    <a:pt x="25" y="478"/>
                  </a:lnTo>
                  <a:lnTo>
                    <a:pt x="25" y="476"/>
                  </a:lnTo>
                  <a:lnTo>
                    <a:pt x="25" y="478"/>
                  </a:lnTo>
                  <a:lnTo>
                    <a:pt x="25" y="476"/>
                  </a:lnTo>
                  <a:lnTo>
                    <a:pt x="25" y="478"/>
                  </a:lnTo>
                  <a:lnTo>
                    <a:pt x="27" y="478"/>
                  </a:lnTo>
                  <a:lnTo>
                    <a:pt x="25" y="478"/>
                  </a:lnTo>
                  <a:lnTo>
                    <a:pt x="25" y="480"/>
                  </a:lnTo>
                  <a:lnTo>
                    <a:pt x="23" y="480"/>
                  </a:lnTo>
                  <a:lnTo>
                    <a:pt x="23" y="482"/>
                  </a:lnTo>
                  <a:lnTo>
                    <a:pt x="21" y="482"/>
                  </a:lnTo>
                  <a:lnTo>
                    <a:pt x="21" y="484"/>
                  </a:lnTo>
                  <a:lnTo>
                    <a:pt x="21" y="482"/>
                  </a:lnTo>
                  <a:lnTo>
                    <a:pt x="19" y="482"/>
                  </a:lnTo>
                  <a:lnTo>
                    <a:pt x="19" y="484"/>
                  </a:lnTo>
                  <a:lnTo>
                    <a:pt x="17" y="484"/>
                  </a:lnTo>
                  <a:lnTo>
                    <a:pt x="17" y="482"/>
                  </a:lnTo>
                  <a:lnTo>
                    <a:pt x="15" y="482"/>
                  </a:lnTo>
                  <a:lnTo>
                    <a:pt x="15" y="480"/>
                  </a:lnTo>
                  <a:lnTo>
                    <a:pt x="17" y="480"/>
                  </a:lnTo>
                  <a:lnTo>
                    <a:pt x="17" y="482"/>
                  </a:lnTo>
                  <a:lnTo>
                    <a:pt x="17" y="480"/>
                  </a:lnTo>
                  <a:lnTo>
                    <a:pt x="17" y="482"/>
                  </a:lnTo>
                  <a:lnTo>
                    <a:pt x="17" y="480"/>
                  </a:lnTo>
                  <a:lnTo>
                    <a:pt x="15" y="480"/>
                  </a:lnTo>
                  <a:lnTo>
                    <a:pt x="15" y="478"/>
                  </a:lnTo>
                  <a:lnTo>
                    <a:pt x="15" y="476"/>
                  </a:lnTo>
                  <a:lnTo>
                    <a:pt x="17" y="476"/>
                  </a:lnTo>
                  <a:lnTo>
                    <a:pt x="17" y="478"/>
                  </a:lnTo>
                  <a:lnTo>
                    <a:pt x="15" y="478"/>
                  </a:lnTo>
                  <a:lnTo>
                    <a:pt x="17" y="478"/>
                  </a:lnTo>
                  <a:lnTo>
                    <a:pt x="15" y="478"/>
                  </a:lnTo>
                  <a:lnTo>
                    <a:pt x="17" y="478"/>
                  </a:lnTo>
                  <a:lnTo>
                    <a:pt x="19" y="478"/>
                  </a:lnTo>
                  <a:lnTo>
                    <a:pt x="21" y="478"/>
                  </a:lnTo>
                  <a:lnTo>
                    <a:pt x="21" y="476"/>
                  </a:lnTo>
                  <a:close/>
                  <a:moveTo>
                    <a:pt x="580" y="643"/>
                  </a:moveTo>
                  <a:lnTo>
                    <a:pt x="582" y="643"/>
                  </a:lnTo>
                  <a:lnTo>
                    <a:pt x="580" y="643"/>
                  </a:lnTo>
                  <a:lnTo>
                    <a:pt x="582" y="643"/>
                  </a:lnTo>
                  <a:lnTo>
                    <a:pt x="582" y="645"/>
                  </a:lnTo>
                  <a:lnTo>
                    <a:pt x="582" y="647"/>
                  </a:lnTo>
                  <a:lnTo>
                    <a:pt x="584" y="647"/>
                  </a:lnTo>
                  <a:lnTo>
                    <a:pt x="582" y="647"/>
                  </a:lnTo>
                  <a:lnTo>
                    <a:pt x="584" y="647"/>
                  </a:lnTo>
                  <a:lnTo>
                    <a:pt x="582" y="647"/>
                  </a:lnTo>
                  <a:lnTo>
                    <a:pt x="582" y="649"/>
                  </a:lnTo>
                  <a:lnTo>
                    <a:pt x="582" y="647"/>
                  </a:lnTo>
                  <a:lnTo>
                    <a:pt x="580" y="647"/>
                  </a:lnTo>
                  <a:lnTo>
                    <a:pt x="578" y="647"/>
                  </a:lnTo>
                  <a:lnTo>
                    <a:pt x="578" y="649"/>
                  </a:lnTo>
                  <a:lnTo>
                    <a:pt x="578" y="647"/>
                  </a:lnTo>
                  <a:lnTo>
                    <a:pt x="578" y="649"/>
                  </a:lnTo>
                  <a:lnTo>
                    <a:pt x="578" y="647"/>
                  </a:lnTo>
                  <a:lnTo>
                    <a:pt x="578" y="649"/>
                  </a:lnTo>
                  <a:lnTo>
                    <a:pt x="578" y="647"/>
                  </a:lnTo>
                  <a:lnTo>
                    <a:pt x="578" y="649"/>
                  </a:lnTo>
                  <a:lnTo>
                    <a:pt x="578" y="647"/>
                  </a:lnTo>
                  <a:lnTo>
                    <a:pt x="578" y="649"/>
                  </a:lnTo>
                  <a:lnTo>
                    <a:pt x="576" y="649"/>
                  </a:lnTo>
                  <a:lnTo>
                    <a:pt x="576" y="647"/>
                  </a:lnTo>
                  <a:lnTo>
                    <a:pt x="576" y="649"/>
                  </a:lnTo>
                  <a:lnTo>
                    <a:pt x="576" y="647"/>
                  </a:lnTo>
                  <a:lnTo>
                    <a:pt x="576" y="649"/>
                  </a:lnTo>
                  <a:lnTo>
                    <a:pt x="578" y="649"/>
                  </a:lnTo>
                  <a:lnTo>
                    <a:pt x="576" y="649"/>
                  </a:lnTo>
                  <a:lnTo>
                    <a:pt x="576" y="647"/>
                  </a:lnTo>
                  <a:lnTo>
                    <a:pt x="576" y="649"/>
                  </a:lnTo>
                  <a:lnTo>
                    <a:pt x="576" y="647"/>
                  </a:lnTo>
                  <a:lnTo>
                    <a:pt x="574" y="647"/>
                  </a:lnTo>
                  <a:lnTo>
                    <a:pt x="574" y="645"/>
                  </a:lnTo>
                  <a:lnTo>
                    <a:pt x="576" y="645"/>
                  </a:lnTo>
                  <a:lnTo>
                    <a:pt x="574" y="645"/>
                  </a:lnTo>
                  <a:lnTo>
                    <a:pt x="576" y="645"/>
                  </a:lnTo>
                  <a:lnTo>
                    <a:pt x="578" y="645"/>
                  </a:lnTo>
                  <a:lnTo>
                    <a:pt x="578" y="643"/>
                  </a:lnTo>
                  <a:lnTo>
                    <a:pt x="578" y="645"/>
                  </a:lnTo>
                  <a:lnTo>
                    <a:pt x="578" y="643"/>
                  </a:lnTo>
                  <a:lnTo>
                    <a:pt x="578" y="645"/>
                  </a:lnTo>
                  <a:lnTo>
                    <a:pt x="580" y="645"/>
                  </a:lnTo>
                  <a:lnTo>
                    <a:pt x="580" y="643"/>
                  </a:lnTo>
                  <a:lnTo>
                    <a:pt x="578" y="643"/>
                  </a:lnTo>
                  <a:lnTo>
                    <a:pt x="580" y="643"/>
                  </a:lnTo>
                  <a:close/>
                  <a:moveTo>
                    <a:pt x="547" y="655"/>
                  </a:moveTo>
                  <a:lnTo>
                    <a:pt x="549" y="655"/>
                  </a:lnTo>
                  <a:lnTo>
                    <a:pt x="549" y="657"/>
                  </a:lnTo>
                  <a:lnTo>
                    <a:pt x="549" y="659"/>
                  </a:lnTo>
                  <a:lnTo>
                    <a:pt x="547" y="659"/>
                  </a:lnTo>
                  <a:lnTo>
                    <a:pt x="547" y="660"/>
                  </a:lnTo>
                  <a:lnTo>
                    <a:pt x="545" y="660"/>
                  </a:lnTo>
                  <a:lnTo>
                    <a:pt x="543" y="660"/>
                  </a:lnTo>
                  <a:lnTo>
                    <a:pt x="543" y="659"/>
                  </a:lnTo>
                  <a:lnTo>
                    <a:pt x="542" y="659"/>
                  </a:lnTo>
                  <a:lnTo>
                    <a:pt x="542" y="657"/>
                  </a:lnTo>
                  <a:lnTo>
                    <a:pt x="542" y="659"/>
                  </a:lnTo>
                  <a:lnTo>
                    <a:pt x="543" y="659"/>
                  </a:lnTo>
                  <a:lnTo>
                    <a:pt x="543" y="657"/>
                  </a:lnTo>
                  <a:lnTo>
                    <a:pt x="542" y="657"/>
                  </a:lnTo>
                  <a:lnTo>
                    <a:pt x="543" y="657"/>
                  </a:lnTo>
                  <a:lnTo>
                    <a:pt x="543" y="655"/>
                  </a:lnTo>
                  <a:lnTo>
                    <a:pt x="545" y="655"/>
                  </a:lnTo>
                  <a:lnTo>
                    <a:pt x="547" y="655"/>
                  </a:lnTo>
                  <a:close/>
                  <a:moveTo>
                    <a:pt x="309" y="495"/>
                  </a:moveTo>
                  <a:lnTo>
                    <a:pt x="309" y="497"/>
                  </a:lnTo>
                  <a:lnTo>
                    <a:pt x="311" y="497"/>
                  </a:lnTo>
                  <a:lnTo>
                    <a:pt x="311" y="499"/>
                  </a:lnTo>
                  <a:lnTo>
                    <a:pt x="313" y="499"/>
                  </a:lnTo>
                  <a:lnTo>
                    <a:pt x="313" y="501"/>
                  </a:lnTo>
                  <a:lnTo>
                    <a:pt x="315" y="501"/>
                  </a:lnTo>
                  <a:lnTo>
                    <a:pt x="315" y="503"/>
                  </a:lnTo>
                  <a:lnTo>
                    <a:pt x="315" y="501"/>
                  </a:lnTo>
                  <a:lnTo>
                    <a:pt x="313" y="503"/>
                  </a:lnTo>
                  <a:lnTo>
                    <a:pt x="313" y="501"/>
                  </a:lnTo>
                  <a:lnTo>
                    <a:pt x="313" y="503"/>
                  </a:lnTo>
                  <a:lnTo>
                    <a:pt x="311" y="503"/>
                  </a:lnTo>
                  <a:lnTo>
                    <a:pt x="313" y="503"/>
                  </a:lnTo>
                  <a:lnTo>
                    <a:pt x="311" y="503"/>
                  </a:lnTo>
                  <a:lnTo>
                    <a:pt x="309" y="503"/>
                  </a:lnTo>
                  <a:lnTo>
                    <a:pt x="309" y="501"/>
                  </a:lnTo>
                  <a:lnTo>
                    <a:pt x="309" y="503"/>
                  </a:lnTo>
                  <a:lnTo>
                    <a:pt x="307" y="503"/>
                  </a:lnTo>
                  <a:lnTo>
                    <a:pt x="307" y="501"/>
                  </a:lnTo>
                  <a:lnTo>
                    <a:pt x="309" y="501"/>
                  </a:lnTo>
                  <a:lnTo>
                    <a:pt x="309" y="499"/>
                  </a:lnTo>
                  <a:lnTo>
                    <a:pt x="307" y="499"/>
                  </a:lnTo>
                  <a:lnTo>
                    <a:pt x="307" y="497"/>
                  </a:lnTo>
                  <a:lnTo>
                    <a:pt x="309" y="497"/>
                  </a:lnTo>
                  <a:lnTo>
                    <a:pt x="309" y="495"/>
                  </a:lnTo>
                  <a:close/>
                  <a:moveTo>
                    <a:pt x="835" y="714"/>
                  </a:moveTo>
                  <a:lnTo>
                    <a:pt x="835" y="716"/>
                  </a:lnTo>
                  <a:lnTo>
                    <a:pt x="833" y="716"/>
                  </a:lnTo>
                  <a:lnTo>
                    <a:pt x="833" y="718"/>
                  </a:lnTo>
                  <a:lnTo>
                    <a:pt x="833" y="720"/>
                  </a:lnTo>
                  <a:lnTo>
                    <a:pt x="831" y="720"/>
                  </a:lnTo>
                  <a:lnTo>
                    <a:pt x="833" y="720"/>
                  </a:lnTo>
                  <a:lnTo>
                    <a:pt x="831" y="720"/>
                  </a:lnTo>
                  <a:lnTo>
                    <a:pt x="833" y="720"/>
                  </a:lnTo>
                  <a:lnTo>
                    <a:pt x="831" y="720"/>
                  </a:lnTo>
                  <a:lnTo>
                    <a:pt x="833" y="720"/>
                  </a:lnTo>
                  <a:lnTo>
                    <a:pt x="831" y="720"/>
                  </a:lnTo>
                  <a:lnTo>
                    <a:pt x="831" y="722"/>
                  </a:lnTo>
                  <a:lnTo>
                    <a:pt x="830" y="722"/>
                  </a:lnTo>
                  <a:lnTo>
                    <a:pt x="830" y="720"/>
                  </a:lnTo>
                  <a:lnTo>
                    <a:pt x="828" y="720"/>
                  </a:lnTo>
                  <a:lnTo>
                    <a:pt x="828" y="718"/>
                  </a:lnTo>
                  <a:lnTo>
                    <a:pt x="830" y="718"/>
                  </a:lnTo>
                  <a:lnTo>
                    <a:pt x="831" y="718"/>
                  </a:lnTo>
                  <a:lnTo>
                    <a:pt x="831" y="716"/>
                  </a:lnTo>
                  <a:lnTo>
                    <a:pt x="833" y="716"/>
                  </a:lnTo>
                  <a:lnTo>
                    <a:pt x="833" y="714"/>
                  </a:lnTo>
                  <a:lnTo>
                    <a:pt x="835" y="714"/>
                  </a:lnTo>
                  <a:close/>
                  <a:moveTo>
                    <a:pt x="23" y="482"/>
                  </a:moveTo>
                  <a:lnTo>
                    <a:pt x="25" y="482"/>
                  </a:lnTo>
                  <a:lnTo>
                    <a:pt x="25" y="484"/>
                  </a:lnTo>
                  <a:lnTo>
                    <a:pt x="27" y="484"/>
                  </a:lnTo>
                  <a:lnTo>
                    <a:pt x="27" y="486"/>
                  </a:lnTo>
                  <a:lnTo>
                    <a:pt x="25" y="486"/>
                  </a:lnTo>
                  <a:lnTo>
                    <a:pt x="25" y="488"/>
                  </a:lnTo>
                  <a:lnTo>
                    <a:pt x="27" y="488"/>
                  </a:lnTo>
                  <a:lnTo>
                    <a:pt x="25" y="488"/>
                  </a:lnTo>
                  <a:lnTo>
                    <a:pt x="25" y="490"/>
                  </a:lnTo>
                  <a:lnTo>
                    <a:pt x="25" y="488"/>
                  </a:lnTo>
                  <a:lnTo>
                    <a:pt x="23" y="488"/>
                  </a:lnTo>
                  <a:lnTo>
                    <a:pt x="23" y="486"/>
                  </a:lnTo>
                  <a:lnTo>
                    <a:pt x="21" y="486"/>
                  </a:lnTo>
                  <a:lnTo>
                    <a:pt x="21" y="488"/>
                  </a:lnTo>
                  <a:lnTo>
                    <a:pt x="21" y="486"/>
                  </a:lnTo>
                  <a:lnTo>
                    <a:pt x="21" y="484"/>
                  </a:lnTo>
                  <a:lnTo>
                    <a:pt x="23" y="484"/>
                  </a:lnTo>
                  <a:lnTo>
                    <a:pt x="23" y="482"/>
                  </a:lnTo>
                  <a:close/>
                  <a:moveTo>
                    <a:pt x="591" y="676"/>
                  </a:moveTo>
                  <a:lnTo>
                    <a:pt x="591" y="678"/>
                  </a:lnTo>
                  <a:lnTo>
                    <a:pt x="591" y="680"/>
                  </a:lnTo>
                  <a:lnTo>
                    <a:pt x="590" y="680"/>
                  </a:lnTo>
                  <a:lnTo>
                    <a:pt x="590" y="682"/>
                  </a:lnTo>
                  <a:lnTo>
                    <a:pt x="588" y="682"/>
                  </a:lnTo>
                  <a:lnTo>
                    <a:pt x="588" y="683"/>
                  </a:lnTo>
                  <a:lnTo>
                    <a:pt x="588" y="682"/>
                  </a:lnTo>
                  <a:lnTo>
                    <a:pt x="588" y="683"/>
                  </a:lnTo>
                  <a:lnTo>
                    <a:pt x="588" y="682"/>
                  </a:lnTo>
                  <a:lnTo>
                    <a:pt x="586" y="682"/>
                  </a:lnTo>
                  <a:lnTo>
                    <a:pt x="588" y="682"/>
                  </a:lnTo>
                  <a:lnTo>
                    <a:pt x="586" y="682"/>
                  </a:lnTo>
                  <a:lnTo>
                    <a:pt x="586" y="680"/>
                  </a:lnTo>
                  <a:lnTo>
                    <a:pt x="588" y="680"/>
                  </a:lnTo>
                  <a:lnTo>
                    <a:pt x="586" y="680"/>
                  </a:lnTo>
                  <a:lnTo>
                    <a:pt x="588" y="680"/>
                  </a:lnTo>
                  <a:lnTo>
                    <a:pt x="586" y="680"/>
                  </a:lnTo>
                  <a:lnTo>
                    <a:pt x="586" y="678"/>
                  </a:lnTo>
                  <a:lnTo>
                    <a:pt x="588" y="678"/>
                  </a:lnTo>
                  <a:lnTo>
                    <a:pt x="590" y="678"/>
                  </a:lnTo>
                  <a:lnTo>
                    <a:pt x="590" y="676"/>
                  </a:lnTo>
                  <a:lnTo>
                    <a:pt x="591" y="676"/>
                  </a:lnTo>
                  <a:close/>
                  <a:moveTo>
                    <a:pt x="19" y="463"/>
                  </a:moveTo>
                  <a:lnTo>
                    <a:pt x="19" y="465"/>
                  </a:lnTo>
                  <a:lnTo>
                    <a:pt x="19" y="467"/>
                  </a:lnTo>
                  <a:lnTo>
                    <a:pt x="19" y="468"/>
                  </a:lnTo>
                  <a:lnTo>
                    <a:pt x="17" y="468"/>
                  </a:lnTo>
                  <a:lnTo>
                    <a:pt x="19" y="468"/>
                  </a:lnTo>
                  <a:lnTo>
                    <a:pt x="17" y="468"/>
                  </a:lnTo>
                  <a:lnTo>
                    <a:pt x="17" y="467"/>
                  </a:lnTo>
                  <a:lnTo>
                    <a:pt x="17" y="468"/>
                  </a:lnTo>
                  <a:lnTo>
                    <a:pt x="15" y="468"/>
                  </a:lnTo>
                  <a:lnTo>
                    <a:pt x="17" y="468"/>
                  </a:lnTo>
                  <a:lnTo>
                    <a:pt x="15" y="468"/>
                  </a:lnTo>
                  <a:lnTo>
                    <a:pt x="13" y="468"/>
                  </a:lnTo>
                  <a:lnTo>
                    <a:pt x="13" y="467"/>
                  </a:lnTo>
                  <a:lnTo>
                    <a:pt x="13" y="468"/>
                  </a:lnTo>
                  <a:lnTo>
                    <a:pt x="13" y="467"/>
                  </a:lnTo>
                  <a:lnTo>
                    <a:pt x="15" y="467"/>
                  </a:lnTo>
                  <a:lnTo>
                    <a:pt x="15" y="468"/>
                  </a:lnTo>
                  <a:lnTo>
                    <a:pt x="15" y="467"/>
                  </a:lnTo>
                  <a:lnTo>
                    <a:pt x="17" y="467"/>
                  </a:lnTo>
                  <a:lnTo>
                    <a:pt x="15" y="467"/>
                  </a:lnTo>
                  <a:lnTo>
                    <a:pt x="15" y="465"/>
                  </a:lnTo>
                  <a:lnTo>
                    <a:pt x="17" y="465"/>
                  </a:lnTo>
                  <a:lnTo>
                    <a:pt x="15" y="465"/>
                  </a:lnTo>
                  <a:lnTo>
                    <a:pt x="17" y="465"/>
                  </a:lnTo>
                  <a:lnTo>
                    <a:pt x="17" y="463"/>
                  </a:lnTo>
                  <a:lnTo>
                    <a:pt x="15" y="463"/>
                  </a:lnTo>
                  <a:lnTo>
                    <a:pt x="17" y="463"/>
                  </a:lnTo>
                  <a:lnTo>
                    <a:pt x="19" y="463"/>
                  </a:lnTo>
                  <a:lnTo>
                    <a:pt x="17" y="463"/>
                  </a:lnTo>
                  <a:lnTo>
                    <a:pt x="19" y="463"/>
                  </a:lnTo>
                  <a:close/>
                  <a:moveTo>
                    <a:pt x="611" y="643"/>
                  </a:moveTo>
                  <a:lnTo>
                    <a:pt x="609" y="643"/>
                  </a:lnTo>
                  <a:lnTo>
                    <a:pt x="611" y="643"/>
                  </a:lnTo>
                  <a:lnTo>
                    <a:pt x="609" y="643"/>
                  </a:lnTo>
                  <a:lnTo>
                    <a:pt x="609" y="645"/>
                  </a:lnTo>
                  <a:lnTo>
                    <a:pt x="609" y="647"/>
                  </a:lnTo>
                  <a:lnTo>
                    <a:pt x="609" y="645"/>
                  </a:lnTo>
                  <a:lnTo>
                    <a:pt x="607" y="645"/>
                  </a:lnTo>
                  <a:lnTo>
                    <a:pt x="607" y="647"/>
                  </a:lnTo>
                  <a:lnTo>
                    <a:pt x="607" y="645"/>
                  </a:lnTo>
                  <a:lnTo>
                    <a:pt x="607" y="647"/>
                  </a:lnTo>
                  <a:lnTo>
                    <a:pt x="607" y="645"/>
                  </a:lnTo>
                  <a:lnTo>
                    <a:pt x="607" y="647"/>
                  </a:lnTo>
                  <a:lnTo>
                    <a:pt x="605" y="645"/>
                  </a:lnTo>
                  <a:lnTo>
                    <a:pt x="605" y="647"/>
                  </a:lnTo>
                  <a:lnTo>
                    <a:pt x="605" y="645"/>
                  </a:lnTo>
                  <a:lnTo>
                    <a:pt x="603" y="645"/>
                  </a:lnTo>
                  <a:lnTo>
                    <a:pt x="605" y="645"/>
                  </a:lnTo>
                  <a:lnTo>
                    <a:pt x="603" y="645"/>
                  </a:lnTo>
                  <a:lnTo>
                    <a:pt x="605" y="645"/>
                  </a:lnTo>
                  <a:lnTo>
                    <a:pt x="603" y="645"/>
                  </a:lnTo>
                  <a:lnTo>
                    <a:pt x="601" y="645"/>
                  </a:lnTo>
                  <a:lnTo>
                    <a:pt x="599" y="645"/>
                  </a:lnTo>
                  <a:lnTo>
                    <a:pt x="601" y="645"/>
                  </a:lnTo>
                  <a:lnTo>
                    <a:pt x="599" y="645"/>
                  </a:lnTo>
                  <a:lnTo>
                    <a:pt x="601" y="645"/>
                  </a:lnTo>
                  <a:lnTo>
                    <a:pt x="599" y="645"/>
                  </a:lnTo>
                  <a:lnTo>
                    <a:pt x="601" y="645"/>
                  </a:lnTo>
                  <a:lnTo>
                    <a:pt x="603" y="645"/>
                  </a:lnTo>
                  <a:lnTo>
                    <a:pt x="603" y="643"/>
                  </a:lnTo>
                  <a:lnTo>
                    <a:pt x="605" y="643"/>
                  </a:lnTo>
                  <a:lnTo>
                    <a:pt x="607" y="643"/>
                  </a:lnTo>
                  <a:lnTo>
                    <a:pt x="607" y="645"/>
                  </a:lnTo>
                  <a:lnTo>
                    <a:pt x="607" y="643"/>
                  </a:lnTo>
                  <a:lnTo>
                    <a:pt x="609" y="643"/>
                  </a:lnTo>
                  <a:lnTo>
                    <a:pt x="611" y="643"/>
                  </a:lnTo>
                  <a:close/>
                  <a:moveTo>
                    <a:pt x="253" y="536"/>
                  </a:moveTo>
                  <a:lnTo>
                    <a:pt x="255" y="536"/>
                  </a:lnTo>
                  <a:lnTo>
                    <a:pt x="255" y="538"/>
                  </a:lnTo>
                  <a:lnTo>
                    <a:pt x="253" y="538"/>
                  </a:lnTo>
                  <a:lnTo>
                    <a:pt x="253" y="539"/>
                  </a:lnTo>
                  <a:lnTo>
                    <a:pt x="252" y="539"/>
                  </a:lnTo>
                  <a:lnTo>
                    <a:pt x="250" y="539"/>
                  </a:lnTo>
                  <a:lnTo>
                    <a:pt x="250" y="538"/>
                  </a:lnTo>
                  <a:lnTo>
                    <a:pt x="252" y="538"/>
                  </a:lnTo>
                  <a:lnTo>
                    <a:pt x="252" y="536"/>
                  </a:lnTo>
                  <a:lnTo>
                    <a:pt x="253" y="536"/>
                  </a:lnTo>
                  <a:close/>
                  <a:moveTo>
                    <a:pt x="23" y="428"/>
                  </a:moveTo>
                  <a:lnTo>
                    <a:pt x="25" y="428"/>
                  </a:lnTo>
                  <a:lnTo>
                    <a:pt x="23" y="428"/>
                  </a:lnTo>
                  <a:lnTo>
                    <a:pt x="25" y="428"/>
                  </a:lnTo>
                  <a:lnTo>
                    <a:pt x="23" y="428"/>
                  </a:lnTo>
                  <a:lnTo>
                    <a:pt x="25" y="428"/>
                  </a:lnTo>
                  <a:lnTo>
                    <a:pt x="25" y="430"/>
                  </a:lnTo>
                  <a:lnTo>
                    <a:pt x="25" y="432"/>
                  </a:lnTo>
                  <a:lnTo>
                    <a:pt x="25" y="430"/>
                  </a:lnTo>
                  <a:lnTo>
                    <a:pt x="25" y="432"/>
                  </a:lnTo>
                  <a:lnTo>
                    <a:pt x="25" y="430"/>
                  </a:lnTo>
                  <a:lnTo>
                    <a:pt x="25" y="432"/>
                  </a:lnTo>
                  <a:lnTo>
                    <a:pt x="25" y="430"/>
                  </a:lnTo>
                  <a:lnTo>
                    <a:pt x="25" y="432"/>
                  </a:lnTo>
                  <a:lnTo>
                    <a:pt x="25" y="430"/>
                  </a:lnTo>
                  <a:lnTo>
                    <a:pt x="27" y="430"/>
                  </a:lnTo>
                  <a:lnTo>
                    <a:pt x="25" y="430"/>
                  </a:lnTo>
                  <a:lnTo>
                    <a:pt x="27" y="430"/>
                  </a:lnTo>
                  <a:lnTo>
                    <a:pt x="27" y="432"/>
                  </a:lnTo>
                  <a:lnTo>
                    <a:pt x="27" y="434"/>
                  </a:lnTo>
                  <a:lnTo>
                    <a:pt x="27" y="436"/>
                  </a:lnTo>
                  <a:lnTo>
                    <a:pt x="27" y="434"/>
                  </a:lnTo>
                  <a:lnTo>
                    <a:pt x="27" y="436"/>
                  </a:lnTo>
                  <a:lnTo>
                    <a:pt x="27" y="434"/>
                  </a:lnTo>
                  <a:lnTo>
                    <a:pt x="27" y="436"/>
                  </a:lnTo>
                  <a:lnTo>
                    <a:pt x="27" y="434"/>
                  </a:lnTo>
                  <a:lnTo>
                    <a:pt x="27" y="432"/>
                  </a:lnTo>
                  <a:lnTo>
                    <a:pt x="25" y="432"/>
                  </a:lnTo>
                  <a:lnTo>
                    <a:pt x="25" y="434"/>
                  </a:lnTo>
                  <a:lnTo>
                    <a:pt x="25" y="432"/>
                  </a:lnTo>
                  <a:lnTo>
                    <a:pt x="27" y="432"/>
                  </a:lnTo>
                  <a:lnTo>
                    <a:pt x="25" y="432"/>
                  </a:lnTo>
                  <a:lnTo>
                    <a:pt x="27" y="432"/>
                  </a:lnTo>
                  <a:lnTo>
                    <a:pt x="27" y="434"/>
                  </a:lnTo>
                  <a:lnTo>
                    <a:pt x="27" y="432"/>
                  </a:lnTo>
                  <a:lnTo>
                    <a:pt x="27" y="434"/>
                  </a:lnTo>
                  <a:lnTo>
                    <a:pt x="27" y="432"/>
                  </a:lnTo>
                  <a:lnTo>
                    <a:pt x="27" y="434"/>
                  </a:lnTo>
                  <a:lnTo>
                    <a:pt x="25" y="434"/>
                  </a:lnTo>
                  <a:lnTo>
                    <a:pt x="25" y="432"/>
                  </a:lnTo>
                  <a:lnTo>
                    <a:pt x="25" y="434"/>
                  </a:lnTo>
                  <a:lnTo>
                    <a:pt x="25" y="432"/>
                  </a:lnTo>
                  <a:lnTo>
                    <a:pt x="25" y="434"/>
                  </a:lnTo>
                  <a:lnTo>
                    <a:pt x="23" y="434"/>
                  </a:lnTo>
                  <a:lnTo>
                    <a:pt x="25" y="432"/>
                  </a:lnTo>
                  <a:lnTo>
                    <a:pt x="23" y="432"/>
                  </a:lnTo>
                  <a:lnTo>
                    <a:pt x="23" y="434"/>
                  </a:lnTo>
                  <a:lnTo>
                    <a:pt x="23" y="432"/>
                  </a:lnTo>
                  <a:lnTo>
                    <a:pt x="23" y="430"/>
                  </a:lnTo>
                  <a:lnTo>
                    <a:pt x="23" y="432"/>
                  </a:lnTo>
                  <a:lnTo>
                    <a:pt x="23" y="430"/>
                  </a:lnTo>
                  <a:lnTo>
                    <a:pt x="23" y="432"/>
                  </a:lnTo>
                  <a:lnTo>
                    <a:pt x="21" y="432"/>
                  </a:lnTo>
                  <a:lnTo>
                    <a:pt x="21" y="430"/>
                  </a:lnTo>
                  <a:lnTo>
                    <a:pt x="23" y="430"/>
                  </a:lnTo>
                  <a:lnTo>
                    <a:pt x="23" y="432"/>
                  </a:lnTo>
                  <a:lnTo>
                    <a:pt x="23" y="430"/>
                  </a:lnTo>
                  <a:lnTo>
                    <a:pt x="23" y="428"/>
                  </a:lnTo>
                  <a:close/>
                  <a:moveTo>
                    <a:pt x="584" y="918"/>
                  </a:moveTo>
                  <a:lnTo>
                    <a:pt x="584" y="920"/>
                  </a:lnTo>
                  <a:lnTo>
                    <a:pt x="586" y="920"/>
                  </a:lnTo>
                  <a:lnTo>
                    <a:pt x="586" y="922"/>
                  </a:lnTo>
                  <a:lnTo>
                    <a:pt x="584" y="922"/>
                  </a:lnTo>
                  <a:lnTo>
                    <a:pt x="586" y="922"/>
                  </a:lnTo>
                  <a:lnTo>
                    <a:pt x="586" y="923"/>
                  </a:lnTo>
                  <a:lnTo>
                    <a:pt x="584" y="923"/>
                  </a:lnTo>
                  <a:lnTo>
                    <a:pt x="584" y="925"/>
                  </a:lnTo>
                  <a:lnTo>
                    <a:pt x="584" y="927"/>
                  </a:lnTo>
                  <a:lnTo>
                    <a:pt x="584" y="925"/>
                  </a:lnTo>
                  <a:lnTo>
                    <a:pt x="582" y="925"/>
                  </a:lnTo>
                  <a:lnTo>
                    <a:pt x="582" y="923"/>
                  </a:lnTo>
                  <a:lnTo>
                    <a:pt x="582" y="922"/>
                  </a:lnTo>
                  <a:lnTo>
                    <a:pt x="582" y="920"/>
                  </a:lnTo>
                  <a:lnTo>
                    <a:pt x="584" y="920"/>
                  </a:lnTo>
                  <a:lnTo>
                    <a:pt x="584" y="918"/>
                  </a:lnTo>
                  <a:lnTo>
                    <a:pt x="584" y="920"/>
                  </a:lnTo>
                  <a:lnTo>
                    <a:pt x="584" y="918"/>
                  </a:lnTo>
                  <a:close/>
                  <a:moveTo>
                    <a:pt x="664" y="705"/>
                  </a:moveTo>
                  <a:lnTo>
                    <a:pt x="664" y="707"/>
                  </a:lnTo>
                  <a:lnTo>
                    <a:pt x="666" y="707"/>
                  </a:lnTo>
                  <a:lnTo>
                    <a:pt x="666" y="705"/>
                  </a:lnTo>
                  <a:lnTo>
                    <a:pt x="666" y="707"/>
                  </a:lnTo>
                  <a:lnTo>
                    <a:pt x="668" y="707"/>
                  </a:lnTo>
                  <a:lnTo>
                    <a:pt x="668" y="708"/>
                  </a:lnTo>
                  <a:lnTo>
                    <a:pt x="666" y="708"/>
                  </a:lnTo>
                  <a:lnTo>
                    <a:pt x="666" y="710"/>
                  </a:lnTo>
                  <a:lnTo>
                    <a:pt x="668" y="710"/>
                  </a:lnTo>
                  <a:lnTo>
                    <a:pt x="666" y="710"/>
                  </a:lnTo>
                  <a:lnTo>
                    <a:pt x="664" y="710"/>
                  </a:lnTo>
                  <a:lnTo>
                    <a:pt x="666" y="710"/>
                  </a:lnTo>
                  <a:lnTo>
                    <a:pt x="664" y="710"/>
                  </a:lnTo>
                  <a:lnTo>
                    <a:pt x="664" y="708"/>
                  </a:lnTo>
                  <a:lnTo>
                    <a:pt x="664" y="710"/>
                  </a:lnTo>
                  <a:lnTo>
                    <a:pt x="664" y="708"/>
                  </a:lnTo>
                  <a:lnTo>
                    <a:pt x="664" y="707"/>
                  </a:lnTo>
                  <a:lnTo>
                    <a:pt x="662" y="707"/>
                  </a:lnTo>
                  <a:lnTo>
                    <a:pt x="664" y="707"/>
                  </a:lnTo>
                  <a:lnTo>
                    <a:pt x="662" y="707"/>
                  </a:lnTo>
                  <a:lnTo>
                    <a:pt x="662" y="705"/>
                  </a:lnTo>
                  <a:lnTo>
                    <a:pt x="662" y="707"/>
                  </a:lnTo>
                  <a:lnTo>
                    <a:pt x="664" y="707"/>
                  </a:lnTo>
                  <a:lnTo>
                    <a:pt x="664" y="705"/>
                  </a:lnTo>
                  <a:lnTo>
                    <a:pt x="662" y="705"/>
                  </a:lnTo>
                  <a:lnTo>
                    <a:pt x="664" y="705"/>
                  </a:lnTo>
                  <a:close/>
                  <a:moveTo>
                    <a:pt x="853" y="703"/>
                  </a:moveTo>
                  <a:lnTo>
                    <a:pt x="853" y="705"/>
                  </a:lnTo>
                  <a:lnTo>
                    <a:pt x="851" y="705"/>
                  </a:lnTo>
                  <a:lnTo>
                    <a:pt x="851" y="707"/>
                  </a:lnTo>
                  <a:lnTo>
                    <a:pt x="849" y="707"/>
                  </a:lnTo>
                  <a:lnTo>
                    <a:pt x="847" y="707"/>
                  </a:lnTo>
                  <a:lnTo>
                    <a:pt x="847" y="708"/>
                  </a:lnTo>
                  <a:lnTo>
                    <a:pt x="847" y="707"/>
                  </a:lnTo>
                  <a:lnTo>
                    <a:pt x="847" y="705"/>
                  </a:lnTo>
                  <a:lnTo>
                    <a:pt x="849" y="705"/>
                  </a:lnTo>
                  <a:lnTo>
                    <a:pt x="849" y="703"/>
                  </a:lnTo>
                  <a:lnTo>
                    <a:pt x="849" y="705"/>
                  </a:lnTo>
                  <a:lnTo>
                    <a:pt x="849" y="703"/>
                  </a:lnTo>
                  <a:lnTo>
                    <a:pt x="851" y="703"/>
                  </a:lnTo>
                  <a:lnTo>
                    <a:pt x="851" y="705"/>
                  </a:lnTo>
                  <a:lnTo>
                    <a:pt x="849" y="705"/>
                  </a:lnTo>
                  <a:lnTo>
                    <a:pt x="851" y="705"/>
                  </a:lnTo>
                  <a:lnTo>
                    <a:pt x="849" y="705"/>
                  </a:lnTo>
                  <a:lnTo>
                    <a:pt x="851" y="705"/>
                  </a:lnTo>
                  <a:lnTo>
                    <a:pt x="851" y="703"/>
                  </a:lnTo>
                  <a:lnTo>
                    <a:pt x="851" y="705"/>
                  </a:lnTo>
                  <a:lnTo>
                    <a:pt x="851" y="703"/>
                  </a:lnTo>
                  <a:lnTo>
                    <a:pt x="853" y="703"/>
                  </a:lnTo>
                  <a:close/>
                  <a:moveTo>
                    <a:pt x="2" y="451"/>
                  </a:moveTo>
                  <a:lnTo>
                    <a:pt x="4" y="451"/>
                  </a:lnTo>
                  <a:lnTo>
                    <a:pt x="2" y="451"/>
                  </a:lnTo>
                  <a:lnTo>
                    <a:pt x="2" y="453"/>
                  </a:lnTo>
                  <a:lnTo>
                    <a:pt x="4" y="453"/>
                  </a:lnTo>
                  <a:lnTo>
                    <a:pt x="4" y="451"/>
                  </a:lnTo>
                  <a:lnTo>
                    <a:pt x="4" y="453"/>
                  </a:lnTo>
                  <a:lnTo>
                    <a:pt x="4" y="455"/>
                  </a:lnTo>
                  <a:lnTo>
                    <a:pt x="4" y="453"/>
                  </a:lnTo>
                  <a:lnTo>
                    <a:pt x="4" y="455"/>
                  </a:lnTo>
                  <a:lnTo>
                    <a:pt x="2" y="455"/>
                  </a:lnTo>
                  <a:lnTo>
                    <a:pt x="2" y="457"/>
                  </a:lnTo>
                  <a:lnTo>
                    <a:pt x="4" y="457"/>
                  </a:lnTo>
                  <a:lnTo>
                    <a:pt x="2" y="457"/>
                  </a:lnTo>
                  <a:lnTo>
                    <a:pt x="2" y="459"/>
                  </a:lnTo>
                  <a:lnTo>
                    <a:pt x="2" y="457"/>
                  </a:lnTo>
                  <a:lnTo>
                    <a:pt x="2" y="459"/>
                  </a:lnTo>
                  <a:lnTo>
                    <a:pt x="2" y="457"/>
                  </a:lnTo>
                  <a:lnTo>
                    <a:pt x="2" y="455"/>
                  </a:lnTo>
                  <a:lnTo>
                    <a:pt x="2" y="453"/>
                  </a:lnTo>
                  <a:lnTo>
                    <a:pt x="2" y="451"/>
                  </a:lnTo>
                  <a:close/>
                  <a:moveTo>
                    <a:pt x="340" y="505"/>
                  </a:moveTo>
                  <a:lnTo>
                    <a:pt x="342" y="505"/>
                  </a:lnTo>
                  <a:lnTo>
                    <a:pt x="342" y="507"/>
                  </a:lnTo>
                  <a:lnTo>
                    <a:pt x="340" y="507"/>
                  </a:lnTo>
                  <a:lnTo>
                    <a:pt x="340" y="509"/>
                  </a:lnTo>
                  <a:lnTo>
                    <a:pt x="340" y="507"/>
                  </a:lnTo>
                  <a:lnTo>
                    <a:pt x="340" y="509"/>
                  </a:lnTo>
                  <a:lnTo>
                    <a:pt x="340" y="507"/>
                  </a:lnTo>
                  <a:lnTo>
                    <a:pt x="338" y="509"/>
                  </a:lnTo>
                  <a:lnTo>
                    <a:pt x="338" y="507"/>
                  </a:lnTo>
                  <a:lnTo>
                    <a:pt x="338" y="505"/>
                  </a:lnTo>
                  <a:lnTo>
                    <a:pt x="338" y="507"/>
                  </a:lnTo>
                  <a:lnTo>
                    <a:pt x="338" y="505"/>
                  </a:lnTo>
                  <a:lnTo>
                    <a:pt x="340" y="505"/>
                  </a:lnTo>
                  <a:lnTo>
                    <a:pt x="338" y="507"/>
                  </a:lnTo>
                  <a:lnTo>
                    <a:pt x="340" y="505"/>
                  </a:lnTo>
                  <a:close/>
                  <a:moveTo>
                    <a:pt x="563" y="647"/>
                  </a:moveTo>
                  <a:lnTo>
                    <a:pt x="565" y="647"/>
                  </a:lnTo>
                  <a:lnTo>
                    <a:pt x="563" y="647"/>
                  </a:lnTo>
                  <a:lnTo>
                    <a:pt x="565" y="647"/>
                  </a:lnTo>
                  <a:lnTo>
                    <a:pt x="565" y="649"/>
                  </a:lnTo>
                  <a:lnTo>
                    <a:pt x="565" y="647"/>
                  </a:lnTo>
                  <a:lnTo>
                    <a:pt x="565" y="649"/>
                  </a:lnTo>
                  <a:lnTo>
                    <a:pt x="565" y="651"/>
                  </a:lnTo>
                  <a:lnTo>
                    <a:pt x="563" y="651"/>
                  </a:lnTo>
                  <a:lnTo>
                    <a:pt x="563" y="649"/>
                  </a:lnTo>
                  <a:lnTo>
                    <a:pt x="563" y="651"/>
                  </a:lnTo>
                  <a:lnTo>
                    <a:pt x="563" y="649"/>
                  </a:lnTo>
                  <a:lnTo>
                    <a:pt x="561" y="649"/>
                  </a:lnTo>
                  <a:lnTo>
                    <a:pt x="563" y="649"/>
                  </a:lnTo>
                  <a:lnTo>
                    <a:pt x="561" y="649"/>
                  </a:lnTo>
                  <a:lnTo>
                    <a:pt x="561" y="647"/>
                  </a:lnTo>
                  <a:lnTo>
                    <a:pt x="563" y="647"/>
                  </a:lnTo>
                  <a:close/>
                  <a:moveTo>
                    <a:pt x="455" y="605"/>
                  </a:moveTo>
                  <a:lnTo>
                    <a:pt x="455" y="607"/>
                  </a:lnTo>
                  <a:lnTo>
                    <a:pt x="457" y="607"/>
                  </a:lnTo>
                  <a:lnTo>
                    <a:pt x="459" y="607"/>
                  </a:lnTo>
                  <a:lnTo>
                    <a:pt x="459" y="609"/>
                  </a:lnTo>
                  <a:lnTo>
                    <a:pt x="459" y="607"/>
                  </a:lnTo>
                  <a:lnTo>
                    <a:pt x="457" y="607"/>
                  </a:lnTo>
                  <a:lnTo>
                    <a:pt x="457" y="609"/>
                  </a:lnTo>
                  <a:lnTo>
                    <a:pt x="455" y="609"/>
                  </a:lnTo>
                  <a:lnTo>
                    <a:pt x="455" y="607"/>
                  </a:lnTo>
                  <a:lnTo>
                    <a:pt x="455" y="605"/>
                  </a:lnTo>
                  <a:close/>
                  <a:moveTo>
                    <a:pt x="294" y="491"/>
                  </a:moveTo>
                  <a:lnTo>
                    <a:pt x="296" y="491"/>
                  </a:lnTo>
                  <a:lnTo>
                    <a:pt x="296" y="493"/>
                  </a:lnTo>
                  <a:lnTo>
                    <a:pt x="294" y="493"/>
                  </a:lnTo>
                  <a:lnTo>
                    <a:pt x="294" y="491"/>
                  </a:lnTo>
                  <a:lnTo>
                    <a:pt x="294" y="493"/>
                  </a:lnTo>
                  <a:lnTo>
                    <a:pt x="294" y="491"/>
                  </a:lnTo>
                  <a:lnTo>
                    <a:pt x="292" y="491"/>
                  </a:lnTo>
                  <a:lnTo>
                    <a:pt x="294" y="491"/>
                  </a:lnTo>
                  <a:close/>
                  <a:moveTo>
                    <a:pt x="317" y="499"/>
                  </a:moveTo>
                  <a:lnTo>
                    <a:pt x="319" y="499"/>
                  </a:lnTo>
                  <a:lnTo>
                    <a:pt x="317" y="499"/>
                  </a:lnTo>
                  <a:lnTo>
                    <a:pt x="319" y="499"/>
                  </a:lnTo>
                  <a:lnTo>
                    <a:pt x="321" y="499"/>
                  </a:lnTo>
                  <a:lnTo>
                    <a:pt x="321" y="501"/>
                  </a:lnTo>
                  <a:lnTo>
                    <a:pt x="319" y="501"/>
                  </a:lnTo>
                  <a:lnTo>
                    <a:pt x="317" y="501"/>
                  </a:lnTo>
                  <a:lnTo>
                    <a:pt x="319" y="501"/>
                  </a:lnTo>
                  <a:lnTo>
                    <a:pt x="317" y="501"/>
                  </a:lnTo>
                  <a:lnTo>
                    <a:pt x="317" y="499"/>
                  </a:lnTo>
                  <a:close/>
                  <a:moveTo>
                    <a:pt x="27" y="478"/>
                  </a:moveTo>
                  <a:lnTo>
                    <a:pt x="29" y="478"/>
                  </a:lnTo>
                  <a:lnTo>
                    <a:pt x="31" y="480"/>
                  </a:lnTo>
                  <a:lnTo>
                    <a:pt x="29" y="480"/>
                  </a:lnTo>
                  <a:lnTo>
                    <a:pt x="29" y="478"/>
                  </a:lnTo>
                  <a:lnTo>
                    <a:pt x="29" y="480"/>
                  </a:lnTo>
                  <a:lnTo>
                    <a:pt x="29" y="478"/>
                  </a:lnTo>
                  <a:lnTo>
                    <a:pt x="29" y="480"/>
                  </a:lnTo>
                  <a:lnTo>
                    <a:pt x="27" y="480"/>
                  </a:lnTo>
                  <a:lnTo>
                    <a:pt x="29" y="480"/>
                  </a:lnTo>
                  <a:lnTo>
                    <a:pt x="27" y="480"/>
                  </a:lnTo>
                  <a:lnTo>
                    <a:pt x="27" y="478"/>
                  </a:lnTo>
                  <a:close/>
                  <a:moveTo>
                    <a:pt x="275" y="524"/>
                  </a:moveTo>
                  <a:lnTo>
                    <a:pt x="275" y="526"/>
                  </a:lnTo>
                  <a:lnTo>
                    <a:pt x="275" y="524"/>
                  </a:lnTo>
                  <a:lnTo>
                    <a:pt x="275" y="526"/>
                  </a:lnTo>
                  <a:lnTo>
                    <a:pt x="273" y="526"/>
                  </a:lnTo>
                  <a:lnTo>
                    <a:pt x="273" y="528"/>
                  </a:lnTo>
                  <a:lnTo>
                    <a:pt x="273" y="530"/>
                  </a:lnTo>
                  <a:lnTo>
                    <a:pt x="271" y="530"/>
                  </a:lnTo>
                  <a:lnTo>
                    <a:pt x="273" y="530"/>
                  </a:lnTo>
                  <a:lnTo>
                    <a:pt x="273" y="528"/>
                  </a:lnTo>
                  <a:lnTo>
                    <a:pt x="271" y="528"/>
                  </a:lnTo>
                  <a:lnTo>
                    <a:pt x="273" y="528"/>
                  </a:lnTo>
                  <a:lnTo>
                    <a:pt x="273" y="526"/>
                  </a:lnTo>
                  <a:lnTo>
                    <a:pt x="273" y="528"/>
                  </a:lnTo>
                  <a:lnTo>
                    <a:pt x="271" y="528"/>
                  </a:lnTo>
                  <a:lnTo>
                    <a:pt x="271" y="526"/>
                  </a:lnTo>
                  <a:lnTo>
                    <a:pt x="273" y="526"/>
                  </a:lnTo>
                  <a:lnTo>
                    <a:pt x="275" y="526"/>
                  </a:lnTo>
                  <a:lnTo>
                    <a:pt x="275" y="524"/>
                  </a:lnTo>
                  <a:close/>
                  <a:moveTo>
                    <a:pt x="534" y="674"/>
                  </a:moveTo>
                  <a:lnTo>
                    <a:pt x="536" y="674"/>
                  </a:lnTo>
                  <a:lnTo>
                    <a:pt x="534" y="674"/>
                  </a:lnTo>
                  <a:lnTo>
                    <a:pt x="536" y="674"/>
                  </a:lnTo>
                  <a:lnTo>
                    <a:pt x="536" y="676"/>
                  </a:lnTo>
                  <a:lnTo>
                    <a:pt x="534" y="676"/>
                  </a:lnTo>
                  <a:lnTo>
                    <a:pt x="536" y="676"/>
                  </a:lnTo>
                  <a:lnTo>
                    <a:pt x="536" y="678"/>
                  </a:lnTo>
                  <a:lnTo>
                    <a:pt x="534" y="678"/>
                  </a:lnTo>
                  <a:lnTo>
                    <a:pt x="534" y="676"/>
                  </a:lnTo>
                  <a:lnTo>
                    <a:pt x="534" y="674"/>
                  </a:lnTo>
                  <a:close/>
                  <a:moveTo>
                    <a:pt x="536" y="678"/>
                  </a:moveTo>
                  <a:lnTo>
                    <a:pt x="534" y="678"/>
                  </a:lnTo>
                  <a:lnTo>
                    <a:pt x="536" y="678"/>
                  </a:lnTo>
                  <a:close/>
                  <a:moveTo>
                    <a:pt x="296" y="507"/>
                  </a:moveTo>
                  <a:lnTo>
                    <a:pt x="296" y="509"/>
                  </a:lnTo>
                  <a:lnTo>
                    <a:pt x="296" y="507"/>
                  </a:lnTo>
                  <a:lnTo>
                    <a:pt x="296" y="509"/>
                  </a:lnTo>
                  <a:lnTo>
                    <a:pt x="294" y="509"/>
                  </a:lnTo>
                  <a:lnTo>
                    <a:pt x="296" y="509"/>
                  </a:lnTo>
                  <a:lnTo>
                    <a:pt x="294" y="509"/>
                  </a:lnTo>
                  <a:lnTo>
                    <a:pt x="294" y="511"/>
                  </a:lnTo>
                  <a:lnTo>
                    <a:pt x="292" y="511"/>
                  </a:lnTo>
                  <a:lnTo>
                    <a:pt x="292" y="509"/>
                  </a:lnTo>
                  <a:lnTo>
                    <a:pt x="294" y="509"/>
                  </a:lnTo>
                  <a:lnTo>
                    <a:pt x="294" y="507"/>
                  </a:lnTo>
                  <a:lnTo>
                    <a:pt x="296" y="507"/>
                  </a:lnTo>
                  <a:close/>
                  <a:moveTo>
                    <a:pt x="555" y="641"/>
                  </a:moveTo>
                  <a:lnTo>
                    <a:pt x="555" y="643"/>
                  </a:lnTo>
                  <a:lnTo>
                    <a:pt x="553" y="643"/>
                  </a:lnTo>
                  <a:lnTo>
                    <a:pt x="551" y="643"/>
                  </a:lnTo>
                  <a:lnTo>
                    <a:pt x="549" y="643"/>
                  </a:lnTo>
                  <a:lnTo>
                    <a:pt x="551" y="643"/>
                  </a:lnTo>
                  <a:lnTo>
                    <a:pt x="549" y="643"/>
                  </a:lnTo>
                  <a:lnTo>
                    <a:pt x="551" y="643"/>
                  </a:lnTo>
                  <a:lnTo>
                    <a:pt x="549" y="643"/>
                  </a:lnTo>
                  <a:lnTo>
                    <a:pt x="551" y="643"/>
                  </a:lnTo>
                  <a:lnTo>
                    <a:pt x="553" y="643"/>
                  </a:lnTo>
                  <a:lnTo>
                    <a:pt x="553" y="641"/>
                  </a:lnTo>
                  <a:lnTo>
                    <a:pt x="553" y="643"/>
                  </a:lnTo>
                  <a:lnTo>
                    <a:pt x="553" y="641"/>
                  </a:lnTo>
                  <a:lnTo>
                    <a:pt x="553" y="643"/>
                  </a:lnTo>
                  <a:lnTo>
                    <a:pt x="553" y="641"/>
                  </a:lnTo>
                  <a:lnTo>
                    <a:pt x="555" y="641"/>
                  </a:lnTo>
                  <a:close/>
                  <a:moveTo>
                    <a:pt x="668" y="685"/>
                  </a:moveTo>
                  <a:lnTo>
                    <a:pt x="668" y="687"/>
                  </a:lnTo>
                  <a:lnTo>
                    <a:pt x="668" y="685"/>
                  </a:lnTo>
                  <a:lnTo>
                    <a:pt x="668" y="687"/>
                  </a:lnTo>
                  <a:lnTo>
                    <a:pt x="668" y="685"/>
                  </a:lnTo>
                  <a:lnTo>
                    <a:pt x="668" y="687"/>
                  </a:lnTo>
                  <a:lnTo>
                    <a:pt x="668" y="685"/>
                  </a:lnTo>
                  <a:lnTo>
                    <a:pt x="670" y="685"/>
                  </a:lnTo>
                  <a:lnTo>
                    <a:pt x="668" y="685"/>
                  </a:lnTo>
                  <a:lnTo>
                    <a:pt x="670" y="685"/>
                  </a:lnTo>
                  <a:lnTo>
                    <a:pt x="670" y="687"/>
                  </a:lnTo>
                  <a:lnTo>
                    <a:pt x="670" y="685"/>
                  </a:lnTo>
                  <a:lnTo>
                    <a:pt x="670" y="687"/>
                  </a:lnTo>
                  <a:lnTo>
                    <a:pt x="670" y="689"/>
                  </a:lnTo>
                  <a:lnTo>
                    <a:pt x="670" y="687"/>
                  </a:lnTo>
                  <a:lnTo>
                    <a:pt x="668" y="687"/>
                  </a:lnTo>
                  <a:lnTo>
                    <a:pt x="666" y="687"/>
                  </a:lnTo>
                  <a:lnTo>
                    <a:pt x="668" y="687"/>
                  </a:lnTo>
                  <a:lnTo>
                    <a:pt x="668" y="685"/>
                  </a:lnTo>
                  <a:lnTo>
                    <a:pt x="668" y="687"/>
                  </a:lnTo>
                  <a:lnTo>
                    <a:pt x="666" y="687"/>
                  </a:lnTo>
                  <a:lnTo>
                    <a:pt x="666" y="685"/>
                  </a:lnTo>
                  <a:lnTo>
                    <a:pt x="668" y="685"/>
                  </a:lnTo>
                  <a:close/>
                  <a:moveTo>
                    <a:pt x="33" y="447"/>
                  </a:moveTo>
                  <a:lnTo>
                    <a:pt x="33" y="449"/>
                  </a:lnTo>
                  <a:lnTo>
                    <a:pt x="35" y="449"/>
                  </a:lnTo>
                  <a:lnTo>
                    <a:pt x="36" y="449"/>
                  </a:lnTo>
                  <a:lnTo>
                    <a:pt x="35" y="449"/>
                  </a:lnTo>
                  <a:lnTo>
                    <a:pt x="36" y="449"/>
                  </a:lnTo>
                  <a:lnTo>
                    <a:pt x="35" y="449"/>
                  </a:lnTo>
                  <a:lnTo>
                    <a:pt x="33" y="449"/>
                  </a:lnTo>
                  <a:lnTo>
                    <a:pt x="35" y="449"/>
                  </a:lnTo>
                  <a:lnTo>
                    <a:pt x="33" y="449"/>
                  </a:lnTo>
                  <a:lnTo>
                    <a:pt x="35" y="449"/>
                  </a:lnTo>
                  <a:lnTo>
                    <a:pt x="33" y="449"/>
                  </a:lnTo>
                  <a:lnTo>
                    <a:pt x="33" y="451"/>
                  </a:lnTo>
                  <a:lnTo>
                    <a:pt x="33" y="449"/>
                  </a:lnTo>
                  <a:lnTo>
                    <a:pt x="31" y="449"/>
                  </a:lnTo>
                  <a:lnTo>
                    <a:pt x="33" y="449"/>
                  </a:lnTo>
                  <a:lnTo>
                    <a:pt x="31" y="449"/>
                  </a:lnTo>
                  <a:lnTo>
                    <a:pt x="33" y="449"/>
                  </a:lnTo>
                  <a:lnTo>
                    <a:pt x="33" y="447"/>
                  </a:lnTo>
                  <a:close/>
                  <a:moveTo>
                    <a:pt x="27" y="476"/>
                  </a:moveTo>
                  <a:lnTo>
                    <a:pt x="29" y="476"/>
                  </a:lnTo>
                  <a:lnTo>
                    <a:pt x="31" y="476"/>
                  </a:lnTo>
                  <a:lnTo>
                    <a:pt x="29" y="476"/>
                  </a:lnTo>
                  <a:lnTo>
                    <a:pt x="29" y="478"/>
                  </a:lnTo>
                  <a:lnTo>
                    <a:pt x="29" y="476"/>
                  </a:lnTo>
                  <a:lnTo>
                    <a:pt x="31" y="476"/>
                  </a:lnTo>
                  <a:lnTo>
                    <a:pt x="31" y="478"/>
                  </a:lnTo>
                  <a:lnTo>
                    <a:pt x="29" y="478"/>
                  </a:lnTo>
                  <a:lnTo>
                    <a:pt x="29" y="476"/>
                  </a:lnTo>
                  <a:lnTo>
                    <a:pt x="29" y="478"/>
                  </a:lnTo>
                  <a:lnTo>
                    <a:pt x="29" y="476"/>
                  </a:lnTo>
                  <a:lnTo>
                    <a:pt x="27" y="476"/>
                  </a:lnTo>
                  <a:lnTo>
                    <a:pt x="27" y="478"/>
                  </a:lnTo>
                  <a:lnTo>
                    <a:pt x="27" y="476"/>
                  </a:lnTo>
                  <a:close/>
                  <a:moveTo>
                    <a:pt x="680" y="701"/>
                  </a:moveTo>
                  <a:lnTo>
                    <a:pt x="682" y="701"/>
                  </a:lnTo>
                  <a:lnTo>
                    <a:pt x="682" y="703"/>
                  </a:lnTo>
                  <a:lnTo>
                    <a:pt x="680" y="703"/>
                  </a:lnTo>
                  <a:lnTo>
                    <a:pt x="682" y="703"/>
                  </a:lnTo>
                  <a:lnTo>
                    <a:pt x="680" y="703"/>
                  </a:lnTo>
                  <a:lnTo>
                    <a:pt x="680" y="705"/>
                  </a:lnTo>
                  <a:lnTo>
                    <a:pt x="682" y="705"/>
                  </a:lnTo>
                  <a:lnTo>
                    <a:pt x="680" y="705"/>
                  </a:lnTo>
                  <a:lnTo>
                    <a:pt x="682" y="705"/>
                  </a:lnTo>
                  <a:lnTo>
                    <a:pt x="680" y="705"/>
                  </a:lnTo>
                  <a:lnTo>
                    <a:pt x="680" y="707"/>
                  </a:lnTo>
                  <a:lnTo>
                    <a:pt x="680" y="705"/>
                  </a:lnTo>
                  <a:lnTo>
                    <a:pt x="680" y="703"/>
                  </a:lnTo>
                  <a:lnTo>
                    <a:pt x="680" y="701"/>
                  </a:lnTo>
                  <a:close/>
                  <a:moveTo>
                    <a:pt x="27" y="480"/>
                  </a:moveTo>
                  <a:lnTo>
                    <a:pt x="29" y="480"/>
                  </a:lnTo>
                  <a:lnTo>
                    <a:pt x="27" y="480"/>
                  </a:lnTo>
                  <a:lnTo>
                    <a:pt x="27" y="482"/>
                  </a:lnTo>
                  <a:lnTo>
                    <a:pt x="25" y="482"/>
                  </a:lnTo>
                  <a:lnTo>
                    <a:pt x="27" y="484"/>
                  </a:lnTo>
                  <a:lnTo>
                    <a:pt x="25" y="484"/>
                  </a:lnTo>
                  <a:lnTo>
                    <a:pt x="25" y="482"/>
                  </a:lnTo>
                  <a:lnTo>
                    <a:pt x="27" y="482"/>
                  </a:lnTo>
                  <a:lnTo>
                    <a:pt x="27" y="480"/>
                  </a:lnTo>
                  <a:close/>
                  <a:moveTo>
                    <a:pt x="315" y="499"/>
                  </a:moveTo>
                  <a:lnTo>
                    <a:pt x="317" y="499"/>
                  </a:lnTo>
                  <a:lnTo>
                    <a:pt x="315" y="499"/>
                  </a:lnTo>
                  <a:lnTo>
                    <a:pt x="315" y="501"/>
                  </a:lnTo>
                  <a:lnTo>
                    <a:pt x="315" y="499"/>
                  </a:lnTo>
                  <a:lnTo>
                    <a:pt x="315" y="501"/>
                  </a:lnTo>
                  <a:lnTo>
                    <a:pt x="315" y="499"/>
                  </a:lnTo>
                  <a:lnTo>
                    <a:pt x="313" y="499"/>
                  </a:lnTo>
                  <a:lnTo>
                    <a:pt x="315" y="499"/>
                  </a:lnTo>
                  <a:lnTo>
                    <a:pt x="313" y="499"/>
                  </a:lnTo>
                  <a:lnTo>
                    <a:pt x="315" y="499"/>
                  </a:lnTo>
                  <a:lnTo>
                    <a:pt x="315" y="497"/>
                  </a:lnTo>
                  <a:lnTo>
                    <a:pt x="315" y="499"/>
                  </a:lnTo>
                  <a:close/>
                  <a:moveTo>
                    <a:pt x="580" y="649"/>
                  </a:moveTo>
                  <a:lnTo>
                    <a:pt x="580" y="651"/>
                  </a:lnTo>
                  <a:lnTo>
                    <a:pt x="582" y="651"/>
                  </a:lnTo>
                  <a:lnTo>
                    <a:pt x="582" y="653"/>
                  </a:lnTo>
                  <a:lnTo>
                    <a:pt x="582" y="651"/>
                  </a:lnTo>
                  <a:lnTo>
                    <a:pt x="582" y="653"/>
                  </a:lnTo>
                  <a:lnTo>
                    <a:pt x="582" y="651"/>
                  </a:lnTo>
                  <a:lnTo>
                    <a:pt x="580" y="651"/>
                  </a:lnTo>
                  <a:lnTo>
                    <a:pt x="580" y="653"/>
                  </a:lnTo>
                  <a:lnTo>
                    <a:pt x="580" y="651"/>
                  </a:lnTo>
                  <a:lnTo>
                    <a:pt x="580" y="649"/>
                  </a:lnTo>
                  <a:close/>
                  <a:moveTo>
                    <a:pt x="547" y="643"/>
                  </a:moveTo>
                  <a:lnTo>
                    <a:pt x="549" y="643"/>
                  </a:lnTo>
                  <a:lnTo>
                    <a:pt x="547" y="643"/>
                  </a:lnTo>
                  <a:lnTo>
                    <a:pt x="547" y="645"/>
                  </a:lnTo>
                  <a:lnTo>
                    <a:pt x="547" y="643"/>
                  </a:lnTo>
                  <a:lnTo>
                    <a:pt x="547" y="645"/>
                  </a:lnTo>
                  <a:lnTo>
                    <a:pt x="547" y="643"/>
                  </a:lnTo>
                  <a:lnTo>
                    <a:pt x="545" y="643"/>
                  </a:lnTo>
                  <a:lnTo>
                    <a:pt x="543" y="643"/>
                  </a:lnTo>
                  <a:lnTo>
                    <a:pt x="545" y="643"/>
                  </a:lnTo>
                  <a:lnTo>
                    <a:pt x="547" y="643"/>
                  </a:lnTo>
                  <a:close/>
                  <a:moveTo>
                    <a:pt x="31" y="457"/>
                  </a:moveTo>
                  <a:lnTo>
                    <a:pt x="31" y="459"/>
                  </a:lnTo>
                  <a:lnTo>
                    <a:pt x="29" y="459"/>
                  </a:lnTo>
                  <a:lnTo>
                    <a:pt x="31" y="459"/>
                  </a:lnTo>
                  <a:lnTo>
                    <a:pt x="29" y="459"/>
                  </a:lnTo>
                  <a:lnTo>
                    <a:pt x="29" y="461"/>
                  </a:lnTo>
                  <a:lnTo>
                    <a:pt x="29" y="459"/>
                  </a:lnTo>
                  <a:lnTo>
                    <a:pt x="29" y="461"/>
                  </a:lnTo>
                  <a:lnTo>
                    <a:pt x="29" y="459"/>
                  </a:lnTo>
                  <a:lnTo>
                    <a:pt x="29" y="461"/>
                  </a:lnTo>
                  <a:lnTo>
                    <a:pt x="27" y="461"/>
                  </a:lnTo>
                  <a:lnTo>
                    <a:pt x="27" y="459"/>
                  </a:lnTo>
                  <a:lnTo>
                    <a:pt x="29" y="459"/>
                  </a:lnTo>
                  <a:lnTo>
                    <a:pt x="31" y="459"/>
                  </a:lnTo>
                  <a:lnTo>
                    <a:pt x="31" y="457"/>
                  </a:lnTo>
                  <a:close/>
                  <a:moveTo>
                    <a:pt x="355" y="501"/>
                  </a:moveTo>
                  <a:lnTo>
                    <a:pt x="357" y="501"/>
                  </a:lnTo>
                  <a:lnTo>
                    <a:pt x="357" y="503"/>
                  </a:lnTo>
                  <a:lnTo>
                    <a:pt x="355" y="503"/>
                  </a:lnTo>
                  <a:lnTo>
                    <a:pt x="357" y="503"/>
                  </a:lnTo>
                  <a:lnTo>
                    <a:pt x="355" y="503"/>
                  </a:lnTo>
                  <a:lnTo>
                    <a:pt x="355" y="501"/>
                  </a:lnTo>
                  <a:lnTo>
                    <a:pt x="355" y="503"/>
                  </a:lnTo>
                  <a:lnTo>
                    <a:pt x="353" y="503"/>
                  </a:lnTo>
                  <a:lnTo>
                    <a:pt x="353" y="501"/>
                  </a:lnTo>
                  <a:lnTo>
                    <a:pt x="355" y="501"/>
                  </a:lnTo>
                  <a:lnTo>
                    <a:pt x="353" y="501"/>
                  </a:lnTo>
                  <a:lnTo>
                    <a:pt x="355" y="501"/>
                  </a:lnTo>
                  <a:close/>
                  <a:moveTo>
                    <a:pt x="649" y="666"/>
                  </a:moveTo>
                  <a:lnTo>
                    <a:pt x="647" y="666"/>
                  </a:lnTo>
                  <a:lnTo>
                    <a:pt x="647" y="668"/>
                  </a:lnTo>
                  <a:lnTo>
                    <a:pt x="649" y="668"/>
                  </a:lnTo>
                  <a:lnTo>
                    <a:pt x="647" y="668"/>
                  </a:lnTo>
                  <a:lnTo>
                    <a:pt x="649" y="668"/>
                  </a:lnTo>
                  <a:lnTo>
                    <a:pt x="647" y="668"/>
                  </a:lnTo>
                  <a:lnTo>
                    <a:pt x="645" y="668"/>
                  </a:lnTo>
                  <a:lnTo>
                    <a:pt x="647" y="668"/>
                  </a:lnTo>
                  <a:lnTo>
                    <a:pt x="645" y="668"/>
                  </a:lnTo>
                  <a:lnTo>
                    <a:pt x="647" y="668"/>
                  </a:lnTo>
                  <a:lnTo>
                    <a:pt x="645" y="668"/>
                  </a:lnTo>
                  <a:lnTo>
                    <a:pt x="647" y="668"/>
                  </a:lnTo>
                  <a:lnTo>
                    <a:pt x="647" y="666"/>
                  </a:lnTo>
                  <a:lnTo>
                    <a:pt x="647" y="668"/>
                  </a:lnTo>
                  <a:lnTo>
                    <a:pt x="647" y="666"/>
                  </a:lnTo>
                  <a:lnTo>
                    <a:pt x="649" y="666"/>
                  </a:lnTo>
                  <a:lnTo>
                    <a:pt x="647" y="666"/>
                  </a:lnTo>
                  <a:lnTo>
                    <a:pt x="649" y="666"/>
                  </a:lnTo>
                  <a:close/>
                  <a:moveTo>
                    <a:pt x="21" y="445"/>
                  </a:moveTo>
                  <a:lnTo>
                    <a:pt x="21" y="447"/>
                  </a:lnTo>
                  <a:lnTo>
                    <a:pt x="23" y="447"/>
                  </a:lnTo>
                  <a:lnTo>
                    <a:pt x="21" y="447"/>
                  </a:lnTo>
                  <a:lnTo>
                    <a:pt x="19" y="447"/>
                  </a:lnTo>
                  <a:lnTo>
                    <a:pt x="19" y="449"/>
                  </a:lnTo>
                  <a:lnTo>
                    <a:pt x="19" y="447"/>
                  </a:lnTo>
                  <a:lnTo>
                    <a:pt x="19" y="449"/>
                  </a:lnTo>
                  <a:lnTo>
                    <a:pt x="19" y="447"/>
                  </a:lnTo>
                  <a:lnTo>
                    <a:pt x="19" y="449"/>
                  </a:lnTo>
                  <a:lnTo>
                    <a:pt x="19" y="447"/>
                  </a:lnTo>
                  <a:lnTo>
                    <a:pt x="21" y="447"/>
                  </a:lnTo>
                  <a:lnTo>
                    <a:pt x="19" y="447"/>
                  </a:lnTo>
                  <a:lnTo>
                    <a:pt x="21" y="447"/>
                  </a:lnTo>
                  <a:lnTo>
                    <a:pt x="19" y="447"/>
                  </a:lnTo>
                  <a:lnTo>
                    <a:pt x="19" y="445"/>
                  </a:lnTo>
                  <a:lnTo>
                    <a:pt x="19" y="447"/>
                  </a:lnTo>
                  <a:lnTo>
                    <a:pt x="19" y="445"/>
                  </a:lnTo>
                  <a:lnTo>
                    <a:pt x="21" y="445"/>
                  </a:lnTo>
                  <a:lnTo>
                    <a:pt x="19" y="445"/>
                  </a:lnTo>
                  <a:lnTo>
                    <a:pt x="21" y="445"/>
                  </a:lnTo>
                  <a:close/>
                  <a:moveTo>
                    <a:pt x="447" y="620"/>
                  </a:moveTo>
                  <a:lnTo>
                    <a:pt x="449" y="620"/>
                  </a:lnTo>
                  <a:lnTo>
                    <a:pt x="447" y="620"/>
                  </a:lnTo>
                  <a:lnTo>
                    <a:pt x="447" y="622"/>
                  </a:lnTo>
                  <a:lnTo>
                    <a:pt x="449" y="622"/>
                  </a:lnTo>
                  <a:lnTo>
                    <a:pt x="449" y="624"/>
                  </a:lnTo>
                  <a:lnTo>
                    <a:pt x="447" y="624"/>
                  </a:lnTo>
                  <a:lnTo>
                    <a:pt x="447" y="622"/>
                  </a:lnTo>
                  <a:lnTo>
                    <a:pt x="447" y="620"/>
                  </a:lnTo>
                  <a:close/>
                  <a:moveTo>
                    <a:pt x="36" y="461"/>
                  </a:moveTo>
                  <a:lnTo>
                    <a:pt x="36" y="459"/>
                  </a:lnTo>
                  <a:lnTo>
                    <a:pt x="36" y="461"/>
                  </a:lnTo>
                  <a:lnTo>
                    <a:pt x="38" y="461"/>
                  </a:lnTo>
                  <a:lnTo>
                    <a:pt x="40" y="461"/>
                  </a:lnTo>
                  <a:lnTo>
                    <a:pt x="38" y="461"/>
                  </a:lnTo>
                  <a:lnTo>
                    <a:pt x="36" y="461"/>
                  </a:lnTo>
                  <a:lnTo>
                    <a:pt x="38" y="461"/>
                  </a:lnTo>
                  <a:lnTo>
                    <a:pt x="36" y="461"/>
                  </a:lnTo>
                  <a:lnTo>
                    <a:pt x="35" y="461"/>
                  </a:lnTo>
                  <a:lnTo>
                    <a:pt x="36" y="461"/>
                  </a:lnTo>
                  <a:lnTo>
                    <a:pt x="36" y="459"/>
                  </a:lnTo>
                  <a:lnTo>
                    <a:pt x="36" y="461"/>
                  </a:lnTo>
                  <a:close/>
                  <a:moveTo>
                    <a:pt x="323" y="499"/>
                  </a:moveTo>
                  <a:lnTo>
                    <a:pt x="323" y="501"/>
                  </a:lnTo>
                  <a:lnTo>
                    <a:pt x="325" y="501"/>
                  </a:lnTo>
                  <a:lnTo>
                    <a:pt x="323" y="501"/>
                  </a:lnTo>
                  <a:lnTo>
                    <a:pt x="321" y="501"/>
                  </a:lnTo>
                  <a:lnTo>
                    <a:pt x="321" y="499"/>
                  </a:lnTo>
                  <a:lnTo>
                    <a:pt x="323" y="499"/>
                  </a:lnTo>
                  <a:close/>
                  <a:moveTo>
                    <a:pt x="653" y="672"/>
                  </a:moveTo>
                  <a:lnTo>
                    <a:pt x="653" y="674"/>
                  </a:lnTo>
                  <a:lnTo>
                    <a:pt x="653" y="672"/>
                  </a:lnTo>
                  <a:lnTo>
                    <a:pt x="653" y="674"/>
                  </a:lnTo>
                  <a:lnTo>
                    <a:pt x="655" y="674"/>
                  </a:lnTo>
                  <a:lnTo>
                    <a:pt x="653" y="674"/>
                  </a:lnTo>
                  <a:lnTo>
                    <a:pt x="653" y="676"/>
                  </a:lnTo>
                  <a:lnTo>
                    <a:pt x="653" y="674"/>
                  </a:lnTo>
                  <a:lnTo>
                    <a:pt x="653" y="672"/>
                  </a:lnTo>
                  <a:close/>
                  <a:moveTo>
                    <a:pt x="572" y="645"/>
                  </a:moveTo>
                  <a:lnTo>
                    <a:pt x="572" y="647"/>
                  </a:lnTo>
                  <a:lnTo>
                    <a:pt x="570" y="647"/>
                  </a:lnTo>
                  <a:lnTo>
                    <a:pt x="570" y="649"/>
                  </a:lnTo>
                  <a:lnTo>
                    <a:pt x="570" y="647"/>
                  </a:lnTo>
                  <a:lnTo>
                    <a:pt x="570" y="645"/>
                  </a:lnTo>
                  <a:lnTo>
                    <a:pt x="572" y="645"/>
                  </a:lnTo>
                  <a:close/>
                  <a:moveTo>
                    <a:pt x="908" y="639"/>
                  </a:moveTo>
                  <a:lnTo>
                    <a:pt x="908" y="641"/>
                  </a:lnTo>
                  <a:lnTo>
                    <a:pt x="906" y="641"/>
                  </a:lnTo>
                  <a:lnTo>
                    <a:pt x="906" y="643"/>
                  </a:lnTo>
                  <a:lnTo>
                    <a:pt x="904" y="643"/>
                  </a:lnTo>
                  <a:lnTo>
                    <a:pt x="904" y="641"/>
                  </a:lnTo>
                  <a:lnTo>
                    <a:pt x="906" y="641"/>
                  </a:lnTo>
                  <a:lnTo>
                    <a:pt x="908" y="641"/>
                  </a:lnTo>
                  <a:lnTo>
                    <a:pt x="908" y="639"/>
                  </a:lnTo>
                  <a:close/>
                  <a:moveTo>
                    <a:pt x="668" y="705"/>
                  </a:moveTo>
                  <a:lnTo>
                    <a:pt x="670" y="705"/>
                  </a:lnTo>
                  <a:lnTo>
                    <a:pt x="670" y="707"/>
                  </a:lnTo>
                  <a:lnTo>
                    <a:pt x="668" y="707"/>
                  </a:lnTo>
                  <a:lnTo>
                    <a:pt x="668" y="705"/>
                  </a:lnTo>
                  <a:close/>
                  <a:moveTo>
                    <a:pt x="21" y="455"/>
                  </a:moveTo>
                  <a:lnTo>
                    <a:pt x="21" y="457"/>
                  </a:lnTo>
                  <a:lnTo>
                    <a:pt x="21" y="455"/>
                  </a:lnTo>
                  <a:lnTo>
                    <a:pt x="21" y="457"/>
                  </a:lnTo>
                  <a:lnTo>
                    <a:pt x="21" y="455"/>
                  </a:lnTo>
                  <a:lnTo>
                    <a:pt x="21" y="457"/>
                  </a:lnTo>
                  <a:lnTo>
                    <a:pt x="23" y="457"/>
                  </a:lnTo>
                  <a:lnTo>
                    <a:pt x="21" y="457"/>
                  </a:lnTo>
                  <a:lnTo>
                    <a:pt x="23" y="457"/>
                  </a:lnTo>
                  <a:lnTo>
                    <a:pt x="23" y="455"/>
                  </a:lnTo>
                  <a:lnTo>
                    <a:pt x="23" y="457"/>
                  </a:lnTo>
                  <a:lnTo>
                    <a:pt x="21" y="457"/>
                  </a:lnTo>
                  <a:lnTo>
                    <a:pt x="19" y="457"/>
                  </a:lnTo>
                  <a:lnTo>
                    <a:pt x="21" y="457"/>
                  </a:lnTo>
                  <a:lnTo>
                    <a:pt x="21" y="455"/>
                  </a:lnTo>
                  <a:close/>
                  <a:moveTo>
                    <a:pt x="40" y="467"/>
                  </a:moveTo>
                  <a:lnTo>
                    <a:pt x="40" y="468"/>
                  </a:lnTo>
                  <a:lnTo>
                    <a:pt x="42" y="468"/>
                  </a:lnTo>
                  <a:lnTo>
                    <a:pt x="40" y="468"/>
                  </a:lnTo>
                  <a:lnTo>
                    <a:pt x="42" y="468"/>
                  </a:lnTo>
                  <a:lnTo>
                    <a:pt x="40" y="468"/>
                  </a:lnTo>
                  <a:lnTo>
                    <a:pt x="42" y="468"/>
                  </a:lnTo>
                  <a:lnTo>
                    <a:pt x="40" y="468"/>
                  </a:lnTo>
                  <a:lnTo>
                    <a:pt x="42" y="468"/>
                  </a:lnTo>
                  <a:lnTo>
                    <a:pt x="42" y="470"/>
                  </a:lnTo>
                  <a:lnTo>
                    <a:pt x="40" y="470"/>
                  </a:lnTo>
                  <a:lnTo>
                    <a:pt x="42" y="470"/>
                  </a:lnTo>
                  <a:lnTo>
                    <a:pt x="40" y="470"/>
                  </a:lnTo>
                  <a:lnTo>
                    <a:pt x="42" y="470"/>
                  </a:lnTo>
                  <a:lnTo>
                    <a:pt x="40" y="470"/>
                  </a:lnTo>
                  <a:lnTo>
                    <a:pt x="40" y="468"/>
                  </a:lnTo>
                  <a:lnTo>
                    <a:pt x="40" y="467"/>
                  </a:lnTo>
                  <a:close/>
                  <a:moveTo>
                    <a:pt x="21" y="467"/>
                  </a:moveTo>
                  <a:lnTo>
                    <a:pt x="21" y="468"/>
                  </a:lnTo>
                  <a:lnTo>
                    <a:pt x="21" y="467"/>
                  </a:lnTo>
                  <a:lnTo>
                    <a:pt x="21" y="468"/>
                  </a:lnTo>
                  <a:lnTo>
                    <a:pt x="21" y="467"/>
                  </a:lnTo>
                  <a:lnTo>
                    <a:pt x="21" y="468"/>
                  </a:lnTo>
                  <a:lnTo>
                    <a:pt x="23" y="468"/>
                  </a:lnTo>
                  <a:lnTo>
                    <a:pt x="21" y="468"/>
                  </a:lnTo>
                  <a:lnTo>
                    <a:pt x="21" y="467"/>
                  </a:lnTo>
                  <a:lnTo>
                    <a:pt x="23" y="467"/>
                  </a:lnTo>
                  <a:lnTo>
                    <a:pt x="23" y="468"/>
                  </a:lnTo>
                  <a:lnTo>
                    <a:pt x="21" y="468"/>
                  </a:lnTo>
                  <a:lnTo>
                    <a:pt x="19" y="468"/>
                  </a:lnTo>
                  <a:lnTo>
                    <a:pt x="21" y="468"/>
                  </a:lnTo>
                  <a:lnTo>
                    <a:pt x="19" y="468"/>
                  </a:lnTo>
                  <a:lnTo>
                    <a:pt x="19" y="467"/>
                  </a:lnTo>
                  <a:lnTo>
                    <a:pt x="21" y="467"/>
                  </a:lnTo>
                  <a:lnTo>
                    <a:pt x="21" y="468"/>
                  </a:lnTo>
                  <a:lnTo>
                    <a:pt x="21" y="467"/>
                  </a:lnTo>
                  <a:close/>
                  <a:moveTo>
                    <a:pt x="19" y="445"/>
                  </a:moveTo>
                  <a:lnTo>
                    <a:pt x="17" y="445"/>
                  </a:lnTo>
                  <a:lnTo>
                    <a:pt x="17" y="447"/>
                  </a:lnTo>
                  <a:lnTo>
                    <a:pt x="15" y="447"/>
                  </a:lnTo>
                  <a:lnTo>
                    <a:pt x="15" y="445"/>
                  </a:lnTo>
                  <a:lnTo>
                    <a:pt x="15" y="447"/>
                  </a:lnTo>
                  <a:lnTo>
                    <a:pt x="15" y="445"/>
                  </a:lnTo>
                  <a:lnTo>
                    <a:pt x="15" y="447"/>
                  </a:lnTo>
                  <a:lnTo>
                    <a:pt x="15" y="445"/>
                  </a:lnTo>
                  <a:lnTo>
                    <a:pt x="17" y="445"/>
                  </a:lnTo>
                  <a:lnTo>
                    <a:pt x="19" y="445"/>
                  </a:lnTo>
                  <a:close/>
                  <a:moveTo>
                    <a:pt x="591" y="689"/>
                  </a:moveTo>
                  <a:lnTo>
                    <a:pt x="593" y="689"/>
                  </a:lnTo>
                  <a:lnTo>
                    <a:pt x="593" y="691"/>
                  </a:lnTo>
                  <a:lnTo>
                    <a:pt x="591" y="691"/>
                  </a:lnTo>
                  <a:lnTo>
                    <a:pt x="591" y="689"/>
                  </a:lnTo>
                  <a:lnTo>
                    <a:pt x="591" y="691"/>
                  </a:lnTo>
                  <a:lnTo>
                    <a:pt x="591" y="689"/>
                  </a:lnTo>
                  <a:lnTo>
                    <a:pt x="590" y="689"/>
                  </a:lnTo>
                  <a:lnTo>
                    <a:pt x="590" y="691"/>
                  </a:lnTo>
                  <a:lnTo>
                    <a:pt x="590" y="689"/>
                  </a:lnTo>
                  <a:lnTo>
                    <a:pt x="591" y="689"/>
                  </a:lnTo>
                  <a:close/>
                  <a:moveTo>
                    <a:pt x="566" y="645"/>
                  </a:moveTo>
                  <a:lnTo>
                    <a:pt x="566" y="647"/>
                  </a:lnTo>
                  <a:lnTo>
                    <a:pt x="566" y="645"/>
                  </a:lnTo>
                  <a:lnTo>
                    <a:pt x="566" y="647"/>
                  </a:lnTo>
                  <a:lnTo>
                    <a:pt x="568" y="647"/>
                  </a:lnTo>
                  <a:lnTo>
                    <a:pt x="568" y="645"/>
                  </a:lnTo>
                  <a:lnTo>
                    <a:pt x="568" y="647"/>
                  </a:lnTo>
                  <a:lnTo>
                    <a:pt x="566" y="647"/>
                  </a:lnTo>
                  <a:lnTo>
                    <a:pt x="565" y="647"/>
                  </a:lnTo>
                  <a:lnTo>
                    <a:pt x="565" y="645"/>
                  </a:lnTo>
                  <a:lnTo>
                    <a:pt x="566" y="645"/>
                  </a:lnTo>
                  <a:close/>
                  <a:moveTo>
                    <a:pt x="593" y="647"/>
                  </a:moveTo>
                  <a:lnTo>
                    <a:pt x="593" y="649"/>
                  </a:lnTo>
                  <a:lnTo>
                    <a:pt x="591" y="649"/>
                  </a:lnTo>
                  <a:lnTo>
                    <a:pt x="591" y="651"/>
                  </a:lnTo>
                  <a:lnTo>
                    <a:pt x="591" y="649"/>
                  </a:lnTo>
                  <a:lnTo>
                    <a:pt x="590" y="649"/>
                  </a:lnTo>
                  <a:lnTo>
                    <a:pt x="591" y="649"/>
                  </a:lnTo>
                  <a:lnTo>
                    <a:pt x="591" y="647"/>
                  </a:lnTo>
                  <a:lnTo>
                    <a:pt x="593" y="647"/>
                  </a:lnTo>
                  <a:close/>
                  <a:moveTo>
                    <a:pt x="634" y="712"/>
                  </a:moveTo>
                  <a:lnTo>
                    <a:pt x="636" y="712"/>
                  </a:lnTo>
                  <a:lnTo>
                    <a:pt x="636" y="714"/>
                  </a:lnTo>
                  <a:lnTo>
                    <a:pt x="634" y="714"/>
                  </a:lnTo>
                  <a:lnTo>
                    <a:pt x="634" y="712"/>
                  </a:lnTo>
                  <a:close/>
                  <a:moveTo>
                    <a:pt x="340" y="503"/>
                  </a:moveTo>
                  <a:lnTo>
                    <a:pt x="340" y="505"/>
                  </a:lnTo>
                  <a:lnTo>
                    <a:pt x="338" y="505"/>
                  </a:lnTo>
                  <a:lnTo>
                    <a:pt x="336" y="505"/>
                  </a:lnTo>
                  <a:lnTo>
                    <a:pt x="338" y="505"/>
                  </a:lnTo>
                  <a:lnTo>
                    <a:pt x="338" y="503"/>
                  </a:lnTo>
                  <a:lnTo>
                    <a:pt x="340" y="503"/>
                  </a:lnTo>
                  <a:close/>
                  <a:moveTo>
                    <a:pt x="444" y="582"/>
                  </a:moveTo>
                  <a:lnTo>
                    <a:pt x="442" y="582"/>
                  </a:lnTo>
                  <a:lnTo>
                    <a:pt x="444" y="582"/>
                  </a:lnTo>
                  <a:close/>
                  <a:moveTo>
                    <a:pt x="578" y="872"/>
                  </a:moveTo>
                  <a:lnTo>
                    <a:pt x="578" y="874"/>
                  </a:lnTo>
                  <a:lnTo>
                    <a:pt x="576" y="874"/>
                  </a:lnTo>
                  <a:lnTo>
                    <a:pt x="576" y="872"/>
                  </a:lnTo>
                  <a:lnTo>
                    <a:pt x="578" y="872"/>
                  </a:lnTo>
                  <a:close/>
                  <a:moveTo>
                    <a:pt x="584" y="645"/>
                  </a:moveTo>
                  <a:lnTo>
                    <a:pt x="586" y="647"/>
                  </a:lnTo>
                  <a:lnTo>
                    <a:pt x="584" y="647"/>
                  </a:lnTo>
                  <a:lnTo>
                    <a:pt x="584" y="645"/>
                  </a:lnTo>
                  <a:lnTo>
                    <a:pt x="584" y="647"/>
                  </a:lnTo>
                  <a:lnTo>
                    <a:pt x="586" y="647"/>
                  </a:lnTo>
                  <a:lnTo>
                    <a:pt x="586" y="649"/>
                  </a:lnTo>
                  <a:lnTo>
                    <a:pt x="586" y="647"/>
                  </a:lnTo>
                  <a:lnTo>
                    <a:pt x="584" y="647"/>
                  </a:lnTo>
                  <a:lnTo>
                    <a:pt x="584" y="649"/>
                  </a:lnTo>
                  <a:lnTo>
                    <a:pt x="584" y="647"/>
                  </a:lnTo>
                  <a:lnTo>
                    <a:pt x="584" y="649"/>
                  </a:lnTo>
                  <a:lnTo>
                    <a:pt x="584" y="647"/>
                  </a:lnTo>
                  <a:lnTo>
                    <a:pt x="584" y="645"/>
                  </a:lnTo>
                  <a:close/>
                  <a:moveTo>
                    <a:pt x="397" y="584"/>
                  </a:moveTo>
                  <a:lnTo>
                    <a:pt x="397" y="586"/>
                  </a:lnTo>
                  <a:lnTo>
                    <a:pt x="397" y="584"/>
                  </a:lnTo>
                  <a:lnTo>
                    <a:pt x="396" y="584"/>
                  </a:lnTo>
                  <a:lnTo>
                    <a:pt x="396" y="582"/>
                  </a:lnTo>
                  <a:lnTo>
                    <a:pt x="397" y="582"/>
                  </a:lnTo>
                  <a:lnTo>
                    <a:pt x="396" y="582"/>
                  </a:lnTo>
                  <a:lnTo>
                    <a:pt x="397" y="582"/>
                  </a:lnTo>
                  <a:lnTo>
                    <a:pt x="397" y="584"/>
                  </a:lnTo>
                  <a:close/>
                  <a:moveTo>
                    <a:pt x="574" y="645"/>
                  </a:moveTo>
                  <a:lnTo>
                    <a:pt x="574" y="647"/>
                  </a:lnTo>
                  <a:lnTo>
                    <a:pt x="572" y="647"/>
                  </a:lnTo>
                  <a:lnTo>
                    <a:pt x="572" y="649"/>
                  </a:lnTo>
                  <a:lnTo>
                    <a:pt x="572" y="647"/>
                  </a:lnTo>
                  <a:lnTo>
                    <a:pt x="574" y="645"/>
                  </a:lnTo>
                  <a:close/>
                  <a:moveTo>
                    <a:pt x="555" y="645"/>
                  </a:moveTo>
                  <a:lnTo>
                    <a:pt x="555" y="647"/>
                  </a:lnTo>
                  <a:lnTo>
                    <a:pt x="553" y="647"/>
                  </a:lnTo>
                  <a:lnTo>
                    <a:pt x="555" y="647"/>
                  </a:lnTo>
                  <a:lnTo>
                    <a:pt x="555" y="645"/>
                  </a:lnTo>
                  <a:close/>
                  <a:moveTo>
                    <a:pt x="630" y="710"/>
                  </a:moveTo>
                  <a:lnTo>
                    <a:pt x="632" y="710"/>
                  </a:lnTo>
                  <a:lnTo>
                    <a:pt x="632" y="712"/>
                  </a:lnTo>
                  <a:lnTo>
                    <a:pt x="630" y="712"/>
                  </a:lnTo>
                  <a:lnTo>
                    <a:pt x="630" y="710"/>
                  </a:lnTo>
                  <a:close/>
                  <a:moveTo>
                    <a:pt x="13" y="467"/>
                  </a:moveTo>
                  <a:lnTo>
                    <a:pt x="15" y="467"/>
                  </a:lnTo>
                  <a:lnTo>
                    <a:pt x="13" y="467"/>
                  </a:lnTo>
                  <a:lnTo>
                    <a:pt x="13" y="468"/>
                  </a:lnTo>
                  <a:lnTo>
                    <a:pt x="13" y="467"/>
                  </a:lnTo>
                  <a:lnTo>
                    <a:pt x="13" y="468"/>
                  </a:lnTo>
                  <a:lnTo>
                    <a:pt x="13" y="467"/>
                  </a:lnTo>
                  <a:lnTo>
                    <a:pt x="13" y="468"/>
                  </a:lnTo>
                  <a:lnTo>
                    <a:pt x="13" y="467"/>
                  </a:lnTo>
                  <a:lnTo>
                    <a:pt x="12" y="468"/>
                  </a:lnTo>
                  <a:lnTo>
                    <a:pt x="13" y="468"/>
                  </a:lnTo>
                  <a:lnTo>
                    <a:pt x="12" y="468"/>
                  </a:lnTo>
                  <a:lnTo>
                    <a:pt x="12" y="467"/>
                  </a:lnTo>
                  <a:lnTo>
                    <a:pt x="13" y="467"/>
                  </a:lnTo>
                  <a:close/>
                  <a:moveTo>
                    <a:pt x="292" y="491"/>
                  </a:moveTo>
                  <a:lnTo>
                    <a:pt x="292" y="493"/>
                  </a:lnTo>
                  <a:lnTo>
                    <a:pt x="290" y="493"/>
                  </a:lnTo>
                  <a:lnTo>
                    <a:pt x="290" y="491"/>
                  </a:lnTo>
                  <a:lnTo>
                    <a:pt x="292" y="491"/>
                  </a:lnTo>
                  <a:close/>
                  <a:moveTo>
                    <a:pt x="841" y="714"/>
                  </a:moveTo>
                  <a:lnTo>
                    <a:pt x="839" y="714"/>
                  </a:lnTo>
                  <a:lnTo>
                    <a:pt x="839" y="716"/>
                  </a:lnTo>
                  <a:lnTo>
                    <a:pt x="839" y="714"/>
                  </a:lnTo>
                  <a:lnTo>
                    <a:pt x="841" y="714"/>
                  </a:lnTo>
                  <a:close/>
                  <a:moveTo>
                    <a:pt x="674" y="701"/>
                  </a:moveTo>
                  <a:lnTo>
                    <a:pt x="674" y="703"/>
                  </a:lnTo>
                  <a:lnTo>
                    <a:pt x="674" y="705"/>
                  </a:lnTo>
                  <a:lnTo>
                    <a:pt x="674" y="703"/>
                  </a:lnTo>
                  <a:lnTo>
                    <a:pt x="674" y="701"/>
                  </a:lnTo>
                  <a:close/>
                  <a:moveTo>
                    <a:pt x="618" y="645"/>
                  </a:moveTo>
                  <a:lnTo>
                    <a:pt x="618" y="647"/>
                  </a:lnTo>
                  <a:lnTo>
                    <a:pt x="618" y="645"/>
                  </a:lnTo>
                  <a:lnTo>
                    <a:pt x="618" y="647"/>
                  </a:lnTo>
                  <a:lnTo>
                    <a:pt x="618" y="645"/>
                  </a:lnTo>
                  <a:lnTo>
                    <a:pt x="616" y="645"/>
                  </a:lnTo>
                  <a:lnTo>
                    <a:pt x="618" y="645"/>
                  </a:lnTo>
                  <a:lnTo>
                    <a:pt x="616" y="645"/>
                  </a:lnTo>
                  <a:lnTo>
                    <a:pt x="618" y="645"/>
                  </a:lnTo>
                  <a:lnTo>
                    <a:pt x="616" y="645"/>
                  </a:lnTo>
                  <a:lnTo>
                    <a:pt x="618" y="645"/>
                  </a:lnTo>
                  <a:close/>
                  <a:moveTo>
                    <a:pt x="864" y="695"/>
                  </a:moveTo>
                  <a:lnTo>
                    <a:pt x="864" y="697"/>
                  </a:lnTo>
                  <a:lnTo>
                    <a:pt x="862" y="697"/>
                  </a:lnTo>
                  <a:lnTo>
                    <a:pt x="860" y="697"/>
                  </a:lnTo>
                  <a:lnTo>
                    <a:pt x="862" y="697"/>
                  </a:lnTo>
                  <a:lnTo>
                    <a:pt x="862" y="695"/>
                  </a:lnTo>
                  <a:lnTo>
                    <a:pt x="862" y="697"/>
                  </a:lnTo>
                  <a:lnTo>
                    <a:pt x="862" y="695"/>
                  </a:lnTo>
                  <a:lnTo>
                    <a:pt x="862" y="697"/>
                  </a:lnTo>
                  <a:lnTo>
                    <a:pt x="862" y="695"/>
                  </a:lnTo>
                  <a:lnTo>
                    <a:pt x="862" y="697"/>
                  </a:lnTo>
                  <a:lnTo>
                    <a:pt x="862" y="695"/>
                  </a:lnTo>
                  <a:lnTo>
                    <a:pt x="864" y="695"/>
                  </a:lnTo>
                  <a:close/>
                  <a:moveTo>
                    <a:pt x="486" y="641"/>
                  </a:moveTo>
                  <a:lnTo>
                    <a:pt x="484" y="641"/>
                  </a:lnTo>
                  <a:lnTo>
                    <a:pt x="486" y="641"/>
                  </a:lnTo>
                  <a:close/>
                  <a:moveTo>
                    <a:pt x="36" y="478"/>
                  </a:moveTo>
                  <a:lnTo>
                    <a:pt x="38" y="478"/>
                  </a:lnTo>
                  <a:lnTo>
                    <a:pt x="40" y="478"/>
                  </a:lnTo>
                  <a:lnTo>
                    <a:pt x="38" y="478"/>
                  </a:lnTo>
                  <a:lnTo>
                    <a:pt x="38" y="480"/>
                  </a:lnTo>
                  <a:lnTo>
                    <a:pt x="38" y="478"/>
                  </a:lnTo>
                  <a:lnTo>
                    <a:pt x="36" y="478"/>
                  </a:lnTo>
                  <a:lnTo>
                    <a:pt x="36" y="480"/>
                  </a:lnTo>
                  <a:lnTo>
                    <a:pt x="35" y="480"/>
                  </a:lnTo>
                  <a:lnTo>
                    <a:pt x="36" y="478"/>
                  </a:lnTo>
                  <a:lnTo>
                    <a:pt x="36" y="480"/>
                  </a:lnTo>
                  <a:lnTo>
                    <a:pt x="36" y="478"/>
                  </a:lnTo>
                  <a:close/>
                  <a:moveTo>
                    <a:pt x="866" y="689"/>
                  </a:moveTo>
                  <a:lnTo>
                    <a:pt x="866" y="691"/>
                  </a:lnTo>
                  <a:lnTo>
                    <a:pt x="866" y="693"/>
                  </a:lnTo>
                  <a:lnTo>
                    <a:pt x="866" y="691"/>
                  </a:lnTo>
                  <a:lnTo>
                    <a:pt x="866" y="693"/>
                  </a:lnTo>
                  <a:lnTo>
                    <a:pt x="864" y="693"/>
                  </a:lnTo>
                  <a:lnTo>
                    <a:pt x="866" y="693"/>
                  </a:lnTo>
                  <a:lnTo>
                    <a:pt x="864" y="693"/>
                  </a:lnTo>
                  <a:lnTo>
                    <a:pt x="864" y="695"/>
                  </a:lnTo>
                  <a:lnTo>
                    <a:pt x="864" y="693"/>
                  </a:lnTo>
                  <a:lnTo>
                    <a:pt x="866" y="693"/>
                  </a:lnTo>
                  <a:lnTo>
                    <a:pt x="864" y="693"/>
                  </a:lnTo>
                  <a:lnTo>
                    <a:pt x="866" y="693"/>
                  </a:lnTo>
                  <a:lnTo>
                    <a:pt x="864" y="693"/>
                  </a:lnTo>
                  <a:lnTo>
                    <a:pt x="864" y="691"/>
                  </a:lnTo>
                  <a:lnTo>
                    <a:pt x="866" y="691"/>
                  </a:lnTo>
                  <a:lnTo>
                    <a:pt x="866" y="689"/>
                  </a:lnTo>
                  <a:close/>
                  <a:moveTo>
                    <a:pt x="25" y="472"/>
                  </a:moveTo>
                  <a:lnTo>
                    <a:pt x="25" y="474"/>
                  </a:lnTo>
                  <a:lnTo>
                    <a:pt x="23" y="474"/>
                  </a:lnTo>
                  <a:lnTo>
                    <a:pt x="25" y="474"/>
                  </a:lnTo>
                  <a:lnTo>
                    <a:pt x="25" y="472"/>
                  </a:lnTo>
                  <a:close/>
                  <a:moveTo>
                    <a:pt x="434" y="574"/>
                  </a:moveTo>
                  <a:lnTo>
                    <a:pt x="434" y="572"/>
                  </a:lnTo>
                  <a:lnTo>
                    <a:pt x="434" y="574"/>
                  </a:lnTo>
                  <a:close/>
                  <a:moveTo>
                    <a:pt x="601" y="672"/>
                  </a:moveTo>
                  <a:lnTo>
                    <a:pt x="601" y="674"/>
                  </a:lnTo>
                  <a:lnTo>
                    <a:pt x="601" y="672"/>
                  </a:lnTo>
                  <a:close/>
                  <a:moveTo>
                    <a:pt x="666" y="680"/>
                  </a:moveTo>
                  <a:lnTo>
                    <a:pt x="664" y="680"/>
                  </a:lnTo>
                  <a:lnTo>
                    <a:pt x="664" y="682"/>
                  </a:lnTo>
                  <a:lnTo>
                    <a:pt x="664" y="680"/>
                  </a:lnTo>
                  <a:lnTo>
                    <a:pt x="664" y="682"/>
                  </a:lnTo>
                  <a:lnTo>
                    <a:pt x="662" y="682"/>
                  </a:lnTo>
                  <a:lnTo>
                    <a:pt x="664" y="682"/>
                  </a:lnTo>
                  <a:lnTo>
                    <a:pt x="662" y="682"/>
                  </a:lnTo>
                  <a:lnTo>
                    <a:pt x="664" y="682"/>
                  </a:lnTo>
                  <a:lnTo>
                    <a:pt x="662" y="682"/>
                  </a:lnTo>
                  <a:lnTo>
                    <a:pt x="662" y="683"/>
                  </a:lnTo>
                  <a:lnTo>
                    <a:pt x="662" y="682"/>
                  </a:lnTo>
                  <a:lnTo>
                    <a:pt x="664" y="682"/>
                  </a:lnTo>
                  <a:lnTo>
                    <a:pt x="662" y="682"/>
                  </a:lnTo>
                  <a:lnTo>
                    <a:pt x="664" y="682"/>
                  </a:lnTo>
                  <a:lnTo>
                    <a:pt x="664" y="680"/>
                  </a:lnTo>
                  <a:lnTo>
                    <a:pt x="662" y="680"/>
                  </a:lnTo>
                  <a:lnTo>
                    <a:pt x="664" y="680"/>
                  </a:lnTo>
                  <a:lnTo>
                    <a:pt x="666" y="680"/>
                  </a:lnTo>
                  <a:close/>
                  <a:moveTo>
                    <a:pt x="632" y="714"/>
                  </a:moveTo>
                  <a:lnTo>
                    <a:pt x="630" y="716"/>
                  </a:lnTo>
                  <a:lnTo>
                    <a:pt x="630" y="714"/>
                  </a:lnTo>
                  <a:lnTo>
                    <a:pt x="632" y="714"/>
                  </a:lnTo>
                  <a:close/>
                  <a:moveTo>
                    <a:pt x="33" y="476"/>
                  </a:moveTo>
                  <a:lnTo>
                    <a:pt x="35" y="476"/>
                  </a:lnTo>
                  <a:lnTo>
                    <a:pt x="35" y="478"/>
                  </a:lnTo>
                  <a:lnTo>
                    <a:pt x="33" y="478"/>
                  </a:lnTo>
                  <a:lnTo>
                    <a:pt x="33" y="476"/>
                  </a:lnTo>
                  <a:lnTo>
                    <a:pt x="33" y="478"/>
                  </a:lnTo>
                  <a:lnTo>
                    <a:pt x="33" y="476"/>
                  </a:lnTo>
                  <a:lnTo>
                    <a:pt x="33" y="478"/>
                  </a:lnTo>
                  <a:lnTo>
                    <a:pt x="31" y="478"/>
                  </a:lnTo>
                  <a:lnTo>
                    <a:pt x="31" y="476"/>
                  </a:lnTo>
                  <a:lnTo>
                    <a:pt x="33" y="476"/>
                  </a:lnTo>
                  <a:close/>
                  <a:moveTo>
                    <a:pt x="666" y="703"/>
                  </a:moveTo>
                  <a:lnTo>
                    <a:pt x="666" y="705"/>
                  </a:lnTo>
                  <a:lnTo>
                    <a:pt x="664" y="705"/>
                  </a:lnTo>
                  <a:lnTo>
                    <a:pt x="664" y="703"/>
                  </a:lnTo>
                  <a:lnTo>
                    <a:pt x="666" y="703"/>
                  </a:lnTo>
                  <a:close/>
                  <a:moveTo>
                    <a:pt x="33" y="476"/>
                  </a:moveTo>
                  <a:lnTo>
                    <a:pt x="31" y="476"/>
                  </a:lnTo>
                  <a:lnTo>
                    <a:pt x="31" y="474"/>
                  </a:lnTo>
                  <a:lnTo>
                    <a:pt x="33" y="474"/>
                  </a:lnTo>
                  <a:lnTo>
                    <a:pt x="33" y="476"/>
                  </a:lnTo>
                  <a:close/>
                  <a:moveTo>
                    <a:pt x="557" y="895"/>
                  </a:moveTo>
                  <a:lnTo>
                    <a:pt x="557" y="897"/>
                  </a:lnTo>
                  <a:lnTo>
                    <a:pt x="557" y="898"/>
                  </a:lnTo>
                  <a:lnTo>
                    <a:pt x="559" y="898"/>
                  </a:lnTo>
                  <a:lnTo>
                    <a:pt x="557" y="898"/>
                  </a:lnTo>
                  <a:lnTo>
                    <a:pt x="557" y="897"/>
                  </a:lnTo>
                  <a:lnTo>
                    <a:pt x="557" y="895"/>
                  </a:lnTo>
                  <a:close/>
                  <a:moveTo>
                    <a:pt x="593" y="647"/>
                  </a:moveTo>
                  <a:lnTo>
                    <a:pt x="595" y="647"/>
                  </a:lnTo>
                  <a:lnTo>
                    <a:pt x="595" y="649"/>
                  </a:lnTo>
                  <a:lnTo>
                    <a:pt x="595" y="647"/>
                  </a:lnTo>
                  <a:lnTo>
                    <a:pt x="595" y="649"/>
                  </a:lnTo>
                  <a:lnTo>
                    <a:pt x="593" y="649"/>
                  </a:lnTo>
                  <a:lnTo>
                    <a:pt x="593" y="647"/>
                  </a:lnTo>
                  <a:close/>
                  <a:moveTo>
                    <a:pt x="590" y="641"/>
                  </a:moveTo>
                  <a:lnTo>
                    <a:pt x="590" y="643"/>
                  </a:lnTo>
                  <a:lnTo>
                    <a:pt x="590" y="641"/>
                  </a:lnTo>
                  <a:lnTo>
                    <a:pt x="590" y="643"/>
                  </a:lnTo>
                  <a:lnTo>
                    <a:pt x="590" y="641"/>
                  </a:lnTo>
                  <a:lnTo>
                    <a:pt x="588" y="641"/>
                  </a:lnTo>
                  <a:lnTo>
                    <a:pt x="590" y="641"/>
                  </a:lnTo>
                  <a:close/>
                  <a:moveTo>
                    <a:pt x="19" y="457"/>
                  </a:moveTo>
                  <a:lnTo>
                    <a:pt x="19" y="459"/>
                  </a:lnTo>
                  <a:lnTo>
                    <a:pt x="19" y="457"/>
                  </a:lnTo>
                  <a:lnTo>
                    <a:pt x="19" y="459"/>
                  </a:lnTo>
                  <a:lnTo>
                    <a:pt x="19" y="457"/>
                  </a:lnTo>
                  <a:lnTo>
                    <a:pt x="21" y="457"/>
                  </a:lnTo>
                  <a:lnTo>
                    <a:pt x="21" y="459"/>
                  </a:lnTo>
                  <a:lnTo>
                    <a:pt x="19" y="459"/>
                  </a:lnTo>
                  <a:lnTo>
                    <a:pt x="19" y="457"/>
                  </a:lnTo>
                  <a:lnTo>
                    <a:pt x="19" y="459"/>
                  </a:lnTo>
                  <a:lnTo>
                    <a:pt x="17" y="459"/>
                  </a:lnTo>
                  <a:lnTo>
                    <a:pt x="17" y="457"/>
                  </a:lnTo>
                  <a:lnTo>
                    <a:pt x="19" y="457"/>
                  </a:lnTo>
                  <a:close/>
                  <a:moveTo>
                    <a:pt x="557" y="647"/>
                  </a:moveTo>
                  <a:lnTo>
                    <a:pt x="559" y="647"/>
                  </a:lnTo>
                  <a:lnTo>
                    <a:pt x="559" y="645"/>
                  </a:lnTo>
                  <a:lnTo>
                    <a:pt x="559" y="647"/>
                  </a:lnTo>
                  <a:lnTo>
                    <a:pt x="557" y="647"/>
                  </a:lnTo>
                  <a:lnTo>
                    <a:pt x="557" y="649"/>
                  </a:lnTo>
                  <a:lnTo>
                    <a:pt x="557" y="647"/>
                  </a:lnTo>
                  <a:lnTo>
                    <a:pt x="557" y="645"/>
                  </a:lnTo>
                  <a:lnTo>
                    <a:pt x="557" y="647"/>
                  </a:lnTo>
                  <a:close/>
                  <a:moveTo>
                    <a:pt x="586" y="651"/>
                  </a:moveTo>
                  <a:lnTo>
                    <a:pt x="584" y="651"/>
                  </a:lnTo>
                  <a:lnTo>
                    <a:pt x="586" y="651"/>
                  </a:lnTo>
                  <a:close/>
                  <a:moveTo>
                    <a:pt x="17" y="451"/>
                  </a:moveTo>
                  <a:lnTo>
                    <a:pt x="17" y="453"/>
                  </a:lnTo>
                  <a:lnTo>
                    <a:pt x="17" y="451"/>
                  </a:lnTo>
                  <a:lnTo>
                    <a:pt x="15" y="451"/>
                  </a:lnTo>
                  <a:lnTo>
                    <a:pt x="17" y="451"/>
                  </a:lnTo>
                  <a:close/>
                  <a:moveTo>
                    <a:pt x="25" y="451"/>
                  </a:moveTo>
                  <a:lnTo>
                    <a:pt x="25" y="453"/>
                  </a:lnTo>
                  <a:lnTo>
                    <a:pt x="25" y="451"/>
                  </a:lnTo>
                  <a:lnTo>
                    <a:pt x="25" y="453"/>
                  </a:lnTo>
                  <a:lnTo>
                    <a:pt x="25" y="451"/>
                  </a:lnTo>
                  <a:lnTo>
                    <a:pt x="25" y="453"/>
                  </a:lnTo>
                  <a:lnTo>
                    <a:pt x="25" y="451"/>
                  </a:lnTo>
                  <a:lnTo>
                    <a:pt x="23" y="451"/>
                  </a:lnTo>
                  <a:lnTo>
                    <a:pt x="25" y="451"/>
                  </a:lnTo>
                  <a:lnTo>
                    <a:pt x="23" y="451"/>
                  </a:lnTo>
                  <a:lnTo>
                    <a:pt x="25" y="451"/>
                  </a:lnTo>
                  <a:close/>
                  <a:moveTo>
                    <a:pt x="42" y="482"/>
                  </a:moveTo>
                  <a:lnTo>
                    <a:pt x="42" y="484"/>
                  </a:lnTo>
                  <a:lnTo>
                    <a:pt x="40" y="484"/>
                  </a:lnTo>
                  <a:lnTo>
                    <a:pt x="40" y="482"/>
                  </a:lnTo>
                  <a:lnTo>
                    <a:pt x="40" y="484"/>
                  </a:lnTo>
                  <a:lnTo>
                    <a:pt x="40" y="482"/>
                  </a:lnTo>
                  <a:lnTo>
                    <a:pt x="40" y="484"/>
                  </a:lnTo>
                  <a:lnTo>
                    <a:pt x="40" y="482"/>
                  </a:lnTo>
                  <a:lnTo>
                    <a:pt x="42" y="482"/>
                  </a:lnTo>
                  <a:lnTo>
                    <a:pt x="40" y="482"/>
                  </a:lnTo>
                  <a:lnTo>
                    <a:pt x="42" y="482"/>
                  </a:lnTo>
                  <a:close/>
                  <a:moveTo>
                    <a:pt x="286" y="516"/>
                  </a:moveTo>
                  <a:lnTo>
                    <a:pt x="286" y="518"/>
                  </a:lnTo>
                  <a:lnTo>
                    <a:pt x="286" y="516"/>
                  </a:lnTo>
                  <a:close/>
                  <a:moveTo>
                    <a:pt x="559" y="643"/>
                  </a:moveTo>
                  <a:lnTo>
                    <a:pt x="561" y="643"/>
                  </a:lnTo>
                  <a:lnTo>
                    <a:pt x="559" y="643"/>
                  </a:lnTo>
                  <a:lnTo>
                    <a:pt x="559" y="645"/>
                  </a:lnTo>
                  <a:lnTo>
                    <a:pt x="559" y="643"/>
                  </a:lnTo>
                  <a:lnTo>
                    <a:pt x="559" y="645"/>
                  </a:lnTo>
                  <a:lnTo>
                    <a:pt x="559" y="643"/>
                  </a:lnTo>
                  <a:lnTo>
                    <a:pt x="559" y="645"/>
                  </a:lnTo>
                  <a:lnTo>
                    <a:pt x="559" y="643"/>
                  </a:lnTo>
                  <a:close/>
                  <a:moveTo>
                    <a:pt x="42" y="480"/>
                  </a:moveTo>
                  <a:lnTo>
                    <a:pt x="44" y="480"/>
                  </a:lnTo>
                  <a:lnTo>
                    <a:pt x="42" y="480"/>
                  </a:lnTo>
                  <a:close/>
                  <a:moveTo>
                    <a:pt x="2" y="449"/>
                  </a:moveTo>
                  <a:lnTo>
                    <a:pt x="2" y="451"/>
                  </a:lnTo>
                  <a:lnTo>
                    <a:pt x="4" y="451"/>
                  </a:lnTo>
                  <a:lnTo>
                    <a:pt x="4" y="449"/>
                  </a:lnTo>
                  <a:lnTo>
                    <a:pt x="4" y="451"/>
                  </a:lnTo>
                  <a:lnTo>
                    <a:pt x="2" y="451"/>
                  </a:lnTo>
                  <a:lnTo>
                    <a:pt x="2" y="449"/>
                  </a:lnTo>
                  <a:close/>
                  <a:moveTo>
                    <a:pt x="822" y="730"/>
                  </a:moveTo>
                  <a:lnTo>
                    <a:pt x="824" y="730"/>
                  </a:lnTo>
                  <a:lnTo>
                    <a:pt x="822" y="730"/>
                  </a:lnTo>
                  <a:lnTo>
                    <a:pt x="822" y="731"/>
                  </a:lnTo>
                  <a:lnTo>
                    <a:pt x="824" y="731"/>
                  </a:lnTo>
                  <a:lnTo>
                    <a:pt x="822" y="731"/>
                  </a:lnTo>
                  <a:lnTo>
                    <a:pt x="822" y="730"/>
                  </a:lnTo>
                  <a:close/>
                  <a:moveTo>
                    <a:pt x="27" y="451"/>
                  </a:moveTo>
                  <a:lnTo>
                    <a:pt x="29" y="451"/>
                  </a:lnTo>
                  <a:lnTo>
                    <a:pt x="27" y="451"/>
                  </a:lnTo>
                  <a:lnTo>
                    <a:pt x="25" y="451"/>
                  </a:lnTo>
                  <a:lnTo>
                    <a:pt x="27" y="451"/>
                  </a:lnTo>
                  <a:close/>
                  <a:moveTo>
                    <a:pt x="680" y="699"/>
                  </a:moveTo>
                  <a:lnTo>
                    <a:pt x="682" y="699"/>
                  </a:lnTo>
                  <a:lnTo>
                    <a:pt x="680" y="699"/>
                  </a:lnTo>
                  <a:lnTo>
                    <a:pt x="678" y="699"/>
                  </a:lnTo>
                  <a:lnTo>
                    <a:pt x="680" y="699"/>
                  </a:lnTo>
                  <a:close/>
                  <a:moveTo>
                    <a:pt x="27" y="440"/>
                  </a:moveTo>
                  <a:lnTo>
                    <a:pt x="29" y="440"/>
                  </a:lnTo>
                  <a:lnTo>
                    <a:pt x="27" y="440"/>
                  </a:lnTo>
                  <a:close/>
                  <a:moveTo>
                    <a:pt x="248" y="539"/>
                  </a:moveTo>
                  <a:lnTo>
                    <a:pt x="246" y="539"/>
                  </a:lnTo>
                  <a:lnTo>
                    <a:pt x="248" y="539"/>
                  </a:lnTo>
                  <a:close/>
                  <a:moveTo>
                    <a:pt x="48" y="484"/>
                  </a:moveTo>
                  <a:lnTo>
                    <a:pt x="48" y="486"/>
                  </a:lnTo>
                  <a:lnTo>
                    <a:pt x="48" y="484"/>
                  </a:lnTo>
                  <a:close/>
                  <a:moveTo>
                    <a:pt x="284" y="516"/>
                  </a:moveTo>
                  <a:lnTo>
                    <a:pt x="284" y="518"/>
                  </a:lnTo>
                  <a:lnTo>
                    <a:pt x="282" y="518"/>
                  </a:lnTo>
                  <a:lnTo>
                    <a:pt x="284" y="518"/>
                  </a:lnTo>
                  <a:lnTo>
                    <a:pt x="284" y="516"/>
                  </a:lnTo>
                  <a:close/>
                  <a:moveTo>
                    <a:pt x="588" y="639"/>
                  </a:moveTo>
                  <a:lnTo>
                    <a:pt x="588" y="641"/>
                  </a:lnTo>
                  <a:lnTo>
                    <a:pt x="588" y="639"/>
                  </a:lnTo>
                  <a:close/>
                  <a:moveTo>
                    <a:pt x="12" y="465"/>
                  </a:moveTo>
                  <a:lnTo>
                    <a:pt x="12" y="467"/>
                  </a:lnTo>
                  <a:lnTo>
                    <a:pt x="12" y="465"/>
                  </a:lnTo>
                  <a:lnTo>
                    <a:pt x="12" y="467"/>
                  </a:lnTo>
                  <a:lnTo>
                    <a:pt x="13" y="467"/>
                  </a:lnTo>
                  <a:lnTo>
                    <a:pt x="12" y="467"/>
                  </a:lnTo>
                  <a:lnTo>
                    <a:pt x="13" y="467"/>
                  </a:lnTo>
                  <a:lnTo>
                    <a:pt x="12" y="467"/>
                  </a:lnTo>
                  <a:lnTo>
                    <a:pt x="13" y="467"/>
                  </a:lnTo>
                  <a:lnTo>
                    <a:pt x="12" y="467"/>
                  </a:lnTo>
                  <a:lnTo>
                    <a:pt x="12" y="465"/>
                  </a:lnTo>
                  <a:lnTo>
                    <a:pt x="12" y="467"/>
                  </a:lnTo>
                  <a:lnTo>
                    <a:pt x="12" y="465"/>
                  </a:lnTo>
                  <a:close/>
                  <a:moveTo>
                    <a:pt x="659" y="680"/>
                  </a:moveTo>
                  <a:lnTo>
                    <a:pt x="657" y="680"/>
                  </a:lnTo>
                  <a:lnTo>
                    <a:pt x="659" y="680"/>
                  </a:lnTo>
                  <a:lnTo>
                    <a:pt x="657" y="680"/>
                  </a:lnTo>
                  <a:lnTo>
                    <a:pt x="657" y="682"/>
                  </a:lnTo>
                  <a:lnTo>
                    <a:pt x="659" y="682"/>
                  </a:lnTo>
                  <a:lnTo>
                    <a:pt x="659" y="680"/>
                  </a:lnTo>
                  <a:lnTo>
                    <a:pt x="659" y="682"/>
                  </a:lnTo>
                  <a:lnTo>
                    <a:pt x="657" y="682"/>
                  </a:lnTo>
                  <a:lnTo>
                    <a:pt x="659" y="682"/>
                  </a:lnTo>
                  <a:lnTo>
                    <a:pt x="657" y="682"/>
                  </a:lnTo>
                  <a:lnTo>
                    <a:pt x="657" y="680"/>
                  </a:lnTo>
                  <a:lnTo>
                    <a:pt x="657" y="682"/>
                  </a:lnTo>
                  <a:lnTo>
                    <a:pt x="657" y="680"/>
                  </a:lnTo>
                  <a:lnTo>
                    <a:pt x="659" y="680"/>
                  </a:lnTo>
                  <a:close/>
                  <a:moveTo>
                    <a:pt x="611" y="710"/>
                  </a:moveTo>
                  <a:lnTo>
                    <a:pt x="609" y="710"/>
                  </a:lnTo>
                  <a:lnTo>
                    <a:pt x="611" y="710"/>
                  </a:lnTo>
                  <a:lnTo>
                    <a:pt x="609" y="710"/>
                  </a:lnTo>
                  <a:lnTo>
                    <a:pt x="611" y="710"/>
                  </a:lnTo>
                  <a:close/>
                  <a:moveTo>
                    <a:pt x="15" y="468"/>
                  </a:moveTo>
                  <a:lnTo>
                    <a:pt x="17" y="468"/>
                  </a:lnTo>
                  <a:lnTo>
                    <a:pt x="15" y="468"/>
                  </a:lnTo>
                  <a:lnTo>
                    <a:pt x="17" y="470"/>
                  </a:lnTo>
                  <a:lnTo>
                    <a:pt x="15" y="470"/>
                  </a:lnTo>
                  <a:lnTo>
                    <a:pt x="17" y="470"/>
                  </a:lnTo>
                  <a:lnTo>
                    <a:pt x="15" y="470"/>
                  </a:lnTo>
                  <a:lnTo>
                    <a:pt x="15" y="468"/>
                  </a:lnTo>
                  <a:close/>
                  <a:moveTo>
                    <a:pt x="319" y="497"/>
                  </a:moveTo>
                  <a:lnTo>
                    <a:pt x="319" y="499"/>
                  </a:lnTo>
                  <a:lnTo>
                    <a:pt x="317" y="499"/>
                  </a:lnTo>
                  <a:lnTo>
                    <a:pt x="317" y="497"/>
                  </a:lnTo>
                  <a:lnTo>
                    <a:pt x="319" y="497"/>
                  </a:lnTo>
                  <a:close/>
                  <a:moveTo>
                    <a:pt x="676" y="695"/>
                  </a:moveTo>
                  <a:lnTo>
                    <a:pt x="676" y="697"/>
                  </a:lnTo>
                  <a:lnTo>
                    <a:pt x="674" y="697"/>
                  </a:lnTo>
                  <a:lnTo>
                    <a:pt x="674" y="695"/>
                  </a:lnTo>
                  <a:lnTo>
                    <a:pt x="674" y="697"/>
                  </a:lnTo>
                  <a:lnTo>
                    <a:pt x="674" y="695"/>
                  </a:lnTo>
                  <a:lnTo>
                    <a:pt x="674" y="697"/>
                  </a:lnTo>
                  <a:lnTo>
                    <a:pt x="676" y="697"/>
                  </a:lnTo>
                  <a:lnTo>
                    <a:pt x="674" y="697"/>
                  </a:lnTo>
                  <a:lnTo>
                    <a:pt x="674" y="695"/>
                  </a:lnTo>
                  <a:lnTo>
                    <a:pt x="676" y="695"/>
                  </a:lnTo>
                  <a:close/>
                  <a:moveTo>
                    <a:pt x="23" y="457"/>
                  </a:moveTo>
                  <a:lnTo>
                    <a:pt x="21" y="457"/>
                  </a:lnTo>
                  <a:lnTo>
                    <a:pt x="21" y="459"/>
                  </a:lnTo>
                  <a:lnTo>
                    <a:pt x="21" y="457"/>
                  </a:lnTo>
                  <a:lnTo>
                    <a:pt x="23" y="457"/>
                  </a:lnTo>
                  <a:close/>
                  <a:moveTo>
                    <a:pt x="530" y="657"/>
                  </a:moveTo>
                  <a:lnTo>
                    <a:pt x="528" y="657"/>
                  </a:lnTo>
                  <a:lnTo>
                    <a:pt x="530" y="657"/>
                  </a:lnTo>
                  <a:close/>
                  <a:moveTo>
                    <a:pt x="590" y="649"/>
                  </a:moveTo>
                  <a:lnTo>
                    <a:pt x="590" y="651"/>
                  </a:lnTo>
                  <a:lnTo>
                    <a:pt x="588" y="651"/>
                  </a:lnTo>
                  <a:lnTo>
                    <a:pt x="590" y="651"/>
                  </a:lnTo>
                  <a:lnTo>
                    <a:pt x="590" y="649"/>
                  </a:lnTo>
                  <a:close/>
                  <a:moveTo>
                    <a:pt x="29" y="480"/>
                  </a:moveTo>
                  <a:lnTo>
                    <a:pt x="29" y="482"/>
                  </a:lnTo>
                  <a:lnTo>
                    <a:pt x="29" y="480"/>
                  </a:lnTo>
                  <a:close/>
                  <a:moveTo>
                    <a:pt x="591" y="641"/>
                  </a:moveTo>
                  <a:lnTo>
                    <a:pt x="591" y="643"/>
                  </a:lnTo>
                  <a:lnTo>
                    <a:pt x="591" y="641"/>
                  </a:lnTo>
                  <a:lnTo>
                    <a:pt x="590" y="641"/>
                  </a:lnTo>
                  <a:lnTo>
                    <a:pt x="591" y="641"/>
                  </a:lnTo>
                  <a:close/>
                  <a:moveTo>
                    <a:pt x="563" y="643"/>
                  </a:moveTo>
                  <a:lnTo>
                    <a:pt x="561" y="643"/>
                  </a:lnTo>
                  <a:lnTo>
                    <a:pt x="563" y="643"/>
                  </a:lnTo>
                  <a:lnTo>
                    <a:pt x="561" y="643"/>
                  </a:lnTo>
                  <a:lnTo>
                    <a:pt x="563" y="643"/>
                  </a:lnTo>
                  <a:close/>
                  <a:moveTo>
                    <a:pt x="526" y="666"/>
                  </a:moveTo>
                  <a:lnTo>
                    <a:pt x="524" y="666"/>
                  </a:lnTo>
                  <a:lnTo>
                    <a:pt x="526" y="666"/>
                  </a:lnTo>
                  <a:close/>
                  <a:moveTo>
                    <a:pt x="35" y="476"/>
                  </a:moveTo>
                  <a:lnTo>
                    <a:pt x="33" y="476"/>
                  </a:lnTo>
                  <a:lnTo>
                    <a:pt x="35" y="476"/>
                  </a:lnTo>
                  <a:lnTo>
                    <a:pt x="33" y="476"/>
                  </a:lnTo>
                  <a:lnTo>
                    <a:pt x="35" y="476"/>
                  </a:lnTo>
                  <a:close/>
                  <a:moveTo>
                    <a:pt x="21" y="495"/>
                  </a:moveTo>
                  <a:lnTo>
                    <a:pt x="19" y="495"/>
                  </a:lnTo>
                  <a:lnTo>
                    <a:pt x="19" y="497"/>
                  </a:lnTo>
                  <a:lnTo>
                    <a:pt x="19" y="495"/>
                  </a:lnTo>
                  <a:lnTo>
                    <a:pt x="21" y="495"/>
                  </a:lnTo>
                  <a:lnTo>
                    <a:pt x="21" y="493"/>
                  </a:lnTo>
                  <a:lnTo>
                    <a:pt x="23" y="493"/>
                  </a:lnTo>
                  <a:lnTo>
                    <a:pt x="21" y="493"/>
                  </a:lnTo>
                  <a:lnTo>
                    <a:pt x="21" y="495"/>
                  </a:lnTo>
                  <a:close/>
                  <a:moveTo>
                    <a:pt x="616" y="645"/>
                  </a:moveTo>
                  <a:lnTo>
                    <a:pt x="616" y="647"/>
                  </a:lnTo>
                  <a:lnTo>
                    <a:pt x="614" y="647"/>
                  </a:lnTo>
                  <a:lnTo>
                    <a:pt x="614" y="645"/>
                  </a:lnTo>
                  <a:lnTo>
                    <a:pt x="614" y="647"/>
                  </a:lnTo>
                  <a:lnTo>
                    <a:pt x="614" y="645"/>
                  </a:lnTo>
                  <a:lnTo>
                    <a:pt x="614" y="647"/>
                  </a:lnTo>
                  <a:lnTo>
                    <a:pt x="614" y="645"/>
                  </a:lnTo>
                  <a:lnTo>
                    <a:pt x="616" y="645"/>
                  </a:lnTo>
                  <a:lnTo>
                    <a:pt x="614" y="645"/>
                  </a:lnTo>
                  <a:lnTo>
                    <a:pt x="616" y="645"/>
                  </a:lnTo>
                  <a:lnTo>
                    <a:pt x="614" y="645"/>
                  </a:lnTo>
                  <a:lnTo>
                    <a:pt x="616" y="645"/>
                  </a:lnTo>
                  <a:close/>
                  <a:moveTo>
                    <a:pt x="40" y="465"/>
                  </a:moveTo>
                  <a:lnTo>
                    <a:pt x="42" y="465"/>
                  </a:lnTo>
                  <a:lnTo>
                    <a:pt x="42" y="467"/>
                  </a:lnTo>
                  <a:lnTo>
                    <a:pt x="40" y="467"/>
                  </a:lnTo>
                  <a:lnTo>
                    <a:pt x="40" y="465"/>
                  </a:lnTo>
                  <a:close/>
                  <a:moveTo>
                    <a:pt x="561" y="641"/>
                  </a:moveTo>
                  <a:lnTo>
                    <a:pt x="563" y="641"/>
                  </a:lnTo>
                  <a:lnTo>
                    <a:pt x="561" y="641"/>
                  </a:lnTo>
                  <a:lnTo>
                    <a:pt x="559" y="641"/>
                  </a:lnTo>
                  <a:lnTo>
                    <a:pt x="561" y="641"/>
                  </a:lnTo>
                  <a:close/>
                  <a:moveTo>
                    <a:pt x="718" y="778"/>
                  </a:moveTo>
                  <a:lnTo>
                    <a:pt x="716" y="778"/>
                  </a:lnTo>
                  <a:lnTo>
                    <a:pt x="718" y="778"/>
                  </a:lnTo>
                  <a:lnTo>
                    <a:pt x="716" y="778"/>
                  </a:lnTo>
                  <a:lnTo>
                    <a:pt x="718" y="778"/>
                  </a:lnTo>
                  <a:lnTo>
                    <a:pt x="716" y="778"/>
                  </a:lnTo>
                  <a:lnTo>
                    <a:pt x="718" y="778"/>
                  </a:lnTo>
                  <a:close/>
                  <a:moveTo>
                    <a:pt x="46" y="470"/>
                  </a:moveTo>
                  <a:lnTo>
                    <a:pt x="44" y="470"/>
                  </a:lnTo>
                  <a:lnTo>
                    <a:pt x="46" y="470"/>
                  </a:lnTo>
                  <a:close/>
                  <a:moveTo>
                    <a:pt x="647" y="664"/>
                  </a:moveTo>
                  <a:lnTo>
                    <a:pt x="645" y="664"/>
                  </a:lnTo>
                  <a:lnTo>
                    <a:pt x="647" y="664"/>
                  </a:lnTo>
                  <a:lnTo>
                    <a:pt x="645" y="664"/>
                  </a:lnTo>
                  <a:lnTo>
                    <a:pt x="647" y="664"/>
                  </a:lnTo>
                  <a:close/>
                  <a:moveTo>
                    <a:pt x="661" y="678"/>
                  </a:moveTo>
                  <a:lnTo>
                    <a:pt x="659" y="678"/>
                  </a:lnTo>
                  <a:lnTo>
                    <a:pt x="661" y="678"/>
                  </a:lnTo>
                  <a:close/>
                  <a:moveTo>
                    <a:pt x="647" y="670"/>
                  </a:moveTo>
                  <a:lnTo>
                    <a:pt x="649" y="670"/>
                  </a:lnTo>
                  <a:lnTo>
                    <a:pt x="647" y="670"/>
                  </a:lnTo>
                  <a:lnTo>
                    <a:pt x="649" y="670"/>
                  </a:lnTo>
                  <a:lnTo>
                    <a:pt x="647" y="670"/>
                  </a:lnTo>
                  <a:lnTo>
                    <a:pt x="649" y="670"/>
                  </a:lnTo>
                  <a:lnTo>
                    <a:pt x="647" y="670"/>
                  </a:lnTo>
                  <a:lnTo>
                    <a:pt x="649" y="670"/>
                  </a:lnTo>
                  <a:lnTo>
                    <a:pt x="647" y="670"/>
                  </a:lnTo>
                  <a:close/>
                  <a:moveTo>
                    <a:pt x="31" y="447"/>
                  </a:moveTo>
                  <a:lnTo>
                    <a:pt x="31" y="449"/>
                  </a:lnTo>
                  <a:lnTo>
                    <a:pt x="31" y="447"/>
                  </a:lnTo>
                  <a:lnTo>
                    <a:pt x="31" y="449"/>
                  </a:lnTo>
                  <a:lnTo>
                    <a:pt x="31" y="447"/>
                  </a:lnTo>
                  <a:close/>
                  <a:moveTo>
                    <a:pt x="595" y="672"/>
                  </a:moveTo>
                  <a:lnTo>
                    <a:pt x="595" y="674"/>
                  </a:lnTo>
                  <a:lnTo>
                    <a:pt x="595" y="672"/>
                  </a:lnTo>
                  <a:lnTo>
                    <a:pt x="595" y="674"/>
                  </a:lnTo>
                  <a:lnTo>
                    <a:pt x="595" y="672"/>
                  </a:lnTo>
                  <a:close/>
                  <a:moveTo>
                    <a:pt x="35" y="455"/>
                  </a:moveTo>
                  <a:lnTo>
                    <a:pt x="35" y="457"/>
                  </a:lnTo>
                  <a:lnTo>
                    <a:pt x="35" y="455"/>
                  </a:lnTo>
                  <a:lnTo>
                    <a:pt x="35" y="457"/>
                  </a:lnTo>
                  <a:lnTo>
                    <a:pt x="35" y="455"/>
                  </a:lnTo>
                  <a:lnTo>
                    <a:pt x="35" y="457"/>
                  </a:lnTo>
                  <a:lnTo>
                    <a:pt x="35" y="455"/>
                  </a:lnTo>
                  <a:lnTo>
                    <a:pt x="33" y="455"/>
                  </a:lnTo>
                  <a:lnTo>
                    <a:pt x="35" y="455"/>
                  </a:lnTo>
                  <a:close/>
                  <a:moveTo>
                    <a:pt x="44" y="467"/>
                  </a:moveTo>
                  <a:lnTo>
                    <a:pt x="44" y="468"/>
                  </a:lnTo>
                  <a:lnTo>
                    <a:pt x="44" y="467"/>
                  </a:lnTo>
                  <a:lnTo>
                    <a:pt x="44" y="468"/>
                  </a:lnTo>
                  <a:lnTo>
                    <a:pt x="44" y="467"/>
                  </a:lnTo>
                  <a:close/>
                  <a:moveTo>
                    <a:pt x="8" y="449"/>
                  </a:moveTo>
                  <a:lnTo>
                    <a:pt x="6" y="449"/>
                  </a:lnTo>
                  <a:lnTo>
                    <a:pt x="8" y="449"/>
                  </a:lnTo>
                  <a:lnTo>
                    <a:pt x="6" y="451"/>
                  </a:lnTo>
                  <a:lnTo>
                    <a:pt x="6" y="449"/>
                  </a:lnTo>
                  <a:lnTo>
                    <a:pt x="8" y="449"/>
                  </a:lnTo>
                  <a:close/>
                  <a:moveTo>
                    <a:pt x="597" y="689"/>
                  </a:moveTo>
                  <a:lnTo>
                    <a:pt x="597" y="691"/>
                  </a:lnTo>
                  <a:lnTo>
                    <a:pt x="597" y="689"/>
                  </a:lnTo>
                  <a:lnTo>
                    <a:pt x="595" y="689"/>
                  </a:lnTo>
                  <a:lnTo>
                    <a:pt x="597" y="689"/>
                  </a:lnTo>
                  <a:close/>
                  <a:moveTo>
                    <a:pt x="290" y="513"/>
                  </a:moveTo>
                  <a:lnTo>
                    <a:pt x="292" y="513"/>
                  </a:lnTo>
                  <a:lnTo>
                    <a:pt x="290" y="513"/>
                  </a:lnTo>
                  <a:close/>
                  <a:moveTo>
                    <a:pt x="248" y="545"/>
                  </a:moveTo>
                  <a:lnTo>
                    <a:pt x="246" y="545"/>
                  </a:lnTo>
                  <a:lnTo>
                    <a:pt x="246" y="547"/>
                  </a:lnTo>
                  <a:lnTo>
                    <a:pt x="246" y="545"/>
                  </a:lnTo>
                  <a:lnTo>
                    <a:pt x="248" y="545"/>
                  </a:lnTo>
                  <a:close/>
                  <a:moveTo>
                    <a:pt x="33" y="484"/>
                  </a:moveTo>
                  <a:lnTo>
                    <a:pt x="35" y="484"/>
                  </a:lnTo>
                  <a:lnTo>
                    <a:pt x="35" y="486"/>
                  </a:lnTo>
                  <a:lnTo>
                    <a:pt x="33" y="486"/>
                  </a:lnTo>
                  <a:lnTo>
                    <a:pt x="33" y="484"/>
                  </a:lnTo>
                  <a:close/>
                  <a:moveTo>
                    <a:pt x="13" y="461"/>
                  </a:moveTo>
                  <a:lnTo>
                    <a:pt x="12" y="461"/>
                  </a:lnTo>
                  <a:lnTo>
                    <a:pt x="12" y="463"/>
                  </a:lnTo>
                  <a:lnTo>
                    <a:pt x="12" y="461"/>
                  </a:lnTo>
                  <a:lnTo>
                    <a:pt x="13" y="461"/>
                  </a:lnTo>
                  <a:close/>
                  <a:moveTo>
                    <a:pt x="44" y="480"/>
                  </a:moveTo>
                  <a:lnTo>
                    <a:pt x="46" y="480"/>
                  </a:lnTo>
                  <a:lnTo>
                    <a:pt x="44" y="480"/>
                  </a:lnTo>
                  <a:lnTo>
                    <a:pt x="46" y="480"/>
                  </a:lnTo>
                  <a:lnTo>
                    <a:pt x="44" y="480"/>
                  </a:lnTo>
                  <a:lnTo>
                    <a:pt x="44" y="482"/>
                  </a:lnTo>
                  <a:lnTo>
                    <a:pt x="44" y="480"/>
                  </a:lnTo>
                  <a:close/>
                  <a:moveTo>
                    <a:pt x="282" y="520"/>
                  </a:moveTo>
                  <a:lnTo>
                    <a:pt x="282" y="518"/>
                  </a:lnTo>
                  <a:lnTo>
                    <a:pt x="282" y="520"/>
                  </a:lnTo>
                  <a:close/>
                  <a:moveTo>
                    <a:pt x="622" y="647"/>
                  </a:moveTo>
                  <a:lnTo>
                    <a:pt x="624" y="647"/>
                  </a:lnTo>
                  <a:lnTo>
                    <a:pt x="622" y="647"/>
                  </a:lnTo>
                  <a:lnTo>
                    <a:pt x="624" y="647"/>
                  </a:lnTo>
                  <a:lnTo>
                    <a:pt x="622" y="647"/>
                  </a:lnTo>
                  <a:lnTo>
                    <a:pt x="622" y="649"/>
                  </a:lnTo>
                  <a:lnTo>
                    <a:pt x="622" y="647"/>
                  </a:lnTo>
                  <a:lnTo>
                    <a:pt x="622" y="649"/>
                  </a:lnTo>
                  <a:lnTo>
                    <a:pt x="622" y="647"/>
                  </a:lnTo>
                  <a:close/>
                  <a:moveTo>
                    <a:pt x="590" y="641"/>
                  </a:moveTo>
                  <a:lnTo>
                    <a:pt x="590" y="643"/>
                  </a:lnTo>
                  <a:lnTo>
                    <a:pt x="588" y="643"/>
                  </a:lnTo>
                  <a:lnTo>
                    <a:pt x="588" y="641"/>
                  </a:lnTo>
                  <a:lnTo>
                    <a:pt x="588" y="643"/>
                  </a:lnTo>
                  <a:lnTo>
                    <a:pt x="588" y="641"/>
                  </a:lnTo>
                  <a:lnTo>
                    <a:pt x="588" y="643"/>
                  </a:lnTo>
                  <a:lnTo>
                    <a:pt x="588" y="641"/>
                  </a:lnTo>
                  <a:lnTo>
                    <a:pt x="590" y="641"/>
                  </a:lnTo>
                  <a:close/>
                  <a:moveTo>
                    <a:pt x="839" y="730"/>
                  </a:moveTo>
                  <a:lnTo>
                    <a:pt x="839" y="731"/>
                  </a:lnTo>
                  <a:lnTo>
                    <a:pt x="841" y="731"/>
                  </a:lnTo>
                  <a:lnTo>
                    <a:pt x="841" y="730"/>
                  </a:lnTo>
                  <a:lnTo>
                    <a:pt x="841" y="731"/>
                  </a:lnTo>
                  <a:lnTo>
                    <a:pt x="839" y="731"/>
                  </a:lnTo>
                  <a:lnTo>
                    <a:pt x="839" y="730"/>
                  </a:lnTo>
                  <a:close/>
                  <a:moveTo>
                    <a:pt x="19" y="470"/>
                  </a:moveTo>
                  <a:lnTo>
                    <a:pt x="21" y="470"/>
                  </a:lnTo>
                  <a:lnTo>
                    <a:pt x="19" y="470"/>
                  </a:lnTo>
                  <a:lnTo>
                    <a:pt x="19" y="472"/>
                  </a:lnTo>
                  <a:lnTo>
                    <a:pt x="19" y="470"/>
                  </a:lnTo>
                  <a:close/>
                  <a:moveTo>
                    <a:pt x="244" y="547"/>
                  </a:moveTo>
                  <a:lnTo>
                    <a:pt x="244" y="549"/>
                  </a:lnTo>
                  <a:lnTo>
                    <a:pt x="242" y="549"/>
                  </a:lnTo>
                  <a:lnTo>
                    <a:pt x="242" y="547"/>
                  </a:lnTo>
                  <a:lnTo>
                    <a:pt x="244" y="547"/>
                  </a:lnTo>
                  <a:close/>
                  <a:moveTo>
                    <a:pt x="586" y="643"/>
                  </a:moveTo>
                  <a:lnTo>
                    <a:pt x="586" y="645"/>
                  </a:lnTo>
                  <a:lnTo>
                    <a:pt x="586" y="643"/>
                  </a:lnTo>
                  <a:close/>
                  <a:moveTo>
                    <a:pt x="42" y="482"/>
                  </a:moveTo>
                  <a:lnTo>
                    <a:pt x="44" y="482"/>
                  </a:lnTo>
                  <a:lnTo>
                    <a:pt x="42" y="482"/>
                  </a:lnTo>
                  <a:lnTo>
                    <a:pt x="44" y="482"/>
                  </a:lnTo>
                  <a:lnTo>
                    <a:pt x="42" y="482"/>
                  </a:lnTo>
                  <a:close/>
                  <a:moveTo>
                    <a:pt x="31" y="457"/>
                  </a:moveTo>
                  <a:lnTo>
                    <a:pt x="31" y="459"/>
                  </a:lnTo>
                  <a:lnTo>
                    <a:pt x="31" y="457"/>
                  </a:lnTo>
                  <a:lnTo>
                    <a:pt x="31" y="459"/>
                  </a:lnTo>
                  <a:lnTo>
                    <a:pt x="29" y="459"/>
                  </a:lnTo>
                  <a:lnTo>
                    <a:pt x="29" y="457"/>
                  </a:lnTo>
                  <a:lnTo>
                    <a:pt x="29" y="459"/>
                  </a:lnTo>
                  <a:lnTo>
                    <a:pt x="29" y="457"/>
                  </a:lnTo>
                  <a:lnTo>
                    <a:pt x="31" y="457"/>
                  </a:lnTo>
                  <a:close/>
                  <a:moveTo>
                    <a:pt x="21" y="476"/>
                  </a:moveTo>
                  <a:lnTo>
                    <a:pt x="19" y="476"/>
                  </a:lnTo>
                  <a:lnTo>
                    <a:pt x="21" y="476"/>
                  </a:lnTo>
                  <a:close/>
                  <a:moveTo>
                    <a:pt x="561" y="641"/>
                  </a:moveTo>
                  <a:lnTo>
                    <a:pt x="561" y="643"/>
                  </a:lnTo>
                  <a:lnTo>
                    <a:pt x="559" y="643"/>
                  </a:lnTo>
                  <a:lnTo>
                    <a:pt x="561" y="643"/>
                  </a:lnTo>
                  <a:lnTo>
                    <a:pt x="559" y="643"/>
                  </a:lnTo>
                  <a:lnTo>
                    <a:pt x="559" y="641"/>
                  </a:lnTo>
                  <a:lnTo>
                    <a:pt x="559" y="643"/>
                  </a:lnTo>
                  <a:lnTo>
                    <a:pt x="561" y="641"/>
                  </a:lnTo>
                  <a:close/>
                  <a:moveTo>
                    <a:pt x="620" y="645"/>
                  </a:moveTo>
                  <a:lnTo>
                    <a:pt x="618" y="645"/>
                  </a:lnTo>
                  <a:lnTo>
                    <a:pt x="620" y="645"/>
                  </a:lnTo>
                  <a:close/>
                  <a:moveTo>
                    <a:pt x="17" y="447"/>
                  </a:moveTo>
                  <a:lnTo>
                    <a:pt x="15" y="447"/>
                  </a:lnTo>
                  <a:lnTo>
                    <a:pt x="17" y="447"/>
                  </a:lnTo>
                  <a:lnTo>
                    <a:pt x="15" y="447"/>
                  </a:lnTo>
                  <a:lnTo>
                    <a:pt x="17" y="447"/>
                  </a:lnTo>
                  <a:close/>
                  <a:moveTo>
                    <a:pt x="27" y="447"/>
                  </a:moveTo>
                  <a:lnTo>
                    <a:pt x="27" y="449"/>
                  </a:lnTo>
                  <a:lnTo>
                    <a:pt x="27" y="447"/>
                  </a:lnTo>
                  <a:close/>
                  <a:moveTo>
                    <a:pt x="17" y="463"/>
                  </a:moveTo>
                  <a:lnTo>
                    <a:pt x="15" y="463"/>
                  </a:lnTo>
                  <a:lnTo>
                    <a:pt x="17" y="463"/>
                  </a:lnTo>
                  <a:lnTo>
                    <a:pt x="17" y="461"/>
                  </a:lnTo>
                  <a:lnTo>
                    <a:pt x="17" y="463"/>
                  </a:lnTo>
                  <a:close/>
                  <a:moveTo>
                    <a:pt x="590" y="683"/>
                  </a:moveTo>
                  <a:lnTo>
                    <a:pt x="590" y="685"/>
                  </a:lnTo>
                  <a:lnTo>
                    <a:pt x="588" y="685"/>
                  </a:lnTo>
                  <a:lnTo>
                    <a:pt x="588" y="683"/>
                  </a:lnTo>
                  <a:lnTo>
                    <a:pt x="590" y="683"/>
                  </a:lnTo>
                  <a:close/>
                  <a:moveTo>
                    <a:pt x="298" y="505"/>
                  </a:moveTo>
                  <a:lnTo>
                    <a:pt x="300" y="505"/>
                  </a:lnTo>
                  <a:lnTo>
                    <a:pt x="298" y="505"/>
                  </a:lnTo>
                  <a:lnTo>
                    <a:pt x="298" y="503"/>
                  </a:lnTo>
                  <a:lnTo>
                    <a:pt x="298" y="505"/>
                  </a:lnTo>
                  <a:close/>
                  <a:moveTo>
                    <a:pt x="23" y="472"/>
                  </a:moveTo>
                  <a:lnTo>
                    <a:pt x="25" y="472"/>
                  </a:lnTo>
                  <a:lnTo>
                    <a:pt x="23" y="472"/>
                  </a:lnTo>
                  <a:close/>
                  <a:moveTo>
                    <a:pt x="626" y="643"/>
                  </a:moveTo>
                  <a:lnTo>
                    <a:pt x="626" y="645"/>
                  </a:lnTo>
                  <a:lnTo>
                    <a:pt x="626" y="643"/>
                  </a:lnTo>
                  <a:close/>
                  <a:moveTo>
                    <a:pt x="29" y="442"/>
                  </a:moveTo>
                  <a:lnTo>
                    <a:pt x="29" y="443"/>
                  </a:lnTo>
                  <a:lnTo>
                    <a:pt x="27" y="443"/>
                  </a:lnTo>
                  <a:lnTo>
                    <a:pt x="27" y="442"/>
                  </a:lnTo>
                  <a:lnTo>
                    <a:pt x="27" y="443"/>
                  </a:lnTo>
                  <a:lnTo>
                    <a:pt x="27" y="442"/>
                  </a:lnTo>
                  <a:lnTo>
                    <a:pt x="27" y="443"/>
                  </a:lnTo>
                  <a:lnTo>
                    <a:pt x="29" y="443"/>
                  </a:lnTo>
                  <a:lnTo>
                    <a:pt x="29" y="442"/>
                  </a:lnTo>
                  <a:lnTo>
                    <a:pt x="29" y="443"/>
                  </a:lnTo>
                  <a:lnTo>
                    <a:pt x="29" y="442"/>
                  </a:lnTo>
                  <a:lnTo>
                    <a:pt x="29" y="443"/>
                  </a:lnTo>
                  <a:lnTo>
                    <a:pt x="29" y="442"/>
                  </a:lnTo>
                  <a:close/>
                  <a:moveTo>
                    <a:pt x="31" y="447"/>
                  </a:moveTo>
                  <a:lnTo>
                    <a:pt x="31" y="449"/>
                  </a:lnTo>
                  <a:lnTo>
                    <a:pt x="29" y="449"/>
                  </a:lnTo>
                  <a:lnTo>
                    <a:pt x="31" y="449"/>
                  </a:lnTo>
                  <a:lnTo>
                    <a:pt x="29" y="449"/>
                  </a:lnTo>
                  <a:lnTo>
                    <a:pt x="29" y="447"/>
                  </a:lnTo>
                  <a:lnTo>
                    <a:pt x="31" y="447"/>
                  </a:lnTo>
                  <a:close/>
                  <a:moveTo>
                    <a:pt x="23" y="457"/>
                  </a:moveTo>
                  <a:lnTo>
                    <a:pt x="23" y="459"/>
                  </a:lnTo>
                  <a:lnTo>
                    <a:pt x="23" y="457"/>
                  </a:lnTo>
                  <a:lnTo>
                    <a:pt x="23" y="459"/>
                  </a:lnTo>
                  <a:lnTo>
                    <a:pt x="23" y="457"/>
                  </a:lnTo>
                  <a:lnTo>
                    <a:pt x="23" y="459"/>
                  </a:lnTo>
                  <a:lnTo>
                    <a:pt x="21" y="459"/>
                  </a:lnTo>
                  <a:lnTo>
                    <a:pt x="23" y="459"/>
                  </a:lnTo>
                  <a:lnTo>
                    <a:pt x="23" y="457"/>
                  </a:lnTo>
                  <a:lnTo>
                    <a:pt x="21" y="457"/>
                  </a:lnTo>
                  <a:lnTo>
                    <a:pt x="23" y="457"/>
                  </a:lnTo>
                  <a:close/>
                  <a:moveTo>
                    <a:pt x="29" y="451"/>
                  </a:moveTo>
                  <a:lnTo>
                    <a:pt x="27" y="451"/>
                  </a:lnTo>
                  <a:lnTo>
                    <a:pt x="29" y="451"/>
                  </a:lnTo>
                  <a:close/>
                  <a:moveTo>
                    <a:pt x="33" y="459"/>
                  </a:moveTo>
                  <a:lnTo>
                    <a:pt x="35" y="459"/>
                  </a:lnTo>
                  <a:lnTo>
                    <a:pt x="33" y="459"/>
                  </a:lnTo>
                  <a:lnTo>
                    <a:pt x="33" y="457"/>
                  </a:lnTo>
                  <a:lnTo>
                    <a:pt x="33" y="459"/>
                  </a:lnTo>
                  <a:close/>
                  <a:moveTo>
                    <a:pt x="36" y="476"/>
                  </a:moveTo>
                  <a:lnTo>
                    <a:pt x="36" y="478"/>
                  </a:lnTo>
                  <a:lnTo>
                    <a:pt x="36" y="476"/>
                  </a:lnTo>
                  <a:close/>
                  <a:moveTo>
                    <a:pt x="563" y="643"/>
                  </a:moveTo>
                  <a:lnTo>
                    <a:pt x="563" y="645"/>
                  </a:lnTo>
                  <a:lnTo>
                    <a:pt x="565" y="645"/>
                  </a:lnTo>
                  <a:lnTo>
                    <a:pt x="563" y="645"/>
                  </a:lnTo>
                  <a:lnTo>
                    <a:pt x="563" y="643"/>
                  </a:lnTo>
                  <a:close/>
                  <a:moveTo>
                    <a:pt x="29" y="451"/>
                  </a:moveTo>
                  <a:lnTo>
                    <a:pt x="31" y="451"/>
                  </a:lnTo>
                  <a:lnTo>
                    <a:pt x="29" y="451"/>
                  </a:lnTo>
                  <a:lnTo>
                    <a:pt x="31" y="453"/>
                  </a:lnTo>
                  <a:lnTo>
                    <a:pt x="29" y="453"/>
                  </a:lnTo>
                  <a:lnTo>
                    <a:pt x="29" y="451"/>
                  </a:lnTo>
                  <a:lnTo>
                    <a:pt x="29" y="453"/>
                  </a:lnTo>
                  <a:lnTo>
                    <a:pt x="29" y="451"/>
                  </a:lnTo>
                  <a:lnTo>
                    <a:pt x="29" y="453"/>
                  </a:lnTo>
                  <a:lnTo>
                    <a:pt x="29" y="451"/>
                  </a:lnTo>
                  <a:close/>
                  <a:moveTo>
                    <a:pt x="682" y="703"/>
                  </a:moveTo>
                  <a:lnTo>
                    <a:pt x="682" y="705"/>
                  </a:lnTo>
                  <a:lnTo>
                    <a:pt x="682" y="703"/>
                  </a:lnTo>
                  <a:close/>
                  <a:moveTo>
                    <a:pt x="599" y="655"/>
                  </a:moveTo>
                  <a:lnTo>
                    <a:pt x="599" y="657"/>
                  </a:lnTo>
                  <a:lnTo>
                    <a:pt x="599" y="655"/>
                  </a:lnTo>
                  <a:close/>
                  <a:moveTo>
                    <a:pt x="31" y="451"/>
                  </a:moveTo>
                  <a:lnTo>
                    <a:pt x="31" y="453"/>
                  </a:lnTo>
                  <a:lnTo>
                    <a:pt x="31" y="451"/>
                  </a:lnTo>
                  <a:lnTo>
                    <a:pt x="31" y="453"/>
                  </a:lnTo>
                  <a:lnTo>
                    <a:pt x="29" y="453"/>
                  </a:lnTo>
                  <a:lnTo>
                    <a:pt x="31" y="453"/>
                  </a:lnTo>
                  <a:lnTo>
                    <a:pt x="31" y="451"/>
                  </a:lnTo>
                  <a:close/>
                  <a:moveTo>
                    <a:pt x="27" y="438"/>
                  </a:moveTo>
                  <a:lnTo>
                    <a:pt x="27" y="440"/>
                  </a:lnTo>
                  <a:lnTo>
                    <a:pt x="29" y="440"/>
                  </a:lnTo>
                  <a:lnTo>
                    <a:pt x="27" y="440"/>
                  </a:lnTo>
                  <a:lnTo>
                    <a:pt x="29" y="440"/>
                  </a:lnTo>
                  <a:lnTo>
                    <a:pt x="27" y="440"/>
                  </a:lnTo>
                  <a:lnTo>
                    <a:pt x="27" y="438"/>
                  </a:lnTo>
                  <a:close/>
                  <a:moveTo>
                    <a:pt x="10" y="453"/>
                  </a:moveTo>
                  <a:lnTo>
                    <a:pt x="10" y="455"/>
                  </a:lnTo>
                  <a:lnTo>
                    <a:pt x="8" y="455"/>
                  </a:lnTo>
                  <a:lnTo>
                    <a:pt x="8" y="453"/>
                  </a:lnTo>
                  <a:lnTo>
                    <a:pt x="10" y="453"/>
                  </a:lnTo>
                  <a:close/>
                  <a:moveTo>
                    <a:pt x="668" y="687"/>
                  </a:moveTo>
                  <a:lnTo>
                    <a:pt x="668" y="689"/>
                  </a:lnTo>
                  <a:lnTo>
                    <a:pt x="668" y="687"/>
                  </a:lnTo>
                  <a:lnTo>
                    <a:pt x="668" y="689"/>
                  </a:lnTo>
                  <a:lnTo>
                    <a:pt x="668" y="687"/>
                  </a:lnTo>
                  <a:lnTo>
                    <a:pt x="668" y="689"/>
                  </a:lnTo>
                  <a:lnTo>
                    <a:pt x="668" y="687"/>
                  </a:lnTo>
                  <a:close/>
                  <a:moveTo>
                    <a:pt x="284" y="518"/>
                  </a:moveTo>
                  <a:lnTo>
                    <a:pt x="284" y="520"/>
                  </a:lnTo>
                  <a:lnTo>
                    <a:pt x="284" y="518"/>
                  </a:lnTo>
                  <a:lnTo>
                    <a:pt x="282" y="518"/>
                  </a:lnTo>
                  <a:lnTo>
                    <a:pt x="284" y="518"/>
                  </a:lnTo>
                  <a:close/>
                  <a:moveTo>
                    <a:pt x="29" y="445"/>
                  </a:moveTo>
                  <a:lnTo>
                    <a:pt x="29" y="447"/>
                  </a:lnTo>
                  <a:lnTo>
                    <a:pt x="27" y="447"/>
                  </a:lnTo>
                  <a:lnTo>
                    <a:pt x="29" y="447"/>
                  </a:lnTo>
                  <a:lnTo>
                    <a:pt x="29" y="445"/>
                  </a:lnTo>
                  <a:close/>
                  <a:moveTo>
                    <a:pt x="647" y="664"/>
                  </a:moveTo>
                  <a:lnTo>
                    <a:pt x="647" y="666"/>
                  </a:lnTo>
                  <a:lnTo>
                    <a:pt x="645" y="666"/>
                  </a:lnTo>
                  <a:lnTo>
                    <a:pt x="645" y="664"/>
                  </a:lnTo>
                  <a:lnTo>
                    <a:pt x="645" y="666"/>
                  </a:lnTo>
                  <a:lnTo>
                    <a:pt x="645" y="664"/>
                  </a:lnTo>
                  <a:lnTo>
                    <a:pt x="647" y="664"/>
                  </a:lnTo>
                  <a:close/>
                  <a:moveTo>
                    <a:pt x="252" y="541"/>
                  </a:moveTo>
                  <a:lnTo>
                    <a:pt x="250" y="541"/>
                  </a:lnTo>
                  <a:lnTo>
                    <a:pt x="250" y="543"/>
                  </a:lnTo>
                  <a:lnTo>
                    <a:pt x="248" y="543"/>
                  </a:lnTo>
                  <a:lnTo>
                    <a:pt x="250" y="543"/>
                  </a:lnTo>
                  <a:lnTo>
                    <a:pt x="250" y="541"/>
                  </a:lnTo>
                  <a:lnTo>
                    <a:pt x="252" y="541"/>
                  </a:lnTo>
                  <a:close/>
                  <a:moveTo>
                    <a:pt x="263" y="518"/>
                  </a:moveTo>
                  <a:lnTo>
                    <a:pt x="261" y="518"/>
                  </a:lnTo>
                  <a:lnTo>
                    <a:pt x="263" y="518"/>
                  </a:lnTo>
                  <a:close/>
                  <a:moveTo>
                    <a:pt x="664" y="685"/>
                  </a:moveTo>
                  <a:lnTo>
                    <a:pt x="664" y="687"/>
                  </a:lnTo>
                  <a:lnTo>
                    <a:pt x="664" y="685"/>
                  </a:lnTo>
                  <a:close/>
                  <a:moveTo>
                    <a:pt x="897" y="645"/>
                  </a:moveTo>
                  <a:lnTo>
                    <a:pt x="895" y="645"/>
                  </a:lnTo>
                  <a:lnTo>
                    <a:pt x="897" y="645"/>
                  </a:lnTo>
                  <a:close/>
                  <a:moveTo>
                    <a:pt x="19" y="447"/>
                  </a:moveTo>
                  <a:lnTo>
                    <a:pt x="19" y="449"/>
                  </a:lnTo>
                  <a:lnTo>
                    <a:pt x="17" y="449"/>
                  </a:lnTo>
                  <a:lnTo>
                    <a:pt x="19" y="449"/>
                  </a:lnTo>
                  <a:lnTo>
                    <a:pt x="19" y="447"/>
                  </a:lnTo>
                  <a:lnTo>
                    <a:pt x="19" y="449"/>
                  </a:lnTo>
                  <a:lnTo>
                    <a:pt x="19" y="447"/>
                  </a:lnTo>
                  <a:close/>
                  <a:moveTo>
                    <a:pt x="36" y="480"/>
                  </a:moveTo>
                  <a:lnTo>
                    <a:pt x="36" y="482"/>
                  </a:lnTo>
                  <a:lnTo>
                    <a:pt x="36" y="480"/>
                  </a:lnTo>
                  <a:lnTo>
                    <a:pt x="36" y="482"/>
                  </a:lnTo>
                  <a:lnTo>
                    <a:pt x="36" y="480"/>
                  </a:lnTo>
                  <a:close/>
                  <a:moveTo>
                    <a:pt x="315" y="495"/>
                  </a:moveTo>
                  <a:lnTo>
                    <a:pt x="313" y="495"/>
                  </a:lnTo>
                  <a:lnTo>
                    <a:pt x="315" y="495"/>
                  </a:lnTo>
                  <a:lnTo>
                    <a:pt x="313" y="495"/>
                  </a:lnTo>
                  <a:lnTo>
                    <a:pt x="315" y="495"/>
                  </a:lnTo>
                  <a:close/>
                  <a:moveTo>
                    <a:pt x="524" y="645"/>
                  </a:moveTo>
                  <a:lnTo>
                    <a:pt x="522" y="645"/>
                  </a:lnTo>
                  <a:lnTo>
                    <a:pt x="524" y="645"/>
                  </a:lnTo>
                  <a:close/>
                  <a:moveTo>
                    <a:pt x="741" y="810"/>
                  </a:moveTo>
                  <a:lnTo>
                    <a:pt x="743" y="810"/>
                  </a:lnTo>
                  <a:lnTo>
                    <a:pt x="741" y="810"/>
                  </a:lnTo>
                  <a:close/>
                  <a:moveTo>
                    <a:pt x="668" y="685"/>
                  </a:moveTo>
                  <a:lnTo>
                    <a:pt x="666" y="685"/>
                  </a:lnTo>
                  <a:lnTo>
                    <a:pt x="668" y="685"/>
                  </a:lnTo>
                  <a:lnTo>
                    <a:pt x="666" y="685"/>
                  </a:lnTo>
                  <a:lnTo>
                    <a:pt x="668" y="685"/>
                  </a:lnTo>
                  <a:close/>
                  <a:moveTo>
                    <a:pt x="292" y="509"/>
                  </a:moveTo>
                  <a:lnTo>
                    <a:pt x="292" y="511"/>
                  </a:lnTo>
                  <a:lnTo>
                    <a:pt x="292" y="509"/>
                  </a:lnTo>
                  <a:close/>
                  <a:moveTo>
                    <a:pt x="555" y="641"/>
                  </a:moveTo>
                  <a:lnTo>
                    <a:pt x="553" y="641"/>
                  </a:lnTo>
                  <a:lnTo>
                    <a:pt x="555" y="641"/>
                  </a:lnTo>
                  <a:close/>
                  <a:moveTo>
                    <a:pt x="628" y="645"/>
                  </a:moveTo>
                  <a:lnTo>
                    <a:pt x="628" y="647"/>
                  </a:lnTo>
                  <a:lnTo>
                    <a:pt x="628" y="645"/>
                  </a:lnTo>
                  <a:close/>
                  <a:moveTo>
                    <a:pt x="657" y="680"/>
                  </a:moveTo>
                  <a:lnTo>
                    <a:pt x="655" y="680"/>
                  </a:lnTo>
                  <a:lnTo>
                    <a:pt x="657" y="680"/>
                  </a:lnTo>
                  <a:close/>
                  <a:moveTo>
                    <a:pt x="46" y="468"/>
                  </a:moveTo>
                  <a:lnTo>
                    <a:pt x="46" y="470"/>
                  </a:lnTo>
                  <a:lnTo>
                    <a:pt x="46" y="468"/>
                  </a:lnTo>
                  <a:lnTo>
                    <a:pt x="44" y="468"/>
                  </a:lnTo>
                  <a:lnTo>
                    <a:pt x="46" y="468"/>
                  </a:lnTo>
                  <a:close/>
                  <a:moveTo>
                    <a:pt x="27" y="455"/>
                  </a:moveTo>
                  <a:lnTo>
                    <a:pt x="27" y="457"/>
                  </a:lnTo>
                  <a:lnTo>
                    <a:pt x="29" y="457"/>
                  </a:lnTo>
                  <a:lnTo>
                    <a:pt x="27" y="457"/>
                  </a:lnTo>
                  <a:lnTo>
                    <a:pt x="27" y="455"/>
                  </a:lnTo>
                  <a:close/>
                  <a:moveTo>
                    <a:pt x="25" y="459"/>
                  </a:moveTo>
                  <a:lnTo>
                    <a:pt x="23" y="459"/>
                  </a:lnTo>
                  <a:lnTo>
                    <a:pt x="23" y="461"/>
                  </a:lnTo>
                  <a:lnTo>
                    <a:pt x="23" y="459"/>
                  </a:lnTo>
                  <a:lnTo>
                    <a:pt x="23" y="461"/>
                  </a:lnTo>
                  <a:lnTo>
                    <a:pt x="23" y="459"/>
                  </a:lnTo>
                  <a:lnTo>
                    <a:pt x="23" y="461"/>
                  </a:lnTo>
                  <a:lnTo>
                    <a:pt x="23" y="459"/>
                  </a:lnTo>
                  <a:lnTo>
                    <a:pt x="25" y="459"/>
                  </a:lnTo>
                  <a:close/>
                  <a:moveTo>
                    <a:pt x="38" y="461"/>
                  </a:moveTo>
                  <a:lnTo>
                    <a:pt x="38" y="463"/>
                  </a:lnTo>
                  <a:lnTo>
                    <a:pt x="38" y="461"/>
                  </a:lnTo>
                  <a:close/>
                  <a:moveTo>
                    <a:pt x="273" y="524"/>
                  </a:moveTo>
                  <a:lnTo>
                    <a:pt x="273" y="526"/>
                  </a:lnTo>
                  <a:lnTo>
                    <a:pt x="271" y="526"/>
                  </a:lnTo>
                  <a:lnTo>
                    <a:pt x="271" y="524"/>
                  </a:lnTo>
                  <a:lnTo>
                    <a:pt x="273" y="524"/>
                  </a:lnTo>
                  <a:close/>
                  <a:moveTo>
                    <a:pt x="645" y="666"/>
                  </a:moveTo>
                  <a:lnTo>
                    <a:pt x="647" y="666"/>
                  </a:lnTo>
                  <a:lnTo>
                    <a:pt x="645" y="666"/>
                  </a:lnTo>
                  <a:lnTo>
                    <a:pt x="645" y="668"/>
                  </a:lnTo>
                  <a:lnTo>
                    <a:pt x="645" y="666"/>
                  </a:lnTo>
                  <a:lnTo>
                    <a:pt x="645" y="668"/>
                  </a:lnTo>
                  <a:lnTo>
                    <a:pt x="645" y="666"/>
                  </a:lnTo>
                  <a:lnTo>
                    <a:pt x="645" y="668"/>
                  </a:lnTo>
                  <a:lnTo>
                    <a:pt x="645" y="666"/>
                  </a:lnTo>
                  <a:close/>
                  <a:moveTo>
                    <a:pt x="25" y="474"/>
                  </a:moveTo>
                  <a:lnTo>
                    <a:pt x="25" y="476"/>
                  </a:lnTo>
                  <a:lnTo>
                    <a:pt x="23" y="476"/>
                  </a:lnTo>
                  <a:lnTo>
                    <a:pt x="23" y="474"/>
                  </a:lnTo>
                  <a:lnTo>
                    <a:pt x="25" y="474"/>
                  </a:lnTo>
                  <a:close/>
                  <a:moveTo>
                    <a:pt x="303" y="503"/>
                  </a:moveTo>
                  <a:lnTo>
                    <a:pt x="301" y="503"/>
                  </a:lnTo>
                  <a:lnTo>
                    <a:pt x="303" y="503"/>
                  </a:lnTo>
                  <a:close/>
                  <a:moveTo>
                    <a:pt x="38" y="463"/>
                  </a:moveTo>
                  <a:lnTo>
                    <a:pt x="38" y="465"/>
                  </a:lnTo>
                  <a:lnTo>
                    <a:pt x="36" y="465"/>
                  </a:lnTo>
                  <a:lnTo>
                    <a:pt x="36" y="463"/>
                  </a:lnTo>
                  <a:lnTo>
                    <a:pt x="38" y="463"/>
                  </a:lnTo>
                  <a:close/>
                  <a:moveTo>
                    <a:pt x="282" y="518"/>
                  </a:moveTo>
                  <a:lnTo>
                    <a:pt x="282" y="520"/>
                  </a:lnTo>
                  <a:lnTo>
                    <a:pt x="282" y="518"/>
                  </a:lnTo>
                  <a:close/>
                  <a:moveTo>
                    <a:pt x="13" y="465"/>
                  </a:moveTo>
                  <a:lnTo>
                    <a:pt x="13" y="467"/>
                  </a:lnTo>
                  <a:lnTo>
                    <a:pt x="13" y="465"/>
                  </a:lnTo>
                  <a:close/>
                  <a:moveTo>
                    <a:pt x="31" y="478"/>
                  </a:moveTo>
                  <a:lnTo>
                    <a:pt x="33" y="478"/>
                  </a:lnTo>
                  <a:lnTo>
                    <a:pt x="31" y="478"/>
                  </a:lnTo>
                  <a:close/>
                  <a:moveTo>
                    <a:pt x="42" y="465"/>
                  </a:moveTo>
                  <a:lnTo>
                    <a:pt x="40" y="465"/>
                  </a:lnTo>
                  <a:lnTo>
                    <a:pt x="42" y="465"/>
                  </a:lnTo>
                  <a:close/>
                  <a:moveTo>
                    <a:pt x="25" y="453"/>
                  </a:moveTo>
                  <a:lnTo>
                    <a:pt x="23" y="453"/>
                  </a:lnTo>
                  <a:lnTo>
                    <a:pt x="25" y="453"/>
                  </a:lnTo>
                  <a:close/>
                  <a:moveTo>
                    <a:pt x="622" y="645"/>
                  </a:moveTo>
                  <a:lnTo>
                    <a:pt x="624" y="645"/>
                  </a:lnTo>
                  <a:lnTo>
                    <a:pt x="622" y="645"/>
                  </a:lnTo>
                  <a:lnTo>
                    <a:pt x="624" y="645"/>
                  </a:lnTo>
                  <a:lnTo>
                    <a:pt x="622" y="645"/>
                  </a:lnTo>
                  <a:close/>
                  <a:moveTo>
                    <a:pt x="17" y="451"/>
                  </a:moveTo>
                  <a:lnTo>
                    <a:pt x="15" y="451"/>
                  </a:lnTo>
                  <a:lnTo>
                    <a:pt x="17" y="451"/>
                  </a:lnTo>
                  <a:close/>
                  <a:moveTo>
                    <a:pt x="682" y="701"/>
                  </a:moveTo>
                  <a:lnTo>
                    <a:pt x="682" y="703"/>
                  </a:lnTo>
                  <a:lnTo>
                    <a:pt x="682" y="701"/>
                  </a:lnTo>
                  <a:lnTo>
                    <a:pt x="682" y="703"/>
                  </a:lnTo>
                  <a:lnTo>
                    <a:pt x="682" y="701"/>
                  </a:lnTo>
                  <a:close/>
                  <a:moveTo>
                    <a:pt x="33" y="480"/>
                  </a:moveTo>
                  <a:lnTo>
                    <a:pt x="31" y="480"/>
                  </a:lnTo>
                  <a:lnTo>
                    <a:pt x="31" y="478"/>
                  </a:lnTo>
                  <a:lnTo>
                    <a:pt x="33" y="478"/>
                  </a:lnTo>
                  <a:lnTo>
                    <a:pt x="33" y="480"/>
                  </a:lnTo>
                  <a:close/>
                  <a:moveTo>
                    <a:pt x="23" y="472"/>
                  </a:moveTo>
                  <a:lnTo>
                    <a:pt x="23" y="474"/>
                  </a:lnTo>
                  <a:lnTo>
                    <a:pt x="21" y="474"/>
                  </a:lnTo>
                  <a:lnTo>
                    <a:pt x="21" y="472"/>
                  </a:lnTo>
                  <a:lnTo>
                    <a:pt x="23" y="472"/>
                  </a:lnTo>
                  <a:close/>
                  <a:moveTo>
                    <a:pt x="27" y="459"/>
                  </a:moveTo>
                  <a:lnTo>
                    <a:pt x="27" y="461"/>
                  </a:lnTo>
                  <a:lnTo>
                    <a:pt x="27" y="459"/>
                  </a:lnTo>
                  <a:close/>
                  <a:moveTo>
                    <a:pt x="273" y="530"/>
                  </a:moveTo>
                  <a:lnTo>
                    <a:pt x="271" y="530"/>
                  </a:lnTo>
                  <a:lnTo>
                    <a:pt x="273" y="530"/>
                  </a:lnTo>
                  <a:close/>
                  <a:moveTo>
                    <a:pt x="536" y="643"/>
                  </a:moveTo>
                  <a:lnTo>
                    <a:pt x="536" y="645"/>
                  </a:lnTo>
                  <a:lnTo>
                    <a:pt x="538" y="645"/>
                  </a:lnTo>
                  <a:lnTo>
                    <a:pt x="536" y="645"/>
                  </a:lnTo>
                  <a:lnTo>
                    <a:pt x="538" y="645"/>
                  </a:lnTo>
                  <a:lnTo>
                    <a:pt x="536" y="645"/>
                  </a:lnTo>
                  <a:lnTo>
                    <a:pt x="536" y="643"/>
                  </a:lnTo>
                  <a:close/>
                  <a:moveTo>
                    <a:pt x="46" y="470"/>
                  </a:moveTo>
                  <a:lnTo>
                    <a:pt x="46" y="472"/>
                  </a:lnTo>
                  <a:lnTo>
                    <a:pt x="44" y="472"/>
                  </a:lnTo>
                  <a:lnTo>
                    <a:pt x="46" y="472"/>
                  </a:lnTo>
                  <a:lnTo>
                    <a:pt x="46" y="470"/>
                  </a:lnTo>
                  <a:lnTo>
                    <a:pt x="44" y="472"/>
                  </a:lnTo>
                  <a:lnTo>
                    <a:pt x="44" y="470"/>
                  </a:lnTo>
                  <a:lnTo>
                    <a:pt x="46" y="470"/>
                  </a:lnTo>
                  <a:close/>
                  <a:moveTo>
                    <a:pt x="42" y="467"/>
                  </a:moveTo>
                  <a:lnTo>
                    <a:pt x="40" y="467"/>
                  </a:lnTo>
                  <a:lnTo>
                    <a:pt x="42" y="467"/>
                  </a:lnTo>
                  <a:close/>
                  <a:moveTo>
                    <a:pt x="647" y="664"/>
                  </a:moveTo>
                  <a:lnTo>
                    <a:pt x="647" y="662"/>
                  </a:lnTo>
                  <a:lnTo>
                    <a:pt x="647" y="664"/>
                  </a:lnTo>
                  <a:close/>
                  <a:moveTo>
                    <a:pt x="23" y="430"/>
                  </a:moveTo>
                  <a:lnTo>
                    <a:pt x="23" y="428"/>
                  </a:lnTo>
                  <a:lnTo>
                    <a:pt x="23" y="430"/>
                  </a:lnTo>
                  <a:close/>
                  <a:moveTo>
                    <a:pt x="17" y="457"/>
                  </a:moveTo>
                  <a:lnTo>
                    <a:pt x="19" y="457"/>
                  </a:lnTo>
                  <a:lnTo>
                    <a:pt x="17" y="457"/>
                  </a:lnTo>
                  <a:lnTo>
                    <a:pt x="19" y="457"/>
                  </a:lnTo>
                  <a:lnTo>
                    <a:pt x="17" y="457"/>
                  </a:lnTo>
                  <a:close/>
                  <a:moveTo>
                    <a:pt x="292" y="493"/>
                  </a:moveTo>
                  <a:lnTo>
                    <a:pt x="292" y="495"/>
                  </a:lnTo>
                  <a:lnTo>
                    <a:pt x="292" y="493"/>
                  </a:lnTo>
                  <a:close/>
                  <a:moveTo>
                    <a:pt x="864" y="693"/>
                  </a:moveTo>
                  <a:lnTo>
                    <a:pt x="864" y="695"/>
                  </a:lnTo>
                  <a:lnTo>
                    <a:pt x="864" y="693"/>
                  </a:lnTo>
                  <a:close/>
                  <a:moveTo>
                    <a:pt x="561" y="649"/>
                  </a:moveTo>
                  <a:lnTo>
                    <a:pt x="561" y="651"/>
                  </a:lnTo>
                  <a:lnTo>
                    <a:pt x="561" y="649"/>
                  </a:lnTo>
                  <a:close/>
                  <a:moveTo>
                    <a:pt x="545" y="643"/>
                  </a:moveTo>
                  <a:lnTo>
                    <a:pt x="545" y="645"/>
                  </a:lnTo>
                  <a:lnTo>
                    <a:pt x="543" y="645"/>
                  </a:lnTo>
                  <a:lnTo>
                    <a:pt x="543" y="643"/>
                  </a:lnTo>
                  <a:lnTo>
                    <a:pt x="543" y="645"/>
                  </a:lnTo>
                  <a:lnTo>
                    <a:pt x="543" y="643"/>
                  </a:lnTo>
                  <a:lnTo>
                    <a:pt x="543" y="645"/>
                  </a:lnTo>
                  <a:lnTo>
                    <a:pt x="543" y="643"/>
                  </a:lnTo>
                  <a:lnTo>
                    <a:pt x="545" y="643"/>
                  </a:lnTo>
                  <a:lnTo>
                    <a:pt x="545" y="645"/>
                  </a:lnTo>
                  <a:lnTo>
                    <a:pt x="545" y="643"/>
                  </a:lnTo>
                  <a:close/>
                  <a:moveTo>
                    <a:pt x="559" y="904"/>
                  </a:moveTo>
                  <a:lnTo>
                    <a:pt x="559" y="906"/>
                  </a:lnTo>
                  <a:lnTo>
                    <a:pt x="559" y="904"/>
                  </a:lnTo>
                  <a:close/>
                  <a:moveTo>
                    <a:pt x="664" y="685"/>
                  </a:moveTo>
                  <a:lnTo>
                    <a:pt x="664" y="687"/>
                  </a:lnTo>
                  <a:lnTo>
                    <a:pt x="664" y="685"/>
                  </a:lnTo>
                  <a:close/>
                  <a:moveTo>
                    <a:pt x="27" y="486"/>
                  </a:moveTo>
                  <a:lnTo>
                    <a:pt x="29" y="486"/>
                  </a:lnTo>
                  <a:lnTo>
                    <a:pt x="27" y="486"/>
                  </a:lnTo>
                  <a:close/>
                  <a:moveTo>
                    <a:pt x="319" y="497"/>
                  </a:moveTo>
                  <a:lnTo>
                    <a:pt x="317" y="497"/>
                  </a:lnTo>
                  <a:lnTo>
                    <a:pt x="319" y="497"/>
                  </a:lnTo>
                  <a:close/>
                  <a:moveTo>
                    <a:pt x="33" y="480"/>
                  </a:moveTo>
                  <a:lnTo>
                    <a:pt x="33" y="478"/>
                  </a:lnTo>
                  <a:lnTo>
                    <a:pt x="35" y="480"/>
                  </a:lnTo>
                  <a:lnTo>
                    <a:pt x="35" y="478"/>
                  </a:lnTo>
                  <a:lnTo>
                    <a:pt x="35" y="480"/>
                  </a:lnTo>
                  <a:lnTo>
                    <a:pt x="35" y="478"/>
                  </a:lnTo>
                  <a:lnTo>
                    <a:pt x="35" y="480"/>
                  </a:lnTo>
                  <a:lnTo>
                    <a:pt x="33" y="480"/>
                  </a:lnTo>
                  <a:lnTo>
                    <a:pt x="33" y="478"/>
                  </a:lnTo>
                  <a:lnTo>
                    <a:pt x="33" y="480"/>
                  </a:lnTo>
                  <a:close/>
                  <a:moveTo>
                    <a:pt x="578" y="649"/>
                  </a:moveTo>
                  <a:lnTo>
                    <a:pt x="576" y="649"/>
                  </a:lnTo>
                  <a:lnTo>
                    <a:pt x="578" y="649"/>
                  </a:lnTo>
                  <a:close/>
                  <a:moveTo>
                    <a:pt x="618" y="724"/>
                  </a:moveTo>
                  <a:lnTo>
                    <a:pt x="616" y="724"/>
                  </a:lnTo>
                  <a:lnTo>
                    <a:pt x="618" y="724"/>
                  </a:lnTo>
                  <a:close/>
                  <a:moveTo>
                    <a:pt x="33" y="478"/>
                  </a:moveTo>
                  <a:lnTo>
                    <a:pt x="33" y="480"/>
                  </a:lnTo>
                  <a:lnTo>
                    <a:pt x="33" y="478"/>
                  </a:lnTo>
                  <a:lnTo>
                    <a:pt x="33" y="480"/>
                  </a:lnTo>
                  <a:lnTo>
                    <a:pt x="33" y="478"/>
                  </a:lnTo>
                  <a:lnTo>
                    <a:pt x="33" y="480"/>
                  </a:lnTo>
                  <a:lnTo>
                    <a:pt x="33" y="478"/>
                  </a:lnTo>
                  <a:lnTo>
                    <a:pt x="33" y="480"/>
                  </a:lnTo>
                  <a:lnTo>
                    <a:pt x="33" y="478"/>
                  </a:lnTo>
                  <a:close/>
                  <a:moveTo>
                    <a:pt x="17" y="470"/>
                  </a:moveTo>
                  <a:lnTo>
                    <a:pt x="19" y="470"/>
                  </a:lnTo>
                  <a:lnTo>
                    <a:pt x="17" y="470"/>
                  </a:lnTo>
                  <a:lnTo>
                    <a:pt x="19" y="470"/>
                  </a:lnTo>
                  <a:lnTo>
                    <a:pt x="17" y="470"/>
                  </a:lnTo>
                  <a:lnTo>
                    <a:pt x="19" y="470"/>
                  </a:lnTo>
                  <a:lnTo>
                    <a:pt x="17" y="472"/>
                  </a:lnTo>
                  <a:lnTo>
                    <a:pt x="17" y="470"/>
                  </a:lnTo>
                  <a:close/>
                  <a:moveTo>
                    <a:pt x="29" y="445"/>
                  </a:moveTo>
                  <a:lnTo>
                    <a:pt x="27" y="445"/>
                  </a:lnTo>
                  <a:lnTo>
                    <a:pt x="29" y="445"/>
                  </a:lnTo>
                  <a:lnTo>
                    <a:pt x="27" y="445"/>
                  </a:lnTo>
                  <a:lnTo>
                    <a:pt x="29" y="445"/>
                  </a:lnTo>
                  <a:close/>
                  <a:moveTo>
                    <a:pt x="35" y="472"/>
                  </a:moveTo>
                  <a:lnTo>
                    <a:pt x="35" y="474"/>
                  </a:lnTo>
                  <a:lnTo>
                    <a:pt x="33" y="474"/>
                  </a:lnTo>
                  <a:lnTo>
                    <a:pt x="35" y="474"/>
                  </a:lnTo>
                  <a:lnTo>
                    <a:pt x="33" y="474"/>
                  </a:lnTo>
                  <a:lnTo>
                    <a:pt x="33" y="472"/>
                  </a:lnTo>
                  <a:lnTo>
                    <a:pt x="35" y="472"/>
                  </a:lnTo>
                  <a:close/>
                  <a:moveTo>
                    <a:pt x="29" y="488"/>
                  </a:moveTo>
                  <a:lnTo>
                    <a:pt x="29" y="486"/>
                  </a:lnTo>
                  <a:lnTo>
                    <a:pt x="29" y="488"/>
                  </a:lnTo>
                  <a:close/>
                  <a:moveTo>
                    <a:pt x="599" y="689"/>
                  </a:moveTo>
                  <a:lnTo>
                    <a:pt x="599" y="687"/>
                  </a:lnTo>
                  <a:lnTo>
                    <a:pt x="599" y="689"/>
                  </a:lnTo>
                  <a:close/>
                  <a:moveTo>
                    <a:pt x="595" y="693"/>
                  </a:moveTo>
                  <a:lnTo>
                    <a:pt x="593" y="693"/>
                  </a:lnTo>
                  <a:lnTo>
                    <a:pt x="595" y="693"/>
                  </a:lnTo>
                  <a:lnTo>
                    <a:pt x="593" y="693"/>
                  </a:lnTo>
                  <a:lnTo>
                    <a:pt x="595" y="693"/>
                  </a:lnTo>
                  <a:close/>
                  <a:moveTo>
                    <a:pt x="590" y="641"/>
                  </a:moveTo>
                  <a:lnTo>
                    <a:pt x="588" y="641"/>
                  </a:lnTo>
                  <a:lnTo>
                    <a:pt x="590" y="641"/>
                  </a:lnTo>
                  <a:close/>
                  <a:moveTo>
                    <a:pt x="591" y="641"/>
                  </a:moveTo>
                  <a:lnTo>
                    <a:pt x="591" y="643"/>
                  </a:lnTo>
                  <a:lnTo>
                    <a:pt x="591" y="641"/>
                  </a:lnTo>
                  <a:close/>
                  <a:moveTo>
                    <a:pt x="19" y="468"/>
                  </a:moveTo>
                  <a:lnTo>
                    <a:pt x="19" y="470"/>
                  </a:lnTo>
                  <a:lnTo>
                    <a:pt x="19" y="468"/>
                  </a:lnTo>
                  <a:close/>
                  <a:moveTo>
                    <a:pt x="29" y="445"/>
                  </a:moveTo>
                  <a:lnTo>
                    <a:pt x="31" y="445"/>
                  </a:lnTo>
                  <a:lnTo>
                    <a:pt x="29" y="445"/>
                  </a:lnTo>
                  <a:close/>
                  <a:moveTo>
                    <a:pt x="25" y="457"/>
                  </a:moveTo>
                  <a:lnTo>
                    <a:pt x="23" y="457"/>
                  </a:lnTo>
                  <a:lnTo>
                    <a:pt x="25" y="457"/>
                  </a:lnTo>
                  <a:close/>
                  <a:moveTo>
                    <a:pt x="27" y="474"/>
                  </a:moveTo>
                  <a:lnTo>
                    <a:pt x="27" y="476"/>
                  </a:lnTo>
                  <a:lnTo>
                    <a:pt x="27" y="474"/>
                  </a:lnTo>
                  <a:lnTo>
                    <a:pt x="25" y="474"/>
                  </a:lnTo>
                  <a:lnTo>
                    <a:pt x="27" y="474"/>
                  </a:lnTo>
                  <a:lnTo>
                    <a:pt x="25" y="474"/>
                  </a:lnTo>
                  <a:lnTo>
                    <a:pt x="27" y="474"/>
                  </a:lnTo>
                  <a:close/>
                  <a:moveTo>
                    <a:pt x="19" y="461"/>
                  </a:moveTo>
                  <a:lnTo>
                    <a:pt x="17" y="461"/>
                  </a:lnTo>
                  <a:lnTo>
                    <a:pt x="19" y="461"/>
                  </a:lnTo>
                  <a:lnTo>
                    <a:pt x="17" y="461"/>
                  </a:lnTo>
                  <a:lnTo>
                    <a:pt x="19" y="461"/>
                  </a:lnTo>
                  <a:close/>
                  <a:moveTo>
                    <a:pt x="678" y="699"/>
                  </a:moveTo>
                  <a:lnTo>
                    <a:pt x="678" y="701"/>
                  </a:lnTo>
                  <a:lnTo>
                    <a:pt x="678" y="699"/>
                  </a:lnTo>
                  <a:lnTo>
                    <a:pt x="678" y="701"/>
                  </a:lnTo>
                  <a:lnTo>
                    <a:pt x="678" y="699"/>
                  </a:lnTo>
                  <a:close/>
                  <a:moveTo>
                    <a:pt x="317" y="501"/>
                  </a:moveTo>
                  <a:lnTo>
                    <a:pt x="317" y="499"/>
                  </a:lnTo>
                  <a:lnTo>
                    <a:pt x="317" y="501"/>
                  </a:lnTo>
                  <a:close/>
                  <a:moveTo>
                    <a:pt x="6" y="455"/>
                  </a:moveTo>
                  <a:lnTo>
                    <a:pt x="6" y="453"/>
                  </a:lnTo>
                  <a:lnTo>
                    <a:pt x="6" y="455"/>
                  </a:lnTo>
                  <a:lnTo>
                    <a:pt x="6" y="453"/>
                  </a:lnTo>
                  <a:lnTo>
                    <a:pt x="6" y="455"/>
                  </a:lnTo>
                  <a:lnTo>
                    <a:pt x="6" y="453"/>
                  </a:lnTo>
                  <a:lnTo>
                    <a:pt x="6" y="455"/>
                  </a:lnTo>
                  <a:close/>
                  <a:moveTo>
                    <a:pt x="17" y="461"/>
                  </a:moveTo>
                  <a:lnTo>
                    <a:pt x="15" y="461"/>
                  </a:lnTo>
                  <a:lnTo>
                    <a:pt x="17" y="461"/>
                  </a:lnTo>
                  <a:close/>
                  <a:moveTo>
                    <a:pt x="591" y="653"/>
                  </a:moveTo>
                  <a:lnTo>
                    <a:pt x="590" y="653"/>
                  </a:lnTo>
                  <a:lnTo>
                    <a:pt x="591" y="653"/>
                  </a:lnTo>
                  <a:close/>
                  <a:moveTo>
                    <a:pt x="641" y="660"/>
                  </a:moveTo>
                  <a:lnTo>
                    <a:pt x="641" y="662"/>
                  </a:lnTo>
                  <a:lnTo>
                    <a:pt x="639" y="662"/>
                  </a:lnTo>
                  <a:lnTo>
                    <a:pt x="639" y="660"/>
                  </a:lnTo>
                  <a:lnTo>
                    <a:pt x="639" y="662"/>
                  </a:lnTo>
                  <a:lnTo>
                    <a:pt x="639" y="660"/>
                  </a:lnTo>
                  <a:lnTo>
                    <a:pt x="639" y="662"/>
                  </a:lnTo>
                  <a:lnTo>
                    <a:pt x="639" y="660"/>
                  </a:lnTo>
                  <a:lnTo>
                    <a:pt x="641" y="660"/>
                  </a:lnTo>
                  <a:close/>
                  <a:moveTo>
                    <a:pt x="29" y="480"/>
                  </a:moveTo>
                  <a:lnTo>
                    <a:pt x="29" y="478"/>
                  </a:lnTo>
                  <a:lnTo>
                    <a:pt x="29" y="480"/>
                  </a:lnTo>
                  <a:close/>
                  <a:moveTo>
                    <a:pt x="33" y="455"/>
                  </a:moveTo>
                  <a:lnTo>
                    <a:pt x="31" y="455"/>
                  </a:lnTo>
                  <a:lnTo>
                    <a:pt x="33" y="455"/>
                  </a:lnTo>
                  <a:close/>
                  <a:moveTo>
                    <a:pt x="282" y="520"/>
                  </a:moveTo>
                  <a:lnTo>
                    <a:pt x="282" y="522"/>
                  </a:lnTo>
                  <a:lnTo>
                    <a:pt x="282" y="520"/>
                  </a:lnTo>
                  <a:close/>
                  <a:moveTo>
                    <a:pt x="44" y="482"/>
                  </a:moveTo>
                  <a:lnTo>
                    <a:pt x="44" y="484"/>
                  </a:lnTo>
                  <a:lnTo>
                    <a:pt x="42" y="484"/>
                  </a:lnTo>
                  <a:lnTo>
                    <a:pt x="44" y="484"/>
                  </a:lnTo>
                  <a:lnTo>
                    <a:pt x="44" y="482"/>
                  </a:lnTo>
                  <a:close/>
                  <a:moveTo>
                    <a:pt x="363" y="501"/>
                  </a:moveTo>
                  <a:lnTo>
                    <a:pt x="363" y="499"/>
                  </a:lnTo>
                  <a:lnTo>
                    <a:pt x="363" y="501"/>
                  </a:lnTo>
                  <a:close/>
                  <a:moveTo>
                    <a:pt x="19" y="463"/>
                  </a:moveTo>
                  <a:lnTo>
                    <a:pt x="19" y="461"/>
                  </a:lnTo>
                  <a:lnTo>
                    <a:pt x="19" y="463"/>
                  </a:lnTo>
                  <a:lnTo>
                    <a:pt x="19" y="461"/>
                  </a:lnTo>
                  <a:lnTo>
                    <a:pt x="19" y="463"/>
                  </a:lnTo>
                  <a:close/>
                  <a:moveTo>
                    <a:pt x="29" y="457"/>
                  </a:moveTo>
                  <a:lnTo>
                    <a:pt x="27" y="457"/>
                  </a:lnTo>
                  <a:lnTo>
                    <a:pt x="29" y="457"/>
                  </a:lnTo>
                  <a:lnTo>
                    <a:pt x="27" y="457"/>
                  </a:lnTo>
                  <a:lnTo>
                    <a:pt x="29" y="457"/>
                  </a:lnTo>
                  <a:close/>
                  <a:moveTo>
                    <a:pt x="40" y="465"/>
                  </a:moveTo>
                  <a:lnTo>
                    <a:pt x="40" y="467"/>
                  </a:lnTo>
                  <a:lnTo>
                    <a:pt x="40" y="465"/>
                  </a:lnTo>
                  <a:lnTo>
                    <a:pt x="40" y="467"/>
                  </a:lnTo>
                  <a:lnTo>
                    <a:pt x="40" y="465"/>
                  </a:lnTo>
                  <a:close/>
                  <a:moveTo>
                    <a:pt x="31" y="474"/>
                  </a:moveTo>
                  <a:lnTo>
                    <a:pt x="33" y="474"/>
                  </a:lnTo>
                  <a:lnTo>
                    <a:pt x="31" y="474"/>
                  </a:lnTo>
                  <a:close/>
                  <a:moveTo>
                    <a:pt x="517" y="647"/>
                  </a:moveTo>
                  <a:lnTo>
                    <a:pt x="517" y="649"/>
                  </a:lnTo>
                  <a:lnTo>
                    <a:pt x="515" y="649"/>
                  </a:lnTo>
                  <a:lnTo>
                    <a:pt x="515" y="647"/>
                  </a:lnTo>
                  <a:lnTo>
                    <a:pt x="517" y="647"/>
                  </a:lnTo>
                  <a:lnTo>
                    <a:pt x="515" y="647"/>
                  </a:lnTo>
                  <a:lnTo>
                    <a:pt x="517" y="647"/>
                  </a:lnTo>
                  <a:close/>
                  <a:moveTo>
                    <a:pt x="42" y="482"/>
                  </a:moveTo>
                  <a:lnTo>
                    <a:pt x="44" y="482"/>
                  </a:lnTo>
                  <a:lnTo>
                    <a:pt x="42" y="482"/>
                  </a:lnTo>
                  <a:close/>
                  <a:moveTo>
                    <a:pt x="44" y="472"/>
                  </a:moveTo>
                  <a:lnTo>
                    <a:pt x="46" y="472"/>
                  </a:lnTo>
                  <a:lnTo>
                    <a:pt x="44" y="472"/>
                  </a:lnTo>
                  <a:lnTo>
                    <a:pt x="46" y="472"/>
                  </a:lnTo>
                  <a:lnTo>
                    <a:pt x="44" y="472"/>
                  </a:lnTo>
                  <a:close/>
                  <a:moveTo>
                    <a:pt x="36" y="480"/>
                  </a:moveTo>
                  <a:lnTo>
                    <a:pt x="36" y="482"/>
                  </a:lnTo>
                  <a:lnTo>
                    <a:pt x="35" y="482"/>
                  </a:lnTo>
                  <a:lnTo>
                    <a:pt x="36" y="482"/>
                  </a:lnTo>
                  <a:lnTo>
                    <a:pt x="36" y="480"/>
                  </a:lnTo>
                  <a:lnTo>
                    <a:pt x="35" y="480"/>
                  </a:lnTo>
                  <a:lnTo>
                    <a:pt x="36" y="480"/>
                  </a:lnTo>
                  <a:close/>
                  <a:moveTo>
                    <a:pt x="858" y="699"/>
                  </a:moveTo>
                  <a:lnTo>
                    <a:pt x="856" y="699"/>
                  </a:lnTo>
                  <a:lnTo>
                    <a:pt x="858" y="699"/>
                  </a:lnTo>
                  <a:lnTo>
                    <a:pt x="856" y="699"/>
                  </a:lnTo>
                  <a:lnTo>
                    <a:pt x="858" y="699"/>
                  </a:lnTo>
                  <a:lnTo>
                    <a:pt x="856" y="699"/>
                  </a:lnTo>
                  <a:lnTo>
                    <a:pt x="858" y="699"/>
                  </a:lnTo>
                  <a:lnTo>
                    <a:pt x="856" y="699"/>
                  </a:lnTo>
                  <a:lnTo>
                    <a:pt x="858" y="699"/>
                  </a:lnTo>
                  <a:close/>
                  <a:moveTo>
                    <a:pt x="13" y="455"/>
                  </a:moveTo>
                  <a:lnTo>
                    <a:pt x="12" y="455"/>
                  </a:lnTo>
                  <a:lnTo>
                    <a:pt x="13" y="455"/>
                  </a:lnTo>
                  <a:lnTo>
                    <a:pt x="12" y="455"/>
                  </a:lnTo>
                  <a:lnTo>
                    <a:pt x="13" y="455"/>
                  </a:lnTo>
                  <a:close/>
                  <a:moveTo>
                    <a:pt x="538" y="643"/>
                  </a:moveTo>
                  <a:lnTo>
                    <a:pt x="540" y="643"/>
                  </a:lnTo>
                  <a:lnTo>
                    <a:pt x="538" y="643"/>
                  </a:lnTo>
                  <a:lnTo>
                    <a:pt x="540" y="643"/>
                  </a:lnTo>
                  <a:lnTo>
                    <a:pt x="538" y="643"/>
                  </a:lnTo>
                  <a:lnTo>
                    <a:pt x="538" y="645"/>
                  </a:lnTo>
                  <a:lnTo>
                    <a:pt x="540" y="645"/>
                  </a:lnTo>
                  <a:lnTo>
                    <a:pt x="538" y="645"/>
                  </a:lnTo>
                  <a:lnTo>
                    <a:pt x="538" y="643"/>
                  </a:lnTo>
                  <a:close/>
                  <a:moveTo>
                    <a:pt x="338" y="505"/>
                  </a:moveTo>
                  <a:lnTo>
                    <a:pt x="340" y="505"/>
                  </a:lnTo>
                  <a:lnTo>
                    <a:pt x="338" y="505"/>
                  </a:lnTo>
                  <a:close/>
                  <a:moveTo>
                    <a:pt x="46" y="472"/>
                  </a:moveTo>
                  <a:lnTo>
                    <a:pt x="46" y="474"/>
                  </a:lnTo>
                  <a:lnTo>
                    <a:pt x="46" y="472"/>
                  </a:lnTo>
                  <a:lnTo>
                    <a:pt x="46" y="474"/>
                  </a:lnTo>
                  <a:lnTo>
                    <a:pt x="46" y="472"/>
                  </a:lnTo>
                  <a:close/>
                  <a:moveTo>
                    <a:pt x="657" y="676"/>
                  </a:moveTo>
                  <a:lnTo>
                    <a:pt x="657" y="678"/>
                  </a:lnTo>
                  <a:lnTo>
                    <a:pt x="657" y="676"/>
                  </a:lnTo>
                  <a:close/>
                  <a:moveTo>
                    <a:pt x="674" y="697"/>
                  </a:moveTo>
                  <a:lnTo>
                    <a:pt x="676" y="697"/>
                  </a:lnTo>
                  <a:lnTo>
                    <a:pt x="674" y="697"/>
                  </a:lnTo>
                  <a:lnTo>
                    <a:pt x="676" y="697"/>
                  </a:lnTo>
                  <a:lnTo>
                    <a:pt x="674" y="697"/>
                  </a:lnTo>
                  <a:close/>
                  <a:moveTo>
                    <a:pt x="10" y="465"/>
                  </a:moveTo>
                  <a:lnTo>
                    <a:pt x="8" y="465"/>
                  </a:lnTo>
                  <a:lnTo>
                    <a:pt x="8" y="467"/>
                  </a:lnTo>
                  <a:lnTo>
                    <a:pt x="8" y="465"/>
                  </a:lnTo>
                  <a:lnTo>
                    <a:pt x="8" y="467"/>
                  </a:lnTo>
                  <a:lnTo>
                    <a:pt x="8" y="465"/>
                  </a:lnTo>
                  <a:lnTo>
                    <a:pt x="10" y="465"/>
                  </a:lnTo>
                  <a:close/>
                  <a:moveTo>
                    <a:pt x="526" y="645"/>
                  </a:moveTo>
                  <a:lnTo>
                    <a:pt x="524" y="645"/>
                  </a:lnTo>
                  <a:lnTo>
                    <a:pt x="526" y="645"/>
                  </a:lnTo>
                  <a:close/>
                  <a:moveTo>
                    <a:pt x="906" y="641"/>
                  </a:moveTo>
                  <a:lnTo>
                    <a:pt x="904" y="641"/>
                  </a:lnTo>
                  <a:lnTo>
                    <a:pt x="903" y="641"/>
                  </a:lnTo>
                  <a:lnTo>
                    <a:pt x="903" y="643"/>
                  </a:lnTo>
                  <a:lnTo>
                    <a:pt x="903" y="641"/>
                  </a:lnTo>
                  <a:lnTo>
                    <a:pt x="904" y="641"/>
                  </a:lnTo>
                  <a:lnTo>
                    <a:pt x="906" y="641"/>
                  </a:lnTo>
                  <a:close/>
                  <a:moveTo>
                    <a:pt x="19" y="457"/>
                  </a:moveTo>
                  <a:lnTo>
                    <a:pt x="19" y="455"/>
                  </a:lnTo>
                  <a:lnTo>
                    <a:pt x="19" y="457"/>
                  </a:lnTo>
                  <a:close/>
                  <a:moveTo>
                    <a:pt x="666" y="685"/>
                  </a:moveTo>
                  <a:lnTo>
                    <a:pt x="668" y="685"/>
                  </a:lnTo>
                  <a:lnTo>
                    <a:pt x="668" y="683"/>
                  </a:lnTo>
                  <a:lnTo>
                    <a:pt x="668" y="685"/>
                  </a:lnTo>
                  <a:lnTo>
                    <a:pt x="666" y="685"/>
                  </a:lnTo>
                  <a:close/>
                  <a:moveTo>
                    <a:pt x="549" y="643"/>
                  </a:moveTo>
                  <a:lnTo>
                    <a:pt x="547" y="643"/>
                  </a:lnTo>
                  <a:lnTo>
                    <a:pt x="549" y="643"/>
                  </a:lnTo>
                  <a:close/>
                  <a:moveTo>
                    <a:pt x="666" y="687"/>
                  </a:moveTo>
                  <a:lnTo>
                    <a:pt x="666" y="689"/>
                  </a:lnTo>
                  <a:lnTo>
                    <a:pt x="666" y="687"/>
                  </a:lnTo>
                  <a:lnTo>
                    <a:pt x="666" y="689"/>
                  </a:lnTo>
                  <a:lnTo>
                    <a:pt x="666" y="687"/>
                  </a:lnTo>
                  <a:close/>
                  <a:moveTo>
                    <a:pt x="6" y="451"/>
                  </a:moveTo>
                  <a:lnTo>
                    <a:pt x="4" y="451"/>
                  </a:lnTo>
                  <a:lnTo>
                    <a:pt x="6" y="451"/>
                  </a:lnTo>
                  <a:close/>
                  <a:moveTo>
                    <a:pt x="317" y="501"/>
                  </a:moveTo>
                  <a:lnTo>
                    <a:pt x="315" y="501"/>
                  </a:lnTo>
                  <a:lnTo>
                    <a:pt x="317" y="501"/>
                  </a:lnTo>
                  <a:close/>
                  <a:moveTo>
                    <a:pt x="6" y="449"/>
                  </a:moveTo>
                  <a:lnTo>
                    <a:pt x="6" y="451"/>
                  </a:lnTo>
                  <a:lnTo>
                    <a:pt x="6" y="449"/>
                  </a:lnTo>
                  <a:close/>
                  <a:moveTo>
                    <a:pt x="12" y="453"/>
                  </a:moveTo>
                  <a:lnTo>
                    <a:pt x="13" y="453"/>
                  </a:lnTo>
                  <a:lnTo>
                    <a:pt x="12" y="453"/>
                  </a:lnTo>
                  <a:lnTo>
                    <a:pt x="12" y="455"/>
                  </a:lnTo>
                  <a:lnTo>
                    <a:pt x="12" y="453"/>
                  </a:lnTo>
                  <a:close/>
                  <a:moveTo>
                    <a:pt x="864" y="695"/>
                  </a:moveTo>
                  <a:lnTo>
                    <a:pt x="862" y="695"/>
                  </a:lnTo>
                  <a:lnTo>
                    <a:pt x="864" y="695"/>
                  </a:lnTo>
                  <a:close/>
                  <a:moveTo>
                    <a:pt x="35" y="459"/>
                  </a:moveTo>
                  <a:lnTo>
                    <a:pt x="33" y="459"/>
                  </a:lnTo>
                  <a:lnTo>
                    <a:pt x="35" y="459"/>
                  </a:lnTo>
                  <a:close/>
                  <a:moveTo>
                    <a:pt x="29" y="486"/>
                  </a:moveTo>
                  <a:lnTo>
                    <a:pt x="29" y="484"/>
                  </a:lnTo>
                  <a:lnTo>
                    <a:pt x="29" y="486"/>
                  </a:lnTo>
                  <a:close/>
                  <a:moveTo>
                    <a:pt x="678" y="701"/>
                  </a:moveTo>
                  <a:lnTo>
                    <a:pt x="678" y="703"/>
                  </a:lnTo>
                  <a:lnTo>
                    <a:pt x="678" y="701"/>
                  </a:lnTo>
                  <a:lnTo>
                    <a:pt x="678" y="703"/>
                  </a:lnTo>
                  <a:lnTo>
                    <a:pt x="678" y="701"/>
                  </a:lnTo>
                  <a:close/>
                  <a:moveTo>
                    <a:pt x="282" y="518"/>
                  </a:moveTo>
                  <a:lnTo>
                    <a:pt x="284" y="518"/>
                  </a:lnTo>
                  <a:lnTo>
                    <a:pt x="282" y="518"/>
                  </a:lnTo>
                  <a:close/>
                  <a:moveTo>
                    <a:pt x="19" y="463"/>
                  </a:moveTo>
                  <a:lnTo>
                    <a:pt x="17" y="463"/>
                  </a:lnTo>
                  <a:lnTo>
                    <a:pt x="19" y="463"/>
                  </a:lnTo>
                  <a:close/>
                  <a:moveTo>
                    <a:pt x="666" y="685"/>
                  </a:moveTo>
                  <a:lnTo>
                    <a:pt x="666" y="687"/>
                  </a:lnTo>
                  <a:lnTo>
                    <a:pt x="666" y="685"/>
                  </a:lnTo>
                  <a:close/>
                  <a:moveTo>
                    <a:pt x="668" y="685"/>
                  </a:moveTo>
                  <a:lnTo>
                    <a:pt x="670" y="685"/>
                  </a:lnTo>
                  <a:lnTo>
                    <a:pt x="668" y="685"/>
                  </a:lnTo>
                  <a:close/>
                  <a:moveTo>
                    <a:pt x="25" y="476"/>
                  </a:moveTo>
                  <a:lnTo>
                    <a:pt x="27" y="476"/>
                  </a:lnTo>
                  <a:lnTo>
                    <a:pt x="25" y="476"/>
                  </a:lnTo>
                  <a:close/>
                  <a:moveTo>
                    <a:pt x="582" y="641"/>
                  </a:moveTo>
                  <a:lnTo>
                    <a:pt x="580" y="641"/>
                  </a:lnTo>
                  <a:lnTo>
                    <a:pt x="582" y="641"/>
                  </a:lnTo>
                  <a:close/>
                  <a:moveTo>
                    <a:pt x="687" y="850"/>
                  </a:moveTo>
                  <a:lnTo>
                    <a:pt x="689" y="850"/>
                  </a:lnTo>
                  <a:lnTo>
                    <a:pt x="687" y="850"/>
                  </a:lnTo>
                  <a:close/>
                  <a:moveTo>
                    <a:pt x="678" y="699"/>
                  </a:moveTo>
                  <a:lnTo>
                    <a:pt x="678" y="701"/>
                  </a:lnTo>
                  <a:lnTo>
                    <a:pt x="678" y="699"/>
                  </a:lnTo>
                  <a:lnTo>
                    <a:pt x="678" y="701"/>
                  </a:lnTo>
                  <a:lnTo>
                    <a:pt x="678" y="699"/>
                  </a:lnTo>
                  <a:close/>
                  <a:moveTo>
                    <a:pt x="40" y="463"/>
                  </a:moveTo>
                  <a:lnTo>
                    <a:pt x="38" y="463"/>
                  </a:lnTo>
                  <a:lnTo>
                    <a:pt x="40" y="463"/>
                  </a:lnTo>
                  <a:close/>
                  <a:moveTo>
                    <a:pt x="668" y="683"/>
                  </a:moveTo>
                  <a:lnTo>
                    <a:pt x="668" y="685"/>
                  </a:lnTo>
                  <a:lnTo>
                    <a:pt x="666" y="685"/>
                  </a:lnTo>
                  <a:lnTo>
                    <a:pt x="666" y="683"/>
                  </a:lnTo>
                  <a:lnTo>
                    <a:pt x="666" y="685"/>
                  </a:lnTo>
                  <a:lnTo>
                    <a:pt x="666" y="683"/>
                  </a:lnTo>
                  <a:lnTo>
                    <a:pt x="668" y="683"/>
                  </a:lnTo>
                  <a:close/>
                  <a:moveTo>
                    <a:pt x="44" y="470"/>
                  </a:moveTo>
                  <a:lnTo>
                    <a:pt x="44" y="472"/>
                  </a:lnTo>
                  <a:lnTo>
                    <a:pt x="44" y="470"/>
                  </a:lnTo>
                  <a:lnTo>
                    <a:pt x="44" y="472"/>
                  </a:lnTo>
                  <a:lnTo>
                    <a:pt x="44" y="470"/>
                  </a:lnTo>
                  <a:close/>
                  <a:moveTo>
                    <a:pt x="582" y="850"/>
                  </a:moveTo>
                  <a:lnTo>
                    <a:pt x="582" y="849"/>
                  </a:lnTo>
                  <a:lnTo>
                    <a:pt x="582" y="850"/>
                  </a:lnTo>
                  <a:close/>
                  <a:moveTo>
                    <a:pt x="280" y="518"/>
                  </a:moveTo>
                  <a:lnTo>
                    <a:pt x="278" y="518"/>
                  </a:lnTo>
                  <a:lnTo>
                    <a:pt x="280" y="518"/>
                  </a:lnTo>
                  <a:lnTo>
                    <a:pt x="278" y="518"/>
                  </a:lnTo>
                  <a:lnTo>
                    <a:pt x="278" y="520"/>
                  </a:lnTo>
                  <a:lnTo>
                    <a:pt x="278" y="518"/>
                  </a:lnTo>
                  <a:lnTo>
                    <a:pt x="280" y="518"/>
                  </a:lnTo>
                  <a:close/>
                  <a:moveTo>
                    <a:pt x="653" y="672"/>
                  </a:moveTo>
                  <a:lnTo>
                    <a:pt x="655" y="672"/>
                  </a:lnTo>
                  <a:lnTo>
                    <a:pt x="655" y="674"/>
                  </a:lnTo>
                  <a:lnTo>
                    <a:pt x="653" y="674"/>
                  </a:lnTo>
                  <a:lnTo>
                    <a:pt x="653" y="672"/>
                  </a:lnTo>
                  <a:lnTo>
                    <a:pt x="653" y="674"/>
                  </a:lnTo>
                  <a:lnTo>
                    <a:pt x="653" y="672"/>
                  </a:lnTo>
                  <a:close/>
                  <a:moveTo>
                    <a:pt x="23" y="449"/>
                  </a:moveTo>
                  <a:lnTo>
                    <a:pt x="21" y="449"/>
                  </a:lnTo>
                  <a:lnTo>
                    <a:pt x="23" y="449"/>
                  </a:lnTo>
                  <a:close/>
                  <a:moveTo>
                    <a:pt x="357" y="501"/>
                  </a:moveTo>
                  <a:lnTo>
                    <a:pt x="357" y="499"/>
                  </a:lnTo>
                  <a:lnTo>
                    <a:pt x="357" y="501"/>
                  </a:lnTo>
                  <a:close/>
                  <a:moveTo>
                    <a:pt x="628" y="645"/>
                  </a:moveTo>
                  <a:lnTo>
                    <a:pt x="630" y="645"/>
                  </a:lnTo>
                  <a:lnTo>
                    <a:pt x="628" y="645"/>
                  </a:lnTo>
                  <a:lnTo>
                    <a:pt x="630" y="645"/>
                  </a:lnTo>
                  <a:lnTo>
                    <a:pt x="628" y="645"/>
                  </a:lnTo>
                  <a:close/>
                  <a:moveTo>
                    <a:pt x="278" y="520"/>
                  </a:moveTo>
                  <a:lnTo>
                    <a:pt x="280" y="520"/>
                  </a:lnTo>
                  <a:lnTo>
                    <a:pt x="278" y="520"/>
                  </a:lnTo>
                  <a:close/>
                  <a:moveTo>
                    <a:pt x="643" y="664"/>
                  </a:moveTo>
                  <a:lnTo>
                    <a:pt x="643" y="666"/>
                  </a:lnTo>
                  <a:lnTo>
                    <a:pt x="643" y="664"/>
                  </a:lnTo>
                  <a:lnTo>
                    <a:pt x="643" y="666"/>
                  </a:lnTo>
                  <a:lnTo>
                    <a:pt x="643" y="664"/>
                  </a:lnTo>
                  <a:close/>
                  <a:moveTo>
                    <a:pt x="27" y="436"/>
                  </a:moveTo>
                  <a:lnTo>
                    <a:pt x="27" y="438"/>
                  </a:lnTo>
                  <a:lnTo>
                    <a:pt x="27" y="436"/>
                  </a:lnTo>
                  <a:lnTo>
                    <a:pt x="27" y="438"/>
                  </a:lnTo>
                  <a:lnTo>
                    <a:pt x="25" y="438"/>
                  </a:lnTo>
                  <a:lnTo>
                    <a:pt x="27" y="438"/>
                  </a:lnTo>
                  <a:lnTo>
                    <a:pt x="27" y="436"/>
                  </a:lnTo>
                  <a:close/>
                  <a:moveTo>
                    <a:pt x="42" y="465"/>
                  </a:moveTo>
                  <a:lnTo>
                    <a:pt x="42" y="467"/>
                  </a:lnTo>
                  <a:lnTo>
                    <a:pt x="42" y="465"/>
                  </a:lnTo>
                  <a:lnTo>
                    <a:pt x="42" y="467"/>
                  </a:lnTo>
                  <a:lnTo>
                    <a:pt x="42" y="465"/>
                  </a:lnTo>
                  <a:close/>
                  <a:moveTo>
                    <a:pt x="38" y="480"/>
                  </a:moveTo>
                  <a:lnTo>
                    <a:pt x="38" y="482"/>
                  </a:lnTo>
                  <a:lnTo>
                    <a:pt x="38" y="480"/>
                  </a:lnTo>
                  <a:lnTo>
                    <a:pt x="38" y="482"/>
                  </a:lnTo>
                  <a:lnTo>
                    <a:pt x="38" y="480"/>
                  </a:lnTo>
                  <a:close/>
                  <a:moveTo>
                    <a:pt x="643" y="660"/>
                  </a:moveTo>
                  <a:lnTo>
                    <a:pt x="643" y="662"/>
                  </a:lnTo>
                  <a:lnTo>
                    <a:pt x="641" y="662"/>
                  </a:lnTo>
                  <a:lnTo>
                    <a:pt x="643" y="662"/>
                  </a:lnTo>
                  <a:lnTo>
                    <a:pt x="643" y="660"/>
                  </a:lnTo>
                  <a:lnTo>
                    <a:pt x="643" y="662"/>
                  </a:lnTo>
                  <a:lnTo>
                    <a:pt x="643" y="660"/>
                  </a:lnTo>
                  <a:close/>
                  <a:moveTo>
                    <a:pt x="15" y="470"/>
                  </a:moveTo>
                  <a:lnTo>
                    <a:pt x="13" y="470"/>
                  </a:lnTo>
                  <a:lnTo>
                    <a:pt x="15" y="470"/>
                  </a:lnTo>
                  <a:close/>
                  <a:moveTo>
                    <a:pt x="44" y="467"/>
                  </a:moveTo>
                  <a:lnTo>
                    <a:pt x="44" y="468"/>
                  </a:lnTo>
                  <a:lnTo>
                    <a:pt x="44" y="467"/>
                  </a:lnTo>
                  <a:close/>
                  <a:moveTo>
                    <a:pt x="284" y="516"/>
                  </a:moveTo>
                  <a:lnTo>
                    <a:pt x="286" y="516"/>
                  </a:lnTo>
                  <a:lnTo>
                    <a:pt x="284" y="516"/>
                  </a:lnTo>
                  <a:close/>
                  <a:moveTo>
                    <a:pt x="686" y="707"/>
                  </a:moveTo>
                  <a:lnTo>
                    <a:pt x="687" y="707"/>
                  </a:lnTo>
                  <a:lnTo>
                    <a:pt x="687" y="708"/>
                  </a:lnTo>
                  <a:lnTo>
                    <a:pt x="687" y="707"/>
                  </a:lnTo>
                  <a:lnTo>
                    <a:pt x="687" y="708"/>
                  </a:lnTo>
                  <a:lnTo>
                    <a:pt x="686" y="708"/>
                  </a:lnTo>
                  <a:lnTo>
                    <a:pt x="686" y="707"/>
                  </a:lnTo>
                  <a:close/>
                  <a:moveTo>
                    <a:pt x="42" y="470"/>
                  </a:moveTo>
                  <a:lnTo>
                    <a:pt x="42" y="472"/>
                  </a:lnTo>
                  <a:lnTo>
                    <a:pt x="42" y="470"/>
                  </a:lnTo>
                  <a:close/>
                  <a:moveTo>
                    <a:pt x="901" y="643"/>
                  </a:moveTo>
                  <a:lnTo>
                    <a:pt x="899" y="643"/>
                  </a:lnTo>
                  <a:lnTo>
                    <a:pt x="901" y="643"/>
                  </a:lnTo>
                  <a:close/>
                  <a:moveTo>
                    <a:pt x="42" y="467"/>
                  </a:moveTo>
                  <a:lnTo>
                    <a:pt x="40" y="467"/>
                  </a:lnTo>
                  <a:lnTo>
                    <a:pt x="42" y="467"/>
                  </a:lnTo>
                  <a:close/>
                  <a:moveTo>
                    <a:pt x="23" y="455"/>
                  </a:moveTo>
                  <a:lnTo>
                    <a:pt x="23" y="457"/>
                  </a:lnTo>
                  <a:lnTo>
                    <a:pt x="23" y="455"/>
                  </a:lnTo>
                  <a:lnTo>
                    <a:pt x="23" y="457"/>
                  </a:lnTo>
                  <a:lnTo>
                    <a:pt x="23" y="455"/>
                  </a:lnTo>
                  <a:lnTo>
                    <a:pt x="23" y="457"/>
                  </a:lnTo>
                  <a:lnTo>
                    <a:pt x="23" y="455"/>
                  </a:lnTo>
                  <a:lnTo>
                    <a:pt x="23" y="457"/>
                  </a:lnTo>
                  <a:lnTo>
                    <a:pt x="23" y="455"/>
                  </a:lnTo>
                  <a:close/>
                  <a:moveTo>
                    <a:pt x="23" y="455"/>
                  </a:moveTo>
                  <a:lnTo>
                    <a:pt x="25" y="455"/>
                  </a:lnTo>
                  <a:lnTo>
                    <a:pt x="23" y="455"/>
                  </a:lnTo>
                  <a:close/>
                  <a:moveTo>
                    <a:pt x="31" y="476"/>
                  </a:moveTo>
                  <a:lnTo>
                    <a:pt x="29" y="476"/>
                  </a:lnTo>
                  <a:lnTo>
                    <a:pt x="31" y="476"/>
                  </a:lnTo>
                  <a:close/>
                  <a:moveTo>
                    <a:pt x="35" y="476"/>
                  </a:moveTo>
                  <a:lnTo>
                    <a:pt x="36" y="476"/>
                  </a:lnTo>
                  <a:lnTo>
                    <a:pt x="35" y="476"/>
                  </a:lnTo>
                  <a:close/>
                  <a:moveTo>
                    <a:pt x="664" y="683"/>
                  </a:moveTo>
                  <a:lnTo>
                    <a:pt x="662" y="683"/>
                  </a:lnTo>
                  <a:lnTo>
                    <a:pt x="664" y="683"/>
                  </a:lnTo>
                  <a:close/>
                  <a:moveTo>
                    <a:pt x="351" y="495"/>
                  </a:moveTo>
                  <a:lnTo>
                    <a:pt x="351" y="497"/>
                  </a:lnTo>
                  <a:lnTo>
                    <a:pt x="351" y="495"/>
                  </a:lnTo>
                  <a:close/>
                  <a:moveTo>
                    <a:pt x="35" y="472"/>
                  </a:moveTo>
                  <a:lnTo>
                    <a:pt x="35" y="474"/>
                  </a:lnTo>
                  <a:lnTo>
                    <a:pt x="35" y="472"/>
                  </a:lnTo>
                  <a:close/>
                  <a:moveTo>
                    <a:pt x="655" y="676"/>
                  </a:moveTo>
                  <a:lnTo>
                    <a:pt x="657" y="676"/>
                  </a:lnTo>
                  <a:lnTo>
                    <a:pt x="655" y="676"/>
                  </a:lnTo>
                  <a:close/>
                  <a:moveTo>
                    <a:pt x="607" y="645"/>
                  </a:moveTo>
                  <a:lnTo>
                    <a:pt x="609" y="645"/>
                  </a:lnTo>
                  <a:lnTo>
                    <a:pt x="607" y="645"/>
                  </a:lnTo>
                  <a:close/>
                  <a:moveTo>
                    <a:pt x="42" y="468"/>
                  </a:moveTo>
                  <a:lnTo>
                    <a:pt x="44" y="468"/>
                  </a:lnTo>
                  <a:lnTo>
                    <a:pt x="42" y="468"/>
                  </a:lnTo>
                  <a:lnTo>
                    <a:pt x="44" y="468"/>
                  </a:lnTo>
                  <a:lnTo>
                    <a:pt x="42" y="468"/>
                  </a:lnTo>
                  <a:close/>
                  <a:moveTo>
                    <a:pt x="831" y="720"/>
                  </a:moveTo>
                  <a:lnTo>
                    <a:pt x="831" y="722"/>
                  </a:lnTo>
                  <a:lnTo>
                    <a:pt x="831" y="720"/>
                  </a:lnTo>
                  <a:close/>
                  <a:moveTo>
                    <a:pt x="509" y="664"/>
                  </a:moveTo>
                  <a:lnTo>
                    <a:pt x="507" y="664"/>
                  </a:lnTo>
                  <a:lnTo>
                    <a:pt x="509" y="664"/>
                  </a:lnTo>
                  <a:close/>
                  <a:moveTo>
                    <a:pt x="21" y="455"/>
                  </a:moveTo>
                  <a:lnTo>
                    <a:pt x="21" y="457"/>
                  </a:lnTo>
                  <a:lnTo>
                    <a:pt x="19" y="457"/>
                  </a:lnTo>
                  <a:lnTo>
                    <a:pt x="19" y="455"/>
                  </a:lnTo>
                  <a:lnTo>
                    <a:pt x="21" y="455"/>
                  </a:lnTo>
                  <a:close/>
                  <a:moveTo>
                    <a:pt x="48" y="468"/>
                  </a:moveTo>
                  <a:lnTo>
                    <a:pt x="46" y="468"/>
                  </a:lnTo>
                  <a:lnTo>
                    <a:pt x="48" y="468"/>
                  </a:lnTo>
                  <a:lnTo>
                    <a:pt x="46" y="468"/>
                  </a:lnTo>
                  <a:lnTo>
                    <a:pt x="46" y="467"/>
                  </a:lnTo>
                  <a:lnTo>
                    <a:pt x="48" y="467"/>
                  </a:lnTo>
                  <a:lnTo>
                    <a:pt x="46" y="467"/>
                  </a:lnTo>
                  <a:lnTo>
                    <a:pt x="48" y="467"/>
                  </a:lnTo>
                  <a:lnTo>
                    <a:pt x="46" y="467"/>
                  </a:lnTo>
                  <a:lnTo>
                    <a:pt x="48" y="467"/>
                  </a:lnTo>
                  <a:lnTo>
                    <a:pt x="46" y="467"/>
                  </a:lnTo>
                  <a:lnTo>
                    <a:pt x="46" y="468"/>
                  </a:lnTo>
                  <a:lnTo>
                    <a:pt x="48" y="468"/>
                  </a:lnTo>
                  <a:close/>
                  <a:moveTo>
                    <a:pt x="290" y="493"/>
                  </a:moveTo>
                  <a:lnTo>
                    <a:pt x="288" y="493"/>
                  </a:lnTo>
                  <a:lnTo>
                    <a:pt x="290" y="493"/>
                  </a:lnTo>
                  <a:close/>
                  <a:moveTo>
                    <a:pt x="40" y="482"/>
                  </a:moveTo>
                  <a:lnTo>
                    <a:pt x="42" y="482"/>
                  </a:lnTo>
                  <a:lnTo>
                    <a:pt x="40" y="482"/>
                  </a:lnTo>
                  <a:close/>
                  <a:moveTo>
                    <a:pt x="29" y="484"/>
                  </a:moveTo>
                  <a:lnTo>
                    <a:pt x="29" y="486"/>
                  </a:lnTo>
                  <a:lnTo>
                    <a:pt x="29" y="484"/>
                  </a:lnTo>
                  <a:close/>
                  <a:moveTo>
                    <a:pt x="461" y="618"/>
                  </a:moveTo>
                  <a:lnTo>
                    <a:pt x="461" y="616"/>
                  </a:lnTo>
                  <a:lnTo>
                    <a:pt x="461" y="618"/>
                  </a:lnTo>
                  <a:close/>
                  <a:moveTo>
                    <a:pt x="593" y="670"/>
                  </a:moveTo>
                  <a:lnTo>
                    <a:pt x="591" y="670"/>
                  </a:lnTo>
                  <a:lnTo>
                    <a:pt x="593" y="670"/>
                  </a:lnTo>
                  <a:close/>
                  <a:moveTo>
                    <a:pt x="682" y="699"/>
                  </a:moveTo>
                  <a:lnTo>
                    <a:pt x="682" y="701"/>
                  </a:lnTo>
                  <a:lnTo>
                    <a:pt x="682" y="699"/>
                  </a:lnTo>
                  <a:lnTo>
                    <a:pt x="682" y="701"/>
                  </a:lnTo>
                  <a:lnTo>
                    <a:pt x="680" y="699"/>
                  </a:lnTo>
                  <a:lnTo>
                    <a:pt x="682" y="699"/>
                  </a:lnTo>
                  <a:close/>
                  <a:moveTo>
                    <a:pt x="674" y="695"/>
                  </a:moveTo>
                  <a:lnTo>
                    <a:pt x="672" y="695"/>
                  </a:lnTo>
                  <a:lnTo>
                    <a:pt x="674" y="695"/>
                  </a:lnTo>
                  <a:lnTo>
                    <a:pt x="672" y="695"/>
                  </a:lnTo>
                  <a:lnTo>
                    <a:pt x="674" y="695"/>
                  </a:lnTo>
                  <a:close/>
                  <a:moveTo>
                    <a:pt x="19" y="478"/>
                  </a:moveTo>
                  <a:lnTo>
                    <a:pt x="17" y="478"/>
                  </a:lnTo>
                  <a:lnTo>
                    <a:pt x="19" y="478"/>
                  </a:lnTo>
                  <a:lnTo>
                    <a:pt x="17" y="478"/>
                  </a:lnTo>
                  <a:lnTo>
                    <a:pt x="19" y="478"/>
                  </a:lnTo>
                  <a:close/>
                  <a:moveTo>
                    <a:pt x="23" y="482"/>
                  </a:moveTo>
                  <a:lnTo>
                    <a:pt x="21" y="482"/>
                  </a:lnTo>
                  <a:lnTo>
                    <a:pt x="23" y="482"/>
                  </a:lnTo>
                  <a:close/>
                  <a:moveTo>
                    <a:pt x="855" y="701"/>
                  </a:moveTo>
                  <a:lnTo>
                    <a:pt x="855" y="703"/>
                  </a:lnTo>
                  <a:lnTo>
                    <a:pt x="855" y="701"/>
                  </a:lnTo>
                  <a:close/>
                  <a:moveTo>
                    <a:pt x="684" y="847"/>
                  </a:moveTo>
                  <a:lnTo>
                    <a:pt x="684" y="849"/>
                  </a:lnTo>
                  <a:lnTo>
                    <a:pt x="684" y="847"/>
                  </a:lnTo>
                  <a:close/>
                  <a:moveTo>
                    <a:pt x="19" y="474"/>
                  </a:moveTo>
                  <a:lnTo>
                    <a:pt x="19" y="476"/>
                  </a:lnTo>
                  <a:lnTo>
                    <a:pt x="19" y="474"/>
                  </a:lnTo>
                  <a:close/>
                  <a:moveTo>
                    <a:pt x="15" y="459"/>
                  </a:moveTo>
                  <a:lnTo>
                    <a:pt x="15" y="461"/>
                  </a:lnTo>
                  <a:lnTo>
                    <a:pt x="15" y="459"/>
                  </a:lnTo>
                  <a:lnTo>
                    <a:pt x="15" y="461"/>
                  </a:lnTo>
                  <a:lnTo>
                    <a:pt x="15" y="459"/>
                  </a:lnTo>
                  <a:close/>
                  <a:moveTo>
                    <a:pt x="899" y="643"/>
                  </a:moveTo>
                  <a:lnTo>
                    <a:pt x="899" y="645"/>
                  </a:lnTo>
                  <a:lnTo>
                    <a:pt x="899" y="643"/>
                  </a:lnTo>
                  <a:close/>
                  <a:moveTo>
                    <a:pt x="682" y="703"/>
                  </a:moveTo>
                  <a:lnTo>
                    <a:pt x="684" y="703"/>
                  </a:lnTo>
                  <a:lnTo>
                    <a:pt x="682" y="703"/>
                  </a:lnTo>
                  <a:close/>
                  <a:moveTo>
                    <a:pt x="528" y="647"/>
                  </a:moveTo>
                  <a:lnTo>
                    <a:pt x="528" y="649"/>
                  </a:lnTo>
                  <a:lnTo>
                    <a:pt x="528" y="647"/>
                  </a:lnTo>
                  <a:close/>
                  <a:moveTo>
                    <a:pt x="440" y="576"/>
                  </a:moveTo>
                  <a:lnTo>
                    <a:pt x="438" y="576"/>
                  </a:lnTo>
                  <a:lnTo>
                    <a:pt x="440" y="576"/>
                  </a:lnTo>
                  <a:close/>
                  <a:moveTo>
                    <a:pt x="901" y="643"/>
                  </a:moveTo>
                  <a:lnTo>
                    <a:pt x="901" y="641"/>
                  </a:lnTo>
                  <a:lnTo>
                    <a:pt x="901" y="643"/>
                  </a:lnTo>
                  <a:close/>
                  <a:moveTo>
                    <a:pt x="29" y="480"/>
                  </a:moveTo>
                  <a:lnTo>
                    <a:pt x="29" y="482"/>
                  </a:lnTo>
                  <a:lnTo>
                    <a:pt x="29" y="480"/>
                  </a:lnTo>
                  <a:close/>
                  <a:moveTo>
                    <a:pt x="31" y="474"/>
                  </a:moveTo>
                  <a:lnTo>
                    <a:pt x="33" y="474"/>
                  </a:lnTo>
                  <a:lnTo>
                    <a:pt x="31" y="474"/>
                  </a:lnTo>
                  <a:close/>
                  <a:moveTo>
                    <a:pt x="29" y="482"/>
                  </a:moveTo>
                  <a:lnTo>
                    <a:pt x="29" y="480"/>
                  </a:lnTo>
                  <a:lnTo>
                    <a:pt x="29" y="482"/>
                  </a:lnTo>
                  <a:close/>
                  <a:moveTo>
                    <a:pt x="25" y="453"/>
                  </a:moveTo>
                  <a:lnTo>
                    <a:pt x="25" y="455"/>
                  </a:lnTo>
                  <a:lnTo>
                    <a:pt x="25" y="453"/>
                  </a:lnTo>
                  <a:close/>
                  <a:moveTo>
                    <a:pt x="27" y="434"/>
                  </a:moveTo>
                  <a:lnTo>
                    <a:pt x="25" y="434"/>
                  </a:lnTo>
                  <a:lnTo>
                    <a:pt x="27" y="434"/>
                  </a:lnTo>
                  <a:close/>
                  <a:moveTo>
                    <a:pt x="630" y="651"/>
                  </a:moveTo>
                  <a:lnTo>
                    <a:pt x="632" y="651"/>
                  </a:lnTo>
                  <a:lnTo>
                    <a:pt x="630" y="651"/>
                  </a:lnTo>
                  <a:close/>
                  <a:moveTo>
                    <a:pt x="855" y="703"/>
                  </a:moveTo>
                  <a:lnTo>
                    <a:pt x="853" y="703"/>
                  </a:lnTo>
                  <a:lnTo>
                    <a:pt x="855" y="703"/>
                  </a:lnTo>
                  <a:lnTo>
                    <a:pt x="853" y="703"/>
                  </a:lnTo>
                  <a:lnTo>
                    <a:pt x="855" y="703"/>
                  </a:lnTo>
                  <a:close/>
                  <a:moveTo>
                    <a:pt x="680" y="699"/>
                  </a:moveTo>
                  <a:lnTo>
                    <a:pt x="680" y="701"/>
                  </a:lnTo>
                  <a:lnTo>
                    <a:pt x="680" y="699"/>
                  </a:lnTo>
                  <a:lnTo>
                    <a:pt x="680" y="701"/>
                  </a:lnTo>
                  <a:lnTo>
                    <a:pt x="680" y="699"/>
                  </a:lnTo>
                  <a:close/>
                  <a:moveTo>
                    <a:pt x="649" y="668"/>
                  </a:moveTo>
                  <a:lnTo>
                    <a:pt x="649" y="670"/>
                  </a:lnTo>
                  <a:lnTo>
                    <a:pt x="647" y="670"/>
                  </a:lnTo>
                  <a:lnTo>
                    <a:pt x="647" y="668"/>
                  </a:lnTo>
                  <a:lnTo>
                    <a:pt x="649" y="668"/>
                  </a:lnTo>
                  <a:lnTo>
                    <a:pt x="647" y="668"/>
                  </a:lnTo>
                  <a:lnTo>
                    <a:pt x="649" y="668"/>
                  </a:lnTo>
                  <a:close/>
                  <a:moveTo>
                    <a:pt x="670" y="687"/>
                  </a:moveTo>
                  <a:lnTo>
                    <a:pt x="672" y="687"/>
                  </a:lnTo>
                  <a:lnTo>
                    <a:pt x="670" y="687"/>
                  </a:lnTo>
                  <a:close/>
                  <a:moveTo>
                    <a:pt x="31" y="476"/>
                  </a:moveTo>
                  <a:lnTo>
                    <a:pt x="31" y="478"/>
                  </a:lnTo>
                  <a:lnTo>
                    <a:pt x="31" y="476"/>
                  </a:lnTo>
                  <a:close/>
                  <a:moveTo>
                    <a:pt x="467" y="630"/>
                  </a:moveTo>
                  <a:lnTo>
                    <a:pt x="465" y="630"/>
                  </a:lnTo>
                  <a:lnTo>
                    <a:pt x="467" y="630"/>
                  </a:lnTo>
                  <a:close/>
                  <a:moveTo>
                    <a:pt x="584" y="641"/>
                  </a:moveTo>
                  <a:lnTo>
                    <a:pt x="582" y="641"/>
                  </a:lnTo>
                  <a:lnTo>
                    <a:pt x="584" y="641"/>
                  </a:lnTo>
                  <a:close/>
                  <a:moveTo>
                    <a:pt x="25" y="453"/>
                  </a:moveTo>
                  <a:lnTo>
                    <a:pt x="23" y="453"/>
                  </a:lnTo>
                  <a:lnTo>
                    <a:pt x="23" y="451"/>
                  </a:lnTo>
                  <a:lnTo>
                    <a:pt x="25" y="453"/>
                  </a:lnTo>
                  <a:close/>
                  <a:moveTo>
                    <a:pt x="841" y="716"/>
                  </a:moveTo>
                  <a:lnTo>
                    <a:pt x="841" y="714"/>
                  </a:lnTo>
                  <a:lnTo>
                    <a:pt x="841" y="716"/>
                  </a:lnTo>
                  <a:close/>
                  <a:moveTo>
                    <a:pt x="282" y="518"/>
                  </a:moveTo>
                  <a:lnTo>
                    <a:pt x="282" y="516"/>
                  </a:lnTo>
                  <a:lnTo>
                    <a:pt x="282" y="518"/>
                  </a:lnTo>
                  <a:close/>
                  <a:moveTo>
                    <a:pt x="559" y="645"/>
                  </a:moveTo>
                  <a:lnTo>
                    <a:pt x="561" y="645"/>
                  </a:lnTo>
                  <a:lnTo>
                    <a:pt x="559" y="645"/>
                  </a:lnTo>
                  <a:close/>
                  <a:moveTo>
                    <a:pt x="29" y="442"/>
                  </a:moveTo>
                  <a:lnTo>
                    <a:pt x="29" y="440"/>
                  </a:lnTo>
                  <a:lnTo>
                    <a:pt x="29" y="442"/>
                  </a:lnTo>
                  <a:close/>
                  <a:moveTo>
                    <a:pt x="42" y="480"/>
                  </a:moveTo>
                  <a:lnTo>
                    <a:pt x="42" y="482"/>
                  </a:lnTo>
                  <a:lnTo>
                    <a:pt x="42" y="480"/>
                  </a:lnTo>
                  <a:lnTo>
                    <a:pt x="42" y="482"/>
                  </a:lnTo>
                  <a:lnTo>
                    <a:pt x="42" y="480"/>
                  </a:lnTo>
                  <a:close/>
                  <a:moveTo>
                    <a:pt x="300" y="505"/>
                  </a:moveTo>
                  <a:lnTo>
                    <a:pt x="298" y="505"/>
                  </a:lnTo>
                  <a:lnTo>
                    <a:pt x="300" y="505"/>
                  </a:lnTo>
                  <a:close/>
                  <a:moveTo>
                    <a:pt x="284" y="518"/>
                  </a:moveTo>
                  <a:lnTo>
                    <a:pt x="284" y="516"/>
                  </a:lnTo>
                  <a:lnTo>
                    <a:pt x="284" y="518"/>
                  </a:lnTo>
                  <a:close/>
                  <a:moveTo>
                    <a:pt x="263" y="534"/>
                  </a:moveTo>
                  <a:lnTo>
                    <a:pt x="263" y="532"/>
                  </a:lnTo>
                  <a:lnTo>
                    <a:pt x="265" y="532"/>
                  </a:lnTo>
                  <a:lnTo>
                    <a:pt x="265" y="534"/>
                  </a:lnTo>
                  <a:lnTo>
                    <a:pt x="263" y="534"/>
                  </a:lnTo>
                  <a:close/>
                  <a:moveTo>
                    <a:pt x="42" y="465"/>
                  </a:moveTo>
                  <a:lnTo>
                    <a:pt x="40" y="465"/>
                  </a:lnTo>
                  <a:lnTo>
                    <a:pt x="42" y="465"/>
                  </a:lnTo>
                  <a:close/>
                  <a:moveTo>
                    <a:pt x="29" y="443"/>
                  </a:moveTo>
                  <a:lnTo>
                    <a:pt x="29" y="445"/>
                  </a:lnTo>
                  <a:lnTo>
                    <a:pt x="29" y="443"/>
                  </a:lnTo>
                  <a:close/>
                  <a:moveTo>
                    <a:pt x="831" y="731"/>
                  </a:moveTo>
                  <a:lnTo>
                    <a:pt x="830" y="731"/>
                  </a:lnTo>
                  <a:lnTo>
                    <a:pt x="831" y="731"/>
                  </a:lnTo>
                  <a:close/>
                  <a:moveTo>
                    <a:pt x="855" y="705"/>
                  </a:moveTo>
                  <a:lnTo>
                    <a:pt x="855" y="707"/>
                  </a:lnTo>
                  <a:lnTo>
                    <a:pt x="855" y="705"/>
                  </a:lnTo>
                  <a:close/>
                  <a:moveTo>
                    <a:pt x="17" y="472"/>
                  </a:moveTo>
                  <a:lnTo>
                    <a:pt x="15" y="472"/>
                  </a:lnTo>
                  <a:lnTo>
                    <a:pt x="17" y="472"/>
                  </a:lnTo>
                  <a:close/>
                  <a:moveTo>
                    <a:pt x="27" y="434"/>
                  </a:moveTo>
                  <a:lnTo>
                    <a:pt x="27" y="436"/>
                  </a:lnTo>
                  <a:lnTo>
                    <a:pt x="27" y="434"/>
                  </a:lnTo>
                  <a:close/>
                  <a:moveTo>
                    <a:pt x="27" y="457"/>
                  </a:moveTo>
                  <a:lnTo>
                    <a:pt x="27" y="459"/>
                  </a:lnTo>
                  <a:lnTo>
                    <a:pt x="29" y="459"/>
                  </a:lnTo>
                  <a:lnTo>
                    <a:pt x="27" y="459"/>
                  </a:lnTo>
                  <a:lnTo>
                    <a:pt x="27" y="457"/>
                  </a:lnTo>
                  <a:close/>
                  <a:moveTo>
                    <a:pt x="25" y="467"/>
                  </a:moveTo>
                  <a:lnTo>
                    <a:pt x="23" y="468"/>
                  </a:lnTo>
                  <a:lnTo>
                    <a:pt x="23" y="467"/>
                  </a:lnTo>
                  <a:lnTo>
                    <a:pt x="25" y="467"/>
                  </a:lnTo>
                  <a:close/>
                  <a:moveTo>
                    <a:pt x="40" y="484"/>
                  </a:moveTo>
                  <a:lnTo>
                    <a:pt x="40" y="486"/>
                  </a:lnTo>
                  <a:lnTo>
                    <a:pt x="40" y="484"/>
                  </a:lnTo>
                  <a:close/>
                  <a:moveTo>
                    <a:pt x="300" y="507"/>
                  </a:moveTo>
                  <a:lnTo>
                    <a:pt x="300" y="505"/>
                  </a:lnTo>
                  <a:lnTo>
                    <a:pt x="300" y="507"/>
                  </a:lnTo>
                  <a:close/>
                  <a:moveTo>
                    <a:pt x="647" y="664"/>
                  </a:moveTo>
                  <a:lnTo>
                    <a:pt x="649" y="664"/>
                  </a:lnTo>
                  <a:lnTo>
                    <a:pt x="647" y="664"/>
                  </a:lnTo>
                  <a:close/>
                  <a:moveTo>
                    <a:pt x="42" y="467"/>
                  </a:moveTo>
                  <a:lnTo>
                    <a:pt x="44" y="467"/>
                  </a:lnTo>
                  <a:lnTo>
                    <a:pt x="42" y="467"/>
                  </a:lnTo>
                  <a:lnTo>
                    <a:pt x="44" y="467"/>
                  </a:lnTo>
                  <a:lnTo>
                    <a:pt x="42" y="467"/>
                  </a:lnTo>
                  <a:close/>
                  <a:moveTo>
                    <a:pt x="584" y="927"/>
                  </a:moveTo>
                  <a:lnTo>
                    <a:pt x="584" y="929"/>
                  </a:lnTo>
                  <a:lnTo>
                    <a:pt x="582" y="929"/>
                  </a:lnTo>
                  <a:lnTo>
                    <a:pt x="584" y="929"/>
                  </a:lnTo>
                  <a:lnTo>
                    <a:pt x="584" y="927"/>
                  </a:lnTo>
                  <a:close/>
                  <a:moveTo>
                    <a:pt x="8" y="451"/>
                  </a:moveTo>
                  <a:lnTo>
                    <a:pt x="8" y="449"/>
                  </a:lnTo>
                  <a:lnTo>
                    <a:pt x="8" y="451"/>
                  </a:lnTo>
                  <a:close/>
                  <a:moveTo>
                    <a:pt x="4" y="467"/>
                  </a:moveTo>
                  <a:lnTo>
                    <a:pt x="6" y="467"/>
                  </a:lnTo>
                  <a:lnTo>
                    <a:pt x="4" y="467"/>
                  </a:lnTo>
                  <a:close/>
                  <a:moveTo>
                    <a:pt x="25" y="468"/>
                  </a:moveTo>
                  <a:lnTo>
                    <a:pt x="23" y="468"/>
                  </a:lnTo>
                  <a:lnTo>
                    <a:pt x="25" y="468"/>
                  </a:lnTo>
                  <a:lnTo>
                    <a:pt x="23" y="468"/>
                  </a:lnTo>
                  <a:lnTo>
                    <a:pt x="25" y="468"/>
                  </a:lnTo>
                  <a:close/>
                  <a:moveTo>
                    <a:pt x="647" y="660"/>
                  </a:moveTo>
                  <a:lnTo>
                    <a:pt x="647" y="662"/>
                  </a:lnTo>
                  <a:lnTo>
                    <a:pt x="647" y="660"/>
                  </a:lnTo>
                  <a:close/>
                  <a:moveTo>
                    <a:pt x="561" y="643"/>
                  </a:moveTo>
                  <a:lnTo>
                    <a:pt x="561" y="645"/>
                  </a:lnTo>
                  <a:lnTo>
                    <a:pt x="561" y="643"/>
                  </a:lnTo>
                  <a:close/>
                  <a:moveTo>
                    <a:pt x="31" y="459"/>
                  </a:moveTo>
                  <a:lnTo>
                    <a:pt x="29" y="459"/>
                  </a:lnTo>
                  <a:lnTo>
                    <a:pt x="29" y="461"/>
                  </a:lnTo>
                  <a:lnTo>
                    <a:pt x="29" y="459"/>
                  </a:lnTo>
                  <a:lnTo>
                    <a:pt x="29" y="461"/>
                  </a:lnTo>
                  <a:lnTo>
                    <a:pt x="29" y="459"/>
                  </a:lnTo>
                  <a:lnTo>
                    <a:pt x="31" y="459"/>
                  </a:lnTo>
                  <a:close/>
                  <a:moveTo>
                    <a:pt x="628" y="647"/>
                  </a:moveTo>
                  <a:lnTo>
                    <a:pt x="626" y="647"/>
                  </a:lnTo>
                  <a:lnTo>
                    <a:pt x="628" y="647"/>
                  </a:lnTo>
                  <a:close/>
                  <a:moveTo>
                    <a:pt x="616" y="722"/>
                  </a:moveTo>
                  <a:lnTo>
                    <a:pt x="616" y="724"/>
                  </a:lnTo>
                  <a:lnTo>
                    <a:pt x="616" y="722"/>
                  </a:lnTo>
                  <a:close/>
                  <a:moveTo>
                    <a:pt x="36" y="459"/>
                  </a:moveTo>
                  <a:lnTo>
                    <a:pt x="35" y="459"/>
                  </a:lnTo>
                  <a:lnTo>
                    <a:pt x="36" y="459"/>
                  </a:lnTo>
                  <a:close/>
                  <a:moveTo>
                    <a:pt x="843" y="712"/>
                  </a:moveTo>
                  <a:lnTo>
                    <a:pt x="841" y="712"/>
                  </a:lnTo>
                  <a:lnTo>
                    <a:pt x="843" y="712"/>
                  </a:lnTo>
                  <a:close/>
                  <a:moveTo>
                    <a:pt x="23" y="474"/>
                  </a:moveTo>
                  <a:lnTo>
                    <a:pt x="23" y="476"/>
                  </a:lnTo>
                  <a:lnTo>
                    <a:pt x="21" y="476"/>
                  </a:lnTo>
                  <a:lnTo>
                    <a:pt x="21" y="474"/>
                  </a:lnTo>
                  <a:lnTo>
                    <a:pt x="23" y="474"/>
                  </a:lnTo>
                  <a:close/>
                  <a:moveTo>
                    <a:pt x="559" y="902"/>
                  </a:moveTo>
                  <a:lnTo>
                    <a:pt x="559" y="904"/>
                  </a:lnTo>
                  <a:lnTo>
                    <a:pt x="559" y="902"/>
                  </a:lnTo>
                  <a:close/>
                  <a:moveTo>
                    <a:pt x="449" y="612"/>
                  </a:moveTo>
                  <a:lnTo>
                    <a:pt x="449" y="611"/>
                  </a:lnTo>
                  <a:lnTo>
                    <a:pt x="449" y="612"/>
                  </a:lnTo>
                  <a:close/>
                  <a:moveTo>
                    <a:pt x="551" y="643"/>
                  </a:moveTo>
                  <a:lnTo>
                    <a:pt x="553" y="643"/>
                  </a:lnTo>
                  <a:lnTo>
                    <a:pt x="551" y="643"/>
                  </a:lnTo>
                  <a:close/>
                  <a:moveTo>
                    <a:pt x="31" y="445"/>
                  </a:moveTo>
                  <a:lnTo>
                    <a:pt x="31" y="447"/>
                  </a:lnTo>
                  <a:lnTo>
                    <a:pt x="31" y="445"/>
                  </a:lnTo>
                  <a:close/>
                  <a:moveTo>
                    <a:pt x="668" y="689"/>
                  </a:moveTo>
                  <a:lnTo>
                    <a:pt x="668" y="687"/>
                  </a:lnTo>
                  <a:lnTo>
                    <a:pt x="668" y="689"/>
                  </a:lnTo>
                  <a:lnTo>
                    <a:pt x="668" y="687"/>
                  </a:lnTo>
                  <a:lnTo>
                    <a:pt x="668" y="689"/>
                  </a:lnTo>
                  <a:close/>
                  <a:moveTo>
                    <a:pt x="33" y="459"/>
                  </a:moveTo>
                  <a:lnTo>
                    <a:pt x="31" y="459"/>
                  </a:lnTo>
                  <a:lnTo>
                    <a:pt x="33" y="459"/>
                  </a:lnTo>
                  <a:close/>
                  <a:moveTo>
                    <a:pt x="278" y="524"/>
                  </a:moveTo>
                  <a:lnTo>
                    <a:pt x="278" y="526"/>
                  </a:lnTo>
                  <a:lnTo>
                    <a:pt x="278" y="524"/>
                  </a:lnTo>
                  <a:close/>
                  <a:moveTo>
                    <a:pt x="8" y="455"/>
                  </a:moveTo>
                  <a:lnTo>
                    <a:pt x="8" y="453"/>
                  </a:lnTo>
                  <a:lnTo>
                    <a:pt x="8" y="455"/>
                  </a:lnTo>
                  <a:close/>
                  <a:moveTo>
                    <a:pt x="36" y="459"/>
                  </a:moveTo>
                  <a:lnTo>
                    <a:pt x="36" y="461"/>
                  </a:lnTo>
                  <a:lnTo>
                    <a:pt x="36" y="459"/>
                  </a:lnTo>
                  <a:close/>
                  <a:moveTo>
                    <a:pt x="394" y="563"/>
                  </a:moveTo>
                  <a:lnTo>
                    <a:pt x="396" y="563"/>
                  </a:lnTo>
                  <a:lnTo>
                    <a:pt x="394" y="563"/>
                  </a:lnTo>
                  <a:close/>
                  <a:moveTo>
                    <a:pt x="584" y="639"/>
                  </a:moveTo>
                  <a:lnTo>
                    <a:pt x="584" y="641"/>
                  </a:lnTo>
                  <a:lnTo>
                    <a:pt x="584" y="639"/>
                  </a:lnTo>
                  <a:lnTo>
                    <a:pt x="584" y="641"/>
                  </a:lnTo>
                  <a:lnTo>
                    <a:pt x="584" y="639"/>
                  </a:lnTo>
                  <a:close/>
                  <a:moveTo>
                    <a:pt x="566" y="887"/>
                  </a:moveTo>
                  <a:lnTo>
                    <a:pt x="565" y="887"/>
                  </a:lnTo>
                  <a:lnTo>
                    <a:pt x="566" y="887"/>
                  </a:lnTo>
                  <a:lnTo>
                    <a:pt x="565" y="887"/>
                  </a:lnTo>
                  <a:lnTo>
                    <a:pt x="566" y="887"/>
                  </a:lnTo>
                  <a:lnTo>
                    <a:pt x="565" y="887"/>
                  </a:lnTo>
                  <a:lnTo>
                    <a:pt x="566" y="887"/>
                  </a:lnTo>
                  <a:close/>
                  <a:moveTo>
                    <a:pt x="883" y="659"/>
                  </a:moveTo>
                  <a:lnTo>
                    <a:pt x="883" y="660"/>
                  </a:lnTo>
                  <a:lnTo>
                    <a:pt x="883" y="659"/>
                  </a:lnTo>
                  <a:close/>
                  <a:moveTo>
                    <a:pt x="879" y="664"/>
                  </a:moveTo>
                  <a:lnTo>
                    <a:pt x="879" y="666"/>
                  </a:lnTo>
                  <a:lnTo>
                    <a:pt x="879" y="664"/>
                  </a:lnTo>
                  <a:close/>
                  <a:moveTo>
                    <a:pt x="666" y="687"/>
                  </a:moveTo>
                  <a:lnTo>
                    <a:pt x="666" y="685"/>
                  </a:lnTo>
                  <a:lnTo>
                    <a:pt x="666" y="687"/>
                  </a:lnTo>
                  <a:close/>
                  <a:moveTo>
                    <a:pt x="647" y="664"/>
                  </a:moveTo>
                  <a:lnTo>
                    <a:pt x="647" y="666"/>
                  </a:lnTo>
                  <a:lnTo>
                    <a:pt x="647" y="664"/>
                  </a:lnTo>
                  <a:lnTo>
                    <a:pt x="647" y="666"/>
                  </a:lnTo>
                  <a:lnTo>
                    <a:pt x="647" y="664"/>
                  </a:lnTo>
                  <a:close/>
                  <a:moveTo>
                    <a:pt x="29" y="440"/>
                  </a:moveTo>
                  <a:lnTo>
                    <a:pt x="27" y="440"/>
                  </a:lnTo>
                  <a:lnTo>
                    <a:pt x="29" y="440"/>
                  </a:lnTo>
                  <a:close/>
                  <a:moveTo>
                    <a:pt x="284" y="516"/>
                  </a:moveTo>
                  <a:lnTo>
                    <a:pt x="284" y="515"/>
                  </a:lnTo>
                  <a:lnTo>
                    <a:pt x="284" y="516"/>
                  </a:lnTo>
                  <a:close/>
                  <a:moveTo>
                    <a:pt x="27" y="440"/>
                  </a:moveTo>
                  <a:lnTo>
                    <a:pt x="27" y="438"/>
                  </a:lnTo>
                  <a:lnTo>
                    <a:pt x="27" y="440"/>
                  </a:lnTo>
                  <a:close/>
                  <a:moveTo>
                    <a:pt x="616" y="645"/>
                  </a:moveTo>
                  <a:lnTo>
                    <a:pt x="614" y="645"/>
                  </a:lnTo>
                  <a:lnTo>
                    <a:pt x="616" y="645"/>
                  </a:lnTo>
                  <a:lnTo>
                    <a:pt x="614" y="645"/>
                  </a:lnTo>
                  <a:lnTo>
                    <a:pt x="616" y="645"/>
                  </a:lnTo>
                  <a:close/>
                  <a:moveTo>
                    <a:pt x="542" y="639"/>
                  </a:moveTo>
                  <a:lnTo>
                    <a:pt x="543" y="639"/>
                  </a:lnTo>
                  <a:lnTo>
                    <a:pt x="542" y="639"/>
                  </a:lnTo>
                  <a:lnTo>
                    <a:pt x="543" y="639"/>
                  </a:lnTo>
                  <a:lnTo>
                    <a:pt x="542" y="639"/>
                  </a:lnTo>
                  <a:lnTo>
                    <a:pt x="542" y="641"/>
                  </a:lnTo>
                  <a:lnTo>
                    <a:pt x="542" y="639"/>
                  </a:lnTo>
                  <a:lnTo>
                    <a:pt x="542" y="641"/>
                  </a:lnTo>
                  <a:lnTo>
                    <a:pt x="542" y="639"/>
                  </a:lnTo>
                  <a:close/>
                  <a:moveTo>
                    <a:pt x="17" y="461"/>
                  </a:moveTo>
                  <a:lnTo>
                    <a:pt x="17" y="463"/>
                  </a:lnTo>
                  <a:lnTo>
                    <a:pt x="17" y="461"/>
                  </a:lnTo>
                  <a:close/>
                  <a:moveTo>
                    <a:pt x="36" y="476"/>
                  </a:moveTo>
                  <a:lnTo>
                    <a:pt x="36" y="474"/>
                  </a:lnTo>
                  <a:lnTo>
                    <a:pt x="36" y="476"/>
                  </a:lnTo>
                  <a:close/>
                  <a:moveTo>
                    <a:pt x="643" y="662"/>
                  </a:moveTo>
                  <a:lnTo>
                    <a:pt x="641" y="662"/>
                  </a:lnTo>
                  <a:lnTo>
                    <a:pt x="643" y="662"/>
                  </a:lnTo>
                  <a:close/>
                  <a:moveTo>
                    <a:pt x="27" y="457"/>
                  </a:moveTo>
                  <a:lnTo>
                    <a:pt x="25" y="457"/>
                  </a:lnTo>
                  <a:lnTo>
                    <a:pt x="27" y="457"/>
                  </a:lnTo>
                  <a:close/>
                  <a:moveTo>
                    <a:pt x="603" y="645"/>
                  </a:moveTo>
                  <a:lnTo>
                    <a:pt x="603" y="647"/>
                  </a:lnTo>
                  <a:lnTo>
                    <a:pt x="603" y="645"/>
                  </a:lnTo>
                  <a:close/>
                  <a:moveTo>
                    <a:pt x="35" y="474"/>
                  </a:moveTo>
                  <a:lnTo>
                    <a:pt x="35" y="472"/>
                  </a:lnTo>
                  <a:lnTo>
                    <a:pt x="35" y="474"/>
                  </a:lnTo>
                  <a:close/>
                  <a:moveTo>
                    <a:pt x="647" y="668"/>
                  </a:moveTo>
                  <a:lnTo>
                    <a:pt x="647" y="670"/>
                  </a:lnTo>
                  <a:lnTo>
                    <a:pt x="647" y="668"/>
                  </a:lnTo>
                  <a:lnTo>
                    <a:pt x="647" y="670"/>
                  </a:lnTo>
                  <a:lnTo>
                    <a:pt x="647" y="668"/>
                  </a:lnTo>
                  <a:lnTo>
                    <a:pt x="645" y="668"/>
                  </a:lnTo>
                  <a:lnTo>
                    <a:pt x="647" y="668"/>
                  </a:lnTo>
                  <a:close/>
                  <a:moveTo>
                    <a:pt x="628" y="645"/>
                  </a:moveTo>
                  <a:lnTo>
                    <a:pt x="628" y="647"/>
                  </a:lnTo>
                  <a:lnTo>
                    <a:pt x="628" y="645"/>
                  </a:lnTo>
                  <a:close/>
                  <a:moveTo>
                    <a:pt x="17" y="451"/>
                  </a:moveTo>
                  <a:lnTo>
                    <a:pt x="19" y="451"/>
                  </a:lnTo>
                  <a:lnTo>
                    <a:pt x="17" y="451"/>
                  </a:lnTo>
                  <a:close/>
                  <a:moveTo>
                    <a:pt x="278" y="524"/>
                  </a:moveTo>
                  <a:lnTo>
                    <a:pt x="277" y="524"/>
                  </a:lnTo>
                  <a:lnTo>
                    <a:pt x="278" y="524"/>
                  </a:lnTo>
                  <a:close/>
                  <a:moveTo>
                    <a:pt x="367" y="507"/>
                  </a:moveTo>
                  <a:lnTo>
                    <a:pt x="369" y="507"/>
                  </a:lnTo>
                  <a:lnTo>
                    <a:pt x="367" y="507"/>
                  </a:lnTo>
                  <a:close/>
                  <a:moveTo>
                    <a:pt x="15" y="453"/>
                  </a:moveTo>
                  <a:lnTo>
                    <a:pt x="15" y="451"/>
                  </a:lnTo>
                  <a:lnTo>
                    <a:pt x="15" y="453"/>
                  </a:lnTo>
                  <a:close/>
                  <a:moveTo>
                    <a:pt x="23" y="453"/>
                  </a:moveTo>
                  <a:lnTo>
                    <a:pt x="21" y="453"/>
                  </a:lnTo>
                  <a:lnTo>
                    <a:pt x="23" y="453"/>
                  </a:lnTo>
                  <a:close/>
                  <a:moveTo>
                    <a:pt x="695" y="852"/>
                  </a:moveTo>
                  <a:lnTo>
                    <a:pt x="697" y="852"/>
                  </a:lnTo>
                  <a:lnTo>
                    <a:pt x="695" y="852"/>
                  </a:lnTo>
                  <a:lnTo>
                    <a:pt x="695" y="850"/>
                  </a:lnTo>
                  <a:lnTo>
                    <a:pt x="695" y="852"/>
                  </a:lnTo>
                  <a:close/>
                  <a:moveTo>
                    <a:pt x="453" y="614"/>
                  </a:moveTo>
                  <a:lnTo>
                    <a:pt x="453" y="616"/>
                  </a:lnTo>
                  <a:lnTo>
                    <a:pt x="453" y="614"/>
                  </a:lnTo>
                  <a:close/>
                  <a:moveTo>
                    <a:pt x="12" y="467"/>
                  </a:moveTo>
                  <a:lnTo>
                    <a:pt x="10" y="467"/>
                  </a:lnTo>
                  <a:lnTo>
                    <a:pt x="12" y="467"/>
                  </a:lnTo>
                  <a:lnTo>
                    <a:pt x="10" y="467"/>
                  </a:lnTo>
                  <a:lnTo>
                    <a:pt x="12" y="467"/>
                  </a:lnTo>
                  <a:close/>
                  <a:moveTo>
                    <a:pt x="647" y="666"/>
                  </a:moveTo>
                  <a:lnTo>
                    <a:pt x="645" y="666"/>
                  </a:lnTo>
                  <a:lnTo>
                    <a:pt x="647" y="666"/>
                  </a:lnTo>
                  <a:close/>
                  <a:moveTo>
                    <a:pt x="670" y="693"/>
                  </a:moveTo>
                  <a:lnTo>
                    <a:pt x="672" y="693"/>
                  </a:lnTo>
                  <a:lnTo>
                    <a:pt x="670" y="693"/>
                  </a:lnTo>
                  <a:close/>
                  <a:moveTo>
                    <a:pt x="29" y="445"/>
                  </a:moveTo>
                  <a:lnTo>
                    <a:pt x="27" y="445"/>
                  </a:lnTo>
                  <a:lnTo>
                    <a:pt x="29" y="445"/>
                  </a:lnTo>
                  <a:close/>
                  <a:moveTo>
                    <a:pt x="31" y="478"/>
                  </a:moveTo>
                  <a:lnTo>
                    <a:pt x="29" y="478"/>
                  </a:lnTo>
                  <a:lnTo>
                    <a:pt x="31" y="478"/>
                  </a:lnTo>
                  <a:close/>
                  <a:moveTo>
                    <a:pt x="639" y="659"/>
                  </a:moveTo>
                  <a:lnTo>
                    <a:pt x="639" y="660"/>
                  </a:lnTo>
                  <a:lnTo>
                    <a:pt x="639" y="659"/>
                  </a:lnTo>
                  <a:close/>
                  <a:moveTo>
                    <a:pt x="13" y="463"/>
                  </a:moveTo>
                  <a:lnTo>
                    <a:pt x="13" y="465"/>
                  </a:lnTo>
                  <a:lnTo>
                    <a:pt x="13" y="463"/>
                  </a:lnTo>
                  <a:lnTo>
                    <a:pt x="13" y="465"/>
                  </a:lnTo>
                  <a:lnTo>
                    <a:pt x="12" y="465"/>
                  </a:lnTo>
                  <a:lnTo>
                    <a:pt x="12" y="463"/>
                  </a:lnTo>
                  <a:lnTo>
                    <a:pt x="13" y="463"/>
                  </a:lnTo>
                  <a:close/>
                  <a:moveTo>
                    <a:pt x="36" y="459"/>
                  </a:moveTo>
                  <a:lnTo>
                    <a:pt x="35" y="459"/>
                  </a:lnTo>
                  <a:lnTo>
                    <a:pt x="36" y="459"/>
                  </a:lnTo>
                  <a:close/>
                  <a:moveTo>
                    <a:pt x="46" y="484"/>
                  </a:moveTo>
                  <a:lnTo>
                    <a:pt x="48" y="484"/>
                  </a:lnTo>
                  <a:lnTo>
                    <a:pt x="46" y="484"/>
                  </a:lnTo>
                  <a:close/>
                  <a:moveTo>
                    <a:pt x="35" y="476"/>
                  </a:moveTo>
                  <a:lnTo>
                    <a:pt x="33" y="476"/>
                  </a:lnTo>
                  <a:lnTo>
                    <a:pt x="35" y="476"/>
                  </a:lnTo>
                  <a:close/>
                  <a:moveTo>
                    <a:pt x="545" y="641"/>
                  </a:moveTo>
                  <a:lnTo>
                    <a:pt x="545" y="643"/>
                  </a:lnTo>
                  <a:lnTo>
                    <a:pt x="545" y="641"/>
                  </a:lnTo>
                  <a:lnTo>
                    <a:pt x="545" y="643"/>
                  </a:lnTo>
                  <a:lnTo>
                    <a:pt x="543" y="643"/>
                  </a:lnTo>
                  <a:lnTo>
                    <a:pt x="545" y="643"/>
                  </a:lnTo>
                  <a:lnTo>
                    <a:pt x="543" y="643"/>
                  </a:lnTo>
                  <a:lnTo>
                    <a:pt x="545" y="643"/>
                  </a:lnTo>
                  <a:lnTo>
                    <a:pt x="545" y="641"/>
                  </a:lnTo>
                  <a:close/>
                  <a:moveTo>
                    <a:pt x="13" y="468"/>
                  </a:moveTo>
                  <a:lnTo>
                    <a:pt x="12" y="468"/>
                  </a:lnTo>
                  <a:lnTo>
                    <a:pt x="13" y="468"/>
                  </a:lnTo>
                  <a:close/>
                  <a:moveTo>
                    <a:pt x="23" y="474"/>
                  </a:moveTo>
                  <a:lnTo>
                    <a:pt x="23" y="476"/>
                  </a:lnTo>
                  <a:lnTo>
                    <a:pt x="23" y="474"/>
                  </a:lnTo>
                  <a:close/>
                  <a:moveTo>
                    <a:pt x="21" y="447"/>
                  </a:moveTo>
                  <a:lnTo>
                    <a:pt x="21" y="449"/>
                  </a:lnTo>
                  <a:lnTo>
                    <a:pt x="21" y="447"/>
                  </a:lnTo>
                  <a:close/>
                  <a:moveTo>
                    <a:pt x="649" y="670"/>
                  </a:moveTo>
                  <a:lnTo>
                    <a:pt x="647" y="670"/>
                  </a:lnTo>
                  <a:lnTo>
                    <a:pt x="649" y="670"/>
                  </a:lnTo>
                  <a:lnTo>
                    <a:pt x="647" y="670"/>
                  </a:lnTo>
                  <a:lnTo>
                    <a:pt x="649" y="670"/>
                  </a:lnTo>
                  <a:lnTo>
                    <a:pt x="647" y="670"/>
                  </a:lnTo>
                  <a:lnTo>
                    <a:pt x="649" y="670"/>
                  </a:lnTo>
                  <a:close/>
                  <a:moveTo>
                    <a:pt x="15" y="447"/>
                  </a:moveTo>
                  <a:lnTo>
                    <a:pt x="13" y="447"/>
                  </a:lnTo>
                  <a:lnTo>
                    <a:pt x="15" y="447"/>
                  </a:lnTo>
                  <a:lnTo>
                    <a:pt x="13" y="447"/>
                  </a:lnTo>
                  <a:lnTo>
                    <a:pt x="15" y="447"/>
                  </a:lnTo>
                  <a:close/>
                  <a:moveTo>
                    <a:pt x="25" y="449"/>
                  </a:moveTo>
                  <a:lnTo>
                    <a:pt x="25" y="451"/>
                  </a:lnTo>
                  <a:lnTo>
                    <a:pt x="25" y="449"/>
                  </a:lnTo>
                  <a:close/>
                  <a:moveTo>
                    <a:pt x="40" y="463"/>
                  </a:moveTo>
                  <a:lnTo>
                    <a:pt x="40" y="465"/>
                  </a:lnTo>
                  <a:lnTo>
                    <a:pt x="40" y="463"/>
                  </a:lnTo>
                  <a:close/>
                  <a:moveTo>
                    <a:pt x="17" y="461"/>
                  </a:moveTo>
                  <a:lnTo>
                    <a:pt x="17" y="463"/>
                  </a:lnTo>
                  <a:lnTo>
                    <a:pt x="17" y="461"/>
                  </a:lnTo>
                  <a:lnTo>
                    <a:pt x="17" y="463"/>
                  </a:lnTo>
                  <a:lnTo>
                    <a:pt x="17" y="461"/>
                  </a:lnTo>
                  <a:close/>
                  <a:moveTo>
                    <a:pt x="645" y="668"/>
                  </a:moveTo>
                  <a:lnTo>
                    <a:pt x="647" y="668"/>
                  </a:lnTo>
                  <a:lnTo>
                    <a:pt x="645" y="668"/>
                  </a:lnTo>
                  <a:lnTo>
                    <a:pt x="647" y="668"/>
                  </a:lnTo>
                  <a:lnTo>
                    <a:pt x="645" y="668"/>
                  </a:lnTo>
                  <a:close/>
                  <a:moveTo>
                    <a:pt x="31" y="482"/>
                  </a:moveTo>
                  <a:lnTo>
                    <a:pt x="29" y="482"/>
                  </a:lnTo>
                  <a:lnTo>
                    <a:pt x="31" y="482"/>
                  </a:lnTo>
                  <a:close/>
                  <a:moveTo>
                    <a:pt x="19" y="470"/>
                  </a:moveTo>
                  <a:lnTo>
                    <a:pt x="21" y="470"/>
                  </a:lnTo>
                  <a:lnTo>
                    <a:pt x="19" y="470"/>
                  </a:lnTo>
                  <a:close/>
                  <a:moveTo>
                    <a:pt x="38" y="461"/>
                  </a:moveTo>
                  <a:lnTo>
                    <a:pt x="38" y="463"/>
                  </a:lnTo>
                  <a:lnTo>
                    <a:pt x="38" y="461"/>
                  </a:lnTo>
                  <a:close/>
                  <a:moveTo>
                    <a:pt x="284" y="515"/>
                  </a:moveTo>
                  <a:lnTo>
                    <a:pt x="284" y="516"/>
                  </a:lnTo>
                  <a:lnTo>
                    <a:pt x="284" y="515"/>
                  </a:lnTo>
                  <a:close/>
                  <a:moveTo>
                    <a:pt x="44" y="470"/>
                  </a:moveTo>
                  <a:lnTo>
                    <a:pt x="42" y="470"/>
                  </a:lnTo>
                  <a:lnTo>
                    <a:pt x="44" y="470"/>
                  </a:lnTo>
                  <a:close/>
                  <a:moveTo>
                    <a:pt x="31" y="451"/>
                  </a:moveTo>
                  <a:lnTo>
                    <a:pt x="29" y="451"/>
                  </a:lnTo>
                  <a:lnTo>
                    <a:pt x="31" y="451"/>
                  </a:lnTo>
                  <a:close/>
                  <a:moveTo>
                    <a:pt x="25" y="480"/>
                  </a:moveTo>
                  <a:lnTo>
                    <a:pt x="25" y="482"/>
                  </a:lnTo>
                  <a:lnTo>
                    <a:pt x="25" y="480"/>
                  </a:lnTo>
                  <a:close/>
                  <a:moveTo>
                    <a:pt x="23" y="449"/>
                  </a:moveTo>
                  <a:lnTo>
                    <a:pt x="21" y="449"/>
                  </a:lnTo>
                  <a:lnTo>
                    <a:pt x="23" y="449"/>
                  </a:lnTo>
                  <a:close/>
                  <a:moveTo>
                    <a:pt x="44" y="467"/>
                  </a:moveTo>
                  <a:lnTo>
                    <a:pt x="42" y="467"/>
                  </a:lnTo>
                  <a:lnTo>
                    <a:pt x="44" y="467"/>
                  </a:lnTo>
                  <a:close/>
                  <a:moveTo>
                    <a:pt x="576" y="647"/>
                  </a:moveTo>
                  <a:lnTo>
                    <a:pt x="576" y="649"/>
                  </a:lnTo>
                  <a:lnTo>
                    <a:pt x="574" y="649"/>
                  </a:lnTo>
                  <a:lnTo>
                    <a:pt x="574" y="647"/>
                  </a:lnTo>
                  <a:lnTo>
                    <a:pt x="576" y="647"/>
                  </a:lnTo>
                  <a:close/>
                  <a:moveTo>
                    <a:pt x="25" y="457"/>
                  </a:moveTo>
                  <a:lnTo>
                    <a:pt x="27" y="457"/>
                  </a:lnTo>
                  <a:lnTo>
                    <a:pt x="25" y="457"/>
                  </a:lnTo>
                  <a:close/>
                  <a:moveTo>
                    <a:pt x="899" y="645"/>
                  </a:moveTo>
                  <a:lnTo>
                    <a:pt x="899" y="643"/>
                  </a:lnTo>
                  <a:lnTo>
                    <a:pt x="899" y="645"/>
                  </a:lnTo>
                  <a:close/>
                  <a:moveTo>
                    <a:pt x="664" y="685"/>
                  </a:moveTo>
                  <a:lnTo>
                    <a:pt x="662" y="685"/>
                  </a:lnTo>
                  <a:lnTo>
                    <a:pt x="664" y="685"/>
                  </a:lnTo>
                  <a:close/>
                  <a:moveTo>
                    <a:pt x="593" y="689"/>
                  </a:moveTo>
                  <a:lnTo>
                    <a:pt x="595" y="689"/>
                  </a:lnTo>
                  <a:lnTo>
                    <a:pt x="593" y="689"/>
                  </a:lnTo>
                  <a:close/>
                  <a:moveTo>
                    <a:pt x="6" y="451"/>
                  </a:moveTo>
                  <a:lnTo>
                    <a:pt x="4" y="451"/>
                  </a:lnTo>
                  <a:lnTo>
                    <a:pt x="6" y="451"/>
                  </a:lnTo>
                  <a:close/>
                  <a:moveTo>
                    <a:pt x="655" y="674"/>
                  </a:moveTo>
                  <a:lnTo>
                    <a:pt x="655" y="676"/>
                  </a:lnTo>
                  <a:lnTo>
                    <a:pt x="655" y="674"/>
                  </a:lnTo>
                  <a:close/>
                  <a:moveTo>
                    <a:pt x="33" y="447"/>
                  </a:moveTo>
                  <a:lnTo>
                    <a:pt x="31" y="447"/>
                  </a:lnTo>
                  <a:lnTo>
                    <a:pt x="33" y="447"/>
                  </a:lnTo>
                  <a:lnTo>
                    <a:pt x="31" y="447"/>
                  </a:lnTo>
                  <a:lnTo>
                    <a:pt x="33" y="447"/>
                  </a:lnTo>
                  <a:close/>
                  <a:moveTo>
                    <a:pt x="899" y="645"/>
                  </a:moveTo>
                  <a:lnTo>
                    <a:pt x="897" y="645"/>
                  </a:lnTo>
                  <a:lnTo>
                    <a:pt x="899" y="645"/>
                  </a:lnTo>
                  <a:close/>
                  <a:moveTo>
                    <a:pt x="25" y="451"/>
                  </a:moveTo>
                  <a:lnTo>
                    <a:pt x="25" y="453"/>
                  </a:lnTo>
                  <a:lnTo>
                    <a:pt x="25" y="451"/>
                  </a:lnTo>
                  <a:close/>
                  <a:moveTo>
                    <a:pt x="12" y="465"/>
                  </a:moveTo>
                  <a:lnTo>
                    <a:pt x="12" y="467"/>
                  </a:lnTo>
                  <a:lnTo>
                    <a:pt x="12" y="465"/>
                  </a:lnTo>
                  <a:close/>
                  <a:moveTo>
                    <a:pt x="4" y="459"/>
                  </a:moveTo>
                  <a:lnTo>
                    <a:pt x="4" y="457"/>
                  </a:lnTo>
                  <a:lnTo>
                    <a:pt x="4" y="459"/>
                  </a:lnTo>
                  <a:lnTo>
                    <a:pt x="4" y="457"/>
                  </a:lnTo>
                  <a:lnTo>
                    <a:pt x="4" y="459"/>
                  </a:lnTo>
                  <a:close/>
                  <a:moveTo>
                    <a:pt x="467" y="630"/>
                  </a:moveTo>
                  <a:lnTo>
                    <a:pt x="465" y="630"/>
                  </a:lnTo>
                  <a:lnTo>
                    <a:pt x="467" y="630"/>
                  </a:lnTo>
                  <a:close/>
                  <a:moveTo>
                    <a:pt x="543" y="643"/>
                  </a:moveTo>
                  <a:lnTo>
                    <a:pt x="543" y="645"/>
                  </a:lnTo>
                  <a:lnTo>
                    <a:pt x="543" y="643"/>
                  </a:lnTo>
                  <a:close/>
                  <a:moveTo>
                    <a:pt x="12" y="463"/>
                  </a:moveTo>
                  <a:lnTo>
                    <a:pt x="12" y="465"/>
                  </a:lnTo>
                  <a:lnTo>
                    <a:pt x="12" y="463"/>
                  </a:lnTo>
                  <a:close/>
                  <a:moveTo>
                    <a:pt x="674" y="695"/>
                  </a:moveTo>
                  <a:lnTo>
                    <a:pt x="672" y="695"/>
                  </a:lnTo>
                  <a:lnTo>
                    <a:pt x="674" y="695"/>
                  </a:lnTo>
                  <a:lnTo>
                    <a:pt x="672" y="695"/>
                  </a:lnTo>
                  <a:lnTo>
                    <a:pt x="674" y="695"/>
                  </a:lnTo>
                  <a:close/>
                  <a:moveTo>
                    <a:pt x="668" y="685"/>
                  </a:moveTo>
                  <a:lnTo>
                    <a:pt x="670" y="685"/>
                  </a:lnTo>
                  <a:lnTo>
                    <a:pt x="668" y="685"/>
                  </a:lnTo>
                  <a:close/>
                  <a:moveTo>
                    <a:pt x="44" y="470"/>
                  </a:moveTo>
                  <a:lnTo>
                    <a:pt x="44" y="468"/>
                  </a:lnTo>
                  <a:lnTo>
                    <a:pt x="44" y="470"/>
                  </a:lnTo>
                  <a:close/>
                  <a:moveTo>
                    <a:pt x="282" y="520"/>
                  </a:moveTo>
                  <a:lnTo>
                    <a:pt x="282" y="518"/>
                  </a:lnTo>
                  <a:lnTo>
                    <a:pt x="282" y="520"/>
                  </a:lnTo>
                  <a:close/>
                  <a:moveTo>
                    <a:pt x="678" y="699"/>
                  </a:moveTo>
                  <a:lnTo>
                    <a:pt x="678" y="701"/>
                  </a:lnTo>
                  <a:lnTo>
                    <a:pt x="678" y="699"/>
                  </a:lnTo>
                  <a:close/>
                  <a:moveTo>
                    <a:pt x="44" y="478"/>
                  </a:moveTo>
                  <a:lnTo>
                    <a:pt x="42" y="478"/>
                  </a:lnTo>
                  <a:lnTo>
                    <a:pt x="44" y="478"/>
                  </a:lnTo>
                  <a:close/>
                  <a:moveTo>
                    <a:pt x="672" y="695"/>
                  </a:moveTo>
                  <a:lnTo>
                    <a:pt x="672" y="693"/>
                  </a:lnTo>
                  <a:lnTo>
                    <a:pt x="672" y="695"/>
                  </a:lnTo>
                  <a:close/>
                  <a:moveTo>
                    <a:pt x="35" y="480"/>
                  </a:moveTo>
                  <a:lnTo>
                    <a:pt x="33" y="480"/>
                  </a:lnTo>
                  <a:lnTo>
                    <a:pt x="35" y="480"/>
                  </a:lnTo>
                  <a:close/>
                  <a:moveTo>
                    <a:pt x="15" y="463"/>
                  </a:moveTo>
                  <a:lnTo>
                    <a:pt x="13" y="463"/>
                  </a:lnTo>
                  <a:lnTo>
                    <a:pt x="15" y="463"/>
                  </a:lnTo>
                  <a:close/>
                  <a:moveTo>
                    <a:pt x="31" y="474"/>
                  </a:moveTo>
                  <a:lnTo>
                    <a:pt x="31" y="476"/>
                  </a:lnTo>
                  <a:lnTo>
                    <a:pt x="31" y="474"/>
                  </a:lnTo>
                  <a:close/>
                  <a:moveTo>
                    <a:pt x="340" y="505"/>
                  </a:moveTo>
                  <a:lnTo>
                    <a:pt x="340" y="503"/>
                  </a:lnTo>
                  <a:lnTo>
                    <a:pt x="340" y="505"/>
                  </a:lnTo>
                  <a:close/>
                  <a:moveTo>
                    <a:pt x="687" y="852"/>
                  </a:moveTo>
                  <a:lnTo>
                    <a:pt x="687" y="850"/>
                  </a:lnTo>
                  <a:lnTo>
                    <a:pt x="687" y="852"/>
                  </a:lnTo>
                  <a:close/>
                  <a:moveTo>
                    <a:pt x="19" y="468"/>
                  </a:moveTo>
                  <a:lnTo>
                    <a:pt x="17" y="468"/>
                  </a:lnTo>
                  <a:lnTo>
                    <a:pt x="19" y="468"/>
                  </a:lnTo>
                  <a:close/>
                  <a:moveTo>
                    <a:pt x="21" y="468"/>
                  </a:moveTo>
                  <a:lnTo>
                    <a:pt x="21" y="470"/>
                  </a:lnTo>
                  <a:lnTo>
                    <a:pt x="21" y="468"/>
                  </a:lnTo>
                  <a:close/>
                  <a:moveTo>
                    <a:pt x="680" y="699"/>
                  </a:moveTo>
                  <a:lnTo>
                    <a:pt x="680" y="701"/>
                  </a:lnTo>
                  <a:lnTo>
                    <a:pt x="680" y="699"/>
                  </a:lnTo>
                  <a:lnTo>
                    <a:pt x="680" y="701"/>
                  </a:lnTo>
                  <a:lnTo>
                    <a:pt x="680" y="699"/>
                  </a:lnTo>
                  <a:close/>
                  <a:moveTo>
                    <a:pt x="4" y="449"/>
                  </a:moveTo>
                  <a:lnTo>
                    <a:pt x="2" y="449"/>
                  </a:lnTo>
                  <a:lnTo>
                    <a:pt x="4" y="449"/>
                  </a:lnTo>
                  <a:lnTo>
                    <a:pt x="2" y="449"/>
                  </a:lnTo>
                  <a:lnTo>
                    <a:pt x="4" y="449"/>
                  </a:lnTo>
                  <a:close/>
                  <a:moveTo>
                    <a:pt x="46" y="463"/>
                  </a:moveTo>
                  <a:lnTo>
                    <a:pt x="44" y="463"/>
                  </a:lnTo>
                  <a:lnTo>
                    <a:pt x="46" y="463"/>
                  </a:lnTo>
                  <a:close/>
                  <a:moveTo>
                    <a:pt x="8" y="453"/>
                  </a:moveTo>
                  <a:lnTo>
                    <a:pt x="8" y="455"/>
                  </a:lnTo>
                  <a:lnTo>
                    <a:pt x="8" y="453"/>
                  </a:lnTo>
                  <a:close/>
                  <a:moveTo>
                    <a:pt x="680" y="701"/>
                  </a:moveTo>
                  <a:lnTo>
                    <a:pt x="682" y="701"/>
                  </a:lnTo>
                  <a:lnTo>
                    <a:pt x="680" y="701"/>
                  </a:lnTo>
                  <a:lnTo>
                    <a:pt x="682" y="701"/>
                  </a:lnTo>
                  <a:lnTo>
                    <a:pt x="680" y="701"/>
                  </a:lnTo>
                  <a:close/>
                  <a:moveTo>
                    <a:pt x="855" y="701"/>
                  </a:moveTo>
                  <a:lnTo>
                    <a:pt x="853" y="701"/>
                  </a:lnTo>
                  <a:lnTo>
                    <a:pt x="855" y="701"/>
                  </a:lnTo>
                  <a:close/>
                  <a:moveTo>
                    <a:pt x="25" y="449"/>
                  </a:moveTo>
                  <a:lnTo>
                    <a:pt x="25" y="447"/>
                  </a:lnTo>
                  <a:lnTo>
                    <a:pt x="27" y="447"/>
                  </a:lnTo>
                  <a:lnTo>
                    <a:pt x="25" y="447"/>
                  </a:lnTo>
                  <a:lnTo>
                    <a:pt x="25" y="449"/>
                  </a:lnTo>
                  <a:close/>
                  <a:moveTo>
                    <a:pt x="570" y="643"/>
                  </a:moveTo>
                  <a:lnTo>
                    <a:pt x="568" y="643"/>
                  </a:lnTo>
                  <a:lnTo>
                    <a:pt x="570" y="643"/>
                  </a:lnTo>
                  <a:close/>
                  <a:moveTo>
                    <a:pt x="676" y="699"/>
                  </a:moveTo>
                  <a:lnTo>
                    <a:pt x="676" y="701"/>
                  </a:lnTo>
                  <a:lnTo>
                    <a:pt x="676" y="699"/>
                  </a:lnTo>
                  <a:lnTo>
                    <a:pt x="676" y="701"/>
                  </a:lnTo>
                  <a:lnTo>
                    <a:pt x="676" y="699"/>
                  </a:lnTo>
                  <a:lnTo>
                    <a:pt x="676" y="701"/>
                  </a:lnTo>
                  <a:lnTo>
                    <a:pt x="678" y="701"/>
                  </a:lnTo>
                  <a:lnTo>
                    <a:pt x="676" y="701"/>
                  </a:lnTo>
                  <a:lnTo>
                    <a:pt x="676" y="699"/>
                  </a:lnTo>
                  <a:close/>
                  <a:moveTo>
                    <a:pt x="21" y="459"/>
                  </a:moveTo>
                  <a:lnTo>
                    <a:pt x="23" y="459"/>
                  </a:lnTo>
                  <a:lnTo>
                    <a:pt x="21" y="459"/>
                  </a:lnTo>
                  <a:close/>
                  <a:moveTo>
                    <a:pt x="40" y="467"/>
                  </a:moveTo>
                  <a:lnTo>
                    <a:pt x="40" y="468"/>
                  </a:lnTo>
                  <a:lnTo>
                    <a:pt x="40" y="467"/>
                  </a:lnTo>
                  <a:close/>
                  <a:moveTo>
                    <a:pt x="25" y="457"/>
                  </a:moveTo>
                  <a:lnTo>
                    <a:pt x="25" y="455"/>
                  </a:lnTo>
                  <a:lnTo>
                    <a:pt x="25" y="457"/>
                  </a:lnTo>
                  <a:close/>
                  <a:moveTo>
                    <a:pt x="662" y="683"/>
                  </a:moveTo>
                  <a:lnTo>
                    <a:pt x="661" y="683"/>
                  </a:lnTo>
                  <a:lnTo>
                    <a:pt x="662" y="683"/>
                  </a:lnTo>
                  <a:close/>
                  <a:moveTo>
                    <a:pt x="8" y="449"/>
                  </a:moveTo>
                  <a:lnTo>
                    <a:pt x="6" y="449"/>
                  </a:lnTo>
                  <a:lnTo>
                    <a:pt x="8" y="449"/>
                  </a:lnTo>
                  <a:close/>
                  <a:moveTo>
                    <a:pt x="670" y="689"/>
                  </a:moveTo>
                  <a:lnTo>
                    <a:pt x="668" y="689"/>
                  </a:lnTo>
                  <a:lnTo>
                    <a:pt x="670" y="689"/>
                  </a:lnTo>
                  <a:lnTo>
                    <a:pt x="668" y="689"/>
                  </a:lnTo>
                  <a:lnTo>
                    <a:pt x="670" y="689"/>
                  </a:lnTo>
                  <a:close/>
                  <a:moveTo>
                    <a:pt x="25" y="459"/>
                  </a:moveTo>
                  <a:lnTo>
                    <a:pt x="27" y="459"/>
                  </a:lnTo>
                  <a:lnTo>
                    <a:pt x="25" y="459"/>
                  </a:lnTo>
                  <a:close/>
                  <a:moveTo>
                    <a:pt x="46" y="472"/>
                  </a:moveTo>
                  <a:lnTo>
                    <a:pt x="46" y="474"/>
                  </a:lnTo>
                  <a:lnTo>
                    <a:pt x="46" y="472"/>
                  </a:lnTo>
                  <a:close/>
                  <a:moveTo>
                    <a:pt x="246" y="547"/>
                  </a:moveTo>
                  <a:lnTo>
                    <a:pt x="244" y="547"/>
                  </a:lnTo>
                  <a:lnTo>
                    <a:pt x="246" y="547"/>
                  </a:lnTo>
                  <a:close/>
                  <a:moveTo>
                    <a:pt x="639" y="660"/>
                  </a:moveTo>
                  <a:lnTo>
                    <a:pt x="639" y="662"/>
                  </a:lnTo>
                  <a:lnTo>
                    <a:pt x="639" y="660"/>
                  </a:lnTo>
                  <a:close/>
                  <a:moveTo>
                    <a:pt x="48" y="468"/>
                  </a:moveTo>
                  <a:lnTo>
                    <a:pt x="48" y="467"/>
                  </a:lnTo>
                  <a:lnTo>
                    <a:pt x="48" y="468"/>
                  </a:lnTo>
                  <a:close/>
                  <a:moveTo>
                    <a:pt x="647" y="668"/>
                  </a:moveTo>
                  <a:lnTo>
                    <a:pt x="649" y="668"/>
                  </a:lnTo>
                  <a:lnTo>
                    <a:pt x="647" y="668"/>
                  </a:lnTo>
                  <a:lnTo>
                    <a:pt x="647" y="666"/>
                  </a:lnTo>
                  <a:lnTo>
                    <a:pt x="647" y="668"/>
                  </a:lnTo>
                  <a:close/>
                  <a:moveTo>
                    <a:pt x="25" y="480"/>
                  </a:moveTo>
                  <a:lnTo>
                    <a:pt x="27" y="480"/>
                  </a:lnTo>
                  <a:lnTo>
                    <a:pt x="25" y="480"/>
                  </a:lnTo>
                  <a:close/>
                  <a:moveTo>
                    <a:pt x="557" y="639"/>
                  </a:moveTo>
                  <a:lnTo>
                    <a:pt x="555" y="639"/>
                  </a:lnTo>
                  <a:lnTo>
                    <a:pt x="557" y="639"/>
                  </a:lnTo>
                  <a:close/>
                  <a:moveTo>
                    <a:pt x="584" y="641"/>
                  </a:moveTo>
                  <a:lnTo>
                    <a:pt x="582" y="641"/>
                  </a:lnTo>
                  <a:lnTo>
                    <a:pt x="584" y="641"/>
                  </a:lnTo>
                  <a:close/>
                  <a:moveTo>
                    <a:pt x="25" y="459"/>
                  </a:moveTo>
                  <a:lnTo>
                    <a:pt x="25" y="457"/>
                  </a:lnTo>
                  <a:lnTo>
                    <a:pt x="25" y="459"/>
                  </a:lnTo>
                  <a:close/>
                  <a:moveTo>
                    <a:pt x="10" y="465"/>
                  </a:moveTo>
                  <a:lnTo>
                    <a:pt x="10" y="467"/>
                  </a:lnTo>
                  <a:lnTo>
                    <a:pt x="10" y="465"/>
                  </a:lnTo>
                  <a:close/>
                  <a:moveTo>
                    <a:pt x="553" y="641"/>
                  </a:moveTo>
                  <a:lnTo>
                    <a:pt x="553" y="643"/>
                  </a:lnTo>
                  <a:lnTo>
                    <a:pt x="551" y="643"/>
                  </a:lnTo>
                  <a:lnTo>
                    <a:pt x="551" y="641"/>
                  </a:lnTo>
                  <a:lnTo>
                    <a:pt x="553" y="641"/>
                  </a:lnTo>
                  <a:close/>
                  <a:moveTo>
                    <a:pt x="678" y="699"/>
                  </a:moveTo>
                  <a:lnTo>
                    <a:pt x="680" y="699"/>
                  </a:lnTo>
                  <a:lnTo>
                    <a:pt x="678" y="699"/>
                  </a:lnTo>
                  <a:lnTo>
                    <a:pt x="680" y="699"/>
                  </a:lnTo>
                  <a:lnTo>
                    <a:pt x="678" y="699"/>
                  </a:lnTo>
                  <a:close/>
                  <a:moveTo>
                    <a:pt x="607" y="643"/>
                  </a:moveTo>
                  <a:lnTo>
                    <a:pt x="607" y="645"/>
                  </a:lnTo>
                  <a:lnTo>
                    <a:pt x="607" y="643"/>
                  </a:lnTo>
                  <a:close/>
                  <a:moveTo>
                    <a:pt x="605" y="649"/>
                  </a:moveTo>
                  <a:lnTo>
                    <a:pt x="603" y="649"/>
                  </a:lnTo>
                  <a:lnTo>
                    <a:pt x="605" y="649"/>
                  </a:lnTo>
                  <a:close/>
                  <a:moveTo>
                    <a:pt x="35" y="451"/>
                  </a:moveTo>
                  <a:lnTo>
                    <a:pt x="35" y="453"/>
                  </a:lnTo>
                  <a:lnTo>
                    <a:pt x="33" y="453"/>
                  </a:lnTo>
                  <a:lnTo>
                    <a:pt x="33" y="451"/>
                  </a:lnTo>
                  <a:lnTo>
                    <a:pt x="35" y="451"/>
                  </a:lnTo>
                  <a:close/>
                  <a:moveTo>
                    <a:pt x="601" y="645"/>
                  </a:moveTo>
                  <a:lnTo>
                    <a:pt x="601" y="647"/>
                  </a:lnTo>
                  <a:lnTo>
                    <a:pt x="601" y="645"/>
                  </a:lnTo>
                  <a:close/>
                  <a:moveTo>
                    <a:pt x="31" y="478"/>
                  </a:moveTo>
                  <a:lnTo>
                    <a:pt x="29" y="478"/>
                  </a:lnTo>
                  <a:lnTo>
                    <a:pt x="31" y="478"/>
                  </a:lnTo>
                  <a:close/>
                  <a:moveTo>
                    <a:pt x="668" y="689"/>
                  </a:moveTo>
                  <a:lnTo>
                    <a:pt x="668" y="691"/>
                  </a:lnTo>
                  <a:lnTo>
                    <a:pt x="668" y="689"/>
                  </a:lnTo>
                  <a:close/>
                  <a:moveTo>
                    <a:pt x="33" y="484"/>
                  </a:moveTo>
                  <a:lnTo>
                    <a:pt x="33" y="486"/>
                  </a:lnTo>
                  <a:lnTo>
                    <a:pt x="33" y="484"/>
                  </a:lnTo>
                  <a:close/>
                  <a:moveTo>
                    <a:pt x="666" y="685"/>
                  </a:moveTo>
                  <a:lnTo>
                    <a:pt x="666" y="687"/>
                  </a:lnTo>
                  <a:lnTo>
                    <a:pt x="666" y="685"/>
                  </a:lnTo>
                  <a:close/>
                  <a:moveTo>
                    <a:pt x="662" y="683"/>
                  </a:moveTo>
                  <a:lnTo>
                    <a:pt x="662" y="682"/>
                  </a:lnTo>
                  <a:lnTo>
                    <a:pt x="662" y="683"/>
                  </a:lnTo>
                  <a:close/>
                  <a:moveTo>
                    <a:pt x="588" y="649"/>
                  </a:moveTo>
                  <a:lnTo>
                    <a:pt x="588" y="651"/>
                  </a:lnTo>
                  <a:lnTo>
                    <a:pt x="588" y="649"/>
                  </a:lnTo>
                  <a:close/>
                  <a:moveTo>
                    <a:pt x="40" y="478"/>
                  </a:moveTo>
                  <a:lnTo>
                    <a:pt x="38" y="478"/>
                  </a:lnTo>
                  <a:lnTo>
                    <a:pt x="40" y="478"/>
                  </a:lnTo>
                  <a:close/>
                  <a:moveTo>
                    <a:pt x="620" y="645"/>
                  </a:moveTo>
                  <a:lnTo>
                    <a:pt x="618" y="647"/>
                  </a:lnTo>
                  <a:lnTo>
                    <a:pt x="618" y="645"/>
                  </a:lnTo>
                  <a:lnTo>
                    <a:pt x="620" y="645"/>
                  </a:lnTo>
                  <a:close/>
                  <a:moveTo>
                    <a:pt x="664" y="687"/>
                  </a:moveTo>
                  <a:lnTo>
                    <a:pt x="664" y="685"/>
                  </a:lnTo>
                  <a:lnTo>
                    <a:pt x="664" y="687"/>
                  </a:lnTo>
                  <a:close/>
                  <a:moveTo>
                    <a:pt x="48" y="480"/>
                  </a:moveTo>
                  <a:lnTo>
                    <a:pt x="50" y="480"/>
                  </a:lnTo>
                  <a:lnTo>
                    <a:pt x="48" y="480"/>
                  </a:lnTo>
                  <a:close/>
                  <a:moveTo>
                    <a:pt x="545" y="662"/>
                  </a:moveTo>
                  <a:lnTo>
                    <a:pt x="545" y="660"/>
                  </a:lnTo>
                  <a:lnTo>
                    <a:pt x="545" y="662"/>
                  </a:lnTo>
                  <a:close/>
                  <a:moveTo>
                    <a:pt x="641" y="660"/>
                  </a:moveTo>
                  <a:lnTo>
                    <a:pt x="641" y="662"/>
                  </a:lnTo>
                  <a:lnTo>
                    <a:pt x="641" y="660"/>
                  </a:lnTo>
                  <a:lnTo>
                    <a:pt x="641" y="662"/>
                  </a:lnTo>
                  <a:lnTo>
                    <a:pt x="641" y="660"/>
                  </a:lnTo>
                  <a:close/>
                  <a:moveTo>
                    <a:pt x="582" y="641"/>
                  </a:moveTo>
                  <a:lnTo>
                    <a:pt x="582" y="643"/>
                  </a:lnTo>
                  <a:lnTo>
                    <a:pt x="582" y="641"/>
                  </a:lnTo>
                  <a:close/>
                  <a:moveTo>
                    <a:pt x="666" y="687"/>
                  </a:moveTo>
                  <a:lnTo>
                    <a:pt x="666" y="685"/>
                  </a:lnTo>
                  <a:lnTo>
                    <a:pt x="666" y="687"/>
                  </a:lnTo>
                  <a:close/>
                  <a:moveTo>
                    <a:pt x="914" y="635"/>
                  </a:moveTo>
                  <a:lnTo>
                    <a:pt x="912" y="635"/>
                  </a:lnTo>
                  <a:lnTo>
                    <a:pt x="914" y="635"/>
                  </a:lnTo>
                  <a:close/>
                  <a:moveTo>
                    <a:pt x="25" y="434"/>
                  </a:moveTo>
                  <a:lnTo>
                    <a:pt x="23" y="434"/>
                  </a:lnTo>
                  <a:lnTo>
                    <a:pt x="25" y="434"/>
                  </a:lnTo>
                  <a:close/>
                  <a:moveTo>
                    <a:pt x="591" y="643"/>
                  </a:moveTo>
                  <a:lnTo>
                    <a:pt x="590" y="643"/>
                  </a:lnTo>
                  <a:lnTo>
                    <a:pt x="591" y="643"/>
                  </a:lnTo>
                  <a:close/>
                  <a:moveTo>
                    <a:pt x="36" y="482"/>
                  </a:moveTo>
                  <a:lnTo>
                    <a:pt x="36" y="480"/>
                  </a:lnTo>
                  <a:lnTo>
                    <a:pt x="36" y="482"/>
                  </a:lnTo>
                  <a:lnTo>
                    <a:pt x="38" y="482"/>
                  </a:lnTo>
                  <a:lnTo>
                    <a:pt x="36" y="482"/>
                  </a:lnTo>
                  <a:close/>
                  <a:moveTo>
                    <a:pt x="376" y="524"/>
                  </a:moveTo>
                  <a:lnTo>
                    <a:pt x="374" y="524"/>
                  </a:lnTo>
                  <a:lnTo>
                    <a:pt x="376" y="524"/>
                  </a:lnTo>
                  <a:close/>
                  <a:moveTo>
                    <a:pt x="655" y="678"/>
                  </a:moveTo>
                  <a:lnTo>
                    <a:pt x="657" y="678"/>
                  </a:lnTo>
                  <a:lnTo>
                    <a:pt x="655" y="678"/>
                  </a:lnTo>
                  <a:lnTo>
                    <a:pt x="657" y="678"/>
                  </a:lnTo>
                  <a:lnTo>
                    <a:pt x="655" y="678"/>
                  </a:lnTo>
                  <a:close/>
                  <a:moveTo>
                    <a:pt x="15" y="465"/>
                  </a:moveTo>
                  <a:lnTo>
                    <a:pt x="13" y="465"/>
                  </a:lnTo>
                  <a:lnTo>
                    <a:pt x="15" y="465"/>
                  </a:lnTo>
                  <a:close/>
                  <a:moveTo>
                    <a:pt x="27" y="474"/>
                  </a:moveTo>
                  <a:lnTo>
                    <a:pt x="27" y="476"/>
                  </a:lnTo>
                  <a:lnTo>
                    <a:pt x="27" y="474"/>
                  </a:lnTo>
                  <a:close/>
                  <a:moveTo>
                    <a:pt x="313" y="503"/>
                  </a:moveTo>
                  <a:lnTo>
                    <a:pt x="313" y="501"/>
                  </a:lnTo>
                  <a:lnTo>
                    <a:pt x="313" y="503"/>
                  </a:lnTo>
                  <a:close/>
                  <a:moveTo>
                    <a:pt x="23" y="453"/>
                  </a:moveTo>
                  <a:lnTo>
                    <a:pt x="23" y="455"/>
                  </a:lnTo>
                  <a:lnTo>
                    <a:pt x="23" y="453"/>
                  </a:lnTo>
                  <a:lnTo>
                    <a:pt x="23" y="455"/>
                  </a:lnTo>
                  <a:lnTo>
                    <a:pt x="23" y="453"/>
                  </a:lnTo>
                  <a:close/>
                  <a:moveTo>
                    <a:pt x="27" y="434"/>
                  </a:moveTo>
                  <a:lnTo>
                    <a:pt x="27" y="436"/>
                  </a:lnTo>
                  <a:lnTo>
                    <a:pt x="25" y="436"/>
                  </a:lnTo>
                  <a:lnTo>
                    <a:pt x="25" y="434"/>
                  </a:lnTo>
                  <a:lnTo>
                    <a:pt x="25" y="436"/>
                  </a:lnTo>
                  <a:lnTo>
                    <a:pt x="25" y="434"/>
                  </a:lnTo>
                  <a:lnTo>
                    <a:pt x="27" y="434"/>
                  </a:lnTo>
                  <a:close/>
                  <a:moveTo>
                    <a:pt x="914" y="637"/>
                  </a:moveTo>
                  <a:lnTo>
                    <a:pt x="912" y="637"/>
                  </a:lnTo>
                  <a:lnTo>
                    <a:pt x="914" y="637"/>
                  </a:lnTo>
                  <a:close/>
                  <a:moveTo>
                    <a:pt x="899" y="643"/>
                  </a:moveTo>
                  <a:lnTo>
                    <a:pt x="899" y="645"/>
                  </a:lnTo>
                  <a:lnTo>
                    <a:pt x="899" y="643"/>
                  </a:lnTo>
                  <a:lnTo>
                    <a:pt x="899" y="645"/>
                  </a:lnTo>
                  <a:lnTo>
                    <a:pt x="899" y="643"/>
                  </a:lnTo>
                  <a:close/>
                  <a:moveTo>
                    <a:pt x="591" y="655"/>
                  </a:moveTo>
                  <a:lnTo>
                    <a:pt x="590" y="655"/>
                  </a:lnTo>
                  <a:lnTo>
                    <a:pt x="591" y="655"/>
                  </a:lnTo>
                  <a:close/>
                  <a:moveTo>
                    <a:pt x="553" y="641"/>
                  </a:moveTo>
                  <a:lnTo>
                    <a:pt x="553" y="639"/>
                  </a:lnTo>
                  <a:lnTo>
                    <a:pt x="553" y="641"/>
                  </a:lnTo>
                  <a:close/>
                  <a:moveTo>
                    <a:pt x="858" y="699"/>
                  </a:moveTo>
                  <a:lnTo>
                    <a:pt x="858" y="701"/>
                  </a:lnTo>
                  <a:lnTo>
                    <a:pt x="856" y="701"/>
                  </a:lnTo>
                  <a:lnTo>
                    <a:pt x="856" y="699"/>
                  </a:lnTo>
                  <a:lnTo>
                    <a:pt x="858" y="699"/>
                  </a:lnTo>
                  <a:close/>
                  <a:moveTo>
                    <a:pt x="317" y="497"/>
                  </a:moveTo>
                  <a:lnTo>
                    <a:pt x="319" y="497"/>
                  </a:lnTo>
                  <a:lnTo>
                    <a:pt x="317" y="497"/>
                  </a:lnTo>
                  <a:close/>
                  <a:moveTo>
                    <a:pt x="4" y="449"/>
                  </a:moveTo>
                  <a:lnTo>
                    <a:pt x="2" y="449"/>
                  </a:lnTo>
                  <a:lnTo>
                    <a:pt x="4" y="449"/>
                  </a:lnTo>
                  <a:close/>
                  <a:moveTo>
                    <a:pt x="48" y="480"/>
                  </a:moveTo>
                  <a:lnTo>
                    <a:pt x="48" y="478"/>
                  </a:lnTo>
                  <a:lnTo>
                    <a:pt x="48" y="480"/>
                  </a:lnTo>
                  <a:close/>
                  <a:moveTo>
                    <a:pt x="40" y="480"/>
                  </a:moveTo>
                  <a:lnTo>
                    <a:pt x="42" y="480"/>
                  </a:lnTo>
                  <a:lnTo>
                    <a:pt x="40" y="480"/>
                  </a:lnTo>
                  <a:close/>
                  <a:moveTo>
                    <a:pt x="35" y="447"/>
                  </a:moveTo>
                  <a:lnTo>
                    <a:pt x="35" y="449"/>
                  </a:lnTo>
                  <a:lnTo>
                    <a:pt x="33" y="449"/>
                  </a:lnTo>
                  <a:lnTo>
                    <a:pt x="33" y="447"/>
                  </a:lnTo>
                  <a:lnTo>
                    <a:pt x="35" y="447"/>
                  </a:lnTo>
                  <a:close/>
                  <a:moveTo>
                    <a:pt x="15" y="459"/>
                  </a:moveTo>
                  <a:lnTo>
                    <a:pt x="15" y="457"/>
                  </a:lnTo>
                  <a:lnTo>
                    <a:pt x="17" y="457"/>
                  </a:lnTo>
                  <a:lnTo>
                    <a:pt x="15" y="459"/>
                  </a:lnTo>
                  <a:close/>
                  <a:moveTo>
                    <a:pt x="27" y="480"/>
                  </a:moveTo>
                  <a:lnTo>
                    <a:pt x="25" y="480"/>
                  </a:lnTo>
                  <a:lnTo>
                    <a:pt x="27" y="480"/>
                  </a:lnTo>
                  <a:close/>
                  <a:moveTo>
                    <a:pt x="445" y="578"/>
                  </a:moveTo>
                  <a:lnTo>
                    <a:pt x="444" y="578"/>
                  </a:lnTo>
                  <a:lnTo>
                    <a:pt x="445" y="578"/>
                  </a:lnTo>
                  <a:close/>
                  <a:moveTo>
                    <a:pt x="12" y="463"/>
                  </a:moveTo>
                  <a:lnTo>
                    <a:pt x="12" y="465"/>
                  </a:lnTo>
                  <a:lnTo>
                    <a:pt x="12" y="463"/>
                  </a:lnTo>
                  <a:close/>
                  <a:moveTo>
                    <a:pt x="559" y="906"/>
                  </a:moveTo>
                  <a:lnTo>
                    <a:pt x="559" y="904"/>
                  </a:lnTo>
                  <a:lnTo>
                    <a:pt x="559" y="906"/>
                  </a:lnTo>
                  <a:close/>
                  <a:moveTo>
                    <a:pt x="684" y="852"/>
                  </a:moveTo>
                  <a:lnTo>
                    <a:pt x="686" y="852"/>
                  </a:lnTo>
                  <a:lnTo>
                    <a:pt x="684" y="852"/>
                  </a:lnTo>
                  <a:lnTo>
                    <a:pt x="686" y="852"/>
                  </a:lnTo>
                  <a:lnTo>
                    <a:pt x="684" y="852"/>
                  </a:lnTo>
                  <a:lnTo>
                    <a:pt x="686" y="852"/>
                  </a:lnTo>
                  <a:lnTo>
                    <a:pt x="684" y="852"/>
                  </a:lnTo>
                  <a:close/>
                  <a:moveTo>
                    <a:pt x="522" y="645"/>
                  </a:moveTo>
                  <a:lnTo>
                    <a:pt x="520" y="645"/>
                  </a:lnTo>
                  <a:lnTo>
                    <a:pt x="522" y="645"/>
                  </a:lnTo>
                  <a:close/>
                  <a:moveTo>
                    <a:pt x="584" y="643"/>
                  </a:moveTo>
                  <a:lnTo>
                    <a:pt x="586" y="643"/>
                  </a:lnTo>
                  <a:lnTo>
                    <a:pt x="584" y="643"/>
                  </a:lnTo>
                  <a:close/>
                  <a:moveTo>
                    <a:pt x="35" y="478"/>
                  </a:moveTo>
                  <a:lnTo>
                    <a:pt x="33" y="478"/>
                  </a:lnTo>
                  <a:lnTo>
                    <a:pt x="35" y="478"/>
                  </a:lnTo>
                  <a:close/>
                  <a:moveTo>
                    <a:pt x="40" y="482"/>
                  </a:moveTo>
                  <a:lnTo>
                    <a:pt x="38" y="482"/>
                  </a:lnTo>
                  <a:lnTo>
                    <a:pt x="40" y="482"/>
                  </a:lnTo>
                  <a:close/>
                  <a:moveTo>
                    <a:pt x="591" y="657"/>
                  </a:moveTo>
                  <a:lnTo>
                    <a:pt x="591" y="655"/>
                  </a:lnTo>
                  <a:lnTo>
                    <a:pt x="591" y="657"/>
                  </a:lnTo>
                  <a:close/>
                  <a:moveTo>
                    <a:pt x="21" y="478"/>
                  </a:moveTo>
                  <a:lnTo>
                    <a:pt x="23" y="478"/>
                  </a:lnTo>
                  <a:lnTo>
                    <a:pt x="21" y="478"/>
                  </a:lnTo>
                  <a:close/>
                  <a:moveTo>
                    <a:pt x="44" y="470"/>
                  </a:moveTo>
                  <a:lnTo>
                    <a:pt x="44" y="468"/>
                  </a:lnTo>
                  <a:lnTo>
                    <a:pt x="44" y="470"/>
                  </a:lnTo>
                  <a:close/>
                  <a:moveTo>
                    <a:pt x="643" y="662"/>
                  </a:moveTo>
                  <a:lnTo>
                    <a:pt x="641" y="662"/>
                  </a:lnTo>
                  <a:lnTo>
                    <a:pt x="643" y="662"/>
                  </a:lnTo>
                  <a:close/>
                  <a:moveTo>
                    <a:pt x="655" y="680"/>
                  </a:moveTo>
                  <a:lnTo>
                    <a:pt x="655" y="682"/>
                  </a:lnTo>
                  <a:lnTo>
                    <a:pt x="657" y="682"/>
                  </a:lnTo>
                  <a:lnTo>
                    <a:pt x="655" y="682"/>
                  </a:lnTo>
                  <a:lnTo>
                    <a:pt x="655" y="680"/>
                  </a:lnTo>
                  <a:close/>
                  <a:moveTo>
                    <a:pt x="31" y="451"/>
                  </a:moveTo>
                  <a:lnTo>
                    <a:pt x="31" y="453"/>
                  </a:lnTo>
                  <a:lnTo>
                    <a:pt x="31" y="451"/>
                  </a:lnTo>
                  <a:close/>
                  <a:moveTo>
                    <a:pt x="48" y="480"/>
                  </a:moveTo>
                  <a:lnTo>
                    <a:pt x="48" y="482"/>
                  </a:lnTo>
                  <a:lnTo>
                    <a:pt x="48" y="480"/>
                  </a:lnTo>
                  <a:close/>
                  <a:moveTo>
                    <a:pt x="593" y="645"/>
                  </a:moveTo>
                  <a:lnTo>
                    <a:pt x="593" y="647"/>
                  </a:lnTo>
                  <a:lnTo>
                    <a:pt x="593" y="645"/>
                  </a:lnTo>
                  <a:close/>
                  <a:moveTo>
                    <a:pt x="603" y="647"/>
                  </a:moveTo>
                  <a:lnTo>
                    <a:pt x="601" y="647"/>
                  </a:lnTo>
                  <a:lnTo>
                    <a:pt x="603" y="647"/>
                  </a:lnTo>
                  <a:close/>
                  <a:moveTo>
                    <a:pt x="31" y="453"/>
                  </a:moveTo>
                  <a:lnTo>
                    <a:pt x="31" y="455"/>
                  </a:lnTo>
                  <a:lnTo>
                    <a:pt x="31" y="453"/>
                  </a:lnTo>
                  <a:lnTo>
                    <a:pt x="29" y="453"/>
                  </a:lnTo>
                  <a:lnTo>
                    <a:pt x="31" y="453"/>
                  </a:lnTo>
                  <a:close/>
                  <a:moveTo>
                    <a:pt x="40" y="480"/>
                  </a:moveTo>
                  <a:lnTo>
                    <a:pt x="42" y="480"/>
                  </a:lnTo>
                  <a:lnTo>
                    <a:pt x="40" y="480"/>
                  </a:lnTo>
                  <a:close/>
                  <a:moveTo>
                    <a:pt x="614" y="647"/>
                  </a:moveTo>
                  <a:lnTo>
                    <a:pt x="614" y="645"/>
                  </a:lnTo>
                  <a:lnTo>
                    <a:pt x="614" y="647"/>
                  </a:lnTo>
                  <a:close/>
                  <a:moveTo>
                    <a:pt x="15" y="465"/>
                  </a:moveTo>
                  <a:lnTo>
                    <a:pt x="15" y="467"/>
                  </a:lnTo>
                  <a:lnTo>
                    <a:pt x="13" y="467"/>
                  </a:lnTo>
                  <a:lnTo>
                    <a:pt x="13" y="465"/>
                  </a:lnTo>
                  <a:lnTo>
                    <a:pt x="15" y="465"/>
                  </a:lnTo>
                  <a:close/>
                  <a:moveTo>
                    <a:pt x="280" y="518"/>
                  </a:moveTo>
                  <a:lnTo>
                    <a:pt x="280" y="516"/>
                  </a:lnTo>
                  <a:lnTo>
                    <a:pt x="282" y="516"/>
                  </a:lnTo>
                  <a:lnTo>
                    <a:pt x="280" y="518"/>
                  </a:lnTo>
                  <a:close/>
                  <a:moveTo>
                    <a:pt x="21" y="470"/>
                  </a:moveTo>
                  <a:lnTo>
                    <a:pt x="21" y="468"/>
                  </a:lnTo>
                  <a:lnTo>
                    <a:pt x="21" y="470"/>
                  </a:lnTo>
                  <a:close/>
                  <a:moveTo>
                    <a:pt x="29" y="445"/>
                  </a:moveTo>
                  <a:lnTo>
                    <a:pt x="29" y="443"/>
                  </a:lnTo>
                  <a:lnTo>
                    <a:pt x="29" y="445"/>
                  </a:lnTo>
                  <a:close/>
                  <a:moveTo>
                    <a:pt x="31" y="445"/>
                  </a:moveTo>
                  <a:lnTo>
                    <a:pt x="29" y="445"/>
                  </a:lnTo>
                  <a:lnTo>
                    <a:pt x="31" y="445"/>
                  </a:lnTo>
                  <a:close/>
                  <a:moveTo>
                    <a:pt x="624" y="645"/>
                  </a:moveTo>
                  <a:lnTo>
                    <a:pt x="622" y="645"/>
                  </a:lnTo>
                  <a:lnTo>
                    <a:pt x="624" y="645"/>
                  </a:lnTo>
                  <a:close/>
                  <a:moveTo>
                    <a:pt x="553" y="641"/>
                  </a:moveTo>
                  <a:lnTo>
                    <a:pt x="553" y="639"/>
                  </a:lnTo>
                  <a:lnTo>
                    <a:pt x="553" y="641"/>
                  </a:lnTo>
                  <a:close/>
                  <a:moveTo>
                    <a:pt x="605" y="645"/>
                  </a:moveTo>
                  <a:lnTo>
                    <a:pt x="605" y="647"/>
                  </a:lnTo>
                  <a:lnTo>
                    <a:pt x="605" y="645"/>
                  </a:lnTo>
                  <a:close/>
                  <a:moveTo>
                    <a:pt x="17" y="447"/>
                  </a:moveTo>
                  <a:lnTo>
                    <a:pt x="19" y="447"/>
                  </a:lnTo>
                  <a:lnTo>
                    <a:pt x="17" y="447"/>
                  </a:lnTo>
                  <a:close/>
                  <a:moveTo>
                    <a:pt x="808" y="728"/>
                  </a:moveTo>
                  <a:lnTo>
                    <a:pt x="808" y="726"/>
                  </a:lnTo>
                  <a:lnTo>
                    <a:pt x="808" y="728"/>
                  </a:lnTo>
                  <a:lnTo>
                    <a:pt x="808" y="726"/>
                  </a:lnTo>
                  <a:lnTo>
                    <a:pt x="808" y="728"/>
                  </a:lnTo>
                  <a:close/>
                  <a:moveTo>
                    <a:pt x="563" y="651"/>
                  </a:moveTo>
                  <a:lnTo>
                    <a:pt x="563" y="649"/>
                  </a:lnTo>
                  <a:lnTo>
                    <a:pt x="563" y="651"/>
                  </a:lnTo>
                  <a:close/>
                  <a:moveTo>
                    <a:pt x="591" y="645"/>
                  </a:moveTo>
                  <a:lnTo>
                    <a:pt x="593" y="645"/>
                  </a:lnTo>
                  <a:lnTo>
                    <a:pt x="591" y="645"/>
                  </a:lnTo>
                  <a:close/>
                  <a:moveTo>
                    <a:pt x="40" y="461"/>
                  </a:moveTo>
                  <a:lnTo>
                    <a:pt x="40" y="463"/>
                  </a:lnTo>
                  <a:lnTo>
                    <a:pt x="40" y="461"/>
                  </a:lnTo>
                  <a:close/>
                  <a:moveTo>
                    <a:pt x="33" y="449"/>
                  </a:moveTo>
                  <a:lnTo>
                    <a:pt x="33" y="447"/>
                  </a:lnTo>
                  <a:lnTo>
                    <a:pt x="33" y="449"/>
                  </a:lnTo>
                  <a:close/>
                  <a:moveTo>
                    <a:pt x="35" y="451"/>
                  </a:moveTo>
                  <a:lnTo>
                    <a:pt x="35" y="449"/>
                  </a:lnTo>
                  <a:lnTo>
                    <a:pt x="35" y="451"/>
                  </a:lnTo>
                  <a:lnTo>
                    <a:pt x="36" y="451"/>
                  </a:lnTo>
                  <a:lnTo>
                    <a:pt x="35" y="451"/>
                  </a:lnTo>
                  <a:close/>
                  <a:moveTo>
                    <a:pt x="616" y="645"/>
                  </a:moveTo>
                  <a:lnTo>
                    <a:pt x="616" y="647"/>
                  </a:lnTo>
                  <a:lnTo>
                    <a:pt x="616" y="645"/>
                  </a:lnTo>
                  <a:lnTo>
                    <a:pt x="618" y="645"/>
                  </a:lnTo>
                  <a:lnTo>
                    <a:pt x="616" y="645"/>
                  </a:lnTo>
                  <a:close/>
                  <a:moveTo>
                    <a:pt x="13" y="453"/>
                  </a:moveTo>
                  <a:lnTo>
                    <a:pt x="13" y="451"/>
                  </a:lnTo>
                  <a:lnTo>
                    <a:pt x="13" y="453"/>
                  </a:lnTo>
                  <a:close/>
                  <a:moveTo>
                    <a:pt x="44" y="465"/>
                  </a:moveTo>
                  <a:lnTo>
                    <a:pt x="42" y="465"/>
                  </a:lnTo>
                  <a:lnTo>
                    <a:pt x="44" y="465"/>
                  </a:lnTo>
                  <a:close/>
                  <a:moveTo>
                    <a:pt x="695" y="852"/>
                  </a:moveTo>
                  <a:lnTo>
                    <a:pt x="695" y="850"/>
                  </a:lnTo>
                  <a:lnTo>
                    <a:pt x="695" y="852"/>
                  </a:lnTo>
                  <a:lnTo>
                    <a:pt x="695" y="850"/>
                  </a:lnTo>
                  <a:lnTo>
                    <a:pt x="695" y="852"/>
                  </a:lnTo>
                  <a:close/>
                  <a:moveTo>
                    <a:pt x="668" y="691"/>
                  </a:moveTo>
                  <a:lnTo>
                    <a:pt x="666" y="691"/>
                  </a:lnTo>
                  <a:lnTo>
                    <a:pt x="668" y="691"/>
                  </a:lnTo>
                  <a:close/>
                  <a:moveTo>
                    <a:pt x="666" y="689"/>
                  </a:moveTo>
                  <a:lnTo>
                    <a:pt x="666" y="691"/>
                  </a:lnTo>
                  <a:lnTo>
                    <a:pt x="666" y="689"/>
                  </a:lnTo>
                  <a:close/>
                  <a:moveTo>
                    <a:pt x="574" y="643"/>
                  </a:moveTo>
                  <a:lnTo>
                    <a:pt x="572" y="643"/>
                  </a:lnTo>
                  <a:lnTo>
                    <a:pt x="574" y="643"/>
                  </a:lnTo>
                  <a:close/>
                  <a:moveTo>
                    <a:pt x="866" y="691"/>
                  </a:moveTo>
                  <a:lnTo>
                    <a:pt x="864" y="691"/>
                  </a:lnTo>
                  <a:lnTo>
                    <a:pt x="866" y="691"/>
                  </a:lnTo>
                  <a:close/>
                  <a:moveTo>
                    <a:pt x="277" y="526"/>
                  </a:moveTo>
                  <a:lnTo>
                    <a:pt x="277" y="524"/>
                  </a:lnTo>
                  <a:lnTo>
                    <a:pt x="277" y="526"/>
                  </a:lnTo>
                  <a:close/>
                  <a:moveTo>
                    <a:pt x="549" y="641"/>
                  </a:moveTo>
                  <a:lnTo>
                    <a:pt x="547" y="641"/>
                  </a:lnTo>
                  <a:lnTo>
                    <a:pt x="549" y="641"/>
                  </a:lnTo>
                  <a:close/>
                  <a:moveTo>
                    <a:pt x="21" y="449"/>
                  </a:moveTo>
                  <a:lnTo>
                    <a:pt x="23" y="449"/>
                  </a:lnTo>
                  <a:lnTo>
                    <a:pt x="21" y="449"/>
                  </a:lnTo>
                  <a:close/>
                  <a:moveTo>
                    <a:pt x="46" y="468"/>
                  </a:moveTo>
                  <a:lnTo>
                    <a:pt x="46" y="470"/>
                  </a:lnTo>
                  <a:lnTo>
                    <a:pt x="46" y="468"/>
                  </a:lnTo>
                  <a:close/>
                  <a:moveTo>
                    <a:pt x="662" y="685"/>
                  </a:moveTo>
                  <a:lnTo>
                    <a:pt x="664" y="685"/>
                  </a:lnTo>
                  <a:lnTo>
                    <a:pt x="662" y="685"/>
                  </a:lnTo>
                  <a:close/>
                  <a:moveTo>
                    <a:pt x="373" y="518"/>
                  </a:moveTo>
                  <a:lnTo>
                    <a:pt x="373" y="516"/>
                  </a:lnTo>
                  <a:lnTo>
                    <a:pt x="373" y="518"/>
                  </a:lnTo>
                  <a:close/>
                  <a:moveTo>
                    <a:pt x="35" y="478"/>
                  </a:moveTo>
                  <a:lnTo>
                    <a:pt x="33" y="478"/>
                  </a:lnTo>
                  <a:lnTo>
                    <a:pt x="35" y="478"/>
                  </a:lnTo>
                  <a:close/>
                  <a:moveTo>
                    <a:pt x="609" y="645"/>
                  </a:moveTo>
                  <a:lnTo>
                    <a:pt x="609" y="647"/>
                  </a:lnTo>
                  <a:lnTo>
                    <a:pt x="609" y="645"/>
                  </a:lnTo>
                  <a:close/>
                  <a:moveTo>
                    <a:pt x="46" y="474"/>
                  </a:moveTo>
                  <a:lnTo>
                    <a:pt x="44" y="474"/>
                  </a:lnTo>
                  <a:lnTo>
                    <a:pt x="46" y="474"/>
                  </a:lnTo>
                  <a:close/>
                  <a:moveTo>
                    <a:pt x="27" y="453"/>
                  </a:moveTo>
                  <a:lnTo>
                    <a:pt x="29" y="453"/>
                  </a:lnTo>
                  <a:lnTo>
                    <a:pt x="27" y="453"/>
                  </a:lnTo>
                  <a:close/>
                  <a:moveTo>
                    <a:pt x="862" y="697"/>
                  </a:moveTo>
                  <a:lnTo>
                    <a:pt x="860" y="697"/>
                  </a:lnTo>
                  <a:lnTo>
                    <a:pt x="862" y="697"/>
                  </a:lnTo>
                  <a:lnTo>
                    <a:pt x="860" y="697"/>
                  </a:lnTo>
                  <a:lnTo>
                    <a:pt x="862" y="697"/>
                  </a:lnTo>
                  <a:close/>
                  <a:moveTo>
                    <a:pt x="296" y="509"/>
                  </a:moveTo>
                  <a:lnTo>
                    <a:pt x="296" y="507"/>
                  </a:lnTo>
                  <a:lnTo>
                    <a:pt x="296" y="509"/>
                  </a:lnTo>
                  <a:close/>
                  <a:moveTo>
                    <a:pt x="6" y="451"/>
                  </a:moveTo>
                  <a:lnTo>
                    <a:pt x="6" y="453"/>
                  </a:lnTo>
                  <a:lnTo>
                    <a:pt x="6" y="451"/>
                  </a:lnTo>
                  <a:lnTo>
                    <a:pt x="6" y="453"/>
                  </a:lnTo>
                  <a:lnTo>
                    <a:pt x="6" y="451"/>
                  </a:lnTo>
                  <a:close/>
                  <a:moveTo>
                    <a:pt x="31" y="478"/>
                  </a:moveTo>
                  <a:lnTo>
                    <a:pt x="31" y="480"/>
                  </a:lnTo>
                  <a:lnTo>
                    <a:pt x="31" y="478"/>
                  </a:lnTo>
                  <a:lnTo>
                    <a:pt x="31" y="480"/>
                  </a:lnTo>
                  <a:lnTo>
                    <a:pt x="31" y="478"/>
                  </a:lnTo>
                  <a:close/>
                  <a:moveTo>
                    <a:pt x="666" y="680"/>
                  </a:moveTo>
                  <a:lnTo>
                    <a:pt x="664" y="680"/>
                  </a:lnTo>
                  <a:lnTo>
                    <a:pt x="666" y="680"/>
                  </a:lnTo>
                  <a:close/>
                  <a:moveTo>
                    <a:pt x="628" y="647"/>
                  </a:moveTo>
                  <a:lnTo>
                    <a:pt x="628" y="645"/>
                  </a:lnTo>
                  <a:lnTo>
                    <a:pt x="628" y="647"/>
                  </a:lnTo>
                  <a:close/>
                  <a:moveTo>
                    <a:pt x="638" y="657"/>
                  </a:moveTo>
                  <a:lnTo>
                    <a:pt x="638" y="659"/>
                  </a:lnTo>
                  <a:lnTo>
                    <a:pt x="636" y="657"/>
                  </a:lnTo>
                  <a:lnTo>
                    <a:pt x="638" y="657"/>
                  </a:lnTo>
                  <a:close/>
                  <a:moveTo>
                    <a:pt x="31" y="486"/>
                  </a:moveTo>
                  <a:lnTo>
                    <a:pt x="31" y="484"/>
                  </a:lnTo>
                  <a:lnTo>
                    <a:pt x="31" y="486"/>
                  </a:lnTo>
                  <a:close/>
                  <a:moveTo>
                    <a:pt x="33" y="447"/>
                  </a:moveTo>
                  <a:lnTo>
                    <a:pt x="31" y="447"/>
                  </a:lnTo>
                  <a:lnTo>
                    <a:pt x="33" y="447"/>
                  </a:lnTo>
                  <a:close/>
                  <a:moveTo>
                    <a:pt x="588" y="877"/>
                  </a:moveTo>
                  <a:lnTo>
                    <a:pt x="590" y="877"/>
                  </a:lnTo>
                  <a:lnTo>
                    <a:pt x="588" y="877"/>
                  </a:lnTo>
                  <a:close/>
                  <a:moveTo>
                    <a:pt x="33" y="474"/>
                  </a:moveTo>
                  <a:lnTo>
                    <a:pt x="31" y="474"/>
                  </a:lnTo>
                  <a:lnTo>
                    <a:pt x="33" y="474"/>
                  </a:lnTo>
                  <a:close/>
                  <a:moveTo>
                    <a:pt x="568" y="643"/>
                  </a:moveTo>
                  <a:lnTo>
                    <a:pt x="566" y="643"/>
                  </a:lnTo>
                  <a:lnTo>
                    <a:pt x="568" y="643"/>
                  </a:lnTo>
                  <a:close/>
                  <a:moveTo>
                    <a:pt x="38" y="459"/>
                  </a:moveTo>
                  <a:lnTo>
                    <a:pt x="38" y="457"/>
                  </a:lnTo>
                  <a:lnTo>
                    <a:pt x="38" y="459"/>
                  </a:lnTo>
                  <a:close/>
                  <a:moveTo>
                    <a:pt x="645" y="664"/>
                  </a:moveTo>
                  <a:lnTo>
                    <a:pt x="645" y="666"/>
                  </a:lnTo>
                  <a:lnTo>
                    <a:pt x="645" y="664"/>
                  </a:lnTo>
                  <a:close/>
                  <a:moveTo>
                    <a:pt x="672" y="693"/>
                  </a:moveTo>
                  <a:lnTo>
                    <a:pt x="672" y="695"/>
                  </a:lnTo>
                  <a:lnTo>
                    <a:pt x="672" y="693"/>
                  </a:lnTo>
                  <a:close/>
                  <a:moveTo>
                    <a:pt x="48" y="480"/>
                  </a:moveTo>
                  <a:lnTo>
                    <a:pt x="46" y="480"/>
                  </a:lnTo>
                  <a:lnTo>
                    <a:pt x="48" y="480"/>
                  </a:lnTo>
                  <a:close/>
                  <a:moveTo>
                    <a:pt x="38" y="478"/>
                  </a:moveTo>
                  <a:lnTo>
                    <a:pt x="38" y="480"/>
                  </a:lnTo>
                  <a:lnTo>
                    <a:pt x="38" y="478"/>
                  </a:lnTo>
                  <a:close/>
                  <a:moveTo>
                    <a:pt x="574" y="647"/>
                  </a:moveTo>
                  <a:lnTo>
                    <a:pt x="574" y="649"/>
                  </a:lnTo>
                  <a:lnTo>
                    <a:pt x="574" y="647"/>
                  </a:lnTo>
                  <a:close/>
                  <a:moveTo>
                    <a:pt x="879" y="666"/>
                  </a:moveTo>
                  <a:lnTo>
                    <a:pt x="879" y="664"/>
                  </a:lnTo>
                  <a:lnTo>
                    <a:pt x="879" y="666"/>
                  </a:lnTo>
                  <a:close/>
                  <a:moveTo>
                    <a:pt x="684" y="847"/>
                  </a:moveTo>
                  <a:lnTo>
                    <a:pt x="684" y="849"/>
                  </a:lnTo>
                  <a:lnTo>
                    <a:pt x="684" y="847"/>
                  </a:lnTo>
                  <a:lnTo>
                    <a:pt x="684" y="849"/>
                  </a:lnTo>
                  <a:lnTo>
                    <a:pt x="684" y="847"/>
                  </a:lnTo>
                  <a:close/>
                  <a:moveTo>
                    <a:pt x="42" y="480"/>
                  </a:moveTo>
                  <a:lnTo>
                    <a:pt x="42" y="482"/>
                  </a:lnTo>
                  <a:lnTo>
                    <a:pt x="42" y="480"/>
                  </a:lnTo>
                  <a:close/>
                  <a:moveTo>
                    <a:pt x="29" y="440"/>
                  </a:moveTo>
                  <a:lnTo>
                    <a:pt x="29" y="442"/>
                  </a:lnTo>
                  <a:lnTo>
                    <a:pt x="29" y="440"/>
                  </a:lnTo>
                  <a:close/>
                  <a:moveTo>
                    <a:pt x="440" y="576"/>
                  </a:moveTo>
                  <a:lnTo>
                    <a:pt x="440" y="574"/>
                  </a:lnTo>
                  <a:lnTo>
                    <a:pt x="440" y="576"/>
                  </a:lnTo>
                  <a:close/>
                  <a:moveTo>
                    <a:pt x="8" y="465"/>
                  </a:moveTo>
                  <a:lnTo>
                    <a:pt x="10" y="465"/>
                  </a:lnTo>
                  <a:lnTo>
                    <a:pt x="8" y="465"/>
                  </a:lnTo>
                  <a:close/>
                  <a:moveTo>
                    <a:pt x="580" y="641"/>
                  </a:moveTo>
                  <a:lnTo>
                    <a:pt x="578" y="641"/>
                  </a:lnTo>
                  <a:lnTo>
                    <a:pt x="580" y="641"/>
                  </a:lnTo>
                  <a:close/>
                  <a:moveTo>
                    <a:pt x="584" y="862"/>
                  </a:moveTo>
                  <a:lnTo>
                    <a:pt x="582" y="862"/>
                  </a:lnTo>
                  <a:lnTo>
                    <a:pt x="584" y="862"/>
                  </a:lnTo>
                  <a:close/>
                  <a:moveTo>
                    <a:pt x="29" y="453"/>
                  </a:moveTo>
                  <a:lnTo>
                    <a:pt x="29" y="455"/>
                  </a:lnTo>
                  <a:lnTo>
                    <a:pt x="29" y="453"/>
                  </a:lnTo>
                  <a:close/>
                  <a:moveTo>
                    <a:pt x="680" y="701"/>
                  </a:moveTo>
                  <a:lnTo>
                    <a:pt x="680" y="703"/>
                  </a:lnTo>
                  <a:lnTo>
                    <a:pt x="680" y="701"/>
                  </a:lnTo>
                  <a:close/>
                  <a:moveTo>
                    <a:pt x="27" y="451"/>
                  </a:moveTo>
                  <a:lnTo>
                    <a:pt x="25" y="451"/>
                  </a:lnTo>
                  <a:lnTo>
                    <a:pt x="27" y="451"/>
                  </a:lnTo>
                  <a:close/>
                  <a:moveTo>
                    <a:pt x="40" y="480"/>
                  </a:moveTo>
                  <a:lnTo>
                    <a:pt x="38" y="480"/>
                  </a:lnTo>
                  <a:lnTo>
                    <a:pt x="40" y="480"/>
                  </a:lnTo>
                  <a:close/>
                  <a:moveTo>
                    <a:pt x="545" y="643"/>
                  </a:moveTo>
                  <a:lnTo>
                    <a:pt x="547" y="643"/>
                  </a:lnTo>
                  <a:lnTo>
                    <a:pt x="545" y="643"/>
                  </a:lnTo>
                  <a:close/>
                  <a:moveTo>
                    <a:pt x="590" y="881"/>
                  </a:moveTo>
                  <a:lnTo>
                    <a:pt x="590" y="879"/>
                  </a:lnTo>
                  <a:lnTo>
                    <a:pt x="590" y="881"/>
                  </a:lnTo>
                  <a:close/>
                  <a:moveTo>
                    <a:pt x="574" y="649"/>
                  </a:moveTo>
                  <a:lnTo>
                    <a:pt x="574" y="647"/>
                  </a:lnTo>
                  <a:lnTo>
                    <a:pt x="574" y="649"/>
                  </a:lnTo>
                  <a:close/>
                  <a:moveTo>
                    <a:pt x="282" y="520"/>
                  </a:moveTo>
                  <a:lnTo>
                    <a:pt x="282" y="518"/>
                  </a:lnTo>
                  <a:lnTo>
                    <a:pt x="282" y="520"/>
                  </a:lnTo>
                  <a:close/>
                  <a:moveTo>
                    <a:pt x="23" y="428"/>
                  </a:moveTo>
                  <a:lnTo>
                    <a:pt x="23" y="430"/>
                  </a:lnTo>
                  <a:lnTo>
                    <a:pt x="23" y="428"/>
                  </a:lnTo>
                  <a:close/>
                  <a:moveTo>
                    <a:pt x="36" y="463"/>
                  </a:moveTo>
                  <a:lnTo>
                    <a:pt x="36" y="465"/>
                  </a:lnTo>
                  <a:lnTo>
                    <a:pt x="36" y="463"/>
                  </a:lnTo>
                  <a:close/>
                  <a:moveTo>
                    <a:pt x="591" y="643"/>
                  </a:moveTo>
                  <a:lnTo>
                    <a:pt x="591" y="641"/>
                  </a:lnTo>
                  <a:lnTo>
                    <a:pt x="591" y="643"/>
                  </a:lnTo>
                  <a:close/>
                  <a:moveTo>
                    <a:pt x="559" y="643"/>
                  </a:moveTo>
                  <a:lnTo>
                    <a:pt x="557" y="643"/>
                  </a:lnTo>
                  <a:lnTo>
                    <a:pt x="559" y="643"/>
                  </a:lnTo>
                  <a:close/>
                  <a:moveTo>
                    <a:pt x="13" y="465"/>
                  </a:moveTo>
                  <a:lnTo>
                    <a:pt x="12" y="465"/>
                  </a:lnTo>
                  <a:lnTo>
                    <a:pt x="13" y="465"/>
                  </a:lnTo>
                  <a:close/>
                  <a:moveTo>
                    <a:pt x="686" y="850"/>
                  </a:moveTo>
                  <a:lnTo>
                    <a:pt x="686" y="852"/>
                  </a:lnTo>
                  <a:lnTo>
                    <a:pt x="686" y="850"/>
                  </a:lnTo>
                  <a:close/>
                  <a:moveTo>
                    <a:pt x="46" y="478"/>
                  </a:moveTo>
                  <a:lnTo>
                    <a:pt x="46" y="480"/>
                  </a:lnTo>
                  <a:lnTo>
                    <a:pt x="46" y="478"/>
                  </a:lnTo>
                  <a:close/>
                  <a:moveTo>
                    <a:pt x="889" y="651"/>
                  </a:moveTo>
                  <a:lnTo>
                    <a:pt x="889" y="653"/>
                  </a:lnTo>
                  <a:lnTo>
                    <a:pt x="889" y="651"/>
                  </a:lnTo>
                  <a:close/>
                  <a:moveTo>
                    <a:pt x="674" y="693"/>
                  </a:moveTo>
                  <a:lnTo>
                    <a:pt x="672" y="693"/>
                  </a:lnTo>
                  <a:lnTo>
                    <a:pt x="674" y="693"/>
                  </a:lnTo>
                  <a:close/>
                  <a:moveTo>
                    <a:pt x="588" y="655"/>
                  </a:moveTo>
                  <a:lnTo>
                    <a:pt x="586" y="655"/>
                  </a:lnTo>
                  <a:lnTo>
                    <a:pt x="588" y="655"/>
                  </a:lnTo>
                  <a:close/>
                  <a:moveTo>
                    <a:pt x="19" y="447"/>
                  </a:moveTo>
                  <a:lnTo>
                    <a:pt x="19" y="445"/>
                  </a:lnTo>
                  <a:lnTo>
                    <a:pt x="19" y="447"/>
                  </a:lnTo>
                  <a:close/>
                  <a:moveTo>
                    <a:pt x="319" y="499"/>
                  </a:moveTo>
                  <a:lnTo>
                    <a:pt x="321" y="499"/>
                  </a:lnTo>
                  <a:lnTo>
                    <a:pt x="319" y="499"/>
                  </a:lnTo>
                  <a:close/>
                  <a:moveTo>
                    <a:pt x="678" y="701"/>
                  </a:moveTo>
                  <a:lnTo>
                    <a:pt x="678" y="699"/>
                  </a:lnTo>
                  <a:lnTo>
                    <a:pt x="678" y="701"/>
                  </a:lnTo>
                  <a:lnTo>
                    <a:pt x="678" y="699"/>
                  </a:lnTo>
                  <a:lnTo>
                    <a:pt x="678" y="701"/>
                  </a:lnTo>
                  <a:close/>
                  <a:moveTo>
                    <a:pt x="649" y="670"/>
                  </a:moveTo>
                  <a:lnTo>
                    <a:pt x="649" y="672"/>
                  </a:lnTo>
                  <a:lnTo>
                    <a:pt x="649" y="670"/>
                  </a:lnTo>
                  <a:lnTo>
                    <a:pt x="649" y="672"/>
                  </a:lnTo>
                  <a:lnTo>
                    <a:pt x="649" y="670"/>
                  </a:lnTo>
                  <a:lnTo>
                    <a:pt x="647" y="670"/>
                  </a:lnTo>
                  <a:lnTo>
                    <a:pt x="649" y="670"/>
                  </a:lnTo>
                  <a:close/>
                  <a:moveTo>
                    <a:pt x="689" y="850"/>
                  </a:moveTo>
                  <a:lnTo>
                    <a:pt x="687" y="850"/>
                  </a:lnTo>
                  <a:lnTo>
                    <a:pt x="689" y="850"/>
                  </a:lnTo>
                  <a:close/>
                  <a:moveTo>
                    <a:pt x="334" y="499"/>
                  </a:moveTo>
                  <a:lnTo>
                    <a:pt x="332" y="499"/>
                  </a:lnTo>
                  <a:lnTo>
                    <a:pt x="334" y="499"/>
                  </a:lnTo>
                  <a:close/>
                  <a:moveTo>
                    <a:pt x="643" y="662"/>
                  </a:moveTo>
                  <a:lnTo>
                    <a:pt x="643" y="664"/>
                  </a:lnTo>
                  <a:lnTo>
                    <a:pt x="641" y="664"/>
                  </a:lnTo>
                  <a:lnTo>
                    <a:pt x="643" y="662"/>
                  </a:lnTo>
                  <a:lnTo>
                    <a:pt x="641" y="662"/>
                  </a:lnTo>
                  <a:lnTo>
                    <a:pt x="643" y="662"/>
                  </a:lnTo>
                  <a:close/>
                  <a:moveTo>
                    <a:pt x="23" y="472"/>
                  </a:moveTo>
                  <a:lnTo>
                    <a:pt x="21" y="472"/>
                  </a:lnTo>
                  <a:lnTo>
                    <a:pt x="23" y="472"/>
                  </a:lnTo>
                  <a:close/>
                  <a:moveTo>
                    <a:pt x="27" y="474"/>
                  </a:moveTo>
                  <a:lnTo>
                    <a:pt x="27" y="472"/>
                  </a:lnTo>
                  <a:lnTo>
                    <a:pt x="27" y="474"/>
                  </a:lnTo>
                  <a:close/>
                  <a:moveTo>
                    <a:pt x="44" y="480"/>
                  </a:moveTo>
                  <a:lnTo>
                    <a:pt x="42" y="480"/>
                  </a:lnTo>
                  <a:lnTo>
                    <a:pt x="44" y="480"/>
                  </a:lnTo>
                  <a:close/>
                  <a:moveTo>
                    <a:pt x="27" y="453"/>
                  </a:moveTo>
                  <a:lnTo>
                    <a:pt x="25" y="453"/>
                  </a:lnTo>
                  <a:lnTo>
                    <a:pt x="25" y="451"/>
                  </a:lnTo>
                  <a:lnTo>
                    <a:pt x="27" y="451"/>
                  </a:lnTo>
                  <a:lnTo>
                    <a:pt x="27" y="453"/>
                  </a:lnTo>
                  <a:close/>
                  <a:moveTo>
                    <a:pt x="670" y="697"/>
                  </a:moveTo>
                  <a:lnTo>
                    <a:pt x="670" y="695"/>
                  </a:lnTo>
                  <a:lnTo>
                    <a:pt x="670" y="697"/>
                  </a:lnTo>
                  <a:close/>
                  <a:moveTo>
                    <a:pt x="35" y="482"/>
                  </a:moveTo>
                  <a:lnTo>
                    <a:pt x="35" y="480"/>
                  </a:lnTo>
                  <a:lnTo>
                    <a:pt x="35" y="482"/>
                  </a:lnTo>
                  <a:close/>
                  <a:moveTo>
                    <a:pt x="687" y="852"/>
                  </a:moveTo>
                  <a:lnTo>
                    <a:pt x="687" y="850"/>
                  </a:lnTo>
                  <a:lnTo>
                    <a:pt x="687" y="852"/>
                  </a:lnTo>
                  <a:close/>
                  <a:moveTo>
                    <a:pt x="42" y="468"/>
                  </a:moveTo>
                  <a:lnTo>
                    <a:pt x="42" y="470"/>
                  </a:lnTo>
                  <a:lnTo>
                    <a:pt x="42" y="468"/>
                  </a:lnTo>
                  <a:lnTo>
                    <a:pt x="42" y="470"/>
                  </a:lnTo>
                  <a:lnTo>
                    <a:pt x="42" y="468"/>
                  </a:lnTo>
                  <a:close/>
                  <a:moveTo>
                    <a:pt x="618" y="647"/>
                  </a:moveTo>
                  <a:lnTo>
                    <a:pt x="616" y="647"/>
                  </a:lnTo>
                  <a:lnTo>
                    <a:pt x="618" y="647"/>
                  </a:lnTo>
                  <a:close/>
                  <a:moveTo>
                    <a:pt x="29" y="486"/>
                  </a:moveTo>
                  <a:lnTo>
                    <a:pt x="27" y="486"/>
                  </a:lnTo>
                  <a:lnTo>
                    <a:pt x="27" y="484"/>
                  </a:lnTo>
                  <a:lnTo>
                    <a:pt x="27" y="486"/>
                  </a:lnTo>
                  <a:lnTo>
                    <a:pt x="29" y="486"/>
                  </a:lnTo>
                  <a:close/>
                  <a:moveTo>
                    <a:pt x="557" y="897"/>
                  </a:moveTo>
                  <a:lnTo>
                    <a:pt x="559" y="897"/>
                  </a:lnTo>
                  <a:lnTo>
                    <a:pt x="557" y="897"/>
                  </a:lnTo>
                  <a:lnTo>
                    <a:pt x="559" y="897"/>
                  </a:lnTo>
                  <a:lnTo>
                    <a:pt x="557" y="897"/>
                  </a:lnTo>
                  <a:close/>
                  <a:moveTo>
                    <a:pt x="15" y="453"/>
                  </a:moveTo>
                  <a:lnTo>
                    <a:pt x="15" y="451"/>
                  </a:lnTo>
                  <a:lnTo>
                    <a:pt x="15" y="453"/>
                  </a:lnTo>
                  <a:close/>
                  <a:moveTo>
                    <a:pt x="666" y="687"/>
                  </a:moveTo>
                  <a:lnTo>
                    <a:pt x="666" y="685"/>
                  </a:lnTo>
                  <a:lnTo>
                    <a:pt x="666" y="687"/>
                  </a:lnTo>
                  <a:close/>
                  <a:moveTo>
                    <a:pt x="40" y="468"/>
                  </a:moveTo>
                  <a:lnTo>
                    <a:pt x="38" y="468"/>
                  </a:lnTo>
                  <a:lnTo>
                    <a:pt x="38" y="467"/>
                  </a:lnTo>
                  <a:lnTo>
                    <a:pt x="40" y="467"/>
                  </a:lnTo>
                  <a:lnTo>
                    <a:pt x="40" y="468"/>
                  </a:lnTo>
                  <a:close/>
                  <a:moveTo>
                    <a:pt x="590" y="655"/>
                  </a:moveTo>
                  <a:lnTo>
                    <a:pt x="590" y="653"/>
                  </a:lnTo>
                  <a:lnTo>
                    <a:pt x="590" y="655"/>
                  </a:lnTo>
                  <a:close/>
                  <a:moveTo>
                    <a:pt x="647" y="668"/>
                  </a:moveTo>
                  <a:lnTo>
                    <a:pt x="645" y="668"/>
                  </a:lnTo>
                  <a:lnTo>
                    <a:pt x="647" y="668"/>
                  </a:lnTo>
                  <a:lnTo>
                    <a:pt x="645" y="668"/>
                  </a:lnTo>
                  <a:lnTo>
                    <a:pt x="647" y="668"/>
                  </a:lnTo>
                  <a:close/>
                  <a:moveTo>
                    <a:pt x="591" y="643"/>
                  </a:moveTo>
                  <a:lnTo>
                    <a:pt x="591" y="641"/>
                  </a:lnTo>
                  <a:lnTo>
                    <a:pt x="591" y="643"/>
                  </a:lnTo>
                  <a:close/>
                  <a:moveTo>
                    <a:pt x="27" y="445"/>
                  </a:moveTo>
                  <a:lnTo>
                    <a:pt x="27" y="447"/>
                  </a:lnTo>
                  <a:lnTo>
                    <a:pt x="27" y="445"/>
                  </a:lnTo>
                  <a:close/>
                  <a:moveTo>
                    <a:pt x="542" y="659"/>
                  </a:moveTo>
                  <a:lnTo>
                    <a:pt x="540" y="659"/>
                  </a:lnTo>
                  <a:lnTo>
                    <a:pt x="542" y="659"/>
                  </a:lnTo>
                  <a:close/>
                  <a:moveTo>
                    <a:pt x="10" y="465"/>
                  </a:moveTo>
                  <a:lnTo>
                    <a:pt x="10" y="467"/>
                  </a:lnTo>
                  <a:lnTo>
                    <a:pt x="10" y="465"/>
                  </a:lnTo>
                  <a:close/>
                  <a:moveTo>
                    <a:pt x="23" y="482"/>
                  </a:moveTo>
                  <a:lnTo>
                    <a:pt x="21" y="482"/>
                  </a:lnTo>
                  <a:lnTo>
                    <a:pt x="23" y="482"/>
                  </a:lnTo>
                  <a:close/>
                  <a:moveTo>
                    <a:pt x="6" y="453"/>
                  </a:moveTo>
                  <a:lnTo>
                    <a:pt x="6" y="451"/>
                  </a:lnTo>
                  <a:lnTo>
                    <a:pt x="6" y="453"/>
                  </a:lnTo>
                  <a:close/>
                  <a:moveTo>
                    <a:pt x="647" y="670"/>
                  </a:moveTo>
                  <a:lnTo>
                    <a:pt x="647" y="668"/>
                  </a:lnTo>
                  <a:lnTo>
                    <a:pt x="647" y="670"/>
                  </a:lnTo>
                  <a:close/>
                  <a:moveTo>
                    <a:pt x="17" y="461"/>
                  </a:moveTo>
                  <a:lnTo>
                    <a:pt x="15" y="461"/>
                  </a:lnTo>
                  <a:lnTo>
                    <a:pt x="17" y="461"/>
                  </a:lnTo>
                  <a:close/>
                  <a:moveTo>
                    <a:pt x="29" y="447"/>
                  </a:moveTo>
                  <a:lnTo>
                    <a:pt x="31" y="447"/>
                  </a:lnTo>
                  <a:lnTo>
                    <a:pt x="29" y="447"/>
                  </a:lnTo>
                  <a:close/>
                  <a:moveTo>
                    <a:pt x="626" y="645"/>
                  </a:moveTo>
                  <a:lnTo>
                    <a:pt x="624" y="645"/>
                  </a:lnTo>
                  <a:lnTo>
                    <a:pt x="626" y="645"/>
                  </a:lnTo>
                  <a:close/>
                  <a:moveTo>
                    <a:pt x="591" y="645"/>
                  </a:moveTo>
                  <a:lnTo>
                    <a:pt x="591" y="647"/>
                  </a:lnTo>
                  <a:lnTo>
                    <a:pt x="591" y="645"/>
                  </a:lnTo>
                  <a:close/>
                  <a:moveTo>
                    <a:pt x="17" y="459"/>
                  </a:moveTo>
                  <a:lnTo>
                    <a:pt x="17" y="457"/>
                  </a:lnTo>
                  <a:lnTo>
                    <a:pt x="17" y="459"/>
                  </a:lnTo>
                  <a:close/>
                  <a:moveTo>
                    <a:pt x="666" y="691"/>
                  </a:moveTo>
                  <a:lnTo>
                    <a:pt x="668" y="691"/>
                  </a:lnTo>
                  <a:lnTo>
                    <a:pt x="666" y="691"/>
                  </a:lnTo>
                  <a:close/>
                  <a:moveTo>
                    <a:pt x="645" y="666"/>
                  </a:moveTo>
                  <a:lnTo>
                    <a:pt x="643" y="666"/>
                  </a:lnTo>
                  <a:lnTo>
                    <a:pt x="645" y="666"/>
                  </a:lnTo>
                  <a:close/>
                  <a:moveTo>
                    <a:pt x="21" y="470"/>
                  </a:moveTo>
                  <a:lnTo>
                    <a:pt x="19" y="470"/>
                  </a:lnTo>
                  <a:lnTo>
                    <a:pt x="21" y="470"/>
                  </a:lnTo>
                  <a:close/>
                  <a:moveTo>
                    <a:pt x="603" y="647"/>
                  </a:moveTo>
                  <a:lnTo>
                    <a:pt x="605" y="647"/>
                  </a:lnTo>
                  <a:lnTo>
                    <a:pt x="603" y="647"/>
                  </a:lnTo>
                  <a:close/>
                  <a:moveTo>
                    <a:pt x="645" y="668"/>
                  </a:moveTo>
                  <a:lnTo>
                    <a:pt x="647" y="668"/>
                  </a:lnTo>
                  <a:lnTo>
                    <a:pt x="645" y="668"/>
                  </a:lnTo>
                  <a:close/>
                  <a:moveTo>
                    <a:pt x="44" y="470"/>
                  </a:moveTo>
                  <a:lnTo>
                    <a:pt x="44" y="472"/>
                  </a:lnTo>
                  <a:lnTo>
                    <a:pt x="44" y="470"/>
                  </a:lnTo>
                  <a:close/>
                  <a:moveTo>
                    <a:pt x="609" y="643"/>
                  </a:moveTo>
                  <a:lnTo>
                    <a:pt x="607" y="643"/>
                  </a:lnTo>
                  <a:lnTo>
                    <a:pt x="609" y="643"/>
                  </a:lnTo>
                  <a:close/>
                  <a:moveTo>
                    <a:pt x="645" y="666"/>
                  </a:moveTo>
                  <a:lnTo>
                    <a:pt x="643" y="666"/>
                  </a:lnTo>
                  <a:lnTo>
                    <a:pt x="645" y="666"/>
                  </a:lnTo>
                  <a:close/>
                  <a:moveTo>
                    <a:pt x="584" y="862"/>
                  </a:moveTo>
                  <a:lnTo>
                    <a:pt x="582" y="862"/>
                  </a:lnTo>
                  <a:lnTo>
                    <a:pt x="584" y="862"/>
                  </a:lnTo>
                  <a:lnTo>
                    <a:pt x="582" y="862"/>
                  </a:lnTo>
                  <a:lnTo>
                    <a:pt x="584" y="862"/>
                  </a:lnTo>
                  <a:close/>
                  <a:moveTo>
                    <a:pt x="586" y="651"/>
                  </a:moveTo>
                  <a:lnTo>
                    <a:pt x="584" y="651"/>
                  </a:lnTo>
                  <a:lnTo>
                    <a:pt x="586" y="651"/>
                  </a:lnTo>
                  <a:close/>
                  <a:moveTo>
                    <a:pt x="601" y="645"/>
                  </a:moveTo>
                  <a:lnTo>
                    <a:pt x="601" y="647"/>
                  </a:lnTo>
                  <a:lnTo>
                    <a:pt x="601" y="645"/>
                  </a:lnTo>
                  <a:close/>
                  <a:moveTo>
                    <a:pt x="27" y="491"/>
                  </a:moveTo>
                  <a:lnTo>
                    <a:pt x="27" y="490"/>
                  </a:lnTo>
                  <a:lnTo>
                    <a:pt x="27" y="491"/>
                  </a:lnTo>
                  <a:close/>
                  <a:moveTo>
                    <a:pt x="46" y="480"/>
                  </a:moveTo>
                  <a:lnTo>
                    <a:pt x="44" y="480"/>
                  </a:lnTo>
                  <a:lnTo>
                    <a:pt x="46" y="480"/>
                  </a:lnTo>
                  <a:lnTo>
                    <a:pt x="46" y="478"/>
                  </a:lnTo>
                  <a:lnTo>
                    <a:pt x="46" y="480"/>
                  </a:lnTo>
                  <a:close/>
                  <a:moveTo>
                    <a:pt x="624" y="647"/>
                  </a:moveTo>
                  <a:lnTo>
                    <a:pt x="622" y="647"/>
                  </a:lnTo>
                  <a:lnTo>
                    <a:pt x="624" y="647"/>
                  </a:lnTo>
                  <a:close/>
                  <a:moveTo>
                    <a:pt x="616" y="722"/>
                  </a:moveTo>
                  <a:lnTo>
                    <a:pt x="616" y="724"/>
                  </a:lnTo>
                  <a:lnTo>
                    <a:pt x="616" y="722"/>
                  </a:lnTo>
                  <a:close/>
                  <a:moveTo>
                    <a:pt x="19" y="461"/>
                  </a:moveTo>
                  <a:lnTo>
                    <a:pt x="17" y="461"/>
                  </a:lnTo>
                  <a:lnTo>
                    <a:pt x="19" y="461"/>
                  </a:lnTo>
                  <a:close/>
                  <a:moveTo>
                    <a:pt x="645" y="666"/>
                  </a:moveTo>
                  <a:lnTo>
                    <a:pt x="645" y="668"/>
                  </a:lnTo>
                  <a:lnTo>
                    <a:pt x="645" y="666"/>
                  </a:lnTo>
                  <a:close/>
                  <a:moveTo>
                    <a:pt x="590" y="641"/>
                  </a:moveTo>
                  <a:lnTo>
                    <a:pt x="588" y="641"/>
                  </a:lnTo>
                  <a:lnTo>
                    <a:pt x="590" y="641"/>
                  </a:lnTo>
                  <a:close/>
                  <a:moveTo>
                    <a:pt x="686" y="847"/>
                  </a:moveTo>
                  <a:lnTo>
                    <a:pt x="686" y="849"/>
                  </a:lnTo>
                  <a:lnTo>
                    <a:pt x="686" y="847"/>
                  </a:lnTo>
                  <a:close/>
                  <a:moveTo>
                    <a:pt x="661" y="682"/>
                  </a:moveTo>
                  <a:lnTo>
                    <a:pt x="659" y="682"/>
                  </a:lnTo>
                  <a:lnTo>
                    <a:pt x="659" y="680"/>
                  </a:lnTo>
                  <a:lnTo>
                    <a:pt x="661" y="680"/>
                  </a:lnTo>
                  <a:lnTo>
                    <a:pt x="661" y="682"/>
                  </a:lnTo>
                  <a:close/>
                  <a:moveTo>
                    <a:pt x="27" y="451"/>
                  </a:moveTo>
                  <a:lnTo>
                    <a:pt x="29" y="451"/>
                  </a:lnTo>
                  <a:lnTo>
                    <a:pt x="27" y="451"/>
                  </a:lnTo>
                  <a:close/>
                  <a:moveTo>
                    <a:pt x="35" y="455"/>
                  </a:moveTo>
                  <a:lnTo>
                    <a:pt x="33" y="455"/>
                  </a:lnTo>
                  <a:lnTo>
                    <a:pt x="35" y="455"/>
                  </a:lnTo>
                  <a:close/>
                  <a:moveTo>
                    <a:pt x="559" y="898"/>
                  </a:moveTo>
                  <a:lnTo>
                    <a:pt x="557" y="898"/>
                  </a:lnTo>
                  <a:lnTo>
                    <a:pt x="559" y="898"/>
                  </a:lnTo>
                  <a:close/>
                  <a:moveTo>
                    <a:pt x="864" y="695"/>
                  </a:moveTo>
                  <a:lnTo>
                    <a:pt x="864" y="693"/>
                  </a:lnTo>
                  <a:lnTo>
                    <a:pt x="864" y="695"/>
                  </a:lnTo>
                  <a:close/>
                  <a:moveTo>
                    <a:pt x="27" y="474"/>
                  </a:moveTo>
                  <a:lnTo>
                    <a:pt x="25" y="474"/>
                  </a:lnTo>
                  <a:lnTo>
                    <a:pt x="27" y="474"/>
                  </a:lnTo>
                  <a:close/>
                  <a:moveTo>
                    <a:pt x="273" y="530"/>
                  </a:moveTo>
                  <a:lnTo>
                    <a:pt x="273" y="528"/>
                  </a:lnTo>
                  <a:lnTo>
                    <a:pt x="273" y="530"/>
                  </a:lnTo>
                  <a:close/>
                  <a:moveTo>
                    <a:pt x="630" y="649"/>
                  </a:moveTo>
                  <a:lnTo>
                    <a:pt x="628" y="649"/>
                  </a:lnTo>
                  <a:lnTo>
                    <a:pt x="630" y="649"/>
                  </a:lnTo>
                  <a:close/>
                  <a:moveTo>
                    <a:pt x="684" y="847"/>
                  </a:moveTo>
                  <a:lnTo>
                    <a:pt x="684" y="849"/>
                  </a:lnTo>
                  <a:lnTo>
                    <a:pt x="684" y="847"/>
                  </a:lnTo>
                  <a:close/>
                  <a:moveTo>
                    <a:pt x="538" y="643"/>
                  </a:moveTo>
                  <a:lnTo>
                    <a:pt x="538" y="645"/>
                  </a:lnTo>
                  <a:lnTo>
                    <a:pt x="538" y="643"/>
                  </a:lnTo>
                  <a:lnTo>
                    <a:pt x="538" y="645"/>
                  </a:lnTo>
                  <a:lnTo>
                    <a:pt x="538" y="643"/>
                  </a:lnTo>
                  <a:close/>
                  <a:moveTo>
                    <a:pt x="661" y="682"/>
                  </a:moveTo>
                  <a:lnTo>
                    <a:pt x="661" y="683"/>
                  </a:lnTo>
                  <a:lnTo>
                    <a:pt x="661" y="682"/>
                  </a:lnTo>
                  <a:close/>
                  <a:moveTo>
                    <a:pt x="626" y="645"/>
                  </a:moveTo>
                  <a:lnTo>
                    <a:pt x="626" y="643"/>
                  </a:lnTo>
                  <a:lnTo>
                    <a:pt x="626" y="645"/>
                  </a:lnTo>
                  <a:close/>
                  <a:moveTo>
                    <a:pt x="664" y="682"/>
                  </a:moveTo>
                  <a:lnTo>
                    <a:pt x="664" y="683"/>
                  </a:lnTo>
                  <a:lnTo>
                    <a:pt x="662" y="683"/>
                  </a:lnTo>
                  <a:lnTo>
                    <a:pt x="662" y="682"/>
                  </a:lnTo>
                  <a:lnTo>
                    <a:pt x="662" y="683"/>
                  </a:lnTo>
                  <a:lnTo>
                    <a:pt x="662" y="682"/>
                  </a:lnTo>
                  <a:lnTo>
                    <a:pt x="664" y="682"/>
                  </a:lnTo>
                  <a:close/>
                  <a:moveTo>
                    <a:pt x="914" y="635"/>
                  </a:moveTo>
                  <a:lnTo>
                    <a:pt x="914" y="637"/>
                  </a:lnTo>
                  <a:lnTo>
                    <a:pt x="914" y="635"/>
                  </a:lnTo>
                  <a:close/>
                  <a:moveTo>
                    <a:pt x="10" y="467"/>
                  </a:moveTo>
                  <a:lnTo>
                    <a:pt x="8" y="467"/>
                  </a:lnTo>
                  <a:lnTo>
                    <a:pt x="10" y="467"/>
                  </a:lnTo>
                  <a:lnTo>
                    <a:pt x="10" y="465"/>
                  </a:lnTo>
                  <a:lnTo>
                    <a:pt x="10" y="467"/>
                  </a:lnTo>
                  <a:close/>
                  <a:moveTo>
                    <a:pt x="440" y="576"/>
                  </a:moveTo>
                  <a:lnTo>
                    <a:pt x="440" y="574"/>
                  </a:lnTo>
                  <a:lnTo>
                    <a:pt x="440" y="576"/>
                  </a:lnTo>
                  <a:close/>
                  <a:moveTo>
                    <a:pt x="647" y="666"/>
                  </a:moveTo>
                  <a:lnTo>
                    <a:pt x="647" y="664"/>
                  </a:lnTo>
                  <a:lnTo>
                    <a:pt x="647" y="666"/>
                  </a:lnTo>
                  <a:close/>
                  <a:moveTo>
                    <a:pt x="657" y="682"/>
                  </a:moveTo>
                  <a:lnTo>
                    <a:pt x="655" y="682"/>
                  </a:lnTo>
                  <a:lnTo>
                    <a:pt x="657" y="682"/>
                  </a:lnTo>
                  <a:close/>
                  <a:moveTo>
                    <a:pt x="684" y="705"/>
                  </a:moveTo>
                  <a:lnTo>
                    <a:pt x="682" y="705"/>
                  </a:lnTo>
                  <a:lnTo>
                    <a:pt x="684" y="705"/>
                  </a:lnTo>
                  <a:close/>
                  <a:moveTo>
                    <a:pt x="31" y="486"/>
                  </a:moveTo>
                  <a:lnTo>
                    <a:pt x="29" y="486"/>
                  </a:lnTo>
                  <a:lnTo>
                    <a:pt x="31" y="486"/>
                  </a:lnTo>
                  <a:close/>
                  <a:moveTo>
                    <a:pt x="626" y="647"/>
                  </a:moveTo>
                  <a:lnTo>
                    <a:pt x="626" y="645"/>
                  </a:lnTo>
                  <a:lnTo>
                    <a:pt x="626" y="647"/>
                  </a:lnTo>
                  <a:close/>
                  <a:moveTo>
                    <a:pt x="376" y="524"/>
                  </a:moveTo>
                  <a:lnTo>
                    <a:pt x="374" y="524"/>
                  </a:lnTo>
                  <a:lnTo>
                    <a:pt x="376" y="524"/>
                  </a:lnTo>
                  <a:close/>
                  <a:moveTo>
                    <a:pt x="25" y="442"/>
                  </a:moveTo>
                  <a:lnTo>
                    <a:pt x="23" y="442"/>
                  </a:lnTo>
                  <a:lnTo>
                    <a:pt x="25" y="442"/>
                  </a:lnTo>
                  <a:close/>
                  <a:moveTo>
                    <a:pt x="805" y="726"/>
                  </a:moveTo>
                  <a:lnTo>
                    <a:pt x="807" y="726"/>
                  </a:lnTo>
                  <a:lnTo>
                    <a:pt x="805" y="726"/>
                  </a:lnTo>
                  <a:close/>
                  <a:moveTo>
                    <a:pt x="42" y="484"/>
                  </a:moveTo>
                  <a:lnTo>
                    <a:pt x="40" y="484"/>
                  </a:lnTo>
                  <a:lnTo>
                    <a:pt x="42" y="484"/>
                  </a:lnTo>
                  <a:close/>
                  <a:moveTo>
                    <a:pt x="910" y="639"/>
                  </a:moveTo>
                  <a:lnTo>
                    <a:pt x="908" y="639"/>
                  </a:lnTo>
                  <a:lnTo>
                    <a:pt x="910" y="639"/>
                  </a:lnTo>
                  <a:close/>
                  <a:moveTo>
                    <a:pt x="46" y="482"/>
                  </a:moveTo>
                  <a:lnTo>
                    <a:pt x="46" y="480"/>
                  </a:lnTo>
                  <a:lnTo>
                    <a:pt x="46" y="482"/>
                  </a:lnTo>
                  <a:close/>
                  <a:moveTo>
                    <a:pt x="638" y="659"/>
                  </a:moveTo>
                  <a:lnTo>
                    <a:pt x="638" y="657"/>
                  </a:lnTo>
                  <a:lnTo>
                    <a:pt x="638" y="659"/>
                  </a:lnTo>
                  <a:close/>
                  <a:moveTo>
                    <a:pt x="586" y="664"/>
                  </a:moveTo>
                  <a:lnTo>
                    <a:pt x="584" y="664"/>
                  </a:lnTo>
                  <a:lnTo>
                    <a:pt x="586" y="664"/>
                  </a:lnTo>
                  <a:close/>
                  <a:moveTo>
                    <a:pt x="668" y="687"/>
                  </a:moveTo>
                  <a:lnTo>
                    <a:pt x="666" y="687"/>
                  </a:lnTo>
                  <a:lnTo>
                    <a:pt x="668" y="687"/>
                  </a:lnTo>
                  <a:close/>
                  <a:moveTo>
                    <a:pt x="687" y="850"/>
                  </a:moveTo>
                  <a:lnTo>
                    <a:pt x="687" y="852"/>
                  </a:lnTo>
                  <a:lnTo>
                    <a:pt x="687" y="850"/>
                  </a:lnTo>
                  <a:close/>
                  <a:moveTo>
                    <a:pt x="897" y="643"/>
                  </a:moveTo>
                  <a:lnTo>
                    <a:pt x="899" y="643"/>
                  </a:lnTo>
                  <a:lnTo>
                    <a:pt x="897" y="643"/>
                  </a:lnTo>
                  <a:close/>
                  <a:moveTo>
                    <a:pt x="380" y="532"/>
                  </a:moveTo>
                  <a:lnTo>
                    <a:pt x="378" y="532"/>
                  </a:lnTo>
                  <a:lnTo>
                    <a:pt x="380" y="532"/>
                  </a:lnTo>
                  <a:close/>
                  <a:moveTo>
                    <a:pt x="4" y="451"/>
                  </a:moveTo>
                  <a:lnTo>
                    <a:pt x="4" y="449"/>
                  </a:lnTo>
                  <a:lnTo>
                    <a:pt x="4" y="451"/>
                  </a:lnTo>
                  <a:close/>
                  <a:moveTo>
                    <a:pt x="38" y="480"/>
                  </a:moveTo>
                  <a:lnTo>
                    <a:pt x="38" y="478"/>
                  </a:lnTo>
                  <a:lnTo>
                    <a:pt x="38" y="480"/>
                  </a:lnTo>
                  <a:close/>
                  <a:moveTo>
                    <a:pt x="551" y="645"/>
                  </a:moveTo>
                  <a:lnTo>
                    <a:pt x="549" y="645"/>
                  </a:lnTo>
                  <a:lnTo>
                    <a:pt x="551" y="645"/>
                  </a:lnTo>
                  <a:close/>
                  <a:moveTo>
                    <a:pt x="35" y="451"/>
                  </a:moveTo>
                  <a:lnTo>
                    <a:pt x="35" y="449"/>
                  </a:lnTo>
                  <a:lnTo>
                    <a:pt x="35" y="451"/>
                  </a:lnTo>
                  <a:close/>
                  <a:moveTo>
                    <a:pt x="15" y="457"/>
                  </a:moveTo>
                  <a:lnTo>
                    <a:pt x="13" y="457"/>
                  </a:lnTo>
                  <a:lnTo>
                    <a:pt x="15" y="457"/>
                  </a:lnTo>
                  <a:close/>
                  <a:moveTo>
                    <a:pt x="42" y="463"/>
                  </a:moveTo>
                  <a:lnTo>
                    <a:pt x="40" y="463"/>
                  </a:lnTo>
                  <a:lnTo>
                    <a:pt x="42" y="463"/>
                  </a:lnTo>
                  <a:close/>
                  <a:moveTo>
                    <a:pt x="23" y="459"/>
                  </a:moveTo>
                  <a:lnTo>
                    <a:pt x="21" y="459"/>
                  </a:lnTo>
                  <a:lnTo>
                    <a:pt x="23" y="459"/>
                  </a:lnTo>
                  <a:close/>
                  <a:moveTo>
                    <a:pt x="374" y="522"/>
                  </a:moveTo>
                  <a:lnTo>
                    <a:pt x="374" y="520"/>
                  </a:lnTo>
                  <a:lnTo>
                    <a:pt x="374" y="522"/>
                  </a:lnTo>
                  <a:close/>
                  <a:moveTo>
                    <a:pt x="25" y="430"/>
                  </a:moveTo>
                  <a:lnTo>
                    <a:pt x="25" y="428"/>
                  </a:lnTo>
                  <a:lnTo>
                    <a:pt x="25" y="430"/>
                  </a:lnTo>
                  <a:close/>
                  <a:moveTo>
                    <a:pt x="35" y="459"/>
                  </a:moveTo>
                  <a:lnTo>
                    <a:pt x="33" y="459"/>
                  </a:lnTo>
                  <a:lnTo>
                    <a:pt x="35" y="459"/>
                  </a:lnTo>
                  <a:close/>
                  <a:moveTo>
                    <a:pt x="616" y="647"/>
                  </a:moveTo>
                  <a:lnTo>
                    <a:pt x="616" y="645"/>
                  </a:lnTo>
                  <a:lnTo>
                    <a:pt x="616" y="647"/>
                  </a:lnTo>
                  <a:close/>
                  <a:moveTo>
                    <a:pt x="33" y="457"/>
                  </a:moveTo>
                  <a:lnTo>
                    <a:pt x="31" y="457"/>
                  </a:lnTo>
                  <a:lnTo>
                    <a:pt x="33" y="457"/>
                  </a:lnTo>
                  <a:close/>
                  <a:moveTo>
                    <a:pt x="647" y="666"/>
                  </a:moveTo>
                  <a:lnTo>
                    <a:pt x="649" y="666"/>
                  </a:lnTo>
                  <a:lnTo>
                    <a:pt x="647" y="666"/>
                  </a:lnTo>
                  <a:close/>
                  <a:moveTo>
                    <a:pt x="542" y="643"/>
                  </a:moveTo>
                  <a:lnTo>
                    <a:pt x="542" y="645"/>
                  </a:lnTo>
                  <a:lnTo>
                    <a:pt x="542" y="643"/>
                  </a:lnTo>
                  <a:close/>
                  <a:moveTo>
                    <a:pt x="638" y="659"/>
                  </a:moveTo>
                  <a:lnTo>
                    <a:pt x="636" y="659"/>
                  </a:lnTo>
                  <a:lnTo>
                    <a:pt x="638" y="659"/>
                  </a:lnTo>
                  <a:close/>
                  <a:moveTo>
                    <a:pt x="35" y="476"/>
                  </a:moveTo>
                  <a:lnTo>
                    <a:pt x="33" y="476"/>
                  </a:lnTo>
                  <a:lnTo>
                    <a:pt x="35" y="476"/>
                  </a:lnTo>
                  <a:close/>
                  <a:moveTo>
                    <a:pt x="628" y="643"/>
                  </a:moveTo>
                  <a:lnTo>
                    <a:pt x="630" y="643"/>
                  </a:lnTo>
                  <a:lnTo>
                    <a:pt x="628" y="643"/>
                  </a:lnTo>
                  <a:close/>
                  <a:moveTo>
                    <a:pt x="630" y="649"/>
                  </a:moveTo>
                  <a:lnTo>
                    <a:pt x="628" y="649"/>
                  </a:lnTo>
                  <a:lnTo>
                    <a:pt x="630" y="649"/>
                  </a:lnTo>
                  <a:close/>
                  <a:moveTo>
                    <a:pt x="428" y="564"/>
                  </a:moveTo>
                  <a:lnTo>
                    <a:pt x="428" y="563"/>
                  </a:lnTo>
                  <a:lnTo>
                    <a:pt x="428" y="564"/>
                  </a:lnTo>
                  <a:close/>
                  <a:moveTo>
                    <a:pt x="21" y="455"/>
                  </a:moveTo>
                  <a:lnTo>
                    <a:pt x="23" y="455"/>
                  </a:lnTo>
                  <a:lnTo>
                    <a:pt x="21" y="455"/>
                  </a:lnTo>
                  <a:close/>
                  <a:moveTo>
                    <a:pt x="639" y="662"/>
                  </a:moveTo>
                  <a:lnTo>
                    <a:pt x="639" y="660"/>
                  </a:lnTo>
                  <a:lnTo>
                    <a:pt x="639" y="662"/>
                  </a:lnTo>
                  <a:close/>
                  <a:moveTo>
                    <a:pt x="44" y="482"/>
                  </a:moveTo>
                  <a:lnTo>
                    <a:pt x="44" y="480"/>
                  </a:lnTo>
                  <a:lnTo>
                    <a:pt x="44" y="482"/>
                  </a:lnTo>
                  <a:close/>
                  <a:moveTo>
                    <a:pt x="664" y="683"/>
                  </a:moveTo>
                  <a:lnTo>
                    <a:pt x="662" y="683"/>
                  </a:lnTo>
                  <a:lnTo>
                    <a:pt x="664" y="683"/>
                  </a:lnTo>
                  <a:close/>
                  <a:moveTo>
                    <a:pt x="591" y="691"/>
                  </a:moveTo>
                  <a:lnTo>
                    <a:pt x="590" y="691"/>
                  </a:lnTo>
                  <a:lnTo>
                    <a:pt x="590" y="689"/>
                  </a:lnTo>
                  <a:lnTo>
                    <a:pt x="591" y="689"/>
                  </a:lnTo>
                  <a:lnTo>
                    <a:pt x="591" y="691"/>
                  </a:lnTo>
                  <a:close/>
                  <a:moveTo>
                    <a:pt x="630" y="649"/>
                  </a:moveTo>
                  <a:lnTo>
                    <a:pt x="630" y="651"/>
                  </a:lnTo>
                  <a:lnTo>
                    <a:pt x="630" y="649"/>
                  </a:lnTo>
                  <a:close/>
                  <a:moveTo>
                    <a:pt x="13" y="453"/>
                  </a:moveTo>
                  <a:lnTo>
                    <a:pt x="12" y="453"/>
                  </a:lnTo>
                  <a:lnTo>
                    <a:pt x="13" y="453"/>
                  </a:lnTo>
                  <a:close/>
                  <a:moveTo>
                    <a:pt x="668" y="691"/>
                  </a:moveTo>
                  <a:lnTo>
                    <a:pt x="666" y="691"/>
                  </a:lnTo>
                  <a:lnTo>
                    <a:pt x="668" y="691"/>
                  </a:lnTo>
                  <a:close/>
                  <a:moveTo>
                    <a:pt x="666" y="689"/>
                  </a:moveTo>
                  <a:lnTo>
                    <a:pt x="666" y="691"/>
                  </a:lnTo>
                  <a:lnTo>
                    <a:pt x="666" y="689"/>
                  </a:lnTo>
                  <a:lnTo>
                    <a:pt x="666" y="691"/>
                  </a:lnTo>
                  <a:lnTo>
                    <a:pt x="666" y="689"/>
                  </a:lnTo>
                  <a:close/>
                  <a:moveTo>
                    <a:pt x="651" y="674"/>
                  </a:moveTo>
                  <a:lnTo>
                    <a:pt x="651" y="672"/>
                  </a:lnTo>
                  <a:lnTo>
                    <a:pt x="651" y="674"/>
                  </a:lnTo>
                  <a:lnTo>
                    <a:pt x="651" y="672"/>
                  </a:lnTo>
                  <a:lnTo>
                    <a:pt x="651" y="674"/>
                  </a:lnTo>
                  <a:close/>
                  <a:moveTo>
                    <a:pt x="614" y="645"/>
                  </a:moveTo>
                  <a:lnTo>
                    <a:pt x="614" y="647"/>
                  </a:lnTo>
                  <a:lnTo>
                    <a:pt x="614" y="645"/>
                  </a:lnTo>
                  <a:close/>
                  <a:moveTo>
                    <a:pt x="25" y="459"/>
                  </a:moveTo>
                  <a:lnTo>
                    <a:pt x="23" y="459"/>
                  </a:lnTo>
                  <a:lnTo>
                    <a:pt x="25" y="459"/>
                  </a:lnTo>
                  <a:close/>
                  <a:moveTo>
                    <a:pt x="36" y="476"/>
                  </a:moveTo>
                  <a:lnTo>
                    <a:pt x="35" y="476"/>
                  </a:lnTo>
                  <a:lnTo>
                    <a:pt x="36" y="476"/>
                  </a:lnTo>
                  <a:close/>
                  <a:moveTo>
                    <a:pt x="25" y="474"/>
                  </a:moveTo>
                  <a:lnTo>
                    <a:pt x="25" y="472"/>
                  </a:lnTo>
                  <a:lnTo>
                    <a:pt x="25" y="474"/>
                  </a:lnTo>
                  <a:close/>
                  <a:moveTo>
                    <a:pt x="662" y="685"/>
                  </a:moveTo>
                  <a:lnTo>
                    <a:pt x="662" y="683"/>
                  </a:lnTo>
                  <a:lnTo>
                    <a:pt x="664" y="683"/>
                  </a:lnTo>
                  <a:lnTo>
                    <a:pt x="662" y="685"/>
                  </a:lnTo>
                  <a:close/>
                  <a:moveTo>
                    <a:pt x="620" y="647"/>
                  </a:moveTo>
                  <a:lnTo>
                    <a:pt x="618" y="647"/>
                  </a:lnTo>
                  <a:lnTo>
                    <a:pt x="620" y="647"/>
                  </a:lnTo>
                  <a:close/>
                  <a:moveTo>
                    <a:pt x="31" y="476"/>
                  </a:moveTo>
                  <a:lnTo>
                    <a:pt x="29" y="476"/>
                  </a:lnTo>
                  <a:lnTo>
                    <a:pt x="29" y="474"/>
                  </a:lnTo>
                  <a:lnTo>
                    <a:pt x="31" y="474"/>
                  </a:lnTo>
                  <a:lnTo>
                    <a:pt x="31" y="476"/>
                  </a:lnTo>
                  <a:close/>
                  <a:moveTo>
                    <a:pt x="651" y="672"/>
                  </a:moveTo>
                  <a:lnTo>
                    <a:pt x="653" y="672"/>
                  </a:lnTo>
                  <a:lnTo>
                    <a:pt x="653" y="674"/>
                  </a:lnTo>
                  <a:lnTo>
                    <a:pt x="651" y="672"/>
                  </a:lnTo>
                  <a:close/>
                  <a:moveTo>
                    <a:pt x="31" y="453"/>
                  </a:moveTo>
                  <a:lnTo>
                    <a:pt x="31" y="451"/>
                  </a:lnTo>
                  <a:lnTo>
                    <a:pt x="31" y="453"/>
                  </a:lnTo>
                  <a:close/>
                  <a:moveTo>
                    <a:pt x="38" y="482"/>
                  </a:moveTo>
                  <a:lnTo>
                    <a:pt x="36" y="482"/>
                  </a:lnTo>
                  <a:lnTo>
                    <a:pt x="38" y="482"/>
                  </a:lnTo>
                  <a:close/>
                  <a:moveTo>
                    <a:pt x="44" y="482"/>
                  </a:moveTo>
                  <a:lnTo>
                    <a:pt x="42" y="482"/>
                  </a:lnTo>
                  <a:lnTo>
                    <a:pt x="44" y="482"/>
                  </a:lnTo>
                  <a:close/>
                  <a:moveTo>
                    <a:pt x="601" y="651"/>
                  </a:moveTo>
                  <a:lnTo>
                    <a:pt x="601" y="649"/>
                  </a:lnTo>
                  <a:lnTo>
                    <a:pt x="603" y="649"/>
                  </a:lnTo>
                  <a:lnTo>
                    <a:pt x="601" y="649"/>
                  </a:lnTo>
                  <a:lnTo>
                    <a:pt x="601" y="651"/>
                  </a:lnTo>
                  <a:close/>
                  <a:moveTo>
                    <a:pt x="282" y="522"/>
                  </a:moveTo>
                  <a:lnTo>
                    <a:pt x="282" y="520"/>
                  </a:lnTo>
                  <a:lnTo>
                    <a:pt x="282" y="522"/>
                  </a:lnTo>
                  <a:close/>
                  <a:moveTo>
                    <a:pt x="636" y="653"/>
                  </a:moveTo>
                  <a:lnTo>
                    <a:pt x="634" y="653"/>
                  </a:lnTo>
                  <a:lnTo>
                    <a:pt x="636" y="653"/>
                  </a:lnTo>
                  <a:lnTo>
                    <a:pt x="636" y="655"/>
                  </a:lnTo>
                  <a:lnTo>
                    <a:pt x="634" y="655"/>
                  </a:lnTo>
                  <a:lnTo>
                    <a:pt x="634" y="653"/>
                  </a:lnTo>
                  <a:lnTo>
                    <a:pt x="636" y="653"/>
                  </a:lnTo>
                  <a:close/>
                  <a:moveTo>
                    <a:pt x="33" y="449"/>
                  </a:moveTo>
                  <a:lnTo>
                    <a:pt x="31" y="449"/>
                  </a:lnTo>
                  <a:lnTo>
                    <a:pt x="33" y="449"/>
                  </a:lnTo>
                  <a:close/>
                  <a:moveTo>
                    <a:pt x="653" y="674"/>
                  </a:moveTo>
                  <a:lnTo>
                    <a:pt x="653" y="672"/>
                  </a:lnTo>
                  <a:lnTo>
                    <a:pt x="653" y="674"/>
                  </a:lnTo>
                  <a:close/>
                  <a:moveTo>
                    <a:pt x="590" y="643"/>
                  </a:moveTo>
                  <a:lnTo>
                    <a:pt x="591" y="643"/>
                  </a:lnTo>
                  <a:lnTo>
                    <a:pt x="590" y="643"/>
                  </a:lnTo>
                  <a:close/>
                  <a:moveTo>
                    <a:pt x="357" y="501"/>
                  </a:moveTo>
                  <a:lnTo>
                    <a:pt x="357" y="499"/>
                  </a:lnTo>
                  <a:lnTo>
                    <a:pt x="357" y="501"/>
                  </a:lnTo>
                  <a:close/>
                  <a:moveTo>
                    <a:pt x="689" y="852"/>
                  </a:moveTo>
                  <a:lnTo>
                    <a:pt x="687" y="852"/>
                  </a:lnTo>
                  <a:lnTo>
                    <a:pt x="689" y="852"/>
                  </a:lnTo>
                  <a:close/>
                  <a:moveTo>
                    <a:pt x="38" y="482"/>
                  </a:moveTo>
                  <a:lnTo>
                    <a:pt x="38" y="484"/>
                  </a:lnTo>
                  <a:lnTo>
                    <a:pt x="38" y="482"/>
                  </a:lnTo>
                  <a:close/>
                  <a:moveTo>
                    <a:pt x="25" y="451"/>
                  </a:moveTo>
                  <a:lnTo>
                    <a:pt x="23" y="451"/>
                  </a:lnTo>
                  <a:lnTo>
                    <a:pt x="25" y="451"/>
                  </a:lnTo>
                  <a:close/>
                  <a:moveTo>
                    <a:pt x="31" y="445"/>
                  </a:moveTo>
                  <a:lnTo>
                    <a:pt x="29" y="445"/>
                  </a:lnTo>
                  <a:lnTo>
                    <a:pt x="31" y="445"/>
                  </a:lnTo>
                  <a:close/>
                  <a:moveTo>
                    <a:pt x="687" y="850"/>
                  </a:moveTo>
                  <a:lnTo>
                    <a:pt x="689" y="850"/>
                  </a:lnTo>
                  <a:lnTo>
                    <a:pt x="687" y="850"/>
                  </a:lnTo>
                  <a:close/>
                  <a:moveTo>
                    <a:pt x="645" y="666"/>
                  </a:moveTo>
                  <a:lnTo>
                    <a:pt x="645" y="664"/>
                  </a:lnTo>
                  <a:lnTo>
                    <a:pt x="645" y="666"/>
                  </a:lnTo>
                  <a:lnTo>
                    <a:pt x="645" y="664"/>
                  </a:lnTo>
                  <a:lnTo>
                    <a:pt x="645" y="666"/>
                  </a:lnTo>
                  <a:close/>
                  <a:moveTo>
                    <a:pt x="636" y="657"/>
                  </a:moveTo>
                  <a:lnTo>
                    <a:pt x="638" y="657"/>
                  </a:lnTo>
                  <a:lnTo>
                    <a:pt x="636" y="657"/>
                  </a:lnTo>
                  <a:lnTo>
                    <a:pt x="638" y="657"/>
                  </a:lnTo>
                  <a:lnTo>
                    <a:pt x="636" y="657"/>
                  </a:lnTo>
                  <a:close/>
                  <a:moveTo>
                    <a:pt x="647" y="666"/>
                  </a:moveTo>
                  <a:lnTo>
                    <a:pt x="645" y="666"/>
                  </a:lnTo>
                  <a:lnTo>
                    <a:pt x="647" y="666"/>
                  </a:lnTo>
                  <a:close/>
                  <a:moveTo>
                    <a:pt x="670" y="687"/>
                  </a:moveTo>
                  <a:lnTo>
                    <a:pt x="668" y="687"/>
                  </a:lnTo>
                  <a:lnTo>
                    <a:pt x="670" y="687"/>
                  </a:lnTo>
                  <a:close/>
                  <a:moveTo>
                    <a:pt x="638" y="657"/>
                  </a:moveTo>
                  <a:lnTo>
                    <a:pt x="638" y="659"/>
                  </a:lnTo>
                  <a:lnTo>
                    <a:pt x="638" y="657"/>
                  </a:lnTo>
                  <a:close/>
                  <a:moveTo>
                    <a:pt x="855" y="703"/>
                  </a:moveTo>
                  <a:lnTo>
                    <a:pt x="853" y="703"/>
                  </a:lnTo>
                  <a:lnTo>
                    <a:pt x="855" y="703"/>
                  </a:lnTo>
                  <a:lnTo>
                    <a:pt x="853" y="703"/>
                  </a:lnTo>
                  <a:lnTo>
                    <a:pt x="855" y="703"/>
                  </a:lnTo>
                  <a:close/>
                  <a:moveTo>
                    <a:pt x="44" y="468"/>
                  </a:moveTo>
                  <a:lnTo>
                    <a:pt x="42" y="468"/>
                  </a:lnTo>
                  <a:lnTo>
                    <a:pt x="44" y="468"/>
                  </a:lnTo>
                  <a:close/>
                  <a:moveTo>
                    <a:pt x="17" y="459"/>
                  </a:moveTo>
                  <a:lnTo>
                    <a:pt x="17" y="457"/>
                  </a:lnTo>
                  <a:lnTo>
                    <a:pt x="17" y="459"/>
                  </a:lnTo>
                  <a:close/>
                  <a:moveTo>
                    <a:pt x="33" y="445"/>
                  </a:moveTo>
                  <a:lnTo>
                    <a:pt x="35" y="445"/>
                  </a:lnTo>
                  <a:lnTo>
                    <a:pt x="33" y="445"/>
                  </a:lnTo>
                  <a:close/>
                  <a:moveTo>
                    <a:pt x="622" y="647"/>
                  </a:moveTo>
                  <a:lnTo>
                    <a:pt x="620" y="647"/>
                  </a:lnTo>
                  <a:lnTo>
                    <a:pt x="622" y="647"/>
                  </a:lnTo>
                  <a:close/>
                  <a:moveTo>
                    <a:pt x="6" y="453"/>
                  </a:moveTo>
                  <a:lnTo>
                    <a:pt x="8" y="453"/>
                  </a:lnTo>
                  <a:lnTo>
                    <a:pt x="6" y="453"/>
                  </a:lnTo>
                  <a:close/>
                  <a:moveTo>
                    <a:pt x="246" y="541"/>
                  </a:moveTo>
                  <a:lnTo>
                    <a:pt x="246" y="539"/>
                  </a:lnTo>
                  <a:lnTo>
                    <a:pt x="246" y="541"/>
                  </a:lnTo>
                  <a:close/>
                  <a:moveTo>
                    <a:pt x="657" y="676"/>
                  </a:moveTo>
                  <a:lnTo>
                    <a:pt x="657" y="678"/>
                  </a:lnTo>
                  <a:lnTo>
                    <a:pt x="657" y="676"/>
                  </a:lnTo>
                  <a:close/>
                  <a:moveTo>
                    <a:pt x="25" y="490"/>
                  </a:moveTo>
                  <a:lnTo>
                    <a:pt x="25" y="488"/>
                  </a:lnTo>
                  <a:lnTo>
                    <a:pt x="25" y="490"/>
                  </a:lnTo>
                  <a:close/>
                  <a:moveTo>
                    <a:pt x="616" y="645"/>
                  </a:moveTo>
                  <a:lnTo>
                    <a:pt x="616" y="647"/>
                  </a:lnTo>
                  <a:lnTo>
                    <a:pt x="616" y="645"/>
                  </a:lnTo>
                  <a:close/>
                  <a:moveTo>
                    <a:pt x="588" y="647"/>
                  </a:moveTo>
                  <a:lnTo>
                    <a:pt x="588" y="645"/>
                  </a:lnTo>
                  <a:lnTo>
                    <a:pt x="588" y="647"/>
                  </a:lnTo>
                  <a:close/>
                  <a:moveTo>
                    <a:pt x="31" y="478"/>
                  </a:moveTo>
                  <a:lnTo>
                    <a:pt x="29" y="478"/>
                  </a:lnTo>
                  <a:lnTo>
                    <a:pt x="31" y="478"/>
                  </a:lnTo>
                  <a:close/>
                  <a:moveTo>
                    <a:pt x="46" y="465"/>
                  </a:moveTo>
                  <a:lnTo>
                    <a:pt x="48" y="465"/>
                  </a:lnTo>
                  <a:lnTo>
                    <a:pt x="46" y="465"/>
                  </a:lnTo>
                  <a:close/>
                  <a:moveTo>
                    <a:pt x="618" y="645"/>
                  </a:moveTo>
                  <a:lnTo>
                    <a:pt x="618" y="647"/>
                  </a:lnTo>
                  <a:lnTo>
                    <a:pt x="618" y="645"/>
                  </a:lnTo>
                  <a:lnTo>
                    <a:pt x="618" y="647"/>
                  </a:lnTo>
                  <a:lnTo>
                    <a:pt x="618" y="645"/>
                  </a:lnTo>
                  <a:close/>
                  <a:moveTo>
                    <a:pt x="27" y="432"/>
                  </a:moveTo>
                  <a:lnTo>
                    <a:pt x="27" y="430"/>
                  </a:lnTo>
                  <a:lnTo>
                    <a:pt x="27" y="432"/>
                  </a:lnTo>
                  <a:close/>
                  <a:moveTo>
                    <a:pt x="23" y="493"/>
                  </a:moveTo>
                  <a:lnTo>
                    <a:pt x="21" y="493"/>
                  </a:lnTo>
                  <a:lnTo>
                    <a:pt x="23" y="493"/>
                  </a:lnTo>
                  <a:close/>
                  <a:moveTo>
                    <a:pt x="518" y="643"/>
                  </a:moveTo>
                  <a:lnTo>
                    <a:pt x="517" y="643"/>
                  </a:lnTo>
                  <a:lnTo>
                    <a:pt x="518" y="643"/>
                  </a:lnTo>
                  <a:close/>
                  <a:moveTo>
                    <a:pt x="666" y="691"/>
                  </a:moveTo>
                  <a:lnTo>
                    <a:pt x="664" y="689"/>
                  </a:lnTo>
                  <a:lnTo>
                    <a:pt x="666" y="689"/>
                  </a:lnTo>
                  <a:lnTo>
                    <a:pt x="666" y="691"/>
                  </a:lnTo>
                  <a:close/>
                  <a:moveTo>
                    <a:pt x="31" y="449"/>
                  </a:moveTo>
                  <a:lnTo>
                    <a:pt x="31" y="447"/>
                  </a:lnTo>
                  <a:lnTo>
                    <a:pt x="31" y="449"/>
                  </a:lnTo>
                  <a:close/>
                  <a:moveTo>
                    <a:pt x="4" y="453"/>
                  </a:moveTo>
                  <a:lnTo>
                    <a:pt x="6" y="453"/>
                  </a:lnTo>
                  <a:lnTo>
                    <a:pt x="4" y="453"/>
                  </a:lnTo>
                  <a:close/>
                  <a:moveTo>
                    <a:pt x="674" y="695"/>
                  </a:moveTo>
                  <a:lnTo>
                    <a:pt x="674" y="697"/>
                  </a:lnTo>
                  <a:lnTo>
                    <a:pt x="674" y="695"/>
                  </a:lnTo>
                  <a:lnTo>
                    <a:pt x="674" y="697"/>
                  </a:lnTo>
                  <a:lnTo>
                    <a:pt x="674" y="695"/>
                  </a:lnTo>
                  <a:close/>
                  <a:moveTo>
                    <a:pt x="590" y="691"/>
                  </a:moveTo>
                  <a:lnTo>
                    <a:pt x="590" y="689"/>
                  </a:lnTo>
                  <a:lnTo>
                    <a:pt x="590" y="691"/>
                  </a:lnTo>
                  <a:close/>
                  <a:moveTo>
                    <a:pt x="622" y="647"/>
                  </a:moveTo>
                  <a:lnTo>
                    <a:pt x="622" y="649"/>
                  </a:lnTo>
                  <a:lnTo>
                    <a:pt x="622" y="647"/>
                  </a:lnTo>
                  <a:close/>
                  <a:moveTo>
                    <a:pt x="33" y="455"/>
                  </a:moveTo>
                  <a:lnTo>
                    <a:pt x="35" y="455"/>
                  </a:lnTo>
                  <a:lnTo>
                    <a:pt x="33" y="455"/>
                  </a:lnTo>
                  <a:close/>
                  <a:moveTo>
                    <a:pt x="33" y="457"/>
                  </a:moveTo>
                  <a:lnTo>
                    <a:pt x="33" y="455"/>
                  </a:lnTo>
                  <a:lnTo>
                    <a:pt x="33" y="457"/>
                  </a:lnTo>
                  <a:close/>
                  <a:moveTo>
                    <a:pt x="664" y="685"/>
                  </a:moveTo>
                  <a:lnTo>
                    <a:pt x="662" y="685"/>
                  </a:lnTo>
                  <a:lnTo>
                    <a:pt x="664" y="685"/>
                  </a:lnTo>
                  <a:lnTo>
                    <a:pt x="662" y="685"/>
                  </a:lnTo>
                  <a:lnTo>
                    <a:pt x="664" y="685"/>
                  </a:lnTo>
                  <a:close/>
                  <a:moveTo>
                    <a:pt x="674" y="697"/>
                  </a:moveTo>
                  <a:lnTo>
                    <a:pt x="674" y="695"/>
                  </a:lnTo>
                  <a:lnTo>
                    <a:pt x="674" y="697"/>
                  </a:lnTo>
                  <a:lnTo>
                    <a:pt x="674" y="695"/>
                  </a:lnTo>
                  <a:lnTo>
                    <a:pt x="674" y="697"/>
                  </a:lnTo>
                  <a:close/>
                  <a:moveTo>
                    <a:pt x="664" y="685"/>
                  </a:moveTo>
                  <a:lnTo>
                    <a:pt x="664" y="683"/>
                  </a:lnTo>
                  <a:lnTo>
                    <a:pt x="664" y="685"/>
                  </a:lnTo>
                  <a:close/>
                  <a:moveTo>
                    <a:pt x="6" y="451"/>
                  </a:moveTo>
                  <a:lnTo>
                    <a:pt x="4" y="451"/>
                  </a:lnTo>
                  <a:lnTo>
                    <a:pt x="4" y="449"/>
                  </a:lnTo>
                  <a:lnTo>
                    <a:pt x="6" y="449"/>
                  </a:lnTo>
                  <a:lnTo>
                    <a:pt x="6" y="451"/>
                  </a:lnTo>
                  <a:close/>
                  <a:moveTo>
                    <a:pt x="403" y="547"/>
                  </a:moveTo>
                  <a:lnTo>
                    <a:pt x="401" y="547"/>
                  </a:lnTo>
                  <a:lnTo>
                    <a:pt x="403" y="547"/>
                  </a:lnTo>
                  <a:close/>
                  <a:moveTo>
                    <a:pt x="653" y="672"/>
                  </a:moveTo>
                  <a:lnTo>
                    <a:pt x="651" y="672"/>
                  </a:lnTo>
                  <a:lnTo>
                    <a:pt x="653" y="672"/>
                  </a:lnTo>
                  <a:close/>
                  <a:moveTo>
                    <a:pt x="613" y="645"/>
                  </a:moveTo>
                  <a:lnTo>
                    <a:pt x="613" y="647"/>
                  </a:lnTo>
                  <a:lnTo>
                    <a:pt x="613" y="645"/>
                  </a:lnTo>
                  <a:close/>
                  <a:moveTo>
                    <a:pt x="13" y="465"/>
                  </a:moveTo>
                  <a:lnTo>
                    <a:pt x="13" y="467"/>
                  </a:lnTo>
                  <a:lnTo>
                    <a:pt x="13" y="465"/>
                  </a:lnTo>
                  <a:close/>
                  <a:moveTo>
                    <a:pt x="659" y="682"/>
                  </a:moveTo>
                  <a:lnTo>
                    <a:pt x="657" y="682"/>
                  </a:lnTo>
                  <a:lnTo>
                    <a:pt x="659" y="682"/>
                  </a:lnTo>
                  <a:close/>
                  <a:moveTo>
                    <a:pt x="357" y="501"/>
                  </a:moveTo>
                  <a:lnTo>
                    <a:pt x="355" y="501"/>
                  </a:lnTo>
                  <a:lnTo>
                    <a:pt x="357" y="501"/>
                  </a:lnTo>
                  <a:close/>
                  <a:moveTo>
                    <a:pt x="40" y="468"/>
                  </a:moveTo>
                  <a:lnTo>
                    <a:pt x="40" y="470"/>
                  </a:lnTo>
                  <a:lnTo>
                    <a:pt x="38" y="470"/>
                  </a:lnTo>
                  <a:lnTo>
                    <a:pt x="38" y="468"/>
                  </a:lnTo>
                  <a:lnTo>
                    <a:pt x="40" y="468"/>
                  </a:lnTo>
                  <a:close/>
                  <a:moveTo>
                    <a:pt x="628" y="647"/>
                  </a:moveTo>
                  <a:lnTo>
                    <a:pt x="630" y="647"/>
                  </a:lnTo>
                  <a:lnTo>
                    <a:pt x="628" y="647"/>
                  </a:lnTo>
                  <a:close/>
                  <a:moveTo>
                    <a:pt x="340" y="503"/>
                  </a:moveTo>
                  <a:lnTo>
                    <a:pt x="340" y="505"/>
                  </a:lnTo>
                  <a:lnTo>
                    <a:pt x="340" y="503"/>
                  </a:lnTo>
                  <a:close/>
                  <a:moveTo>
                    <a:pt x="611" y="645"/>
                  </a:moveTo>
                  <a:lnTo>
                    <a:pt x="611" y="643"/>
                  </a:lnTo>
                  <a:lnTo>
                    <a:pt x="611" y="645"/>
                  </a:lnTo>
                  <a:close/>
                  <a:moveTo>
                    <a:pt x="444" y="578"/>
                  </a:moveTo>
                  <a:lnTo>
                    <a:pt x="445" y="578"/>
                  </a:lnTo>
                  <a:lnTo>
                    <a:pt x="444" y="578"/>
                  </a:lnTo>
                  <a:close/>
                  <a:moveTo>
                    <a:pt x="645" y="666"/>
                  </a:moveTo>
                  <a:lnTo>
                    <a:pt x="645" y="664"/>
                  </a:lnTo>
                  <a:lnTo>
                    <a:pt x="645" y="666"/>
                  </a:lnTo>
                  <a:close/>
                  <a:moveTo>
                    <a:pt x="40" y="468"/>
                  </a:moveTo>
                  <a:lnTo>
                    <a:pt x="40" y="470"/>
                  </a:lnTo>
                  <a:lnTo>
                    <a:pt x="40" y="468"/>
                  </a:lnTo>
                  <a:close/>
                  <a:moveTo>
                    <a:pt x="40" y="482"/>
                  </a:moveTo>
                  <a:lnTo>
                    <a:pt x="40" y="480"/>
                  </a:lnTo>
                  <a:lnTo>
                    <a:pt x="40" y="482"/>
                  </a:lnTo>
                  <a:close/>
                  <a:moveTo>
                    <a:pt x="666" y="691"/>
                  </a:moveTo>
                  <a:lnTo>
                    <a:pt x="666" y="689"/>
                  </a:lnTo>
                  <a:lnTo>
                    <a:pt x="666" y="691"/>
                  </a:lnTo>
                  <a:close/>
                  <a:moveTo>
                    <a:pt x="682" y="701"/>
                  </a:moveTo>
                  <a:lnTo>
                    <a:pt x="680" y="701"/>
                  </a:lnTo>
                  <a:lnTo>
                    <a:pt x="682" y="701"/>
                  </a:lnTo>
                  <a:close/>
                  <a:moveTo>
                    <a:pt x="666" y="685"/>
                  </a:moveTo>
                  <a:lnTo>
                    <a:pt x="666" y="687"/>
                  </a:lnTo>
                  <a:lnTo>
                    <a:pt x="666" y="685"/>
                  </a:lnTo>
                  <a:lnTo>
                    <a:pt x="666" y="687"/>
                  </a:lnTo>
                  <a:lnTo>
                    <a:pt x="666" y="685"/>
                  </a:lnTo>
                  <a:close/>
                  <a:moveTo>
                    <a:pt x="668" y="687"/>
                  </a:moveTo>
                  <a:lnTo>
                    <a:pt x="666" y="687"/>
                  </a:lnTo>
                  <a:lnTo>
                    <a:pt x="668" y="687"/>
                  </a:lnTo>
                  <a:close/>
                  <a:moveTo>
                    <a:pt x="684" y="852"/>
                  </a:moveTo>
                  <a:lnTo>
                    <a:pt x="682" y="852"/>
                  </a:lnTo>
                  <a:lnTo>
                    <a:pt x="684" y="852"/>
                  </a:lnTo>
                  <a:close/>
                  <a:moveTo>
                    <a:pt x="31" y="482"/>
                  </a:moveTo>
                  <a:lnTo>
                    <a:pt x="31" y="484"/>
                  </a:lnTo>
                  <a:lnTo>
                    <a:pt x="31" y="482"/>
                  </a:lnTo>
                  <a:close/>
                  <a:moveTo>
                    <a:pt x="27" y="440"/>
                  </a:moveTo>
                  <a:lnTo>
                    <a:pt x="27" y="438"/>
                  </a:lnTo>
                  <a:lnTo>
                    <a:pt x="27" y="440"/>
                  </a:lnTo>
                  <a:close/>
                  <a:moveTo>
                    <a:pt x="35" y="476"/>
                  </a:moveTo>
                  <a:lnTo>
                    <a:pt x="35" y="474"/>
                  </a:lnTo>
                  <a:lnTo>
                    <a:pt x="35" y="476"/>
                  </a:lnTo>
                  <a:close/>
                  <a:moveTo>
                    <a:pt x="624" y="647"/>
                  </a:moveTo>
                  <a:lnTo>
                    <a:pt x="622" y="647"/>
                  </a:lnTo>
                  <a:lnTo>
                    <a:pt x="624" y="647"/>
                  </a:lnTo>
                  <a:close/>
                  <a:moveTo>
                    <a:pt x="689" y="852"/>
                  </a:moveTo>
                  <a:lnTo>
                    <a:pt x="687" y="852"/>
                  </a:lnTo>
                  <a:lnTo>
                    <a:pt x="689" y="852"/>
                  </a:lnTo>
                  <a:lnTo>
                    <a:pt x="687" y="852"/>
                  </a:lnTo>
                  <a:lnTo>
                    <a:pt x="689" y="852"/>
                  </a:lnTo>
                  <a:close/>
                  <a:moveTo>
                    <a:pt x="382" y="538"/>
                  </a:moveTo>
                  <a:lnTo>
                    <a:pt x="380" y="538"/>
                  </a:lnTo>
                  <a:lnTo>
                    <a:pt x="382" y="538"/>
                  </a:lnTo>
                  <a:close/>
                  <a:moveTo>
                    <a:pt x="31" y="476"/>
                  </a:moveTo>
                  <a:lnTo>
                    <a:pt x="31" y="474"/>
                  </a:lnTo>
                  <a:lnTo>
                    <a:pt x="31" y="476"/>
                  </a:lnTo>
                  <a:close/>
                  <a:moveTo>
                    <a:pt x="662" y="682"/>
                  </a:moveTo>
                  <a:lnTo>
                    <a:pt x="664" y="682"/>
                  </a:lnTo>
                  <a:lnTo>
                    <a:pt x="662" y="682"/>
                  </a:lnTo>
                  <a:close/>
                  <a:moveTo>
                    <a:pt x="580" y="643"/>
                  </a:moveTo>
                  <a:lnTo>
                    <a:pt x="578" y="643"/>
                  </a:lnTo>
                  <a:lnTo>
                    <a:pt x="580" y="643"/>
                  </a:lnTo>
                  <a:close/>
                  <a:moveTo>
                    <a:pt x="645" y="670"/>
                  </a:moveTo>
                  <a:lnTo>
                    <a:pt x="645" y="672"/>
                  </a:lnTo>
                  <a:lnTo>
                    <a:pt x="645" y="670"/>
                  </a:lnTo>
                  <a:close/>
                  <a:moveTo>
                    <a:pt x="626" y="647"/>
                  </a:moveTo>
                  <a:lnTo>
                    <a:pt x="626" y="645"/>
                  </a:lnTo>
                  <a:lnTo>
                    <a:pt x="626" y="647"/>
                  </a:lnTo>
                  <a:close/>
                  <a:moveTo>
                    <a:pt x="686" y="852"/>
                  </a:moveTo>
                  <a:lnTo>
                    <a:pt x="684" y="852"/>
                  </a:lnTo>
                  <a:lnTo>
                    <a:pt x="686" y="852"/>
                  </a:lnTo>
                  <a:lnTo>
                    <a:pt x="684" y="852"/>
                  </a:lnTo>
                  <a:lnTo>
                    <a:pt x="686" y="852"/>
                  </a:lnTo>
                  <a:lnTo>
                    <a:pt x="684" y="852"/>
                  </a:lnTo>
                  <a:lnTo>
                    <a:pt x="686" y="852"/>
                  </a:lnTo>
                  <a:close/>
                  <a:moveTo>
                    <a:pt x="672" y="695"/>
                  </a:moveTo>
                  <a:lnTo>
                    <a:pt x="674" y="695"/>
                  </a:lnTo>
                  <a:lnTo>
                    <a:pt x="672" y="695"/>
                  </a:lnTo>
                  <a:lnTo>
                    <a:pt x="674" y="695"/>
                  </a:lnTo>
                  <a:lnTo>
                    <a:pt x="672" y="695"/>
                  </a:lnTo>
                  <a:close/>
                  <a:moveTo>
                    <a:pt x="384" y="539"/>
                  </a:moveTo>
                  <a:lnTo>
                    <a:pt x="382" y="539"/>
                  </a:lnTo>
                  <a:lnTo>
                    <a:pt x="384" y="539"/>
                  </a:lnTo>
                  <a:close/>
                  <a:moveTo>
                    <a:pt x="661" y="683"/>
                  </a:moveTo>
                  <a:lnTo>
                    <a:pt x="661" y="682"/>
                  </a:lnTo>
                  <a:lnTo>
                    <a:pt x="661" y="683"/>
                  </a:lnTo>
                  <a:close/>
                  <a:moveTo>
                    <a:pt x="19" y="455"/>
                  </a:moveTo>
                  <a:lnTo>
                    <a:pt x="19" y="457"/>
                  </a:lnTo>
                  <a:lnTo>
                    <a:pt x="19" y="455"/>
                  </a:lnTo>
                  <a:close/>
                  <a:moveTo>
                    <a:pt x="29" y="442"/>
                  </a:moveTo>
                  <a:lnTo>
                    <a:pt x="29" y="440"/>
                  </a:lnTo>
                  <a:lnTo>
                    <a:pt x="29" y="442"/>
                  </a:lnTo>
                  <a:close/>
                  <a:moveTo>
                    <a:pt x="42" y="484"/>
                  </a:moveTo>
                  <a:lnTo>
                    <a:pt x="42" y="482"/>
                  </a:lnTo>
                  <a:lnTo>
                    <a:pt x="42" y="484"/>
                  </a:lnTo>
                  <a:close/>
                  <a:moveTo>
                    <a:pt x="653" y="672"/>
                  </a:moveTo>
                  <a:lnTo>
                    <a:pt x="651" y="672"/>
                  </a:lnTo>
                  <a:lnTo>
                    <a:pt x="653" y="672"/>
                  </a:lnTo>
                  <a:close/>
                  <a:moveTo>
                    <a:pt x="13" y="465"/>
                  </a:moveTo>
                  <a:lnTo>
                    <a:pt x="12" y="465"/>
                  </a:lnTo>
                  <a:lnTo>
                    <a:pt x="13" y="465"/>
                  </a:lnTo>
                  <a:close/>
                  <a:moveTo>
                    <a:pt x="662" y="683"/>
                  </a:moveTo>
                  <a:lnTo>
                    <a:pt x="661" y="683"/>
                  </a:lnTo>
                  <a:lnTo>
                    <a:pt x="662" y="683"/>
                  </a:lnTo>
                  <a:close/>
                  <a:moveTo>
                    <a:pt x="33" y="451"/>
                  </a:moveTo>
                  <a:lnTo>
                    <a:pt x="31" y="451"/>
                  </a:lnTo>
                  <a:lnTo>
                    <a:pt x="33" y="451"/>
                  </a:lnTo>
                  <a:close/>
                  <a:moveTo>
                    <a:pt x="641" y="660"/>
                  </a:moveTo>
                  <a:lnTo>
                    <a:pt x="641" y="662"/>
                  </a:lnTo>
                  <a:lnTo>
                    <a:pt x="641" y="660"/>
                  </a:lnTo>
                  <a:close/>
                  <a:moveTo>
                    <a:pt x="689" y="852"/>
                  </a:moveTo>
                  <a:lnTo>
                    <a:pt x="687" y="852"/>
                  </a:lnTo>
                  <a:lnTo>
                    <a:pt x="689" y="852"/>
                  </a:lnTo>
                  <a:close/>
                  <a:moveTo>
                    <a:pt x="31" y="443"/>
                  </a:moveTo>
                  <a:lnTo>
                    <a:pt x="31" y="445"/>
                  </a:lnTo>
                  <a:lnTo>
                    <a:pt x="31" y="443"/>
                  </a:lnTo>
                  <a:close/>
                  <a:moveTo>
                    <a:pt x="38" y="463"/>
                  </a:moveTo>
                  <a:lnTo>
                    <a:pt x="38" y="465"/>
                  </a:lnTo>
                  <a:lnTo>
                    <a:pt x="38" y="463"/>
                  </a:lnTo>
                  <a:close/>
                  <a:moveTo>
                    <a:pt x="19" y="468"/>
                  </a:moveTo>
                  <a:lnTo>
                    <a:pt x="21" y="468"/>
                  </a:lnTo>
                  <a:lnTo>
                    <a:pt x="19" y="468"/>
                  </a:lnTo>
                  <a:close/>
                  <a:moveTo>
                    <a:pt x="33" y="478"/>
                  </a:moveTo>
                  <a:lnTo>
                    <a:pt x="31" y="478"/>
                  </a:lnTo>
                  <a:lnTo>
                    <a:pt x="33" y="478"/>
                  </a:lnTo>
                  <a:close/>
                  <a:moveTo>
                    <a:pt x="46" y="478"/>
                  </a:moveTo>
                  <a:lnTo>
                    <a:pt x="48" y="478"/>
                  </a:lnTo>
                  <a:lnTo>
                    <a:pt x="46" y="478"/>
                  </a:lnTo>
                  <a:close/>
                  <a:moveTo>
                    <a:pt x="17" y="461"/>
                  </a:moveTo>
                  <a:lnTo>
                    <a:pt x="15" y="461"/>
                  </a:lnTo>
                  <a:lnTo>
                    <a:pt x="17" y="461"/>
                  </a:lnTo>
                  <a:close/>
                  <a:moveTo>
                    <a:pt x="17" y="470"/>
                  </a:moveTo>
                  <a:lnTo>
                    <a:pt x="17" y="468"/>
                  </a:lnTo>
                  <a:lnTo>
                    <a:pt x="17" y="470"/>
                  </a:lnTo>
                  <a:close/>
                  <a:moveTo>
                    <a:pt x="666" y="685"/>
                  </a:moveTo>
                  <a:lnTo>
                    <a:pt x="666" y="687"/>
                  </a:lnTo>
                  <a:lnTo>
                    <a:pt x="666" y="685"/>
                  </a:lnTo>
                  <a:close/>
                  <a:moveTo>
                    <a:pt x="588" y="643"/>
                  </a:moveTo>
                  <a:lnTo>
                    <a:pt x="586" y="643"/>
                  </a:lnTo>
                  <a:lnTo>
                    <a:pt x="588" y="643"/>
                  </a:lnTo>
                  <a:close/>
                  <a:moveTo>
                    <a:pt x="628" y="647"/>
                  </a:moveTo>
                  <a:lnTo>
                    <a:pt x="628" y="645"/>
                  </a:lnTo>
                  <a:lnTo>
                    <a:pt x="628" y="647"/>
                  </a:lnTo>
                  <a:close/>
                  <a:moveTo>
                    <a:pt x="12" y="463"/>
                  </a:moveTo>
                  <a:lnTo>
                    <a:pt x="13" y="463"/>
                  </a:lnTo>
                  <a:lnTo>
                    <a:pt x="12" y="463"/>
                  </a:lnTo>
                  <a:close/>
                  <a:moveTo>
                    <a:pt x="835" y="712"/>
                  </a:moveTo>
                  <a:lnTo>
                    <a:pt x="835" y="714"/>
                  </a:lnTo>
                  <a:lnTo>
                    <a:pt x="835" y="712"/>
                  </a:lnTo>
                  <a:close/>
                  <a:moveTo>
                    <a:pt x="655" y="672"/>
                  </a:moveTo>
                  <a:lnTo>
                    <a:pt x="653" y="672"/>
                  </a:lnTo>
                  <a:lnTo>
                    <a:pt x="655" y="672"/>
                  </a:lnTo>
                  <a:close/>
                  <a:moveTo>
                    <a:pt x="616" y="722"/>
                  </a:moveTo>
                  <a:lnTo>
                    <a:pt x="616" y="724"/>
                  </a:lnTo>
                  <a:lnTo>
                    <a:pt x="616" y="722"/>
                  </a:lnTo>
                  <a:close/>
                  <a:moveTo>
                    <a:pt x="33" y="486"/>
                  </a:moveTo>
                  <a:lnTo>
                    <a:pt x="33" y="484"/>
                  </a:lnTo>
                  <a:lnTo>
                    <a:pt x="33" y="486"/>
                  </a:lnTo>
                  <a:close/>
                  <a:moveTo>
                    <a:pt x="515" y="649"/>
                  </a:moveTo>
                  <a:lnTo>
                    <a:pt x="513" y="649"/>
                  </a:lnTo>
                  <a:lnTo>
                    <a:pt x="515" y="649"/>
                  </a:lnTo>
                  <a:close/>
                  <a:moveTo>
                    <a:pt x="684" y="847"/>
                  </a:moveTo>
                  <a:lnTo>
                    <a:pt x="684" y="849"/>
                  </a:lnTo>
                  <a:lnTo>
                    <a:pt x="684" y="847"/>
                  </a:lnTo>
                  <a:close/>
                  <a:moveTo>
                    <a:pt x="664" y="680"/>
                  </a:moveTo>
                  <a:lnTo>
                    <a:pt x="662" y="680"/>
                  </a:lnTo>
                  <a:lnTo>
                    <a:pt x="664" y="680"/>
                  </a:lnTo>
                  <a:close/>
                  <a:moveTo>
                    <a:pt x="31" y="443"/>
                  </a:moveTo>
                  <a:lnTo>
                    <a:pt x="31" y="445"/>
                  </a:lnTo>
                  <a:lnTo>
                    <a:pt x="31" y="443"/>
                  </a:lnTo>
                  <a:close/>
                  <a:moveTo>
                    <a:pt x="607" y="645"/>
                  </a:moveTo>
                  <a:lnTo>
                    <a:pt x="607" y="647"/>
                  </a:lnTo>
                  <a:lnTo>
                    <a:pt x="607" y="645"/>
                  </a:lnTo>
                  <a:close/>
                  <a:moveTo>
                    <a:pt x="21" y="474"/>
                  </a:moveTo>
                  <a:lnTo>
                    <a:pt x="23" y="474"/>
                  </a:lnTo>
                  <a:lnTo>
                    <a:pt x="21" y="474"/>
                  </a:lnTo>
                  <a:close/>
                  <a:moveTo>
                    <a:pt x="48" y="482"/>
                  </a:moveTo>
                  <a:lnTo>
                    <a:pt x="48" y="480"/>
                  </a:lnTo>
                  <a:lnTo>
                    <a:pt x="48" y="482"/>
                  </a:lnTo>
                  <a:close/>
                  <a:moveTo>
                    <a:pt x="855" y="703"/>
                  </a:moveTo>
                  <a:lnTo>
                    <a:pt x="853" y="703"/>
                  </a:lnTo>
                  <a:lnTo>
                    <a:pt x="855" y="703"/>
                  </a:lnTo>
                  <a:close/>
                  <a:moveTo>
                    <a:pt x="48" y="482"/>
                  </a:moveTo>
                  <a:lnTo>
                    <a:pt x="48" y="480"/>
                  </a:lnTo>
                  <a:lnTo>
                    <a:pt x="48" y="482"/>
                  </a:lnTo>
                  <a:close/>
                  <a:moveTo>
                    <a:pt x="584" y="862"/>
                  </a:moveTo>
                  <a:lnTo>
                    <a:pt x="582" y="862"/>
                  </a:lnTo>
                  <a:lnTo>
                    <a:pt x="584" y="862"/>
                  </a:lnTo>
                  <a:close/>
                  <a:moveTo>
                    <a:pt x="538" y="649"/>
                  </a:moveTo>
                  <a:lnTo>
                    <a:pt x="536" y="649"/>
                  </a:lnTo>
                  <a:lnTo>
                    <a:pt x="538" y="649"/>
                  </a:lnTo>
                  <a:close/>
                  <a:moveTo>
                    <a:pt x="582" y="850"/>
                  </a:moveTo>
                  <a:lnTo>
                    <a:pt x="582" y="849"/>
                  </a:lnTo>
                  <a:lnTo>
                    <a:pt x="582" y="850"/>
                  </a:lnTo>
                  <a:close/>
                  <a:moveTo>
                    <a:pt x="582" y="850"/>
                  </a:moveTo>
                  <a:lnTo>
                    <a:pt x="582" y="849"/>
                  </a:lnTo>
                  <a:lnTo>
                    <a:pt x="582" y="850"/>
                  </a:lnTo>
                  <a:close/>
                  <a:moveTo>
                    <a:pt x="582" y="850"/>
                  </a:moveTo>
                  <a:lnTo>
                    <a:pt x="582" y="849"/>
                  </a:lnTo>
                  <a:lnTo>
                    <a:pt x="582" y="850"/>
                  </a:lnTo>
                  <a:close/>
                  <a:moveTo>
                    <a:pt x="463" y="632"/>
                  </a:moveTo>
                  <a:lnTo>
                    <a:pt x="461" y="632"/>
                  </a:lnTo>
                  <a:lnTo>
                    <a:pt x="463" y="632"/>
                  </a:lnTo>
                  <a:close/>
                  <a:moveTo>
                    <a:pt x="559" y="904"/>
                  </a:moveTo>
                  <a:lnTo>
                    <a:pt x="559" y="902"/>
                  </a:lnTo>
                  <a:lnTo>
                    <a:pt x="559" y="904"/>
                  </a:lnTo>
                  <a:close/>
                  <a:moveTo>
                    <a:pt x="582" y="849"/>
                  </a:moveTo>
                  <a:lnTo>
                    <a:pt x="582" y="850"/>
                  </a:lnTo>
                  <a:lnTo>
                    <a:pt x="582" y="849"/>
                  </a:lnTo>
                  <a:close/>
                  <a:moveTo>
                    <a:pt x="883" y="660"/>
                  </a:moveTo>
                  <a:lnTo>
                    <a:pt x="883" y="659"/>
                  </a:lnTo>
                  <a:lnTo>
                    <a:pt x="883" y="660"/>
                  </a:lnTo>
                  <a:close/>
                  <a:moveTo>
                    <a:pt x="580" y="872"/>
                  </a:moveTo>
                  <a:lnTo>
                    <a:pt x="580" y="870"/>
                  </a:lnTo>
                  <a:lnTo>
                    <a:pt x="580" y="872"/>
                  </a:lnTo>
                  <a:close/>
                </a:path>
              </a:pathLst>
            </a:custGeom>
            <a:solidFill>
              <a:srgbClr val="FD685D"/>
            </a:solidFill>
            <a:ln w="3175">
              <a:solidFill>
                <a:sysClr val="window" lastClr="FFFF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black"/>
                </a:solidFill>
                <a:effectLst/>
                <a:uLnTx/>
                <a:uFillTx/>
                <a:ea typeface="宋体" panose="02010600030101010101" pitchFamily="2" charset="-122"/>
              </a:endParaRPr>
            </a:p>
          </p:txBody>
        </p:sp>
        <p:sp>
          <p:nvSpPr>
            <p:cNvPr id="57" name="Freeform 2798">
              <a:extLst>
                <a:ext uri="{FF2B5EF4-FFF2-40B4-BE49-F238E27FC236}">
                  <a16:creationId xmlns:a16="http://schemas.microsoft.com/office/drawing/2014/main" id="{79E91C6D-F720-5BFE-5999-B7F84AA4186E}"/>
                </a:ext>
              </a:extLst>
            </p:cNvPr>
            <p:cNvSpPr>
              <a:spLocks/>
            </p:cNvSpPr>
            <p:nvPr/>
          </p:nvSpPr>
          <p:spPr bwMode="auto">
            <a:xfrm>
              <a:off x="3263900" y="2930525"/>
              <a:ext cx="685800" cy="1162050"/>
            </a:xfrm>
            <a:custGeom>
              <a:avLst/>
              <a:gdLst>
                <a:gd name="T0" fmla="*/ 225 w 432"/>
                <a:gd name="T1" fmla="*/ 8 h 732"/>
                <a:gd name="T2" fmla="*/ 248 w 432"/>
                <a:gd name="T3" fmla="*/ 14 h 732"/>
                <a:gd name="T4" fmla="*/ 269 w 432"/>
                <a:gd name="T5" fmla="*/ 19 h 732"/>
                <a:gd name="T6" fmla="*/ 290 w 432"/>
                <a:gd name="T7" fmla="*/ 25 h 732"/>
                <a:gd name="T8" fmla="*/ 311 w 432"/>
                <a:gd name="T9" fmla="*/ 31 h 732"/>
                <a:gd name="T10" fmla="*/ 334 w 432"/>
                <a:gd name="T11" fmla="*/ 35 h 732"/>
                <a:gd name="T12" fmla="*/ 355 w 432"/>
                <a:gd name="T13" fmla="*/ 41 h 732"/>
                <a:gd name="T14" fmla="*/ 378 w 432"/>
                <a:gd name="T15" fmla="*/ 44 h 732"/>
                <a:gd name="T16" fmla="*/ 403 w 432"/>
                <a:gd name="T17" fmla="*/ 48 h 732"/>
                <a:gd name="T18" fmla="*/ 428 w 432"/>
                <a:gd name="T19" fmla="*/ 54 h 732"/>
                <a:gd name="T20" fmla="*/ 425 w 432"/>
                <a:gd name="T21" fmla="*/ 98 h 732"/>
                <a:gd name="T22" fmla="*/ 419 w 432"/>
                <a:gd name="T23" fmla="*/ 135 h 732"/>
                <a:gd name="T24" fmla="*/ 413 w 432"/>
                <a:gd name="T25" fmla="*/ 175 h 732"/>
                <a:gd name="T26" fmla="*/ 405 w 432"/>
                <a:gd name="T27" fmla="*/ 217 h 732"/>
                <a:gd name="T28" fmla="*/ 400 w 432"/>
                <a:gd name="T29" fmla="*/ 263 h 732"/>
                <a:gd name="T30" fmla="*/ 392 w 432"/>
                <a:gd name="T31" fmla="*/ 313 h 732"/>
                <a:gd name="T32" fmla="*/ 388 w 432"/>
                <a:gd name="T33" fmla="*/ 346 h 732"/>
                <a:gd name="T34" fmla="*/ 386 w 432"/>
                <a:gd name="T35" fmla="*/ 375 h 732"/>
                <a:gd name="T36" fmla="*/ 382 w 432"/>
                <a:gd name="T37" fmla="*/ 407 h 732"/>
                <a:gd name="T38" fmla="*/ 380 w 432"/>
                <a:gd name="T39" fmla="*/ 444 h 732"/>
                <a:gd name="T40" fmla="*/ 375 w 432"/>
                <a:gd name="T41" fmla="*/ 488 h 732"/>
                <a:gd name="T42" fmla="*/ 373 w 432"/>
                <a:gd name="T43" fmla="*/ 509 h 732"/>
                <a:gd name="T44" fmla="*/ 371 w 432"/>
                <a:gd name="T45" fmla="*/ 536 h 732"/>
                <a:gd name="T46" fmla="*/ 369 w 432"/>
                <a:gd name="T47" fmla="*/ 557 h 732"/>
                <a:gd name="T48" fmla="*/ 365 w 432"/>
                <a:gd name="T49" fmla="*/ 582 h 732"/>
                <a:gd name="T50" fmla="*/ 363 w 432"/>
                <a:gd name="T51" fmla="*/ 603 h 732"/>
                <a:gd name="T52" fmla="*/ 359 w 432"/>
                <a:gd name="T53" fmla="*/ 630 h 732"/>
                <a:gd name="T54" fmla="*/ 359 w 432"/>
                <a:gd name="T55" fmla="*/ 657 h 732"/>
                <a:gd name="T56" fmla="*/ 357 w 432"/>
                <a:gd name="T57" fmla="*/ 678 h 732"/>
                <a:gd name="T58" fmla="*/ 354 w 432"/>
                <a:gd name="T59" fmla="*/ 705 h 732"/>
                <a:gd name="T60" fmla="*/ 350 w 432"/>
                <a:gd name="T61" fmla="*/ 732 h 732"/>
                <a:gd name="T62" fmla="*/ 317 w 432"/>
                <a:gd name="T63" fmla="*/ 726 h 732"/>
                <a:gd name="T64" fmla="*/ 292 w 432"/>
                <a:gd name="T65" fmla="*/ 722 h 732"/>
                <a:gd name="T66" fmla="*/ 265 w 432"/>
                <a:gd name="T67" fmla="*/ 718 h 732"/>
                <a:gd name="T68" fmla="*/ 229 w 432"/>
                <a:gd name="T69" fmla="*/ 711 h 732"/>
                <a:gd name="T70" fmla="*/ 200 w 432"/>
                <a:gd name="T71" fmla="*/ 705 h 732"/>
                <a:gd name="T72" fmla="*/ 161 w 432"/>
                <a:gd name="T73" fmla="*/ 697 h 732"/>
                <a:gd name="T74" fmla="*/ 119 w 432"/>
                <a:gd name="T75" fmla="*/ 686 h 732"/>
                <a:gd name="T76" fmla="*/ 88 w 432"/>
                <a:gd name="T77" fmla="*/ 678 h 732"/>
                <a:gd name="T78" fmla="*/ 62 w 432"/>
                <a:gd name="T79" fmla="*/ 672 h 732"/>
                <a:gd name="T80" fmla="*/ 23 w 432"/>
                <a:gd name="T81" fmla="*/ 661 h 732"/>
                <a:gd name="T82" fmla="*/ 4 w 432"/>
                <a:gd name="T83" fmla="*/ 641 h 732"/>
                <a:gd name="T84" fmla="*/ 14 w 432"/>
                <a:gd name="T85" fmla="*/ 613 h 732"/>
                <a:gd name="T86" fmla="*/ 21 w 432"/>
                <a:gd name="T87" fmla="*/ 586 h 732"/>
                <a:gd name="T88" fmla="*/ 27 w 432"/>
                <a:gd name="T89" fmla="*/ 561 h 732"/>
                <a:gd name="T90" fmla="*/ 35 w 432"/>
                <a:gd name="T91" fmla="*/ 538 h 732"/>
                <a:gd name="T92" fmla="*/ 42 w 432"/>
                <a:gd name="T93" fmla="*/ 511 h 732"/>
                <a:gd name="T94" fmla="*/ 50 w 432"/>
                <a:gd name="T95" fmla="*/ 488 h 732"/>
                <a:gd name="T96" fmla="*/ 58 w 432"/>
                <a:gd name="T97" fmla="*/ 459 h 732"/>
                <a:gd name="T98" fmla="*/ 65 w 432"/>
                <a:gd name="T99" fmla="*/ 434 h 732"/>
                <a:gd name="T100" fmla="*/ 71 w 432"/>
                <a:gd name="T101" fmla="*/ 411 h 732"/>
                <a:gd name="T102" fmla="*/ 77 w 432"/>
                <a:gd name="T103" fmla="*/ 390 h 732"/>
                <a:gd name="T104" fmla="*/ 85 w 432"/>
                <a:gd name="T105" fmla="*/ 369 h 732"/>
                <a:gd name="T106" fmla="*/ 92 w 432"/>
                <a:gd name="T107" fmla="*/ 340 h 732"/>
                <a:gd name="T108" fmla="*/ 102 w 432"/>
                <a:gd name="T109" fmla="*/ 309 h 732"/>
                <a:gd name="T110" fmla="*/ 113 w 432"/>
                <a:gd name="T111" fmla="*/ 269 h 732"/>
                <a:gd name="T112" fmla="*/ 123 w 432"/>
                <a:gd name="T113" fmla="*/ 234 h 732"/>
                <a:gd name="T114" fmla="*/ 137 w 432"/>
                <a:gd name="T115" fmla="*/ 194 h 732"/>
                <a:gd name="T116" fmla="*/ 150 w 432"/>
                <a:gd name="T117" fmla="*/ 144 h 732"/>
                <a:gd name="T118" fmla="*/ 165 w 432"/>
                <a:gd name="T119" fmla="*/ 90 h 732"/>
                <a:gd name="T120" fmla="*/ 175 w 432"/>
                <a:gd name="T121" fmla="*/ 60 h 732"/>
                <a:gd name="T122" fmla="*/ 190 w 432"/>
                <a:gd name="T123" fmla="*/ 6 h 7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32" h="732">
                  <a:moveTo>
                    <a:pt x="204" y="2"/>
                  </a:moveTo>
                  <a:lnTo>
                    <a:pt x="206" y="2"/>
                  </a:lnTo>
                  <a:lnTo>
                    <a:pt x="206" y="4"/>
                  </a:lnTo>
                  <a:lnTo>
                    <a:pt x="208" y="4"/>
                  </a:lnTo>
                  <a:lnTo>
                    <a:pt x="209" y="4"/>
                  </a:lnTo>
                  <a:lnTo>
                    <a:pt x="211" y="4"/>
                  </a:lnTo>
                  <a:lnTo>
                    <a:pt x="213" y="6"/>
                  </a:lnTo>
                  <a:lnTo>
                    <a:pt x="215" y="6"/>
                  </a:lnTo>
                  <a:lnTo>
                    <a:pt x="217" y="6"/>
                  </a:lnTo>
                  <a:lnTo>
                    <a:pt x="219" y="6"/>
                  </a:lnTo>
                  <a:lnTo>
                    <a:pt x="219" y="8"/>
                  </a:lnTo>
                  <a:lnTo>
                    <a:pt x="221" y="8"/>
                  </a:lnTo>
                  <a:lnTo>
                    <a:pt x="223" y="8"/>
                  </a:lnTo>
                  <a:lnTo>
                    <a:pt x="225" y="8"/>
                  </a:lnTo>
                  <a:lnTo>
                    <a:pt x="227" y="8"/>
                  </a:lnTo>
                  <a:lnTo>
                    <a:pt x="227" y="10"/>
                  </a:lnTo>
                  <a:lnTo>
                    <a:pt x="229" y="10"/>
                  </a:lnTo>
                  <a:lnTo>
                    <a:pt x="231" y="10"/>
                  </a:lnTo>
                  <a:lnTo>
                    <a:pt x="233" y="10"/>
                  </a:lnTo>
                  <a:lnTo>
                    <a:pt x="234" y="12"/>
                  </a:lnTo>
                  <a:lnTo>
                    <a:pt x="236" y="12"/>
                  </a:lnTo>
                  <a:lnTo>
                    <a:pt x="238" y="12"/>
                  </a:lnTo>
                  <a:lnTo>
                    <a:pt x="240" y="12"/>
                  </a:lnTo>
                  <a:lnTo>
                    <a:pt x="240" y="14"/>
                  </a:lnTo>
                  <a:lnTo>
                    <a:pt x="242" y="14"/>
                  </a:lnTo>
                  <a:lnTo>
                    <a:pt x="244" y="14"/>
                  </a:lnTo>
                  <a:lnTo>
                    <a:pt x="246" y="14"/>
                  </a:lnTo>
                  <a:lnTo>
                    <a:pt x="248" y="14"/>
                  </a:lnTo>
                  <a:lnTo>
                    <a:pt x="248" y="16"/>
                  </a:lnTo>
                  <a:lnTo>
                    <a:pt x="250" y="16"/>
                  </a:lnTo>
                  <a:lnTo>
                    <a:pt x="252" y="16"/>
                  </a:lnTo>
                  <a:lnTo>
                    <a:pt x="254" y="16"/>
                  </a:lnTo>
                  <a:lnTo>
                    <a:pt x="256" y="16"/>
                  </a:lnTo>
                  <a:lnTo>
                    <a:pt x="256" y="17"/>
                  </a:lnTo>
                  <a:lnTo>
                    <a:pt x="257" y="17"/>
                  </a:lnTo>
                  <a:lnTo>
                    <a:pt x="259" y="17"/>
                  </a:lnTo>
                  <a:lnTo>
                    <a:pt x="261" y="17"/>
                  </a:lnTo>
                  <a:lnTo>
                    <a:pt x="263" y="17"/>
                  </a:lnTo>
                  <a:lnTo>
                    <a:pt x="263" y="19"/>
                  </a:lnTo>
                  <a:lnTo>
                    <a:pt x="265" y="19"/>
                  </a:lnTo>
                  <a:lnTo>
                    <a:pt x="267" y="19"/>
                  </a:lnTo>
                  <a:lnTo>
                    <a:pt x="269" y="19"/>
                  </a:lnTo>
                  <a:lnTo>
                    <a:pt x="271" y="19"/>
                  </a:lnTo>
                  <a:lnTo>
                    <a:pt x="271" y="21"/>
                  </a:lnTo>
                  <a:lnTo>
                    <a:pt x="273" y="21"/>
                  </a:lnTo>
                  <a:lnTo>
                    <a:pt x="275" y="21"/>
                  </a:lnTo>
                  <a:lnTo>
                    <a:pt x="277" y="21"/>
                  </a:lnTo>
                  <a:lnTo>
                    <a:pt x="279" y="21"/>
                  </a:lnTo>
                  <a:lnTo>
                    <a:pt x="279" y="23"/>
                  </a:lnTo>
                  <a:lnTo>
                    <a:pt x="281" y="23"/>
                  </a:lnTo>
                  <a:lnTo>
                    <a:pt x="282" y="23"/>
                  </a:lnTo>
                  <a:lnTo>
                    <a:pt x="284" y="23"/>
                  </a:lnTo>
                  <a:lnTo>
                    <a:pt x="286" y="23"/>
                  </a:lnTo>
                  <a:lnTo>
                    <a:pt x="286" y="25"/>
                  </a:lnTo>
                  <a:lnTo>
                    <a:pt x="288" y="25"/>
                  </a:lnTo>
                  <a:lnTo>
                    <a:pt x="290" y="25"/>
                  </a:lnTo>
                  <a:lnTo>
                    <a:pt x="292" y="25"/>
                  </a:lnTo>
                  <a:lnTo>
                    <a:pt x="294" y="25"/>
                  </a:lnTo>
                  <a:lnTo>
                    <a:pt x="294" y="27"/>
                  </a:lnTo>
                  <a:lnTo>
                    <a:pt x="296" y="27"/>
                  </a:lnTo>
                  <a:lnTo>
                    <a:pt x="298" y="27"/>
                  </a:lnTo>
                  <a:lnTo>
                    <a:pt x="300" y="27"/>
                  </a:lnTo>
                  <a:lnTo>
                    <a:pt x="302" y="27"/>
                  </a:lnTo>
                  <a:lnTo>
                    <a:pt x="302" y="29"/>
                  </a:lnTo>
                  <a:lnTo>
                    <a:pt x="304" y="29"/>
                  </a:lnTo>
                  <a:lnTo>
                    <a:pt x="305" y="29"/>
                  </a:lnTo>
                  <a:lnTo>
                    <a:pt x="307" y="29"/>
                  </a:lnTo>
                  <a:lnTo>
                    <a:pt x="309" y="29"/>
                  </a:lnTo>
                  <a:lnTo>
                    <a:pt x="311" y="29"/>
                  </a:lnTo>
                  <a:lnTo>
                    <a:pt x="311" y="31"/>
                  </a:lnTo>
                  <a:lnTo>
                    <a:pt x="313" y="31"/>
                  </a:lnTo>
                  <a:lnTo>
                    <a:pt x="315" y="31"/>
                  </a:lnTo>
                  <a:lnTo>
                    <a:pt x="317" y="31"/>
                  </a:lnTo>
                  <a:lnTo>
                    <a:pt x="319" y="31"/>
                  </a:lnTo>
                  <a:lnTo>
                    <a:pt x="319" y="33"/>
                  </a:lnTo>
                  <a:lnTo>
                    <a:pt x="321" y="33"/>
                  </a:lnTo>
                  <a:lnTo>
                    <a:pt x="323" y="33"/>
                  </a:lnTo>
                  <a:lnTo>
                    <a:pt x="325" y="33"/>
                  </a:lnTo>
                  <a:lnTo>
                    <a:pt x="327" y="33"/>
                  </a:lnTo>
                  <a:lnTo>
                    <a:pt x="329" y="33"/>
                  </a:lnTo>
                  <a:lnTo>
                    <a:pt x="329" y="35"/>
                  </a:lnTo>
                  <a:lnTo>
                    <a:pt x="330" y="35"/>
                  </a:lnTo>
                  <a:lnTo>
                    <a:pt x="332" y="35"/>
                  </a:lnTo>
                  <a:lnTo>
                    <a:pt x="334" y="35"/>
                  </a:lnTo>
                  <a:lnTo>
                    <a:pt x="336" y="35"/>
                  </a:lnTo>
                  <a:lnTo>
                    <a:pt x="336" y="37"/>
                  </a:lnTo>
                  <a:lnTo>
                    <a:pt x="338" y="37"/>
                  </a:lnTo>
                  <a:lnTo>
                    <a:pt x="340" y="37"/>
                  </a:lnTo>
                  <a:lnTo>
                    <a:pt x="342" y="37"/>
                  </a:lnTo>
                  <a:lnTo>
                    <a:pt x="344" y="37"/>
                  </a:lnTo>
                  <a:lnTo>
                    <a:pt x="346" y="37"/>
                  </a:lnTo>
                  <a:lnTo>
                    <a:pt x="346" y="39"/>
                  </a:lnTo>
                  <a:lnTo>
                    <a:pt x="348" y="39"/>
                  </a:lnTo>
                  <a:lnTo>
                    <a:pt x="350" y="39"/>
                  </a:lnTo>
                  <a:lnTo>
                    <a:pt x="352" y="39"/>
                  </a:lnTo>
                  <a:lnTo>
                    <a:pt x="354" y="39"/>
                  </a:lnTo>
                  <a:lnTo>
                    <a:pt x="355" y="39"/>
                  </a:lnTo>
                  <a:lnTo>
                    <a:pt x="355" y="41"/>
                  </a:lnTo>
                  <a:lnTo>
                    <a:pt x="357" y="41"/>
                  </a:lnTo>
                  <a:lnTo>
                    <a:pt x="359" y="41"/>
                  </a:lnTo>
                  <a:lnTo>
                    <a:pt x="361" y="41"/>
                  </a:lnTo>
                  <a:lnTo>
                    <a:pt x="363" y="41"/>
                  </a:lnTo>
                  <a:lnTo>
                    <a:pt x="365" y="41"/>
                  </a:lnTo>
                  <a:lnTo>
                    <a:pt x="365" y="42"/>
                  </a:lnTo>
                  <a:lnTo>
                    <a:pt x="367" y="42"/>
                  </a:lnTo>
                  <a:lnTo>
                    <a:pt x="369" y="42"/>
                  </a:lnTo>
                  <a:lnTo>
                    <a:pt x="371" y="42"/>
                  </a:lnTo>
                  <a:lnTo>
                    <a:pt x="373" y="42"/>
                  </a:lnTo>
                  <a:lnTo>
                    <a:pt x="375" y="42"/>
                  </a:lnTo>
                  <a:lnTo>
                    <a:pt x="375" y="44"/>
                  </a:lnTo>
                  <a:lnTo>
                    <a:pt x="377" y="44"/>
                  </a:lnTo>
                  <a:lnTo>
                    <a:pt x="378" y="44"/>
                  </a:lnTo>
                  <a:lnTo>
                    <a:pt x="380" y="44"/>
                  </a:lnTo>
                  <a:lnTo>
                    <a:pt x="382" y="44"/>
                  </a:lnTo>
                  <a:lnTo>
                    <a:pt x="384" y="44"/>
                  </a:lnTo>
                  <a:lnTo>
                    <a:pt x="386" y="46"/>
                  </a:lnTo>
                  <a:lnTo>
                    <a:pt x="388" y="46"/>
                  </a:lnTo>
                  <a:lnTo>
                    <a:pt x="390" y="46"/>
                  </a:lnTo>
                  <a:lnTo>
                    <a:pt x="392" y="46"/>
                  </a:lnTo>
                  <a:lnTo>
                    <a:pt x="394" y="46"/>
                  </a:lnTo>
                  <a:lnTo>
                    <a:pt x="396" y="46"/>
                  </a:lnTo>
                  <a:lnTo>
                    <a:pt x="396" y="48"/>
                  </a:lnTo>
                  <a:lnTo>
                    <a:pt x="398" y="48"/>
                  </a:lnTo>
                  <a:lnTo>
                    <a:pt x="400" y="48"/>
                  </a:lnTo>
                  <a:lnTo>
                    <a:pt x="402" y="48"/>
                  </a:lnTo>
                  <a:lnTo>
                    <a:pt x="403" y="48"/>
                  </a:lnTo>
                  <a:lnTo>
                    <a:pt x="405" y="48"/>
                  </a:lnTo>
                  <a:lnTo>
                    <a:pt x="407" y="50"/>
                  </a:lnTo>
                  <a:lnTo>
                    <a:pt x="409" y="50"/>
                  </a:lnTo>
                  <a:lnTo>
                    <a:pt x="411" y="50"/>
                  </a:lnTo>
                  <a:lnTo>
                    <a:pt x="413" y="50"/>
                  </a:lnTo>
                  <a:lnTo>
                    <a:pt x="415" y="50"/>
                  </a:lnTo>
                  <a:lnTo>
                    <a:pt x="417" y="50"/>
                  </a:lnTo>
                  <a:lnTo>
                    <a:pt x="419" y="52"/>
                  </a:lnTo>
                  <a:lnTo>
                    <a:pt x="421" y="52"/>
                  </a:lnTo>
                  <a:lnTo>
                    <a:pt x="423" y="52"/>
                  </a:lnTo>
                  <a:lnTo>
                    <a:pt x="425" y="52"/>
                  </a:lnTo>
                  <a:lnTo>
                    <a:pt x="426" y="52"/>
                  </a:lnTo>
                  <a:lnTo>
                    <a:pt x="428" y="52"/>
                  </a:lnTo>
                  <a:lnTo>
                    <a:pt x="428" y="54"/>
                  </a:lnTo>
                  <a:lnTo>
                    <a:pt x="430" y="54"/>
                  </a:lnTo>
                  <a:lnTo>
                    <a:pt x="432" y="54"/>
                  </a:lnTo>
                  <a:lnTo>
                    <a:pt x="432" y="56"/>
                  </a:lnTo>
                  <a:lnTo>
                    <a:pt x="430" y="67"/>
                  </a:lnTo>
                  <a:lnTo>
                    <a:pt x="430" y="69"/>
                  </a:lnTo>
                  <a:lnTo>
                    <a:pt x="430" y="71"/>
                  </a:lnTo>
                  <a:lnTo>
                    <a:pt x="430" y="73"/>
                  </a:lnTo>
                  <a:lnTo>
                    <a:pt x="428" y="75"/>
                  </a:lnTo>
                  <a:lnTo>
                    <a:pt x="428" y="77"/>
                  </a:lnTo>
                  <a:lnTo>
                    <a:pt x="428" y="79"/>
                  </a:lnTo>
                  <a:lnTo>
                    <a:pt x="428" y="85"/>
                  </a:lnTo>
                  <a:lnTo>
                    <a:pt x="428" y="87"/>
                  </a:lnTo>
                  <a:lnTo>
                    <a:pt x="426" y="96"/>
                  </a:lnTo>
                  <a:lnTo>
                    <a:pt x="425" y="98"/>
                  </a:lnTo>
                  <a:lnTo>
                    <a:pt x="425" y="104"/>
                  </a:lnTo>
                  <a:lnTo>
                    <a:pt x="425" y="106"/>
                  </a:lnTo>
                  <a:lnTo>
                    <a:pt x="423" y="112"/>
                  </a:lnTo>
                  <a:lnTo>
                    <a:pt x="423" y="113"/>
                  </a:lnTo>
                  <a:lnTo>
                    <a:pt x="423" y="115"/>
                  </a:lnTo>
                  <a:lnTo>
                    <a:pt x="423" y="117"/>
                  </a:lnTo>
                  <a:lnTo>
                    <a:pt x="423" y="119"/>
                  </a:lnTo>
                  <a:lnTo>
                    <a:pt x="423" y="121"/>
                  </a:lnTo>
                  <a:lnTo>
                    <a:pt x="421" y="123"/>
                  </a:lnTo>
                  <a:lnTo>
                    <a:pt x="421" y="125"/>
                  </a:lnTo>
                  <a:lnTo>
                    <a:pt x="421" y="129"/>
                  </a:lnTo>
                  <a:lnTo>
                    <a:pt x="421" y="131"/>
                  </a:lnTo>
                  <a:lnTo>
                    <a:pt x="421" y="133"/>
                  </a:lnTo>
                  <a:lnTo>
                    <a:pt x="419" y="135"/>
                  </a:lnTo>
                  <a:lnTo>
                    <a:pt x="419" y="138"/>
                  </a:lnTo>
                  <a:lnTo>
                    <a:pt x="419" y="140"/>
                  </a:lnTo>
                  <a:lnTo>
                    <a:pt x="419" y="142"/>
                  </a:lnTo>
                  <a:lnTo>
                    <a:pt x="419" y="144"/>
                  </a:lnTo>
                  <a:lnTo>
                    <a:pt x="419" y="146"/>
                  </a:lnTo>
                  <a:lnTo>
                    <a:pt x="417" y="154"/>
                  </a:lnTo>
                  <a:lnTo>
                    <a:pt x="417" y="156"/>
                  </a:lnTo>
                  <a:lnTo>
                    <a:pt x="415" y="160"/>
                  </a:lnTo>
                  <a:lnTo>
                    <a:pt x="415" y="167"/>
                  </a:lnTo>
                  <a:lnTo>
                    <a:pt x="415" y="169"/>
                  </a:lnTo>
                  <a:lnTo>
                    <a:pt x="413" y="169"/>
                  </a:lnTo>
                  <a:lnTo>
                    <a:pt x="413" y="171"/>
                  </a:lnTo>
                  <a:lnTo>
                    <a:pt x="413" y="173"/>
                  </a:lnTo>
                  <a:lnTo>
                    <a:pt x="413" y="175"/>
                  </a:lnTo>
                  <a:lnTo>
                    <a:pt x="413" y="177"/>
                  </a:lnTo>
                  <a:lnTo>
                    <a:pt x="413" y="181"/>
                  </a:lnTo>
                  <a:lnTo>
                    <a:pt x="411" y="183"/>
                  </a:lnTo>
                  <a:lnTo>
                    <a:pt x="411" y="190"/>
                  </a:lnTo>
                  <a:lnTo>
                    <a:pt x="411" y="192"/>
                  </a:lnTo>
                  <a:lnTo>
                    <a:pt x="411" y="194"/>
                  </a:lnTo>
                  <a:lnTo>
                    <a:pt x="409" y="194"/>
                  </a:lnTo>
                  <a:lnTo>
                    <a:pt x="409" y="196"/>
                  </a:lnTo>
                  <a:lnTo>
                    <a:pt x="409" y="204"/>
                  </a:lnTo>
                  <a:lnTo>
                    <a:pt x="409" y="206"/>
                  </a:lnTo>
                  <a:lnTo>
                    <a:pt x="407" y="209"/>
                  </a:lnTo>
                  <a:lnTo>
                    <a:pt x="407" y="211"/>
                  </a:lnTo>
                  <a:lnTo>
                    <a:pt x="407" y="215"/>
                  </a:lnTo>
                  <a:lnTo>
                    <a:pt x="405" y="217"/>
                  </a:lnTo>
                  <a:lnTo>
                    <a:pt x="405" y="219"/>
                  </a:lnTo>
                  <a:lnTo>
                    <a:pt x="405" y="221"/>
                  </a:lnTo>
                  <a:lnTo>
                    <a:pt x="405" y="223"/>
                  </a:lnTo>
                  <a:lnTo>
                    <a:pt x="405" y="225"/>
                  </a:lnTo>
                  <a:lnTo>
                    <a:pt x="403" y="231"/>
                  </a:lnTo>
                  <a:lnTo>
                    <a:pt x="403" y="233"/>
                  </a:lnTo>
                  <a:lnTo>
                    <a:pt x="403" y="234"/>
                  </a:lnTo>
                  <a:lnTo>
                    <a:pt x="403" y="236"/>
                  </a:lnTo>
                  <a:lnTo>
                    <a:pt x="402" y="242"/>
                  </a:lnTo>
                  <a:lnTo>
                    <a:pt x="402" y="244"/>
                  </a:lnTo>
                  <a:lnTo>
                    <a:pt x="402" y="250"/>
                  </a:lnTo>
                  <a:lnTo>
                    <a:pt x="402" y="252"/>
                  </a:lnTo>
                  <a:lnTo>
                    <a:pt x="400" y="261"/>
                  </a:lnTo>
                  <a:lnTo>
                    <a:pt x="400" y="263"/>
                  </a:lnTo>
                  <a:lnTo>
                    <a:pt x="400" y="265"/>
                  </a:lnTo>
                  <a:lnTo>
                    <a:pt x="398" y="267"/>
                  </a:lnTo>
                  <a:lnTo>
                    <a:pt x="398" y="269"/>
                  </a:lnTo>
                  <a:lnTo>
                    <a:pt x="398" y="275"/>
                  </a:lnTo>
                  <a:lnTo>
                    <a:pt x="398" y="277"/>
                  </a:lnTo>
                  <a:lnTo>
                    <a:pt x="396" y="281"/>
                  </a:lnTo>
                  <a:lnTo>
                    <a:pt x="396" y="282"/>
                  </a:lnTo>
                  <a:lnTo>
                    <a:pt x="394" y="290"/>
                  </a:lnTo>
                  <a:lnTo>
                    <a:pt x="394" y="296"/>
                  </a:lnTo>
                  <a:lnTo>
                    <a:pt x="394" y="300"/>
                  </a:lnTo>
                  <a:lnTo>
                    <a:pt x="392" y="304"/>
                  </a:lnTo>
                  <a:lnTo>
                    <a:pt x="392" y="307"/>
                  </a:lnTo>
                  <a:lnTo>
                    <a:pt x="394" y="307"/>
                  </a:lnTo>
                  <a:lnTo>
                    <a:pt x="392" y="313"/>
                  </a:lnTo>
                  <a:lnTo>
                    <a:pt x="392" y="317"/>
                  </a:lnTo>
                  <a:lnTo>
                    <a:pt x="392" y="319"/>
                  </a:lnTo>
                  <a:lnTo>
                    <a:pt x="392" y="321"/>
                  </a:lnTo>
                  <a:lnTo>
                    <a:pt x="390" y="327"/>
                  </a:lnTo>
                  <a:lnTo>
                    <a:pt x="390" y="330"/>
                  </a:lnTo>
                  <a:lnTo>
                    <a:pt x="392" y="330"/>
                  </a:lnTo>
                  <a:lnTo>
                    <a:pt x="390" y="332"/>
                  </a:lnTo>
                  <a:lnTo>
                    <a:pt x="390" y="336"/>
                  </a:lnTo>
                  <a:lnTo>
                    <a:pt x="390" y="338"/>
                  </a:lnTo>
                  <a:lnTo>
                    <a:pt x="390" y="340"/>
                  </a:lnTo>
                  <a:lnTo>
                    <a:pt x="390" y="342"/>
                  </a:lnTo>
                  <a:lnTo>
                    <a:pt x="390" y="344"/>
                  </a:lnTo>
                  <a:lnTo>
                    <a:pt x="388" y="344"/>
                  </a:lnTo>
                  <a:lnTo>
                    <a:pt x="388" y="346"/>
                  </a:lnTo>
                  <a:lnTo>
                    <a:pt x="388" y="348"/>
                  </a:lnTo>
                  <a:lnTo>
                    <a:pt x="388" y="352"/>
                  </a:lnTo>
                  <a:lnTo>
                    <a:pt x="390" y="352"/>
                  </a:lnTo>
                  <a:lnTo>
                    <a:pt x="388" y="352"/>
                  </a:lnTo>
                  <a:lnTo>
                    <a:pt x="388" y="357"/>
                  </a:lnTo>
                  <a:lnTo>
                    <a:pt x="388" y="359"/>
                  </a:lnTo>
                  <a:lnTo>
                    <a:pt x="388" y="361"/>
                  </a:lnTo>
                  <a:lnTo>
                    <a:pt x="388" y="363"/>
                  </a:lnTo>
                  <a:lnTo>
                    <a:pt x="386" y="363"/>
                  </a:lnTo>
                  <a:lnTo>
                    <a:pt x="386" y="365"/>
                  </a:lnTo>
                  <a:lnTo>
                    <a:pt x="386" y="369"/>
                  </a:lnTo>
                  <a:lnTo>
                    <a:pt x="386" y="371"/>
                  </a:lnTo>
                  <a:lnTo>
                    <a:pt x="386" y="373"/>
                  </a:lnTo>
                  <a:lnTo>
                    <a:pt x="386" y="375"/>
                  </a:lnTo>
                  <a:lnTo>
                    <a:pt x="386" y="377"/>
                  </a:lnTo>
                  <a:lnTo>
                    <a:pt x="386" y="378"/>
                  </a:lnTo>
                  <a:lnTo>
                    <a:pt x="386" y="380"/>
                  </a:lnTo>
                  <a:lnTo>
                    <a:pt x="386" y="382"/>
                  </a:lnTo>
                  <a:lnTo>
                    <a:pt x="386" y="384"/>
                  </a:lnTo>
                  <a:lnTo>
                    <a:pt x="384" y="386"/>
                  </a:lnTo>
                  <a:lnTo>
                    <a:pt x="384" y="388"/>
                  </a:lnTo>
                  <a:lnTo>
                    <a:pt x="384" y="390"/>
                  </a:lnTo>
                  <a:lnTo>
                    <a:pt x="384" y="394"/>
                  </a:lnTo>
                  <a:lnTo>
                    <a:pt x="384" y="396"/>
                  </a:lnTo>
                  <a:lnTo>
                    <a:pt x="384" y="401"/>
                  </a:lnTo>
                  <a:lnTo>
                    <a:pt x="384" y="403"/>
                  </a:lnTo>
                  <a:lnTo>
                    <a:pt x="382" y="405"/>
                  </a:lnTo>
                  <a:lnTo>
                    <a:pt x="382" y="407"/>
                  </a:lnTo>
                  <a:lnTo>
                    <a:pt x="382" y="411"/>
                  </a:lnTo>
                  <a:lnTo>
                    <a:pt x="382" y="413"/>
                  </a:lnTo>
                  <a:lnTo>
                    <a:pt x="382" y="417"/>
                  </a:lnTo>
                  <a:lnTo>
                    <a:pt x="382" y="421"/>
                  </a:lnTo>
                  <a:lnTo>
                    <a:pt x="382" y="423"/>
                  </a:lnTo>
                  <a:lnTo>
                    <a:pt x="380" y="426"/>
                  </a:lnTo>
                  <a:lnTo>
                    <a:pt x="380" y="428"/>
                  </a:lnTo>
                  <a:lnTo>
                    <a:pt x="380" y="430"/>
                  </a:lnTo>
                  <a:lnTo>
                    <a:pt x="380" y="432"/>
                  </a:lnTo>
                  <a:lnTo>
                    <a:pt x="380" y="434"/>
                  </a:lnTo>
                  <a:lnTo>
                    <a:pt x="380" y="436"/>
                  </a:lnTo>
                  <a:lnTo>
                    <a:pt x="380" y="438"/>
                  </a:lnTo>
                  <a:lnTo>
                    <a:pt x="380" y="442"/>
                  </a:lnTo>
                  <a:lnTo>
                    <a:pt x="380" y="444"/>
                  </a:lnTo>
                  <a:lnTo>
                    <a:pt x="380" y="446"/>
                  </a:lnTo>
                  <a:lnTo>
                    <a:pt x="378" y="449"/>
                  </a:lnTo>
                  <a:lnTo>
                    <a:pt x="378" y="451"/>
                  </a:lnTo>
                  <a:lnTo>
                    <a:pt x="378" y="455"/>
                  </a:lnTo>
                  <a:lnTo>
                    <a:pt x="378" y="457"/>
                  </a:lnTo>
                  <a:lnTo>
                    <a:pt x="377" y="459"/>
                  </a:lnTo>
                  <a:lnTo>
                    <a:pt x="378" y="459"/>
                  </a:lnTo>
                  <a:lnTo>
                    <a:pt x="378" y="467"/>
                  </a:lnTo>
                  <a:lnTo>
                    <a:pt x="377" y="469"/>
                  </a:lnTo>
                  <a:lnTo>
                    <a:pt x="377" y="471"/>
                  </a:lnTo>
                  <a:lnTo>
                    <a:pt x="375" y="482"/>
                  </a:lnTo>
                  <a:lnTo>
                    <a:pt x="377" y="482"/>
                  </a:lnTo>
                  <a:lnTo>
                    <a:pt x="377" y="486"/>
                  </a:lnTo>
                  <a:lnTo>
                    <a:pt x="375" y="488"/>
                  </a:lnTo>
                  <a:lnTo>
                    <a:pt x="375" y="490"/>
                  </a:lnTo>
                  <a:lnTo>
                    <a:pt x="375" y="492"/>
                  </a:lnTo>
                  <a:lnTo>
                    <a:pt x="375" y="494"/>
                  </a:lnTo>
                  <a:lnTo>
                    <a:pt x="375" y="496"/>
                  </a:lnTo>
                  <a:lnTo>
                    <a:pt x="375" y="497"/>
                  </a:lnTo>
                  <a:lnTo>
                    <a:pt x="375" y="499"/>
                  </a:lnTo>
                  <a:lnTo>
                    <a:pt x="373" y="499"/>
                  </a:lnTo>
                  <a:lnTo>
                    <a:pt x="373" y="501"/>
                  </a:lnTo>
                  <a:lnTo>
                    <a:pt x="373" y="503"/>
                  </a:lnTo>
                  <a:lnTo>
                    <a:pt x="375" y="503"/>
                  </a:lnTo>
                  <a:lnTo>
                    <a:pt x="375" y="505"/>
                  </a:lnTo>
                  <a:lnTo>
                    <a:pt x="375" y="507"/>
                  </a:lnTo>
                  <a:lnTo>
                    <a:pt x="373" y="507"/>
                  </a:lnTo>
                  <a:lnTo>
                    <a:pt x="373" y="509"/>
                  </a:lnTo>
                  <a:lnTo>
                    <a:pt x="373" y="511"/>
                  </a:lnTo>
                  <a:lnTo>
                    <a:pt x="373" y="513"/>
                  </a:lnTo>
                  <a:lnTo>
                    <a:pt x="373" y="515"/>
                  </a:lnTo>
                  <a:lnTo>
                    <a:pt x="373" y="517"/>
                  </a:lnTo>
                  <a:lnTo>
                    <a:pt x="373" y="519"/>
                  </a:lnTo>
                  <a:lnTo>
                    <a:pt x="371" y="521"/>
                  </a:lnTo>
                  <a:lnTo>
                    <a:pt x="371" y="522"/>
                  </a:lnTo>
                  <a:lnTo>
                    <a:pt x="371" y="524"/>
                  </a:lnTo>
                  <a:lnTo>
                    <a:pt x="373" y="524"/>
                  </a:lnTo>
                  <a:lnTo>
                    <a:pt x="371" y="528"/>
                  </a:lnTo>
                  <a:lnTo>
                    <a:pt x="371" y="530"/>
                  </a:lnTo>
                  <a:lnTo>
                    <a:pt x="371" y="532"/>
                  </a:lnTo>
                  <a:lnTo>
                    <a:pt x="371" y="534"/>
                  </a:lnTo>
                  <a:lnTo>
                    <a:pt x="371" y="536"/>
                  </a:lnTo>
                  <a:lnTo>
                    <a:pt x="371" y="538"/>
                  </a:lnTo>
                  <a:lnTo>
                    <a:pt x="371" y="540"/>
                  </a:lnTo>
                  <a:lnTo>
                    <a:pt x="369" y="540"/>
                  </a:lnTo>
                  <a:lnTo>
                    <a:pt x="369" y="542"/>
                  </a:lnTo>
                  <a:lnTo>
                    <a:pt x="369" y="544"/>
                  </a:lnTo>
                  <a:lnTo>
                    <a:pt x="369" y="545"/>
                  </a:lnTo>
                  <a:lnTo>
                    <a:pt x="371" y="545"/>
                  </a:lnTo>
                  <a:lnTo>
                    <a:pt x="371" y="547"/>
                  </a:lnTo>
                  <a:lnTo>
                    <a:pt x="369" y="547"/>
                  </a:lnTo>
                  <a:lnTo>
                    <a:pt x="369" y="549"/>
                  </a:lnTo>
                  <a:lnTo>
                    <a:pt x="369" y="551"/>
                  </a:lnTo>
                  <a:lnTo>
                    <a:pt x="369" y="553"/>
                  </a:lnTo>
                  <a:lnTo>
                    <a:pt x="369" y="555"/>
                  </a:lnTo>
                  <a:lnTo>
                    <a:pt x="369" y="557"/>
                  </a:lnTo>
                  <a:lnTo>
                    <a:pt x="369" y="559"/>
                  </a:lnTo>
                  <a:lnTo>
                    <a:pt x="367" y="561"/>
                  </a:lnTo>
                  <a:lnTo>
                    <a:pt x="367" y="563"/>
                  </a:lnTo>
                  <a:lnTo>
                    <a:pt x="367" y="565"/>
                  </a:lnTo>
                  <a:lnTo>
                    <a:pt x="367" y="567"/>
                  </a:lnTo>
                  <a:lnTo>
                    <a:pt x="367" y="568"/>
                  </a:lnTo>
                  <a:lnTo>
                    <a:pt x="367" y="570"/>
                  </a:lnTo>
                  <a:lnTo>
                    <a:pt x="367" y="572"/>
                  </a:lnTo>
                  <a:lnTo>
                    <a:pt x="367" y="574"/>
                  </a:lnTo>
                  <a:lnTo>
                    <a:pt x="365" y="574"/>
                  </a:lnTo>
                  <a:lnTo>
                    <a:pt x="365" y="576"/>
                  </a:lnTo>
                  <a:lnTo>
                    <a:pt x="365" y="578"/>
                  </a:lnTo>
                  <a:lnTo>
                    <a:pt x="365" y="580"/>
                  </a:lnTo>
                  <a:lnTo>
                    <a:pt x="365" y="582"/>
                  </a:lnTo>
                  <a:lnTo>
                    <a:pt x="365" y="584"/>
                  </a:lnTo>
                  <a:lnTo>
                    <a:pt x="365" y="586"/>
                  </a:lnTo>
                  <a:lnTo>
                    <a:pt x="363" y="586"/>
                  </a:lnTo>
                  <a:lnTo>
                    <a:pt x="363" y="588"/>
                  </a:lnTo>
                  <a:lnTo>
                    <a:pt x="365" y="588"/>
                  </a:lnTo>
                  <a:lnTo>
                    <a:pt x="365" y="590"/>
                  </a:lnTo>
                  <a:lnTo>
                    <a:pt x="365" y="592"/>
                  </a:lnTo>
                  <a:lnTo>
                    <a:pt x="365" y="593"/>
                  </a:lnTo>
                  <a:lnTo>
                    <a:pt x="365" y="595"/>
                  </a:lnTo>
                  <a:lnTo>
                    <a:pt x="363" y="595"/>
                  </a:lnTo>
                  <a:lnTo>
                    <a:pt x="363" y="597"/>
                  </a:lnTo>
                  <a:lnTo>
                    <a:pt x="363" y="599"/>
                  </a:lnTo>
                  <a:lnTo>
                    <a:pt x="363" y="601"/>
                  </a:lnTo>
                  <a:lnTo>
                    <a:pt x="363" y="603"/>
                  </a:lnTo>
                  <a:lnTo>
                    <a:pt x="363" y="605"/>
                  </a:lnTo>
                  <a:lnTo>
                    <a:pt x="363" y="607"/>
                  </a:lnTo>
                  <a:lnTo>
                    <a:pt x="361" y="607"/>
                  </a:lnTo>
                  <a:lnTo>
                    <a:pt x="361" y="609"/>
                  </a:lnTo>
                  <a:lnTo>
                    <a:pt x="363" y="611"/>
                  </a:lnTo>
                  <a:lnTo>
                    <a:pt x="363" y="613"/>
                  </a:lnTo>
                  <a:lnTo>
                    <a:pt x="361" y="615"/>
                  </a:lnTo>
                  <a:lnTo>
                    <a:pt x="361" y="616"/>
                  </a:lnTo>
                  <a:lnTo>
                    <a:pt x="361" y="618"/>
                  </a:lnTo>
                  <a:lnTo>
                    <a:pt x="361" y="620"/>
                  </a:lnTo>
                  <a:lnTo>
                    <a:pt x="361" y="622"/>
                  </a:lnTo>
                  <a:lnTo>
                    <a:pt x="361" y="624"/>
                  </a:lnTo>
                  <a:lnTo>
                    <a:pt x="361" y="626"/>
                  </a:lnTo>
                  <a:lnTo>
                    <a:pt x="359" y="630"/>
                  </a:lnTo>
                  <a:lnTo>
                    <a:pt x="359" y="632"/>
                  </a:lnTo>
                  <a:lnTo>
                    <a:pt x="361" y="632"/>
                  </a:lnTo>
                  <a:lnTo>
                    <a:pt x="361" y="636"/>
                  </a:lnTo>
                  <a:lnTo>
                    <a:pt x="359" y="638"/>
                  </a:lnTo>
                  <a:lnTo>
                    <a:pt x="359" y="640"/>
                  </a:lnTo>
                  <a:lnTo>
                    <a:pt x="359" y="641"/>
                  </a:lnTo>
                  <a:lnTo>
                    <a:pt x="359" y="643"/>
                  </a:lnTo>
                  <a:lnTo>
                    <a:pt x="359" y="647"/>
                  </a:lnTo>
                  <a:lnTo>
                    <a:pt x="359" y="649"/>
                  </a:lnTo>
                  <a:lnTo>
                    <a:pt x="357" y="649"/>
                  </a:lnTo>
                  <a:lnTo>
                    <a:pt x="357" y="651"/>
                  </a:lnTo>
                  <a:lnTo>
                    <a:pt x="357" y="653"/>
                  </a:lnTo>
                  <a:lnTo>
                    <a:pt x="359" y="655"/>
                  </a:lnTo>
                  <a:lnTo>
                    <a:pt x="359" y="657"/>
                  </a:lnTo>
                  <a:lnTo>
                    <a:pt x="357" y="657"/>
                  </a:lnTo>
                  <a:lnTo>
                    <a:pt x="357" y="659"/>
                  </a:lnTo>
                  <a:lnTo>
                    <a:pt x="357" y="661"/>
                  </a:lnTo>
                  <a:lnTo>
                    <a:pt x="357" y="663"/>
                  </a:lnTo>
                  <a:lnTo>
                    <a:pt x="357" y="664"/>
                  </a:lnTo>
                  <a:lnTo>
                    <a:pt x="357" y="666"/>
                  </a:lnTo>
                  <a:lnTo>
                    <a:pt x="357" y="668"/>
                  </a:lnTo>
                  <a:lnTo>
                    <a:pt x="357" y="670"/>
                  </a:lnTo>
                  <a:lnTo>
                    <a:pt x="355" y="670"/>
                  </a:lnTo>
                  <a:lnTo>
                    <a:pt x="355" y="672"/>
                  </a:lnTo>
                  <a:lnTo>
                    <a:pt x="355" y="674"/>
                  </a:lnTo>
                  <a:lnTo>
                    <a:pt x="355" y="676"/>
                  </a:lnTo>
                  <a:lnTo>
                    <a:pt x="357" y="676"/>
                  </a:lnTo>
                  <a:lnTo>
                    <a:pt x="357" y="678"/>
                  </a:lnTo>
                  <a:lnTo>
                    <a:pt x="355" y="678"/>
                  </a:lnTo>
                  <a:lnTo>
                    <a:pt x="355" y="680"/>
                  </a:lnTo>
                  <a:lnTo>
                    <a:pt x="355" y="682"/>
                  </a:lnTo>
                  <a:lnTo>
                    <a:pt x="355" y="684"/>
                  </a:lnTo>
                  <a:lnTo>
                    <a:pt x="355" y="686"/>
                  </a:lnTo>
                  <a:lnTo>
                    <a:pt x="355" y="688"/>
                  </a:lnTo>
                  <a:lnTo>
                    <a:pt x="355" y="689"/>
                  </a:lnTo>
                  <a:lnTo>
                    <a:pt x="354" y="691"/>
                  </a:lnTo>
                  <a:lnTo>
                    <a:pt x="354" y="695"/>
                  </a:lnTo>
                  <a:lnTo>
                    <a:pt x="354" y="697"/>
                  </a:lnTo>
                  <a:lnTo>
                    <a:pt x="354" y="699"/>
                  </a:lnTo>
                  <a:lnTo>
                    <a:pt x="354" y="701"/>
                  </a:lnTo>
                  <a:lnTo>
                    <a:pt x="354" y="703"/>
                  </a:lnTo>
                  <a:lnTo>
                    <a:pt x="354" y="705"/>
                  </a:lnTo>
                  <a:lnTo>
                    <a:pt x="354" y="707"/>
                  </a:lnTo>
                  <a:lnTo>
                    <a:pt x="354" y="709"/>
                  </a:lnTo>
                  <a:lnTo>
                    <a:pt x="352" y="711"/>
                  </a:lnTo>
                  <a:lnTo>
                    <a:pt x="352" y="712"/>
                  </a:lnTo>
                  <a:lnTo>
                    <a:pt x="352" y="714"/>
                  </a:lnTo>
                  <a:lnTo>
                    <a:pt x="352" y="716"/>
                  </a:lnTo>
                  <a:lnTo>
                    <a:pt x="352" y="720"/>
                  </a:lnTo>
                  <a:lnTo>
                    <a:pt x="352" y="722"/>
                  </a:lnTo>
                  <a:lnTo>
                    <a:pt x="352" y="724"/>
                  </a:lnTo>
                  <a:lnTo>
                    <a:pt x="352" y="726"/>
                  </a:lnTo>
                  <a:lnTo>
                    <a:pt x="352" y="728"/>
                  </a:lnTo>
                  <a:lnTo>
                    <a:pt x="352" y="730"/>
                  </a:lnTo>
                  <a:lnTo>
                    <a:pt x="352" y="732"/>
                  </a:lnTo>
                  <a:lnTo>
                    <a:pt x="350" y="732"/>
                  </a:lnTo>
                  <a:lnTo>
                    <a:pt x="348" y="732"/>
                  </a:lnTo>
                  <a:lnTo>
                    <a:pt x="346" y="732"/>
                  </a:lnTo>
                  <a:lnTo>
                    <a:pt x="344" y="732"/>
                  </a:lnTo>
                  <a:lnTo>
                    <a:pt x="342" y="730"/>
                  </a:lnTo>
                  <a:lnTo>
                    <a:pt x="340" y="730"/>
                  </a:lnTo>
                  <a:lnTo>
                    <a:pt x="338" y="730"/>
                  </a:lnTo>
                  <a:lnTo>
                    <a:pt x="336" y="730"/>
                  </a:lnTo>
                  <a:lnTo>
                    <a:pt x="327" y="728"/>
                  </a:lnTo>
                  <a:lnTo>
                    <a:pt x="325" y="728"/>
                  </a:lnTo>
                  <a:lnTo>
                    <a:pt x="323" y="728"/>
                  </a:lnTo>
                  <a:lnTo>
                    <a:pt x="321" y="728"/>
                  </a:lnTo>
                  <a:lnTo>
                    <a:pt x="319" y="728"/>
                  </a:lnTo>
                  <a:lnTo>
                    <a:pt x="319" y="726"/>
                  </a:lnTo>
                  <a:lnTo>
                    <a:pt x="317" y="726"/>
                  </a:lnTo>
                  <a:lnTo>
                    <a:pt x="315" y="726"/>
                  </a:lnTo>
                  <a:lnTo>
                    <a:pt x="313" y="726"/>
                  </a:lnTo>
                  <a:lnTo>
                    <a:pt x="311" y="726"/>
                  </a:lnTo>
                  <a:lnTo>
                    <a:pt x="309" y="726"/>
                  </a:lnTo>
                  <a:lnTo>
                    <a:pt x="307" y="724"/>
                  </a:lnTo>
                  <a:lnTo>
                    <a:pt x="305" y="724"/>
                  </a:lnTo>
                  <a:lnTo>
                    <a:pt x="304" y="724"/>
                  </a:lnTo>
                  <a:lnTo>
                    <a:pt x="302" y="724"/>
                  </a:lnTo>
                  <a:lnTo>
                    <a:pt x="300" y="724"/>
                  </a:lnTo>
                  <a:lnTo>
                    <a:pt x="298" y="724"/>
                  </a:lnTo>
                  <a:lnTo>
                    <a:pt x="296" y="724"/>
                  </a:lnTo>
                  <a:lnTo>
                    <a:pt x="296" y="722"/>
                  </a:lnTo>
                  <a:lnTo>
                    <a:pt x="294" y="722"/>
                  </a:lnTo>
                  <a:lnTo>
                    <a:pt x="292" y="722"/>
                  </a:lnTo>
                  <a:lnTo>
                    <a:pt x="290" y="722"/>
                  </a:lnTo>
                  <a:lnTo>
                    <a:pt x="288" y="722"/>
                  </a:lnTo>
                  <a:lnTo>
                    <a:pt x="286" y="722"/>
                  </a:lnTo>
                  <a:lnTo>
                    <a:pt x="284" y="720"/>
                  </a:lnTo>
                  <a:lnTo>
                    <a:pt x="282" y="720"/>
                  </a:lnTo>
                  <a:lnTo>
                    <a:pt x="281" y="720"/>
                  </a:lnTo>
                  <a:lnTo>
                    <a:pt x="279" y="720"/>
                  </a:lnTo>
                  <a:lnTo>
                    <a:pt x="277" y="720"/>
                  </a:lnTo>
                  <a:lnTo>
                    <a:pt x="275" y="720"/>
                  </a:lnTo>
                  <a:lnTo>
                    <a:pt x="273" y="718"/>
                  </a:lnTo>
                  <a:lnTo>
                    <a:pt x="271" y="718"/>
                  </a:lnTo>
                  <a:lnTo>
                    <a:pt x="269" y="718"/>
                  </a:lnTo>
                  <a:lnTo>
                    <a:pt x="267" y="718"/>
                  </a:lnTo>
                  <a:lnTo>
                    <a:pt x="265" y="718"/>
                  </a:lnTo>
                  <a:lnTo>
                    <a:pt x="263" y="718"/>
                  </a:lnTo>
                  <a:lnTo>
                    <a:pt x="263" y="716"/>
                  </a:lnTo>
                  <a:lnTo>
                    <a:pt x="261" y="716"/>
                  </a:lnTo>
                  <a:lnTo>
                    <a:pt x="259" y="716"/>
                  </a:lnTo>
                  <a:lnTo>
                    <a:pt x="257" y="716"/>
                  </a:lnTo>
                  <a:lnTo>
                    <a:pt x="256" y="716"/>
                  </a:lnTo>
                  <a:lnTo>
                    <a:pt x="254" y="714"/>
                  </a:lnTo>
                  <a:lnTo>
                    <a:pt x="252" y="714"/>
                  </a:lnTo>
                  <a:lnTo>
                    <a:pt x="250" y="714"/>
                  </a:lnTo>
                  <a:lnTo>
                    <a:pt x="248" y="714"/>
                  </a:lnTo>
                  <a:lnTo>
                    <a:pt x="242" y="712"/>
                  </a:lnTo>
                  <a:lnTo>
                    <a:pt x="234" y="712"/>
                  </a:lnTo>
                  <a:lnTo>
                    <a:pt x="231" y="711"/>
                  </a:lnTo>
                  <a:lnTo>
                    <a:pt x="229" y="711"/>
                  </a:lnTo>
                  <a:lnTo>
                    <a:pt x="227" y="711"/>
                  </a:lnTo>
                  <a:lnTo>
                    <a:pt x="225" y="711"/>
                  </a:lnTo>
                  <a:lnTo>
                    <a:pt x="223" y="709"/>
                  </a:lnTo>
                  <a:lnTo>
                    <a:pt x="221" y="709"/>
                  </a:lnTo>
                  <a:lnTo>
                    <a:pt x="219" y="709"/>
                  </a:lnTo>
                  <a:lnTo>
                    <a:pt x="217" y="709"/>
                  </a:lnTo>
                  <a:lnTo>
                    <a:pt x="215" y="709"/>
                  </a:lnTo>
                  <a:lnTo>
                    <a:pt x="209" y="707"/>
                  </a:lnTo>
                  <a:lnTo>
                    <a:pt x="208" y="707"/>
                  </a:lnTo>
                  <a:lnTo>
                    <a:pt x="206" y="707"/>
                  </a:lnTo>
                  <a:lnTo>
                    <a:pt x="206" y="705"/>
                  </a:lnTo>
                  <a:lnTo>
                    <a:pt x="204" y="705"/>
                  </a:lnTo>
                  <a:lnTo>
                    <a:pt x="202" y="705"/>
                  </a:lnTo>
                  <a:lnTo>
                    <a:pt x="200" y="705"/>
                  </a:lnTo>
                  <a:lnTo>
                    <a:pt x="198" y="705"/>
                  </a:lnTo>
                  <a:lnTo>
                    <a:pt x="196" y="703"/>
                  </a:lnTo>
                  <a:lnTo>
                    <a:pt x="194" y="703"/>
                  </a:lnTo>
                  <a:lnTo>
                    <a:pt x="192" y="703"/>
                  </a:lnTo>
                  <a:lnTo>
                    <a:pt x="188" y="703"/>
                  </a:lnTo>
                  <a:lnTo>
                    <a:pt x="186" y="701"/>
                  </a:lnTo>
                  <a:lnTo>
                    <a:pt x="185" y="701"/>
                  </a:lnTo>
                  <a:lnTo>
                    <a:pt x="183" y="701"/>
                  </a:lnTo>
                  <a:lnTo>
                    <a:pt x="181" y="701"/>
                  </a:lnTo>
                  <a:lnTo>
                    <a:pt x="177" y="699"/>
                  </a:lnTo>
                  <a:lnTo>
                    <a:pt x="173" y="699"/>
                  </a:lnTo>
                  <a:lnTo>
                    <a:pt x="171" y="699"/>
                  </a:lnTo>
                  <a:lnTo>
                    <a:pt x="167" y="697"/>
                  </a:lnTo>
                  <a:lnTo>
                    <a:pt x="161" y="697"/>
                  </a:lnTo>
                  <a:lnTo>
                    <a:pt x="160" y="695"/>
                  </a:lnTo>
                  <a:lnTo>
                    <a:pt x="158" y="695"/>
                  </a:lnTo>
                  <a:lnTo>
                    <a:pt x="156" y="695"/>
                  </a:lnTo>
                  <a:lnTo>
                    <a:pt x="152" y="693"/>
                  </a:lnTo>
                  <a:lnTo>
                    <a:pt x="150" y="693"/>
                  </a:lnTo>
                  <a:lnTo>
                    <a:pt x="146" y="693"/>
                  </a:lnTo>
                  <a:lnTo>
                    <a:pt x="140" y="691"/>
                  </a:lnTo>
                  <a:lnTo>
                    <a:pt x="133" y="689"/>
                  </a:lnTo>
                  <a:lnTo>
                    <a:pt x="131" y="689"/>
                  </a:lnTo>
                  <a:lnTo>
                    <a:pt x="129" y="689"/>
                  </a:lnTo>
                  <a:lnTo>
                    <a:pt x="127" y="688"/>
                  </a:lnTo>
                  <a:lnTo>
                    <a:pt x="123" y="688"/>
                  </a:lnTo>
                  <a:lnTo>
                    <a:pt x="121" y="688"/>
                  </a:lnTo>
                  <a:lnTo>
                    <a:pt x="119" y="686"/>
                  </a:lnTo>
                  <a:lnTo>
                    <a:pt x="117" y="686"/>
                  </a:lnTo>
                  <a:lnTo>
                    <a:pt x="113" y="686"/>
                  </a:lnTo>
                  <a:lnTo>
                    <a:pt x="112" y="684"/>
                  </a:lnTo>
                  <a:lnTo>
                    <a:pt x="110" y="684"/>
                  </a:lnTo>
                  <a:lnTo>
                    <a:pt x="108" y="684"/>
                  </a:lnTo>
                  <a:lnTo>
                    <a:pt x="106" y="684"/>
                  </a:lnTo>
                  <a:lnTo>
                    <a:pt x="104" y="682"/>
                  </a:lnTo>
                  <a:lnTo>
                    <a:pt x="102" y="682"/>
                  </a:lnTo>
                  <a:lnTo>
                    <a:pt x="100" y="682"/>
                  </a:lnTo>
                  <a:lnTo>
                    <a:pt x="98" y="682"/>
                  </a:lnTo>
                  <a:lnTo>
                    <a:pt x="96" y="680"/>
                  </a:lnTo>
                  <a:lnTo>
                    <a:pt x="94" y="680"/>
                  </a:lnTo>
                  <a:lnTo>
                    <a:pt x="90" y="680"/>
                  </a:lnTo>
                  <a:lnTo>
                    <a:pt x="88" y="678"/>
                  </a:lnTo>
                  <a:lnTo>
                    <a:pt x="87" y="678"/>
                  </a:lnTo>
                  <a:lnTo>
                    <a:pt x="85" y="678"/>
                  </a:lnTo>
                  <a:lnTo>
                    <a:pt x="83" y="678"/>
                  </a:lnTo>
                  <a:lnTo>
                    <a:pt x="83" y="676"/>
                  </a:lnTo>
                  <a:lnTo>
                    <a:pt x="81" y="676"/>
                  </a:lnTo>
                  <a:lnTo>
                    <a:pt x="79" y="676"/>
                  </a:lnTo>
                  <a:lnTo>
                    <a:pt x="77" y="676"/>
                  </a:lnTo>
                  <a:lnTo>
                    <a:pt x="75" y="676"/>
                  </a:lnTo>
                  <a:lnTo>
                    <a:pt x="75" y="674"/>
                  </a:lnTo>
                  <a:lnTo>
                    <a:pt x="73" y="674"/>
                  </a:lnTo>
                  <a:lnTo>
                    <a:pt x="71" y="674"/>
                  </a:lnTo>
                  <a:lnTo>
                    <a:pt x="65" y="672"/>
                  </a:lnTo>
                  <a:lnTo>
                    <a:pt x="64" y="672"/>
                  </a:lnTo>
                  <a:lnTo>
                    <a:pt x="62" y="672"/>
                  </a:lnTo>
                  <a:lnTo>
                    <a:pt x="58" y="670"/>
                  </a:lnTo>
                  <a:lnTo>
                    <a:pt x="52" y="668"/>
                  </a:lnTo>
                  <a:lnTo>
                    <a:pt x="50" y="668"/>
                  </a:lnTo>
                  <a:lnTo>
                    <a:pt x="48" y="668"/>
                  </a:lnTo>
                  <a:lnTo>
                    <a:pt x="46" y="668"/>
                  </a:lnTo>
                  <a:lnTo>
                    <a:pt x="42" y="666"/>
                  </a:lnTo>
                  <a:lnTo>
                    <a:pt x="40" y="666"/>
                  </a:lnTo>
                  <a:lnTo>
                    <a:pt x="33" y="664"/>
                  </a:lnTo>
                  <a:lnTo>
                    <a:pt x="33" y="663"/>
                  </a:lnTo>
                  <a:lnTo>
                    <a:pt x="31" y="663"/>
                  </a:lnTo>
                  <a:lnTo>
                    <a:pt x="29" y="663"/>
                  </a:lnTo>
                  <a:lnTo>
                    <a:pt x="27" y="663"/>
                  </a:lnTo>
                  <a:lnTo>
                    <a:pt x="25" y="663"/>
                  </a:lnTo>
                  <a:lnTo>
                    <a:pt x="23" y="661"/>
                  </a:lnTo>
                  <a:lnTo>
                    <a:pt x="21" y="661"/>
                  </a:lnTo>
                  <a:lnTo>
                    <a:pt x="19" y="661"/>
                  </a:lnTo>
                  <a:lnTo>
                    <a:pt x="17" y="659"/>
                  </a:lnTo>
                  <a:lnTo>
                    <a:pt x="16" y="659"/>
                  </a:lnTo>
                  <a:lnTo>
                    <a:pt x="12" y="659"/>
                  </a:lnTo>
                  <a:lnTo>
                    <a:pt x="12" y="657"/>
                  </a:lnTo>
                  <a:lnTo>
                    <a:pt x="10" y="657"/>
                  </a:lnTo>
                  <a:lnTo>
                    <a:pt x="2" y="655"/>
                  </a:lnTo>
                  <a:lnTo>
                    <a:pt x="0" y="655"/>
                  </a:lnTo>
                  <a:lnTo>
                    <a:pt x="2" y="653"/>
                  </a:lnTo>
                  <a:lnTo>
                    <a:pt x="2" y="651"/>
                  </a:lnTo>
                  <a:lnTo>
                    <a:pt x="2" y="647"/>
                  </a:lnTo>
                  <a:lnTo>
                    <a:pt x="4" y="643"/>
                  </a:lnTo>
                  <a:lnTo>
                    <a:pt x="4" y="641"/>
                  </a:lnTo>
                  <a:lnTo>
                    <a:pt x="4" y="640"/>
                  </a:lnTo>
                  <a:lnTo>
                    <a:pt x="6" y="640"/>
                  </a:lnTo>
                  <a:lnTo>
                    <a:pt x="6" y="636"/>
                  </a:lnTo>
                  <a:lnTo>
                    <a:pt x="6" y="634"/>
                  </a:lnTo>
                  <a:lnTo>
                    <a:pt x="8" y="632"/>
                  </a:lnTo>
                  <a:lnTo>
                    <a:pt x="8" y="630"/>
                  </a:lnTo>
                  <a:lnTo>
                    <a:pt x="10" y="624"/>
                  </a:lnTo>
                  <a:lnTo>
                    <a:pt x="10" y="622"/>
                  </a:lnTo>
                  <a:lnTo>
                    <a:pt x="10" y="620"/>
                  </a:lnTo>
                  <a:lnTo>
                    <a:pt x="12" y="620"/>
                  </a:lnTo>
                  <a:lnTo>
                    <a:pt x="12" y="618"/>
                  </a:lnTo>
                  <a:lnTo>
                    <a:pt x="12" y="616"/>
                  </a:lnTo>
                  <a:lnTo>
                    <a:pt x="12" y="615"/>
                  </a:lnTo>
                  <a:lnTo>
                    <a:pt x="14" y="613"/>
                  </a:lnTo>
                  <a:lnTo>
                    <a:pt x="14" y="611"/>
                  </a:lnTo>
                  <a:lnTo>
                    <a:pt x="14" y="609"/>
                  </a:lnTo>
                  <a:lnTo>
                    <a:pt x="14" y="607"/>
                  </a:lnTo>
                  <a:lnTo>
                    <a:pt x="16" y="607"/>
                  </a:lnTo>
                  <a:lnTo>
                    <a:pt x="16" y="605"/>
                  </a:lnTo>
                  <a:lnTo>
                    <a:pt x="16" y="601"/>
                  </a:lnTo>
                  <a:lnTo>
                    <a:pt x="17" y="599"/>
                  </a:lnTo>
                  <a:lnTo>
                    <a:pt x="17" y="597"/>
                  </a:lnTo>
                  <a:lnTo>
                    <a:pt x="17" y="593"/>
                  </a:lnTo>
                  <a:lnTo>
                    <a:pt x="19" y="592"/>
                  </a:lnTo>
                  <a:lnTo>
                    <a:pt x="19" y="590"/>
                  </a:lnTo>
                  <a:lnTo>
                    <a:pt x="19" y="588"/>
                  </a:lnTo>
                  <a:lnTo>
                    <a:pt x="21" y="588"/>
                  </a:lnTo>
                  <a:lnTo>
                    <a:pt x="21" y="586"/>
                  </a:lnTo>
                  <a:lnTo>
                    <a:pt x="21" y="584"/>
                  </a:lnTo>
                  <a:lnTo>
                    <a:pt x="21" y="580"/>
                  </a:lnTo>
                  <a:lnTo>
                    <a:pt x="23" y="580"/>
                  </a:lnTo>
                  <a:lnTo>
                    <a:pt x="23" y="578"/>
                  </a:lnTo>
                  <a:lnTo>
                    <a:pt x="23" y="576"/>
                  </a:lnTo>
                  <a:lnTo>
                    <a:pt x="23" y="574"/>
                  </a:lnTo>
                  <a:lnTo>
                    <a:pt x="25" y="574"/>
                  </a:lnTo>
                  <a:lnTo>
                    <a:pt x="25" y="572"/>
                  </a:lnTo>
                  <a:lnTo>
                    <a:pt x="25" y="570"/>
                  </a:lnTo>
                  <a:lnTo>
                    <a:pt x="25" y="568"/>
                  </a:lnTo>
                  <a:lnTo>
                    <a:pt x="27" y="567"/>
                  </a:lnTo>
                  <a:lnTo>
                    <a:pt x="27" y="565"/>
                  </a:lnTo>
                  <a:lnTo>
                    <a:pt x="27" y="563"/>
                  </a:lnTo>
                  <a:lnTo>
                    <a:pt x="27" y="561"/>
                  </a:lnTo>
                  <a:lnTo>
                    <a:pt x="29" y="561"/>
                  </a:lnTo>
                  <a:lnTo>
                    <a:pt x="29" y="559"/>
                  </a:lnTo>
                  <a:lnTo>
                    <a:pt x="29" y="557"/>
                  </a:lnTo>
                  <a:lnTo>
                    <a:pt x="29" y="555"/>
                  </a:lnTo>
                  <a:lnTo>
                    <a:pt x="31" y="555"/>
                  </a:lnTo>
                  <a:lnTo>
                    <a:pt x="31" y="553"/>
                  </a:lnTo>
                  <a:lnTo>
                    <a:pt x="31" y="551"/>
                  </a:lnTo>
                  <a:lnTo>
                    <a:pt x="31" y="549"/>
                  </a:lnTo>
                  <a:lnTo>
                    <a:pt x="33" y="547"/>
                  </a:lnTo>
                  <a:lnTo>
                    <a:pt x="33" y="545"/>
                  </a:lnTo>
                  <a:lnTo>
                    <a:pt x="33" y="544"/>
                  </a:lnTo>
                  <a:lnTo>
                    <a:pt x="33" y="542"/>
                  </a:lnTo>
                  <a:lnTo>
                    <a:pt x="35" y="540"/>
                  </a:lnTo>
                  <a:lnTo>
                    <a:pt x="35" y="538"/>
                  </a:lnTo>
                  <a:lnTo>
                    <a:pt x="35" y="536"/>
                  </a:lnTo>
                  <a:lnTo>
                    <a:pt x="37" y="534"/>
                  </a:lnTo>
                  <a:lnTo>
                    <a:pt x="37" y="532"/>
                  </a:lnTo>
                  <a:lnTo>
                    <a:pt x="37" y="530"/>
                  </a:lnTo>
                  <a:lnTo>
                    <a:pt x="37" y="528"/>
                  </a:lnTo>
                  <a:lnTo>
                    <a:pt x="39" y="526"/>
                  </a:lnTo>
                  <a:lnTo>
                    <a:pt x="39" y="524"/>
                  </a:lnTo>
                  <a:lnTo>
                    <a:pt x="39" y="522"/>
                  </a:lnTo>
                  <a:lnTo>
                    <a:pt x="40" y="521"/>
                  </a:lnTo>
                  <a:lnTo>
                    <a:pt x="40" y="519"/>
                  </a:lnTo>
                  <a:lnTo>
                    <a:pt x="40" y="517"/>
                  </a:lnTo>
                  <a:lnTo>
                    <a:pt x="42" y="515"/>
                  </a:lnTo>
                  <a:lnTo>
                    <a:pt x="42" y="513"/>
                  </a:lnTo>
                  <a:lnTo>
                    <a:pt x="42" y="511"/>
                  </a:lnTo>
                  <a:lnTo>
                    <a:pt x="42" y="509"/>
                  </a:lnTo>
                  <a:lnTo>
                    <a:pt x="44" y="509"/>
                  </a:lnTo>
                  <a:lnTo>
                    <a:pt x="44" y="507"/>
                  </a:lnTo>
                  <a:lnTo>
                    <a:pt x="44" y="503"/>
                  </a:lnTo>
                  <a:lnTo>
                    <a:pt x="44" y="501"/>
                  </a:lnTo>
                  <a:lnTo>
                    <a:pt x="46" y="501"/>
                  </a:lnTo>
                  <a:lnTo>
                    <a:pt x="46" y="499"/>
                  </a:lnTo>
                  <a:lnTo>
                    <a:pt x="46" y="497"/>
                  </a:lnTo>
                  <a:lnTo>
                    <a:pt x="46" y="496"/>
                  </a:lnTo>
                  <a:lnTo>
                    <a:pt x="48" y="496"/>
                  </a:lnTo>
                  <a:lnTo>
                    <a:pt x="48" y="494"/>
                  </a:lnTo>
                  <a:lnTo>
                    <a:pt x="48" y="492"/>
                  </a:lnTo>
                  <a:lnTo>
                    <a:pt x="48" y="490"/>
                  </a:lnTo>
                  <a:lnTo>
                    <a:pt x="50" y="488"/>
                  </a:lnTo>
                  <a:lnTo>
                    <a:pt x="50" y="486"/>
                  </a:lnTo>
                  <a:lnTo>
                    <a:pt x="50" y="484"/>
                  </a:lnTo>
                  <a:lnTo>
                    <a:pt x="50" y="482"/>
                  </a:lnTo>
                  <a:lnTo>
                    <a:pt x="52" y="482"/>
                  </a:lnTo>
                  <a:lnTo>
                    <a:pt x="52" y="480"/>
                  </a:lnTo>
                  <a:lnTo>
                    <a:pt x="52" y="476"/>
                  </a:lnTo>
                  <a:lnTo>
                    <a:pt x="54" y="476"/>
                  </a:lnTo>
                  <a:lnTo>
                    <a:pt x="54" y="474"/>
                  </a:lnTo>
                  <a:lnTo>
                    <a:pt x="54" y="471"/>
                  </a:lnTo>
                  <a:lnTo>
                    <a:pt x="56" y="467"/>
                  </a:lnTo>
                  <a:lnTo>
                    <a:pt x="56" y="465"/>
                  </a:lnTo>
                  <a:lnTo>
                    <a:pt x="56" y="463"/>
                  </a:lnTo>
                  <a:lnTo>
                    <a:pt x="58" y="461"/>
                  </a:lnTo>
                  <a:lnTo>
                    <a:pt x="58" y="459"/>
                  </a:lnTo>
                  <a:lnTo>
                    <a:pt x="58" y="457"/>
                  </a:lnTo>
                  <a:lnTo>
                    <a:pt x="60" y="457"/>
                  </a:lnTo>
                  <a:lnTo>
                    <a:pt x="60" y="455"/>
                  </a:lnTo>
                  <a:lnTo>
                    <a:pt x="60" y="453"/>
                  </a:lnTo>
                  <a:lnTo>
                    <a:pt x="60" y="451"/>
                  </a:lnTo>
                  <a:lnTo>
                    <a:pt x="60" y="449"/>
                  </a:lnTo>
                  <a:lnTo>
                    <a:pt x="62" y="448"/>
                  </a:lnTo>
                  <a:lnTo>
                    <a:pt x="62" y="446"/>
                  </a:lnTo>
                  <a:lnTo>
                    <a:pt x="62" y="444"/>
                  </a:lnTo>
                  <a:lnTo>
                    <a:pt x="64" y="444"/>
                  </a:lnTo>
                  <a:lnTo>
                    <a:pt x="64" y="442"/>
                  </a:lnTo>
                  <a:lnTo>
                    <a:pt x="64" y="440"/>
                  </a:lnTo>
                  <a:lnTo>
                    <a:pt x="64" y="438"/>
                  </a:lnTo>
                  <a:lnTo>
                    <a:pt x="65" y="434"/>
                  </a:lnTo>
                  <a:lnTo>
                    <a:pt x="65" y="432"/>
                  </a:lnTo>
                  <a:lnTo>
                    <a:pt x="65" y="430"/>
                  </a:lnTo>
                  <a:lnTo>
                    <a:pt x="67" y="430"/>
                  </a:lnTo>
                  <a:lnTo>
                    <a:pt x="67" y="428"/>
                  </a:lnTo>
                  <a:lnTo>
                    <a:pt x="67" y="426"/>
                  </a:lnTo>
                  <a:lnTo>
                    <a:pt x="67" y="425"/>
                  </a:lnTo>
                  <a:lnTo>
                    <a:pt x="67" y="423"/>
                  </a:lnTo>
                  <a:lnTo>
                    <a:pt x="69" y="423"/>
                  </a:lnTo>
                  <a:lnTo>
                    <a:pt x="69" y="421"/>
                  </a:lnTo>
                  <a:lnTo>
                    <a:pt x="69" y="419"/>
                  </a:lnTo>
                  <a:lnTo>
                    <a:pt x="71" y="417"/>
                  </a:lnTo>
                  <a:lnTo>
                    <a:pt x="71" y="415"/>
                  </a:lnTo>
                  <a:lnTo>
                    <a:pt x="71" y="413"/>
                  </a:lnTo>
                  <a:lnTo>
                    <a:pt x="71" y="411"/>
                  </a:lnTo>
                  <a:lnTo>
                    <a:pt x="73" y="411"/>
                  </a:lnTo>
                  <a:lnTo>
                    <a:pt x="73" y="409"/>
                  </a:lnTo>
                  <a:lnTo>
                    <a:pt x="73" y="407"/>
                  </a:lnTo>
                  <a:lnTo>
                    <a:pt x="73" y="405"/>
                  </a:lnTo>
                  <a:lnTo>
                    <a:pt x="73" y="403"/>
                  </a:lnTo>
                  <a:lnTo>
                    <a:pt x="75" y="403"/>
                  </a:lnTo>
                  <a:lnTo>
                    <a:pt x="75" y="401"/>
                  </a:lnTo>
                  <a:lnTo>
                    <a:pt x="75" y="400"/>
                  </a:lnTo>
                  <a:lnTo>
                    <a:pt x="75" y="398"/>
                  </a:lnTo>
                  <a:lnTo>
                    <a:pt x="77" y="398"/>
                  </a:lnTo>
                  <a:lnTo>
                    <a:pt x="77" y="396"/>
                  </a:lnTo>
                  <a:lnTo>
                    <a:pt x="77" y="394"/>
                  </a:lnTo>
                  <a:lnTo>
                    <a:pt x="77" y="392"/>
                  </a:lnTo>
                  <a:lnTo>
                    <a:pt x="77" y="390"/>
                  </a:lnTo>
                  <a:lnTo>
                    <a:pt x="79" y="390"/>
                  </a:lnTo>
                  <a:lnTo>
                    <a:pt x="79" y="388"/>
                  </a:lnTo>
                  <a:lnTo>
                    <a:pt x="79" y="386"/>
                  </a:lnTo>
                  <a:lnTo>
                    <a:pt x="79" y="384"/>
                  </a:lnTo>
                  <a:lnTo>
                    <a:pt x="81" y="384"/>
                  </a:lnTo>
                  <a:lnTo>
                    <a:pt x="81" y="382"/>
                  </a:lnTo>
                  <a:lnTo>
                    <a:pt x="81" y="380"/>
                  </a:lnTo>
                  <a:lnTo>
                    <a:pt x="81" y="378"/>
                  </a:lnTo>
                  <a:lnTo>
                    <a:pt x="83" y="377"/>
                  </a:lnTo>
                  <a:lnTo>
                    <a:pt x="83" y="375"/>
                  </a:lnTo>
                  <a:lnTo>
                    <a:pt x="83" y="373"/>
                  </a:lnTo>
                  <a:lnTo>
                    <a:pt x="83" y="371"/>
                  </a:lnTo>
                  <a:lnTo>
                    <a:pt x="85" y="371"/>
                  </a:lnTo>
                  <a:lnTo>
                    <a:pt x="85" y="369"/>
                  </a:lnTo>
                  <a:lnTo>
                    <a:pt x="85" y="367"/>
                  </a:lnTo>
                  <a:lnTo>
                    <a:pt x="85" y="365"/>
                  </a:lnTo>
                  <a:lnTo>
                    <a:pt x="87" y="365"/>
                  </a:lnTo>
                  <a:lnTo>
                    <a:pt x="87" y="363"/>
                  </a:lnTo>
                  <a:lnTo>
                    <a:pt x="87" y="361"/>
                  </a:lnTo>
                  <a:lnTo>
                    <a:pt x="87" y="359"/>
                  </a:lnTo>
                  <a:lnTo>
                    <a:pt x="87" y="357"/>
                  </a:lnTo>
                  <a:lnTo>
                    <a:pt x="88" y="355"/>
                  </a:lnTo>
                  <a:lnTo>
                    <a:pt x="90" y="352"/>
                  </a:lnTo>
                  <a:lnTo>
                    <a:pt x="90" y="350"/>
                  </a:lnTo>
                  <a:lnTo>
                    <a:pt x="90" y="348"/>
                  </a:lnTo>
                  <a:lnTo>
                    <a:pt x="90" y="346"/>
                  </a:lnTo>
                  <a:lnTo>
                    <a:pt x="92" y="344"/>
                  </a:lnTo>
                  <a:lnTo>
                    <a:pt x="92" y="340"/>
                  </a:lnTo>
                  <a:lnTo>
                    <a:pt x="92" y="338"/>
                  </a:lnTo>
                  <a:lnTo>
                    <a:pt x="94" y="338"/>
                  </a:lnTo>
                  <a:lnTo>
                    <a:pt x="94" y="336"/>
                  </a:lnTo>
                  <a:lnTo>
                    <a:pt x="94" y="334"/>
                  </a:lnTo>
                  <a:lnTo>
                    <a:pt x="94" y="332"/>
                  </a:lnTo>
                  <a:lnTo>
                    <a:pt x="96" y="330"/>
                  </a:lnTo>
                  <a:lnTo>
                    <a:pt x="96" y="329"/>
                  </a:lnTo>
                  <a:lnTo>
                    <a:pt x="96" y="327"/>
                  </a:lnTo>
                  <a:lnTo>
                    <a:pt x="96" y="325"/>
                  </a:lnTo>
                  <a:lnTo>
                    <a:pt x="98" y="325"/>
                  </a:lnTo>
                  <a:lnTo>
                    <a:pt x="100" y="317"/>
                  </a:lnTo>
                  <a:lnTo>
                    <a:pt x="100" y="315"/>
                  </a:lnTo>
                  <a:lnTo>
                    <a:pt x="100" y="313"/>
                  </a:lnTo>
                  <a:lnTo>
                    <a:pt x="102" y="309"/>
                  </a:lnTo>
                  <a:lnTo>
                    <a:pt x="104" y="305"/>
                  </a:lnTo>
                  <a:lnTo>
                    <a:pt x="104" y="304"/>
                  </a:lnTo>
                  <a:lnTo>
                    <a:pt x="106" y="298"/>
                  </a:lnTo>
                  <a:lnTo>
                    <a:pt x="106" y="296"/>
                  </a:lnTo>
                  <a:lnTo>
                    <a:pt x="106" y="292"/>
                  </a:lnTo>
                  <a:lnTo>
                    <a:pt x="108" y="292"/>
                  </a:lnTo>
                  <a:lnTo>
                    <a:pt x="108" y="290"/>
                  </a:lnTo>
                  <a:lnTo>
                    <a:pt x="108" y="286"/>
                  </a:lnTo>
                  <a:lnTo>
                    <a:pt x="110" y="284"/>
                  </a:lnTo>
                  <a:lnTo>
                    <a:pt x="110" y="282"/>
                  </a:lnTo>
                  <a:lnTo>
                    <a:pt x="110" y="281"/>
                  </a:lnTo>
                  <a:lnTo>
                    <a:pt x="112" y="279"/>
                  </a:lnTo>
                  <a:lnTo>
                    <a:pt x="112" y="275"/>
                  </a:lnTo>
                  <a:lnTo>
                    <a:pt x="113" y="269"/>
                  </a:lnTo>
                  <a:lnTo>
                    <a:pt x="113" y="267"/>
                  </a:lnTo>
                  <a:lnTo>
                    <a:pt x="115" y="265"/>
                  </a:lnTo>
                  <a:lnTo>
                    <a:pt x="115" y="263"/>
                  </a:lnTo>
                  <a:lnTo>
                    <a:pt x="115" y="261"/>
                  </a:lnTo>
                  <a:lnTo>
                    <a:pt x="117" y="257"/>
                  </a:lnTo>
                  <a:lnTo>
                    <a:pt x="117" y="256"/>
                  </a:lnTo>
                  <a:lnTo>
                    <a:pt x="119" y="254"/>
                  </a:lnTo>
                  <a:lnTo>
                    <a:pt x="119" y="252"/>
                  </a:lnTo>
                  <a:lnTo>
                    <a:pt x="119" y="250"/>
                  </a:lnTo>
                  <a:lnTo>
                    <a:pt x="121" y="246"/>
                  </a:lnTo>
                  <a:lnTo>
                    <a:pt x="121" y="244"/>
                  </a:lnTo>
                  <a:lnTo>
                    <a:pt x="121" y="242"/>
                  </a:lnTo>
                  <a:lnTo>
                    <a:pt x="123" y="236"/>
                  </a:lnTo>
                  <a:lnTo>
                    <a:pt x="123" y="234"/>
                  </a:lnTo>
                  <a:lnTo>
                    <a:pt x="125" y="233"/>
                  </a:lnTo>
                  <a:lnTo>
                    <a:pt x="125" y="231"/>
                  </a:lnTo>
                  <a:lnTo>
                    <a:pt x="127" y="223"/>
                  </a:lnTo>
                  <a:lnTo>
                    <a:pt x="127" y="221"/>
                  </a:lnTo>
                  <a:lnTo>
                    <a:pt x="129" y="221"/>
                  </a:lnTo>
                  <a:lnTo>
                    <a:pt x="129" y="219"/>
                  </a:lnTo>
                  <a:lnTo>
                    <a:pt x="131" y="215"/>
                  </a:lnTo>
                  <a:lnTo>
                    <a:pt x="131" y="211"/>
                  </a:lnTo>
                  <a:lnTo>
                    <a:pt x="131" y="209"/>
                  </a:lnTo>
                  <a:lnTo>
                    <a:pt x="133" y="206"/>
                  </a:lnTo>
                  <a:lnTo>
                    <a:pt x="133" y="202"/>
                  </a:lnTo>
                  <a:lnTo>
                    <a:pt x="135" y="202"/>
                  </a:lnTo>
                  <a:lnTo>
                    <a:pt x="135" y="196"/>
                  </a:lnTo>
                  <a:lnTo>
                    <a:pt x="137" y="194"/>
                  </a:lnTo>
                  <a:lnTo>
                    <a:pt x="137" y="192"/>
                  </a:lnTo>
                  <a:lnTo>
                    <a:pt x="138" y="186"/>
                  </a:lnTo>
                  <a:lnTo>
                    <a:pt x="140" y="181"/>
                  </a:lnTo>
                  <a:lnTo>
                    <a:pt x="140" y="179"/>
                  </a:lnTo>
                  <a:lnTo>
                    <a:pt x="140" y="177"/>
                  </a:lnTo>
                  <a:lnTo>
                    <a:pt x="142" y="175"/>
                  </a:lnTo>
                  <a:lnTo>
                    <a:pt x="142" y="169"/>
                  </a:lnTo>
                  <a:lnTo>
                    <a:pt x="146" y="161"/>
                  </a:lnTo>
                  <a:lnTo>
                    <a:pt x="146" y="160"/>
                  </a:lnTo>
                  <a:lnTo>
                    <a:pt x="148" y="156"/>
                  </a:lnTo>
                  <a:lnTo>
                    <a:pt x="148" y="154"/>
                  </a:lnTo>
                  <a:lnTo>
                    <a:pt x="148" y="150"/>
                  </a:lnTo>
                  <a:lnTo>
                    <a:pt x="150" y="146"/>
                  </a:lnTo>
                  <a:lnTo>
                    <a:pt x="150" y="144"/>
                  </a:lnTo>
                  <a:lnTo>
                    <a:pt x="154" y="133"/>
                  </a:lnTo>
                  <a:lnTo>
                    <a:pt x="158" y="121"/>
                  </a:lnTo>
                  <a:lnTo>
                    <a:pt x="158" y="117"/>
                  </a:lnTo>
                  <a:lnTo>
                    <a:pt x="160" y="115"/>
                  </a:lnTo>
                  <a:lnTo>
                    <a:pt x="160" y="112"/>
                  </a:lnTo>
                  <a:lnTo>
                    <a:pt x="161" y="110"/>
                  </a:lnTo>
                  <a:lnTo>
                    <a:pt x="161" y="106"/>
                  </a:lnTo>
                  <a:lnTo>
                    <a:pt x="161" y="104"/>
                  </a:lnTo>
                  <a:lnTo>
                    <a:pt x="163" y="102"/>
                  </a:lnTo>
                  <a:lnTo>
                    <a:pt x="163" y="100"/>
                  </a:lnTo>
                  <a:lnTo>
                    <a:pt x="165" y="96"/>
                  </a:lnTo>
                  <a:lnTo>
                    <a:pt x="165" y="94"/>
                  </a:lnTo>
                  <a:lnTo>
                    <a:pt x="165" y="92"/>
                  </a:lnTo>
                  <a:lnTo>
                    <a:pt x="165" y="90"/>
                  </a:lnTo>
                  <a:lnTo>
                    <a:pt x="167" y="89"/>
                  </a:lnTo>
                  <a:lnTo>
                    <a:pt x="167" y="87"/>
                  </a:lnTo>
                  <a:lnTo>
                    <a:pt x="169" y="81"/>
                  </a:lnTo>
                  <a:lnTo>
                    <a:pt x="169" y="77"/>
                  </a:lnTo>
                  <a:lnTo>
                    <a:pt x="171" y="77"/>
                  </a:lnTo>
                  <a:lnTo>
                    <a:pt x="171" y="75"/>
                  </a:lnTo>
                  <a:lnTo>
                    <a:pt x="171" y="73"/>
                  </a:lnTo>
                  <a:lnTo>
                    <a:pt x="171" y="71"/>
                  </a:lnTo>
                  <a:lnTo>
                    <a:pt x="173" y="67"/>
                  </a:lnTo>
                  <a:lnTo>
                    <a:pt x="173" y="65"/>
                  </a:lnTo>
                  <a:lnTo>
                    <a:pt x="173" y="64"/>
                  </a:lnTo>
                  <a:lnTo>
                    <a:pt x="175" y="64"/>
                  </a:lnTo>
                  <a:lnTo>
                    <a:pt x="175" y="62"/>
                  </a:lnTo>
                  <a:lnTo>
                    <a:pt x="175" y="60"/>
                  </a:lnTo>
                  <a:lnTo>
                    <a:pt x="175" y="58"/>
                  </a:lnTo>
                  <a:lnTo>
                    <a:pt x="181" y="44"/>
                  </a:lnTo>
                  <a:lnTo>
                    <a:pt x="181" y="41"/>
                  </a:lnTo>
                  <a:lnTo>
                    <a:pt x="183" y="37"/>
                  </a:lnTo>
                  <a:lnTo>
                    <a:pt x="183" y="35"/>
                  </a:lnTo>
                  <a:lnTo>
                    <a:pt x="185" y="31"/>
                  </a:lnTo>
                  <a:lnTo>
                    <a:pt x="185" y="29"/>
                  </a:lnTo>
                  <a:lnTo>
                    <a:pt x="185" y="27"/>
                  </a:lnTo>
                  <a:lnTo>
                    <a:pt x="186" y="23"/>
                  </a:lnTo>
                  <a:lnTo>
                    <a:pt x="188" y="17"/>
                  </a:lnTo>
                  <a:lnTo>
                    <a:pt x="188" y="16"/>
                  </a:lnTo>
                  <a:lnTo>
                    <a:pt x="188" y="14"/>
                  </a:lnTo>
                  <a:lnTo>
                    <a:pt x="190" y="10"/>
                  </a:lnTo>
                  <a:lnTo>
                    <a:pt x="190" y="6"/>
                  </a:lnTo>
                  <a:lnTo>
                    <a:pt x="192" y="2"/>
                  </a:lnTo>
                  <a:lnTo>
                    <a:pt x="192" y="0"/>
                  </a:lnTo>
                  <a:lnTo>
                    <a:pt x="194" y="0"/>
                  </a:lnTo>
                  <a:lnTo>
                    <a:pt x="196" y="0"/>
                  </a:lnTo>
                  <a:lnTo>
                    <a:pt x="198" y="0"/>
                  </a:lnTo>
                  <a:lnTo>
                    <a:pt x="200" y="2"/>
                  </a:lnTo>
                  <a:lnTo>
                    <a:pt x="202" y="2"/>
                  </a:lnTo>
                  <a:lnTo>
                    <a:pt x="204" y="2"/>
                  </a:lnTo>
                  <a:close/>
                </a:path>
              </a:pathLst>
            </a:custGeom>
            <a:solidFill>
              <a:srgbClr val="FD685D"/>
            </a:solidFill>
            <a:ln w="3175">
              <a:solidFill>
                <a:sysClr val="window" lastClr="FFFF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black"/>
                </a:solidFill>
                <a:effectLst/>
                <a:uLnTx/>
                <a:uFillTx/>
                <a:ea typeface="宋体" panose="02010600030101010101" pitchFamily="2" charset="-122"/>
              </a:endParaRPr>
            </a:p>
          </p:txBody>
        </p:sp>
        <p:sp>
          <p:nvSpPr>
            <p:cNvPr id="58" name="Freeform 2792">
              <a:extLst>
                <a:ext uri="{FF2B5EF4-FFF2-40B4-BE49-F238E27FC236}">
                  <a16:creationId xmlns:a16="http://schemas.microsoft.com/office/drawing/2014/main" id="{5BD3F539-143E-2308-7ADA-3DF32895521B}"/>
                </a:ext>
              </a:extLst>
            </p:cNvPr>
            <p:cNvSpPr>
              <a:spLocks noEditPoints="1"/>
            </p:cNvSpPr>
            <p:nvPr/>
          </p:nvSpPr>
          <p:spPr bwMode="auto">
            <a:xfrm>
              <a:off x="3819525" y="3016250"/>
              <a:ext cx="779463" cy="1116013"/>
            </a:xfrm>
            <a:custGeom>
              <a:avLst/>
              <a:gdLst>
                <a:gd name="T0" fmla="*/ 301 w 491"/>
                <a:gd name="T1" fmla="*/ 33 h 703"/>
                <a:gd name="T2" fmla="*/ 301 w 491"/>
                <a:gd name="T3" fmla="*/ 48 h 703"/>
                <a:gd name="T4" fmla="*/ 303 w 491"/>
                <a:gd name="T5" fmla="*/ 65 h 703"/>
                <a:gd name="T6" fmla="*/ 303 w 491"/>
                <a:gd name="T7" fmla="*/ 84 h 703"/>
                <a:gd name="T8" fmla="*/ 307 w 491"/>
                <a:gd name="T9" fmla="*/ 92 h 703"/>
                <a:gd name="T10" fmla="*/ 315 w 491"/>
                <a:gd name="T11" fmla="*/ 100 h 703"/>
                <a:gd name="T12" fmla="*/ 330 w 491"/>
                <a:gd name="T13" fmla="*/ 100 h 703"/>
                <a:gd name="T14" fmla="*/ 338 w 491"/>
                <a:gd name="T15" fmla="*/ 100 h 703"/>
                <a:gd name="T16" fmla="*/ 351 w 491"/>
                <a:gd name="T17" fmla="*/ 106 h 703"/>
                <a:gd name="T18" fmla="*/ 353 w 491"/>
                <a:gd name="T19" fmla="*/ 117 h 703"/>
                <a:gd name="T20" fmla="*/ 361 w 491"/>
                <a:gd name="T21" fmla="*/ 136 h 703"/>
                <a:gd name="T22" fmla="*/ 366 w 491"/>
                <a:gd name="T23" fmla="*/ 161 h 703"/>
                <a:gd name="T24" fmla="*/ 374 w 491"/>
                <a:gd name="T25" fmla="*/ 180 h 703"/>
                <a:gd name="T26" fmla="*/ 366 w 491"/>
                <a:gd name="T27" fmla="*/ 209 h 703"/>
                <a:gd name="T28" fmla="*/ 382 w 491"/>
                <a:gd name="T29" fmla="*/ 205 h 703"/>
                <a:gd name="T30" fmla="*/ 411 w 491"/>
                <a:gd name="T31" fmla="*/ 196 h 703"/>
                <a:gd name="T32" fmla="*/ 436 w 491"/>
                <a:gd name="T33" fmla="*/ 194 h 703"/>
                <a:gd name="T34" fmla="*/ 455 w 491"/>
                <a:gd name="T35" fmla="*/ 205 h 703"/>
                <a:gd name="T36" fmla="*/ 484 w 491"/>
                <a:gd name="T37" fmla="*/ 215 h 703"/>
                <a:gd name="T38" fmla="*/ 457 w 491"/>
                <a:gd name="T39" fmla="*/ 255 h 703"/>
                <a:gd name="T40" fmla="*/ 418 w 491"/>
                <a:gd name="T41" fmla="*/ 301 h 703"/>
                <a:gd name="T42" fmla="*/ 372 w 491"/>
                <a:gd name="T43" fmla="*/ 359 h 703"/>
                <a:gd name="T44" fmla="*/ 345 w 491"/>
                <a:gd name="T45" fmla="*/ 390 h 703"/>
                <a:gd name="T46" fmla="*/ 303 w 491"/>
                <a:gd name="T47" fmla="*/ 432 h 703"/>
                <a:gd name="T48" fmla="*/ 269 w 491"/>
                <a:gd name="T49" fmla="*/ 476 h 703"/>
                <a:gd name="T50" fmla="*/ 267 w 491"/>
                <a:gd name="T51" fmla="*/ 524 h 703"/>
                <a:gd name="T52" fmla="*/ 263 w 491"/>
                <a:gd name="T53" fmla="*/ 578 h 703"/>
                <a:gd name="T54" fmla="*/ 261 w 491"/>
                <a:gd name="T55" fmla="*/ 612 h 703"/>
                <a:gd name="T56" fmla="*/ 259 w 491"/>
                <a:gd name="T57" fmla="*/ 649 h 703"/>
                <a:gd name="T58" fmla="*/ 257 w 491"/>
                <a:gd name="T59" fmla="*/ 666 h 703"/>
                <a:gd name="T60" fmla="*/ 257 w 491"/>
                <a:gd name="T61" fmla="*/ 693 h 703"/>
                <a:gd name="T62" fmla="*/ 232 w 491"/>
                <a:gd name="T63" fmla="*/ 703 h 703"/>
                <a:gd name="T64" fmla="*/ 174 w 491"/>
                <a:gd name="T65" fmla="*/ 699 h 703"/>
                <a:gd name="T66" fmla="*/ 140 w 491"/>
                <a:gd name="T67" fmla="*/ 695 h 703"/>
                <a:gd name="T68" fmla="*/ 101 w 491"/>
                <a:gd name="T69" fmla="*/ 691 h 703"/>
                <a:gd name="T70" fmla="*/ 59 w 491"/>
                <a:gd name="T71" fmla="*/ 685 h 703"/>
                <a:gd name="T72" fmla="*/ 23 w 491"/>
                <a:gd name="T73" fmla="*/ 682 h 703"/>
                <a:gd name="T74" fmla="*/ 2 w 491"/>
                <a:gd name="T75" fmla="*/ 658 h 703"/>
                <a:gd name="T76" fmla="*/ 7 w 491"/>
                <a:gd name="T77" fmla="*/ 624 h 703"/>
                <a:gd name="T78" fmla="*/ 7 w 491"/>
                <a:gd name="T79" fmla="*/ 595 h 703"/>
                <a:gd name="T80" fmla="*/ 13 w 491"/>
                <a:gd name="T81" fmla="*/ 559 h 703"/>
                <a:gd name="T82" fmla="*/ 15 w 491"/>
                <a:gd name="T83" fmla="*/ 532 h 703"/>
                <a:gd name="T84" fmla="*/ 19 w 491"/>
                <a:gd name="T85" fmla="*/ 499 h 703"/>
                <a:gd name="T86" fmla="*/ 21 w 491"/>
                <a:gd name="T87" fmla="*/ 470 h 703"/>
                <a:gd name="T88" fmla="*/ 25 w 491"/>
                <a:gd name="T89" fmla="*/ 442 h 703"/>
                <a:gd name="T90" fmla="*/ 30 w 491"/>
                <a:gd name="T91" fmla="*/ 390 h 703"/>
                <a:gd name="T92" fmla="*/ 34 w 491"/>
                <a:gd name="T93" fmla="*/ 342 h 703"/>
                <a:gd name="T94" fmla="*/ 38 w 491"/>
                <a:gd name="T95" fmla="*/ 305 h 703"/>
                <a:gd name="T96" fmla="*/ 42 w 491"/>
                <a:gd name="T97" fmla="*/ 265 h 703"/>
                <a:gd name="T98" fmla="*/ 52 w 491"/>
                <a:gd name="T99" fmla="*/ 198 h 703"/>
                <a:gd name="T100" fmla="*/ 59 w 491"/>
                <a:gd name="T101" fmla="*/ 142 h 703"/>
                <a:gd name="T102" fmla="*/ 69 w 491"/>
                <a:gd name="T103" fmla="*/ 90 h 703"/>
                <a:gd name="T104" fmla="*/ 75 w 491"/>
                <a:gd name="T105" fmla="*/ 44 h 703"/>
                <a:gd name="T106" fmla="*/ 92 w 491"/>
                <a:gd name="T107" fmla="*/ 2 h 703"/>
                <a:gd name="T108" fmla="*/ 123 w 491"/>
                <a:gd name="T109" fmla="*/ 6 h 703"/>
                <a:gd name="T110" fmla="*/ 153 w 491"/>
                <a:gd name="T111" fmla="*/ 10 h 703"/>
                <a:gd name="T112" fmla="*/ 184 w 491"/>
                <a:gd name="T113" fmla="*/ 13 h 703"/>
                <a:gd name="T114" fmla="*/ 217 w 491"/>
                <a:gd name="T115" fmla="*/ 17 h 703"/>
                <a:gd name="T116" fmla="*/ 249 w 491"/>
                <a:gd name="T117" fmla="*/ 19 h 703"/>
                <a:gd name="T118" fmla="*/ 282 w 491"/>
                <a:gd name="T119" fmla="*/ 21 h 703"/>
                <a:gd name="T120" fmla="*/ 303 w 491"/>
                <a:gd name="T121" fmla="*/ 50 h 7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91" h="703">
                  <a:moveTo>
                    <a:pt x="301" y="23"/>
                  </a:moveTo>
                  <a:lnTo>
                    <a:pt x="301" y="25"/>
                  </a:lnTo>
                  <a:lnTo>
                    <a:pt x="301" y="27"/>
                  </a:lnTo>
                  <a:lnTo>
                    <a:pt x="301" y="25"/>
                  </a:lnTo>
                  <a:lnTo>
                    <a:pt x="301" y="27"/>
                  </a:lnTo>
                  <a:lnTo>
                    <a:pt x="301" y="29"/>
                  </a:lnTo>
                  <a:lnTo>
                    <a:pt x="303" y="29"/>
                  </a:lnTo>
                  <a:lnTo>
                    <a:pt x="301" y="29"/>
                  </a:lnTo>
                  <a:lnTo>
                    <a:pt x="303" y="29"/>
                  </a:lnTo>
                  <a:lnTo>
                    <a:pt x="301" y="29"/>
                  </a:lnTo>
                  <a:lnTo>
                    <a:pt x="303" y="29"/>
                  </a:lnTo>
                  <a:lnTo>
                    <a:pt x="301" y="29"/>
                  </a:lnTo>
                  <a:lnTo>
                    <a:pt x="301" y="31"/>
                  </a:lnTo>
                  <a:lnTo>
                    <a:pt x="303" y="31"/>
                  </a:lnTo>
                  <a:lnTo>
                    <a:pt x="301" y="31"/>
                  </a:lnTo>
                  <a:lnTo>
                    <a:pt x="303" y="31"/>
                  </a:lnTo>
                  <a:lnTo>
                    <a:pt x="303" y="33"/>
                  </a:lnTo>
                  <a:lnTo>
                    <a:pt x="301" y="33"/>
                  </a:lnTo>
                  <a:lnTo>
                    <a:pt x="303" y="33"/>
                  </a:lnTo>
                  <a:lnTo>
                    <a:pt x="303" y="35"/>
                  </a:lnTo>
                  <a:lnTo>
                    <a:pt x="303" y="36"/>
                  </a:lnTo>
                  <a:lnTo>
                    <a:pt x="301" y="36"/>
                  </a:lnTo>
                  <a:lnTo>
                    <a:pt x="301" y="38"/>
                  </a:lnTo>
                  <a:lnTo>
                    <a:pt x="303" y="38"/>
                  </a:lnTo>
                  <a:lnTo>
                    <a:pt x="301" y="38"/>
                  </a:lnTo>
                  <a:lnTo>
                    <a:pt x="301" y="40"/>
                  </a:lnTo>
                  <a:lnTo>
                    <a:pt x="303" y="40"/>
                  </a:lnTo>
                  <a:lnTo>
                    <a:pt x="301" y="40"/>
                  </a:lnTo>
                  <a:lnTo>
                    <a:pt x="301" y="42"/>
                  </a:lnTo>
                  <a:lnTo>
                    <a:pt x="301" y="44"/>
                  </a:lnTo>
                  <a:lnTo>
                    <a:pt x="301" y="46"/>
                  </a:lnTo>
                  <a:lnTo>
                    <a:pt x="301" y="48"/>
                  </a:lnTo>
                  <a:lnTo>
                    <a:pt x="303" y="48"/>
                  </a:lnTo>
                  <a:lnTo>
                    <a:pt x="301" y="48"/>
                  </a:lnTo>
                  <a:lnTo>
                    <a:pt x="303" y="48"/>
                  </a:lnTo>
                  <a:lnTo>
                    <a:pt x="301" y="48"/>
                  </a:lnTo>
                  <a:lnTo>
                    <a:pt x="301" y="50"/>
                  </a:lnTo>
                  <a:lnTo>
                    <a:pt x="301" y="52"/>
                  </a:lnTo>
                  <a:lnTo>
                    <a:pt x="301" y="54"/>
                  </a:lnTo>
                  <a:lnTo>
                    <a:pt x="303" y="54"/>
                  </a:lnTo>
                  <a:lnTo>
                    <a:pt x="303" y="56"/>
                  </a:lnTo>
                  <a:lnTo>
                    <a:pt x="303" y="58"/>
                  </a:lnTo>
                  <a:lnTo>
                    <a:pt x="303" y="59"/>
                  </a:lnTo>
                  <a:lnTo>
                    <a:pt x="303" y="61"/>
                  </a:lnTo>
                  <a:lnTo>
                    <a:pt x="303" y="63"/>
                  </a:lnTo>
                  <a:lnTo>
                    <a:pt x="303" y="61"/>
                  </a:lnTo>
                  <a:lnTo>
                    <a:pt x="303" y="63"/>
                  </a:lnTo>
                  <a:lnTo>
                    <a:pt x="303" y="61"/>
                  </a:lnTo>
                  <a:lnTo>
                    <a:pt x="303" y="63"/>
                  </a:lnTo>
                  <a:lnTo>
                    <a:pt x="303" y="65"/>
                  </a:lnTo>
                  <a:lnTo>
                    <a:pt x="301" y="65"/>
                  </a:lnTo>
                  <a:lnTo>
                    <a:pt x="303" y="65"/>
                  </a:lnTo>
                  <a:lnTo>
                    <a:pt x="301" y="65"/>
                  </a:lnTo>
                  <a:lnTo>
                    <a:pt x="303" y="65"/>
                  </a:lnTo>
                  <a:lnTo>
                    <a:pt x="301" y="65"/>
                  </a:lnTo>
                  <a:lnTo>
                    <a:pt x="301" y="67"/>
                  </a:lnTo>
                  <a:lnTo>
                    <a:pt x="301" y="69"/>
                  </a:lnTo>
                  <a:lnTo>
                    <a:pt x="301" y="71"/>
                  </a:lnTo>
                  <a:lnTo>
                    <a:pt x="301" y="73"/>
                  </a:lnTo>
                  <a:lnTo>
                    <a:pt x="301" y="71"/>
                  </a:lnTo>
                  <a:lnTo>
                    <a:pt x="301" y="73"/>
                  </a:lnTo>
                  <a:lnTo>
                    <a:pt x="301" y="75"/>
                  </a:lnTo>
                  <a:lnTo>
                    <a:pt x="301" y="77"/>
                  </a:lnTo>
                  <a:lnTo>
                    <a:pt x="299" y="77"/>
                  </a:lnTo>
                  <a:lnTo>
                    <a:pt x="299" y="79"/>
                  </a:lnTo>
                  <a:lnTo>
                    <a:pt x="301" y="79"/>
                  </a:lnTo>
                  <a:lnTo>
                    <a:pt x="301" y="81"/>
                  </a:lnTo>
                  <a:lnTo>
                    <a:pt x="301" y="83"/>
                  </a:lnTo>
                  <a:lnTo>
                    <a:pt x="299" y="83"/>
                  </a:lnTo>
                  <a:lnTo>
                    <a:pt x="301" y="83"/>
                  </a:lnTo>
                  <a:lnTo>
                    <a:pt x="301" y="84"/>
                  </a:lnTo>
                  <a:lnTo>
                    <a:pt x="303" y="84"/>
                  </a:lnTo>
                  <a:lnTo>
                    <a:pt x="303" y="86"/>
                  </a:lnTo>
                  <a:lnTo>
                    <a:pt x="305" y="86"/>
                  </a:lnTo>
                  <a:lnTo>
                    <a:pt x="305" y="88"/>
                  </a:lnTo>
                  <a:lnTo>
                    <a:pt x="305" y="86"/>
                  </a:lnTo>
                  <a:lnTo>
                    <a:pt x="305" y="88"/>
                  </a:lnTo>
                  <a:lnTo>
                    <a:pt x="305" y="86"/>
                  </a:lnTo>
                  <a:lnTo>
                    <a:pt x="305" y="88"/>
                  </a:lnTo>
                  <a:lnTo>
                    <a:pt x="307" y="88"/>
                  </a:lnTo>
                  <a:lnTo>
                    <a:pt x="307" y="90"/>
                  </a:lnTo>
                  <a:lnTo>
                    <a:pt x="305" y="90"/>
                  </a:lnTo>
                  <a:lnTo>
                    <a:pt x="307" y="90"/>
                  </a:lnTo>
                  <a:lnTo>
                    <a:pt x="305" y="90"/>
                  </a:lnTo>
                  <a:lnTo>
                    <a:pt x="307" y="90"/>
                  </a:lnTo>
                  <a:lnTo>
                    <a:pt x="305" y="90"/>
                  </a:lnTo>
                  <a:lnTo>
                    <a:pt x="305" y="92"/>
                  </a:lnTo>
                  <a:lnTo>
                    <a:pt x="307" y="92"/>
                  </a:lnTo>
                  <a:lnTo>
                    <a:pt x="305" y="92"/>
                  </a:lnTo>
                  <a:lnTo>
                    <a:pt x="307" y="92"/>
                  </a:lnTo>
                  <a:lnTo>
                    <a:pt x="307" y="94"/>
                  </a:lnTo>
                  <a:lnTo>
                    <a:pt x="309" y="94"/>
                  </a:lnTo>
                  <a:lnTo>
                    <a:pt x="309" y="96"/>
                  </a:lnTo>
                  <a:lnTo>
                    <a:pt x="311" y="96"/>
                  </a:lnTo>
                  <a:lnTo>
                    <a:pt x="311" y="98"/>
                  </a:lnTo>
                  <a:lnTo>
                    <a:pt x="309" y="98"/>
                  </a:lnTo>
                  <a:lnTo>
                    <a:pt x="309" y="96"/>
                  </a:lnTo>
                  <a:lnTo>
                    <a:pt x="309" y="98"/>
                  </a:lnTo>
                  <a:lnTo>
                    <a:pt x="311" y="98"/>
                  </a:lnTo>
                  <a:lnTo>
                    <a:pt x="309" y="98"/>
                  </a:lnTo>
                  <a:lnTo>
                    <a:pt x="309" y="100"/>
                  </a:lnTo>
                  <a:lnTo>
                    <a:pt x="311" y="100"/>
                  </a:lnTo>
                  <a:lnTo>
                    <a:pt x="309" y="100"/>
                  </a:lnTo>
                  <a:lnTo>
                    <a:pt x="311" y="100"/>
                  </a:lnTo>
                  <a:lnTo>
                    <a:pt x="311" y="102"/>
                  </a:lnTo>
                  <a:lnTo>
                    <a:pt x="313" y="102"/>
                  </a:lnTo>
                  <a:lnTo>
                    <a:pt x="315" y="102"/>
                  </a:lnTo>
                  <a:lnTo>
                    <a:pt x="315" y="100"/>
                  </a:lnTo>
                  <a:lnTo>
                    <a:pt x="317" y="100"/>
                  </a:lnTo>
                  <a:lnTo>
                    <a:pt x="317" y="98"/>
                  </a:lnTo>
                  <a:lnTo>
                    <a:pt x="318" y="98"/>
                  </a:lnTo>
                  <a:lnTo>
                    <a:pt x="318" y="96"/>
                  </a:lnTo>
                  <a:lnTo>
                    <a:pt x="318" y="98"/>
                  </a:lnTo>
                  <a:lnTo>
                    <a:pt x="320" y="98"/>
                  </a:lnTo>
                  <a:lnTo>
                    <a:pt x="322" y="98"/>
                  </a:lnTo>
                  <a:lnTo>
                    <a:pt x="322" y="100"/>
                  </a:lnTo>
                  <a:lnTo>
                    <a:pt x="322" y="98"/>
                  </a:lnTo>
                  <a:lnTo>
                    <a:pt x="322" y="100"/>
                  </a:lnTo>
                  <a:lnTo>
                    <a:pt x="324" y="100"/>
                  </a:lnTo>
                  <a:lnTo>
                    <a:pt x="326" y="100"/>
                  </a:lnTo>
                  <a:lnTo>
                    <a:pt x="326" y="98"/>
                  </a:lnTo>
                  <a:lnTo>
                    <a:pt x="326" y="100"/>
                  </a:lnTo>
                  <a:lnTo>
                    <a:pt x="328" y="100"/>
                  </a:lnTo>
                  <a:lnTo>
                    <a:pt x="330" y="100"/>
                  </a:lnTo>
                  <a:lnTo>
                    <a:pt x="330" y="98"/>
                  </a:lnTo>
                  <a:lnTo>
                    <a:pt x="330" y="100"/>
                  </a:lnTo>
                  <a:lnTo>
                    <a:pt x="330" y="98"/>
                  </a:lnTo>
                  <a:lnTo>
                    <a:pt x="330" y="100"/>
                  </a:lnTo>
                  <a:lnTo>
                    <a:pt x="332" y="100"/>
                  </a:lnTo>
                  <a:lnTo>
                    <a:pt x="332" y="98"/>
                  </a:lnTo>
                  <a:lnTo>
                    <a:pt x="332" y="100"/>
                  </a:lnTo>
                  <a:lnTo>
                    <a:pt x="332" y="98"/>
                  </a:lnTo>
                  <a:lnTo>
                    <a:pt x="332" y="100"/>
                  </a:lnTo>
                  <a:lnTo>
                    <a:pt x="334" y="100"/>
                  </a:lnTo>
                  <a:lnTo>
                    <a:pt x="334" y="98"/>
                  </a:lnTo>
                  <a:lnTo>
                    <a:pt x="332" y="98"/>
                  </a:lnTo>
                  <a:lnTo>
                    <a:pt x="334" y="98"/>
                  </a:lnTo>
                  <a:lnTo>
                    <a:pt x="336" y="98"/>
                  </a:lnTo>
                  <a:lnTo>
                    <a:pt x="334" y="98"/>
                  </a:lnTo>
                  <a:lnTo>
                    <a:pt x="336" y="98"/>
                  </a:lnTo>
                  <a:lnTo>
                    <a:pt x="336" y="100"/>
                  </a:lnTo>
                  <a:lnTo>
                    <a:pt x="336" y="98"/>
                  </a:lnTo>
                  <a:lnTo>
                    <a:pt x="338" y="98"/>
                  </a:lnTo>
                  <a:lnTo>
                    <a:pt x="338" y="100"/>
                  </a:lnTo>
                  <a:lnTo>
                    <a:pt x="340" y="100"/>
                  </a:lnTo>
                  <a:lnTo>
                    <a:pt x="340" y="98"/>
                  </a:lnTo>
                  <a:lnTo>
                    <a:pt x="340" y="100"/>
                  </a:lnTo>
                  <a:lnTo>
                    <a:pt x="341" y="100"/>
                  </a:lnTo>
                  <a:lnTo>
                    <a:pt x="341" y="102"/>
                  </a:lnTo>
                  <a:lnTo>
                    <a:pt x="341" y="104"/>
                  </a:lnTo>
                  <a:lnTo>
                    <a:pt x="343" y="104"/>
                  </a:lnTo>
                  <a:lnTo>
                    <a:pt x="343" y="102"/>
                  </a:lnTo>
                  <a:lnTo>
                    <a:pt x="345" y="102"/>
                  </a:lnTo>
                  <a:lnTo>
                    <a:pt x="345" y="100"/>
                  </a:lnTo>
                  <a:lnTo>
                    <a:pt x="347" y="100"/>
                  </a:lnTo>
                  <a:lnTo>
                    <a:pt x="349" y="100"/>
                  </a:lnTo>
                  <a:lnTo>
                    <a:pt x="351" y="100"/>
                  </a:lnTo>
                  <a:lnTo>
                    <a:pt x="351" y="102"/>
                  </a:lnTo>
                  <a:lnTo>
                    <a:pt x="351" y="104"/>
                  </a:lnTo>
                  <a:lnTo>
                    <a:pt x="351" y="106"/>
                  </a:lnTo>
                  <a:lnTo>
                    <a:pt x="353" y="106"/>
                  </a:lnTo>
                  <a:lnTo>
                    <a:pt x="351" y="106"/>
                  </a:lnTo>
                  <a:lnTo>
                    <a:pt x="353" y="106"/>
                  </a:lnTo>
                  <a:lnTo>
                    <a:pt x="351" y="104"/>
                  </a:lnTo>
                  <a:lnTo>
                    <a:pt x="351" y="106"/>
                  </a:lnTo>
                  <a:lnTo>
                    <a:pt x="351" y="104"/>
                  </a:lnTo>
                  <a:lnTo>
                    <a:pt x="353" y="104"/>
                  </a:lnTo>
                  <a:lnTo>
                    <a:pt x="353" y="106"/>
                  </a:lnTo>
                  <a:lnTo>
                    <a:pt x="351" y="106"/>
                  </a:lnTo>
                  <a:lnTo>
                    <a:pt x="351" y="107"/>
                  </a:lnTo>
                  <a:lnTo>
                    <a:pt x="351" y="106"/>
                  </a:lnTo>
                  <a:lnTo>
                    <a:pt x="351" y="107"/>
                  </a:lnTo>
                  <a:lnTo>
                    <a:pt x="351" y="109"/>
                  </a:lnTo>
                  <a:lnTo>
                    <a:pt x="353" y="109"/>
                  </a:lnTo>
                  <a:lnTo>
                    <a:pt x="351" y="109"/>
                  </a:lnTo>
                  <a:lnTo>
                    <a:pt x="353" y="109"/>
                  </a:lnTo>
                  <a:lnTo>
                    <a:pt x="353" y="111"/>
                  </a:lnTo>
                  <a:lnTo>
                    <a:pt x="353" y="113"/>
                  </a:lnTo>
                  <a:lnTo>
                    <a:pt x="353" y="115"/>
                  </a:lnTo>
                  <a:lnTo>
                    <a:pt x="353" y="117"/>
                  </a:lnTo>
                  <a:lnTo>
                    <a:pt x="353" y="119"/>
                  </a:lnTo>
                  <a:lnTo>
                    <a:pt x="355" y="119"/>
                  </a:lnTo>
                  <a:lnTo>
                    <a:pt x="355" y="121"/>
                  </a:lnTo>
                  <a:lnTo>
                    <a:pt x="355" y="123"/>
                  </a:lnTo>
                  <a:lnTo>
                    <a:pt x="355" y="125"/>
                  </a:lnTo>
                  <a:lnTo>
                    <a:pt x="355" y="127"/>
                  </a:lnTo>
                  <a:lnTo>
                    <a:pt x="357" y="127"/>
                  </a:lnTo>
                  <a:lnTo>
                    <a:pt x="357" y="129"/>
                  </a:lnTo>
                  <a:lnTo>
                    <a:pt x="357" y="131"/>
                  </a:lnTo>
                  <a:lnTo>
                    <a:pt x="359" y="131"/>
                  </a:lnTo>
                  <a:lnTo>
                    <a:pt x="359" y="132"/>
                  </a:lnTo>
                  <a:lnTo>
                    <a:pt x="359" y="134"/>
                  </a:lnTo>
                  <a:lnTo>
                    <a:pt x="359" y="132"/>
                  </a:lnTo>
                  <a:lnTo>
                    <a:pt x="359" y="134"/>
                  </a:lnTo>
                  <a:lnTo>
                    <a:pt x="359" y="136"/>
                  </a:lnTo>
                  <a:lnTo>
                    <a:pt x="359" y="134"/>
                  </a:lnTo>
                  <a:lnTo>
                    <a:pt x="359" y="136"/>
                  </a:lnTo>
                  <a:lnTo>
                    <a:pt x="361" y="136"/>
                  </a:lnTo>
                  <a:lnTo>
                    <a:pt x="361" y="138"/>
                  </a:lnTo>
                  <a:lnTo>
                    <a:pt x="361" y="140"/>
                  </a:lnTo>
                  <a:lnTo>
                    <a:pt x="361" y="142"/>
                  </a:lnTo>
                  <a:lnTo>
                    <a:pt x="363" y="142"/>
                  </a:lnTo>
                  <a:lnTo>
                    <a:pt x="363" y="144"/>
                  </a:lnTo>
                  <a:lnTo>
                    <a:pt x="363" y="146"/>
                  </a:lnTo>
                  <a:lnTo>
                    <a:pt x="363" y="144"/>
                  </a:lnTo>
                  <a:lnTo>
                    <a:pt x="363" y="146"/>
                  </a:lnTo>
                  <a:lnTo>
                    <a:pt x="363" y="148"/>
                  </a:lnTo>
                  <a:lnTo>
                    <a:pt x="363" y="150"/>
                  </a:lnTo>
                  <a:lnTo>
                    <a:pt x="363" y="152"/>
                  </a:lnTo>
                  <a:lnTo>
                    <a:pt x="363" y="154"/>
                  </a:lnTo>
                  <a:lnTo>
                    <a:pt x="365" y="154"/>
                  </a:lnTo>
                  <a:lnTo>
                    <a:pt x="365" y="155"/>
                  </a:lnTo>
                  <a:lnTo>
                    <a:pt x="365" y="157"/>
                  </a:lnTo>
                  <a:lnTo>
                    <a:pt x="365" y="159"/>
                  </a:lnTo>
                  <a:lnTo>
                    <a:pt x="365" y="161"/>
                  </a:lnTo>
                  <a:lnTo>
                    <a:pt x="366" y="161"/>
                  </a:lnTo>
                  <a:lnTo>
                    <a:pt x="366" y="163"/>
                  </a:lnTo>
                  <a:lnTo>
                    <a:pt x="366" y="165"/>
                  </a:lnTo>
                  <a:lnTo>
                    <a:pt x="366" y="167"/>
                  </a:lnTo>
                  <a:lnTo>
                    <a:pt x="368" y="167"/>
                  </a:lnTo>
                  <a:lnTo>
                    <a:pt x="368" y="169"/>
                  </a:lnTo>
                  <a:lnTo>
                    <a:pt x="368" y="171"/>
                  </a:lnTo>
                  <a:lnTo>
                    <a:pt x="370" y="171"/>
                  </a:lnTo>
                  <a:lnTo>
                    <a:pt x="370" y="173"/>
                  </a:lnTo>
                  <a:lnTo>
                    <a:pt x="370" y="175"/>
                  </a:lnTo>
                  <a:lnTo>
                    <a:pt x="372" y="175"/>
                  </a:lnTo>
                  <a:lnTo>
                    <a:pt x="372" y="177"/>
                  </a:lnTo>
                  <a:lnTo>
                    <a:pt x="372" y="179"/>
                  </a:lnTo>
                  <a:lnTo>
                    <a:pt x="372" y="180"/>
                  </a:lnTo>
                  <a:lnTo>
                    <a:pt x="374" y="180"/>
                  </a:lnTo>
                  <a:lnTo>
                    <a:pt x="374" y="182"/>
                  </a:lnTo>
                  <a:lnTo>
                    <a:pt x="374" y="180"/>
                  </a:lnTo>
                  <a:lnTo>
                    <a:pt x="372" y="180"/>
                  </a:lnTo>
                  <a:lnTo>
                    <a:pt x="374" y="180"/>
                  </a:lnTo>
                  <a:lnTo>
                    <a:pt x="374" y="182"/>
                  </a:lnTo>
                  <a:lnTo>
                    <a:pt x="374" y="184"/>
                  </a:lnTo>
                  <a:lnTo>
                    <a:pt x="374" y="186"/>
                  </a:lnTo>
                  <a:lnTo>
                    <a:pt x="374" y="188"/>
                  </a:lnTo>
                  <a:lnTo>
                    <a:pt x="374" y="190"/>
                  </a:lnTo>
                  <a:lnTo>
                    <a:pt x="374" y="192"/>
                  </a:lnTo>
                  <a:lnTo>
                    <a:pt x="374" y="194"/>
                  </a:lnTo>
                  <a:lnTo>
                    <a:pt x="374" y="196"/>
                  </a:lnTo>
                  <a:lnTo>
                    <a:pt x="372" y="196"/>
                  </a:lnTo>
                  <a:lnTo>
                    <a:pt x="372" y="198"/>
                  </a:lnTo>
                  <a:lnTo>
                    <a:pt x="372" y="200"/>
                  </a:lnTo>
                  <a:lnTo>
                    <a:pt x="370" y="200"/>
                  </a:lnTo>
                  <a:lnTo>
                    <a:pt x="370" y="202"/>
                  </a:lnTo>
                  <a:lnTo>
                    <a:pt x="370" y="203"/>
                  </a:lnTo>
                  <a:lnTo>
                    <a:pt x="368" y="205"/>
                  </a:lnTo>
                  <a:lnTo>
                    <a:pt x="368" y="207"/>
                  </a:lnTo>
                  <a:lnTo>
                    <a:pt x="366" y="207"/>
                  </a:lnTo>
                  <a:lnTo>
                    <a:pt x="366" y="209"/>
                  </a:lnTo>
                  <a:lnTo>
                    <a:pt x="365" y="211"/>
                  </a:lnTo>
                  <a:lnTo>
                    <a:pt x="363" y="211"/>
                  </a:lnTo>
                  <a:lnTo>
                    <a:pt x="363" y="213"/>
                  </a:lnTo>
                  <a:lnTo>
                    <a:pt x="365" y="213"/>
                  </a:lnTo>
                  <a:lnTo>
                    <a:pt x="366" y="213"/>
                  </a:lnTo>
                  <a:lnTo>
                    <a:pt x="366" y="211"/>
                  </a:lnTo>
                  <a:lnTo>
                    <a:pt x="368" y="209"/>
                  </a:lnTo>
                  <a:lnTo>
                    <a:pt x="370" y="209"/>
                  </a:lnTo>
                  <a:lnTo>
                    <a:pt x="370" y="207"/>
                  </a:lnTo>
                  <a:lnTo>
                    <a:pt x="372" y="207"/>
                  </a:lnTo>
                  <a:lnTo>
                    <a:pt x="372" y="205"/>
                  </a:lnTo>
                  <a:lnTo>
                    <a:pt x="374" y="205"/>
                  </a:lnTo>
                  <a:lnTo>
                    <a:pt x="376" y="205"/>
                  </a:lnTo>
                  <a:lnTo>
                    <a:pt x="378" y="205"/>
                  </a:lnTo>
                  <a:lnTo>
                    <a:pt x="380" y="205"/>
                  </a:lnTo>
                  <a:lnTo>
                    <a:pt x="380" y="203"/>
                  </a:lnTo>
                  <a:lnTo>
                    <a:pt x="382" y="203"/>
                  </a:lnTo>
                  <a:lnTo>
                    <a:pt x="382" y="205"/>
                  </a:lnTo>
                  <a:lnTo>
                    <a:pt x="384" y="205"/>
                  </a:lnTo>
                  <a:lnTo>
                    <a:pt x="386" y="205"/>
                  </a:lnTo>
                  <a:lnTo>
                    <a:pt x="388" y="205"/>
                  </a:lnTo>
                  <a:lnTo>
                    <a:pt x="389" y="205"/>
                  </a:lnTo>
                  <a:lnTo>
                    <a:pt x="391" y="205"/>
                  </a:lnTo>
                  <a:lnTo>
                    <a:pt x="393" y="203"/>
                  </a:lnTo>
                  <a:lnTo>
                    <a:pt x="395" y="203"/>
                  </a:lnTo>
                  <a:lnTo>
                    <a:pt x="397" y="202"/>
                  </a:lnTo>
                  <a:lnTo>
                    <a:pt x="399" y="202"/>
                  </a:lnTo>
                  <a:lnTo>
                    <a:pt x="401" y="202"/>
                  </a:lnTo>
                  <a:lnTo>
                    <a:pt x="401" y="200"/>
                  </a:lnTo>
                  <a:lnTo>
                    <a:pt x="403" y="200"/>
                  </a:lnTo>
                  <a:lnTo>
                    <a:pt x="405" y="200"/>
                  </a:lnTo>
                  <a:lnTo>
                    <a:pt x="405" y="198"/>
                  </a:lnTo>
                  <a:lnTo>
                    <a:pt x="407" y="198"/>
                  </a:lnTo>
                  <a:lnTo>
                    <a:pt x="409" y="198"/>
                  </a:lnTo>
                  <a:lnTo>
                    <a:pt x="409" y="196"/>
                  </a:lnTo>
                  <a:lnTo>
                    <a:pt x="411" y="196"/>
                  </a:lnTo>
                  <a:lnTo>
                    <a:pt x="413" y="196"/>
                  </a:lnTo>
                  <a:lnTo>
                    <a:pt x="413" y="194"/>
                  </a:lnTo>
                  <a:lnTo>
                    <a:pt x="414" y="194"/>
                  </a:lnTo>
                  <a:lnTo>
                    <a:pt x="416" y="194"/>
                  </a:lnTo>
                  <a:lnTo>
                    <a:pt x="418" y="194"/>
                  </a:lnTo>
                  <a:lnTo>
                    <a:pt x="418" y="192"/>
                  </a:lnTo>
                  <a:lnTo>
                    <a:pt x="420" y="192"/>
                  </a:lnTo>
                  <a:lnTo>
                    <a:pt x="422" y="192"/>
                  </a:lnTo>
                  <a:lnTo>
                    <a:pt x="424" y="192"/>
                  </a:lnTo>
                  <a:lnTo>
                    <a:pt x="426" y="192"/>
                  </a:lnTo>
                  <a:lnTo>
                    <a:pt x="428" y="192"/>
                  </a:lnTo>
                  <a:lnTo>
                    <a:pt x="426" y="192"/>
                  </a:lnTo>
                  <a:lnTo>
                    <a:pt x="428" y="192"/>
                  </a:lnTo>
                  <a:lnTo>
                    <a:pt x="428" y="194"/>
                  </a:lnTo>
                  <a:lnTo>
                    <a:pt x="430" y="194"/>
                  </a:lnTo>
                  <a:lnTo>
                    <a:pt x="432" y="194"/>
                  </a:lnTo>
                  <a:lnTo>
                    <a:pt x="434" y="194"/>
                  </a:lnTo>
                  <a:lnTo>
                    <a:pt x="436" y="194"/>
                  </a:lnTo>
                  <a:lnTo>
                    <a:pt x="436" y="196"/>
                  </a:lnTo>
                  <a:lnTo>
                    <a:pt x="437" y="196"/>
                  </a:lnTo>
                  <a:lnTo>
                    <a:pt x="439" y="196"/>
                  </a:lnTo>
                  <a:lnTo>
                    <a:pt x="441" y="196"/>
                  </a:lnTo>
                  <a:lnTo>
                    <a:pt x="441" y="198"/>
                  </a:lnTo>
                  <a:lnTo>
                    <a:pt x="443" y="198"/>
                  </a:lnTo>
                  <a:lnTo>
                    <a:pt x="443" y="200"/>
                  </a:lnTo>
                  <a:lnTo>
                    <a:pt x="445" y="200"/>
                  </a:lnTo>
                  <a:lnTo>
                    <a:pt x="447" y="200"/>
                  </a:lnTo>
                  <a:lnTo>
                    <a:pt x="447" y="202"/>
                  </a:lnTo>
                  <a:lnTo>
                    <a:pt x="449" y="202"/>
                  </a:lnTo>
                  <a:lnTo>
                    <a:pt x="449" y="203"/>
                  </a:lnTo>
                  <a:lnTo>
                    <a:pt x="451" y="203"/>
                  </a:lnTo>
                  <a:lnTo>
                    <a:pt x="449" y="203"/>
                  </a:lnTo>
                  <a:lnTo>
                    <a:pt x="451" y="203"/>
                  </a:lnTo>
                  <a:lnTo>
                    <a:pt x="453" y="203"/>
                  </a:lnTo>
                  <a:lnTo>
                    <a:pt x="453" y="205"/>
                  </a:lnTo>
                  <a:lnTo>
                    <a:pt x="455" y="205"/>
                  </a:lnTo>
                  <a:lnTo>
                    <a:pt x="457" y="205"/>
                  </a:lnTo>
                  <a:lnTo>
                    <a:pt x="457" y="207"/>
                  </a:lnTo>
                  <a:lnTo>
                    <a:pt x="459" y="207"/>
                  </a:lnTo>
                  <a:lnTo>
                    <a:pt x="461" y="209"/>
                  </a:lnTo>
                  <a:lnTo>
                    <a:pt x="462" y="209"/>
                  </a:lnTo>
                  <a:lnTo>
                    <a:pt x="464" y="209"/>
                  </a:lnTo>
                  <a:lnTo>
                    <a:pt x="466" y="209"/>
                  </a:lnTo>
                  <a:lnTo>
                    <a:pt x="466" y="211"/>
                  </a:lnTo>
                  <a:lnTo>
                    <a:pt x="468" y="211"/>
                  </a:lnTo>
                  <a:lnTo>
                    <a:pt x="470" y="211"/>
                  </a:lnTo>
                  <a:lnTo>
                    <a:pt x="472" y="211"/>
                  </a:lnTo>
                  <a:lnTo>
                    <a:pt x="474" y="211"/>
                  </a:lnTo>
                  <a:lnTo>
                    <a:pt x="476" y="211"/>
                  </a:lnTo>
                  <a:lnTo>
                    <a:pt x="478" y="211"/>
                  </a:lnTo>
                  <a:lnTo>
                    <a:pt x="478" y="213"/>
                  </a:lnTo>
                  <a:lnTo>
                    <a:pt x="480" y="213"/>
                  </a:lnTo>
                  <a:lnTo>
                    <a:pt x="482" y="213"/>
                  </a:lnTo>
                  <a:lnTo>
                    <a:pt x="484" y="215"/>
                  </a:lnTo>
                  <a:lnTo>
                    <a:pt x="485" y="215"/>
                  </a:lnTo>
                  <a:lnTo>
                    <a:pt x="487" y="215"/>
                  </a:lnTo>
                  <a:lnTo>
                    <a:pt x="489" y="215"/>
                  </a:lnTo>
                  <a:lnTo>
                    <a:pt x="489" y="217"/>
                  </a:lnTo>
                  <a:lnTo>
                    <a:pt x="491" y="217"/>
                  </a:lnTo>
                  <a:lnTo>
                    <a:pt x="489" y="217"/>
                  </a:lnTo>
                  <a:lnTo>
                    <a:pt x="485" y="223"/>
                  </a:lnTo>
                  <a:lnTo>
                    <a:pt x="482" y="225"/>
                  </a:lnTo>
                  <a:lnTo>
                    <a:pt x="482" y="227"/>
                  </a:lnTo>
                  <a:lnTo>
                    <a:pt x="480" y="228"/>
                  </a:lnTo>
                  <a:lnTo>
                    <a:pt x="476" y="234"/>
                  </a:lnTo>
                  <a:lnTo>
                    <a:pt x="474" y="236"/>
                  </a:lnTo>
                  <a:lnTo>
                    <a:pt x="472" y="238"/>
                  </a:lnTo>
                  <a:lnTo>
                    <a:pt x="468" y="242"/>
                  </a:lnTo>
                  <a:lnTo>
                    <a:pt x="464" y="248"/>
                  </a:lnTo>
                  <a:lnTo>
                    <a:pt x="462" y="250"/>
                  </a:lnTo>
                  <a:lnTo>
                    <a:pt x="459" y="253"/>
                  </a:lnTo>
                  <a:lnTo>
                    <a:pt x="457" y="255"/>
                  </a:lnTo>
                  <a:lnTo>
                    <a:pt x="457" y="257"/>
                  </a:lnTo>
                  <a:lnTo>
                    <a:pt x="455" y="259"/>
                  </a:lnTo>
                  <a:lnTo>
                    <a:pt x="453" y="261"/>
                  </a:lnTo>
                  <a:lnTo>
                    <a:pt x="449" y="265"/>
                  </a:lnTo>
                  <a:lnTo>
                    <a:pt x="447" y="269"/>
                  </a:lnTo>
                  <a:lnTo>
                    <a:pt x="445" y="271"/>
                  </a:lnTo>
                  <a:lnTo>
                    <a:pt x="443" y="273"/>
                  </a:lnTo>
                  <a:lnTo>
                    <a:pt x="441" y="275"/>
                  </a:lnTo>
                  <a:lnTo>
                    <a:pt x="439" y="276"/>
                  </a:lnTo>
                  <a:lnTo>
                    <a:pt x="439" y="278"/>
                  </a:lnTo>
                  <a:lnTo>
                    <a:pt x="436" y="280"/>
                  </a:lnTo>
                  <a:lnTo>
                    <a:pt x="434" y="284"/>
                  </a:lnTo>
                  <a:lnTo>
                    <a:pt x="432" y="286"/>
                  </a:lnTo>
                  <a:lnTo>
                    <a:pt x="430" y="288"/>
                  </a:lnTo>
                  <a:lnTo>
                    <a:pt x="428" y="290"/>
                  </a:lnTo>
                  <a:lnTo>
                    <a:pt x="424" y="294"/>
                  </a:lnTo>
                  <a:lnTo>
                    <a:pt x="424" y="296"/>
                  </a:lnTo>
                  <a:lnTo>
                    <a:pt x="418" y="301"/>
                  </a:lnTo>
                  <a:lnTo>
                    <a:pt x="418" y="303"/>
                  </a:lnTo>
                  <a:lnTo>
                    <a:pt x="411" y="309"/>
                  </a:lnTo>
                  <a:lnTo>
                    <a:pt x="411" y="311"/>
                  </a:lnTo>
                  <a:lnTo>
                    <a:pt x="409" y="313"/>
                  </a:lnTo>
                  <a:lnTo>
                    <a:pt x="409" y="315"/>
                  </a:lnTo>
                  <a:lnTo>
                    <a:pt x="407" y="317"/>
                  </a:lnTo>
                  <a:lnTo>
                    <a:pt x="405" y="317"/>
                  </a:lnTo>
                  <a:lnTo>
                    <a:pt x="401" y="323"/>
                  </a:lnTo>
                  <a:lnTo>
                    <a:pt x="397" y="326"/>
                  </a:lnTo>
                  <a:lnTo>
                    <a:pt x="393" y="332"/>
                  </a:lnTo>
                  <a:lnTo>
                    <a:pt x="388" y="338"/>
                  </a:lnTo>
                  <a:lnTo>
                    <a:pt x="388" y="340"/>
                  </a:lnTo>
                  <a:lnTo>
                    <a:pt x="384" y="344"/>
                  </a:lnTo>
                  <a:lnTo>
                    <a:pt x="382" y="346"/>
                  </a:lnTo>
                  <a:lnTo>
                    <a:pt x="380" y="347"/>
                  </a:lnTo>
                  <a:lnTo>
                    <a:pt x="374" y="355"/>
                  </a:lnTo>
                  <a:lnTo>
                    <a:pt x="372" y="357"/>
                  </a:lnTo>
                  <a:lnTo>
                    <a:pt x="372" y="359"/>
                  </a:lnTo>
                  <a:lnTo>
                    <a:pt x="370" y="359"/>
                  </a:lnTo>
                  <a:lnTo>
                    <a:pt x="370" y="361"/>
                  </a:lnTo>
                  <a:lnTo>
                    <a:pt x="368" y="361"/>
                  </a:lnTo>
                  <a:lnTo>
                    <a:pt x="366" y="363"/>
                  </a:lnTo>
                  <a:lnTo>
                    <a:pt x="365" y="367"/>
                  </a:lnTo>
                  <a:lnTo>
                    <a:pt x="363" y="367"/>
                  </a:lnTo>
                  <a:lnTo>
                    <a:pt x="363" y="369"/>
                  </a:lnTo>
                  <a:lnTo>
                    <a:pt x="361" y="371"/>
                  </a:lnTo>
                  <a:lnTo>
                    <a:pt x="355" y="378"/>
                  </a:lnTo>
                  <a:lnTo>
                    <a:pt x="353" y="378"/>
                  </a:lnTo>
                  <a:lnTo>
                    <a:pt x="353" y="380"/>
                  </a:lnTo>
                  <a:lnTo>
                    <a:pt x="351" y="380"/>
                  </a:lnTo>
                  <a:lnTo>
                    <a:pt x="351" y="382"/>
                  </a:lnTo>
                  <a:lnTo>
                    <a:pt x="349" y="386"/>
                  </a:lnTo>
                  <a:lnTo>
                    <a:pt x="347" y="386"/>
                  </a:lnTo>
                  <a:lnTo>
                    <a:pt x="347" y="388"/>
                  </a:lnTo>
                  <a:lnTo>
                    <a:pt x="345" y="388"/>
                  </a:lnTo>
                  <a:lnTo>
                    <a:pt x="345" y="390"/>
                  </a:lnTo>
                  <a:lnTo>
                    <a:pt x="343" y="392"/>
                  </a:lnTo>
                  <a:lnTo>
                    <a:pt x="341" y="394"/>
                  </a:lnTo>
                  <a:lnTo>
                    <a:pt x="340" y="395"/>
                  </a:lnTo>
                  <a:lnTo>
                    <a:pt x="334" y="403"/>
                  </a:lnTo>
                  <a:lnTo>
                    <a:pt x="332" y="405"/>
                  </a:lnTo>
                  <a:lnTo>
                    <a:pt x="330" y="407"/>
                  </a:lnTo>
                  <a:lnTo>
                    <a:pt x="328" y="409"/>
                  </a:lnTo>
                  <a:lnTo>
                    <a:pt x="326" y="411"/>
                  </a:lnTo>
                  <a:lnTo>
                    <a:pt x="326" y="413"/>
                  </a:lnTo>
                  <a:lnTo>
                    <a:pt x="324" y="413"/>
                  </a:lnTo>
                  <a:lnTo>
                    <a:pt x="320" y="417"/>
                  </a:lnTo>
                  <a:lnTo>
                    <a:pt x="317" y="420"/>
                  </a:lnTo>
                  <a:lnTo>
                    <a:pt x="315" y="422"/>
                  </a:lnTo>
                  <a:lnTo>
                    <a:pt x="313" y="424"/>
                  </a:lnTo>
                  <a:lnTo>
                    <a:pt x="311" y="426"/>
                  </a:lnTo>
                  <a:lnTo>
                    <a:pt x="309" y="426"/>
                  </a:lnTo>
                  <a:lnTo>
                    <a:pt x="307" y="428"/>
                  </a:lnTo>
                  <a:lnTo>
                    <a:pt x="303" y="432"/>
                  </a:lnTo>
                  <a:lnTo>
                    <a:pt x="297" y="438"/>
                  </a:lnTo>
                  <a:lnTo>
                    <a:pt x="295" y="440"/>
                  </a:lnTo>
                  <a:lnTo>
                    <a:pt x="293" y="442"/>
                  </a:lnTo>
                  <a:lnTo>
                    <a:pt x="286" y="447"/>
                  </a:lnTo>
                  <a:lnTo>
                    <a:pt x="282" y="451"/>
                  </a:lnTo>
                  <a:lnTo>
                    <a:pt x="280" y="453"/>
                  </a:lnTo>
                  <a:lnTo>
                    <a:pt x="280" y="455"/>
                  </a:lnTo>
                  <a:lnTo>
                    <a:pt x="276" y="457"/>
                  </a:lnTo>
                  <a:lnTo>
                    <a:pt x="274" y="457"/>
                  </a:lnTo>
                  <a:lnTo>
                    <a:pt x="274" y="459"/>
                  </a:lnTo>
                  <a:lnTo>
                    <a:pt x="270" y="463"/>
                  </a:lnTo>
                  <a:lnTo>
                    <a:pt x="269" y="463"/>
                  </a:lnTo>
                  <a:lnTo>
                    <a:pt x="269" y="467"/>
                  </a:lnTo>
                  <a:lnTo>
                    <a:pt x="269" y="468"/>
                  </a:lnTo>
                  <a:lnTo>
                    <a:pt x="269" y="470"/>
                  </a:lnTo>
                  <a:lnTo>
                    <a:pt x="269" y="472"/>
                  </a:lnTo>
                  <a:lnTo>
                    <a:pt x="269" y="474"/>
                  </a:lnTo>
                  <a:lnTo>
                    <a:pt x="269" y="476"/>
                  </a:lnTo>
                  <a:lnTo>
                    <a:pt x="269" y="478"/>
                  </a:lnTo>
                  <a:lnTo>
                    <a:pt x="269" y="480"/>
                  </a:lnTo>
                  <a:lnTo>
                    <a:pt x="269" y="482"/>
                  </a:lnTo>
                  <a:lnTo>
                    <a:pt x="269" y="484"/>
                  </a:lnTo>
                  <a:lnTo>
                    <a:pt x="269" y="486"/>
                  </a:lnTo>
                  <a:lnTo>
                    <a:pt x="269" y="490"/>
                  </a:lnTo>
                  <a:lnTo>
                    <a:pt x="269" y="491"/>
                  </a:lnTo>
                  <a:lnTo>
                    <a:pt x="269" y="493"/>
                  </a:lnTo>
                  <a:lnTo>
                    <a:pt x="267" y="495"/>
                  </a:lnTo>
                  <a:lnTo>
                    <a:pt x="267" y="497"/>
                  </a:lnTo>
                  <a:lnTo>
                    <a:pt x="267" y="499"/>
                  </a:lnTo>
                  <a:lnTo>
                    <a:pt x="267" y="503"/>
                  </a:lnTo>
                  <a:lnTo>
                    <a:pt x="267" y="505"/>
                  </a:lnTo>
                  <a:lnTo>
                    <a:pt x="267" y="509"/>
                  </a:lnTo>
                  <a:lnTo>
                    <a:pt x="267" y="514"/>
                  </a:lnTo>
                  <a:lnTo>
                    <a:pt x="267" y="516"/>
                  </a:lnTo>
                  <a:lnTo>
                    <a:pt x="267" y="518"/>
                  </a:lnTo>
                  <a:lnTo>
                    <a:pt x="267" y="524"/>
                  </a:lnTo>
                  <a:lnTo>
                    <a:pt x="267" y="528"/>
                  </a:lnTo>
                  <a:lnTo>
                    <a:pt x="267" y="532"/>
                  </a:lnTo>
                  <a:lnTo>
                    <a:pt x="265" y="532"/>
                  </a:lnTo>
                  <a:lnTo>
                    <a:pt x="267" y="532"/>
                  </a:lnTo>
                  <a:lnTo>
                    <a:pt x="265" y="534"/>
                  </a:lnTo>
                  <a:lnTo>
                    <a:pt x="265" y="538"/>
                  </a:lnTo>
                  <a:lnTo>
                    <a:pt x="265" y="541"/>
                  </a:lnTo>
                  <a:lnTo>
                    <a:pt x="265" y="543"/>
                  </a:lnTo>
                  <a:lnTo>
                    <a:pt x="265" y="547"/>
                  </a:lnTo>
                  <a:lnTo>
                    <a:pt x="265" y="551"/>
                  </a:lnTo>
                  <a:lnTo>
                    <a:pt x="265" y="557"/>
                  </a:lnTo>
                  <a:lnTo>
                    <a:pt x="265" y="562"/>
                  </a:lnTo>
                  <a:lnTo>
                    <a:pt x="265" y="564"/>
                  </a:lnTo>
                  <a:lnTo>
                    <a:pt x="265" y="566"/>
                  </a:lnTo>
                  <a:lnTo>
                    <a:pt x="263" y="570"/>
                  </a:lnTo>
                  <a:lnTo>
                    <a:pt x="263" y="572"/>
                  </a:lnTo>
                  <a:lnTo>
                    <a:pt x="263" y="574"/>
                  </a:lnTo>
                  <a:lnTo>
                    <a:pt x="263" y="578"/>
                  </a:lnTo>
                  <a:lnTo>
                    <a:pt x="263" y="580"/>
                  </a:lnTo>
                  <a:lnTo>
                    <a:pt x="263" y="582"/>
                  </a:lnTo>
                  <a:lnTo>
                    <a:pt x="263" y="584"/>
                  </a:lnTo>
                  <a:lnTo>
                    <a:pt x="263" y="586"/>
                  </a:lnTo>
                  <a:lnTo>
                    <a:pt x="263" y="587"/>
                  </a:lnTo>
                  <a:lnTo>
                    <a:pt x="263" y="589"/>
                  </a:lnTo>
                  <a:lnTo>
                    <a:pt x="263" y="591"/>
                  </a:lnTo>
                  <a:lnTo>
                    <a:pt x="263" y="593"/>
                  </a:lnTo>
                  <a:lnTo>
                    <a:pt x="263" y="595"/>
                  </a:lnTo>
                  <a:lnTo>
                    <a:pt x="263" y="597"/>
                  </a:lnTo>
                  <a:lnTo>
                    <a:pt x="263" y="599"/>
                  </a:lnTo>
                  <a:lnTo>
                    <a:pt x="263" y="601"/>
                  </a:lnTo>
                  <a:lnTo>
                    <a:pt x="263" y="603"/>
                  </a:lnTo>
                  <a:lnTo>
                    <a:pt x="263" y="605"/>
                  </a:lnTo>
                  <a:lnTo>
                    <a:pt x="261" y="607"/>
                  </a:lnTo>
                  <a:lnTo>
                    <a:pt x="261" y="609"/>
                  </a:lnTo>
                  <a:lnTo>
                    <a:pt x="261" y="610"/>
                  </a:lnTo>
                  <a:lnTo>
                    <a:pt x="261" y="612"/>
                  </a:lnTo>
                  <a:lnTo>
                    <a:pt x="261" y="614"/>
                  </a:lnTo>
                  <a:lnTo>
                    <a:pt x="261" y="616"/>
                  </a:lnTo>
                  <a:lnTo>
                    <a:pt x="261" y="618"/>
                  </a:lnTo>
                  <a:lnTo>
                    <a:pt x="261" y="620"/>
                  </a:lnTo>
                  <a:lnTo>
                    <a:pt x="261" y="624"/>
                  </a:lnTo>
                  <a:lnTo>
                    <a:pt x="261" y="626"/>
                  </a:lnTo>
                  <a:lnTo>
                    <a:pt x="261" y="628"/>
                  </a:lnTo>
                  <a:lnTo>
                    <a:pt x="261" y="630"/>
                  </a:lnTo>
                  <a:lnTo>
                    <a:pt x="261" y="632"/>
                  </a:lnTo>
                  <a:lnTo>
                    <a:pt x="261" y="634"/>
                  </a:lnTo>
                  <a:lnTo>
                    <a:pt x="261" y="637"/>
                  </a:lnTo>
                  <a:lnTo>
                    <a:pt x="261" y="639"/>
                  </a:lnTo>
                  <a:lnTo>
                    <a:pt x="261" y="641"/>
                  </a:lnTo>
                  <a:lnTo>
                    <a:pt x="261" y="643"/>
                  </a:lnTo>
                  <a:lnTo>
                    <a:pt x="259" y="643"/>
                  </a:lnTo>
                  <a:lnTo>
                    <a:pt x="259" y="645"/>
                  </a:lnTo>
                  <a:lnTo>
                    <a:pt x="259" y="647"/>
                  </a:lnTo>
                  <a:lnTo>
                    <a:pt x="259" y="649"/>
                  </a:lnTo>
                  <a:lnTo>
                    <a:pt x="259" y="651"/>
                  </a:lnTo>
                  <a:lnTo>
                    <a:pt x="259" y="653"/>
                  </a:lnTo>
                  <a:lnTo>
                    <a:pt x="259" y="655"/>
                  </a:lnTo>
                  <a:lnTo>
                    <a:pt x="259" y="657"/>
                  </a:lnTo>
                  <a:lnTo>
                    <a:pt x="259" y="658"/>
                  </a:lnTo>
                  <a:lnTo>
                    <a:pt x="259" y="660"/>
                  </a:lnTo>
                  <a:lnTo>
                    <a:pt x="259" y="662"/>
                  </a:lnTo>
                  <a:lnTo>
                    <a:pt x="259" y="664"/>
                  </a:lnTo>
                  <a:lnTo>
                    <a:pt x="257" y="664"/>
                  </a:lnTo>
                  <a:lnTo>
                    <a:pt x="259" y="664"/>
                  </a:lnTo>
                  <a:lnTo>
                    <a:pt x="257" y="664"/>
                  </a:lnTo>
                  <a:lnTo>
                    <a:pt x="255" y="664"/>
                  </a:lnTo>
                  <a:lnTo>
                    <a:pt x="255" y="666"/>
                  </a:lnTo>
                  <a:lnTo>
                    <a:pt x="257" y="666"/>
                  </a:lnTo>
                  <a:lnTo>
                    <a:pt x="259" y="666"/>
                  </a:lnTo>
                  <a:lnTo>
                    <a:pt x="259" y="664"/>
                  </a:lnTo>
                  <a:lnTo>
                    <a:pt x="259" y="666"/>
                  </a:lnTo>
                  <a:lnTo>
                    <a:pt x="257" y="666"/>
                  </a:lnTo>
                  <a:lnTo>
                    <a:pt x="259" y="666"/>
                  </a:lnTo>
                  <a:lnTo>
                    <a:pt x="259" y="668"/>
                  </a:lnTo>
                  <a:lnTo>
                    <a:pt x="259" y="670"/>
                  </a:lnTo>
                  <a:lnTo>
                    <a:pt x="259" y="672"/>
                  </a:lnTo>
                  <a:lnTo>
                    <a:pt x="259" y="674"/>
                  </a:lnTo>
                  <a:lnTo>
                    <a:pt x="257" y="674"/>
                  </a:lnTo>
                  <a:lnTo>
                    <a:pt x="259" y="674"/>
                  </a:lnTo>
                  <a:lnTo>
                    <a:pt x="259" y="676"/>
                  </a:lnTo>
                  <a:lnTo>
                    <a:pt x="259" y="678"/>
                  </a:lnTo>
                  <a:lnTo>
                    <a:pt x="259" y="680"/>
                  </a:lnTo>
                  <a:lnTo>
                    <a:pt x="257" y="680"/>
                  </a:lnTo>
                  <a:lnTo>
                    <a:pt x="259" y="680"/>
                  </a:lnTo>
                  <a:lnTo>
                    <a:pt x="257" y="680"/>
                  </a:lnTo>
                  <a:lnTo>
                    <a:pt x="257" y="682"/>
                  </a:lnTo>
                  <a:lnTo>
                    <a:pt x="257" y="683"/>
                  </a:lnTo>
                  <a:lnTo>
                    <a:pt x="257" y="685"/>
                  </a:lnTo>
                  <a:lnTo>
                    <a:pt x="257" y="687"/>
                  </a:lnTo>
                  <a:lnTo>
                    <a:pt x="257" y="693"/>
                  </a:lnTo>
                  <a:lnTo>
                    <a:pt x="255" y="693"/>
                  </a:lnTo>
                  <a:lnTo>
                    <a:pt x="253" y="693"/>
                  </a:lnTo>
                  <a:lnTo>
                    <a:pt x="253" y="695"/>
                  </a:lnTo>
                  <a:lnTo>
                    <a:pt x="251" y="695"/>
                  </a:lnTo>
                  <a:lnTo>
                    <a:pt x="251" y="697"/>
                  </a:lnTo>
                  <a:lnTo>
                    <a:pt x="251" y="699"/>
                  </a:lnTo>
                  <a:lnTo>
                    <a:pt x="251" y="701"/>
                  </a:lnTo>
                  <a:lnTo>
                    <a:pt x="253" y="701"/>
                  </a:lnTo>
                  <a:lnTo>
                    <a:pt x="255" y="701"/>
                  </a:lnTo>
                  <a:lnTo>
                    <a:pt x="255" y="703"/>
                  </a:lnTo>
                  <a:lnTo>
                    <a:pt x="253" y="703"/>
                  </a:lnTo>
                  <a:lnTo>
                    <a:pt x="251" y="703"/>
                  </a:lnTo>
                  <a:lnTo>
                    <a:pt x="247" y="703"/>
                  </a:lnTo>
                  <a:lnTo>
                    <a:pt x="242" y="703"/>
                  </a:lnTo>
                  <a:lnTo>
                    <a:pt x="240" y="703"/>
                  </a:lnTo>
                  <a:lnTo>
                    <a:pt x="236" y="703"/>
                  </a:lnTo>
                  <a:lnTo>
                    <a:pt x="234" y="703"/>
                  </a:lnTo>
                  <a:lnTo>
                    <a:pt x="232" y="703"/>
                  </a:lnTo>
                  <a:lnTo>
                    <a:pt x="228" y="703"/>
                  </a:lnTo>
                  <a:lnTo>
                    <a:pt x="224" y="703"/>
                  </a:lnTo>
                  <a:lnTo>
                    <a:pt x="222" y="701"/>
                  </a:lnTo>
                  <a:lnTo>
                    <a:pt x="220" y="701"/>
                  </a:lnTo>
                  <a:lnTo>
                    <a:pt x="217" y="701"/>
                  </a:lnTo>
                  <a:lnTo>
                    <a:pt x="211" y="701"/>
                  </a:lnTo>
                  <a:lnTo>
                    <a:pt x="205" y="701"/>
                  </a:lnTo>
                  <a:lnTo>
                    <a:pt x="203" y="701"/>
                  </a:lnTo>
                  <a:lnTo>
                    <a:pt x="201" y="701"/>
                  </a:lnTo>
                  <a:lnTo>
                    <a:pt x="199" y="701"/>
                  </a:lnTo>
                  <a:lnTo>
                    <a:pt x="196" y="699"/>
                  </a:lnTo>
                  <a:lnTo>
                    <a:pt x="190" y="699"/>
                  </a:lnTo>
                  <a:lnTo>
                    <a:pt x="188" y="699"/>
                  </a:lnTo>
                  <a:lnTo>
                    <a:pt x="184" y="699"/>
                  </a:lnTo>
                  <a:lnTo>
                    <a:pt x="180" y="699"/>
                  </a:lnTo>
                  <a:lnTo>
                    <a:pt x="178" y="699"/>
                  </a:lnTo>
                  <a:lnTo>
                    <a:pt x="176" y="699"/>
                  </a:lnTo>
                  <a:lnTo>
                    <a:pt x="174" y="699"/>
                  </a:lnTo>
                  <a:lnTo>
                    <a:pt x="172" y="699"/>
                  </a:lnTo>
                  <a:lnTo>
                    <a:pt x="172" y="697"/>
                  </a:lnTo>
                  <a:lnTo>
                    <a:pt x="171" y="697"/>
                  </a:lnTo>
                  <a:lnTo>
                    <a:pt x="169" y="697"/>
                  </a:lnTo>
                  <a:lnTo>
                    <a:pt x="167" y="697"/>
                  </a:lnTo>
                  <a:lnTo>
                    <a:pt x="165" y="697"/>
                  </a:lnTo>
                  <a:lnTo>
                    <a:pt x="163" y="697"/>
                  </a:lnTo>
                  <a:lnTo>
                    <a:pt x="161" y="697"/>
                  </a:lnTo>
                  <a:lnTo>
                    <a:pt x="159" y="697"/>
                  </a:lnTo>
                  <a:lnTo>
                    <a:pt x="157" y="697"/>
                  </a:lnTo>
                  <a:lnTo>
                    <a:pt x="153" y="697"/>
                  </a:lnTo>
                  <a:lnTo>
                    <a:pt x="151" y="697"/>
                  </a:lnTo>
                  <a:lnTo>
                    <a:pt x="149" y="695"/>
                  </a:lnTo>
                  <a:lnTo>
                    <a:pt x="148" y="695"/>
                  </a:lnTo>
                  <a:lnTo>
                    <a:pt x="146" y="695"/>
                  </a:lnTo>
                  <a:lnTo>
                    <a:pt x="144" y="695"/>
                  </a:lnTo>
                  <a:lnTo>
                    <a:pt x="142" y="695"/>
                  </a:lnTo>
                  <a:lnTo>
                    <a:pt x="140" y="695"/>
                  </a:lnTo>
                  <a:lnTo>
                    <a:pt x="138" y="695"/>
                  </a:lnTo>
                  <a:lnTo>
                    <a:pt x="136" y="695"/>
                  </a:lnTo>
                  <a:lnTo>
                    <a:pt x="134" y="695"/>
                  </a:lnTo>
                  <a:lnTo>
                    <a:pt x="132" y="695"/>
                  </a:lnTo>
                  <a:lnTo>
                    <a:pt x="130" y="695"/>
                  </a:lnTo>
                  <a:lnTo>
                    <a:pt x="130" y="693"/>
                  </a:lnTo>
                  <a:lnTo>
                    <a:pt x="128" y="693"/>
                  </a:lnTo>
                  <a:lnTo>
                    <a:pt x="126" y="693"/>
                  </a:lnTo>
                  <a:lnTo>
                    <a:pt x="124" y="693"/>
                  </a:lnTo>
                  <a:lnTo>
                    <a:pt x="123" y="693"/>
                  </a:lnTo>
                  <a:lnTo>
                    <a:pt x="121" y="693"/>
                  </a:lnTo>
                  <a:lnTo>
                    <a:pt x="119" y="693"/>
                  </a:lnTo>
                  <a:lnTo>
                    <a:pt x="117" y="693"/>
                  </a:lnTo>
                  <a:lnTo>
                    <a:pt x="111" y="691"/>
                  </a:lnTo>
                  <a:lnTo>
                    <a:pt x="109" y="691"/>
                  </a:lnTo>
                  <a:lnTo>
                    <a:pt x="107" y="691"/>
                  </a:lnTo>
                  <a:lnTo>
                    <a:pt x="103" y="691"/>
                  </a:lnTo>
                  <a:lnTo>
                    <a:pt x="101" y="691"/>
                  </a:lnTo>
                  <a:lnTo>
                    <a:pt x="100" y="691"/>
                  </a:lnTo>
                  <a:lnTo>
                    <a:pt x="98" y="691"/>
                  </a:lnTo>
                  <a:lnTo>
                    <a:pt x="94" y="691"/>
                  </a:lnTo>
                  <a:lnTo>
                    <a:pt x="90" y="689"/>
                  </a:lnTo>
                  <a:lnTo>
                    <a:pt x="88" y="689"/>
                  </a:lnTo>
                  <a:lnTo>
                    <a:pt x="86" y="689"/>
                  </a:lnTo>
                  <a:lnTo>
                    <a:pt x="84" y="689"/>
                  </a:lnTo>
                  <a:lnTo>
                    <a:pt x="82" y="689"/>
                  </a:lnTo>
                  <a:lnTo>
                    <a:pt x="78" y="689"/>
                  </a:lnTo>
                  <a:lnTo>
                    <a:pt x="78" y="687"/>
                  </a:lnTo>
                  <a:lnTo>
                    <a:pt x="76" y="687"/>
                  </a:lnTo>
                  <a:lnTo>
                    <a:pt x="73" y="687"/>
                  </a:lnTo>
                  <a:lnTo>
                    <a:pt x="71" y="687"/>
                  </a:lnTo>
                  <a:lnTo>
                    <a:pt x="67" y="687"/>
                  </a:lnTo>
                  <a:lnTo>
                    <a:pt x="65" y="687"/>
                  </a:lnTo>
                  <a:lnTo>
                    <a:pt x="63" y="685"/>
                  </a:lnTo>
                  <a:lnTo>
                    <a:pt x="61" y="685"/>
                  </a:lnTo>
                  <a:lnTo>
                    <a:pt x="59" y="685"/>
                  </a:lnTo>
                  <a:lnTo>
                    <a:pt x="57" y="685"/>
                  </a:lnTo>
                  <a:lnTo>
                    <a:pt x="55" y="685"/>
                  </a:lnTo>
                  <a:lnTo>
                    <a:pt x="53" y="685"/>
                  </a:lnTo>
                  <a:lnTo>
                    <a:pt x="52" y="685"/>
                  </a:lnTo>
                  <a:lnTo>
                    <a:pt x="50" y="685"/>
                  </a:lnTo>
                  <a:lnTo>
                    <a:pt x="48" y="685"/>
                  </a:lnTo>
                  <a:lnTo>
                    <a:pt x="48" y="683"/>
                  </a:lnTo>
                  <a:lnTo>
                    <a:pt x="46" y="683"/>
                  </a:lnTo>
                  <a:lnTo>
                    <a:pt x="44" y="683"/>
                  </a:lnTo>
                  <a:lnTo>
                    <a:pt x="42" y="683"/>
                  </a:lnTo>
                  <a:lnTo>
                    <a:pt x="40" y="683"/>
                  </a:lnTo>
                  <a:lnTo>
                    <a:pt x="38" y="683"/>
                  </a:lnTo>
                  <a:lnTo>
                    <a:pt x="36" y="683"/>
                  </a:lnTo>
                  <a:lnTo>
                    <a:pt x="34" y="683"/>
                  </a:lnTo>
                  <a:lnTo>
                    <a:pt x="32" y="682"/>
                  </a:lnTo>
                  <a:lnTo>
                    <a:pt x="28" y="682"/>
                  </a:lnTo>
                  <a:lnTo>
                    <a:pt x="25" y="682"/>
                  </a:lnTo>
                  <a:lnTo>
                    <a:pt x="23" y="682"/>
                  </a:lnTo>
                  <a:lnTo>
                    <a:pt x="17" y="680"/>
                  </a:lnTo>
                  <a:lnTo>
                    <a:pt x="15" y="680"/>
                  </a:lnTo>
                  <a:lnTo>
                    <a:pt x="13" y="680"/>
                  </a:lnTo>
                  <a:lnTo>
                    <a:pt x="11" y="680"/>
                  </a:lnTo>
                  <a:lnTo>
                    <a:pt x="7" y="680"/>
                  </a:lnTo>
                  <a:lnTo>
                    <a:pt x="5" y="678"/>
                  </a:lnTo>
                  <a:lnTo>
                    <a:pt x="2" y="678"/>
                  </a:lnTo>
                  <a:lnTo>
                    <a:pt x="0" y="678"/>
                  </a:lnTo>
                  <a:lnTo>
                    <a:pt x="2" y="678"/>
                  </a:lnTo>
                  <a:lnTo>
                    <a:pt x="2" y="676"/>
                  </a:lnTo>
                  <a:lnTo>
                    <a:pt x="2" y="674"/>
                  </a:lnTo>
                  <a:lnTo>
                    <a:pt x="2" y="672"/>
                  </a:lnTo>
                  <a:lnTo>
                    <a:pt x="2" y="670"/>
                  </a:lnTo>
                  <a:lnTo>
                    <a:pt x="2" y="668"/>
                  </a:lnTo>
                  <a:lnTo>
                    <a:pt x="2" y="666"/>
                  </a:lnTo>
                  <a:lnTo>
                    <a:pt x="2" y="662"/>
                  </a:lnTo>
                  <a:lnTo>
                    <a:pt x="2" y="660"/>
                  </a:lnTo>
                  <a:lnTo>
                    <a:pt x="2" y="658"/>
                  </a:lnTo>
                  <a:lnTo>
                    <a:pt x="2" y="657"/>
                  </a:lnTo>
                  <a:lnTo>
                    <a:pt x="4" y="655"/>
                  </a:lnTo>
                  <a:lnTo>
                    <a:pt x="4" y="653"/>
                  </a:lnTo>
                  <a:lnTo>
                    <a:pt x="4" y="651"/>
                  </a:lnTo>
                  <a:lnTo>
                    <a:pt x="4" y="649"/>
                  </a:lnTo>
                  <a:lnTo>
                    <a:pt x="4" y="647"/>
                  </a:lnTo>
                  <a:lnTo>
                    <a:pt x="4" y="645"/>
                  </a:lnTo>
                  <a:lnTo>
                    <a:pt x="4" y="643"/>
                  </a:lnTo>
                  <a:lnTo>
                    <a:pt x="4" y="641"/>
                  </a:lnTo>
                  <a:lnTo>
                    <a:pt x="4" y="637"/>
                  </a:lnTo>
                  <a:lnTo>
                    <a:pt x="5" y="635"/>
                  </a:lnTo>
                  <a:lnTo>
                    <a:pt x="5" y="634"/>
                  </a:lnTo>
                  <a:lnTo>
                    <a:pt x="5" y="632"/>
                  </a:lnTo>
                  <a:lnTo>
                    <a:pt x="5" y="630"/>
                  </a:lnTo>
                  <a:lnTo>
                    <a:pt x="5" y="628"/>
                  </a:lnTo>
                  <a:lnTo>
                    <a:pt x="5" y="626"/>
                  </a:lnTo>
                  <a:lnTo>
                    <a:pt x="5" y="624"/>
                  </a:lnTo>
                  <a:lnTo>
                    <a:pt x="7" y="624"/>
                  </a:lnTo>
                  <a:lnTo>
                    <a:pt x="7" y="622"/>
                  </a:lnTo>
                  <a:lnTo>
                    <a:pt x="5" y="622"/>
                  </a:lnTo>
                  <a:lnTo>
                    <a:pt x="5" y="620"/>
                  </a:lnTo>
                  <a:lnTo>
                    <a:pt x="5" y="618"/>
                  </a:lnTo>
                  <a:lnTo>
                    <a:pt x="5" y="616"/>
                  </a:lnTo>
                  <a:lnTo>
                    <a:pt x="7" y="616"/>
                  </a:lnTo>
                  <a:lnTo>
                    <a:pt x="7" y="614"/>
                  </a:lnTo>
                  <a:lnTo>
                    <a:pt x="7" y="612"/>
                  </a:lnTo>
                  <a:lnTo>
                    <a:pt x="7" y="610"/>
                  </a:lnTo>
                  <a:lnTo>
                    <a:pt x="7" y="609"/>
                  </a:lnTo>
                  <a:lnTo>
                    <a:pt x="7" y="607"/>
                  </a:lnTo>
                  <a:lnTo>
                    <a:pt x="7" y="605"/>
                  </a:lnTo>
                  <a:lnTo>
                    <a:pt x="7" y="603"/>
                  </a:lnTo>
                  <a:lnTo>
                    <a:pt x="9" y="603"/>
                  </a:lnTo>
                  <a:lnTo>
                    <a:pt x="9" y="601"/>
                  </a:lnTo>
                  <a:lnTo>
                    <a:pt x="7" y="599"/>
                  </a:lnTo>
                  <a:lnTo>
                    <a:pt x="7" y="597"/>
                  </a:lnTo>
                  <a:lnTo>
                    <a:pt x="7" y="595"/>
                  </a:lnTo>
                  <a:lnTo>
                    <a:pt x="9" y="595"/>
                  </a:lnTo>
                  <a:lnTo>
                    <a:pt x="9" y="593"/>
                  </a:lnTo>
                  <a:lnTo>
                    <a:pt x="9" y="589"/>
                  </a:lnTo>
                  <a:lnTo>
                    <a:pt x="9" y="587"/>
                  </a:lnTo>
                  <a:lnTo>
                    <a:pt x="9" y="586"/>
                  </a:lnTo>
                  <a:lnTo>
                    <a:pt x="9" y="584"/>
                  </a:lnTo>
                  <a:lnTo>
                    <a:pt x="11" y="582"/>
                  </a:lnTo>
                  <a:lnTo>
                    <a:pt x="11" y="578"/>
                  </a:lnTo>
                  <a:lnTo>
                    <a:pt x="9" y="578"/>
                  </a:lnTo>
                  <a:lnTo>
                    <a:pt x="9" y="576"/>
                  </a:lnTo>
                  <a:lnTo>
                    <a:pt x="11" y="572"/>
                  </a:lnTo>
                  <a:lnTo>
                    <a:pt x="11" y="570"/>
                  </a:lnTo>
                  <a:lnTo>
                    <a:pt x="11" y="568"/>
                  </a:lnTo>
                  <a:lnTo>
                    <a:pt x="11" y="566"/>
                  </a:lnTo>
                  <a:lnTo>
                    <a:pt x="11" y="564"/>
                  </a:lnTo>
                  <a:lnTo>
                    <a:pt x="11" y="562"/>
                  </a:lnTo>
                  <a:lnTo>
                    <a:pt x="11" y="561"/>
                  </a:lnTo>
                  <a:lnTo>
                    <a:pt x="13" y="559"/>
                  </a:lnTo>
                  <a:lnTo>
                    <a:pt x="13" y="557"/>
                  </a:lnTo>
                  <a:lnTo>
                    <a:pt x="11" y="555"/>
                  </a:lnTo>
                  <a:lnTo>
                    <a:pt x="11" y="553"/>
                  </a:lnTo>
                  <a:lnTo>
                    <a:pt x="13" y="553"/>
                  </a:lnTo>
                  <a:lnTo>
                    <a:pt x="13" y="551"/>
                  </a:lnTo>
                  <a:lnTo>
                    <a:pt x="13" y="549"/>
                  </a:lnTo>
                  <a:lnTo>
                    <a:pt x="13" y="547"/>
                  </a:lnTo>
                  <a:lnTo>
                    <a:pt x="13" y="545"/>
                  </a:lnTo>
                  <a:lnTo>
                    <a:pt x="13" y="543"/>
                  </a:lnTo>
                  <a:lnTo>
                    <a:pt x="13" y="541"/>
                  </a:lnTo>
                  <a:lnTo>
                    <a:pt x="15" y="541"/>
                  </a:lnTo>
                  <a:lnTo>
                    <a:pt x="15" y="539"/>
                  </a:lnTo>
                  <a:lnTo>
                    <a:pt x="15" y="538"/>
                  </a:lnTo>
                  <a:lnTo>
                    <a:pt x="15" y="536"/>
                  </a:lnTo>
                  <a:lnTo>
                    <a:pt x="15" y="534"/>
                  </a:lnTo>
                  <a:lnTo>
                    <a:pt x="13" y="534"/>
                  </a:lnTo>
                  <a:lnTo>
                    <a:pt x="13" y="532"/>
                  </a:lnTo>
                  <a:lnTo>
                    <a:pt x="15" y="532"/>
                  </a:lnTo>
                  <a:lnTo>
                    <a:pt x="15" y="530"/>
                  </a:lnTo>
                  <a:lnTo>
                    <a:pt x="15" y="528"/>
                  </a:lnTo>
                  <a:lnTo>
                    <a:pt x="15" y="526"/>
                  </a:lnTo>
                  <a:lnTo>
                    <a:pt x="15" y="524"/>
                  </a:lnTo>
                  <a:lnTo>
                    <a:pt x="15" y="522"/>
                  </a:lnTo>
                  <a:lnTo>
                    <a:pt x="15" y="520"/>
                  </a:lnTo>
                  <a:lnTo>
                    <a:pt x="17" y="520"/>
                  </a:lnTo>
                  <a:lnTo>
                    <a:pt x="17" y="518"/>
                  </a:lnTo>
                  <a:lnTo>
                    <a:pt x="17" y="516"/>
                  </a:lnTo>
                  <a:lnTo>
                    <a:pt x="17" y="514"/>
                  </a:lnTo>
                  <a:lnTo>
                    <a:pt x="17" y="513"/>
                  </a:lnTo>
                  <a:lnTo>
                    <a:pt x="17" y="511"/>
                  </a:lnTo>
                  <a:lnTo>
                    <a:pt x="17" y="509"/>
                  </a:lnTo>
                  <a:lnTo>
                    <a:pt x="17" y="507"/>
                  </a:lnTo>
                  <a:lnTo>
                    <a:pt x="19" y="505"/>
                  </a:lnTo>
                  <a:lnTo>
                    <a:pt x="19" y="503"/>
                  </a:lnTo>
                  <a:lnTo>
                    <a:pt x="19" y="501"/>
                  </a:lnTo>
                  <a:lnTo>
                    <a:pt x="19" y="499"/>
                  </a:lnTo>
                  <a:lnTo>
                    <a:pt x="19" y="497"/>
                  </a:lnTo>
                  <a:lnTo>
                    <a:pt x="19" y="495"/>
                  </a:lnTo>
                  <a:lnTo>
                    <a:pt x="19" y="493"/>
                  </a:lnTo>
                  <a:lnTo>
                    <a:pt x="21" y="493"/>
                  </a:lnTo>
                  <a:lnTo>
                    <a:pt x="21" y="491"/>
                  </a:lnTo>
                  <a:lnTo>
                    <a:pt x="19" y="491"/>
                  </a:lnTo>
                  <a:lnTo>
                    <a:pt x="19" y="490"/>
                  </a:lnTo>
                  <a:lnTo>
                    <a:pt x="19" y="488"/>
                  </a:lnTo>
                  <a:lnTo>
                    <a:pt x="19" y="486"/>
                  </a:lnTo>
                  <a:lnTo>
                    <a:pt x="21" y="486"/>
                  </a:lnTo>
                  <a:lnTo>
                    <a:pt x="21" y="484"/>
                  </a:lnTo>
                  <a:lnTo>
                    <a:pt x="21" y="482"/>
                  </a:lnTo>
                  <a:lnTo>
                    <a:pt x="21" y="480"/>
                  </a:lnTo>
                  <a:lnTo>
                    <a:pt x="21" y="478"/>
                  </a:lnTo>
                  <a:lnTo>
                    <a:pt x="21" y="476"/>
                  </a:lnTo>
                  <a:lnTo>
                    <a:pt x="21" y="474"/>
                  </a:lnTo>
                  <a:lnTo>
                    <a:pt x="23" y="470"/>
                  </a:lnTo>
                  <a:lnTo>
                    <a:pt x="21" y="470"/>
                  </a:lnTo>
                  <a:lnTo>
                    <a:pt x="21" y="468"/>
                  </a:lnTo>
                  <a:lnTo>
                    <a:pt x="21" y="467"/>
                  </a:lnTo>
                  <a:lnTo>
                    <a:pt x="23" y="465"/>
                  </a:lnTo>
                  <a:lnTo>
                    <a:pt x="23" y="463"/>
                  </a:lnTo>
                  <a:lnTo>
                    <a:pt x="23" y="461"/>
                  </a:lnTo>
                  <a:lnTo>
                    <a:pt x="23" y="459"/>
                  </a:lnTo>
                  <a:lnTo>
                    <a:pt x="23" y="457"/>
                  </a:lnTo>
                  <a:lnTo>
                    <a:pt x="23" y="455"/>
                  </a:lnTo>
                  <a:lnTo>
                    <a:pt x="23" y="453"/>
                  </a:lnTo>
                  <a:lnTo>
                    <a:pt x="25" y="453"/>
                  </a:lnTo>
                  <a:lnTo>
                    <a:pt x="25" y="451"/>
                  </a:lnTo>
                  <a:lnTo>
                    <a:pt x="25" y="449"/>
                  </a:lnTo>
                  <a:lnTo>
                    <a:pt x="23" y="449"/>
                  </a:lnTo>
                  <a:lnTo>
                    <a:pt x="23" y="447"/>
                  </a:lnTo>
                  <a:lnTo>
                    <a:pt x="23" y="445"/>
                  </a:lnTo>
                  <a:lnTo>
                    <a:pt x="25" y="445"/>
                  </a:lnTo>
                  <a:lnTo>
                    <a:pt x="25" y="443"/>
                  </a:lnTo>
                  <a:lnTo>
                    <a:pt x="25" y="442"/>
                  </a:lnTo>
                  <a:lnTo>
                    <a:pt x="25" y="440"/>
                  </a:lnTo>
                  <a:lnTo>
                    <a:pt x="25" y="438"/>
                  </a:lnTo>
                  <a:lnTo>
                    <a:pt x="25" y="436"/>
                  </a:lnTo>
                  <a:lnTo>
                    <a:pt x="25" y="434"/>
                  </a:lnTo>
                  <a:lnTo>
                    <a:pt x="27" y="432"/>
                  </a:lnTo>
                  <a:lnTo>
                    <a:pt x="27" y="428"/>
                  </a:lnTo>
                  <a:lnTo>
                    <a:pt x="25" y="428"/>
                  </a:lnTo>
                  <a:lnTo>
                    <a:pt x="27" y="417"/>
                  </a:lnTo>
                  <a:lnTo>
                    <a:pt x="27" y="415"/>
                  </a:lnTo>
                  <a:lnTo>
                    <a:pt x="28" y="413"/>
                  </a:lnTo>
                  <a:lnTo>
                    <a:pt x="28" y="405"/>
                  </a:lnTo>
                  <a:lnTo>
                    <a:pt x="27" y="405"/>
                  </a:lnTo>
                  <a:lnTo>
                    <a:pt x="28" y="403"/>
                  </a:lnTo>
                  <a:lnTo>
                    <a:pt x="28" y="401"/>
                  </a:lnTo>
                  <a:lnTo>
                    <a:pt x="28" y="397"/>
                  </a:lnTo>
                  <a:lnTo>
                    <a:pt x="28" y="395"/>
                  </a:lnTo>
                  <a:lnTo>
                    <a:pt x="30" y="392"/>
                  </a:lnTo>
                  <a:lnTo>
                    <a:pt x="30" y="390"/>
                  </a:lnTo>
                  <a:lnTo>
                    <a:pt x="30" y="388"/>
                  </a:lnTo>
                  <a:lnTo>
                    <a:pt x="30" y="384"/>
                  </a:lnTo>
                  <a:lnTo>
                    <a:pt x="30" y="382"/>
                  </a:lnTo>
                  <a:lnTo>
                    <a:pt x="30" y="380"/>
                  </a:lnTo>
                  <a:lnTo>
                    <a:pt x="30" y="378"/>
                  </a:lnTo>
                  <a:lnTo>
                    <a:pt x="30" y="376"/>
                  </a:lnTo>
                  <a:lnTo>
                    <a:pt x="30" y="374"/>
                  </a:lnTo>
                  <a:lnTo>
                    <a:pt x="30" y="372"/>
                  </a:lnTo>
                  <a:lnTo>
                    <a:pt x="32" y="369"/>
                  </a:lnTo>
                  <a:lnTo>
                    <a:pt x="32" y="367"/>
                  </a:lnTo>
                  <a:lnTo>
                    <a:pt x="32" y="363"/>
                  </a:lnTo>
                  <a:lnTo>
                    <a:pt x="32" y="359"/>
                  </a:lnTo>
                  <a:lnTo>
                    <a:pt x="32" y="357"/>
                  </a:lnTo>
                  <a:lnTo>
                    <a:pt x="32" y="353"/>
                  </a:lnTo>
                  <a:lnTo>
                    <a:pt x="32" y="351"/>
                  </a:lnTo>
                  <a:lnTo>
                    <a:pt x="34" y="349"/>
                  </a:lnTo>
                  <a:lnTo>
                    <a:pt x="34" y="347"/>
                  </a:lnTo>
                  <a:lnTo>
                    <a:pt x="34" y="342"/>
                  </a:lnTo>
                  <a:lnTo>
                    <a:pt x="34" y="340"/>
                  </a:lnTo>
                  <a:lnTo>
                    <a:pt x="34" y="336"/>
                  </a:lnTo>
                  <a:lnTo>
                    <a:pt x="34" y="334"/>
                  </a:lnTo>
                  <a:lnTo>
                    <a:pt x="34" y="332"/>
                  </a:lnTo>
                  <a:lnTo>
                    <a:pt x="36" y="330"/>
                  </a:lnTo>
                  <a:lnTo>
                    <a:pt x="36" y="328"/>
                  </a:lnTo>
                  <a:lnTo>
                    <a:pt x="36" y="326"/>
                  </a:lnTo>
                  <a:lnTo>
                    <a:pt x="36" y="324"/>
                  </a:lnTo>
                  <a:lnTo>
                    <a:pt x="36" y="323"/>
                  </a:lnTo>
                  <a:lnTo>
                    <a:pt x="36" y="321"/>
                  </a:lnTo>
                  <a:lnTo>
                    <a:pt x="36" y="319"/>
                  </a:lnTo>
                  <a:lnTo>
                    <a:pt x="36" y="317"/>
                  </a:lnTo>
                  <a:lnTo>
                    <a:pt x="36" y="315"/>
                  </a:lnTo>
                  <a:lnTo>
                    <a:pt x="36" y="311"/>
                  </a:lnTo>
                  <a:lnTo>
                    <a:pt x="36" y="309"/>
                  </a:lnTo>
                  <a:lnTo>
                    <a:pt x="38" y="309"/>
                  </a:lnTo>
                  <a:lnTo>
                    <a:pt x="38" y="307"/>
                  </a:lnTo>
                  <a:lnTo>
                    <a:pt x="38" y="305"/>
                  </a:lnTo>
                  <a:lnTo>
                    <a:pt x="38" y="303"/>
                  </a:lnTo>
                  <a:lnTo>
                    <a:pt x="38" y="298"/>
                  </a:lnTo>
                  <a:lnTo>
                    <a:pt x="40" y="298"/>
                  </a:lnTo>
                  <a:lnTo>
                    <a:pt x="38" y="298"/>
                  </a:lnTo>
                  <a:lnTo>
                    <a:pt x="38" y="294"/>
                  </a:lnTo>
                  <a:lnTo>
                    <a:pt x="38" y="292"/>
                  </a:lnTo>
                  <a:lnTo>
                    <a:pt x="38" y="290"/>
                  </a:lnTo>
                  <a:lnTo>
                    <a:pt x="40" y="290"/>
                  </a:lnTo>
                  <a:lnTo>
                    <a:pt x="40" y="288"/>
                  </a:lnTo>
                  <a:lnTo>
                    <a:pt x="40" y="286"/>
                  </a:lnTo>
                  <a:lnTo>
                    <a:pt x="40" y="284"/>
                  </a:lnTo>
                  <a:lnTo>
                    <a:pt x="40" y="282"/>
                  </a:lnTo>
                  <a:lnTo>
                    <a:pt x="40" y="278"/>
                  </a:lnTo>
                  <a:lnTo>
                    <a:pt x="42" y="276"/>
                  </a:lnTo>
                  <a:lnTo>
                    <a:pt x="40" y="276"/>
                  </a:lnTo>
                  <a:lnTo>
                    <a:pt x="40" y="273"/>
                  </a:lnTo>
                  <a:lnTo>
                    <a:pt x="42" y="267"/>
                  </a:lnTo>
                  <a:lnTo>
                    <a:pt x="42" y="265"/>
                  </a:lnTo>
                  <a:lnTo>
                    <a:pt x="42" y="263"/>
                  </a:lnTo>
                  <a:lnTo>
                    <a:pt x="42" y="259"/>
                  </a:lnTo>
                  <a:lnTo>
                    <a:pt x="44" y="253"/>
                  </a:lnTo>
                  <a:lnTo>
                    <a:pt x="42" y="253"/>
                  </a:lnTo>
                  <a:lnTo>
                    <a:pt x="42" y="250"/>
                  </a:lnTo>
                  <a:lnTo>
                    <a:pt x="44" y="246"/>
                  </a:lnTo>
                  <a:lnTo>
                    <a:pt x="44" y="242"/>
                  </a:lnTo>
                  <a:lnTo>
                    <a:pt x="44" y="236"/>
                  </a:lnTo>
                  <a:lnTo>
                    <a:pt x="46" y="228"/>
                  </a:lnTo>
                  <a:lnTo>
                    <a:pt x="46" y="227"/>
                  </a:lnTo>
                  <a:lnTo>
                    <a:pt x="48" y="223"/>
                  </a:lnTo>
                  <a:lnTo>
                    <a:pt x="48" y="221"/>
                  </a:lnTo>
                  <a:lnTo>
                    <a:pt x="48" y="215"/>
                  </a:lnTo>
                  <a:lnTo>
                    <a:pt x="48" y="213"/>
                  </a:lnTo>
                  <a:lnTo>
                    <a:pt x="50" y="211"/>
                  </a:lnTo>
                  <a:lnTo>
                    <a:pt x="50" y="209"/>
                  </a:lnTo>
                  <a:lnTo>
                    <a:pt x="50" y="207"/>
                  </a:lnTo>
                  <a:lnTo>
                    <a:pt x="52" y="198"/>
                  </a:lnTo>
                  <a:lnTo>
                    <a:pt x="52" y="196"/>
                  </a:lnTo>
                  <a:lnTo>
                    <a:pt x="52" y="190"/>
                  </a:lnTo>
                  <a:lnTo>
                    <a:pt x="52" y="188"/>
                  </a:lnTo>
                  <a:lnTo>
                    <a:pt x="53" y="182"/>
                  </a:lnTo>
                  <a:lnTo>
                    <a:pt x="53" y="180"/>
                  </a:lnTo>
                  <a:lnTo>
                    <a:pt x="53" y="179"/>
                  </a:lnTo>
                  <a:lnTo>
                    <a:pt x="53" y="177"/>
                  </a:lnTo>
                  <a:lnTo>
                    <a:pt x="55" y="171"/>
                  </a:lnTo>
                  <a:lnTo>
                    <a:pt x="55" y="169"/>
                  </a:lnTo>
                  <a:lnTo>
                    <a:pt x="55" y="167"/>
                  </a:lnTo>
                  <a:lnTo>
                    <a:pt x="55" y="165"/>
                  </a:lnTo>
                  <a:lnTo>
                    <a:pt x="55" y="163"/>
                  </a:lnTo>
                  <a:lnTo>
                    <a:pt x="57" y="161"/>
                  </a:lnTo>
                  <a:lnTo>
                    <a:pt x="57" y="157"/>
                  </a:lnTo>
                  <a:lnTo>
                    <a:pt x="57" y="155"/>
                  </a:lnTo>
                  <a:lnTo>
                    <a:pt x="59" y="152"/>
                  </a:lnTo>
                  <a:lnTo>
                    <a:pt x="59" y="150"/>
                  </a:lnTo>
                  <a:lnTo>
                    <a:pt x="59" y="142"/>
                  </a:lnTo>
                  <a:lnTo>
                    <a:pt x="59" y="140"/>
                  </a:lnTo>
                  <a:lnTo>
                    <a:pt x="61" y="140"/>
                  </a:lnTo>
                  <a:lnTo>
                    <a:pt x="61" y="138"/>
                  </a:lnTo>
                  <a:lnTo>
                    <a:pt x="61" y="136"/>
                  </a:lnTo>
                  <a:lnTo>
                    <a:pt x="61" y="129"/>
                  </a:lnTo>
                  <a:lnTo>
                    <a:pt x="63" y="127"/>
                  </a:lnTo>
                  <a:lnTo>
                    <a:pt x="63" y="123"/>
                  </a:lnTo>
                  <a:lnTo>
                    <a:pt x="63" y="121"/>
                  </a:lnTo>
                  <a:lnTo>
                    <a:pt x="63" y="119"/>
                  </a:lnTo>
                  <a:lnTo>
                    <a:pt x="63" y="117"/>
                  </a:lnTo>
                  <a:lnTo>
                    <a:pt x="63" y="115"/>
                  </a:lnTo>
                  <a:lnTo>
                    <a:pt x="65" y="115"/>
                  </a:lnTo>
                  <a:lnTo>
                    <a:pt x="65" y="113"/>
                  </a:lnTo>
                  <a:lnTo>
                    <a:pt x="65" y="106"/>
                  </a:lnTo>
                  <a:lnTo>
                    <a:pt x="67" y="102"/>
                  </a:lnTo>
                  <a:lnTo>
                    <a:pt x="67" y="100"/>
                  </a:lnTo>
                  <a:lnTo>
                    <a:pt x="69" y="92"/>
                  </a:lnTo>
                  <a:lnTo>
                    <a:pt x="69" y="90"/>
                  </a:lnTo>
                  <a:lnTo>
                    <a:pt x="69" y="88"/>
                  </a:lnTo>
                  <a:lnTo>
                    <a:pt x="69" y="86"/>
                  </a:lnTo>
                  <a:lnTo>
                    <a:pt x="69" y="84"/>
                  </a:lnTo>
                  <a:lnTo>
                    <a:pt x="69" y="81"/>
                  </a:lnTo>
                  <a:lnTo>
                    <a:pt x="71" y="79"/>
                  </a:lnTo>
                  <a:lnTo>
                    <a:pt x="71" y="77"/>
                  </a:lnTo>
                  <a:lnTo>
                    <a:pt x="71" y="75"/>
                  </a:lnTo>
                  <a:lnTo>
                    <a:pt x="71" y="71"/>
                  </a:lnTo>
                  <a:lnTo>
                    <a:pt x="71" y="69"/>
                  </a:lnTo>
                  <a:lnTo>
                    <a:pt x="73" y="67"/>
                  </a:lnTo>
                  <a:lnTo>
                    <a:pt x="73" y="65"/>
                  </a:lnTo>
                  <a:lnTo>
                    <a:pt x="73" y="63"/>
                  </a:lnTo>
                  <a:lnTo>
                    <a:pt x="73" y="61"/>
                  </a:lnTo>
                  <a:lnTo>
                    <a:pt x="73" y="59"/>
                  </a:lnTo>
                  <a:lnTo>
                    <a:pt x="73" y="58"/>
                  </a:lnTo>
                  <a:lnTo>
                    <a:pt x="75" y="52"/>
                  </a:lnTo>
                  <a:lnTo>
                    <a:pt x="75" y="50"/>
                  </a:lnTo>
                  <a:lnTo>
                    <a:pt x="75" y="44"/>
                  </a:lnTo>
                  <a:lnTo>
                    <a:pt x="76" y="42"/>
                  </a:lnTo>
                  <a:lnTo>
                    <a:pt x="78" y="33"/>
                  </a:lnTo>
                  <a:lnTo>
                    <a:pt x="78" y="31"/>
                  </a:lnTo>
                  <a:lnTo>
                    <a:pt x="78" y="25"/>
                  </a:lnTo>
                  <a:lnTo>
                    <a:pt x="78" y="23"/>
                  </a:lnTo>
                  <a:lnTo>
                    <a:pt x="78" y="21"/>
                  </a:lnTo>
                  <a:lnTo>
                    <a:pt x="80" y="19"/>
                  </a:lnTo>
                  <a:lnTo>
                    <a:pt x="80" y="17"/>
                  </a:lnTo>
                  <a:lnTo>
                    <a:pt x="80" y="15"/>
                  </a:lnTo>
                  <a:lnTo>
                    <a:pt x="80" y="13"/>
                  </a:lnTo>
                  <a:lnTo>
                    <a:pt x="82" y="2"/>
                  </a:lnTo>
                  <a:lnTo>
                    <a:pt x="82" y="0"/>
                  </a:lnTo>
                  <a:lnTo>
                    <a:pt x="84" y="0"/>
                  </a:lnTo>
                  <a:lnTo>
                    <a:pt x="86" y="0"/>
                  </a:lnTo>
                  <a:lnTo>
                    <a:pt x="88" y="0"/>
                  </a:lnTo>
                  <a:lnTo>
                    <a:pt x="90" y="0"/>
                  </a:lnTo>
                  <a:lnTo>
                    <a:pt x="92" y="0"/>
                  </a:lnTo>
                  <a:lnTo>
                    <a:pt x="92" y="2"/>
                  </a:lnTo>
                  <a:lnTo>
                    <a:pt x="94" y="2"/>
                  </a:lnTo>
                  <a:lnTo>
                    <a:pt x="96" y="2"/>
                  </a:lnTo>
                  <a:lnTo>
                    <a:pt x="98" y="2"/>
                  </a:lnTo>
                  <a:lnTo>
                    <a:pt x="100" y="2"/>
                  </a:lnTo>
                  <a:lnTo>
                    <a:pt x="101" y="2"/>
                  </a:lnTo>
                  <a:lnTo>
                    <a:pt x="103" y="2"/>
                  </a:lnTo>
                  <a:lnTo>
                    <a:pt x="103" y="4"/>
                  </a:lnTo>
                  <a:lnTo>
                    <a:pt x="105" y="4"/>
                  </a:lnTo>
                  <a:lnTo>
                    <a:pt x="107" y="4"/>
                  </a:lnTo>
                  <a:lnTo>
                    <a:pt x="109" y="4"/>
                  </a:lnTo>
                  <a:lnTo>
                    <a:pt x="111" y="4"/>
                  </a:lnTo>
                  <a:lnTo>
                    <a:pt x="113" y="4"/>
                  </a:lnTo>
                  <a:lnTo>
                    <a:pt x="115" y="4"/>
                  </a:lnTo>
                  <a:lnTo>
                    <a:pt x="117" y="4"/>
                  </a:lnTo>
                  <a:lnTo>
                    <a:pt x="117" y="6"/>
                  </a:lnTo>
                  <a:lnTo>
                    <a:pt x="119" y="6"/>
                  </a:lnTo>
                  <a:lnTo>
                    <a:pt x="121" y="6"/>
                  </a:lnTo>
                  <a:lnTo>
                    <a:pt x="123" y="6"/>
                  </a:lnTo>
                  <a:lnTo>
                    <a:pt x="124" y="6"/>
                  </a:lnTo>
                  <a:lnTo>
                    <a:pt x="126" y="6"/>
                  </a:lnTo>
                  <a:lnTo>
                    <a:pt x="128" y="6"/>
                  </a:lnTo>
                  <a:lnTo>
                    <a:pt x="130" y="6"/>
                  </a:lnTo>
                  <a:lnTo>
                    <a:pt x="130" y="8"/>
                  </a:lnTo>
                  <a:lnTo>
                    <a:pt x="132" y="8"/>
                  </a:lnTo>
                  <a:lnTo>
                    <a:pt x="134" y="8"/>
                  </a:lnTo>
                  <a:lnTo>
                    <a:pt x="136" y="8"/>
                  </a:lnTo>
                  <a:lnTo>
                    <a:pt x="138" y="8"/>
                  </a:lnTo>
                  <a:lnTo>
                    <a:pt x="140" y="8"/>
                  </a:lnTo>
                  <a:lnTo>
                    <a:pt x="142" y="8"/>
                  </a:lnTo>
                  <a:lnTo>
                    <a:pt x="144" y="8"/>
                  </a:lnTo>
                  <a:lnTo>
                    <a:pt x="146" y="8"/>
                  </a:lnTo>
                  <a:lnTo>
                    <a:pt x="146" y="10"/>
                  </a:lnTo>
                  <a:lnTo>
                    <a:pt x="148" y="10"/>
                  </a:lnTo>
                  <a:lnTo>
                    <a:pt x="149" y="10"/>
                  </a:lnTo>
                  <a:lnTo>
                    <a:pt x="151" y="10"/>
                  </a:lnTo>
                  <a:lnTo>
                    <a:pt x="153" y="10"/>
                  </a:lnTo>
                  <a:lnTo>
                    <a:pt x="155" y="10"/>
                  </a:lnTo>
                  <a:lnTo>
                    <a:pt x="157" y="10"/>
                  </a:lnTo>
                  <a:lnTo>
                    <a:pt x="159" y="10"/>
                  </a:lnTo>
                  <a:lnTo>
                    <a:pt x="161" y="10"/>
                  </a:lnTo>
                  <a:lnTo>
                    <a:pt x="161" y="11"/>
                  </a:lnTo>
                  <a:lnTo>
                    <a:pt x="163" y="11"/>
                  </a:lnTo>
                  <a:lnTo>
                    <a:pt x="165" y="11"/>
                  </a:lnTo>
                  <a:lnTo>
                    <a:pt x="167" y="11"/>
                  </a:lnTo>
                  <a:lnTo>
                    <a:pt x="169" y="11"/>
                  </a:lnTo>
                  <a:lnTo>
                    <a:pt x="171" y="11"/>
                  </a:lnTo>
                  <a:lnTo>
                    <a:pt x="172" y="11"/>
                  </a:lnTo>
                  <a:lnTo>
                    <a:pt x="174" y="11"/>
                  </a:lnTo>
                  <a:lnTo>
                    <a:pt x="176" y="11"/>
                  </a:lnTo>
                  <a:lnTo>
                    <a:pt x="178" y="11"/>
                  </a:lnTo>
                  <a:lnTo>
                    <a:pt x="178" y="13"/>
                  </a:lnTo>
                  <a:lnTo>
                    <a:pt x="180" y="13"/>
                  </a:lnTo>
                  <a:lnTo>
                    <a:pt x="182" y="13"/>
                  </a:lnTo>
                  <a:lnTo>
                    <a:pt x="184" y="13"/>
                  </a:lnTo>
                  <a:lnTo>
                    <a:pt x="186" y="13"/>
                  </a:lnTo>
                  <a:lnTo>
                    <a:pt x="188" y="13"/>
                  </a:lnTo>
                  <a:lnTo>
                    <a:pt x="190" y="13"/>
                  </a:lnTo>
                  <a:lnTo>
                    <a:pt x="192" y="13"/>
                  </a:lnTo>
                  <a:lnTo>
                    <a:pt x="194" y="13"/>
                  </a:lnTo>
                  <a:lnTo>
                    <a:pt x="196" y="13"/>
                  </a:lnTo>
                  <a:lnTo>
                    <a:pt x="196" y="15"/>
                  </a:lnTo>
                  <a:lnTo>
                    <a:pt x="197" y="15"/>
                  </a:lnTo>
                  <a:lnTo>
                    <a:pt x="199" y="15"/>
                  </a:lnTo>
                  <a:lnTo>
                    <a:pt x="201" y="15"/>
                  </a:lnTo>
                  <a:lnTo>
                    <a:pt x="203" y="15"/>
                  </a:lnTo>
                  <a:lnTo>
                    <a:pt x="205" y="15"/>
                  </a:lnTo>
                  <a:lnTo>
                    <a:pt x="207" y="15"/>
                  </a:lnTo>
                  <a:lnTo>
                    <a:pt x="209" y="15"/>
                  </a:lnTo>
                  <a:lnTo>
                    <a:pt x="211" y="15"/>
                  </a:lnTo>
                  <a:lnTo>
                    <a:pt x="213" y="15"/>
                  </a:lnTo>
                  <a:lnTo>
                    <a:pt x="215" y="15"/>
                  </a:lnTo>
                  <a:lnTo>
                    <a:pt x="217" y="17"/>
                  </a:lnTo>
                  <a:lnTo>
                    <a:pt x="219" y="17"/>
                  </a:lnTo>
                  <a:lnTo>
                    <a:pt x="220" y="17"/>
                  </a:lnTo>
                  <a:lnTo>
                    <a:pt x="222" y="17"/>
                  </a:lnTo>
                  <a:lnTo>
                    <a:pt x="224" y="17"/>
                  </a:lnTo>
                  <a:lnTo>
                    <a:pt x="226" y="17"/>
                  </a:lnTo>
                  <a:lnTo>
                    <a:pt x="228" y="17"/>
                  </a:lnTo>
                  <a:lnTo>
                    <a:pt x="230" y="17"/>
                  </a:lnTo>
                  <a:lnTo>
                    <a:pt x="232" y="17"/>
                  </a:lnTo>
                  <a:lnTo>
                    <a:pt x="234" y="17"/>
                  </a:lnTo>
                  <a:lnTo>
                    <a:pt x="236" y="17"/>
                  </a:lnTo>
                  <a:lnTo>
                    <a:pt x="238" y="17"/>
                  </a:lnTo>
                  <a:lnTo>
                    <a:pt x="238" y="19"/>
                  </a:lnTo>
                  <a:lnTo>
                    <a:pt x="240" y="19"/>
                  </a:lnTo>
                  <a:lnTo>
                    <a:pt x="242" y="19"/>
                  </a:lnTo>
                  <a:lnTo>
                    <a:pt x="244" y="19"/>
                  </a:lnTo>
                  <a:lnTo>
                    <a:pt x="245" y="19"/>
                  </a:lnTo>
                  <a:lnTo>
                    <a:pt x="247" y="19"/>
                  </a:lnTo>
                  <a:lnTo>
                    <a:pt x="249" y="19"/>
                  </a:lnTo>
                  <a:lnTo>
                    <a:pt x="251" y="19"/>
                  </a:lnTo>
                  <a:lnTo>
                    <a:pt x="253" y="19"/>
                  </a:lnTo>
                  <a:lnTo>
                    <a:pt x="255" y="19"/>
                  </a:lnTo>
                  <a:lnTo>
                    <a:pt x="257" y="19"/>
                  </a:lnTo>
                  <a:lnTo>
                    <a:pt x="259" y="19"/>
                  </a:lnTo>
                  <a:lnTo>
                    <a:pt x="261" y="19"/>
                  </a:lnTo>
                  <a:lnTo>
                    <a:pt x="263" y="19"/>
                  </a:lnTo>
                  <a:lnTo>
                    <a:pt x="265" y="19"/>
                  </a:lnTo>
                  <a:lnTo>
                    <a:pt x="265" y="21"/>
                  </a:lnTo>
                  <a:lnTo>
                    <a:pt x="267" y="21"/>
                  </a:lnTo>
                  <a:lnTo>
                    <a:pt x="269" y="21"/>
                  </a:lnTo>
                  <a:lnTo>
                    <a:pt x="270" y="21"/>
                  </a:lnTo>
                  <a:lnTo>
                    <a:pt x="272" y="21"/>
                  </a:lnTo>
                  <a:lnTo>
                    <a:pt x="274" y="21"/>
                  </a:lnTo>
                  <a:lnTo>
                    <a:pt x="276" y="21"/>
                  </a:lnTo>
                  <a:lnTo>
                    <a:pt x="278" y="21"/>
                  </a:lnTo>
                  <a:lnTo>
                    <a:pt x="280" y="21"/>
                  </a:lnTo>
                  <a:lnTo>
                    <a:pt x="282" y="21"/>
                  </a:lnTo>
                  <a:lnTo>
                    <a:pt x="284" y="21"/>
                  </a:lnTo>
                  <a:lnTo>
                    <a:pt x="286" y="21"/>
                  </a:lnTo>
                  <a:lnTo>
                    <a:pt x="288" y="21"/>
                  </a:lnTo>
                  <a:lnTo>
                    <a:pt x="290" y="21"/>
                  </a:lnTo>
                  <a:lnTo>
                    <a:pt x="292" y="21"/>
                  </a:lnTo>
                  <a:lnTo>
                    <a:pt x="293" y="21"/>
                  </a:lnTo>
                  <a:lnTo>
                    <a:pt x="295" y="21"/>
                  </a:lnTo>
                  <a:lnTo>
                    <a:pt x="297" y="21"/>
                  </a:lnTo>
                  <a:lnTo>
                    <a:pt x="299" y="23"/>
                  </a:lnTo>
                  <a:lnTo>
                    <a:pt x="301" y="23"/>
                  </a:lnTo>
                  <a:lnTo>
                    <a:pt x="303" y="23"/>
                  </a:lnTo>
                  <a:lnTo>
                    <a:pt x="301" y="23"/>
                  </a:lnTo>
                  <a:close/>
                  <a:moveTo>
                    <a:pt x="305" y="61"/>
                  </a:moveTo>
                  <a:lnTo>
                    <a:pt x="305" y="63"/>
                  </a:lnTo>
                  <a:lnTo>
                    <a:pt x="303" y="63"/>
                  </a:lnTo>
                  <a:lnTo>
                    <a:pt x="305" y="63"/>
                  </a:lnTo>
                  <a:lnTo>
                    <a:pt x="305" y="61"/>
                  </a:lnTo>
                  <a:close/>
                  <a:moveTo>
                    <a:pt x="303" y="50"/>
                  </a:moveTo>
                  <a:lnTo>
                    <a:pt x="301" y="50"/>
                  </a:lnTo>
                  <a:lnTo>
                    <a:pt x="301" y="48"/>
                  </a:lnTo>
                  <a:lnTo>
                    <a:pt x="301" y="50"/>
                  </a:lnTo>
                  <a:lnTo>
                    <a:pt x="303" y="50"/>
                  </a:lnTo>
                  <a:lnTo>
                    <a:pt x="303" y="48"/>
                  </a:lnTo>
                  <a:lnTo>
                    <a:pt x="303" y="50"/>
                  </a:lnTo>
                  <a:lnTo>
                    <a:pt x="303" y="48"/>
                  </a:lnTo>
                  <a:lnTo>
                    <a:pt x="303" y="50"/>
                  </a:lnTo>
                  <a:close/>
                  <a:moveTo>
                    <a:pt x="303" y="63"/>
                  </a:moveTo>
                  <a:lnTo>
                    <a:pt x="303" y="61"/>
                  </a:lnTo>
                  <a:lnTo>
                    <a:pt x="303" y="63"/>
                  </a:lnTo>
                  <a:close/>
                </a:path>
              </a:pathLst>
            </a:custGeom>
            <a:solidFill>
              <a:srgbClr val="FD685D"/>
            </a:solidFill>
            <a:ln w="3175">
              <a:solidFill>
                <a:sysClr val="window" lastClr="FFFF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black"/>
                </a:solidFill>
                <a:effectLst/>
                <a:uLnTx/>
                <a:uFillTx/>
                <a:ea typeface="宋体" panose="02010600030101010101" pitchFamily="2" charset="-122"/>
              </a:endParaRPr>
            </a:p>
          </p:txBody>
        </p:sp>
        <p:sp>
          <p:nvSpPr>
            <p:cNvPr id="59" name="Freeform 1079">
              <a:extLst>
                <a:ext uri="{FF2B5EF4-FFF2-40B4-BE49-F238E27FC236}">
                  <a16:creationId xmlns:a16="http://schemas.microsoft.com/office/drawing/2014/main" id="{4905B0B2-5FA7-ED4A-EC66-141EA3296216}"/>
                </a:ext>
              </a:extLst>
            </p:cNvPr>
            <p:cNvSpPr>
              <a:spLocks noEditPoints="1"/>
            </p:cNvSpPr>
            <p:nvPr/>
          </p:nvSpPr>
          <p:spPr bwMode="auto">
            <a:xfrm>
              <a:off x="5059363" y="2695575"/>
              <a:ext cx="1436688" cy="1679575"/>
            </a:xfrm>
            <a:custGeom>
              <a:avLst/>
              <a:gdLst>
                <a:gd name="T0" fmla="*/ 836 w 905"/>
                <a:gd name="T1" fmla="*/ 521 h 1058"/>
                <a:gd name="T2" fmla="*/ 766 w 905"/>
                <a:gd name="T3" fmla="*/ 557 h 1058"/>
                <a:gd name="T4" fmla="*/ 632 w 905"/>
                <a:gd name="T5" fmla="*/ 619 h 1058"/>
                <a:gd name="T6" fmla="*/ 567 w 905"/>
                <a:gd name="T7" fmla="*/ 718 h 1058"/>
                <a:gd name="T8" fmla="*/ 500 w 905"/>
                <a:gd name="T9" fmla="*/ 897 h 1058"/>
                <a:gd name="T10" fmla="*/ 396 w 905"/>
                <a:gd name="T11" fmla="*/ 1022 h 1058"/>
                <a:gd name="T12" fmla="*/ 252 w 905"/>
                <a:gd name="T13" fmla="*/ 1022 h 1058"/>
                <a:gd name="T14" fmla="*/ 102 w 905"/>
                <a:gd name="T15" fmla="*/ 761 h 1058"/>
                <a:gd name="T16" fmla="*/ 106 w 905"/>
                <a:gd name="T17" fmla="*/ 630 h 1058"/>
                <a:gd name="T18" fmla="*/ 81 w 905"/>
                <a:gd name="T19" fmla="*/ 567 h 1058"/>
                <a:gd name="T20" fmla="*/ 60 w 905"/>
                <a:gd name="T21" fmla="*/ 534 h 1058"/>
                <a:gd name="T22" fmla="*/ 114 w 905"/>
                <a:gd name="T23" fmla="*/ 450 h 1058"/>
                <a:gd name="T24" fmla="*/ 94 w 905"/>
                <a:gd name="T25" fmla="*/ 300 h 1058"/>
                <a:gd name="T26" fmla="*/ 37 w 905"/>
                <a:gd name="T27" fmla="*/ 248 h 1058"/>
                <a:gd name="T28" fmla="*/ 46 w 905"/>
                <a:gd name="T29" fmla="*/ 202 h 1058"/>
                <a:gd name="T30" fmla="*/ 41 w 905"/>
                <a:gd name="T31" fmla="*/ 148 h 1058"/>
                <a:gd name="T32" fmla="*/ 27 w 905"/>
                <a:gd name="T33" fmla="*/ 93 h 1058"/>
                <a:gd name="T34" fmla="*/ 31 w 905"/>
                <a:gd name="T35" fmla="*/ 22 h 1058"/>
                <a:gd name="T36" fmla="*/ 154 w 905"/>
                <a:gd name="T37" fmla="*/ 12 h 1058"/>
                <a:gd name="T38" fmla="*/ 206 w 905"/>
                <a:gd name="T39" fmla="*/ 58 h 1058"/>
                <a:gd name="T40" fmla="*/ 269 w 905"/>
                <a:gd name="T41" fmla="*/ 52 h 1058"/>
                <a:gd name="T42" fmla="*/ 290 w 905"/>
                <a:gd name="T43" fmla="*/ 125 h 1058"/>
                <a:gd name="T44" fmla="*/ 298 w 905"/>
                <a:gd name="T45" fmla="*/ 177 h 1058"/>
                <a:gd name="T46" fmla="*/ 375 w 905"/>
                <a:gd name="T47" fmla="*/ 181 h 1058"/>
                <a:gd name="T48" fmla="*/ 427 w 905"/>
                <a:gd name="T49" fmla="*/ 131 h 1058"/>
                <a:gd name="T50" fmla="*/ 417 w 905"/>
                <a:gd name="T51" fmla="*/ 106 h 1058"/>
                <a:gd name="T52" fmla="*/ 411 w 905"/>
                <a:gd name="T53" fmla="*/ 58 h 1058"/>
                <a:gd name="T54" fmla="*/ 428 w 905"/>
                <a:gd name="T55" fmla="*/ 79 h 1058"/>
                <a:gd name="T56" fmla="*/ 511 w 905"/>
                <a:gd name="T57" fmla="*/ 167 h 1058"/>
                <a:gd name="T58" fmla="*/ 584 w 905"/>
                <a:gd name="T59" fmla="*/ 286 h 1058"/>
                <a:gd name="T60" fmla="*/ 517 w 905"/>
                <a:gd name="T61" fmla="*/ 356 h 1058"/>
                <a:gd name="T62" fmla="*/ 465 w 905"/>
                <a:gd name="T63" fmla="*/ 404 h 1058"/>
                <a:gd name="T64" fmla="*/ 536 w 905"/>
                <a:gd name="T65" fmla="*/ 478 h 1058"/>
                <a:gd name="T66" fmla="*/ 622 w 905"/>
                <a:gd name="T67" fmla="*/ 521 h 1058"/>
                <a:gd name="T68" fmla="*/ 663 w 905"/>
                <a:gd name="T69" fmla="*/ 480 h 1058"/>
                <a:gd name="T70" fmla="*/ 874 w 905"/>
                <a:gd name="T71" fmla="*/ 423 h 1058"/>
                <a:gd name="T72" fmla="*/ 722 w 905"/>
                <a:gd name="T73" fmla="*/ 711 h 1058"/>
                <a:gd name="T74" fmla="*/ 596 w 905"/>
                <a:gd name="T75" fmla="*/ 824 h 1058"/>
                <a:gd name="T76" fmla="*/ 536 w 905"/>
                <a:gd name="T77" fmla="*/ 991 h 1058"/>
                <a:gd name="T78" fmla="*/ 444 w 905"/>
                <a:gd name="T79" fmla="*/ 1031 h 1058"/>
                <a:gd name="T80" fmla="*/ 453 w 905"/>
                <a:gd name="T81" fmla="*/ 949 h 1058"/>
                <a:gd name="T82" fmla="*/ 546 w 905"/>
                <a:gd name="T83" fmla="*/ 809 h 1058"/>
                <a:gd name="T84" fmla="*/ 690 w 905"/>
                <a:gd name="T85" fmla="*/ 665 h 1058"/>
                <a:gd name="T86" fmla="*/ 749 w 905"/>
                <a:gd name="T87" fmla="*/ 599 h 1058"/>
                <a:gd name="T88" fmla="*/ 864 w 905"/>
                <a:gd name="T89" fmla="*/ 720 h 1058"/>
                <a:gd name="T90" fmla="*/ 857 w 905"/>
                <a:gd name="T91" fmla="*/ 484 h 1058"/>
                <a:gd name="T92" fmla="*/ 37 w 905"/>
                <a:gd name="T93" fmla="*/ 265 h 1058"/>
                <a:gd name="T94" fmla="*/ 428 w 905"/>
                <a:gd name="T95" fmla="*/ 993 h 1058"/>
                <a:gd name="T96" fmla="*/ 732 w 905"/>
                <a:gd name="T97" fmla="*/ 573 h 1058"/>
                <a:gd name="T98" fmla="*/ 413 w 905"/>
                <a:gd name="T99" fmla="*/ 100 h 1058"/>
                <a:gd name="T100" fmla="*/ 517 w 905"/>
                <a:gd name="T101" fmla="*/ 882 h 1058"/>
                <a:gd name="T102" fmla="*/ 866 w 905"/>
                <a:gd name="T103" fmla="*/ 444 h 1058"/>
                <a:gd name="T104" fmla="*/ 813 w 905"/>
                <a:gd name="T105" fmla="*/ 536 h 1058"/>
                <a:gd name="T106" fmla="*/ 864 w 905"/>
                <a:gd name="T107" fmla="*/ 434 h 1058"/>
                <a:gd name="T108" fmla="*/ 39 w 905"/>
                <a:gd name="T109" fmla="*/ 156 h 1058"/>
                <a:gd name="T110" fmla="*/ 56 w 905"/>
                <a:gd name="T111" fmla="*/ 189 h 1058"/>
                <a:gd name="T112" fmla="*/ 392 w 905"/>
                <a:gd name="T113" fmla="*/ 1052 h 1058"/>
                <a:gd name="T114" fmla="*/ 640 w 905"/>
                <a:gd name="T115" fmla="*/ 615 h 1058"/>
                <a:gd name="T116" fmla="*/ 69 w 905"/>
                <a:gd name="T117" fmla="*/ 546 h 1058"/>
                <a:gd name="T118" fmla="*/ 427 w 905"/>
                <a:gd name="T119" fmla="*/ 993 h 1058"/>
                <a:gd name="T120" fmla="*/ 62 w 905"/>
                <a:gd name="T121" fmla="*/ 542 h 1058"/>
                <a:gd name="T122" fmla="*/ 46 w 905"/>
                <a:gd name="T123" fmla="*/ 212 h 1058"/>
                <a:gd name="T124" fmla="*/ 599 w 905"/>
                <a:gd name="T125" fmla="*/ 649 h 10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905" h="1058">
                  <a:moveTo>
                    <a:pt x="859" y="436"/>
                  </a:moveTo>
                  <a:lnTo>
                    <a:pt x="861" y="438"/>
                  </a:lnTo>
                  <a:lnTo>
                    <a:pt x="862" y="438"/>
                  </a:lnTo>
                  <a:lnTo>
                    <a:pt x="862" y="436"/>
                  </a:lnTo>
                  <a:lnTo>
                    <a:pt x="862" y="438"/>
                  </a:lnTo>
                  <a:lnTo>
                    <a:pt x="862" y="440"/>
                  </a:lnTo>
                  <a:lnTo>
                    <a:pt x="862" y="442"/>
                  </a:lnTo>
                  <a:lnTo>
                    <a:pt x="861" y="442"/>
                  </a:lnTo>
                  <a:lnTo>
                    <a:pt x="862" y="442"/>
                  </a:lnTo>
                  <a:lnTo>
                    <a:pt x="861" y="442"/>
                  </a:lnTo>
                  <a:lnTo>
                    <a:pt x="861" y="444"/>
                  </a:lnTo>
                  <a:lnTo>
                    <a:pt x="861" y="446"/>
                  </a:lnTo>
                  <a:lnTo>
                    <a:pt x="859" y="446"/>
                  </a:lnTo>
                  <a:lnTo>
                    <a:pt x="861" y="446"/>
                  </a:lnTo>
                  <a:lnTo>
                    <a:pt x="859" y="446"/>
                  </a:lnTo>
                  <a:lnTo>
                    <a:pt x="859" y="448"/>
                  </a:lnTo>
                  <a:lnTo>
                    <a:pt x="859" y="446"/>
                  </a:lnTo>
                  <a:lnTo>
                    <a:pt x="859" y="448"/>
                  </a:lnTo>
                  <a:lnTo>
                    <a:pt x="859" y="450"/>
                  </a:lnTo>
                  <a:lnTo>
                    <a:pt x="859" y="448"/>
                  </a:lnTo>
                  <a:lnTo>
                    <a:pt x="857" y="448"/>
                  </a:lnTo>
                  <a:lnTo>
                    <a:pt x="859" y="448"/>
                  </a:lnTo>
                  <a:lnTo>
                    <a:pt x="857" y="450"/>
                  </a:lnTo>
                  <a:lnTo>
                    <a:pt x="859" y="450"/>
                  </a:lnTo>
                  <a:lnTo>
                    <a:pt x="857" y="452"/>
                  </a:lnTo>
                  <a:lnTo>
                    <a:pt x="859" y="452"/>
                  </a:lnTo>
                  <a:lnTo>
                    <a:pt x="859" y="450"/>
                  </a:lnTo>
                  <a:lnTo>
                    <a:pt x="859" y="452"/>
                  </a:lnTo>
                  <a:lnTo>
                    <a:pt x="859" y="450"/>
                  </a:lnTo>
                  <a:lnTo>
                    <a:pt x="859" y="452"/>
                  </a:lnTo>
                  <a:lnTo>
                    <a:pt x="859" y="453"/>
                  </a:lnTo>
                  <a:lnTo>
                    <a:pt x="859" y="455"/>
                  </a:lnTo>
                  <a:lnTo>
                    <a:pt x="857" y="453"/>
                  </a:lnTo>
                  <a:lnTo>
                    <a:pt x="857" y="452"/>
                  </a:lnTo>
                  <a:lnTo>
                    <a:pt x="857" y="450"/>
                  </a:lnTo>
                  <a:lnTo>
                    <a:pt x="857" y="452"/>
                  </a:lnTo>
                  <a:lnTo>
                    <a:pt x="855" y="452"/>
                  </a:lnTo>
                  <a:lnTo>
                    <a:pt x="855" y="453"/>
                  </a:lnTo>
                  <a:lnTo>
                    <a:pt x="855" y="455"/>
                  </a:lnTo>
                  <a:lnTo>
                    <a:pt x="853" y="455"/>
                  </a:lnTo>
                  <a:lnTo>
                    <a:pt x="855" y="455"/>
                  </a:lnTo>
                  <a:lnTo>
                    <a:pt x="855" y="457"/>
                  </a:lnTo>
                  <a:lnTo>
                    <a:pt x="853" y="457"/>
                  </a:lnTo>
                  <a:lnTo>
                    <a:pt x="855" y="457"/>
                  </a:lnTo>
                  <a:lnTo>
                    <a:pt x="855" y="455"/>
                  </a:lnTo>
                  <a:lnTo>
                    <a:pt x="857" y="455"/>
                  </a:lnTo>
                  <a:lnTo>
                    <a:pt x="857" y="457"/>
                  </a:lnTo>
                  <a:lnTo>
                    <a:pt x="857" y="459"/>
                  </a:lnTo>
                  <a:lnTo>
                    <a:pt x="859" y="459"/>
                  </a:lnTo>
                  <a:lnTo>
                    <a:pt x="859" y="461"/>
                  </a:lnTo>
                  <a:lnTo>
                    <a:pt x="859" y="463"/>
                  </a:lnTo>
                  <a:lnTo>
                    <a:pt x="859" y="461"/>
                  </a:lnTo>
                  <a:lnTo>
                    <a:pt x="859" y="463"/>
                  </a:lnTo>
                  <a:lnTo>
                    <a:pt x="861" y="463"/>
                  </a:lnTo>
                  <a:lnTo>
                    <a:pt x="861" y="465"/>
                  </a:lnTo>
                  <a:lnTo>
                    <a:pt x="861" y="463"/>
                  </a:lnTo>
                  <a:lnTo>
                    <a:pt x="861" y="465"/>
                  </a:lnTo>
                  <a:lnTo>
                    <a:pt x="861" y="467"/>
                  </a:lnTo>
                  <a:lnTo>
                    <a:pt x="861" y="469"/>
                  </a:lnTo>
                  <a:lnTo>
                    <a:pt x="859" y="469"/>
                  </a:lnTo>
                  <a:lnTo>
                    <a:pt x="861" y="469"/>
                  </a:lnTo>
                  <a:lnTo>
                    <a:pt x="859" y="469"/>
                  </a:lnTo>
                  <a:lnTo>
                    <a:pt x="859" y="467"/>
                  </a:lnTo>
                  <a:lnTo>
                    <a:pt x="859" y="469"/>
                  </a:lnTo>
                  <a:lnTo>
                    <a:pt x="859" y="467"/>
                  </a:lnTo>
                  <a:lnTo>
                    <a:pt x="859" y="469"/>
                  </a:lnTo>
                  <a:lnTo>
                    <a:pt x="861" y="469"/>
                  </a:lnTo>
                  <a:lnTo>
                    <a:pt x="861" y="471"/>
                  </a:lnTo>
                  <a:lnTo>
                    <a:pt x="859" y="471"/>
                  </a:lnTo>
                  <a:lnTo>
                    <a:pt x="859" y="469"/>
                  </a:lnTo>
                  <a:lnTo>
                    <a:pt x="857" y="469"/>
                  </a:lnTo>
                  <a:lnTo>
                    <a:pt x="857" y="467"/>
                  </a:lnTo>
                  <a:lnTo>
                    <a:pt x="857" y="465"/>
                  </a:lnTo>
                  <a:lnTo>
                    <a:pt x="857" y="463"/>
                  </a:lnTo>
                  <a:lnTo>
                    <a:pt x="855" y="463"/>
                  </a:lnTo>
                  <a:lnTo>
                    <a:pt x="855" y="465"/>
                  </a:lnTo>
                  <a:lnTo>
                    <a:pt x="857" y="465"/>
                  </a:lnTo>
                  <a:lnTo>
                    <a:pt x="857" y="467"/>
                  </a:lnTo>
                  <a:lnTo>
                    <a:pt x="857" y="469"/>
                  </a:lnTo>
                  <a:lnTo>
                    <a:pt x="857" y="471"/>
                  </a:lnTo>
                  <a:lnTo>
                    <a:pt x="855" y="473"/>
                  </a:lnTo>
                  <a:lnTo>
                    <a:pt x="857" y="473"/>
                  </a:lnTo>
                  <a:lnTo>
                    <a:pt x="857" y="475"/>
                  </a:lnTo>
                  <a:lnTo>
                    <a:pt x="855" y="475"/>
                  </a:lnTo>
                  <a:lnTo>
                    <a:pt x="855" y="473"/>
                  </a:lnTo>
                  <a:lnTo>
                    <a:pt x="855" y="475"/>
                  </a:lnTo>
                  <a:lnTo>
                    <a:pt x="855" y="473"/>
                  </a:lnTo>
                  <a:lnTo>
                    <a:pt x="853" y="473"/>
                  </a:lnTo>
                  <a:lnTo>
                    <a:pt x="853" y="475"/>
                  </a:lnTo>
                  <a:lnTo>
                    <a:pt x="853" y="473"/>
                  </a:lnTo>
                  <a:lnTo>
                    <a:pt x="853" y="475"/>
                  </a:lnTo>
                  <a:lnTo>
                    <a:pt x="853" y="477"/>
                  </a:lnTo>
                  <a:lnTo>
                    <a:pt x="855" y="477"/>
                  </a:lnTo>
                  <a:lnTo>
                    <a:pt x="853" y="477"/>
                  </a:lnTo>
                  <a:lnTo>
                    <a:pt x="853" y="478"/>
                  </a:lnTo>
                  <a:lnTo>
                    <a:pt x="853" y="480"/>
                  </a:lnTo>
                  <a:lnTo>
                    <a:pt x="853" y="482"/>
                  </a:lnTo>
                  <a:lnTo>
                    <a:pt x="853" y="480"/>
                  </a:lnTo>
                  <a:lnTo>
                    <a:pt x="851" y="482"/>
                  </a:lnTo>
                  <a:lnTo>
                    <a:pt x="851" y="484"/>
                  </a:lnTo>
                  <a:lnTo>
                    <a:pt x="851" y="486"/>
                  </a:lnTo>
                  <a:lnTo>
                    <a:pt x="851" y="484"/>
                  </a:lnTo>
                  <a:lnTo>
                    <a:pt x="851" y="486"/>
                  </a:lnTo>
                  <a:lnTo>
                    <a:pt x="851" y="488"/>
                  </a:lnTo>
                  <a:lnTo>
                    <a:pt x="851" y="490"/>
                  </a:lnTo>
                  <a:lnTo>
                    <a:pt x="851" y="492"/>
                  </a:lnTo>
                  <a:lnTo>
                    <a:pt x="849" y="492"/>
                  </a:lnTo>
                  <a:lnTo>
                    <a:pt x="849" y="494"/>
                  </a:lnTo>
                  <a:lnTo>
                    <a:pt x="851" y="494"/>
                  </a:lnTo>
                  <a:lnTo>
                    <a:pt x="851" y="496"/>
                  </a:lnTo>
                  <a:lnTo>
                    <a:pt x="849" y="496"/>
                  </a:lnTo>
                  <a:lnTo>
                    <a:pt x="849" y="494"/>
                  </a:lnTo>
                  <a:lnTo>
                    <a:pt x="847" y="494"/>
                  </a:lnTo>
                  <a:lnTo>
                    <a:pt x="847" y="492"/>
                  </a:lnTo>
                  <a:lnTo>
                    <a:pt x="847" y="490"/>
                  </a:lnTo>
                  <a:lnTo>
                    <a:pt x="847" y="492"/>
                  </a:lnTo>
                  <a:lnTo>
                    <a:pt x="847" y="494"/>
                  </a:lnTo>
                  <a:lnTo>
                    <a:pt x="849" y="494"/>
                  </a:lnTo>
                  <a:lnTo>
                    <a:pt x="849" y="496"/>
                  </a:lnTo>
                  <a:lnTo>
                    <a:pt x="849" y="498"/>
                  </a:lnTo>
                  <a:lnTo>
                    <a:pt x="847" y="498"/>
                  </a:lnTo>
                  <a:lnTo>
                    <a:pt x="847" y="500"/>
                  </a:lnTo>
                  <a:lnTo>
                    <a:pt x="845" y="500"/>
                  </a:lnTo>
                  <a:lnTo>
                    <a:pt x="845" y="501"/>
                  </a:lnTo>
                  <a:lnTo>
                    <a:pt x="843" y="501"/>
                  </a:lnTo>
                  <a:lnTo>
                    <a:pt x="843" y="503"/>
                  </a:lnTo>
                  <a:lnTo>
                    <a:pt x="843" y="505"/>
                  </a:lnTo>
                  <a:lnTo>
                    <a:pt x="843" y="507"/>
                  </a:lnTo>
                  <a:lnTo>
                    <a:pt x="845" y="507"/>
                  </a:lnTo>
                  <a:lnTo>
                    <a:pt x="843" y="507"/>
                  </a:lnTo>
                  <a:lnTo>
                    <a:pt x="845" y="507"/>
                  </a:lnTo>
                  <a:lnTo>
                    <a:pt x="845" y="509"/>
                  </a:lnTo>
                  <a:lnTo>
                    <a:pt x="845" y="507"/>
                  </a:lnTo>
                  <a:lnTo>
                    <a:pt x="845" y="509"/>
                  </a:lnTo>
                  <a:lnTo>
                    <a:pt x="845" y="507"/>
                  </a:lnTo>
                  <a:lnTo>
                    <a:pt x="847" y="507"/>
                  </a:lnTo>
                  <a:lnTo>
                    <a:pt x="847" y="509"/>
                  </a:lnTo>
                  <a:lnTo>
                    <a:pt x="845" y="509"/>
                  </a:lnTo>
                  <a:lnTo>
                    <a:pt x="845" y="511"/>
                  </a:lnTo>
                  <a:lnTo>
                    <a:pt x="845" y="513"/>
                  </a:lnTo>
                  <a:lnTo>
                    <a:pt x="845" y="511"/>
                  </a:lnTo>
                  <a:lnTo>
                    <a:pt x="843" y="513"/>
                  </a:lnTo>
                  <a:lnTo>
                    <a:pt x="845" y="513"/>
                  </a:lnTo>
                  <a:lnTo>
                    <a:pt x="843" y="513"/>
                  </a:lnTo>
                  <a:lnTo>
                    <a:pt x="843" y="515"/>
                  </a:lnTo>
                  <a:lnTo>
                    <a:pt x="845" y="515"/>
                  </a:lnTo>
                  <a:lnTo>
                    <a:pt x="843" y="515"/>
                  </a:lnTo>
                  <a:lnTo>
                    <a:pt x="843" y="513"/>
                  </a:lnTo>
                  <a:lnTo>
                    <a:pt x="841" y="513"/>
                  </a:lnTo>
                  <a:lnTo>
                    <a:pt x="841" y="511"/>
                  </a:lnTo>
                  <a:lnTo>
                    <a:pt x="841" y="509"/>
                  </a:lnTo>
                  <a:lnTo>
                    <a:pt x="841" y="511"/>
                  </a:lnTo>
                  <a:lnTo>
                    <a:pt x="841" y="509"/>
                  </a:lnTo>
                  <a:lnTo>
                    <a:pt x="839" y="509"/>
                  </a:lnTo>
                  <a:lnTo>
                    <a:pt x="839" y="511"/>
                  </a:lnTo>
                  <a:lnTo>
                    <a:pt x="839" y="509"/>
                  </a:lnTo>
                  <a:lnTo>
                    <a:pt x="839" y="511"/>
                  </a:lnTo>
                  <a:lnTo>
                    <a:pt x="841" y="511"/>
                  </a:lnTo>
                  <a:lnTo>
                    <a:pt x="841" y="513"/>
                  </a:lnTo>
                  <a:lnTo>
                    <a:pt x="843" y="515"/>
                  </a:lnTo>
                  <a:lnTo>
                    <a:pt x="843" y="517"/>
                  </a:lnTo>
                  <a:lnTo>
                    <a:pt x="841" y="517"/>
                  </a:lnTo>
                  <a:lnTo>
                    <a:pt x="841" y="515"/>
                  </a:lnTo>
                  <a:lnTo>
                    <a:pt x="841" y="517"/>
                  </a:lnTo>
                  <a:lnTo>
                    <a:pt x="841" y="519"/>
                  </a:lnTo>
                  <a:lnTo>
                    <a:pt x="839" y="519"/>
                  </a:lnTo>
                  <a:lnTo>
                    <a:pt x="841" y="519"/>
                  </a:lnTo>
                  <a:lnTo>
                    <a:pt x="839" y="517"/>
                  </a:lnTo>
                  <a:lnTo>
                    <a:pt x="839" y="519"/>
                  </a:lnTo>
                  <a:lnTo>
                    <a:pt x="837" y="519"/>
                  </a:lnTo>
                  <a:lnTo>
                    <a:pt x="839" y="521"/>
                  </a:lnTo>
                  <a:lnTo>
                    <a:pt x="837" y="521"/>
                  </a:lnTo>
                  <a:lnTo>
                    <a:pt x="839" y="521"/>
                  </a:lnTo>
                  <a:lnTo>
                    <a:pt x="837" y="521"/>
                  </a:lnTo>
                  <a:lnTo>
                    <a:pt x="837" y="523"/>
                  </a:lnTo>
                  <a:lnTo>
                    <a:pt x="837" y="521"/>
                  </a:lnTo>
                  <a:lnTo>
                    <a:pt x="837" y="523"/>
                  </a:lnTo>
                  <a:lnTo>
                    <a:pt x="836" y="523"/>
                  </a:lnTo>
                  <a:lnTo>
                    <a:pt x="836" y="521"/>
                  </a:lnTo>
                  <a:lnTo>
                    <a:pt x="837" y="519"/>
                  </a:lnTo>
                  <a:lnTo>
                    <a:pt x="836" y="519"/>
                  </a:lnTo>
                  <a:lnTo>
                    <a:pt x="836" y="521"/>
                  </a:lnTo>
                  <a:lnTo>
                    <a:pt x="836" y="519"/>
                  </a:lnTo>
                  <a:lnTo>
                    <a:pt x="836" y="521"/>
                  </a:lnTo>
                  <a:lnTo>
                    <a:pt x="836" y="519"/>
                  </a:lnTo>
                  <a:lnTo>
                    <a:pt x="836" y="517"/>
                  </a:lnTo>
                  <a:lnTo>
                    <a:pt x="836" y="519"/>
                  </a:lnTo>
                  <a:lnTo>
                    <a:pt x="834" y="519"/>
                  </a:lnTo>
                  <a:lnTo>
                    <a:pt x="834" y="521"/>
                  </a:lnTo>
                  <a:lnTo>
                    <a:pt x="834" y="523"/>
                  </a:lnTo>
                  <a:lnTo>
                    <a:pt x="832" y="523"/>
                  </a:lnTo>
                  <a:lnTo>
                    <a:pt x="834" y="523"/>
                  </a:lnTo>
                  <a:lnTo>
                    <a:pt x="834" y="521"/>
                  </a:lnTo>
                  <a:lnTo>
                    <a:pt x="834" y="519"/>
                  </a:lnTo>
                  <a:lnTo>
                    <a:pt x="834" y="521"/>
                  </a:lnTo>
                  <a:lnTo>
                    <a:pt x="832" y="521"/>
                  </a:lnTo>
                  <a:lnTo>
                    <a:pt x="832" y="523"/>
                  </a:lnTo>
                  <a:lnTo>
                    <a:pt x="832" y="521"/>
                  </a:lnTo>
                  <a:lnTo>
                    <a:pt x="830" y="521"/>
                  </a:lnTo>
                  <a:lnTo>
                    <a:pt x="830" y="519"/>
                  </a:lnTo>
                  <a:lnTo>
                    <a:pt x="832" y="519"/>
                  </a:lnTo>
                  <a:lnTo>
                    <a:pt x="832" y="517"/>
                  </a:lnTo>
                  <a:lnTo>
                    <a:pt x="830" y="517"/>
                  </a:lnTo>
                  <a:lnTo>
                    <a:pt x="828" y="517"/>
                  </a:lnTo>
                  <a:lnTo>
                    <a:pt x="830" y="517"/>
                  </a:lnTo>
                  <a:lnTo>
                    <a:pt x="828" y="519"/>
                  </a:lnTo>
                  <a:lnTo>
                    <a:pt x="830" y="519"/>
                  </a:lnTo>
                  <a:lnTo>
                    <a:pt x="830" y="521"/>
                  </a:lnTo>
                  <a:lnTo>
                    <a:pt x="832" y="521"/>
                  </a:lnTo>
                  <a:lnTo>
                    <a:pt x="832" y="523"/>
                  </a:lnTo>
                  <a:lnTo>
                    <a:pt x="832" y="525"/>
                  </a:lnTo>
                  <a:lnTo>
                    <a:pt x="832" y="523"/>
                  </a:lnTo>
                  <a:lnTo>
                    <a:pt x="832" y="525"/>
                  </a:lnTo>
                  <a:lnTo>
                    <a:pt x="830" y="525"/>
                  </a:lnTo>
                  <a:lnTo>
                    <a:pt x="830" y="526"/>
                  </a:lnTo>
                  <a:lnTo>
                    <a:pt x="830" y="525"/>
                  </a:lnTo>
                  <a:lnTo>
                    <a:pt x="828" y="525"/>
                  </a:lnTo>
                  <a:lnTo>
                    <a:pt x="828" y="526"/>
                  </a:lnTo>
                  <a:lnTo>
                    <a:pt x="826" y="526"/>
                  </a:lnTo>
                  <a:lnTo>
                    <a:pt x="826" y="525"/>
                  </a:lnTo>
                  <a:lnTo>
                    <a:pt x="826" y="526"/>
                  </a:lnTo>
                  <a:lnTo>
                    <a:pt x="824" y="526"/>
                  </a:lnTo>
                  <a:lnTo>
                    <a:pt x="824" y="528"/>
                  </a:lnTo>
                  <a:lnTo>
                    <a:pt x="822" y="530"/>
                  </a:lnTo>
                  <a:lnTo>
                    <a:pt x="820" y="530"/>
                  </a:lnTo>
                  <a:lnTo>
                    <a:pt x="820" y="528"/>
                  </a:lnTo>
                  <a:lnTo>
                    <a:pt x="820" y="530"/>
                  </a:lnTo>
                  <a:lnTo>
                    <a:pt x="818" y="530"/>
                  </a:lnTo>
                  <a:lnTo>
                    <a:pt x="818" y="532"/>
                  </a:lnTo>
                  <a:lnTo>
                    <a:pt x="818" y="530"/>
                  </a:lnTo>
                  <a:lnTo>
                    <a:pt x="818" y="532"/>
                  </a:lnTo>
                  <a:lnTo>
                    <a:pt x="816" y="530"/>
                  </a:lnTo>
                  <a:lnTo>
                    <a:pt x="816" y="532"/>
                  </a:lnTo>
                  <a:lnTo>
                    <a:pt x="816" y="530"/>
                  </a:lnTo>
                  <a:lnTo>
                    <a:pt x="814" y="532"/>
                  </a:lnTo>
                  <a:lnTo>
                    <a:pt x="816" y="532"/>
                  </a:lnTo>
                  <a:lnTo>
                    <a:pt x="816" y="534"/>
                  </a:lnTo>
                  <a:lnTo>
                    <a:pt x="814" y="534"/>
                  </a:lnTo>
                  <a:lnTo>
                    <a:pt x="816" y="534"/>
                  </a:lnTo>
                  <a:lnTo>
                    <a:pt x="814" y="534"/>
                  </a:lnTo>
                  <a:lnTo>
                    <a:pt x="814" y="532"/>
                  </a:lnTo>
                  <a:lnTo>
                    <a:pt x="814" y="530"/>
                  </a:lnTo>
                  <a:lnTo>
                    <a:pt x="814" y="532"/>
                  </a:lnTo>
                  <a:lnTo>
                    <a:pt x="814" y="534"/>
                  </a:lnTo>
                  <a:lnTo>
                    <a:pt x="813" y="534"/>
                  </a:lnTo>
                  <a:lnTo>
                    <a:pt x="813" y="536"/>
                  </a:lnTo>
                  <a:lnTo>
                    <a:pt x="813" y="534"/>
                  </a:lnTo>
                  <a:lnTo>
                    <a:pt x="813" y="532"/>
                  </a:lnTo>
                  <a:lnTo>
                    <a:pt x="814" y="532"/>
                  </a:lnTo>
                  <a:lnTo>
                    <a:pt x="814" y="530"/>
                  </a:lnTo>
                  <a:lnTo>
                    <a:pt x="813" y="530"/>
                  </a:lnTo>
                  <a:lnTo>
                    <a:pt x="814" y="528"/>
                  </a:lnTo>
                  <a:lnTo>
                    <a:pt x="813" y="528"/>
                  </a:lnTo>
                  <a:lnTo>
                    <a:pt x="813" y="530"/>
                  </a:lnTo>
                  <a:lnTo>
                    <a:pt x="813" y="528"/>
                  </a:lnTo>
                  <a:lnTo>
                    <a:pt x="813" y="530"/>
                  </a:lnTo>
                  <a:lnTo>
                    <a:pt x="811" y="530"/>
                  </a:lnTo>
                  <a:lnTo>
                    <a:pt x="813" y="530"/>
                  </a:lnTo>
                  <a:lnTo>
                    <a:pt x="813" y="532"/>
                  </a:lnTo>
                  <a:lnTo>
                    <a:pt x="813" y="530"/>
                  </a:lnTo>
                  <a:lnTo>
                    <a:pt x="814" y="530"/>
                  </a:lnTo>
                  <a:lnTo>
                    <a:pt x="814" y="532"/>
                  </a:lnTo>
                  <a:lnTo>
                    <a:pt x="813" y="532"/>
                  </a:lnTo>
                  <a:lnTo>
                    <a:pt x="813" y="534"/>
                  </a:lnTo>
                  <a:lnTo>
                    <a:pt x="813" y="536"/>
                  </a:lnTo>
                  <a:lnTo>
                    <a:pt x="811" y="536"/>
                  </a:lnTo>
                  <a:lnTo>
                    <a:pt x="811" y="538"/>
                  </a:lnTo>
                  <a:lnTo>
                    <a:pt x="811" y="536"/>
                  </a:lnTo>
                  <a:lnTo>
                    <a:pt x="809" y="536"/>
                  </a:lnTo>
                  <a:lnTo>
                    <a:pt x="811" y="536"/>
                  </a:lnTo>
                  <a:lnTo>
                    <a:pt x="809" y="536"/>
                  </a:lnTo>
                  <a:lnTo>
                    <a:pt x="809" y="534"/>
                  </a:lnTo>
                  <a:lnTo>
                    <a:pt x="811" y="534"/>
                  </a:lnTo>
                  <a:lnTo>
                    <a:pt x="809" y="534"/>
                  </a:lnTo>
                  <a:lnTo>
                    <a:pt x="809" y="536"/>
                  </a:lnTo>
                  <a:lnTo>
                    <a:pt x="807" y="536"/>
                  </a:lnTo>
                  <a:lnTo>
                    <a:pt x="805" y="536"/>
                  </a:lnTo>
                  <a:lnTo>
                    <a:pt x="807" y="536"/>
                  </a:lnTo>
                  <a:lnTo>
                    <a:pt x="809" y="536"/>
                  </a:lnTo>
                  <a:lnTo>
                    <a:pt x="809" y="538"/>
                  </a:lnTo>
                  <a:lnTo>
                    <a:pt x="807" y="538"/>
                  </a:lnTo>
                  <a:lnTo>
                    <a:pt x="805" y="538"/>
                  </a:lnTo>
                  <a:lnTo>
                    <a:pt x="805" y="536"/>
                  </a:lnTo>
                  <a:lnTo>
                    <a:pt x="803" y="536"/>
                  </a:lnTo>
                  <a:lnTo>
                    <a:pt x="801" y="536"/>
                  </a:lnTo>
                  <a:lnTo>
                    <a:pt x="799" y="536"/>
                  </a:lnTo>
                  <a:lnTo>
                    <a:pt x="797" y="536"/>
                  </a:lnTo>
                  <a:lnTo>
                    <a:pt x="795" y="536"/>
                  </a:lnTo>
                  <a:lnTo>
                    <a:pt x="795" y="534"/>
                  </a:lnTo>
                  <a:lnTo>
                    <a:pt x="795" y="532"/>
                  </a:lnTo>
                  <a:lnTo>
                    <a:pt x="793" y="532"/>
                  </a:lnTo>
                  <a:lnTo>
                    <a:pt x="793" y="534"/>
                  </a:lnTo>
                  <a:lnTo>
                    <a:pt x="795" y="536"/>
                  </a:lnTo>
                  <a:lnTo>
                    <a:pt x="793" y="536"/>
                  </a:lnTo>
                  <a:lnTo>
                    <a:pt x="795" y="536"/>
                  </a:lnTo>
                  <a:lnTo>
                    <a:pt x="797" y="538"/>
                  </a:lnTo>
                  <a:lnTo>
                    <a:pt x="799" y="538"/>
                  </a:lnTo>
                  <a:lnTo>
                    <a:pt x="801" y="538"/>
                  </a:lnTo>
                  <a:lnTo>
                    <a:pt x="801" y="536"/>
                  </a:lnTo>
                  <a:lnTo>
                    <a:pt x="803" y="536"/>
                  </a:lnTo>
                  <a:lnTo>
                    <a:pt x="803" y="538"/>
                  </a:lnTo>
                  <a:lnTo>
                    <a:pt x="805" y="538"/>
                  </a:lnTo>
                  <a:lnTo>
                    <a:pt x="807" y="540"/>
                  </a:lnTo>
                  <a:lnTo>
                    <a:pt x="805" y="540"/>
                  </a:lnTo>
                  <a:lnTo>
                    <a:pt x="805" y="542"/>
                  </a:lnTo>
                  <a:lnTo>
                    <a:pt x="805" y="540"/>
                  </a:lnTo>
                  <a:lnTo>
                    <a:pt x="805" y="542"/>
                  </a:lnTo>
                  <a:lnTo>
                    <a:pt x="803" y="542"/>
                  </a:lnTo>
                  <a:lnTo>
                    <a:pt x="801" y="542"/>
                  </a:lnTo>
                  <a:lnTo>
                    <a:pt x="803" y="542"/>
                  </a:lnTo>
                  <a:lnTo>
                    <a:pt x="803" y="544"/>
                  </a:lnTo>
                  <a:lnTo>
                    <a:pt x="803" y="542"/>
                  </a:lnTo>
                  <a:lnTo>
                    <a:pt x="801" y="542"/>
                  </a:lnTo>
                  <a:lnTo>
                    <a:pt x="801" y="544"/>
                  </a:lnTo>
                  <a:lnTo>
                    <a:pt x="801" y="542"/>
                  </a:lnTo>
                  <a:lnTo>
                    <a:pt x="799" y="542"/>
                  </a:lnTo>
                  <a:lnTo>
                    <a:pt x="799" y="544"/>
                  </a:lnTo>
                  <a:lnTo>
                    <a:pt x="797" y="544"/>
                  </a:lnTo>
                  <a:lnTo>
                    <a:pt x="797" y="546"/>
                  </a:lnTo>
                  <a:lnTo>
                    <a:pt x="795" y="546"/>
                  </a:lnTo>
                  <a:lnTo>
                    <a:pt x="797" y="546"/>
                  </a:lnTo>
                  <a:lnTo>
                    <a:pt x="795" y="548"/>
                  </a:lnTo>
                  <a:lnTo>
                    <a:pt x="793" y="548"/>
                  </a:lnTo>
                  <a:lnTo>
                    <a:pt x="793" y="549"/>
                  </a:lnTo>
                  <a:lnTo>
                    <a:pt x="791" y="549"/>
                  </a:lnTo>
                  <a:lnTo>
                    <a:pt x="791" y="551"/>
                  </a:lnTo>
                  <a:lnTo>
                    <a:pt x="789" y="551"/>
                  </a:lnTo>
                  <a:lnTo>
                    <a:pt x="789" y="553"/>
                  </a:lnTo>
                  <a:lnTo>
                    <a:pt x="788" y="555"/>
                  </a:lnTo>
                  <a:lnTo>
                    <a:pt x="786" y="557"/>
                  </a:lnTo>
                  <a:lnTo>
                    <a:pt x="786" y="559"/>
                  </a:lnTo>
                  <a:lnTo>
                    <a:pt x="784" y="559"/>
                  </a:lnTo>
                  <a:lnTo>
                    <a:pt x="782" y="557"/>
                  </a:lnTo>
                  <a:lnTo>
                    <a:pt x="782" y="559"/>
                  </a:lnTo>
                  <a:lnTo>
                    <a:pt x="782" y="557"/>
                  </a:lnTo>
                  <a:lnTo>
                    <a:pt x="780" y="555"/>
                  </a:lnTo>
                  <a:lnTo>
                    <a:pt x="780" y="553"/>
                  </a:lnTo>
                  <a:lnTo>
                    <a:pt x="778" y="553"/>
                  </a:lnTo>
                  <a:lnTo>
                    <a:pt x="776" y="553"/>
                  </a:lnTo>
                  <a:lnTo>
                    <a:pt x="778" y="553"/>
                  </a:lnTo>
                  <a:lnTo>
                    <a:pt x="776" y="553"/>
                  </a:lnTo>
                  <a:lnTo>
                    <a:pt x="778" y="553"/>
                  </a:lnTo>
                  <a:lnTo>
                    <a:pt x="776" y="553"/>
                  </a:lnTo>
                  <a:lnTo>
                    <a:pt x="774" y="553"/>
                  </a:lnTo>
                  <a:lnTo>
                    <a:pt x="774" y="555"/>
                  </a:lnTo>
                  <a:lnTo>
                    <a:pt x="774" y="553"/>
                  </a:lnTo>
                  <a:lnTo>
                    <a:pt x="772" y="553"/>
                  </a:lnTo>
                  <a:lnTo>
                    <a:pt x="772" y="555"/>
                  </a:lnTo>
                  <a:lnTo>
                    <a:pt x="770" y="555"/>
                  </a:lnTo>
                  <a:lnTo>
                    <a:pt x="770" y="557"/>
                  </a:lnTo>
                  <a:lnTo>
                    <a:pt x="770" y="555"/>
                  </a:lnTo>
                  <a:lnTo>
                    <a:pt x="768" y="555"/>
                  </a:lnTo>
                  <a:lnTo>
                    <a:pt x="768" y="557"/>
                  </a:lnTo>
                  <a:lnTo>
                    <a:pt x="766" y="557"/>
                  </a:lnTo>
                  <a:lnTo>
                    <a:pt x="768" y="557"/>
                  </a:lnTo>
                  <a:lnTo>
                    <a:pt x="766" y="557"/>
                  </a:lnTo>
                  <a:lnTo>
                    <a:pt x="766" y="555"/>
                  </a:lnTo>
                  <a:lnTo>
                    <a:pt x="766" y="557"/>
                  </a:lnTo>
                  <a:lnTo>
                    <a:pt x="768" y="557"/>
                  </a:lnTo>
                  <a:lnTo>
                    <a:pt x="766" y="557"/>
                  </a:lnTo>
                  <a:lnTo>
                    <a:pt x="765" y="557"/>
                  </a:lnTo>
                  <a:lnTo>
                    <a:pt x="765" y="559"/>
                  </a:lnTo>
                  <a:lnTo>
                    <a:pt x="763" y="559"/>
                  </a:lnTo>
                  <a:lnTo>
                    <a:pt x="761" y="559"/>
                  </a:lnTo>
                  <a:lnTo>
                    <a:pt x="759" y="559"/>
                  </a:lnTo>
                  <a:lnTo>
                    <a:pt x="757" y="557"/>
                  </a:lnTo>
                  <a:lnTo>
                    <a:pt x="757" y="559"/>
                  </a:lnTo>
                  <a:lnTo>
                    <a:pt x="757" y="557"/>
                  </a:lnTo>
                  <a:lnTo>
                    <a:pt x="757" y="559"/>
                  </a:lnTo>
                  <a:lnTo>
                    <a:pt x="757" y="561"/>
                  </a:lnTo>
                  <a:lnTo>
                    <a:pt x="755" y="559"/>
                  </a:lnTo>
                  <a:lnTo>
                    <a:pt x="755" y="561"/>
                  </a:lnTo>
                  <a:lnTo>
                    <a:pt x="755" y="563"/>
                  </a:lnTo>
                  <a:lnTo>
                    <a:pt x="753" y="563"/>
                  </a:lnTo>
                  <a:lnTo>
                    <a:pt x="753" y="561"/>
                  </a:lnTo>
                  <a:lnTo>
                    <a:pt x="753" y="563"/>
                  </a:lnTo>
                  <a:lnTo>
                    <a:pt x="751" y="563"/>
                  </a:lnTo>
                  <a:lnTo>
                    <a:pt x="751" y="561"/>
                  </a:lnTo>
                  <a:lnTo>
                    <a:pt x="751" y="563"/>
                  </a:lnTo>
                  <a:lnTo>
                    <a:pt x="751" y="561"/>
                  </a:lnTo>
                  <a:lnTo>
                    <a:pt x="751" y="563"/>
                  </a:lnTo>
                  <a:lnTo>
                    <a:pt x="749" y="563"/>
                  </a:lnTo>
                  <a:lnTo>
                    <a:pt x="749" y="565"/>
                  </a:lnTo>
                  <a:lnTo>
                    <a:pt x="747" y="563"/>
                  </a:lnTo>
                  <a:lnTo>
                    <a:pt x="747" y="565"/>
                  </a:lnTo>
                  <a:lnTo>
                    <a:pt x="745" y="565"/>
                  </a:lnTo>
                  <a:lnTo>
                    <a:pt x="743" y="565"/>
                  </a:lnTo>
                  <a:lnTo>
                    <a:pt x="743" y="567"/>
                  </a:lnTo>
                  <a:lnTo>
                    <a:pt x="743" y="565"/>
                  </a:lnTo>
                  <a:lnTo>
                    <a:pt x="743" y="563"/>
                  </a:lnTo>
                  <a:lnTo>
                    <a:pt x="743" y="565"/>
                  </a:lnTo>
                  <a:lnTo>
                    <a:pt x="741" y="565"/>
                  </a:lnTo>
                  <a:lnTo>
                    <a:pt x="741" y="567"/>
                  </a:lnTo>
                  <a:lnTo>
                    <a:pt x="741" y="565"/>
                  </a:lnTo>
                  <a:lnTo>
                    <a:pt x="740" y="565"/>
                  </a:lnTo>
                  <a:lnTo>
                    <a:pt x="741" y="565"/>
                  </a:lnTo>
                  <a:lnTo>
                    <a:pt x="740" y="565"/>
                  </a:lnTo>
                  <a:lnTo>
                    <a:pt x="741" y="565"/>
                  </a:lnTo>
                  <a:lnTo>
                    <a:pt x="741" y="567"/>
                  </a:lnTo>
                  <a:lnTo>
                    <a:pt x="740" y="567"/>
                  </a:lnTo>
                  <a:lnTo>
                    <a:pt x="741" y="567"/>
                  </a:lnTo>
                  <a:lnTo>
                    <a:pt x="740" y="567"/>
                  </a:lnTo>
                  <a:lnTo>
                    <a:pt x="740" y="569"/>
                  </a:lnTo>
                  <a:lnTo>
                    <a:pt x="740" y="567"/>
                  </a:lnTo>
                  <a:lnTo>
                    <a:pt x="740" y="569"/>
                  </a:lnTo>
                  <a:lnTo>
                    <a:pt x="738" y="569"/>
                  </a:lnTo>
                  <a:lnTo>
                    <a:pt x="738" y="567"/>
                  </a:lnTo>
                  <a:lnTo>
                    <a:pt x="738" y="569"/>
                  </a:lnTo>
                  <a:lnTo>
                    <a:pt x="736" y="569"/>
                  </a:lnTo>
                  <a:lnTo>
                    <a:pt x="734" y="569"/>
                  </a:lnTo>
                  <a:lnTo>
                    <a:pt x="734" y="571"/>
                  </a:lnTo>
                  <a:lnTo>
                    <a:pt x="734" y="569"/>
                  </a:lnTo>
                  <a:lnTo>
                    <a:pt x="732" y="569"/>
                  </a:lnTo>
                  <a:lnTo>
                    <a:pt x="732" y="571"/>
                  </a:lnTo>
                  <a:lnTo>
                    <a:pt x="730" y="573"/>
                  </a:lnTo>
                  <a:lnTo>
                    <a:pt x="728" y="573"/>
                  </a:lnTo>
                  <a:lnTo>
                    <a:pt x="728" y="574"/>
                  </a:lnTo>
                  <a:lnTo>
                    <a:pt x="730" y="574"/>
                  </a:lnTo>
                  <a:lnTo>
                    <a:pt x="728" y="574"/>
                  </a:lnTo>
                  <a:lnTo>
                    <a:pt x="728" y="576"/>
                  </a:lnTo>
                  <a:lnTo>
                    <a:pt x="726" y="576"/>
                  </a:lnTo>
                  <a:lnTo>
                    <a:pt x="728" y="576"/>
                  </a:lnTo>
                  <a:lnTo>
                    <a:pt x="726" y="578"/>
                  </a:lnTo>
                  <a:lnTo>
                    <a:pt x="726" y="576"/>
                  </a:lnTo>
                  <a:lnTo>
                    <a:pt x="726" y="578"/>
                  </a:lnTo>
                  <a:lnTo>
                    <a:pt x="724" y="578"/>
                  </a:lnTo>
                  <a:lnTo>
                    <a:pt x="722" y="578"/>
                  </a:lnTo>
                  <a:lnTo>
                    <a:pt x="722" y="580"/>
                  </a:lnTo>
                  <a:lnTo>
                    <a:pt x="722" y="582"/>
                  </a:lnTo>
                  <a:lnTo>
                    <a:pt x="720" y="582"/>
                  </a:lnTo>
                  <a:lnTo>
                    <a:pt x="718" y="582"/>
                  </a:lnTo>
                  <a:lnTo>
                    <a:pt x="718" y="580"/>
                  </a:lnTo>
                  <a:lnTo>
                    <a:pt x="716" y="580"/>
                  </a:lnTo>
                  <a:lnTo>
                    <a:pt x="715" y="580"/>
                  </a:lnTo>
                  <a:lnTo>
                    <a:pt x="715" y="582"/>
                  </a:lnTo>
                  <a:lnTo>
                    <a:pt x="713" y="582"/>
                  </a:lnTo>
                  <a:lnTo>
                    <a:pt x="713" y="584"/>
                  </a:lnTo>
                  <a:lnTo>
                    <a:pt x="713" y="582"/>
                  </a:lnTo>
                  <a:lnTo>
                    <a:pt x="711" y="582"/>
                  </a:lnTo>
                  <a:lnTo>
                    <a:pt x="711" y="584"/>
                  </a:lnTo>
                  <a:lnTo>
                    <a:pt x="709" y="584"/>
                  </a:lnTo>
                  <a:lnTo>
                    <a:pt x="709" y="582"/>
                  </a:lnTo>
                  <a:lnTo>
                    <a:pt x="707" y="582"/>
                  </a:lnTo>
                  <a:lnTo>
                    <a:pt x="705" y="582"/>
                  </a:lnTo>
                  <a:lnTo>
                    <a:pt x="705" y="584"/>
                  </a:lnTo>
                  <a:lnTo>
                    <a:pt x="703" y="584"/>
                  </a:lnTo>
                  <a:lnTo>
                    <a:pt x="701" y="584"/>
                  </a:lnTo>
                  <a:lnTo>
                    <a:pt x="699" y="584"/>
                  </a:lnTo>
                  <a:lnTo>
                    <a:pt x="699" y="586"/>
                  </a:lnTo>
                  <a:lnTo>
                    <a:pt x="697" y="586"/>
                  </a:lnTo>
                  <a:lnTo>
                    <a:pt x="695" y="586"/>
                  </a:lnTo>
                  <a:lnTo>
                    <a:pt x="697" y="584"/>
                  </a:lnTo>
                  <a:lnTo>
                    <a:pt x="695" y="586"/>
                  </a:lnTo>
                  <a:lnTo>
                    <a:pt x="697" y="586"/>
                  </a:lnTo>
                  <a:lnTo>
                    <a:pt x="697" y="588"/>
                  </a:lnTo>
                  <a:lnTo>
                    <a:pt x="695" y="588"/>
                  </a:lnTo>
                  <a:lnTo>
                    <a:pt x="697" y="588"/>
                  </a:lnTo>
                  <a:lnTo>
                    <a:pt x="695" y="588"/>
                  </a:lnTo>
                  <a:lnTo>
                    <a:pt x="693" y="588"/>
                  </a:lnTo>
                  <a:lnTo>
                    <a:pt x="693" y="590"/>
                  </a:lnTo>
                  <a:lnTo>
                    <a:pt x="693" y="592"/>
                  </a:lnTo>
                  <a:lnTo>
                    <a:pt x="692" y="592"/>
                  </a:lnTo>
                  <a:lnTo>
                    <a:pt x="690" y="592"/>
                  </a:lnTo>
                  <a:lnTo>
                    <a:pt x="688" y="592"/>
                  </a:lnTo>
                  <a:lnTo>
                    <a:pt x="686" y="592"/>
                  </a:lnTo>
                  <a:lnTo>
                    <a:pt x="684" y="592"/>
                  </a:lnTo>
                  <a:lnTo>
                    <a:pt x="682" y="592"/>
                  </a:lnTo>
                  <a:lnTo>
                    <a:pt x="680" y="592"/>
                  </a:lnTo>
                  <a:lnTo>
                    <a:pt x="680" y="594"/>
                  </a:lnTo>
                  <a:lnTo>
                    <a:pt x="678" y="594"/>
                  </a:lnTo>
                  <a:lnTo>
                    <a:pt x="678" y="596"/>
                  </a:lnTo>
                  <a:lnTo>
                    <a:pt x="676" y="596"/>
                  </a:lnTo>
                  <a:lnTo>
                    <a:pt x="676" y="597"/>
                  </a:lnTo>
                  <a:lnTo>
                    <a:pt x="674" y="597"/>
                  </a:lnTo>
                  <a:lnTo>
                    <a:pt x="674" y="599"/>
                  </a:lnTo>
                  <a:lnTo>
                    <a:pt x="672" y="599"/>
                  </a:lnTo>
                  <a:lnTo>
                    <a:pt x="670" y="599"/>
                  </a:lnTo>
                  <a:lnTo>
                    <a:pt x="670" y="601"/>
                  </a:lnTo>
                  <a:lnTo>
                    <a:pt x="668" y="601"/>
                  </a:lnTo>
                  <a:lnTo>
                    <a:pt x="667" y="601"/>
                  </a:lnTo>
                  <a:lnTo>
                    <a:pt x="668" y="601"/>
                  </a:lnTo>
                  <a:lnTo>
                    <a:pt x="667" y="601"/>
                  </a:lnTo>
                  <a:lnTo>
                    <a:pt x="668" y="601"/>
                  </a:lnTo>
                  <a:lnTo>
                    <a:pt x="667" y="601"/>
                  </a:lnTo>
                  <a:lnTo>
                    <a:pt x="667" y="603"/>
                  </a:lnTo>
                  <a:lnTo>
                    <a:pt x="667" y="601"/>
                  </a:lnTo>
                  <a:lnTo>
                    <a:pt x="667" y="603"/>
                  </a:lnTo>
                  <a:lnTo>
                    <a:pt x="665" y="603"/>
                  </a:lnTo>
                  <a:lnTo>
                    <a:pt x="667" y="603"/>
                  </a:lnTo>
                  <a:lnTo>
                    <a:pt x="665" y="603"/>
                  </a:lnTo>
                  <a:lnTo>
                    <a:pt x="663" y="603"/>
                  </a:lnTo>
                  <a:lnTo>
                    <a:pt x="663" y="605"/>
                  </a:lnTo>
                  <a:lnTo>
                    <a:pt x="661" y="605"/>
                  </a:lnTo>
                  <a:lnTo>
                    <a:pt x="661" y="603"/>
                  </a:lnTo>
                  <a:lnTo>
                    <a:pt x="661" y="605"/>
                  </a:lnTo>
                  <a:lnTo>
                    <a:pt x="661" y="603"/>
                  </a:lnTo>
                  <a:lnTo>
                    <a:pt x="661" y="605"/>
                  </a:lnTo>
                  <a:lnTo>
                    <a:pt x="661" y="603"/>
                  </a:lnTo>
                  <a:lnTo>
                    <a:pt x="661" y="605"/>
                  </a:lnTo>
                  <a:lnTo>
                    <a:pt x="661" y="603"/>
                  </a:lnTo>
                  <a:lnTo>
                    <a:pt x="661" y="605"/>
                  </a:lnTo>
                  <a:lnTo>
                    <a:pt x="661" y="603"/>
                  </a:lnTo>
                  <a:lnTo>
                    <a:pt x="661" y="605"/>
                  </a:lnTo>
                  <a:lnTo>
                    <a:pt x="661" y="603"/>
                  </a:lnTo>
                  <a:lnTo>
                    <a:pt x="659" y="603"/>
                  </a:lnTo>
                  <a:lnTo>
                    <a:pt x="659" y="605"/>
                  </a:lnTo>
                  <a:lnTo>
                    <a:pt x="657" y="605"/>
                  </a:lnTo>
                  <a:lnTo>
                    <a:pt x="655" y="605"/>
                  </a:lnTo>
                  <a:lnTo>
                    <a:pt x="655" y="607"/>
                  </a:lnTo>
                  <a:lnTo>
                    <a:pt x="653" y="607"/>
                  </a:lnTo>
                  <a:lnTo>
                    <a:pt x="651" y="607"/>
                  </a:lnTo>
                  <a:lnTo>
                    <a:pt x="649" y="607"/>
                  </a:lnTo>
                  <a:lnTo>
                    <a:pt x="649" y="609"/>
                  </a:lnTo>
                  <a:lnTo>
                    <a:pt x="647" y="609"/>
                  </a:lnTo>
                  <a:lnTo>
                    <a:pt x="645" y="609"/>
                  </a:lnTo>
                  <a:lnTo>
                    <a:pt x="645" y="611"/>
                  </a:lnTo>
                  <a:lnTo>
                    <a:pt x="644" y="611"/>
                  </a:lnTo>
                  <a:lnTo>
                    <a:pt x="642" y="611"/>
                  </a:lnTo>
                  <a:lnTo>
                    <a:pt x="642" y="613"/>
                  </a:lnTo>
                  <a:lnTo>
                    <a:pt x="642" y="611"/>
                  </a:lnTo>
                  <a:lnTo>
                    <a:pt x="642" y="613"/>
                  </a:lnTo>
                  <a:lnTo>
                    <a:pt x="640" y="613"/>
                  </a:lnTo>
                  <a:lnTo>
                    <a:pt x="640" y="615"/>
                  </a:lnTo>
                  <a:lnTo>
                    <a:pt x="638" y="615"/>
                  </a:lnTo>
                  <a:lnTo>
                    <a:pt x="640" y="615"/>
                  </a:lnTo>
                  <a:lnTo>
                    <a:pt x="638" y="615"/>
                  </a:lnTo>
                  <a:lnTo>
                    <a:pt x="638" y="617"/>
                  </a:lnTo>
                  <a:lnTo>
                    <a:pt x="638" y="615"/>
                  </a:lnTo>
                  <a:lnTo>
                    <a:pt x="638" y="617"/>
                  </a:lnTo>
                  <a:lnTo>
                    <a:pt x="636" y="617"/>
                  </a:lnTo>
                  <a:lnTo>
                    <a:pt x="634" y="617"/>
                  </a:lnTo>
                  <a:lnTo>
                    <a:pt x="634" y="619"/>
                  </a:lnTo>
                  <a:lnTo>
                    <a:pt x="632" y="619"/>
                  </a:lnTo>
                  <a:lnTo>
                    <a:pt x="632" y="617"/>
                  </a:lnTo>
                  <a:lnTo>
                    <a:pt x="632" y="619"/>
                  </a:lnTo>
                  <a:lnTo>
                    <a:pt x="632" y="617"/>
                  </a:lnTo>
                  <a:lnTo>
                    <a:pt x="632" y="619"/>
                  </a:lnTo>
                  <a:lnTo>
                    <a:pt x="630" y="619"/>
                  </a:lnTo>
                  <a:lnTo>
                    <a:pt x="628" y="619"/>
                  </a:lnTo>
                  <a:lnTo>
                    <a:pt x="626" y="619"/>
                  </a:lnTo>
                  <a:lnTo>
                    <a:pt x="624" y="619"/>
                  </a:lnTo>
                  <a:lnTo>
                    <a:pt x="624" y="621"/>
                  </a:lnTo>
                  <a:lnTo>
                    <a:pt x="624" y="622"/>
                  </a:lnTo>
                  <a:lnTo>
                    <a:pt x="624" y="624"/>
                  </a:lnTo>
                  <a:lnTo>
                    <a:pt x="624" y="626"/>
                  </a:lnTo>
                  <a:lnTo>
                    <a:pt x="622" y="626"/>
                  </a:lnTo>
                  <a:lnTo>
                    <a:pt x="622" y="628"/>
                  </a:lnTo>
                  <a:lnTo>
                    <a:pt x="620" y="628"/>
                  </a:lnTo>
                  <a:lnTo>
                    <a:pt x="619" y="628"/>
                  </a:lnTo>
                  <a:lnTo>
                    <a:pt x="617" y="628"/>
                  </a:lnTo>
                  <a:lnTo>
                    <a:pt x="619" y="628"/>
                  </a:lnTo>
                  <a:lnTo>
                    <a:pt x="617" y="628"/>
                  </a:lnTo>
                  <a:lnTo>
                    <a:pt x="615" y="628"/>
                  </a:lnTo>
                  <a:lnTo>
                    <a:pt x="615" y="630"/>
                  </a:lnTo>
                  <a:lnTo>
                    <a:pt x="613" y="630"/>
                  </a:lnTo>
                  <a:lnTo>
                    <a:pt x="613" y="632"/>
                  </a:lnTo>
                  <a:lnTo>
                    <a:pt x="613" y="630"/>
                  </a:lnTo>
                  <a:lnTo>
                    <a:pt x="611" y="630"/>
                  </a:lnTo>
                  <a:lnTo>
                    <a:pt x="611" y="628"/>
                  </a:lnTo>
                  <a:lnTo>
                    <a:pt x="609" y="628"/>
                  </a:lnTo>
                  <a:lnTo>
                    <a:pt x="607" y="628"/>
                  </a:lnTo>
                  <a:lnTo>
                    <a:pt x="607" y="630"/>
                  </a:lnTo>
                  <a:lnTo>
                    <a:pt x="605" y="630"/>
                  </a:lnTo>
                  <a:lnTo>
                    <a:pt x="605" y="632"/>
                  </a:lnTo>
                  <a:lnTo>
                    <a:pt x="607" y="632"/>
                  </a:lnTo>
                  <a:lnTo>
                    <a:pt x="607" y="634"/>
                  </a:lnTo>
                  <a:lnTo>
                    <a:pt x="607" y="636"/>
                  </a:lnTo>
                  <a:lnTo>
                    <a:pt x="609" y="636"/>
                  </a:lnTo>
                  <a:lnTo>
                    <a:pt x="609" y="634"/>
                  </a:lnTo>
                  <a:lnTo>
                    <a:pt x="609" y="636"/>
                  </a:lnTo>
                  <a:lnTo>
                    <a:pt x="609" y="634"/>
                  </a:lnTo>
                  <a:lnTo>
                    <a:pt x="611" y="634"/>
                  </a:lnTo>
                  <a:lnTo>
                    <a:pt x="611" y="636"/>
                  </a:lnTo>
                  <a:lnTo>
                    <a:pt x="609" y="636"/>
                  </a:lnTo>
                  <a:lnTo>
                    <a:pt x="607" y="636"/>
                  </a:lnTo>
                  <a:lnTo>
                    <a:pt x="605" y="636"/>
                  </a:lnTo>
                  <a:lnTo>
                    <a:pt x="605" y="638"/>
                  </a:lnTo>
                  <a:lnTo>
                    <a:pt x="605" y="640"/>
                  </a:lnTo>
                  <a:lnTo>
                    <a:pt x="603" y="640"/>
                  </a:lnTo>
                  <a:lnTo>
                    <a:pt x="603" y="642"/>
                  </a:lnTo>
                  <a:lnTo>
                    <a:pt x="601" y="642"/>
                  </a:lnTo>
                  <a:lnTo>
                    <a:pt x="603" y="642"/>
                  </a:lnTo>
                  <a:lnTo>
                    <a:pt x="603" y="644"/>
                  </a:lnTo>
                  <a:lnTo>
                    <a:pt x="601" y="644"/>
                  </a:lnTo>
                  <a:lnTo>
                    <a:pt x="603" y="644"/>
                  </a:lnTo>
                  <a:lnTo>
                    <a:pt x="603" y="645"/>
                  </a:lnTo>
                  <a:lnTo>
                    <a:pt x="601" y="645"/>
                  </a:lnTo>
                  <a:lnTo>
                    <a:pt x="603" y="645"/>
                  </a:lnTo>
                  <a:lnTo>
                    <a:pt x="601" y="645"/>
                  </a:lnTo>
                  <a:lnTo>
                    <a:pt x="601" y="647"/>
                  </a:lnTo>
                  <a:lnTo>
                    <a:pt x="601" y="645"/>
                  </a:lnTo>
                  <a:lnTo>
                    <a:pt x="601" y="647"/>
                  </a:lnTo>
                  <a:lnTo>
                    <a:pt x="599" y="647"/>
                  </a:lnTo>
                  <a:lnTo>
                    <a:pt x="599" y="649"/>
                  </a:lnTo>
                  <a:lnTo>
                    <a:pt x="597" y="649"/>
                  </a:lnTo>
                  <a:lnTo>
                    <a:pt x="597" y="647"/>
                  </a:lnTo>
                  <a:lnTo>
                    <a:pt x="597" y="649"/>
                  </a:lnTo>
                  <a:lnTo>
                    <a:pt x="597" y="651"/>
                  </a:lnTo>
                  <a:lnTo>
                    <a:pt x="597" y="649"/>
                  </a:lnTo>
                  <a:lnTo>
                    <a:pt x="597" y="651"/>
                  </a:lnTo>
                  <a:lnTo>
                    <a:pt x="597" y="649"/>
                  </a:lnTo>
                  <a:lnTo>
                    <a:pt x="597" y="651"/>
                  </a:lnTo>
                  <a:lnTo>
                    <a:pt x="596" y="651"/>
                  </a:lnTo>
                  <a:lnTo>
                    <a:pt x="597" y="651"/>
                  </a:lnTo>
                  <a:lnTo>
                    <a:pt x="596" y="651"/>
                  </a:lnTo>
                  <a:lnTo>
                    <a:pt x="596" y="653"/>
                  </a:lnTo>
                  <a:lnTo>
                    <a:pt x="596" y="655"/>
                  </a:lnTo>
                  <a:lnTo>
                    <a:pt x="597" y="655"/>
                  </a:lnTo>
                  <a:lnTo>
                    <a:pt x="596" y="655"/>
                  </a:lnTo>
                  <a:lnTo>
                    <a:pt x="597" y="655"/>
                  </a:lnTo>
                  <a:lnTo>
                    <a:pt x="596" y="655"/>
                  </a:lnTo>
                  <a:lnTo>
                    <a:pt x="597" y="655"/>
                  </a:lnTo>
                  <a:lnTo>
                    <a:pt x="596" y="655"/>
                  </a:lnTo>
                  <a:lnTo>
                    <a:pt x="597" y="655"/>
                  </a:lnTo>
                  <a:lnTo>
                    <a:pt x="596" y="655"/>
                  </a:lnTo>
                  <a:lnTo>
                    <a:pt x="597" y="655"/>
                  </a:lnTo>
                  <a:lnTo>
                    <a:pt x="596" y="655"/>
                  </a:lnTo>
                  <a:lnTo>
                    <a:pt x="597" y="655"/>
                  </a:lnTo>
                  <a:lnTo>
                    <a:pt x="596" y="655"/>
                  </a:lnTo>
                  <a:lnTo>
                    <a:pt x="596" y="657"/>
                  </a:lnTo>
                  <a:lnTo>
                    <a:pt x="596" y="655"/>
                  </a:lnTo>
                  <a:lnTo>
                    <a:pt x="597" y="655"/>
                  </a:lnTo>
                  <a:lnTo>
                    <a:pt x="597" y="657"/>
                  </a:lnTo>
                  <a:lnTo>
                    <a:pt x="596" y="657"/>
                  </a:lnTo>
                  <a:lnTo>
                    <a:pt x="597" y="657"/>
                  </a:lnTo>
                  <a:lnTo>
                    <a:pt x="597" y="655"/>
                  </a:lnTo>
                  <a:lnTo>
                    <a:pt x="597" y="657"/>
                  </a:lnTo>
                  <a:lnTo>
                    <a:pt x="596" y="657"/>
                  </a:lnTo>
                  <a:lnTo>
                    <a:pt x="597" y="657"/>
                  </a:lnTo>
                  <a:lnTo>
                    <a:pt x="596" y="657"/>
                  </a:lnTo>
                  <a:lnTo>
                    <a:pt x="596" y="659"/>
                  </a:lnTo>
                  <a:lnTo>
                    <a:pt x="597" y="659"/>
                  </a:lnTo>
                  <a:lnTo>
                    <a:pt x="597" y="661"/>
                  </a:lnTo>
                  <a:lnTo>
                    <a:pt x="597" y="663"/>
                  </a:lnTo>
                  <a:lnTo>
                    <a:pt x="596" y="663"/>
                  </a:lnTo>
                  <a:lnTo>
                    <a:pt x="597" y="663"/>
                  </a:lnTo>
                  <a:lnTo>
                    <a:pt x="596" y="663"/>
                  </a:lnTo>
                  <a:lnTo>
                    <a:pt x="594" y="663"/>
                  </a:lnTo>
                  <a:lnTo>
                    <a:pt x="594" y="665"/>
                  </a:lnTo>
                  <a:lnTo>
                    <a:pt x="594" y="667"/>
                  </a:lnTo>
                  <a:lnTo>
                    <a:pt x="594" y="669"/>
                  </a:lnTo>
                  <a:lnTo>
                    <a:pt x="594" y="670"/>
                  </a:lnTo>
                  <a:lnTo>
                    <a:pt x="594" y="672"/>
                  </a:lnTo>
                  <a:lnTo>
                    <a:pt x="596" y="672"/>
                  </a:lnTo>
                  <a:lnTo>
                    <a:pt x="596" y="674"/>
                  </a:lnTo>
                  <a:lnTo>
                    <a:pt x="596" y="676"/>
                  </a:lnTo>
                  <a:lnTo>
                    <a:pt x="596" y="678"/>
                  </a:lnTo>
                  <a:lnTo>
                    <a:pt x="596" y="680"/>
                  </a:lnTo>
                  <a:lnTo>
                    <a:pt x="596" y="682"/>
                  </a:lnTo>
                  <a:lnTo>
                    <a:pt x="596" y="684"/>
                  </a:lnTo>
                  <a:lnTo>
                    <a:pt x="597" y="684"/>
                  </a:lnTo>
                  <a:lnTo>
                    <a:pt x="597" y="686"/>
                  </a:lnTo>
                  <a:lnTo>
                    <a:pt x="597" y="688"/>
                  </a:lnTo>
                  <a:lnTo>
                    <a:pt x="597" y="690"/>
                  </a:lnTo>
                  <a:lnTo>
                    <a:pt x="596" y="690"/>
                  </a:lnTo>
                  <a:lnTo>
                    <a:pt x="596" y="692"/>
                  </a:lnTo>
                  <a:lnTo>
                    <a:pt x="597" y="692"/>
                  </a:lnTo>
                  <a:lnTo>
                    <a:pt x="597" y="693"/>
                  </a:lnTo>
                  <a:lnTo>
                    <a:pt x="596" y="693"/>
                  </a:lnTo>
                  <a:lnTo>
                    <a:pt x="597" y="693"/>
                  </a:lnTo>
                  <a:lnTo>
                    <a:pt x="596" y="693"/>
                  </a:lnTo>
                  <a:lnTo>
                    <a:pt x="597" y="693"/>
                  </a:lnTo>
                  <a:lnTo>
                    <a:pt x="596" y="693"/>
                  </a:lnTo>
                  <a:lnTo>
                    <a:pt x="596" y="695"/>
                  </a:lnTo>
                  <a:lnTo>
                    <a:pt x="596" y="697"/>
                  </a:lnTo>
                  <a:lnTo>
                    <a:pt x="594" y="697"/>
                  </a:lnTo>
                  <a:lnTo>
                    <a:pt x="594" y="699"/>
                  </a:lnTo>
                  <a:lnTo>
                    <a:pt x="594" y="697"/>
                  </a:lnTo>
                  <a:lnTo>
                    <a:pt x="592" y="699"/>
                  </a:lnTo>
                  <a:lnTo>
                    <a:pt x="590" y="699"/>
                  </a:lnTo>
                  <a:lnTo>
                    <a:pt x="588" y="699"/>
                  </a:lnTo>
                  <a:lnTo>
                    <a:pt x="588" y="701"/>
                  </a:lnTo>
                  <a:lnTo>
                    <a:pt x="588" y="699"/>
                  </a:lnTo>
                  <a:lnTo>
                    <a:pt x="588" y="701"/>
                  </a:lnTo>
                  <a:lnTo>
                    <a:pt x="586" y="701"/>
                  </a:lnTo>
                  <a:lnTo>
                    <a:pt x="586" y="703"/>
                  </a:lnTo>
                  <a:lnTo>
                    <a:pt x="584" y="703"/>
                  </a:lnTo>
                  <a:lnTo>
                    <a:pt x="582" y="703"/>
                  </a:lnTo>
                  <a:lnTo>
                    <a:pt x="584" y="703"/>
                  </a:lnTo>
                  <a:lnTo>
                    <a:pt x="582" y="703"/>
                  </a:lnTo>
                  <a:lnTo>
                    <a:pt x="582" y="705"/>
                  </a:lnTo>
                  <a:lnTo>
                    <a:pt x="582" y="703"/>
                  </a:lnTo>
                  <a:lnTo>
                    <a:pt x="580" y="703"/>
                  </a:lnTo>
                  <a:lnTo>
                    <a:pt x="580" y="705"/>
                  </a:lnTo>
                  <a:lnTo>
                    <a:pt x="582" y="705"/>
                  </a:lnTo>
                  <a:lnTo>
                    <a:pt x="580" y="705"/>
                  </a:lnTo>
                  <a:lnTo>
                    <a:pt x="582" y="705"/>
                  </a:lnTo>
                  <a:lnTo>
                    <a:pt x="580" y="705"/>
                  </a:lnTo>
                  <a:lnTo>
                    <a:pt x="582" y="705"/>
                  </a:lnTo>
                  <a:lnTo>
                    <a:pt x="580" y="705"/>
                  </a:lnTo>
                  <a:lnTo>
                    <a:pt x="580" y="707"/>
                  </a:lnTo>
                  <a:lnTo>
                    <a:pt x="578" y="707"/>
                  </a:lnTo>
                  <a:lnTo>
                    <a:pt x="576" y="707"/>
                  </a:lnTo>
                  <a:lnTo>
                    <a:pt x="574" y="707"/>
                  </a:lnTo>
                  <a:lnTo>
                    <a:pt x="574" y="709"/>
                  </a:lnTo>
                  <a:lnTo>
                    <a:pt x="572" y="709"/>
                  </a:lnTo>
                  <a:lnTo>
                    <a:pt x="571" y="709"/>
                  </a:lnTo>
                  <a:lnTo>
                    <a:pt x="571" y="711"/>
                  </a:lnTo>
                  <a:lnTo>
                    <a:pt x="571" y="713"/>
                  </a:lnTo>
                  <a:lnTo>
                    <a:pt x="571" y="711"/>
                  </a:lnTo>
                  <a:lnTo>
                    <a:pt x="569" y="711"/>
                  </a:lnTo>
                  <a:lnTo>
                    <a:pt x="569" y="713"/>
                  </a:lnTo>
                  <a:lnTo>
                    <a:pt x="569" y="711"/>
                  </a:lnTo>
                  <a:lnTo>
                    <a:pt x="569" y="713"/>
                  </a:lnTo>
                  <a:lnTo>
                    <a:pt x="569" y="715"/>
                  </a:lnTo>
                  <a:lnTo>
                    <a:pt x="569" y="716"/>
                  </a:lnTo>
                  <a:lnTo>
                    <a:pt x="567" y="716"/>
                  </a:lnTo>
                  <a:lnTo>
                    <a:pt x="567" y="718"/>
                  </a:lnTo>
                  <a:lnTo>
                    <a:pt x="565" y="718"/>
                  </a:lnTo>
                  <a:lnTo>
                    <a:pt x="563" y="718"/>
                  </a:lnTo>
                  <a:lnTo>
                    <a:pt x="563" y="720"/>
                  </a:lnTo>
                  <a:lnTo>
                    <a:pt x="565" y="720"/>
                  </a:lnTo>
                  <a:lnTo>
                    <a:pt x="565" y="718"/>
                  </a:lnTo>
                  <a:lnTo>
                    <a:pt x="565" y="720"/>
                  </a:lnTo>
                  <a:lnTo>
                    <a:pt x="567" y="720"/>
                  </a:lnTo>
                  <a:lnTo>
                    <a:pt x="567" y="718"/>
                  </a:lnTo>
                  <a:lnTo>
                    <a:pt x="569" y="718"/>
                  </a:lnTo>
                  <a:lnTo>
                    <a:pt x="569" y="720"/>
                  </a:lnTo>
                  <a:lnTo>
                    <a:pt x="571" y="720"/>
                  </a:lnTo>
                  <a:lnTo>
                    <a:pt x="571" y="722"/>
                  </a:lnTo>
                  <a:lnTo>
                    <a:pt x="569" y="722"/>
                  </a:lnTo>
                  <a:lnTo>
                    <a:pt x="569" y="724"/>
                  </a:lnTo>
                  <a:lnTo>
                    <a:pt x="567" y="724"/>
                  </a:lnTo>
                  <a:lnTo>
                    <a:pt x="565" y="724"/>
                  </a:lnTo>
                  <a:lnTo>
                    <a:pt x="565" y="726"/>
                  </a:lnTo>
                  <a:lnTo>
                    <a:pt x="563" y="726"/>
                  </a:lnTo>
                  <a:lnTo>
                    <a:pt x="563" y="728"/>
                  </a:lnTo>
                  <a:lnTo>
                    <a:pt x="563" y="730"/>
                  </a:lnTo>
                  <a:lnTo>
                    <a:pt x="561" y="730"/>
                  </a:lnTo>
                  <a:lnTo>
                    <a:pt x="559" y="728"/>
                  </a:lnTo>
                  <a:lnTo>
                    <a:pt x="559" y="730"/>
                  </a:lnTo>
                  <a:lnTo>
                    <a:pt x="557" y="730"/>
                  </a:lnTo>
                  <a:lnTo>
                    <a:pt x="555" y="730"/>
                  </a:lnTo>
                  <a:lnTo>
                    <a:pt x="555" y="732"/>
                  </a:lnTo>
                  <a:lnTo>
                    <a:pt x="555" y="734"/>
                  </a:lnTo>
                  <a:lnTo>
                    <a:pt x="555" y="736"/>
                  </a:lnTo>
                  <a:lnTo>
                    <a:pt x="555" y="738"/>
                  </a:lnTo>
                  <a:lnTo>
                    <a:pt x="555" y="740"/>
                  </a:lnTo>
                  <a:lnTo>
                    <a:pt x="557" y="740"/>
                  </a:lnTo>
                  <a:lnTo>
                    <a:pt x="557" y="741"/>
                  </a:lnTo>
                  <a:lnTo>
                    <a:pt x="555" y="741"/>
                  </a:lnTo>
                  <a:lnTo>
                    <a:pt x="553" y="741"/>
                  </a:lnTo>
                  <a:lnTo>
                    <a:pt x="553" y="743"/>
                  </a:lnTo>
                  <a:lnTo>
                    <a:pt x="551" y="743"/>
                  </a:lnTo>
                  <a:lnTo>
                    <a:pt x="551" y="745"/>
                  </a:lnTo>
                  <a:lnTo>
                    <a:pt x="551" y="747"/>
                  </a:lnTo>
                  <a:lnTo>
                    <a:pt x="549" y="745"/>
                  </a:lnTo>
                  <a:lnTo>
                    <a:pt x="549" y="747"/>
                  </a:lnTo>
                  <a:lnTo>
                    <a:pt x="549" y="749"/>
                  </a:lnTo>
                  <a:lnTo>
                    <a:pt x="548" y="749"/>
                  </a:lnTo>
                  <a:lnTo>
                    <a:pt x="548" y="751"/>
                  </a:lnTo>
                  <a:lnTo>
                    <a:pt x="546" y="751"/>
                  </a:lnTo>
                  <a:lnTo>
                    <a:pt x="548" y="751"/>
                  </a:lnTo>
                  <a:lnTo>
                    <a:pt x="548" y="749"/>
                  </a:lnTo>
                  <a:lnTo>
                    <a:pt x="548" y="751"/>
                  </a:lnTo>
                  <a:lnTo>
                    <a:pt x="546" y="751"/>
                  </a:lnTo>
                  <a:lnTo>
                    <a:pt x="548" y="751"/>
                  </a:lnTo>
                  <a:lnTo>
                    <a:pt x="548" y="753"/>
                  </a:lnTo>
                  <a:lnTo>
                    <a:pt x="546" y="753"/>
                  </a:lnTo>
                  <a:lnTo>
                    <a:pt x="546" y="755"/>
                  </a:lnTo>
                  <a:lnTo>
                    <a:pt x="546" y="753"/>
                  </a:lnTo>
                  <a:lnTo>
                    <a:pt x="546" y="755"/>
                  </a:lnTo>
                  <a:lnTo>
                    <a:pt x="544" y="755"/>
                  </a:lnTo>
                  <a:lnTo>
                    <a:pt x="544" y="753"/>
                  </a:lnTo>
                  <a:lnTo>
                    <a:pt x="544" y="755"/>
                  </a:lnTo>
                  <a:lnTo>
                    <a:pt x="544" y="757"/>
                  </a:lnTo>
                  <a:lnTo>
                    <a:pt x="544" y="759"/>
                  </a:lnTo>
                  <a:lnTo>
                    <a:pt x="544" y="761"/>
                  </a:lnTo>
                  <a:lnTo>
                    <a:pt x="546" y="761"/>
                  </a:lnTo>
                  <a:lnTo>
                    <a:pt x="546" y="763"/>
                  </a:lnTo>
                  <a:lnTo>
                    <a:pt x="546" y="764"/>
                  </a:lnTo>
                  <a:lnTo>
                    <a:pt x="546" y="766"/>
                  </a:lnTo>
                  <a:lnTo>
                    <a:pt x="546" y="768"/>
                  </a:lnTo>
                  <a:lnTo>
                    <a:pt x="544" y="768"/>
                  </a:lnTo>
                  <a:lnTo>
                    <a:pt x="542" y="768"/>
                  </a:lnTo>
                  <a:lnTo>
                    <a:pt x="542" y="770"/>
                  </a:lnTo>
                  <a:lnTo>
                    <a:pt x="542" y="772"/>
                  </a:lnTo>
                  <a:lnTo>
                    <a:pt x="540" y="772"/>
                  </a:lnTo>
                  <a:lnTo>
                    <a:pt x="540" y="774"/>
                  </a:lnTo>
                  <a:lnTo>
                    <a:pt x="542" y="774"/>
                  </a:lnTo>
                  <a:lnTo>
                    <a:pt x="542" y="776"/>
                  </a:lnTo>
                  <a:lnTo>
                    <a:pt x="542" y="778"/>
                  </a:lnTo>
                  <a:lnTo>
                    <a:pt x="540" y="778"/>
                  </a:lnTo>
                  <a:lnTo>
                    <a:pt x="540" y="780"/>
                  </a:lnTo>
                  <a:lnTo>
                    <a:pt x="542" y="780"/>
                  </a:lnTo>
                  <a:lnTo>
                    <a:pt x="540" y="780"/>
                  </a:lnTo>
                  <a:lnTo>
                    <a:pt x="542" y="780"/>
                  </a:lnTo>
                  <a:lnTo>
                    <a:pt x="540" y="780"/>
                  </a:lnTo>
                  <a:lnTo>
                    <a:pt x="540" y="782"/>
                  </a:lnTo>
                  <a:lnTo>
                    <a:pt x="540" y="784"/>
                  </a:lnTo>
                  <a:lnTo>
                    <a:pt x="540" y="786"/>
                  </a:lnTo>
                  <a:lnTo>
                    <a:pt x="538" y="786"/>
                  </a:lnTo>
                  <a:lnTo>
                    <a:pt x="540" y="786"/>
                  </a:lnTo>
                  <a:lnTo>
                    <a:pt x="540" y="788"/>
                  </a:lnTo>
                  <a:lnTo>
                    <a:pt x="540" y="789"/>
                  </a:lnTo>
                  <a:lnTo>
                    <a:pt x="538" y="789"/>
                  </a:lnTo>
                  <a:lnTo>
                    <a:pt x="538" y="791"/>
                  </a:lnTo>
                  <a:lnTo>
                    <a:pt x="538" y="789"/>
                  </a:lnTo>
                  <a:lnTo>
                    <a:pt x="538" y="791"/>
                  </a:lnTo>
                  <a:lnTo>
                    <a:pt x="538" y="793"/>
                  </a:lnTo>
                  <a:lnTo>
                    <a:pt x="536" y="793"/>
                  </a:lnTo>
                  <a:lnTo>
                    <a:pt x="536" y="795"/>
                  </a:lnTo>
                  <a:lnTo>
                    <a:pt x="534" y="795"/>
                  </a:lnTo>
                  <a:lnTo>
                    <a:pt x="536" y="795"/>
                  </a:lnTo>
                  <a:lnTo>
                    <a:pt x="534" y="795"/>
                  </a:lnTo>
                  <a:lnTo>
                    <a:pt x="534" y="793"/>
                  </a:lnTo>
                  <a:lnTo>
                    <a:pt x="534" y="795"/>
                  </a:lnTo>
                  <a:lnTo>
                    <a:pt x="534" y="797"/>
                  </a:lnTo>
                  <a:lnTo>
                    <a:pt x="534" y="799"/>
                  </a:lnTo>
                  <a:lnTo>
                    <a:pt x="532" y="799"/>
                  </a:lnTo>
                  <a:lnTo>
                    <a:pt x="532" y="801"/>
                  </a:lnTo>
                  <a:lnTo>
                    <a:pt x="532" y="803"/>
                  </a:lnTo>
                  <a:lnTo>
                    <a:pt x="532" y="805"/>
                  </a:lnTo>
                  <a:lnTo>
                    <a:pt x="532" y="807"/>
                  </a:lnTo>
                  <a:lnTo>
                    <a:pt x="530" y="807"/>
                  </a:lnTo>
                  <a:lnTo>
                    <a:pt x="532" y="807"/>
                  </a:lnTo>
                  <a:lnTo>
                    <a:pt x="530" y="807"/>
                  </a:lnTo>
                  <a:lnTo>
                    <a:pt x="532" y="807"/>
                  </a:lnTo>
                  <a:lnTo>
                    <a:pt x="532" y="809"/>
                  </a:lnTo>
                  <a:lnTo>
                    <a:pt x="532" y="811"/>
                  </a:lnTo>
                  <a:lnTo>
                    <a:pt x="532" y="812"/>
                  </a:lnTo>
                  <a:lnTo>
                    <a:pt x="532" y="814"/>
                  </a:lnTo>
                  <a:lnTo>
                    <a:pt x="530" y="814"/>
                  </a:lnTo>
                  <a:lnTo>
                    <a:pt x="532" y="814"/>
                  </a:lnTo>
                  <a:lnTo>
                    <a:pt x="532" y="816"/>
                  </a:lnTo>
                  <a:lnTo>
                    <a:pt x="532" y="818"/>
                  </a:lnTo>
                  <a:lnTo>
                    <a:pt x="532" y="820"/>
                  </a:lnTo>
                  <a:lnTo>
                    <a:pt x="532" y="822"/>
                  </a:lnTo>
                  <a:lnTo>
                    <a:pt x="530" y="822"/>
                  </a:lnTo>
                  <a:lnTo>
                    <a:pt x="532" y="822"/>
                  </a:lnTo>
                  <a:lnTo>
                    <a:pt x="530" y="822"/>
                  </a:lnTo>
                  <a:lnTo>
                    <a:pt x="532" y="822"/>
                  </a:lnTo>
                  <a:lnTo>
                    <a:pt x="532" y="824"/>
                  </a:lnTo>
                  <a:lnTo>
                    <a:pt x="530" y="824"/>
                  </a:lnTo>
                  <a:lnTo>
                    <a:pt x="532" y="824"/>
                  </a:lnTo>
                  <a:lnTo>
                    <a:pt x="532" y="826"/>
                  </a:lnTo>
                  <a:lnTo>
                    <a:pt x="532" y="828"/>
                  </a:lnTo>
                  <a:lnTo>
                    <a:pt x="530" y="828"/>
                  </a:lnTo>
                  <a:lnTo>
                    <a:pt x="530" y="830"/>
                  </a:lnTo>
                  <a:lnTo>
                    <a:pt x="530" y="832"/>
                  </a:lnTo>
                  <a:lnTo>
                    <a:pt x="528" y="832"/>
                  </a:lnTo>
                  <a:lnTo>
                    <a:pt x="528" y="834"/>
                  </a:lnTo>
                  <a:lnTo>
                    <a:pt x="526" y="834"/>
                  </a:lnTo>
                  <a:lnTo>
                    <a:pt x="526" y="836"/>
                  </a:lnTo>
                  <a:lnTo>
                    <a:pt x="526" y="837"/>
                  </a:lnTo>
                  <a:lnTo>
                    <a:pt x="524" y="837"/>
                  </a:lnTo>
                  <a:lnTo>
                    <a:pt x="524" y="839"/>
                  </a:lnTo>
                  <a:lnTo>
                    <a:pt x="524" y="841"/>
                  </a:lnTo>
                  <a:lnTo>
                    <a:pt x="524" y="843"/>
                  </a:lnTo>
                  <a:lnTo>
                    <a:pt x="524" y="845"/>
                  </a:lnTo>
                  <a:lnTo>
                    <a:pt x="524" y="847"/>
                  </a:lnTo>
                  <a:lnTo>
                    <a:pt x="524" y="849"/>
                  </a:lnTo>
                  <a:lnTo>
                    <a:pt x="523" y="849"/>
                  </a:lnTo>
                  <a:lnTo>
                    <a:pt x="523" y="851"/>
                  </a:lnTo>
                  <a:lnTo>
                    <a:pt x="521" y="851"/>
                  </a:lnTo>
                  <a:lnTo>
                    <a:pt x="521" y="853"/>
                  </a:lnTo>
                  <a:lnTo>
                    <a:pt x="519" y="853"/>
                  </a:lnTo>
                  <a:lnTo>
                    <a:pt x="517" y="853"/>
                  </a:lnTo>
                  <a:lnTo>
                    <a:pt x="517" y="855"/>
                  </a:lnTo>
                  <a:lnTo>
                    <a:pt x="515" y="855"/>
                  </a:lnTo>
                  <a:lnTo>
                    <a:pt x="515" y="857"/>
                  </a:lnTo>
                  <a:lnTo>
                    <a:pt x="515" y="859"/>
                  </a:lnTo>
                  <a:lnTo>
                    <a:pt x="515" y="860"/>
                  </a:lnTo>
                  <a:lnTo>
                    <a:pt x="515" y="862"/>
                  </a:lnTo>
                  <a:lnTo>
                    <a:pt x="515" y="864"/>
                  </a:lnTo>
                  <a:lnTo>
                    <a:pt x="515" y="866"/>
                  </a:lnTo>
                  <a:lnTo>
                    <a:pt x="515" y="868"/>
                  </a:lnTo>
                  <a:lnTo>
                    <a:pt x="515" y="870"/>
                  </a:lnTo>
                  <a:lnTo>
                    <a:pt x="515" y="872"/>
                  </a:lnTo>
                  <a:lnTo>
                    <a:pt x="513" y="872"/>
                  </a:lnTo>
                  <a:lnTo>
                    <a:pt x="513" y="874"/>
                  </a:lnTo>
                  <a:lnTo>
                    <a:pt x="513" y="876"/>
                  </a:lnTo>
                  <a:lnTo>
                    <a:pt x="513" y="878"/>
                  </a:lnTo>
                  <a:lnTo>
                    <a:pt x="513" y="880"/>
                  </a:lnTo>
                  <a:lnTo>
                    <a:pt x="511" y="880"/>
                  </a:lnTo>
                  <a:lnTo>
                    <a:pt x="511" y="882"/>
                  </a:lnTo>
                  <a:lnTo>
                    <a:pt x="509" y="884"/>
                  </a:lnTo>
                  <a:lnTo>
                    <a:pt x="507" y="884"/>
                  </a:lnTo>
                  <a:lnTo>
                    <a:pt x="507" y="885"/>
                  </a:lnTo>
                  <a:lnTo>
                    <a:pt x="505" y="885"/>
                  </a:lnTo>
                  <a:lnTo>
                    <a:pt x="507" y="885"/>
                  </a:lnTo>
                  <a:lnTo>
                    <a:pt x="505" y="885"/>
                  </a:lnTo>
                  <a:lnTo>
                    <a:pt x="505" y="887"/>
                  </a:lnTo>
                  <a:lnTo>
                    <a:pt x="503" y="887"/>
                  </a:lnTo>
                  <a:lnTo>
                    <a:pt x="503" y="889"/>
                  </a:lnTo>
                  <a:lnTo>
                    <a:pt x="503" y="891"/>
                  </a:lnTo>
                  <a:lnTo>
                    <a:pt x="501" y="891"/>
                  </a:lnTo>
                  <a:lnTo>
                    <a:pt x="501" y="893"/>
                  </a:lnTo>
                  <a:lnTo>
                    <a:pt x="503" y="893"/>
                  </a:lnTo>
                  <a:lnTo>
                    <a:pt x="501" y="893"/>
                  </a:lnTo>
                  <a:lnTo>
                    <a:pt x="503" y="893"/>
                  </a:lnTo>
                  <a:lnTo>
                    <a:pt x="501" y="893"/>
                  </a:lnTo>
                  <a:lnTo>
                    <a:pt x="501" y="895"/>
                  </a:lnTo>
                  <a:lnTo>
                    <a:pt x="500" y="895"/>
                  </a:lnTo>
                  <a:lnTo>
                    <a:pt x="500" y="897"/>
                  </a:lnTo>
                  <a:lnTo>
                    <a:pt x="500" y="899"/>
                  </a:lnTo>
                  <a:lnTo>
                    <a:pt x="498" y="899"/>
                  </a:lnTo>
                  <a:lnTo>
                    <a:pt x="498" y="901"/>
                  </a:lnTo>
                  <a:lnTo>
                    <a:pt x="500" y="901"/>
                  </a:lnTo>
                  <a:lnTo>
                    <a:pt x="500" y="903"/>
                  </a:lnTo>
                  <a:lnTo>
                    <a:pt x="500" y="901"/>
                  </a:lnTo>
                  <a:lnTo>
                    <a:pt x="500" y="903"/>
                  </a:lnTo>
                  <a:lnTo>
                    <a:pt x="498" y="903"/>
                  </a:lnTo>
                  <a:lnTo>
                    <a:pt x="500" y="903"/>
                  </a:lnTo>
                  <a:lnTo>
                    <a:pt x="498" y="903"/>
                  </a:lnTo>
                  <a:lnTo>
                    <a:pt x="500" y="903"/>
                  </a:lnTo>
                  <a:lnTo>
                    <a:pt x="498" y="903"/>
                  </a:lnTo>
                  <a:lnTo>
                    <a:pt x="498" y="905"/>
                  </a:lnTo>
                  <a:lnTo>
                    <a:pt x="498" y="907"/>
                  </a:lnTo>
                  <a:lnTo>
                    <a:pt x="496" y="907"/>
                  </a:lnTo>
                  <a:lnTo>
                    <a:pt x="496" y="908"/>
                  </a:lnTo>
                  <a:lnTo>
                    <a:pt x="496" y="907"/>
                  </a:lnTo>
                  <a:lnTo>
                    <a:pt x="496" y="908"/>
                  </a:lnTo>
                  <a:lnTo>
                    <a:pt x="496" y="907"/>
                  </a:lnTo>
                  <a:lnTo>
                    <a:pt x="496" y="908"/>
                  </a:lnTo>
                  <a:lnTo>
                    <a:pt x="494" y="908"/>
                  </a:lnTo>
                  <a:lnTo>
                    <a:pt x="494" y="910"/>
                  </a:lnTo>
                  <a:lnTo>
                    <a:pt x="492" y="910"/>
                  </a:lnTo>
                  <a:lnTo>
                    <a:pt x="490" y="910"/>
                  </a:lnTo>
                  <a:lnTo>
                    <a:pt x="490" y="912"/>
                  </a:lnTo>
                  <a:lnTo>
                    <a:pt x="488" y="912"/>
                  </a:lnTo>
                  <a:lnTo>
                    <a:pt x="486" y="912"/>
                  </a:lnTo>
                  <a:lnTo>
                    <a:pt x="486" y="914"/>
                  </a:lnTo>
                  <a:lnTo>
                    <a:pt x="484" y="914"/>
                  </a:lnTo>
                  <a:lnTo>
                    <a:pt x="484" y="916"/>
                  </a:lnTo>
                  <a:lnTo>
                    <a:pt x="482" y="916"/>
                  </a:lnTo>
                  <a:lnTo>
                    <a:pt x="482" y="918"/>
                  </a:lnTo>
                  <a:lnTo>
                    <a:pt x="480" y="918"/>
                  </a:lnTo>
                  <a:lnTo>
                    <a:pt x="478" y="918"/>
                  </a:lnTo>
                  <a:lnTo>
                    <a:pt x="476" y="918"/>
                  </a:lnTo>
                  <a:lnTo>
                    <a:pt x="476" y="920"/>
                  </a:lnTo>
                  <a:lnTo>
                    <a:pt x="476" y="918"/>
                  </a:lnTo>
                  <a:lnTo>
                    <a:pt x="475" y="918"/>
                  </a:lnTo>
                  <a:lnTo>
                    <a:pt x="473" y="918"/>
                  </a:lnTo>
                  <a:lnTo>
                    <a:pt x="473" y="920"/>
                  </a:lnTo>
                  <a:lnTo>
                    <a:pt x="473" y="922"/>
                  </a:lnTo>
                  <a:lnTo>
                    <a:pt x="471" y="922"/>
                  </a:lnTo>
                  <a:lnTo>
                    <a:pt x="471" y="924"/>
                  </a:lnTo>
                  <a:lnTo>
                    <a:pt x="469" y="924"/>
                  </a:lnTo>
                  <a:lnTo>
                    <a:pt x="469" y="926"/>
                  </a:lnTo>
                  <a:lnTo>
                    <a:pt x="469" y="928"/>
                  </a:lnTo>
                  <a:lnTo>
                    <a:pt x="467" y="928"/>
                  </a:lnTo>
                  <a:lnTo>
                    <a:pt x="469" y="928"/>
                  </a:lnTo>
                  <a:lnTo>
                    <a:pt x="467" y="928"/>
                  </a:lnTo>
                  <a:lnTo>
                    <a:pt x="465" y="928"/>
                  </a:lnTo>
                  <a:lnTo>
                    <a:pt x="465" y="930"/>
                  </a:lnTo>
                  <a:lnTo>
                    <a:pt x="463" y="930"/>
                  </a:lnTo>
                  <a:lnTo>
                    <a:pt x="463" y="932"/>
                  </a:lnTo>
                  <a:lnTo>
                    <a:pt x="463" y="930"/>
                  </a:lnTo>
                  <a:lnTo>
                    <a:pt x="463" y="932"/>
                  </a:lnTo>
                  <a:lnTo>
                    <a:pt x="461" y="932"/>
                  </a:lnTo>
                  <a:lnTo>
                    <a:pt x="461" y="933"/>
                  </a:lnTo>
                  <a:lnTo>
                    <a:pt x="461" y="935"/>
                  </a:lnTo>
                  <a:lnTo>
                    <a:pt x="461" y="937"/>
                  </a:lnTo>
                  <a:lnTo>
                    <a:pt x="461" y="939"/>
                  </a:lnTo>
                  <a:lnTo>
                    <a:pt x="459" y="939"/>
                  </a:lnTo>
                  <a:lnTo>
                    <a:pt x="459" y="941"/>
                  </a:lnTo>
                  <a:lnTo>
                    <a:pt x="457" y="941"/>
                  </a:lnTo>
                  <a:lnTo>
                    <a:pt x="457" y="943"/>
                  </a:lnTo>
                  <a:lnTo>
                    <a:pt x="455" y="943"/>
                  </a:lnTo>
                  <a:lnTo>
                    <a:pt x="455" y="945"/>
                  </a:lnTo>
                  <a:lnTo>
                    <a:pt x="453" y="945"/>
                  </a:lnTo>
                  <a:lnTo>
                    <a:pt x="453" y="947"/>
                  </a:lnTo>
                  <a:lnTo>
                    <a:pt x="453" y="949"/>
                  </a:lnTo>
                  <a:lnTo>
                    <a:pt x="451" y="949"/>
                  </a:lnTo>
                  <a:lnTo>
                    <a:pt x="451" y="951"/>
                  </a:lnTo>
                  <a:lnTo>
                    <a:pt x="451" y="953"/>
                  </a:lnTo>
                  <a:lnTo>
                    <a:pt x="451" y="951"/>
                  </a:lnTo>
                  <a:lnTo>
                    <a:pt x="451" y="953"/>
                  </a:lnTo>
                  <a:lnTo>
                    <a:pt x="450" y="953"/>
                  </a:lnTo>
                  <a:lnTo>
                    <a:pt x="450" y="955"/>
                  </a:lnTo>
                  <a:lnTo>
                    <a:pt x="448" y="955"/>
                  </a:lnTo>
                  <a:lnTo>
                    <a:pt x="450" y="955"/>
                  </a:lnTo>
                  <a:lnTo>
                    <a:pt x="448" y="955"/>
                  </a:lnTo>
                  <a:lnTo>
                    <a:pt x="446" y="955"/>
                  </a:lnTo>
                  <a:lnTo>
                    <a:pt x="444" y="955"/>
                  </a:lnTo>
                  <a:lnTo>
                    <a:pt x="444" y="956"/>
                  </a:lnTo>
                  <a:lnTo>
                    <a:pt x="442" y="956"/>
                  </a:lnTo>
                  <a:lnTo>
                    <a:pt x="442" y="958"/>
                  </a:lnTo>
                  <a:lnTo>
                    <a:pt x="442" y="956"/>
                  </a:lnTo>
                  <a:lnTo>
                    <a:pt x="442" y="958"/>
                  </a:lnTo>
                  <a:lnTo>
                    <a:pt x="442" y="956"/>
                  </a:lnTo>
                  <a:lnTo>
                    <a:pt x="440" y="956"/>
                  </a:lnTo>
                  <a:lnTo>
                    <a:pt x="440" y="958"/>
                  </a:lnTo>
                  <a:lnTo>
                    <a:pt x="440" y="960"/>
                  </a:lnTo>
                  <a:lnTo>
                    <a:pt x="438" y="960"/>
                  </a:lnTo>
                  <a:lnTo>
                    <a:pt x="438" y="962"/>
                  </a:lnTo>
                  <a:lnTo>
                    <a:pt x="436" y="962"/>
                  </a:lnTo>
                  <a:lnTo>
                    <a:pt x="436" y="964"/>
                  </a:lnTo>
                  <a:lnTo>
                    <a:pt x="436" y="966"/>
                  </a:lnTo>
                  <a:lnTo>
                    <a:pt x="436" y="964"/>
                  </a:lnTo>
                  <a:lnTo>
                    <a:pt x="436" y="966"/>
                  </a:lnTo>
                  <a:lnTo>
                    <a:pt x="434" y="966"/>
                  </a:lnTo>
                  <a:lnTo>
                    <a:pt x="434" y="968"/>
                  </a:lnTo>
                  <a:lnTo>
                    <a:pt x="432" y="968"/>
                  </a:lnTo>
                  <a:lnTo>
                    <a:pt x="432" y="970"/>
                  </a:lnTo>
                  <a:lnTo>
                    <a:pt x="430" y="970"/>
                  </a:lnTo>
                  <a:lnTo>
                    <a:pt x="430" y="972"/>
                  </a:lnTo>
                  <a:lnTo>
                    <a:pt x="430" y="974"/>
                  </a:lnTo>
                  <a:lnTo>
                    <a:pt x="430" y="976"/>
                  </a:lnTo>
                  <a:lnTo>
                    <a:pt x="430" y="978"/>
                  </a:lnTo>
                  <a:lnTo>
                    <a:pt x="430" y="980"/>
                  </a:lnTo>
                  <a:lnTo>
                    <a:pt x="430" y="981"/>
                  </a:lnTo>
                  <a:lnTo>
                    <a:pt x="430" y="983"/>
                  </a:lnTo>
                  <a:lnTo>
                    <a:pt x="430" y="985"/>
                  </a:lnTo>
                  <a:lnTo>
                    <a:pt x="430" y="987"/>
                  </a:lnTo>
                  <a:lnTo>
                    <a:pt x="428" y="987"/>
                  </a:lnTo>
                  <a:lnTo>
                    <a:pt x="428" y="989"/>
                  </a:lnTo>
                  <a:lnTo>
                    <a:pt x="428" y="991"/>
                  </a:lnTo>
                  <a:lnTo>
                    <a:pt x="427" y="991"/>
                  </a:lnTo>
                  <a:lnTo>
                    <a:pt x="427" y="993"/>
                  </a:lnTo>
                  <a:lnTo>
                    <a:pt x="427" y="995"/>
                  </a:lnTo>
                  <a:lnTo>
                    <a:pt x="425" y="995"/>
                  </a:lnTo>
                  <a:lnTo>
                    <a:pt x="427" y="995"/>
                  </a:lnTo>
                  <a:lnTo>
                    <a:pt x="425" y="995"/>
                  </a:lnTo>
                  <a:lnTo>
                    <a:pt x="427" y="995"/>
                  </a:lnTo>
                  <a:lnTo>
                    <a:pt x="425" y="995"/>
                  </a:lnTo>
                  <a:lnTo>
                    <a:pt x="427" y="995"/>
                  </a:lnTo>
                  <a:lnTo>
                    <a:pt x="425" y="995"/>
                  </a:lnTo>
                  <a:lnTo>
                    <a:pt x="427" y="995"/>
                  </a:lnTo>
                  <a:lnTo>
                    <a:pt x="425" y="995"/>
                  </a:lnTo>
                  <a:lnTo>
                    <a:pt x="425" y="997"/>
                  </a:lnTo>
                  <a:lnTo>
                    <a:pt x="425" y="999"/>
                  </a:lnTo>
                  <a:lnTo>
                    <a:pt x="423" y="999"/>
                  </a:lnTo>
                  <a:lnTo>
                    <a:pt x="423" y="1001"/>
                  </a:lnTo>
                  <a:lnTo>
                    <a:pt x="421" y="1001"/>
                  </a:lnTo>
                  <a:lnTo>
                    <a:pt x="421" y="1003"/>
                  </a:lnTo>
                  <a:lnTo>
                    <a:pt x="419" y="1003"/>
                  </a:lnTo>
                  <a:lnTo>
                    <a:pt x="417" y="1003"/>
                  </a:lnTo>
                  <a:lnTo>
                    <a:pt x="415" y="1003"/>
                  </a:lnTo>
                  <a:lnTo>
                    <a:pt x="415" y="1004"/>
                  </a:lnTo>
                  <a:lnTo>
                    <a:pt x="415" y="1003"/>
                  </a:lnTo>
                  <a:lnTo>
                    <a:pt x="415" y="1004"/>
                  </a:lnTo>
                  <a:lnTo>
                    <a:pt x="415" y="1003"/>
                  </a:lnTo>
                  <a:lnTo>
                    <a:pt x="415" y="1004"/>
                  </a:lnTo>
                  <a:lnTo>
                    <a:pt x="413" y="1004"/>
                  </a:lnTo>
                  <a:lnTo>
                    <a:pt x="413" y="1006"/>
                  </a:lnTo>
                  <a:lnTo>
                    <a:pt x="413" y="1008"/>
                  </a:lnTo>
                  <a:lnTo>
                    <a:pt x="411" y="1008"/>
                  </a:lnTo>
                  <a:lnTo>
                    <a:pt x="411" y="1010"/>
                  </a:lnTo>
                  <a:lnTo>
                    <a:pt x="411" y="1012"/>
                  </a:lnTo>
                  <a:lnTo>
                    <a:pt x="409" y="1012"/>
                  </a:lnTo>
                  <a:lnTo>
                    <a:pt x="409" y="1014"/>
                  </a:lnTo>
                  <a:lnTo>
                    <a:pt x="409" y="1016"/>
                  </a:lnTo>
                  <a:lnTo>
                    <a:pt x="407" y="1016"/>
                  </a:lnTo>
                  <a:lnTo>
                    <a:pt x="407" y="1018"/>
                  </a:lnTo>
                  <a:lnTo>
                    <a:pt x="407" y="1020"/>
                  </a:lnTo>
                  <a:lnTo>
                    <a:pt x="405" y="1020"/>
                  </a:lnTo>
                  <a:lnTo>
                    <a:pt x="405" y="1022"/>
                  </a:lnTo>
                  <a:lnTo>
                    <a:pt x="403" y="1022"/>
                  </a:lnTo>
                  <a:lnTo>
                    <a:pt x="402" y="1022"/>
                  </a:lnTo>
                  <a:lnTo>
                    <a:pt x="402" y="1024"/>
                  </a:lnTo>
                  <a:lnTo>
                    <a:pt x="402" y="1022"/>
                  </a:lnTo>
                  <a:lnTo>
                    <a:pt x="402" y="1024"/>
                  </a:lnTo>
                  <a:lnTo>
                    <a:pt x="402" y="1022"/>
                  </a:lnTo>
                  <a:lnTo>
                    <a:pt x="402" y="1024"/>
                  </a:lnTo>
                  <a:lnTo>
                    <a:pt x="402" y="1022"/>
                  </a:lnTo>
                  <a:lnTo>
                    <a:pt x="400" y="1022"/>
                  </a:lnTo>
                  <a:lnTo>
                    <a:pt x="398" y="1022"/>
                  </a:lnTo>
                  <a:lnTo>
                    <a:pt x="398" y="1020"/>
                  </a:lnTo>
                  <a:lnTo>
                    <a:pt x="396" y="1020"/>
                  </a:lnTo>
                  <a:lnTo>
                    <a:pt x="394" y="1020"/>
                  </a:lnTo>
                  <a:lnTo>
                    <a:pt x="394" y="1022"/>
                  </a:lnTo>
                  <a:lnTo>
                    <a:pt x="392" y="1022"/>
                  </a:lnTo>
                  <a:lnTo>
                    <a:pt x="390" y="1022"/>
                  </a:lnTo>
                  <a:lnTo>
                    <a:pt x="390" y="1024"/>
                  </a:lnTo>
                  <a:lnTo>
                    <a:pt x="392" y="1024"/>
                  </a:lnTo>
                  <a:lnTo>
                    <a:pt x="392" y="1022"/>
                  </a:lnTo>
                  <a:lnTo>
                    <a:pt x="392" y="1024"/>
                  </a:lnTo>
                  <a:lnTo>
                    <a:pt x="394" y="1024"/>
                  </a:lnTo>
                  <a:lnTo>
                    <a:pt x="394" y="1022"/>
                  </a:lnTo>
                  <a:lnTo>
                    <a:pt x="394" y="1024"/>
                  </a:lnTo>
                  <a:lnTo>
                    <a:pt x="394" y="1022"/>
                  </a:lnTo>
                  <a:lnTo>
                    <a:pt x="396" y="1022"/>
                  </a:lnTo>
                  <a:lnTo>
                    <a:pt x="396" y="1024"/>
                  </a:lnTo>
                  <a:lnTo>
                    <a:pt x="396" y="1022"/>
                  </a:lnTo>
                  <a:lnTo>
                    <a:pt x="396" y="1024"/>
                  </a:lnTo>
                  <a:lnTo>
                    <a:pt x="396" y="1022"/>
                  </a:lnTo>
                  <a:lnTo>
                    <a:pt x="396" y="1024"/>
                  </a:lnTo>
                  <a:lnTo>
                    <a:pt x="398" y="1024"/>
                  </a:lnTo>
                  <a:lnTo>
                    <a:pt x="400" y="1024"/>
                  </a:lnTo>
                  <a:lnTo>
                    <a:pt x="402" y="1024"/>
                  </a:lnTo>
                  <a:lnTo>
                    <a:pt x="403" y="1024"/>
                  </a:lnTo>
                  <a:lnTo>
                    <a:pt x="403" y="1026"/>
                  </a:lnTo>
                  <a:lnTo>
                    <a:pt x="405" y="1026"/>
                  </a:lnTo>
                  <a:lnTo>
                    <a:pt x="405" y="1024"/>
                  </a:lnTo>
                  <a:lnTo>
                    <a:pt x="407" y="1024"/>
                  </a:lnTo>
                  <a:lnTo>
                    <a:pt x="405" y="1024"/>
                  </a:lnTo>
                  <a:lnTo>
                    <a:pt x="405" y="1026"/>
                  </a:lnTo>
                  <a:lnTo>
                    <a:pt x="407" y="1026"/>
                  </a:lnTo>
                  <a:lnTo>
                    <a:pt x="407" y="1028"/>
                  </a:lnTo>
                  <a:lnTo>
                    <a:pt x="409" y="1028"/>
                  </a:lnTo>
                  <a:lnTo>
                    <a:pt x="409" y="1029"/>
                  </a:lnTo>
                  <a:lnTo>
                    <a:pt x="411" y="1029"/>
                  </a:lnTo>
                  <a:lnTo>
                    <a:pt x="409" y="1029"/>
                  </a:lnTo>
                  <a:lnTo>
                    <a:pt x="411" y="1029"/>
                  </a:lnTo>
                  <a:lnTo>
                    <a:pt x="409" y="1029"/>
                  </a:lnTo>
                  <a:lnTo>
                    <a:pt x="411" y="1029"/>
                  </a:lnTo>
                  <a:lnTo>
                    <a:pt x="409" y="1029"/>
                  </a:lnTo>
                  <a:lnTo>
                    <a:pt x="409" y="1031"/>
                  </a:lnTo>
                  <a:lnTo>
                    <a:pt x="407" y="1031"/>
                  </a:lnTo>
                  <a:lnTo>
                    <a:pt x="405" y="1031"/>
                  </a:lnTo>
                  <a:lnTo>
                    <a:pt x="403" y="1031"/>
                  </a:lnTo>
                  <a:lnTo>
                    <a:pt x="403" y="1033"/>
                  </a:lnTo>
                  <a:lnTo>
                    <a:pt x="402" y="1033"/>
                  </a:lnTo>
                  <a:lnTo>
                    <a:pt x="402" y="1035"/>
                  </a:lnTo>
                  <a:lnTo>
                    <a:pt x="402" y="1037"/>
                  </a:lnTo>
                  <a:lnTo>
                    <a:pt x="400" y="1037"/>
                  </a:lnTo>
                  <a:lnTo>
                    <a:pt x="400" y="1039"/>
                  </a:lnTo>
                  <a:lnTo>
                    <a:pt x="398" y="1039"/>
                  </a:lnTo>
                  <a:lnTo>
                    <a:pt x="398" y="1041"/>
                  </a:lnTo>
                  <a:lnTo>
                    <a:pt x="398" y="1039"/>
                  </a:lnTo>
                  <a:lnTo>
                    <a:pt x="398" y="1041"/>
                  </a:lnTo>
                  <a:lnTo>
                    <a:pt x="398" y="1039"/>
                  </a:lnTo>
                  <a:lnTo>
                    <a:pt x="398" y="1041"/>
                  </a:lnTo>
                  <a:lnTo>
                    <a:pt x="398" y="1039"/>
                  </a:lnTo>
                  <a:lnTo>
                    <a:pt x="398" y="1041"/>
                  </a:lnTo>
                  <a:lnTo>
                    <a:pt x="396" y="1041"/>
                  </a:lnTo>
                  <a:lnTo>
                    <a:pt x="394" y="1041"/>
                  </a:lnTo>
                  <a:lnTo>
                    <a:pt x="392" y="1039"/>
                  </a:lnTo>
                  <a:lnTo>
                    <a:pt x="390" y="1039"/>
                  </a:lnTo>
                  <a:lnTo>
                    <a:pt x="390" y="1037"/>
                  </a:lnTo>
                  <a:lnTo>
                    <a:pt x="388" y="1037"/>
                  </a:lnTo>
                  <a:lnTo>
                    <a:pt x="388" y="1035"/>
                  </a:lnTo>
                  <a:lnTo>
                    <a:pt x="388" y="1033"/>
                  </a:lnTo>
                  <a:lnTo>
                    <a:pt x="388" y="1031"/>
                  </a:lnTo>
                  <a:lnTo>
                    <a:pt x="388" y="1029"/>
                  </a:lnTo>
                  <a:lnTo>
                    <a:pt x="388" y="1028"/>
                  </a:lnTo>
                  <a:lnTo>
                    <a:pt x="388" y="1026"/>
                  </a:lnTo>
                  <a:lnTo>
                    <a:pt x="388" y="1024"/>
                  </a:lnTo>
                  <a:lnTo>
                    <a:pt x="388" y="1022"/>
                  </a:lnTo>
                  <a:lnTo>
                    <a:pt x="388" y="1020"/>
                  </a:lnTo>
                  <a:lnTo>
                    <a:pt x="386" y="1020"/>
                  </a:lnTo>
                  <a:lnTo>
                    <a:pt x="384" y="1020"/>
                  </a:lnTo>
                  <a:lnTo>
                    <a:pt x="382" y="1020"/>
                  </a:lnTo>
                  <a:lnTo>
                    <a:pt x="380" y="1020"/>
                  </a:lnTo>
                  <a:lnTo>
                    <a:pt x="379" y="1020"/>
                  </a:lnTo>
                  <a:lnTo>
                    <a:pt x="377" y="1020"/>
                  </a:lnTo>
                  <a:lnTo>
                    <a:pt x="377" y="1018"/>
                  </a:lnTo>
                  <a:lnTo>
                    <a:pt x="375" y="1018"/>
                  </a:lnTo>
                  <a:lnTo>
                    <a:pt x="375" y="1020"/>
                  </a:lnTo>
                  <a:lnTo>
                    <a:pt x="373" y="1020"/>
                  </a:lnTo>
                  <a:lnTo>
                    <a:pt x="371" y="1020"/>
                  </a:lnTo>
                  <a:lnTo>
                    <a:pt x="369" y="1020"/>
                  </a:lnTo>
                  <a:lnTo>
                    <a:pt x="367" y="1020"/>
                  </a:lnTo>
                  <a:lnTo>
                    <a:pt x="367" y="1022"/>
                  </a:lnTo>
                  <a:lnTo>
                    <a:pt x="365" y="1022"/>
                  </a:lnTo>
                  <a:lnTo>
                    <a:pt x="363" y="1022"/>
                  </a:lnTo>
                  <a:lnTo>
                    <a:pt x="361" y="1022"/>
                  </a:lnTo>
                  <a:lnTo>
                    <a:pt x="361" y="1024"/>
                  </a:lnTo>
                  <a:lnTo>
                    <a:pt x="359" y="1026"/>
                  </a:lnTo>
                  <a:lnTo>
                    <a:pt x="357" y="1026"/>
                  </a:lnTo>
                  <a:lnTo>
                    <a:pt x="357" y="1028"/>
                  </a:lnTo>
                  <a:lnTo>
                    <a:pt x="355" y="1028"/>
                  </a:lnTo>
                  <a:lnTo>
                    <a:pt x="354" y="1028"/>
                  </a:lnTo>
                  <a:lnTo>
                    <a:pt x="354" y="1029"/>
                  </a:lnTo>
                  <a:lnTo>
                    <a:pt x="352" y="1029"/>
                  </a:lnTo>
                  <a:lnTo>
                    <a:pt x="352" y="1028"/>
                  </a:lnTo>
                  <a:lnTo>
                    <a:pt x="352" y="1029"/>
                  </a:lnTo>
                  <a:lnTo>
                    <a:pt x="350" y="1029"/>
                  </a:lnTo>
                  <a:lnTo>
                    <a:pt x="348" y="1029"/>
                  </a:lnTo>
                  <a:lnTo>
                    <a:pt x="348" y="1031"/>
                  </a:lnTo>
                  <a:lnTo>
                    <a:pt x="348" y="1033"/>
                  </a:lnTo>
                  <a:lnTo>
                    <a:pt x="346" y="1033"/>
                  </a:lnTo>
                  <a:lnTo>
                    <a:pt x="344" y="1033"/>
                  </a:lnTo>
                  <a:lnTo>
                    <a:pt x="344" y="1035"/>
                  </a:lnTo>
                  <a:lnTo>
                    <a:pt x="342" y="1035"/>
                  </a:lnTo>
                  <a:lnTo>
                    <a:pt x="340" y="1035"/>
                  </a:lnTo>
                  <a:lnTo>
                    <a:pt x="340" y="1037"/>
                  </a:lnTo>
                  <a:lnTo>
                    <a:pt x="338" y="1037"/>
                  </a:lnTo>
                  <a:lnTo>
                    <a:pt x="338" y="1039"/>
                  </a:lnTo>
                  <a:lnTo>
                    <a:pt x="336" y="1039"/>
                  </a:lnTo>
                  <a:lnTo>
                    <a:pt x="336" y="1041"/>
                  </a:lnTo>
                  <a:lnTo>
                    <a:pt x="334" y="1041"/>
                  </a:lnTo>
                  <a:lnTo>
                    <a:pt x="332" y="1041"/>
                  </a:lnTo>
                  <a:lnTo>
                    <a:pt x="332" y="1043"/>
                  </a:lnTo>
                  <a:lnTo>
                    <a:pt x="332" y="1045"/>
                  </a:lnTo>
                  <a:lnTo>
                    <a:pt x="331" y="1045"/>
                  </a:lnTo>
                  <a:lnTo>
                    <a:pt x="331" y="1047"/>
                  </a:lnTo>
                  <a:lnTo>
                    <a:pt x="329" y="1047"/>
                  </a:lnTo>
                  <a:lnTo>
                    <a:pt x="329" y="1049"/>
                  </a:lnTo>
                  <a:lnTo>
                    <a:pt x="327" y="1049"/>
                  </a:lnTo>
                  <a:lnTo>
                    <a:pt x="325" y="1049"/>
                  </a:lnTo>
                  <a:lnTo>
                    <a:pt x="325" y="1047"/>
                  </a:lnTo>
                  <a:lnTo>
                    <a:pt x="323" y="1047"/>
                  </a:lnTo>
                  <a:lnTo>
                    <a:pt x="321" y="1045"/>
                  </a:lnTo>
                  <a:lnTo>
                    <a:pt x="319" y="1045"/>
                  </a:lnTo>
                  <a:lnTo>
                    <a:pt x="319" y="1043"/>
                  </a:lnTo>
                  <a:lnTo>
                    <a:pt x="317" y="1043"/>
                  </a:lnTo>
                  <a:lnTo>
                    <a:pt x="315" y="1043"/>
                  </a:lnTo>
                  <a:lnTo>
                    <a:pt x="313" y="1043"/>
                  </a:lnTo>
                  <a:lnTo>
                    <a:pt x="311" y="1043"/>
                  </a:lnTo>
                  <a:lnTo>
                    <a:pt x="309" y="1043"/>
                  </a:lnTo>
                  <a:lnTo>
                    <a:pt x="309" y="1045"/>
                  </a:lnTo>
                  <a:lnTo>
                    <a:pt x="307" y="1045"/>
                  </a:lnTo>
                  <a:lnTo>
                    <a:pt x="307" y="1047"/>
                  </a:lnTo>
                  <a:lnTo>
                    <a:pt x="309" y="1047"/>
                  </a:lnTo>
                  <a:lnTo>
                    <a:pt x="307" y="1047"/>
                  </a:lnTo>
                  <a:lnTo>
                    <a:pt x="307" y="1049"/>
                  </a:lnTo>
                  <a:lnTo>
                    <a:pt x="306" y="1049"/>
                  </a:lnTo>
                  <a:lnTo>
                    <a:pt x="304" y="1049"/>
                  </a:lnTo>
                  <a:lnTo>
                    <a:pt x="302" y="1049"/>
                  </a:lnTo>
                  <a:lnTo>
                    <a:pt x="300" y="1049"/>
                  </a:lnTo>
                  <a:lnTo>
                    <a:pt x="298" y="1049"/>
                  </a:lnTo>
                  <a:lnTo>
                    <a:pt x="298" y="1047"/>
                  </a:lnTo>
                  <a:lnTo>
                    <a:pt x="296" y="1047"/>
                  </a:lnTo>
                  <a:lnTo>
                    <a:pt x="294" y="1047"/>
                  </a:lnTo>
                  <a:lnTo>
                    <a:pt x="292" y="1047"/>
                  </a:lnTo>
                  <a:lnTo>
                    <a:pt x="290" y="1047"/>
                  </a:lnTo>
                  <a:lnTo>
                    <a:pt x="288" y="1047"/>
                  </a:lnTo>
                  <a:lnTo>
                    <a:pt x="288" y="1045"/>
                  </a:lnTo>
                  <a:lnTo>
                    <a:pt x="288" y="1043"/>
                  </a:lnTo>
                  <a:lnTo>
                    <a:pt x="286" y="1043"/>
                  </a:lnTo>
                  <a:lnTo>
                    <a:pt x="286" y="1041"/>
                  </a:lnTo>
                  <a:lnTo>
                    <a:pt x="284" y="1041"/>
                  </a:lnTo>
                  <a:lnTo>
                    <a:pt x="284" y="1039"/>
                  </a:lnTo>
                  <a:lnTo>
                    <a:pt x="286" y="1039"/>
                  </a:lnTo>
                  <a:lnTo>
                    <a:pt x="284" y="1039"/>
                  </a:lnTo>
                  <a:lnTo>
                    <a:pt x="284" y="1037"/>
                  </a:lnTo>
                  <a:lnTo>
                    <a:pt x="283" y="1037"/>
                  </a:lnTo>
                  <a:lnTo>
                    <a:pt x="281" y="1037"/>
                  </a:lnTo>
                  <a:lnTo>
                    <a:pt x="281" y="1035"/>
                  </a:lnTo>
                  <a:lnTo>
                    <a:pt x="281" y="1033"/>
                  </a:lnTo>
                  <a:lnTo>
                    <a:pt x="281" y="1031"/>
                  </a:lnTo>
                  <a:lnTo>
                    <a:pt x="281" y="1029"/>
                  </a:lnTo>
                  <a:lnTo>
                    <a:pt x="279" y="1029"/>
                  </a:lnTo>
                  <a:lnTo>
                    <a:pt x="279" y="1028"/>
                  </a:lnTo>
                  <a:lnTo>
                    <a:pt x="277" y="1028"/>
                  </a:lnTo>
                  <a:lnTo>
                    <a:pt x="275" y="1028"/>
                  </a:lnTo>
                  <a:lnTo>
                    <a:pt x="273" y="1028"/>
                  </a:lnTo>
                  <a:lnTo>
                    <a:pt x="273" y="1029"/>
                  </a:lnTo>
                  <a:lnTo>
                    <a:pt x="273" y="1031"/>
                  </a:lnTo>
                  <a:lnTo>
                    <a:pt x="273" y="1033"/>
                  </a:lnTo>
                  <a:lnTo>
                    <a:pt x="275" y="1033"/>
                  </a:lnTo>
                  <a:lnTo>
                    <a:pt x="273" y="1035"/>
                  </a:lnTo>
                  <a:lnTo>
                    <a:pt x="271" y="1035"/>
                  </a:lnTo>
                  <a:lnTo>
                    <a:pt x="269" y="1035"/>
                  </a:lnTo>
                  <a:lnTo>
                    <a:pt x="267" y="1035"/>
                  </a:lnTo>
                  <a:lnTo>
                    <a:pt x="267" y="1033"/>
                  </a:lnTo>
                  <a:lnTo>
                    <a:pt x="265" y="1033"/>
                  </a:lnTo>
                  <a:lnTo>
                    <a:pt x="263" y="1033"/>
                  </a:lnTo>
                  <a:lnTo>
                    <a:pt x="261" y="1033"/>
                  </a:lnTo>
                  <a:lnTo>
                    <a:pt x="261" y="1031"/>
                  </a:lnTo>
                  <a:lnTo>
                    <a:pt x="259" y="1031"/>
                  </a:lnTo>
                  <a:lnTo>
                    <a:pt x="259" y="1029"/>
                  </a:lnTo>
                  <a:lnTo>
                    <a:pt x="258" y="1029"/>
                  </a:lnTo>
                  <a:lnTo>
                    <a:pt x="256" y="1029"/>
                  </a:lnTo>
                  <a:lnTo>
                    <a:pt x="256" y="1028"/>
                  </a:lnTo>
                  <a:lnTo>
                    <a:pt x="256" y="1026"/>
                  </a:lnTo>
                  <a:lnTo>
                    <a:pt x="256" y="1024"/>
                  </a:lnTo>
                  <a:lnTo>
                    <a:pt x="254" y="1024"/>
                  </a:lnTo>
                  <a:lnTo>
                    <a:pt x="252" y="1024"/>
                  </a:lnTo>
                  <a:lnTo>
                    <a:pt x="252" y="1022"/>
                  </a:lnTo>
                  <a:lnTo>
                    <a:pt x="250" y="1022"/>
                  </a:lnTo>
                  <a:lnTo>
                    <a:pt x="248" y="1022"/>
                  </a:lnTo>
                  <a:lnTo>
                    <a:pt x="246" y="1022"/>
                  </a:lnTo>
                  <a:lnTo>
                    <a:pt x="246" y="1020"/>
                  </a:lnTo>
                  <a:lnTo>
                    <a:pt x="244" y="1020"/>
                  </a:lnTo>
                  <a:lnTo>
                    <a:pt x="242" y="1020"/>
                  </a:lnTo>
                  <a:lnTo>
                    <a:pt x="242" y="1018"/>
                  </a:lnTo>
                  <a:lnTo>
                    <a:pt x="240" y="1018"/>
                  </a:lnTo>
                  <a:lnTo>
                    <a:pt x="238" y="1018"/>
                  </a:lnTo>
                  <a:lnTo>
                    <a:pt x="236" y="1018"/>
                  </a:lnTo>
                  <a:lnTo>
                    <a:pt x="235" y="1016"/>
                  </a:lnTo>
                  <a:lnTo>
                    <a:pt x="235" y="1018"/>
                  </a:lnTo>
                  <a:lnTo>
                    <a:pt x="233" y="1018"/>
                  </a:lnTo>
                  <a:lnTo>
                    <a:pt x="231" y="1018"/>
                  </a:lnTo>
                  <a:lnTo>
                    <a:pt x="229" y="1018"/>
                  </a:lnTo>
                  <a:lnTo>
                    <a:pt x="227" y="1018"/>
                  </a:lnTo>
                  <a:lnTo>
                    <a:pt x="225" y="1018"/>
                  </a:lnTo>
                  <a:lnTo>
                    <a:pt x="223" y="1018"/>
                  </a:lnTo>
                  <a:lnTo>
                    <a:pt x="221" y="1018"/>
                  </a:lnTo>
                  <a:lnTo>
                    <a:pt x="221" y="1016"/>
                  </a:lnTo>
                  <a:lnTo>
                    <a:pt x="221" y="1018"/>
                  </a:lnTo>
                  <a:lnTo>
                    <a:pt x="219" y="1018"/>
                  </a:lnTo>
                  <a:lnTo>
                    <a:pt x="217" y="1018"/>
                  </a:lnTo>
                  <a:lnTo>
                    <a:pt x="215" y="1018"/>
                  </a:lnTo>
                  <a:lnTo>
                    <a:pt x="215" y="1016"/>
                  </a:lnTo>
                  <a:lnTo>
                    <a:pt x="213" y="1016"/>
                  </a:lnTo>
                  <a:lnTo>
                    <a:pt x="211" y="1018"/>
                  </a:lnTo>
                  <a:lnTo>
                    <a:pt x="210" y="1018"/>
                  </a:lnTo>
                  <a:lnTo>
                    <a:pt x="208" y="1018"/>
                  </a:lnTo>
                  <a:lnTo>
                    <a:pt x="208" y="1020"/>
                  </a:lnTo>
                  <a:lnTo>
                    <a:pt x="206" y="1020"/>
                  </a:lnTo>
                  <a:lnTo>
                    <a:pt x="206" y="1018"/>
                  </a:lnTo>
                  <a:lnTo>
                    <a:pt x="204" y="1018"/>
                  </a:lnTo>
                  <a:lnTo>
                    <a:pt x="202" y="1018"/>
                  </a:lnTo>
                  <a:lnTo>
                    <a:pt x="200" y="1018"/>
                  </a:lnTo>
                  <a:lnTo>
                    <a:pt x="198" y="1018"/>
                  </a:lnTo>
                  <a:lnTo>
                    <a:pt x="196" y="1018"/>
                  </a:lnTo>
                  <a:lnTo>
                    <a:pt x="194" y="1018"/>
                  </a:lnTo>
                  <a:lnTo>
                    <a:pt x="192" y="1018"/>
                  </a:lnTo>
                  <a:lnTo>
                    <a:pt x="190" y="1018"/>
                  </a:lnTo>
                  <a:lnTo>
                    <a:pt x="190" y="1020"/>
                  </a:lnTo>
                  <a:lnTo>
                    <a:pt x="188" y="1018"/>
                  </a:lnTo>
                  <a:lnTo>
                    <a:pt x="188" y="1016"/>
                  </a:lnTo>
                  <a:lnTo>
                    <a:pt x="186" y="1016"/>
                  </a:lnTo>
                  <a:lnTo>
                    <a:pt x="186" y="1014"/>
                  </a:lnTo>
                  <a:lnTo>
                    <a:pt x="185" y="1014"/>
                  </a:lnTo>
                  <a:lnTo>
                    <a:pt x="183" y="1014"/>
                  </a:lnTo>
                  <a:lnTo>
                    <a:pt x="183" y="1012"/>
                  </a:lnTo>
                  <a:lnTo>
                    <a:pt x="181" y="1012"/>
                  </a:lnTo>
                  <a:lnTo>
                    <a:pt x="179" y="1012"/>
                  </a:lnTo>
                  <a:lnTo>
                    <a:pt x="179" y="1010"/>
                  </a:lnTo>
                  <a:lnTo>
                    <a:pt x="177" y="1010"/>
                  </a:lnTo>
                  <a:lnTo>
                    <a:pt x="177" y="1008"/>
                  </a:lnTo>
                  <a:lnTo>
                    <a:pt x="175" y="1008"/>
                  </a:lnTo>
                  <a:lnTo>
                    <a:pt x="173" y="1006"/>
                  </a:lnTo>
                  <a:lnTo>
                    <a:pt x="173" y="1004"/>
                  </a:lnTo>
                  <a:lnTo>
                    <a:pt x="171" y="1003"/>
                  </a:lnTo>
                  <a:lnTo>
                    <a:pt x="169" y="1001"/>
                  </a:lnTo>
                  <a:lnTo>
                    <a:pt x="167" y="1001"/>
                  </a:lnTo>
                  <a:lnTo>
                    <a:pt x="167" y="999"/>
                  </a:lnTo>
                  <a:lnTo>
                    <a:pt x="167" y="997"/>
                  </a:lnTo>
                  <a:lnTo>
                    <a:pt x="165" y="997"/>
                  </a:lnTo>
                  <a:lnTo>
                    <a:pt x="165" y="995"/>
                  </a:lnTo>
                  <a:lnTo>
                    <a:pt x="163" y="993"/>
                  </a:lnTo>
                  <a:lnTo>
                    <a:pt x="163" y="991"/>
                  </a:lnTo>
                  <a:lnTo>
                    <a:pt x="162" y="991"/>
                  </a:lnTo>
                  <a:lnTo>
                    <a:pt x="160" y="991"/>
                  </a:lnTo>
                  <a:lnTo>
                    <a:pt x="160" y="989"/>
                  </a:lnTo>
                  <a:lnTo>
                    <a:pt x="158" y="989"/>
                  </a:lnTo>
                  <a:lnTo>
                    <a:pt x="156" y="987"/>
                  </a:lnTo>
                  <a:lnTo>
                    <a:pt x="154" y="985"/>
                  </a:lnTo>
                  <a:lnTo>
                    <a:pt x="154" y="983"/>
                  </a:lnTo>
                  <a:lnTo>
                    <a:pt x="154" y="981"/>
                  </a:lnTo>
                  <a:lnTo>
                    <a:pt x="152" y="981"/>
                  </a:lnTo>
                  <a:lnTo>
                    <a:pt x="150" y="980"/>
                  </a:lnTo>
                  <a:lnTo>
                    <a:pt x="148" y="980"/>
                  </a:lnTo>
                  <a:lnTo>
                    <a:pt x="148" y="978"/>
                  </a:lnTo>
                  <a:lnTo>
                    <a:pt x="148" y="976"/>
                  </a:lnTo>
                  <a:lnTo>
                    <a:pt x="148" y="974"/>
                  </a:lnTo>
                  <a:lnTo>
                    <a:pt x="146" y="974"/>
                  </a:lnTo>
                  <a:lnTo>
                    <a:pt x="146" y="972"/>
                  </a:lnTo>
                  <a:lnTo>
                    <a:pt x="146" y="970"/>
                  </a:lnTo>
                  <a:lnTo>
                    <a:pt x="146" y="968"/>
                  </a:lnTo>
                  <a:lnTo>
                    <a:pt x="146" y="966"/>
                  </a:lnTo>
                  <a:lnTo>
                    <a:pt x="144" y="966"/>
                  </a:lnTo>
                  <a:lnTo>
                    <a:pt x="144" y="964"/>
                  </a:lnTo>
                  <a:lnTo>
                    <a:pt x="142" y="964"/>
                  </a:lnTo>
                  <a:lnTo>
                    <a:pt x="142" y="962"/>
                  </a:lnTo>
                  <a:lnTo>
                    <a:pt x="140" y="962"/>
                  </a:lnTo>
                  <a:lnTo>
                    <a:pt x="140" y="960"/>
                  </a:lnTo>
                  <a:lnTo>
                    <a:pt x="138" y="960"/>
                  </a:lnTo>
                  <a:lnTo>
                    <a:pt x="138" y="958"/>
                  </a:lnTo>
                  <a:lnTo>
                    <a:pt x="137" y="958"/>
                  </a:lnTo>
                  <a:lnTo>
                    <a:pt x="137" y="956"/>
                  </a:lnTo>
                  <a:lnTo>
                    <a:pt x="138" y="955"/>
                  </a:lnTo>
                  <a:lnTo>
                    <a:pt x="138" y="953"/>
                  </a:lnTo>
                  <a:lnTo>
                    <a:pt x="138" y="951"/>
                  </a:lnTo>
                  <a:lnTo>
                    <a:pt x="138" y="949"/>
                  </a:lnTo>
                  <a:lnTo>
                    <a:pt x="138" y="947"/>
                  </a:lnTo>
                  <a:lnTo>
                    <a:pt x="138" y="945"/>
                  </a:lnTo>
                  <a:lnTo>
                    <a:pt x="138" y="943"/>
                  </a:lnTo>
                  <a:lnTo>
                    <a:pt x="137" y="943"/>
                  </a:lnTo>
                  <a:lnTo>
                    <a:pt x="137" y="941"/>
                  </a:lnTo>
                  <a:lnTo>
                    <a:pt x="137" y="939"/>
                  </a:lnTo>
                  <a:lnTo>
                    <a:pt x="137" y="937"/>
                  </a:lnTo>
                  <a:lnTo>
                    <a:pt x="137" y="935"/>
                  </a:lnTo>
                  <a:lnTo>
                    <a:pt x="137" y="933"/>
                  </a:lnTo>
                  <a:lnTo>
                    <a:pt x="135" y="933"/>
                  </a:lnTo>
                  <a:lnTo>
                    <a:pt x="135" y="932"/>
                  </a:lnTo>
                  <a:lnTo>
                    <a:pt x="135" y="930"/>
                  </a:lnTo>
                  <a:lnTo>
                    <a:pt x="135" y="928"/>
                  </a:lnTo>
                  <a:lnTo>
                    <a:pt x="135" y="926"/>
                  </a:lnTo>
                  <a:lnTo>
                    <a:pt x="135" y="924"/>
                  </a:lnTo>
                  <a:lnTo>
                    <a:pt x="133" y="922"/>
                  </a:lnTo>
                  <a:lnTo>
                    <a:pt x="133" y="920"/>
                  </a:lnTo>
                  <a:lnTo>
                    <a:pt x="133" y="918"/>
                  </a:lnTo>
                  <a:lnTo>
                    <a:pt x="133" y="916"/>
                  </a:lnTo>
                  <a:lnTo>
                    <a:pt x="133" y="914"/>
                  </a:lnTo>
                  <a:lnTo>
                    <a:pt x="131" y="912"/>
                  </a:lnTo>
                  <a:lnTo>
                    <a:pt x="131" y="910"/>
                  </a:lnTo>
                  <a:lnTo>
                    <a:pt x="131" y="908"/>
                  </a:lnTo>
                  <a:lnTo>
                    <a:pt x="131" y="907"/>
                  </a:lnTo>
                  <a:lnTo>
                    <a:pt x="131" y="905"/>
                  </a:lnTo>
                  <a:lnTo>
                    <a:pt x="131" y="903"/>
                  </a:lnTo>
                  <a:lnTo>
                    <a:pt x="129" y="903"/>
                  </a:lnTo>
                  <a:lnTo>
                    <a:pt x="129" y="901"/>
                  </a:lnTo>
                  <a:lnTo>
                    <a:pt x="129" y="899"/>
                  </a:lnTo>
                  <a:lnTo>
                    <a:pt x="129" y="897"/>
                  </a:lnTo>
                  <a:lnTo>
                    <a:pt x="129" y="895"/>
                  </a:lnTo>
                  <a:lnTo>
                    <a:pt x="129" y="893"/>
                  </a:lnTo>
                  <a:lnTo>
                    <a:pt x="127" y="893"/>
                  </a:lnTo>
                  <a:lnTo>
                    <a:pt x="127" y="891"/>
                  </a:lnTo>
                  <a:lnTo>
                    <a:pt x="127" y="889"/>
                  </a:lnTo>
                  <a:lnTo>
                    <a:pt x="127" y="887"/>
                  </a:lnTo>
                  <a:lnTo>
                    <a:pt x="127" y="885"/>
                  </a:lnTo>
                  <a:lnTo>
                    <a:pt x="127" y="884"/>
                  </a:lnTo>
                  <a:lnTo>
                    <a:pt x="125" y="882"/>
                  </a:lnTo>
                  <a:lnTo>
                    <a:pt x="125" y="880"/>
                  </a:lnTo>
                  <a:lnTo>
                    <a:pt x="125" y="878"/>
                  </a:lnTo>
                  <a:lnTo>
                    <a:pt x="125" y="876"/>
                  </a:lnTo>
                  <a:lnTo>
                    <a:pt x="125" y="874"/>
                  </a:lnTo>
                  <a:lnTo>
                    <a:pt x="123" y="874"/>
                  </a:lnTo>
                  <a:lnTo>
                    <a:pt x="123" y="872"/>
                  </a:lnTo>
                  <a:lnTo>
                    <a:pt x="123" y="868"/>
                  </a:lnTo>
                  <a:lnTo>
                    <a:pt x="123" y="866"/>
                  </a:lnTo>
                  <a:lnTo>
                    <a:pt x="121" y="864"/>
                  </a:lnTo>
                  <a:lnTo>
                    <a:pt x="121" y="862"/>
                  </a:lnTo>
                  <a:lnTo>
                    <a:pt x="121" y="860"/>
                  </a:lnTo>
                  <a:lnTo>
                    <a:pt x="121" y="859"/>
                  </a:lnTo>
                  <a:lnTo>
                    <a:pt x="119" y="853"/>
                  </a:lnTo>
                  <a:lnTo>
                    <a:pt x="119" y="851"/>
                  </a:lnTo>
                  <a:lnTo>
                    <a:pt x="119" y="849"/>
                  </a:lnTo>
                  <a:lnTo>
                    <a:pt x="119" y="847"/>
                  </a:lnTo>
                  <a:lnTo>
                    <a:pt x="117" y="843"/>
                  </a:lnTo>
                  <a:lnTo>
                    <a:pt x="117" y="841"/>
                  </a:lnTo>
                  <a:lnTo>
                    <a:pt x="117" y="839"/>
                  </a:lnTo>
                  <a:lnTo>
                    <a:pt x="115" y="836"/>
                  </a:lnTo>
                  <a:lnTo>
                    <a:pt x="115" y="834"/>
                  </a:lnTo>
                  <a:lnTo>
                    <a:pt x="115" y="832"/>
                  </a:lnTo>
                  <a:lnTo>
                    <a:pt x="115" y="830"/>
                  </a:lnTo>
                  <a:lnTo>
                    <a:pt x="115" y="828"/>
                  </a:lnTo>
                  <a:lnTo>
                    <a:pt x="114" y="824"/>
                  </a:lnTo>
                  <a:lnTo>
                    <a:pt x="114" y="818"/>
                  </a:lnTo>
                  <a:lnTo>
                    <a:pt x="114" y="816"/>
                  </a:lnTo>
                  <a:lnTo>
                    <a:pt x="112" y="816"/>
                  </a:lnTo>
                  <a:lnTo>
                    <a:pt x="112" y="814"/>
                  </a:lnTo>
                  <a:lnTo>
                    <a:pt x="112" y="812"/>
                  </a:lnTo>
                  <a:lnTo>
                    <a:pt x="112" y="809"/>
                  </a:lnTo>
                  <a:lnTo>
                    <a:pt x="112" y="807"/>
                  </a:lnTo>
                  <a:lnTo>
                    <a:pt x="110" y="803"/>
                  </a:lnTo>
                  <a:lnTo>
                    <a:pt x="110" y="799"/>
                  </a:lnTo>
                  <a:lnTo>
                    <a:pt x="110" y="797"/>
                  </a:lnTo>
                  <a:lnTo>
                    <a:pt x="108" y="791"/>
                  </a:lnTo>
                  <a:lnTo>
                    <a:pt x="108" y="788"/>
                  </a:lnTo>
                  <a:lnTo>
                    <a:pt x="106" y="786"/>
                  </a:lnTo>
                  <a:lnTo>
                    <a:pt x="106" y="782"/>
                  </a:lnTo>
                  <a:lnTo>
                    <a:pt x="104" y="774"/>
                  </a:lnTo>
                  <a:lnTo>
                    <a:pt x="104" y="766"/>
                  </a:lnTo>
                  <a:lnTo>
                    <a:pt x="102" y="761"/>
                  </a:lnTo>
                  <a:lnTo>
                    <a:pt x="102" y="759"/>
                  </a:lnTo>
                  <a:lnTo>
                    <a:pt x="100" y="751"/>
                  </a:lnTo>
                  <a:lnTo>
                    <a:pt x="98" y="743"/>
                  </a:lnTo>
                  <a:lnTo>
                    <a:pt x="98" y="741"/>
                  </a:lnTo>
                  <a:lnTo>
                    <a:pt x="98" y="740"/>
                  </a:lnTo>
                  <a:lnTo>
                    <a:pt x="96" y="738"/>
                  </a:lnTo>
                  <a:lnTo>
                    <a:pt x="96" y="736"/>
                  </a:lnTo>
                  <a:lnTo>
                    <a:pt x="96" y="734"/>
                  </a:lnTo>
                  <a:lnTo>
                    <a:pt x="96" y="732"/>
                  </a:lnTo>
                  <a:lnTo>
                    <a:pt x="96" y="730"/>
                  </a:lnTo>
                  <a:lnTo>
                    <a:pt x="96" y="728"/>
                  </a:lnTo>
                  <a:lnTo>
                    <a:pt x="94" y="724"/>
                  </a:lnTo>
                  <a:lnTo>
                    <a:pt x="94" y="722"/>
                  </a:lnTo>
                  <a:lnTo>
                    <a:pt x="94" y="720"/>
                  </a:lnTo>
                  <a:lnTo>
                    <a:pt x="92" y="715"/>
                  </a:lnTo>
                  <a:lnTo>
                    <a:pt x="92" y="711"/>
                  </a:lnTo>
                  <a:lnTo>
                    <a:pt x="92" y="709"/>
                  </a:lnTo>
                  <a:lnTo>
                    <a:pt x="92" y="707"/>
                  </a:lnTo>
                  <a:lnTo>
                    <a:pt x="90" y="707"/>
                  </a:lnTo>
                  <a:lnTo>
                    <a:pt x="90" y="705"/>
                  </a:lnTo>
                  <a:lnTo>
                    <a:pt x="90" y="703"/>
                  </a:lnTo>
                  <a:lnTo>
                    <a:pt x="89" y="703"/>
                  </a:lnTo>
                  <a:lnTo>
                    <a:pt x="90" y="703"/>
                  </a:lnTo>
                  <a:lnTo>
                    <a:pt x="90" y="701"/>
                  </a:lnTo>
                  <a:lnTo>
                    <a:pt x="90" y="703"/>
                  </a:lnTo>
                  <a:lnTo>
                    <a:pt x="90" y="701"/>
                  </a:lnTo>
                  <a:lnTo>
                    <a:pt x="92" y="701"/>
                  </a:lnTo>
                  <a:lnTo>
                    <a:pt x="92" y="699"/>
                  </a:lnTo>
                  <a:lnTo>
                    <a:pt x="94" y="699"/>
                  </a:lnTo>
                  <a:lnTo>
                    <a:pt x="92" y="699"/>
                  </a:lnTo>
                  <a:lnTo>
                    <a:pt x="94" y="699"/>
                  </a:lnTo>
                  <a:lnTo>
                    <a:pt x="94" y="697"/>
                  </a:lnTo>
                  <a:lnTo>
                    <a:pt x="92" y="697"/>
                  </a:lnTo>
                  <a:lnTo>
                    <a:pt x="94" y="697"/>
                  </a:lnTo>
                  <a:lnTo>
                    <a:pt x="92" y="697"/>
                  </a:lnTo>
                  <a:lnTo>
                    <a:pt x="94" y="697"/>
                  </a:lnTo>
                  <a:lnTo>
                    <a:pt x="94" y="695"/>
                  </a:lnTo>
                  <a:lnTo>
                    <a:pt x="96" y="695"/>
                  </a:lnTo>
                  <a:lnTo>
                    <a:pt x="96" y="693"/>
                  </a:lnTo>
                  <a:lnTo>
                    <a:pt x="96" y="695"/>
                  </a:lnTo>
                  <a:lnTo>
                    <a:pt x="98" y="695"/>
                  </a:lnTo>
                  <a:lnTo>
                    <a:pt x="100" y="695"/>
                  </a:lnTo>
                  <a:lnTo>
                    <a:pt x="100" y="697"/>
                  </a:lnTo>
                  <a:lnTo>
                    <a:pt x="100" y="699"/>
                  </a:lnTo>
                  <a:lnTo>
                    <a:pt x="100" y="701"/>
                  </a:lnTo>
                  <a:lnTo>
                    <a:pt x="100" y="703"/>
                  </a:lnTo>
                  <a:lnTo>
                    <a:pt x="100" y="705"/>
                  </a:lnTo>
                  <a:lnTo>
                    <a:pt x="100" y="703"/>
                  </a:lnTo>
                  <a:lnTo>
                    <a:pt x="100" y="701"/>
                  </a:lnTo>
                  <a:lnTo>
                    <a:pt x="102" y="701"/>
                  </a:lnTo>
                  <a:lnTo>
                    <a:pt x="104" y="701"/>
                  </a:lnTo>
                  <a:lnTo>
                    <a:pt x="106" y="701"/>
                  </a:lnTo>
                  <a:lnTo>
                    <a:pt x="108" y="701"/>
                  </a:lnTo>
                  <a:lnTo>
                    <a:pt x="110" y="701"/>
                  </a:lnTo>
                  <a:lnTo>
                    <a:pt x="110" y="703"/>
                  </a:lnTo>
                  <a:lnTo>
                    <a:pt x="112" y="703"/>
                  </a:lnTo>
                  <a:lnTo>
                    <a:pt x="112" y="705"/>
                  </a:lnTo>
                  <a:lnTo>
                    <a:pt x="112" y="707"/>
                  </a:lnTo>
                  <a:lnTo>
                    <a:pt x="114" y="707"/>
                  </a:lnTo>
                  <a:lnTo>
                    <a:pt x="114" y="709"/>
                  </a:lnTo>
                  <a:lnTo>
                    <a:pt x="114" y="711"/>
                  </a:lnTo>
                  <a:lnTo>
                    <a:pt x="115" y="711"/>
                  </a:lnTo>
                  <a:lnTo>
                    <a:pt x="115" y="713"/>
                  </a:lnTo>
                  <a:lnTo>
                    <a:pt x="115" y="711"/>
                  </a:lnTo>
                  <a:lnTo>
                    <a:pt x="117" y="711"/>
                  </a:lnTo>
                  <a:lnTo>
                    <a:pt x="117" y="709"/>
                  </a:lnTo>
                  <a:lnTo>
                    <a:pt x="115" y="709"/>
                  </a:lnTo>
                  <a:lnTo>
                    <a:pt x="115" y="707"/>
                  </a:lnTo>
                  <a:lnTo>
                    <a:pt x="117" y="707"/>
                  </a:lnTo>
                  <a:lnTo>
                    <a:pt x="117" y="705"/>
                  </a:lnTo>
                  <a:lnTo>
                    <a:pt x="117" y="703"/>
                  </a:lnTo>
                  <a:lnTo>
                    <a:pt x="119" y="703"/>
                  </a:lnTo>
                  <a:lnTo>
                    <a:pt x="119" y="701"/>
                  </a:lnTo>
                  <a:lnTo>
                    <a:pt x="119" y="699"/>
                  </a:lnTo>
                  <a:lnTo>
                    <a:pt x="119" y="701"/>
                  </a:lnTo>
                  <a:lnTo>
                    <a:pt x="119" y="699"/>
                  </a:lnTo>
                  <a:lnTo>
                    <a:pt x="117" y="699"/>
                  </a:lnTo>
                  <a:lnTo>
                    <a:pt x="117" y="697"/>
                  </a:lnTo>
                  <a:lnTo>
                    <a:pt x="117" y="695"/>
                  </a:lnTo>
                  <a:lnTo>
                    <a:pt x="117" y="693"/>
                  </a:lnTo>
                  <a:lnTo>
                    <a:pt x="115" y="693"/>
                  </a:lnTo>
                  <a:lnTo>
                    <a:pt x="114" y="693"/>
                  </a:lnTo>
                  <a:lnTo>
                    <a:pt x="114" y="692"/>
                  </a:lnTo>
                  <a:lnTo>
                    <a:pt x="115" y="692"/>
                  </a:lnTo>
                  <a:lnTo>
                    <a:pt x="117" y="692"/>
                  </a:lnTo>
                  <a:lnTo>
                    <a:pt x="115" y="692"/>
                  </a:lnTo>
                  <a:lnTo>
                    <a:pt x="114" y="692"/>
                  </a:lnTo>
                  <a:lnTo>
                    <a:pt x="112" y="692"/>
                  </a:lnTo>
                  <a:lnTo>
                    <a:pt x="112" y="690"/>
                  </a:lnTo>
                  <a:lnTo>
                    <a:pt x="110" y="690"/>
                  </a:lnTo>
                  <a:lnTo>
                    <a:pt x="108" y="690"/>
                  </a:lnTo>
                  <a:lnTo>
                    <a:pt x="108" y="688"/>
                  </a:lnTo>
                  <a:lnTo>
                    <a:pt x="108" y="686"/>
                  </a:lnTo>
                  <a:lnTo>
                    <a:pt x="106" y="686"/>
                  </a:lnTo>
                  <a:lnTo>
                    <a:pt x="106" y="688"/>
                  </a:lnTo>
                  <a:lnTo>
                    <a:pt x="106" y="686"/>
                  </a:lnTo>
                  <a:lnTo>
                    <a:pt x="106" y="684"/>
                  </a:lnTo>
                  <a:lnTo>
                    <a:pt x="108" y="684"/>
                  </a:lnTo>
                  <a:lnTo>
                    <a:pt x="110" y="684"/>
                  </a:lnTo>
                  <a:lnTo>
                    <a:pt x="110" y="682"/>
                  </a:lnTo>
                  <a:lnTo>
                    <a:pt x="112" y="682"/>
                  </a:lnTo>
                  <a:lnTo>
                    <a:pt x="112" y="680"/>
                  </a:lnTo>
                  <a:lnTo>
                    <a:pt x="114" y="680"/>
                  </a:lnTo>
                  <a:lnTo>
                    <a:pt x="114" y="678"/>
                  </a:lnTo>
                  <a:lnTo>
                    <a:pt x="112" y="678"/>
                  </a:lnTo>
                  <a:lnTo>
                    <a:pt x="112" y="676"/>
                  </a:lnTo>
                  <a:lnTo>
                    <a:pt x="110" y="676"/>
                  </a:lnTo>
                  <a:lnTo>
                    <a:pt x="110" y="674"/>
                  </a:lnTo>
                  <a:lnTo>
                    <a:pt x="112" y="674"/>
                  </a:lnTo>
                  <a:lnTo>
                    <a:pt x="112" y="672"/>
                  </a:lnTo>
                  <a:lnTo>
                    <a:pt x="114" y="672"/>
                  </a:lnTo>
                  <a:lnTo>
                    <a:pt x="114" y="670"/>
                  </a:lnTo>
                  <a:lnTo>
                    <a:pt x="115" y="670"/>
                  </a:lnTo>
                  <a:lnTo>
                    <a:pt x="115" y="669"/>
                  </a:lnTo>
                  <a:lnTo>
                    <a:pt x="115" y="667"/>
                  </a:lnTo>
                  <a:lnTo>
                    <a:pt x="115" y="665"/>
                  </a:lnTo>
                  <a:lnTo>
                    <a:pt x="115" y="667"/>
                  </a:lnTo>
                  <a:lnTo>
                    <a:pt x="117" y="667"/>
                  </a:lnTo>
                  <a:lnTo>
                    <a:pt x="117" y="665"/>
                  </a:lnTo>
                  <a:lnTo>
                    <a:pt x="117" y="663"/>
                  </a:lnTo>
                  <a:lnTo>
                    <a:pt x="115" y="663"/>
                  </a:lnTo>
                  <a:lnTo>
                    <a:pt x="117" y="663"/>
                  </a:lnTo>
                  <a:lnTo>
                    <a:pt x="119" y="663"/>
                  </a:lnTo>
                  <a:lnTo>
                    <a:pt x="117" y="663"/>
                  </a:lnTo>
                  <a:lnTo>
                    <a:pt x="119" y="663"/>
                  </a:lnTo>
                  <a:lnTo>
                    <a:pt x="119" y="661"/>
                  </a:lnTo>
                  <a:lnTo>
                    <a:pt x="119" y="663"/>
                  </a:lnTo>
                  <a:lnTo>
                    <a:pt x="119" y="661"/>
                  </a:lnTo>
                  <a:lnTo>
                    <a:pt x="119" y="663"/>
                  </a:lnTo>
                  <a:lnTo>
                    <a:pt x="121" y="663"/>
                  </a:lnTo>
                  <a:lnTo>
                    <a:pt x="119" y="663"/>
                  </a:lnTo>
                  <a:lnTo>
                    <a:pt x="119" y="661"/>
                  </a:lnTo>
                  <a:lnTo>
                    <a:pt x="119" y="659"/>
                  </a:lnTo>
                  <a:lnTo>
                    <a:pt x="119" y="657"/>
                  </a:lnTo>
                  <a:lnTo>
                    <a:pt x="119" y="655"/>
                  </a:lnTo>
                  <a:lnTo>
                    <a:pt x="117" y="655"/>
                  </a:lnTo>
                  <a:lnTo>
                    <a:pt x="117" y="653"/>
                  </a:lnTo>
                  <a:lnTo>
                    <a:pt x="117" y="651"/>
                  </a:lnTo>
                  <a:lnTo>
                    <a:pt x="117" y="649"/>
                  </a:lnTo>
                  <a:lnTo>
                    <a:pt x="119" y="649"/>
                  </a:lnTo>
                  <a:lnTo>
                    <a:pt x="119" y="647"/>
                  </a:lnTo>
                  <a:lnTo>
                    <a:pt x="119" y="645"/>
                  </a:lnTo>
                  <a:lnTo>
                    <a:pt x="117" y="645"/>
                  </a:lnTo>
                  <a:lnTo>
                    <a:pt x="117" y="644"/>
                  </a:lnTo>
                  <a:lnTo>
                    <a:pt x="117" y="642"/>
                  </a:lnTo>
                  <a:lnTo>
                    <a:pt x="115" y="642"/>
                  </a:lnTo>
                  <a:lnTo>
                    <a:pt x="115" y="640"/>
                  </a:lnTo>
                  <a:lnTo>
                    <a:pt x="117" y="640"/>
                  </a:lnTo>
                  <a:lnTo>
                    <a:pt x="117" y="638"/>
                  </a:lnTo>
                  <a:lnTo>
                    <a:pt x="115" y="638"/>
                  </a:lnTo>
                  <a:lnTo>
                    <a:pt x="115" y="636"/>
                  </a:lnTo>
                  <a:lnTo>
                    <a:pt x="114" y="636"/>
                  </a:lnTo>
                  <a:lnTo>
                    <a:pt x="112" y="636"/>
                  </a:lnTo>
                  <a:lnTo>
                    <a:pt x="110" y="636"/>
                  </a:lnTo>
                  <a:lnTo>
                    <a:pt x="108" y="636"/>
                  </a:lnTo>
                  <a:lnTo>
                    <a:pt x="108" y="634"/>
                  </a:lnTo>
                  <a:lnTo>
                    <a:pt x="108" y="636"/>
                  </a:lnTo>
                  <a:lnTo>
                    <a:pt x="108" y="634"/>
                  </a:lnTo>
                  <a:lnTo>
                    <a:pt x="110" y="634"/>
                  </a:lnTo>
                  <a:lnTo>
                    <a:pt x="108" y="634"/>
                  </a:lnTo>
                  <a:lnTo>
                    <a:pt x="108" y="636"/>
                  </a:lnTo>
                  <a:lnTo>
                    <a:pt x="106" y="636"/>
                  </a:lnTo>
                  <a:lnTo>
                    <a:pt x="106" y="634"/>
                  </a:lnTo>
                  <a:lnTo>
                    <a:pt x="108" y="634"/>
                  </a:lnTo>
                  <a:lnTo>
                    <a:pt x="108" y="632"/>
                  </a:lnTo>
                  <a:lnTo>
                    <a:pt x="108" y="634"/>
                  </a:lnTo>
                  <a:lnTo>
                    <a:pt x="108" y="632"/>
                  </a:lnTo>
                  <a:lnTo>
                    <a:pt x="110" y="632"/>
                  </a:lnTo>
                  <a:lnTo>
                    <a:pt x="108" y="632"/>
                  </a:lnTo>
                  <a:lnTo>
                    <a:pt x="108" y="630"/>
                  </a:lnTo>
                  <a:lnTo>
                    <a:pt x="106" y="630"/>
                  </a:lnTo>
                  <a:lnTo>
                    <a:pt x="106" y="632"/>
                  </a:lnTo>
                  <a:lnTo>
                    <a:pt x="106" y="630"/>
                  </a:lnTo>
                  <a:lnTo>
                    <a:pt x="108" y="630"/>
                  </a:lnTo>
                  <a:lnTo>
                    <a:pt x="106" y="630"/>
                  </a:lnTo>
                  <a:lnTo>
                    <a:pt x="106" y="632"/>
                  </a:lnTo>
                  <a:lnTo>
                    <a:pt x="106" y="630"/>
                  </a:lnTo>
                  <a:lnTo>
                    <a:pt x="106" y="632"/>
                  </a:lnTo>
                  <a:lnTo>
                    <a:pt x="106" y="630"/>
                  </a:lnTo>
                  <a:lnTo>
                    <a:pt x="104" y="630"/>
                  </a:lnTo>
                  <a:lnTo>
                    <a:pt x="106" y="630"/>
                  </a:lnTo>
                  <a:lnTo>
                    <a:pt x="104" y="630"/>
                  </a:lnTo>
                  <a:lnTo>
                    <a:pt x="106" y="630"/>
                  </a:lnTo>
                  <a:lnTo>
                    <a:pt x="106" y="628"/>
                  </a:lnTo>
                  <a:lnTo>
                    <a:pt x="106" y="626"/>
                  </a:lnTo>
                  <a:lnTo>
                    <a:pt x="104" y="626"/>
                  </a:lnTo>
                  <a:lnTo>
                    <a:pt x="104" y="628"/>
                  </a:lnTo>
                  <a:lnTo>
                    <a:pt x="102" y="628"/>
                  </a:lnTo>
                  <a:lnTo>
                    <a:pt x="102" y="626"/>
                  </a:lnTo>
                  <a:lnTo>
                    <a:pt x="104" y="626"/>
                  </a:lnTo>
                  <a:lnTo>
                    <a:pt x="104" y="624"/>
                  </a:lnTo>
                  <a:lnTo>
                    <a:pt x="102" y="624"/>
                  </a:lnTo>
                  <a:lnTo>
                    <a:pt x="100" y="624"/>
                  </a:lnTo>
                  <a:lnTo>
                    <a:pt x="100" y="622"/>
                  </a:lnTo>
                  <a:lnTo>
                    <a:pt x="102" y="622"/>
                  </a:lnTo>
                  <a:lnTo>
                    <a:pt x="100" y="622"/>
                  </a:lnTo>
                  <a:lnTo>
                    <a:pt x="102" y="622"/>
                  </a:lnTo>
                  <a:lnTo>
                    <a:pt x="104" y="622"/>
                  </a:lnTo>
                  <a:lnTo>
                    <a:pt x="106" y="622"/>
                  </a:lnTo>
                  <a:lnTo>
                    <a:pt x="106" y="621"/>
                  </a:lnTo>
                  <a:lnTo>
                    <a:pt x="104" y="621"/>
                  </a:lnTo>
                  <a:lnTo>
                    <a:pt x="104" y="622"/>
                  </a:lnTo>
                  <a:lnTo>
                    <a:pt x="104" y="621"/>
                  </a:lnTo>
                  <a:lnTo>
                    <a:pt x="106" y="621"/>
                  </a:lnTo>
                  <a:lnTo>
                    <a:pt x="104" y="621"/>
                  </a:lnTo>
                  <a:lnTo>
                    <a:pt x="104" y="619"/>
                  </a:lnTo>
                  <a:lnTo>
                    <a:pt x="104" y="621"/>
                  </a:lnTo>
                  <a:lnTo>
                    <a:pt x="104" y="619"/>
                  </a:lnTo>
                  <a:lnTo>
                    <a:pt x="104" y="621"/>
                  </a:lnTo>
                  <a:lnTo>
                    <a:pt x="102" y="621"/>
                  </a:lnTo>
                  <a:lnTo>
                    <a:pt x="102" y="619"/>
                  </a:lnTo>
                  <a:lnTo>
                    <a:pt x="104" y="619"/>
                  </a:lnTo>
                  <a:lnTo>
                    <a:pt x="102" y="619"/>
                  </a:lnTo>
                  <a:lnTo>
                    <a:pt x="104" y="619"/>
                  </a:lnTo>
                  <a:lnTo>
                    <a:pt x="104" y="617"/>
                  </a:lnTo>
                  <a:lnTo>
                    <a:pt x="104" y="615"/>
                  </a:lnTo>
                  <a:lnTo>
                    <a:pt x="104" y="617"/>
                  </a:lnTo>
                  <a:lnTo>
                    <a:pt x="102" y="617"/>
                  </a:lnTo>
                  <a:lnTo>
                    <a:pt x="100" y="617"/>
                  </a:lnTo>
                  <a:lnTo>
                    <a:pt x="98" y="617"/>
                  </a:lnTo>
                  <a:lnTo>
                    <a:pt x="98" y="615"/>
                  </a:lnTo>
                  <a:lnTo>
                    <a:pt x="96" y="615"/>
                  </a:lnTo>
                  <a:lnTo>
                    <a:pt x="96" y="613"/>
                  </a:lnTo>
                  <a:lnTo>
                    <a:pt x="98" y="613"/>
                  </a:lnTo>
                  <a:lnTo>
                    <a:pt x="98" y="611"/>
                  </a:lnTo>
                  <a:lnTo>
                    <a:pt x="100" y="611"/>
                  </a:lnTo>
                  <a:lnTo>
                    <a:pt x="98" y="611"/>
                  </a:lnTo>
                  <a:lnTo>
                    <a:pt x="98" y="609"/>
                  </a:lnTo>
                  <a:lnTo>
                    <a:pt x="100" y="609"/>
                  </a:lnTo>
                  <a:lnTo>
                    <a:pt x="98" y="609"/>
                  </a:lnTo>
                  <a:lnTo>
                    <a:pt x="100" y="609"/>
                  </a:lnTo>
                  <a:lnTo>
                    <a:pt x="98" y="609"/>
                  </a:lnTo>
                  <a:lnTo>
                    <a:pt x="100" y="609"/>
                  </a:lnTo>
                  <a:lnTo>
                    <a:pt x="98" y="609"/>
                  </a:lnTo>
                  <a:lnTo>
                    <a:pt x="96" y="609"/>
                  </a:lnTo>
                  <a:lnTo>
                    <a:pt x="98" y="609"/>
                  </a:lnTo>
                  <a:lnTo>
                    <a:pt x="96" y="609"/>
                  </a:lnTo>
                  <a:lnTo>
                    <a:pt x="96" y="611"/>
                  </a:lnTo>
                  <a:lnTo>
                    <a:pt x="96" y="609"/>
                  </a:lnTo>
                  <a:lnTo>
                    <a:pt x="96" y="611"/>
                  </a:lnTo>
                  <a:lnTo>
                    <a:pt x="94" y="611"/>
                  </a:lnTo>
                  <a:lnTo>
                    <a:pt x="94" y="609"/>
                  </a:lnTo>
                  <a:lnTo>
                    <a:pt x="96" y="609"/>
                  </a:lnTo>
                  <a:lnTo>
                    <a:pt x="94" y="609"/>
                  </a:lnTo>
                  <a:lnTo>
                    <a:pt x="94" y="611"/>
                  </a:lnTo>
                  <a:lnTo>
                    <a:pt x="94" y="609"/>
                  </a:lnTo>
                  <a:lnTo>
                    <a:pt x="92" y="609"/>
                  </a:lnTo>
                  <a:lnTo>
                    <a:pt x="92" y="607"/>
                  </a:lnTo>
                  <a:lnTo>
                    <a:pt x="94" y="607"/>
                  </a:lnTo>
                  <a:lnTo>
                    <a:pt x="94" y="605"/>
                  </a:lnTo>
                  <a:lnTo>
                    <a:pt x="92" y="605"/>
                  </a:lnTo>
                  <a:lnTo>
                    <a:pt x="90" y="605"/>
                  </a:lnTo>
                  <a:lnTo>
                    <a:pt x="92" y="605"/>
                  </a:lnTo>
                  <a:lnTo>
                    <a:pt x="92" y="603"/>
                  </a:lnTo>
                  <a:lnTo>
                    <a:pt x="92" y="601"/>
                  </a:lnTo>
                  <a:lnTo>
                    <a:pt x="92" y="603"/>
                  </a:lnTo>
                  <a:lnTo>
                    <a:pt x="92" y="601"/>
                  </a:lnTo>
                  <a:lnTo>
                    <a:pt x="92" y="603"/>
                  </a:lnTo>
                  <a:lnTo>
                    <a:pt x="92" y="601"/>
                  </a:lnTo>
                  <a:lnTo>
                    <a:pt x="90" y="601"/>
                  </a:lnTo>
                  <a:lnTo>
                    <a:pt x="92" y="601"/>
                  </a:lnTo>
                  <a:lnTo>
                    <a:pt x="92" y="599"/>
                  </a:lnTo>
                  <a:lnTo>
                    <a:pt x="92" y="601"/>
                  </a:lnTo>
                  <a:lnTo>
                    <a:pt x="92" y="599"/>
                  </a:lnTo>
                  <a:lnTo>
                    <a:pt x="90" y="599"/>
                  </a:lnTo>
                  <a:lnTo>
                    <a:pt x="90" y="597"/>
                  </a:lnTo>
                  <a:lnTo>
                    <a:pt x="92" y="597"/>
                  </a:lnTo>
                  <a:lnTo>
                    <a:pt x="92" y="596"/>
                  </a:lnTo>
                  <a:lnTo>
                    <a:pt x="92" y="597"/>
                  </a:lnTo>
                  <a:lnTo>
                    <a:pt x="92" y="596"/>
                  </a:lnTo>
                  <a:lnTo>
                    <a:pt x="92" y="594"/>
                  </a:lnTo>
                  <a:lnTo>
                    <a:pt x="92" y="596"/>
                  </a:lnTo>
                  <a:lnTo>
                    <a:pt x="90" y="596"/>
                  </a:lnTo>
                  <a:lnTo>
                    <a:pt x="90" y="594"/>
                  </a:lnTo>
                  <a:lnTo>
                    <a:pt x="92" y="594"/>
                  </a:lnTo>
                  <a:lnTo>
                    <a:pt x="90" y="594"/>
                  </a:lnTo>
                  <a:lnTo>
                    <a:pt x="92" y="594"/>
                  </a:lnTo>
                  <a:lnTo>
                    <a:pt x="90" y="594"/>
                  </a:lnTo>
                  <a:lnTo>
                    <a:pt x="90" y="592"/>
                  </a:lnTo>
                  <a:lnTo>
                    <a:pt x="90" y="594"/>
                  </a:lnTo>
                  <a:lnTo>
                    <a:pt x="90" y="592"/>
                  </a:lnTo>
                  <a:lnTo>
                    <a:pt x="90" y="594"/>
                  </a:lnTo>
                  <a:lnTo>
                    <a:pt x="89" y="594"/>
                  </a:lnTo>
                  <a:lnTo>
                    <a:pt x="89" y="592"/>
                  </a:lnTo>
                  <a:lnTo>
                    <a:pt x="90" y="592"/>
                  </a:lnTo>
                  <a:lnTo>
                    <a:pt x="90" y="590"/>
                  </a:lnTo>
                  <a:lnTo>
                    <a:pt x="89" y="590"/>
                  </a:lnTo>
                  <a:lnTo>
                    <a:pt x="89" y="588"/>
                  </a:lnTo>
                  <a:lnTo>
                    <a:pt x="90" y="588"/>
                  </a:lnTo>
                  <a:lnTo>
                    <a:pt x="89" y="588"/>
                  </a:lnTo>
                  <a:lnTo>
                    <a:pt x="89" y="586"/>
                  </a:lnTo>
                  <a:lnTo>
                    <a:pt x="87" y="586"/>
                  </a:lnTo>
                  <a:lnTo>
                    <a:pt x="87" y="584"/>
                  </a:lnTo>
                  <a:lnTo>
                    <a:pt x="87" y="586"/>
                  </a:lnTo>
                  <a:lnTo>
                    <a:pt x="89" y="584"/>
                  </a:lnTo>
                  <a:lnTo>
                    <a:pt x="87" y="584"/>
                  </a:lnTo>
                  <a:lnTo>
                    <a:pt x="85" y="584"/>
                  </a:lnTo>
                  <a:lnTo>
                    <a:pt x="85" y="586"/>
                  </a:lnTo>
                  <a:lnTo>
                    <a:pt x="85" y="584"/>
                  </a:lnTo>
                  <a:lnTo>
                    <a:pt x="87" y="584"/>
                  </a:lnTo>
                  <a:lnTo>
                    <a:pt x="87" y="582"/>
                  </a:lnTo>
                  <a:lnTo>
                    <a:pt x="85" y="582"/>
                  </a:lnTo>
                  <a:lnTo>
                    <a:pt x="85" y="584"/>
                  </a:lnTo>
                  <a:lnTo>
                    <a:pt x="83" y="584"/>
                  </a:lnTo>
                  <a:lnTo>
                    <a:pt x="85" y="584"/>
                  </a:lnTo>
                  <a:lnTo>
                    <a:pt x="85" y="582"/>
                  </a:lnTo>
                  <a:lnTo>
                    <a:pt x="83" y="582"/>
                  </a:lnTo>
                  <a:lnTo>
                    <a:pt x="83" y="580"/>
                  </a:lnTo>
                  <a:lnTo>
                    <a:pt x="81" y="580"/>
                  </a:lnTo>
                  <a:lnTo>
                    <a:pt x="83" y="580"/>
                  </a:lnTo>
                  <a:lnTo>
                    <a:pt x="81" y="580"/>
                  </a:lnTo>
                  <a:lnTo>
                    <a:pt x="83" y="580"/>
                  </a:lnTo>
                  <a:lnTo>
                    <a:pt x="83" y="578"/>
                  </a:lnTo>
                  <a:lnTo>
                    <a:pt x="83" y="580"/>
                  </a:lnTo>
                  <a:lnTo>
                    <a:pt x="81" y="580"/>
                  </a:lnTo>
                  <a:lnTo>
                    <a:pt x="81" y="578"/>
                  </a:lnTo>
                  <a:lnTo>
                    <a:pt x="83" y="578"/>
                  </a:lnTo>
                  <a:lnTo>
                    <a:pt x="85" y="578"/>
                  </a:lnTo>
                  <a:lnTo>
                    <a:pt x="85" y="576"/>
                  </a:lnTo>
                  <a:lnTo>
                    <a:pt x="85" y="578"/>
                  </a:lnTo>
                  <a:lnTo>
                    <a:pt x="85" y="576"/>
                  </a:lnTo>
                  <a:lnTo>
                    <a:pt x="85" y="578"/>
                  </a:lnTo>
                  <a:lnTo>
                    <a:pt x="85" y="576"/>
                  </a:lnTo>
                  <a:lnTo>
                    <a:pt x="83" y="576"/>
                  </a:lnTo>
                  <a:lnTo>
                    <a:pt x="85" y="576"/>
                  </a:lnTo>
                  <a:lnTo>
                    <a:pt x="87" y="576"/>
                  </a:lnTo>
                  <a:lnTo>
                    <a:pt x="89" y="576"/>
                  </a:lnTo>
                  <a:lnTo>
                    <a:pt x="89" y="574"/>
                  </a:lnTo>
                  <a:lnTo>
                    <a:pt x="87" y="574"/>
                  </a:lnTo>
                  <a:lnTo>
                    <a:pt x="85" y="574"/>
                  </a:lnTo>
                  <a:lnTo>
                    <a:pt x="87" y="574"/>
                  </a:lnTo>
                  <a:lnTo>
                    <a:pt x="87" y="573"/>
                  </a:lnTo>
                  <a:lnTo>
                    <a:pt x="85" y="573"/>
                  </a:lnTo>
                  <a:lnTo>
                    <a:pt x="85" y="574"/>
                  </a:lnTo>
                  <a:lnTo>
                    <a:pt x="85" y="573"/>
                  </a:lnTo>
                  <a:lnTo>
                    <a:pt x="83" y="573"/>
                  </a:lnTo>
                  <a:lnTo>
                    <a:pt x="83" y="574"/>
                  </a:lnTo>
                  <a:lnTo>
                    <a:pt x="85" y="574"/>
                  </a:lnTo>
                  <a:lnTo>
                    <a:pt x="85" y="573"/>
                  </a:lnTo>
                  <a:lnTo>
                    <a:pt x="85" y="574"/>
                  </a:lnTo>
                  <a:lnTo>
                    <a:pt x="83" y="574"/>
                  </a:lnTo>
                  <a:lnTo>
                    <a:pt x="83" y="573"/>
                  </a:lnTo>
                  <a:lnTo>
                    <a:pt x="85" y="573"/>
                  </a:lnTo>
                  <a:lnTo>
                    <a:pt x="83" y="573"/>
                  </a:lnTo>
                  <a:lnTo>
                    <a:pt x="85" y="573"/>
                  </a:lnTo>
                  <a:lnTo>
                    <a:pt x="83" y="573"/>
                  </a:lnTo>
                  <a:lnTo>
                    <a:pt x="83" y="571"/>
                  </a:lnTo>
                  <a:lnTo>
                    <a:pt x="85" y="571"/>
                  </a:lnTo>
                  <a:lnTo>
                    <a:pt x="83" y="571"/>
                  </a:lnTo>
                  <a:lnTo>
                    <a:pt x="81" y="571"/>
                  </a:lnTo>
                  <a:lnTo>
                    <a:pt x="83" y="571"/>
                  </a:lnTo>
                  <a:lnTo>
                    <a:pt x="83" y="569"/>
                  </a:lnTo>
                  <a:lnTo>
                    <a:pt x="83" y="571"/>
                  </a:lnTo>
                  <a:lnTo>
                    <a:pt x="83" y="569"/>
                  </a:lnTo>
                  <a:lnTo>
                    <a:pt x="81" y="569"/>
                  </a:lnTo>
                  <a:lnTo>
                    <a:pt x="81" y="567"/>
                  </a:lnTo>
                  <a:lnTo>
                    <a:pt x="79" y="567"/>
                  </a:lnTo>
                  <a:lnTo>
                    <a:pt x="81" y="567"/>
                  </a:lnTo>
                  <a:lnTo>
                    <a:pt x="83" y="567"/>
                  </a:lnTo>
                  <a:lnTo>
                    <a:pt x="85" y="567"/>
                  </a:lnTo>
                  <a:lnTo>
                    <a:pt x="83" y="567"/>
                  </a:lnTo>
                  <a:lnTo>
                    <a:pt x="81" y="567"/>
                  </a:lnTo>
                  <a:lnTo>
                    <a:pt x="83" y="567"/>
                  </a:lnTo>
                  <a:lnTo>
                    <a:pt x="83" y="565"/>
                  </a:lnTo>
                  <a:lnTo>
                    <a:pt x="83" y="567"/>
                  </a:lnTo>
                  <a:lnTo>
                    <a:pt x="83" y="565"/>
                  </a:lnTo>
                  <a:lnTo>
                    <a:pt x="81" y="565"/>
                  </a:lnTo>
                  <a:lnTo>
                    <a:pt x="79" y="565"/>
                  </a:lnTo>
                  <a:lnTo>
                    <a:pt x="81" y="565"/>
                  </a:lnTo>
                  <a:lnTo>
                    <a:pt x="79" y="565"/>
                  </a:lnTo>
                  <a:lnTo>
                    <a:pt x="81" y="565"/>
                  </a:lnTo>
                  <a:lnTo>
                    <a:pt x="79" y="565"/>
                  </a:lnTo>
                  <a:lnTo>
                    <a:pt x="81" y="565"/>
                  </a:lnTo>
                  <a:lnTo>
                    <a:pt x="81" y="563"/>
                  </a:lnTo>
                  <a:lnTo>
                    <a:pt x="79" y="563"/>
                  </a:lnTo>
                  <a:lnTo>
                    <a:pt x="79" y="561"/>
                  </a:lnTo>
                  <a:lnTo>
                    <a:pt x="81" y="561"/>
                  </a:lnTo>
                  <a:lnTo>
                    <a:pt x="79" y="561"/>
                  </a:lnTo>
                  <a:lnTo>
                    <a:pt x="81" y="561"/>
                  </a:lnTo>
                  <a:lnTo>
                    <a:pt x="79" y="561"/>
                  </a:lnTo>
                  <a:lnTo>
                    <a:pt x="79" y="559"/>
                  </a:lnTo>
                  <a:lnTo>
                    <a:pt x="79" y="557"/>
                  </a:lnTo>
                  <a:lnTo>
                    <a:pt x="79" y="559"/>
                  </a:lnTo>
                  <a:lnTo>
                    <a:pt x="79" y="557"/>
                  </a:lnTo>
                  <a:lnTo>
                    <a:pt x="77" y="557"/>
                  </a:lnTo>
                  <a:lnTo>
                    <a:pt x="77" y="555"/>
                  </a:lnTo>
                  <a:lnTo>
                    <a:pt x="79" y="555"/>
                  </a:lnTo>
                  <a:lnTo>
                    <a:pt x="81" y="555"/>
                  </a:lnTo>
                  <a:lnTo>
                    <a:pt x="83" y="555"/>
                  </a:lnTo>
                  <a:lnTo>
                    <a:pt x="81" y="555"/>
                  </a:lnTo>
                  <a:lnTo>
                    <a:pt x="83" y="555"/>
                  </a:lnTo>
                  <a:lnTo>
                    <a:pt x="81" y="555"/>
                  </a:lnTo>
                  <a:lnTo>
                    <a:pt x="81" y="553"/>
                  </a:lnTo>
                  <a:lnTo>
                    <a:pt x="79" y="553"/>
                  </a:lnTo>
                  <a:lnTo>
                    <a:pt x="77" y="553"/>
                  </a:lnTo>
                  <a:lnTo>
                    <a:pt x="79" y="553"/>
                  </a:lnTo>
                  <a:lnTo>
                    <a:pt x="77" y="553"/>
                  </a:lnTo>
                  <a:lnTo>
                    <a:pt x="75" y="553"/>
                  </a:lnTo>
                  <a:lnTo>
                    <a:pt x="77" y="553"/>
                  </a:lnTo>
                  <a:lnTo>
                    <a:pt x="79" y="553"/>
                  </a:lnTo>
                  <a:lnTo>
                    <a:pt x="77" y="553"/>
                  </a:lnTo>
                  <a:lnTo>
                    <a:pt x="77" y="551"/>
                  </a:lnTo>
                  <a:lnTo>
                    <a:pt x="77" y="553"/>
                  </a:lnTo>
                  <a:lnTo>
                    <a:pt x="77" y="551"/>
                  </a:lnTo>
                  <a:lnTo>
                    <a:pt x="77" y="553"/>
                  </a:lnTo>
                  <a:lnTo>
                    <a:pt x="79" y="553"/>
                  </a:lnTo>
                  <a:lnTo>
                    <a:pt x="79" y="551"/>
                  </a:lnTo>
                  <a:lnTo>
                    <a:pt x="81" y="551"/>
                  </a:lnTo>
                  <a:lnTo>
                    <a:pt x="79" y="551"/>
                  </a:lnTo>
                  <a:lnTo>
                    <a:pt x="77" y="551"/>
                  </a:lnTo>
                  <a:lnTo>
                    <a:pt x="77" y="549"/>
                  </a:lnTo>
                  <a:lnTo>
                    <a:pt x="79" y="549"/>
                  </a:lnTo>
                  <a:lnTo>
                    <a:pt x="81" y="549"/>
                  </a:lnTo>
                  <a:lnTo>
                    <a:pt x="81" y="548"/>
                  </a:lnTo>
                  <a:lnTo>
                    <a:pt x="79" y="548"/>
                  </a:lnTo>
                  <a:lnTo>
                    <a:pt x="77" y="548"/>
                  </a:lnTo>
                  <a:lnTo>
                    <a:pt x="79" y="548"/>
                  </a:lnTo>
                  <a:lnTo>
                    <a:pt x="77" y="548"/>
                  </a:lnTo>
                  <a:lnTo>
                    <a:pt x="79" y="548"/>
                  </a:lnTo>
                  <a:lnTo>
                    <a:pt x="79" y="546"/>
                  </a:lnTo>
                  <a:lnTo>
                    <a:pt x="79" y="548"/>
                  </a:lnTo>
                  <a:lnTo>
                    <a:pt x="81" y="548"/>
                  </a:lnTo>
                  <a:lnTo>
                    <a:pt x="81" y="546"/>
                  </a:lnTo>
                  <a:lnTo>
                    <a:pt x="83" y="546"/>
                  </a:lnTo>
                  <a:lnTo>
                    <a:pt x="81" y="546"/>
                  </a:lnTo>
                  <a:lnTo>
                    <a:pt x="81" y="548"/>
                  </a:lnTo>
                  <a:lnTo>
                    <a:pt x="79" y="548"/>
                  </a:lnTo>
                  <a:lnTo>
                    <a:pt x="79" y="546"/>
                  </a:lnTo>
                  <a:lnTo>
                    <a:pt x="79" y="548"/>
                  </a:lnTo>
                  <a:lnTo>
                    <a:pt x="77" y="548"/>
                  </a:lnTo>
                  <a:lnTo>
                    <a:pt x="75" y="548"/>
                  </a:lnTo>
                  <a:lnTo>
                    <a:pt x="77" y="548"/>
                  </a:lnTo>
                  <a:lnTo>
                    <a:pt x="75" y="548"/>
                  </a:lnTo>
                  <a:lnTo>
                    <a:pt x="77" y="548"/>
                  </a:lnTo>
                  <a:lnTo>
                    <a:pt x="75" y="548"/>
                  </a:lnTo>
                  <a:lnTo>
                    <a:pt x="77" y="548"/>
                  </a:lnTo>
                  <a:lnTo>
                    <a:pt x="77" y="546"/>
                  </a:lnTo>
                  <a:lnTo>
                    <a:pt x="75" y="546"/>
                  </a:lnTo>
                  <a:lnTo>
                    <a:pt x="75" y="548"/>
                  </a:lnTo>
                  <a:lnTo>
                    <a:pt x="75" y="546"/>
                  </a:lnTo>
                  <a:lnTo>
                    <a:pt x="77" y="546"/>
                  </a:lnTo>
                  <a:lnTo>
                    <a:pt x="75" y="546"/>
                  </a:lnTo>
                  <a:lnTo>
                    <a:pt x="73" y="546"/>
                  </a:lnTo>
                  <a:lnTo>
                    <a:pt x="75" y="546"/>
                  </a:lnTo>
                  <a:lnTo>
                    <a:pt x="73" y="546"/>
                  </a:lnTo>
                  <a:lnTo>
                    <a:pt x="71" y="546"/>
                  </a:lnTo>
                  <a:lnTo>
                    <a:pt x="73" y="546"/>
                  </a:lnTo>
                  <a:lnTo>
                    <a:pt x="73" y="544"/>
                  </a:lnTo>
                  <a:lnTo>
                    <a:pt x="73" y="546"/>
                  </a:lnTo>
                  <a:lnTo>
                    <a:pt x="73" y="544"/>
                  </a:lnTo>
                  <a:lnTo>
                    <a:pt x="71" y="544"/>
                  </a:lnTo>
                  <a:lnTo>
                    <a:pt x="73" y="544"/>
                  </a:lnTo>
                  <a:lnTo>
                    <a:pt x="73" y="546"/>
                  </a:lnTo>
                  <a:lnTo>
                    <a:pt x="73" y="544"/>
                  </a:lnTo>
                  <a:lnTo>
                    <a:pt x="73" y="546"/>
                  </a:lnTo>
                  <a:lnTo>
                    <a:pt x="73" y="544"/>
                  </a:lnTo>
                  <a:lnTo>
                    <a:pt x="75" y="544"/>
                  </a:lnTo>
                  <a:lnTo>
                    <a:pt x="77" y="544"/>
                  </a:lnTo>
                  <a:lnTo>
                    <a:pt x="75" y="544"/>
                  </a:lnTo>
                  <a:lnTo>
                    <a:pt x="77" y="544"/>
                  </a:lnTo>
                  <a:lnTo>
                    <a:pt x="75" y="544"/>
                  </a:lnTo>
                  <a:lnTo>
                    <a:pt x="77" y="544"/>
                  </a:lnTo>
                  <a:lnTo>
                    <a:pt x="77" y="542"/>
                  </a:lnTo>
                  <a:lnTo>
                    <a:pt x="75" y="542"/>
                  </a:lnTo>
                  <a:lnTo>
                    <a:pt x="73" y="542"/>
                  </a:lnTo>
                  <a:lnTo>
                    <a:pt x="75" y="542"/>
                  </a:lnTo>
                  <a:lnTo>
                    <a:pt x="73" y="542"/>
                  </a:lnTo>
                  <a:lnTo>
                    <a:pt x="75" y="542"/>
                  </a:lnTo>
                  <a:lnTo>
                    <a:pt x="75" y="540"/>
                  </a:lnTo>
                  <a:lnTo>
                    <a:pt x="77" y="540"/>
                  </a:lnTo>
                  <a:lnTo>
                    <a:pt x="77" y="538"/>
                  </a:lnTo>
                  <a:lnTo>
                    <a:pt x="75" y="540"/>
                  </a:lnTo>
                  <a:lnTo>
                    <a:pt x="77" y="538"/>
                  </a:lnTo>
                  <a:lnTo>
                    <a:pt x="75" y="538"/>
                  </a:lnTo>
                  <a:lnTo>
                    <a:pt x="75" y="540"/>
                  </a:lnTo>
                  <a:lnTo>
                    <a:pt x="73" y="540"/>
                  </a:lnTo>
                  <a:lnTo>
                    <a:pt x="71" y="540"/>
                  </a:lnTo>
                  <a:lnTo>
                    <a:pt x="69" y="540"/>
                  </a:lnTo>
                  <a:lnTo>
                    <a:pt x="69" y="542"/>
                  </a:lnTo>
                  <a:lnTo>
                    <a:pt x="71" y="542"/>
                  </a:lnTo>
                  <a:lnTo>
                    <a:pt x="69" y="542"/>
                  </a:lnTo>
                  <a:lnTo>
                    <a:pt x="71" y="542"/>
                  </a:lnTo>
                  <a:lnTo>
                    <a:pt x="69" y="542"/>
                  </a:lnTo>
                  <a:lnTo>
                    <a:pt x="67" y="542"/>
                  </a:lnTo>
                  <a:lnTo>
                    <a:pt x="69" y="542"/>
                  </a:lnTo>
                  <a:lnTo>
                    <a:pt x="69" y="540"/>
                  </a:lnTo>
                  <a:lnTo>
                    <a:pt x="67" y="540"/>
                  </a:lnTo>
                  <a:lnTo>
                    <a:pt x="69" y="540"/>
                  </a:lnTo>
                  <a:lnTo>
                    <a:pt x="67" y="540"/>
                  </a:lnTo>
                  <a:lnTo>
                    <a:pt x="69" y="540"/>
                  </a:lnTo>
                  <a:lnTo>
                    <a:pt x="69" y="538"/>
                  </a:lnTo>
                  <a:lnTo>
                    <a:pt x="67" y="538"/>
                  </a:lnTo>
                  <a:lnTo>
                    <a:pt x="69" y="538"/>
                  </a:lnTo>
                  <a:lnTo>
                    <a:pt x="67" y="538"/>
                  </a:lnTo>
                  <a:lnTo>
                    <a:pt x="69" y="538"/>
                  </a:lnTo>
                  <a:lnTo>
                    <a:pt x="67" y="538"/>
                  </a:lnTo>
                  <a:lnTo>
                    <a:pt x="67" y="540"/>
                  </a:lnTo>
                  <a:lnTo>
                    <a:pt x="66" y="540"/>
                  </a:lnTo>
                  <a:lnTo>
                    <a:pt x="66" y="542"/>
                  </a:lnTo>
                  <a:lnTo>
                    <a:pt x="66" y="540"/>
                  </a:lnTo>
                  <a:lnTo>
                    <a:pt x="67" y="540"/>
                  </a:lnTo>
                  <a:lnTo>
                    <a:pt x="66" y="540"/>
                  </a:lnTo>
                  <a:lnTo>
                    <a:pt x="66" y="542"/>
                  </a:lnTo>
                  <a:lnTo>
                    <a:pt x="66" y="540"/>
                  </a:lnTo>
                  <a:lnTo>
                    <a:pt x="64" y="540"/>
                  </a:lnTo>
                  <a:lnTo>
                    <a:pt x="64" y="542"/>
                  </a:lnTo>
                  <a:lnTo>
                    <a:pt x="64" y="540"/>
                  </a:lnTo>
                  <a:lnTo>
                    <a:pt x="66" y="540"/>
                  </a:lnTo>
                  <a:lnTo>
                    <a:pt x="64" y="540"/>
                  </a:lnTo>
                  <a:lnTo>
                    <a:pt x="64" y="538"/>
                  </a:lnTo>
                  <a:lnTo>
                    <a:pt x="66" y="538"/>
                  </a:lnTo>
                  <a:lnTo>
                    <a:pt x="66" y="540"/>
                  </a:lnTo>
                  <a:lnTo>
                    <a:pt x="64" y="540"/>
                  </a:lnTo>
                  <a:lnTo>
                    <a:pt x="66" y="540"/>
                  </a:lnTo>
                  <a:lnTo>
                    <a:pt x="66" y="538"/>
                  </a:lnTo>
                  <a:lnTo>
                    <a:pt x="66" y="540"/>
                  </a:lnTo>
                  <a:lnTo>
                    <a:pt x="66" y="538"/>
                  </a:lnTo>
                  <a:lnTo>
                    <a:pt x="67" y="538"/>
                  </a:lnTo>
                  <a:lnTo>
                    <a:pt x="66" y="538"/>
                  </a:lnTo>
                  <a:lnTo>
                    <a:pt x="67" y="538"/>
                  </a:lnTo>
                  <a:lnTo>
                    <a:pt x="67" y="536"/>
                  </a:lnTo>
                  <a:lnTo>
                    <a:pt x="66" y="538"/>
                  </a:lnTo>
                  <a:lnTo>
                    <a:pt x="66" y="536"/>
                  </a:lnTo>
                  <a:lnTo>
                    <a:pt x="67" y="536"/>
                  </a:lnTo>
                  <a:lnTo>
                    <a:pt x="66" y="536"/>
                  </a:lnTo>
                  <a:lnTo>
                    <a:pt x="64" y="536"/>
                  </a:lnTo>
                  <a:lnTo>
                    <a:pt x="64" y="534"/>
                  </a:lnTo>
                  <a:lnTo>
                    <a:pt x="62" y="534"/>
                  </a:lnTo>
                  <a:lnTo>
                    <a:pt x="64" y="534"/>
                  </a:lnTo>
                  <a:lnTo>
                    <a:pt x="62" y="534"/>
                  </a:lnTo>
                  <a:lnTo>
                    <a:pt x="62" y="536"/>
                  </a:lnTo>
                  <a:lnTo>
                    <a:pt x="62" y="534"/>
                  </a:lnTo>
                  <a:lnTo>
                    <a:pt x="60" y="534"/>
                  </a:lnTo>
                  <a:lnTo>
                    <a:pt x="62" y="534"/>
                  </a:lnTo>
                  <a:lnTo>
                    <a:pt x="60" y="534"/>
                  </a:lnTo>
                  <a:lnTo>
                    <a:pt x="58" y="534"/>
                  </a:lnTo>
                  <a:lnTo>
                    <a:pt x="60" y="534"/>
                  </a:lnTo>
                  <a:lnTo>
                    <a:pt x="58" y="534"/>
                  </a:lnTo>
                  <a:lnTo>
                    <a:pt x="60" y="534"/>
                  </a:lnTo>
                  <a:lnTo>
                    <a:pt x="58" y="534"/>
                  </a:lnTo>
                  <a:lnTo>
                    <a:pt x="60" y="534"/>
                  </a:lnTo>
                  <a:lnTo>
                    <a:pt x="60" y="532"/>
                  </a:lnTo>
                  <a:lnTo>
                    <a:pt x="62" y="532"/>
                  </a:lnTo>
                  <a:lnTo>
                    <a:pt x="64" y="532"/>
                  </a:lnTo>
                  <a:lnTo>
                    <a:pt x="64" y="530"/>
                  </a:lnTo>
                  <a:lnTo>
                    <a:pt x="66" y="530"/>
                  </a:lnTo>
                  <a:lnTo>
                    <a:pt x="64" y="530"/>
                  </a:lnTo>
                  <a:lnTo>
                    <a:pt x="64" y="532"/>
                  </a:lnTo>
                  <a:lnTo>
                    <a:pt x="62" y="532"/>
                  </a:lnTo>
                  <a:lnTo>
                    <a:pt x="64" y="532"/>
                  </a:lnTo>
                  <a:lnTo>
                    <a:pt x="62" y="532"/>
                  </a:lnTo>
                  <a:lnTo>
                    <a:pt x="60" y="532"/>
                  </a:lnTo>
                  <a:lnTo>
                    <a:pt x="58" y="532"/>
                  </a:lnTo>
                  <a:lnTo>
                    <a:pt x="60" y="532"/>
                  </a:lnTo>
                  <a:lnTo>
                    <a:pt x="60" y="530"/>
                  </a:lnTo>
                  <a:lnTo>
                    <a:pt x="58" y="530"/>
                  </a:lnTo>
                  <a:lnTo>
                    <a:pt x="58" y="532"/>
                  </a:lnTo>
                  <a:lnTo>
                    <a:pt x="58" y="530"/>
                  </a:lnTo>
                  <a:lnTo>
                    <a:pt x="56" y="530"/>
                  </a:lnTo>
                  <a:lnTo>
                    <a:pt x="58" y="530"/>
                  </a:lnTo>
                  <a:lnTo>
                    <a:pt x="58" y="528"/>
                  </a:lnTo>
                  <a:lnTo>
                    <a:pt x="58" y="530"/>
                  </a:lnTo>
                  <a:lnTo>
                    <a:pt x="58" y="528"/>
                  </a:lnTo>
                  <a:lnTo>
                    <a:pt x="56" y="528"/>
                  </a:lnTo>
                  <a:lnTo>
                    <a:pt x="58" y="528"/>
                  </a:lnTo>
                  <a:lnTo>
                    <a:pt x="58" y="526"/>
                  </a:lnTo>
                  <a:lnTo>
                    <a:pt x="56" y="526"/>
                  </a:lnTo>
                  <a:lnTo>
                    <a:pt x="58" y="526"/>
                  </a:lnTo>
                  <a:lnTo>
                    <a:pt x="56" y="526"/>
                  </a:lnTo>
                  <a:lnTo>
                    <a:pt x="56" y="528"/>
                  </a:lnTo>
                  <a:lnTo>
                    <a:pt x="56" y="526"/>
                  </a:lnTo>
                  <a:lnTo>
                    <a:pt x="58" y="526"/>
                  </a:lnTo>
                  <a:lnTo>
                    <a:pt x="56" y="526"/>
                  </a:lnTo>
                  <a:lnTo>
                    <a:pt x="58" y="526"/>
                  </a:lnTo>
                  <a:lnTo>
                    <a:pt x="58" y="525"/>
                  </a:lnTo>
                  <a:lnTo>
                    <a:pt x="58" y="526"/>
                  </a:lnTo>
                  <a:lnTo>
                    <a:pt x="58" y="525"/>
                  </a:lnTo>
                  <a:lnTo>
                    <a:pt x="56" y="525"/>
                  </a:lnTo>
                  <a:lnTo>
                    <a:pt x="58" y="525"/>
                  </a:lnTo>
                  <a:lnTo>
                    <a:pt x="56" y="525"/>
                  </a:lnTo>
                  <a:lnTo>
                    <a:pt x="54" y="525"/>
                  </a:lnTo>
                  <a:lnTo>
                    <a:pt x="56" y="525"/>
                  </a:lnTo>
                  <a:lnTo>
                    <a:pt x="56" y="523"/>
                  </a:lnTo>
                  <a:lnTo>
                    <a:pt x="54" y="523"/>
                  </a:lnTo>
                  <a:lnTo>
                    <a:pt x="56" y="523"/>
                  </a:lnTo>
                  <a:lnTo>
                    <a:pt x="56" y="521"/>
                  </a:lnTo>
                  <a:lnTo>
                    <a:pt x="54" y="521"/>
                  </a:lnTo>
                  <a:lnTo>
                    <a:pt x="54" y="523"/>
                  </a:lnTo>
                  <a:lnTo>
                    <a:pt x="54" y="521"/>
                  </a:lnTo>
                  <a:lnTo>
                    <a:pt x="56" y="521"/>
                  </a:lnTo>
                  <a:lnTo>
                    <a:pt x="56" y="519"/>
                  </a:lnTo>
                  <a:lnTo>
                    <a:pt x="56" y="521"/>
                  </a:lnTo>
                  <a:lnTo>
                    <a:pt x="54" y="521"/>
                  </a:lnTo>
                  <a:lnTo>
                    <a:pt x="54" y="519"/>
                  </a:lnTo>
                  <a:lnTo>
                    <a:pt x="52" y="519"/>
                  </a:lnTo>
                  <a:lnTo>
                    <a:pt x="52" y="521"/>
                  </a:lnTo>
                  <a:lnTo>
                    <a:pt x="52" y="519"/>
                  </a:lnTo>
                  <a:lnTo>
                    <a:pt x="52" y="521"/>
                  </a:lnTo>
                  <a:lnTo>
                    <a:pt x="52" y="519"/>
                  </a:lnTo>
                  <a:lnTo>
                    <a:pt x="54" y="519"/>
                  </a:lnTo>
                  <a:lnTo>
                    <a:pt x="54" y="517"/>
                  </a:lnTo>
                  <a:lnTo>
                    <a:pt x="54" y="519"/>
                  </a:lnTo>
                  <a:lnTo>
                    <a:pt x="54" y="517"/>
                  </a:lnTo>
                  <a:lnTo>
                    <a:pt x="52" y="517"/>
                  </a:lnTo>
                  <a:lnTo>
                    <a:pt x="54" y="517"/>
                  </a:lnTo>
                  <a:lnTo>
                    <a:pt x="52" y="517"/>
                  </a:lnTo>
                  <a:lnTo>
                    <a:pt x="52" y="515"/>
                  </a:lnTo>
                  <a:lnTo>
                    <a:pt x="54" y="515"/>
                  </a:lnTo>
                  <a:lnTo>
                    <a:pt x="52" y="515"/>
                  </a:lnTo>
                  <a:lnTo>
                    <a:pt x="52" y="517"/>
                  </a:lnTo>
                  <a:lnTo>
                    <a:pt x="52" y="515"/>
                  </a:lnTo>
                  <a:lnTo>
                    <a:pt x="52" y="517"/>
                  </a:lnTo>
                  <a:lnTo>
                    <a:pt x="52" y="515"/>
                  </a:lnTo>
                  <a:lnTo>
                    <a:pt x="50" y="517"/>
                  </a:lnTo>
                  <a:lnTo>
                    <a:pt x="50" y="515"/>
                  </a:lnTo>
                  <a:lnTo>
                    <a:pt x="52" y="515"/>
                  </a:lnTo>
                  <a:lnTo>
                    <a:pt x="50" y="515"/>
                  </a:lnTo>
                  <a:lnTo>
                    <a:pt x="52" y="515"/>
                  </a:lnTo>
                  <a:lnTo>
                    <a:pt x="50" y="515"/>
                  </a:lnTo>
                  <a:lnTo>
                    <a:pt x="50" y="517"/>
                  </a:lnTo>
                  <a:lnTo>
                    <a:pt x="50" y="515"/>
                  </a:lnTo>
                  <a:lnTo>
                    <a:pt x="50" y="517"/>
                  </a:lnTo>
                  <a:lnTo>
                    <a:pt x="48" y="517"/>
                  </a:lnTo>
                  <a:lnTo>
                    <a:pt x="48" y="515"/>
                  </a:lnTo>
                  <a:lnTo>
                    <a:pt x="46" y="515"/>
                  </a:lnTo>
                  <a:lnTo>
                    <a:pt x="46" y="517"/>
                  </a:lnTo>
                  <a:lnTo>
                    <a:pt x="46" y="515"/>
                  </a:lnTo>
                  <a:lnTo>
                    <a:pt x="46" y="517"/>
                  </a:lnTo>
                  <a:lnTo>
                    <a:pt x="44" y="517"/>
                  </a:lnTo>
                  <a:lnTo>
                    <a:pt x="44" y="515"/>
                  </a:lnTo>
                  <a:lnTo>
                    <a:pt x="46" y="515"/>
                  </a:lnTo>
                  <a:lnTo>
                    <a:pt x="46" y="513"/>
                  </a:lnTo>
                  <a:lnTo>
                    <a:pt x="48" y="513"/>
                  </a:lnTo>
                  <a:lnTo>
                    <a:pt x="48" y="511"/>
                  </a:lnTo>
                  <a:lnTo>
                    <a:pt x="48" y="513"/>
                  </a:lnTo>
                  <a:lnTo>
                    <a:pt x="48" y="511"/>
                  </a:lnTo>
                  <a:lnTo>
                    <a:pt x="50" y="511"/>
                  </a:lnTo>
                  <a:lnTo>
                    <a:pt x="50" y="509"/>
                  </a:lnTo>
                  <a:lnTo>
                    <a:pt x="52" y="509"/>
                  </a:lnTo>
                  <a:lnTo>
                    <a:pt x="52" y="507"/>
                  </a:lnTo>
                  <a:lnTo>
                    <a:pt x="54" y="507"/>
                  </a:lnTo>
                  <a:lnTo>
                    <a:pt x="54" y="505"/>
                  </a:lnTo>
                  <a:lnTo>
                    <a:pt x="54" y="507"/>
                  </a:lnTo>
                  <a:lnTo>
                    <a:pt x="56" y="507"/>
                  </a:lnTo>
                  <a:lnTo>
                    <a:pt x="56" y="505"/>
                  </a:lnTo>
                  <a:lnTo>
                    <a:pt x="58" y="505"/>
                  </a:lnTo>
                  <a:lnTo>
                    <a:pt x="60" y="505"/>
                  </a:lnTo>
                  <a:lnTo>
                    <a:pt x="60" y="503"/>
                  </a:lnTo>
                  <a:lnTo>
                    <a:pt x="62" y="503"/>
                  </a:lnTo>
                  <a:lnTo>
                    <a:pt x="62" y="501"/>
                  </a:lnTo>
                  <a:lnTo>
                    <a:pt x="64" y="501"/>
                  </a:lnTo>
                  <a:lnTo>
                    <a:pt x="66" y="501"/>
                  </a:lnTo>
                  <a:lnTo>
                    <a:pt x="66" y="500"/>
                  </a:lnTo>
                  <a:lnTo>
                    <a:pt x="67" y="500"/>
                  </a:lnTo>
                  <a:lnTo>
                    <a:pt x="67" y="498"/>
                  </a:lnTo>
                  <a:lnTo>
                    <a:pt x="69" y="498"/>
                  </a:lnTo>
                  <a:lnTo>
                    <a:pt x="71" y="498"/>
                  </a:lnTo>
                  <a:lnTo>
                    <a:pt x="71" y="496"/>
                  </a:lnTo>
                  <a:lnTo>
                    <a:pt x="71" y="494"/>
                  </a:lnTo>
                  <a:lnTo>
                    <a:pt x="71" y="496"/>
                  </a:lnTo>
                  <a:lnTo>
                    <a:pt x="71" y="494"/>
                  </a:lnTo>
                  <a:lnTo>
                    <a:pt x="73" y="494"/>
                  </a:lnTo>
                  <a:lnTo>
                    <a:pt x="71" y="494"/>
                  </a:lnTo>
                  <a:lnTo>
                    <a:pt x="73" y="494"/>
                  </a:lnTo>
                  <a:lnTo>
                    <a:pt x="73" y="492"/>
                  </a:lnTo>
                  <a:lnTo>
                    <a:pt x="75" y="492"/>
                  </a:lnTo>
                  <a:lnTo>
                    <a:pt x="77" y="492"/>
                  </a:lnTo>
                  <a:lnTo>
                    <a:pt x="77" y="490"/>
                  </a:lnTo>
                  <a:lnTo>
                    <a:pt x="79" y="490"/>
                  </a:lnTo>
                  <a:lnTo>
                    <a:pt x="81" y="490"/>
                  </a:lnTo>
                  <a:lnTo>
                    <a:pt x="81" y="488"/>
                  </a:lnTo>
                  <a:lnTo>
                    <a:pt x="83" y="488"/>
                  </a:lnTo>
                  <a:lnTo>
                    <a:pt x="83" y="486"/>
                  </a:lnTo>
                  <a:lnTo>
                    <a:pt x="85" y="486"/>
                  </a:lnTo>
                  <a:lnTo>
                    <a:pt x="85" y="484"/>
                  </a:lnTo>
                  <a:lnTo>
                    <a:pt x="87" y="484"/>
                  </a:lnTo>
                  <a:lnTo>
                    <a:pt x="87" y="482"/>
                  </a:lnTo>
                  <a:lnTo>
                    <a:pt x="89" y="482"/>
                  </a:lnTo>
                  <a:lnTo>
                    <a:pt x="89" y="480"/>
                  </a:lnTo>
                  <a:lnTo>
                    <a:pt x="90" y="480"/>
                  </a:lnTo>
                  <a:lnTo>
                    <a:pt x="90" y="478"/>
                  </a:lnTo>
                  <a:lnTo>
                    <a:pt x="92" y="478"/>
                  </a:lnTo>
                  <a:lnTo>
                    <a:pt x="90" y="478"/>
                  </a:lnTo>
                  <a:lnTo>
                    <a:pt x="92" y="478"/>
                  </a:lnTo>
                  <a:lnTo>
                    <a:pt x="92" y="477"/>
                  </a:lnTo>
                  <a:lnTo>
                    <a:pt x="92" y="478"/>
                  </a:lnTo>
                  <a:lnTo>
                    <a:pt x="92" y="477"/>
                  </a:lnTo>
                  <a:lnTo>
                    <a:pt x="94" y="477"/>
                  </a:lnTo>
                  <a:lnTo>
                    <a:pt x="94" y="475"/>
                  </a:lnTo>
                  <a:lnTo>
                    <a:pt x="94" y="473"/>
                  </a:lnTo>
                  <a:lnTo>
                    <a:pt x="96" y="473"/>
                  </a:lnTo>
                  <a:lnTo>
                    <a:pt x="96" y="471"/>
                  </a:lnTo>
                  <a:lnTo>
                    <a:pt x="98" y="471"/>
                  </a:lnTo>
                  <a:lnTo>
                    <a:pt x="98" y="469"/>
                  </a:lnTo>
                  <a:lnTo>
                    <a:pt x="100" y="469"/>
                  </a:lnTo>
                  <a:lnTo>
                    <a:pt x="100" y="467"/>
                  </a:lnTo>
                  <a:lnTo>
                    <a:pt x="102" y="467"/>
                  </a:lnTo>
                  <a:lnTo>
                    <a:pt x="102" y="465"/>
                  </a:lnTo>
                  <a:lnTo>
                    <a:pt x="104" y="465"/>
                  </a:lnTo>
                  <a:lnTo>
                    <a:pt x="106" y="463"/>
                  </a:lnTo>
                  <a:lnTo>
                    <a:pt x="106" y="461"/>
                  </a:lnTo>
                  <a:lnTo>
                    <a:pt x="106" y="459"/>
                  </a:lnTo>
                  <a:lnTo>
                    <a:pt x="106" y="461"/>
                  </a:lnTo>
                  <a:lnTo>
                    <a:pt x="106" y="459"/>
                  </a:lnTo>
                  <a:lnTo>
                    <a:pt x="108" y="459"/>
                  </a:lnTo>
                  <a:lnTo>
                    <a:pt x="108" y="457"/>
                  </a:lnTo>
                  <a:lnTo>
                    <a:pt x="108" y="455"/>
                  </a:lnTo>
                  <a:lnTo>
                    <a:pt x="110" y="455"/>
                  </a:lnTo>
                  <a:lnTo>
                    <a:pt x="112" y="453"/>
                  </a:lnTo>
                  <a:lnTo>
                    <a:pt x="112" y="455"/>
                  </a:lnTo>
                  <a:lnTo>
                    <a:pt x="112" y="453"/>
                  </a:lnTo>
                  <a:lnTo>
                    <a:pt x="112" y="452"/>
                  </a:lnTo>
                  <a:lnTo>
                    <a:pt x="114" y="452"/>
                  </a:lnTo>
                  <a:lnTo>
                    <a:pt x="112" y="452"/>
                  </a:lnTo>
                  <a:lnTo>
                    <a:pt x="114" y="452"/>
                  </a:lnTo>
                  <a:lnTo>
                    <a:pt x="114" y="450"/>
                  </a:lnTo>
                  <a:lnTo>
                    <a:pt x="114" y="448"/>
                  </a:lnTo>
                  <a:lnTo>
                    <a:pt x="115" y="448"/>
                  </a:lnTo>
                  <a:lnTo>
                    <a:pt x="115" y="446"/>
                  </a:lnTo>
                  <a:lnTo>
                    <a:pt x="117" y="446"/>
                  </a:lnTo>
                  <a:lnTo>
                    <a:pt x="117" y="444"/>
                  </a:lnTo>
                  <a:lnTo>
                    <a:pt x="117" y="442"/>
                  </a:lnTo>
                  <a:lnTo>
                    <a:pt x="119" y="442"/>
                  </a:lnTo>
                  <a:lnTo>
                    <a:pt x="119" y="440"/>
                  </a:lnTo>
                  <a:lnTo>
                    <a:pt x="119" y="438"/>
                  </a:lnTo>
                  <a:lnTo>
                    <a:pt x="119" y="440"/>
                  </a:lnTo>
                  <a:lnTo>
                    <a:pt x="121" y="440"/>
                  </a:lnTo>
                  <a:lnTo>
                    <a:pt x="119" y="438"/>
                  </a:lnTo>
                  <a:lnTo>
                    <a:pt x="121" y="438"/>
                  </a:lnTo>
                  <a:lnTo>
                    <a:pt x="121" y="436"/>
                  </a:lnTo>
                  <a:lnTo>
                    <a:pt x="121" y="434"/>
                  </a:lnTo>
                  <a:lnTo>
                    <a:pt x="121" y="436"/>
                  </a:lnTo>
                  <a:lnTo>
                    <a:pt x="121" y="434"/>
                  </a:lnTo>
                  <a:lnTo>
                    <a:pt x="123" y="434"/>
                  </a:lnTo>
                  <a:lnTo>
                    <a:pt x="123" y="432"/>
                  </a:lnTo>
                  <a:lnTo>
                    <a:pt x="123" y="430"/>
                  </a:lnTo>
                  <a:lnTo>
                    <a:pt x="123" y="432"/>
                  </a:lnTo>
                  <a:lnTo>
                    <a:pt x="121" y="432"/>
                  </a:lnTo>
                  <a:lnTo>
                    <a:pt x="121" y="434"/>
                  </a:lnTo>
                  <a:lnTo>
                    <a:pt x="119" y="434"/>
                  </a:lnTo>
                  <a:lnTo>
                    <a:pt x="121" y="434"/>
                  </a:lnTo>
                  <a:lnTo>
                    <a:pt x="119" y="434"/>
                  </a:lnTo>
                  <a:lnTo>
                    <a:pt x="121" y="434"/>
                  </a:lnTo>
                  <a:lnTo>
                    <a:pt x="121" y="432"/>
                  </a:lnTo>
                  <a:lnTo>
                    <a:pt x="121" y="430"/>
                  </a:lnTo>
                  <a:lnTo>
                    <a:pt x="123" y="430"/>
                  </a:lnTo>
                  <a:lnTo>
                    <a:pt x="123" y="429"/>
                  </a:lnTo>
                  <a:lnTo>
                    <a:pt x="123" y="427"/>
                  </a:lnTo>
                  <a:lnTo>
                    <a:pt x="123" y="429"/>
                  </a:lnTo>
                  <a:lnTo>
                    <a:pt x="123" y="427"/>
                  </a:lnTo>
                  <a:lnTo>
                    <a:pt x="125" y="427"/>
                  </a:lnTo>
                  <a:lnTo>
                    <a:pt x="125" y="425"/>
                  </a:lnTo>
                  <a:lnTo>
                    <a:pt x="125" y="423"/>
                  </a:lnTo>
                  <a:lnTo>
                    <a:pt x="127" y="423"/>
                  </a:lnTo>
                  <a:lnTo>
                    <a:pt x="125" y="423"/>
                  </a:lnTo>
                  <a:lnTo>
                    <a:pt x="127" y="423"/>
                  </a:lnTo>
                  <a:lnTo>
                    <a:pt x="125" y="423"/>
                  </a:lnTo>
                  <a:lnTo>
                    <a:pt x="125" y="421"/>
                  </a:lnTo>
                  <a:lnTo>
                    <a:pt x="127" y="421"/>
                  </a:lnTo>
                  <a:lnTo>
                    <a:pt x="127" y="419"/>
                  </a:lnTo>
                  <a:lnTo>
                    <a:pt x="127" y="417"/>
                  </a:lnTo>
                  <a:lnTo>
                    <a:pt x="129" y="417"/>
                  </a:lnTo>
                  <a:lnTo>
                    <a:pt x="127" y="417"/>
                  </a:lnTo>
                  <a:lnTo>
                    <a:pt x="129" y="417"/>
                  </a:lnTo>
                  <a:lnTo>
                    <a:pt x="129" y="415"/>
                  </a:lnTo>
                  <a:lnTo>
                    <a:pt x="129" y="413"/>
                  </a:lnTo>
                  <a:lnTo>
                    <a:pt x="129" y="411"/>
                  </a:lnTo>
                  <a:lnTo>
                    <a:pt x="129" y="413"/>
                  </a:lnTo>
                  <a:lnTo>
                    <a:pt x="129" y="411"/>
                  </a:lnTo>
                  <a:lnTo>
                    <a:pt x="129" y="409"/>
                  </a:lnTo>
                  <a:lnTo>
                    <a:pt x="131" y="409"/>
                  </a:lnTo>
                  <a:lnTo>
                    <a:pt x="131" y="407"/>
                  </a:lnTo>
                  <a:lnTo>
                    <a:pt x="133" y="407"/>
                  </a:lnTo>
                  <a:lnTo>
                    <a:pt x="133" y="405"/>
                  </a:lnTo>
                  <a:lnTo>
                    <a:pt x="131" y="405"/>
                  </a:lnTo>
                  <a:lnTo>
                    <a:pt x="133" y="405"/>
                  </a:lnTo>
                  <a:lnTo>
                    <a:pt x="131" y="405"/>
                  </a:lnTo>
                  <a:lnTo>
                    <a:pt x="133" y="405"/>
                  </a:lnTo>
                  <a:lnTo>
                    <a:pt x="131" y="405"/>
                  </a:lnTo>
                  <a:lnTo>
                    <a:pt x="133" y="405"/>
                  </a:lnTo>
                  <a:lnTo>
                    <a:pt x="131" y="405"/>
                  </a:lnTo>
                  <a:lnTo>
                    <a:pt x="133" y="405"/>
                  </a:lnTo>
                  <a:lnTo>
                    <a:pt x="131" y="405"/>
                  </a:lnTo>
                  <a:lnTo>
                    <a:pt x="131" y="404"/>
                  </a:lnTo>
                  <a:lnTo>
                    <a:pt x="133" y="404"/>
                  </a:lnTo>
                  <a:lnTo>
                    <a:pt x="133" y="402"/>
                  </a:lnTo>
                  <a:lnTo>
                    <a:pt x="133" y="400"/>
                  </a:lnTo>
                  <a:lnTo>
                    <a:pt x="131" y="400"/>
                  </a:lnTo>
                  <a:lnTo>
                    <a:pt x="131" y="398"/>
                  </a:lnTo>
                  <a:lnTo>
                    <a:pt x="133" y="398"/>
                  </a:lnTo>
                  <a:lnTo>
                    <a:pt x="133" y="396"/>
                  </a:lnTo>
                  <a:lnTo>
                    <a:pt x="131" y="396"/>
                  </a:lnTo>
                  <a:lnTo>
                    <a:pt x="131" y="394"/>
                  </a:lnTo>
                  <a:lnTo>
                    <a:pt x="133" y="394"/>
                  </a:lnTo>
                  <a:lnTo>
                    <a:pt x="133" y="392"/>
                  </a:lnTo>
                  <a:lnTo>
                    <a:pt x="133" y="390"/>
                  </a:lnTo>
                  <a:lnTo>
                    <a:pt x="133" y="388"/>
                  </a:lnTo>
                  <a:lnTo>
                    <a:pt x="133" y="386"/>
                  </a:lnTo>
                  <a:lnTo>
                    <a:pt x="133" y="384"/>
                  </a:lnTo>
                  <a:lnTo>
                    <a:pt x="131" y="384"/>
                  </a:lnTo>
                  <a:lnTo>
                    <a:pt x="133" y="384"/>
                  </a:lnTo>
                  <a:lnTo>
                    <a:pt x="131" y="384"/>
                  </a:lnTo>
                  <a:lnTo>
                    <a:pt x="133" y="384"/>
                  </a:lnTo>
                  <a:lnTo>
                    <a:pt x="133" y="382"/>
                  </a:lnTo>
                  <a:lnTo>
                    <a:pt x="131" y="382"/>
                  </a:lnTo>
                  <a:lnTo>
                    <a:pt x="133" y="382"/>
                  </a:lnTo>
                  <a:lnTo>
                    <a:pt x="131" y="382"/>
                  </a:lnTo>
                  <a:lnTo>
                    <a:pt x="131" y="381"/>
                  </a:lnTo>
                  <a:lnTo>
                    <a:pt x="131" y="379"/>
                  </a:lnTo>
                  <a:lnTo>
                    <a:pt x="129" y="379"/>
                  </a:lnTo>
                  <a:lnTo>
                    <a:pt x="129" y="377"/>
                  </a:lnTo>
                  <a:lnTo>
                    <a:pt x="129" y="375"/>
                  </a:lnTo>
                  <a:lnTo>
                    <a:pt x="129" y="373"/>
                  </a:lnTo>
                  <a:lnTo>
                    <a:pt x="129" y="371"/>
                  </a:lnTo>
                  <a:lnTo>
                    <a:pt x="129" y="369"/>
                  </a:lnTo>
                  <a:lnTo>
                    <a:pt x="127" y="369"/>
                  </a:lnTo>
                  <a:lnTo>
                    <a:pt x="127" y="367"/>
                  </a:lnTo>
                  <a:lnTo>
                    <a:pt x="127" y="365"/>
                  </a:lnTo>
                  <a:lnTo>
                    <a:pt x="127" y="363"/>
                  </a:lnTo>
                  <a:lnTo>
                    <a:pt x="127" y="361"/>
                  </a:lnTo>
                  <a:lnTo>
                    <a:pt x="125" y="361"/>
                  </a:lnTo>
                  <a:lnTo>
                    <a:pt x="125" y="359"/>
                  </a:lnTo>
                  <a:lnTo>
                    <a:pt x="125" y="357"/>
                  </a:lnTo>
                  <a:lnTo>
                    <a:pt x="125" y="356"/>
                  </a:lnTo>
                  <a:lnTo>
                    <a:pt x="123" y="356"/>
                  </a:lnTo>
                  <a:lnTo>
                    <a:pt x="125" y="356"/>
                  </a:lnTo>
                  <a:lnTo>
                    <a:pt x="123" y="356"/>
                  </a:lnTo>
                  <a:lnTo>
                    <a:pt x="125" y="354"/>
                  </a:lnTo>
                  <a:lnTo>
                    <a:pt x="123" y="354"/>
                  </a:lnTo>
                  <a:lnTo>
                    <a:pt x="123" y="352"/>
                  </a:lnTo>
                  <a:lnTo>
                    <a:pt x="123" y="350"/>
                  </a:lnTo>
                  <a:lnTo>
                    <a:pt x="121" y="350"/>
                  </a:lnTo>
                  <a:lnTo>
                    <a:pt x="123" y="350"/>
                  </a:lnTo>
                  <a:lnTo>
                    <a:pt x="121" y="350"/>
                  </a:lnTo>
                  <a:lnTo>
                    <a:pt x="121" y="348"/>
                  </a:lnTo>
                  <a:lnTo>
                    <a:pt x="121" y="346"/>
                  </a:lnTo>
                  <a:lnTo>
                    <a:pt x="121" y="344"/>
                  </a:lnTo>
                  <a:lnTo>
                    <a:pt x="121" y="342"/>
                  </a:lnTo>
                  <a:lnTo>
                    <a:pt x="119" y="342"/>
                  </a:lnTo>
                  <a:lnTo>
                    <a:pt x="119" y="340"/>
                  </a:lnTo>
                  <a:lnTo>
                    <a:pt x="119" y="338"/>
                  </a:lnTo>
                  <a:lnTo>
                    <a:pt x="117" y="338"/>
                  </a:lnTo>
                  <a:lnTo>
                    <a:pt x="117" y="336"/>
                  </a:lnTo>
                  <a:lnTo>
                    <a:pt x="117" y="334"/>
                  </a:lnTo>
                  <a:lnTo>
                    <a:pt x="115" y="334"/>
                  </a:lnTo>
                  <a:lnTo>
                    <a:pt x="115" y="333"/>
                  </a:lnTo>
                  <a:lnTo>
                    <a:pt x="115" y="331"/>
                  </a:lnTo>
                  <a:lnTo>
                    <a:pt x="114" y="331"/>
                  </a:lnTo>
                  <a:lnTo>
                    <a:pt x="115" y="331"/>
                  </a:lnTo>
                  <a:lnTo>
                    <a:pt x="114" y="331"/>
                  </a:lnTo>
                  <a:lnTo>
                    <a:pt x="114" y="329"/>
                  </a:lnTo>
                  <a:lnTo>
                    <a:pt x="114" y="327"/>
                  </a:lnTo>
                  <a:lnTo>
                    <a:pt x="112" y="327"/>
                  </a:lnTo>
                  <a:lnTo>
                    <a:pt x="114" y="327"/>
                  </a:lnTo>
                  <a:lnTo>
                    <a:pt x="112" y="327"/>
                  </a:lnTo>
                  <a:lnTo>
                    <a:pt x="112" y="325"/>
                  </a:lnTo>
                  <a:lnTo>
                    <a:pt x="112" y="327"/>
                  </a:lnTo>
                  <a:lnTo>
                    <a:pt x="112" y="325"/>
                  </a:lnTo>
                  <a:lnTo>
                    <a:pt x="112" y="327"/>
                  </a:lnTo>
                  <a:lnTo>
                    <a:pt x="112" y="325"/>
                  </a:lnTo>
                  <a:lnTo>
                    <a:pt x="112" y="323"/>
                  </a:lnTo>
                  <a:lnTo>
                    <a:pt x="110" y="323"/>
                  </a:lnTo>
                  <a:lnTo>
                    <a:pt x="108" y="323"/>
                  </a:lnTo>
                  <a:lnTo>
                    <a:pt x="108" y="321"/>
                  </a:lnTo>
                  <a:lnTo>
                    <a:pt x="108" y="319"/>
                  </a:lnTo>
                  <a:lnTo>
                    <a:pt x="106" y="319"/>
                  </a:lnTo>
                  <a:lnTo>
                    <a:pt x="106" y="317"/>
                  </a:lnTo>
                  <a:lnTo>
                    <a:pt x="106" y="315"/>
                  </a:lnTo>
                  <a:lnTo>
                    <a:pt x="104" y="315"/>
                  </a:lnTo>
                  <a:lnTo>
                    <a:pt x="104" y="313"/>
                  </a:lnTo>
                  <a:lnTo>
                    <a:pt x="106" y="313"/>
                  </a:lnTo>
                  <a:lnTo>
                    <a:pt x="106" y="311"/>
                  </a:lnTo>
                  <a:lnTo>
                    <a:pt x="108" y="311"/>
                  </a:lnTo>
                  <a:lnTo>
                    <a:pt x="108" y="309"/>
                  </a:lnTo>
                  <a:lnTo>
                    <a:pt x="108" y="311"/>
                  </a:lnTo>
                  <a:lnTo>
                    <a:pt x="106" y="311"/>
                  </a:lnTo>
                  <a:lnTo>
                    <a:pt x="104" y="311"/>
                  </a:lnTo>
                  <a:lnTo>
                    <a:pt x="104" y="313"/>
                  </a:lnTo>
                  <a:lnTo>
                    <a:pt x="104" y="311"/>
                  </a:lnTo>
                  <a:lnTo>
                    <a:pt x="102" y="311"/>
                  </a:lnTo>
                  <a:lnTo>
                    <a:pt x="104" y="311"/>
                  </a:lnTo>
                  <a:lnTo>
                    <a:pt x="102" y="311"/>
                  </a:lnTo>
                  <a:lnTo>
                    <a:pt x="102" y="309"/>
                  </a:lnTo>
                  <a:lnTo>
                    <a:pt x="100" y="309"/>
                  </a:lnTo>
                  <a:lnTo>
                    <a:pt x="100" y="308"/>
                  </a:lnTo>
                  <a:lnTo>
                    <a:pt x="100" y="306"/>
                  </a:lnTo>
                  <a:lnTo>
                    <a:pt x="98" y="306"/>
                  </a:lnTo>
                  <a:lnTo>
                    <a:pt x="96" y="304"/>
                  </a:lnTo>
                  <a:lnTo>
                    <a:pt x="96" y="302"/>
                  </a:lnTo>
                  <a:lnTo>
                    <a:pt x="96" y="304"/>
                  </a:lnTo>
                  <a:lnTo>
                    <a:pt x="96" y="302"/>
                  </a:lnTo>
                  <a:lnTo>
                    <a:pt x="96" y="304"/>
                  </a:lnTo>
                  <a:lnTo>
                    <a:pt x="96" y="302"/>
                  </a:lnTo>
                  <a:lnTo>
                    <a:pt x="94" y="302"/>
                  </a:lnTo>
                  <a:lnTo>
                    <a:pt x="94" y="300"/>
                  </a:lnTo>
                  <a:lnTo>
                    <a:pt x="92" y="300"/>
                  </a:lnTo>
                  <a:lnTo>
                    <a:pt x="92" y="298"/>
                  </a:lnTo>
                  <a:lnTo>
                    <a:pt x="92" y="296"/>
                  </a:lnTo>
                  <a:lnTo>
                    <a:pt x="90" y="296"/>
                  </a:lnTo>
                  <a:lnTo>
                    <a:pt x="90" y="298"/>
                  </a:lnTo>
                  <a:lnTo>
                    <a:pt x="90" y="296"/>
                  </a:lnTo>
                  <a:lnTo>
                    <a:pt x="89" y="296"/>
                  </a:lnTo>
                  <a:lnTo>
                    <a:pt x="90" y="296"/>
                  </a:lnTo>
                  <a:lnTo>
                    <a:pt x="89" y="296"/>
                  </a:lnTo>
                  <a:lnTo>
                    <a:pt x="89" y="294"/>
                  </a:lnTo>
                  <a:lnTo>
                    <a:pt x="87" y="294"/>
                  </a:lnTo>
                  <a:lnTo>
                    <a:pt x="87" y="292"/>
                  </a:lnTo>
                  <a:lnTo>
                    <a:pt x="85" y="292"/>
                  </a:lnTo>
                  <a:lnTo>
                    <a:pt x="83" y="292"/>
                  </a:lnTo>
                  <a:lnTo>
                    <a:pt x="83" y="290"/>
                  </a:lnTo>
                  <a:lnTo>
                    <a:pt x="81" y="290"/>
                  </a:lnTo>
                  <a:lnTo>
                    <a:pt x="83" y="290"/>
                  </a:lnTo>
                  <a:lnTo>
                    <a:pt x="81" y="290"/>
                  </a:lnTo>
                  <a:lnTo>
                    <a:pt x="79" y="290"/>
                  </a:lnTo>
                  <a:lnTo>
                    <a:pt x="79" y="288"/>
                  </a:lnTo>
                  <a:lnTo>
                    <a:pt x="77" y="288"/>
                  </a:lnTo>
                  <a:lnTo>
                    <a:pt x="77" y="286"/>
                  </a:lnTo>
                  <a:lnTo>
                    <a:pt x="77" y="288"/>
                  </a:lnTo>
                  <a:lnTo>
                    <a:pt x="75" y="288"/>
                  </a:lnTo>
                  <a:lnTo>
                    <a:pt x="75" y="286"/>
                  </a:lnTo>
                  <a:lnTo>
                    <a:pt x="77" y="286"/>
                  </a:lnTo>
                  <a:lnTo>
                    <a:pt x="75" y="286"/>
                  </a:lnTo>
                  <a:lnTo>
                    <a:pt x="75" y="285"/>
                  </a:lnTo>
                  <a:lnTo>
                    <a:pt x="75" y="283"/>
                  </a:lnTo>
                  <a:lnTo>
                    <a:pt x="73" y="283"/>
                  </a:lnTo>
                  <a:lnTo>
                    <a:pt x="71" y="285"/>
                  </a:lnTo>
                  <a:lnTo>
                    <a:pt x="71" y="283"/>
                  </a:lnTo>
                  <a:lnTo>
                    <a:pt x="69" y="283"/>
                  </a:lnTo>
                  <a:lnTo>
                    <a:pt x="69" y="281"/>
                  </a:lnTo>
                  <a:lnTo>
                    <a:pt x="69" y="283"/>
                  </a:lnTo>
                  <a:lnTo>
                    <a:pt x="69" y="281"/>
                  </a:lnTo>
                  <a:lnTo>
                    <a:pt x="67" y="281"/>
                  </a:lnTo>
                  <a:lnTo>
                    <a:pt x="66" y="281"/>
                  </a:lnTo>
                  <a:lnTo>
                    <a:pt x="64" y="281"/>
                  </a:lnTo>
                  <a:lnTo>
                    <a:pt x="62" y="281"/>
                  </a:lnTo>
                  <a:lnTo>
                    <a:pt x="62" y="279"/>
                  </a:lnTo>
                  <a:lnTo>
                    <a:pt x="60" y="279"/>
                  </a:lnTo>
                  <a:lnTo>
                    <a:pt x="60" y="281"/>
                  </a:lnTo>
                  <a:lnTo>
                    <a:pt x="60" y="279"/>
                  </a:lnTo>
                  <a:lnTo>
                    <a:pt x="58" y="279"/>
                  </a:lnTo>
                  <a:lnTo>
                    <a:pt x="56" y="279"/>
                  </a:lnTo>
                  <a:lnTo>
                    <a:pt x="56" y="277"/>
                  </a:lnTo>
                  <a:lnTo>
                    <a:pt x="56" y="279"/>
                  </a:lnTo>
                  <a:lnTo>
                    <a:pt x="54" y="279"/>
                  </a:lnTo>
                  <a:lnTo>
                    <a:pt x="54" y="277"/>
                  </a:lnTo>
                  <a:lnTo>
                    <a:pt x="56" y="277"/>
                  </a:lnTo>
                  <a:lnTo>
                    <a:pt x="54" y="277"/>
                  </a:lnTo>
                  <a:lnTo>
                    <a:pt x="54" y="275"/>
                  </a:lnTo>
                  <a:lnTo>
                    <a:pt x="52" y="275"/>
                  </a:lnTo>
                  <a:lnTo>
                    <a:pt x="54" y="275"/>
                  </a:lnTo>
                  <a:lnTo>
                    <a:pt x="52" y="275"/>
                  </a:lnTo>
                  <a:lnTo>
                    <a:pt x="54" y="275"/>
                  </a:lnTo>
                  <a:lnTo>
                    <a:pt x="52" y="275"/>
                  </a:lnTo>
                  <a:lnTo>
                    <a:pt x="52" y="273"/>
                  </a:lnTo>
                  <a:lnTo>
                    <a:pt x="54" y="273"/>
                  </a:lnTo>
                  <a:lnTo>
                    <a:pt x="52" y="273"/>
                  </a:lnTo>
                  <a:lnTo>
                    <a:pt x="52" y="275"/>
                  </a:lnTo>
                  <a:lnTo>
                    <a:pt x="52" y="273"/>
                  </a:lnTo>
                  <a:lnTo>
                    <a:pt x="50" y="273"/>
                  </a:lnTo>
                  <a:lnTo>
                    <a:pt x="52" y="273"/>
                  </a:lnTo>
                  <a:lnTo>
                    <a:pt x="52" y="275"/>
                  </a:lnTo>
                  <a:lnTo>
                    <a:pt x="50" y="275"/>
                  </a:lnTo>
                  <a:lnTo>
                    <a:pt x="52" y="275"/>
                  </a:lnTo>
                  <a:lnTo>
                    <a:pt x="50" y="275"/>
                  </a:lnTo>
                  <a:lnTo>
                    <a:pt x="50" y="273"/>
                  </a:lnTo>
                  <a:lnTo>
                    <a:pt x="48" y="273"/>
                  </a:lnTo>
                  <a:lnTo>
                    <a:pt x="50" y="273"/>
                  </a:lnTo>
                  <a:lnTo>
                    <a:pt x="48" y="273"/>
                  </a:lnTo>
                  <a:lnTo>
                    <a:pt x="50" y="273"/>
                  </a:lnTo>
                  <a:lnTo>
                    <a:pt x="48" y="273"/>
                  </a:lnTo>
                  <a:lnTo>
                    <a:pt x="48" y="271"/>
                  </a:lnTo>
                  <a:lnTo>
                    <a:pt x="46" y="271"/>
                  </a:lnTo>
                  <a:lnTo>
                    <a:pt x="48" y="271"/>
                  </a:lnTo>
                  <a:lnTo>
                    <a:pt x="46" y="271"/>
                  </a:lnTo>
                  <a:lnTo>
                    <a:pt x="46" y="269"/>
                  </a:lnTo>
                  <a:lnTo>
                    <a:pt x="48" y="269"/>
                  </a:lnTo>
                  <a:lnTo>
                    <a:pt x="48" y="267"/>
                  </a:lnTo>
                  <a:lnTo>
                    <a:pt x="48" y="269"/>
                  </a:lnTo>
                  <a:lnTo>
                    <a:pt x="46" y="269"/>
                  </a:lnTo>
                  <a:lnTo>
                    <a:pt x="46" y="267"/>
                  </a:lnTo>
                  <a:lnTo>
                    <a:pt x="44" y="267"/>
                  </a:lnTo>
                  <a:lnTo>
                    <a:pt x="46" y="267"/>
                  </a:lnTo>
                  <a:lnTo>
                    <a:pt x="46" y="269"/>
                  </a:lnTo>
                  <a:lnTo>
                    <a:pt x="48" y="269"/>
                  </a:lnTo>
                  <a:lnTo>
                    <a:pt x="46" y="269"/>
                  </a:lnTo>
                  <a:lnTo>
                    <a:pt x="46" y="271"/>
                  </a:lnTo>
                  <a:lnTo>
                    <a:pt x="44" y="271"/>
                  </a:lnTo>
                  <a:lnTo>
                    <a:pt x="44" y="269"/>
                  </a:lnTo>
                  <a:lnTo>
                    <a:pt x="42" y="269"/>
                  </a:lnTo>
                  <a:lnTo>
                    <a:pt x="42" y="267"/>
                  </a:lnTo>
                  <a:lnTo>
                    <a:pt x="41" y="267"/>
                  </a:lnTo>
                  <a:lnTo>
                    <a:pt x="42" y="267"/>
                  </a:lnTo>
                  <a:lnTo>
                    <a:pt x="42" y="265"/>
                  </a:lnTo>
                  <a:lnTo>
                    <a:pt x="41" y="265"/>
                  </a:lnTo>
                  <a:lnTo>
                    <a:pt x="39" y="265"/>
                  </a:lnTo>
                  <a:lnTo>
                    <a:pt x="41" y="265"/>
                  </a:lnTo>
                  <a:lnTo>
                    <a:pt x="39" y="265"/>
                  </a:lnTo>
                  <a:lnTo>
                    <a:pt x="41" y="265"/>
                  </a:lnTo>
                  <a:lnTo>
                    <a:pt x="39" y="265"/>
                  </a:lnTo>
                  <a:lnTo>
                    <a:pt x="39" y="267"/>
                  </a:lnTo>
                  <a:lnTo>
                    <a:pt x="41" y="267"/>
                  </a:lnTo>
                  <a:lnTo>
                    <a:pt x="41" y="269"/>
                  </a:lnTo>
                  <a:lnTo>
                    <a:pt x="42" y="269"/>
                  </a:lnTo>
                  <a:lnTo>
                    <a:pt x="42" y="271"/>
                  </a:lnTo>
                  <a:lnTo>
                    <a:pt x="44" y="271"/>
                  </a:lnTo>
                  <a:lnTo>
                    <a:pt x="42" y="271"/>
                  </a:lnTo>
                  <a:lnTo>
                    <a:pt x="41" y="271"/>
                  </a:lnTo>
                  <a:lnTo>
                    <a:pt x="41" y="269"/>
                  </a:lnTo>
                  <a:lnTo>
                    <a:pt x="41" y="271"/>
                  </a:lnTo>
                  <a:lnTo>
                    <a:pt x="41" y="269"/>
                  </a:lnTo>
                  <a:lnTo>
                    <a:pt x="41" y="271"/>
                  </a:lnTo>
                  <a:lnTo>
                    <a:pt x="41" y="269"/>
                  </a:lnTo>
                  <a:lnTo>
                    <a:pt x="39" y="269"/>
                  </a:lnTo>
                  <a:lnTo>
                    <a:pt x="39" y="267"/>
                  </a:lnTo>
                  <a:lnTo>
                    <a:pt x="39" y="265"/>
                  </a:lnTo>
                  <a:lnTo>
                    <a:pt x="37" y="265"/>
                  </a:lnTo>
                  <a:lnTo>
                    <a:pt x="39" y="265"/>
                  </a:lnTo>
                  <a:lnTo>
                    <a:pt x="37" y="265"/>
                  </a:lnTo>
                  <a:lnTo>
                    <a:pt x="35" y="265"/>
                  </a:lnTo>
                  <a:lnTo>
                    <a:pt x="35" y="263"/>
                  </a:lnTo>
                  <a:lnTo>
                    <a:pt x="35" y="265"/>
                  </a:lnTo>
                  <a:lnTo>
                    <a:pt x="35" y="263"/>
                  </a:lnTo>
                  <a:lnTo>
                    <a:pt x="37" y="263"/>
                  </a:lnTo>
                  <a:lnTo>
                    <a:pt x="37" y="265"/>
                  </a:lnTo>
                  <a:lnTo>
                    <a:pt x="37" y="263"/>
                  </a:lnTo>
                  <a:lnTo>
                    <a:pt x="37" y="265"/>
                  </a:lnTo>
                  <a:lnTo>
                    <a:pt x="37" y="263"/>
                  </a:lnTo>
                  <a:lnTo>
                    <a:pt x="39" y="263"/>
                  </a:lnTo>
                  <a:lnTo>
                    <a:pt x="37" y="263"/>
                  </a:lnTo>
                  <a:lnTo>
                    <a:pt x="35" y="263"/>
                  </a:lnTo>
                  <a:lnTo>
                    <a:pt x="35" y="261"/>
                  </a:lnTo>
                  <a:lnTo>
                    <a:pt x="37" y="261"/>
                  </a:lnTo>
                  <a:lnTo>
                    <a:pt x="35" y="261"/>
                  </a:lnTo>
                  <a:lnTo>
                    <a:pt x="37" y="261"/>
                  </a:lnTo>
                  <a:lnTo>
                    <a:pt x="37" y="260"/>
                  </a:lnTo>
                  <a:lnTo>
                    <a:pt x="35" y="260"/>
                  </a:lnTo>
                  <a:lnTo>
                    <a:pt x="35" y="258"/>
                  </a:lnTo>
                  <a:lnTo>
                    <a:pt x="33" y="258"/>
                  </a:lnTo>
                  <a:lnTo>
                    <a:pt x="33" y="256"/>
                  </a:lnTo>
                  <a:lnTo>
                    <a:pt x="35" y="256"/>
                  </a:lnTo>
                  <a:lnTo>
                    <a:pt x="35" y="258"/>
                  </a:lnTo>
                  <a:lnTo>
                    <a:pt x="37" y="258"/>
                  </a:lnTo>
                  <a:lnTo>
                    <a:pt x="35" y="258"/>
                  </a:lnTo>
                  <a:lnTo>
                    <a:pt x="35" y="256"/>
                  </a:lnTo>
                  <a:lnTo>
                    <a:pt x="35" y="254"/>
                  </a:lnTo>
                  <a:lnTo>
                    <a:pt x="35" y="256"/>
                  </a:lnTo>
                  <a:lnTo>
                    <a:pt x="35" y="254"/>
                  </a:lnTo>
                  <a:lnTo>
                    <a:pt x="33" y="254"/>
                  </a:lnTo>
                  <a:lnTo>
                    <a:pt x="35" y="254"/>
                  </a:lnTo>
                  <a:lnTo>
                    <a:pt x="33" y="254"/>
                  </a:lnTo>
                  <a:lnTo>
                    <a:pt x="33" y="252"/>
                  </a:lnTo>
                  <a:lnTo>
                    <a:pt x="33" y="250"/>
                  </a:lnTo>
                  <a:lnTo>
                    <a:pt x="31" y="250"/>
                  </a:lnTo>
                  <a:lnTo>
                    <a:pt x="31" y="248"/>
                  </a:lnTo>
                  <a:lnTo>
                    <a:pt x="33" y="248"/>
                  </a:lnTo>
                  <a:lnTo>
                    <a:pt x="33" y="246"/>
                  </a:lnTo>
                  <a:lnTo>
                    <a:pt x="33" y="248"/>
                  </a:lnTo>
                  <a:lnTo>
                    <a:pt x="35" y="248"/>
                  </a:lnTo>
                  <a:lnTo>
                    <a:pt x="33" y="250"/>
                  </a:lnTo>
                  <a:lnTo>
                    <a:pt x="35" y="250"/>
                  </a:lnTo>
                  <a:lnTo>
                    <a:pt x="33" y="250"/>
                  </a:lnTo>
                  <a:lnTo>
                    <a:pt x="33" y="252"/>
                  </a:lnTo>
                  <a:lnTo>
                    <a:pt x="35" y="252"/>
                  </a:lnTo>
                  <a:lnTo>
                    <a:pt x="33" y="252"/>
                  </a:lnTo>
                  <a:lnTo>
                    <a:pt x="35" y="252"/>
                  </a:lnTo>
                  <a:lnTo>
                    <a:pt x="35" y="250"/>
                  </a:lnTo>
                  <a:lnTo>
                    <a:pt x="33" y="250"/>
                  </a:lnTo>
                  <a:lnTo>
                    <a:pt x="35" y="250"/>
                  </a:lnTo>
                  <a:lnTo>
                    <a:pt x="35" y="252"/>
                  </a:lnTo>
                  <a:lnTo>
                    <a:pt x="35" y="254"/>
                  </a:lnTo>
                  <a:lnTo>
                    <a:pt x="35" y="252"/>
                  </a:lnTo>
                  <a:lnTo>
                    <a:pt x="35" y="250"/>
                  </a:lnTo>
                  <a:lnTo>
                    <a:pt x="35" y="248"/>
                  </a:lnTo>
                  <a:lnTo>
                    <a:pt x="37" y="248"/>
                  </a:lnTo>
                  <a:lnTo>
                    <a:pt x="35" y="248"/>
                  </a:lnTo>
                  <a:lnTo>
                    <a:pt x="37" y="248"/>
                  </a:lnTo>
                  <a:lnTo>
                    <a:pt x="37" y="250"/>
                  </a:lnTo>
                  <a:lnTo>
                    <a:pt x="37" y="248"/>
                  </a:lnTo>
                  <a:lnTo>
                    <a:pt x="39" y="248"/>
                  </a:lnTo>
                  <a:lnTo>
                    <a:pt x="37" y="248"/>
                  </a:lnTo>
                  <a:lnTo>
                    <a:pt x="39" y="248"/>
                  </a:lnTo>
                  <a:lnTo>
                    <a:pt x="39" y="246"/>
                  </a:lnTo>
                  <a:lnTo>
                    <a:pt x="41" y="246"/>
                  </a:lnTo>
                  <a:lnTo>
                    <a:pt x="39" y="246"/>
                  </a:lnTo>
                  <a:lnTo>
                    <a:pt x="39" y="244"/>
                  </a:lnTo>
                  <a:lnTo>
                    <a:pt x="41" y="244"/>
                  </a:lnTo>
                  <a:lnTo>
                    <a:pt x="41" y="242"/>
                  </a:lnTo>
                  <a:lnTo>
                    <a:pt x="39" y="242"/>
                  </a:lnTo>
                  <a:lnTo>
                    <a:pt x="41" y="242"/>
                  </a:lnTo>
                  <a:lnTo>
                    <a:pt x="39" y="242"/>
                  </a:lnTo>
                  <a:lnTo>
                    <a:pt x="39" y="240"/>
                  </a:lnTo>
                  <a:lnTo>
                    <a:pt x="39" y="238"/>
                  </a:lnTo>
                  <a:lnTo>
                    <a:pt x="41" y="238"/>
                  </a:lnTo>
                  <a:lnTo>
                    <a:pt x="41" y="237"/>
                  </a:lnTo>
                  <a:lnTo>
                    <a:pt x="39" y="237"/>
                  </a:lnTo>
                  <a:lnTo>
                    <a:pt x="39" y="235"/>
                  </a:lnTo>
                  <a:lnTo>
                    <a:pt x="41" y="235"/>
                  </a:lnTo>
                  <a:lnTo>
                    <a:pt x="41" y="237"/>
                  </a:lnTo>
                  <a:lnTo>
                    <a:pt x="42" y="237"/>
                  </a:lnTo>
                  <a:lnTo>
                    <a:pt x="42" y="235"/>
                  </a:lnTo>
                  <a:lnTo>
                    <a:pt x="42" y="237"/>
                  </a:lnTo>
                  <a:lnTo>
                    <a:pt x="42" y="235"/>
                  </a:lnTo>
                  <a:lnTo>
                    <a:pt x="44" y="235"/>
                  </a:lnTo>
                  <a:lnTo>
                    <a:pt x="42" y="235"/>
                  </a:lnTo>
                  <a:lnTo>
                    <a:pt x="44" y="235"/>
                  </a:lnTo>
                  <a:lnTo>
                    <a:pt x="42" y="235"/>
                  </a:lnTo>
                  <a:lnTo>
                    <a:pt x="44" y="235"/>
                  </a:lnTo>
                  <a:lnTo>
                    <a:pt x="42" y="235"/>
                  </a:lnTo>
                  <a:lnTo>
                    <a:pt x="42" y="233"/>
                  </a:lnTo>
                  <a:lnTo>
                    <a:pt x="41" y="233"/>
                  </a:lnTo>
                  <a:lnTo>
                    <a:pt x="42" y="233"/>
                  </a:lnTo>
                  <a:lnTo>
                    <a:pt x="41" y="233"/>
                  </a:lnTo>
                  <a:lnTo>
                    <a:pt x="42" y="233"/>
                  </a:lnTo>
                  <a:lnTo>
                    <a:pt x="42" y="231"/>
                  </a:lnTo>
                  <a:lnTo>
                    <a:pt x="41" y="231"/>
                  </a:lnTo>
                  <a:lnTo>
                    <a:pt x="42" y="231"/>
                  </a:lnTo>
                  <a:lnTo>
                    <a:pt x="42" y="229"/>
                  </a:lnTo>
                  <a:lnTo>
                    <a:pt x="42" y="231"/>
                  </a:lnTo>
                  <a:lnTo>
                    <a:pt x="42" y="229"/>
                  </a:lnTo>
                  <a:lnTo>
                    <a:pt x="41" y="229"/>
                  </a:lnTo>
                  <a:lnTo>
                    <a:pt x="42" y="229"/>
                  </a:lnTo>
                  <a:lnTo>
                    <a:pt x="42" y="227"/>
                  </a:lnTo>
                  <a:lnTo>
                    <a:pt x="42" y="229"/>
                  </a:lnTo>
                  <a:lnTo>
                    <a:pt x="42" y="227"/>
                  </a:lnTo>
                  <a:lnTo>
                    <a:pt x="44" y="227"/>
                  </a:lnTo>
                  <a:lnTo>
                    <a:pt x="42" y="227"/>
                  </a:lnTo>
                  <a:lnTo>
                    <a:pt x="44" y="227"/>
                  </a:lnTo>
                  <a:lnTo>
                    <a:pt x="42" y="227"/>
                  </a:lnTo>
                  <a:lnTo>
                    <a:pt x="44" y="227"/>
                  </a:lnTo>
                  <a:lnTo>
                    <a:pt x="46" y="227"/>
                  </a:lnTo>
                  <a:lnTo>
                    <a:pt x="44" y="227"/>
                  </a:lnTo>
                  <a:lnTo>
                    <a:pt x="46" y="227"/>
                  </a:lnTo>
                  <a:lnTo>
                    <a:pt x="44" y="227"/>
                  </a:lnTo>
                  <a:lnTo>
                    <a:pt x="46" y="227"/>
                  </a:lnTo>
                  <a:lnTo>
                    <a:pt x="46" y="229"/>
                  </a:lnTo>
                  <a:lnTo>
                    <a:pt x="48" y="229"/>
                  </a:lnTo>
                  <a:lnTo>
                    <a:pt x="50" y="229"/>
                  </a:lnTo>
                  <a:lnTo>
                    <a:pt x="48" y="229"/>
                  </a:lnTo>
                  <a:lnTo>
                    <a:pt x="46" y="229"/>
                  </a:lnTo>
                  <a:lnTo>
                    <a:pt x="46" y="227"/>
                  </a:lnTo>
                  <a:lnTo>
                    <a:pt x="48" y="227"/>
                  </a:lnTo>
                  <a:lnTo>
                    <a:pt x="46" y="227"/>
                  </a:lnTo>
                  <a:lnTo>
                    <a:pt x="48" y="227"/>
                  </a:lnTo>
                  <a:lnTo>
                    <a:pt x="48" y="225"/>
                  </a:lnTo>
                  <a:lnTo>
                    <a:pt x="46" y="225"/>
                  </a:lnTo>
                  <a:lnTo>
                    <a:pt x="48" y="225"/>
                  </a:lnTo>
                  <a:lnTo>
                    <a:pt x="48" y="227"/>
                  </a:lnTo>
                  <a:lnTo>
                    <a:pt x="48" y="225"/>
                  </a:lnTo>
                  <a:lnTo>
                    <a:pt x="46" y="227"/>
                  </a:lnTo>
                  <a:lnTo>
                    <a:pt x="46" y="225"/>
                  </a:lnTo>
                  <a:lnTo>
                    <a:pt x="46" y="227"/>
                  </a:lnTo>
                  <a:lnTo>
                    <a:pt x="46" y="225"/>
                  </a:lnTo>
                  <a:lnTo>
                    <a:pt x="46" y="227"/>
                  </a:lnTo>
                  <a:lnTo>
                    <a:pt x="46" y="225"/>
                  </a:lnTo>
                  <a:lnTo>
                    <a:pt x="44" y="225"/>
                  </a:lnTo>
                  <a:lnTo>
                    <a:pt x="46" y="225"/>
                  </a:lnTo>
                  <a:lnTo>
                    <a:pt x="44" y="225"/>
                  </a:lnTo>
                  <a:lnTo>
                    <a:pt x="46" y="225"/>
                  </a:lnTo>
                  <a:lnTo>
                    <a:pt x="44" y="225"/>
                  </a:lnTo>
                  <a:lnTo>
                    <a:pt x="46" y="225"/>
                  </a:lnTo>
                  <a:lnTo>
                    <a:pt x="44" y="225"/>
                  </a:lnTo>
                  <a:lnTo>
                    <a:pt x="46" y="225"/>
                  </a:lnTo>
                  <a:lnTo>
                    <a:pt x="48" y="225"/>
                  </a:lnTo>
                  <a:lnTo>
                    <a:pt x="46" y="225"/>
                  </a:lnTo>
                  <a:lnTo>
                    <a:pt x="48" y="225"/>
                  </a:lnTo>
                  <a:lnTo>
                    <a:pt x="46" y="225"/>
                  </a:lnTo>
                  <a:lnTo>
                    <a:pt x="48" y="225"/>
                  </a:lnTo>
                  <a:lnTo>
                    <a:pt x="48" y="223"/>
                  </a:lnTo>
                  <a:lnTo>
                    <a:pt x="48" y="225"/>
                  </a:lnTo>
                  <a:lnTo>
                    <a:pt x="46" y="225"/>
                  </a:lnTo>
                  <a:lnTo>
                    <a:pt x="46" y="223"/>
                  </a:lnTo>
                  <a:lnTo>
                    <a:pt x="48" y="223"/>
                  </a:lnTo>
                  <a:lnTo>
                    <a:pt x="50" y="223"/>
                  </a:lnTo>
                  <a:lnTo>
                    <a:pt x="50" y="221"/>
                  </a:lnTo>
                  <a:lnTo>
                    <a:pt x="48" y="221"/>
                  </a:lnTo>
                  <a:lnTo>
                    <a:pt x="46" y="221"/>
                  </a:lnTo>
                  <a:lnTo>
                    <a:pt x="48" y="221"/>
                  </a:lnTo>
                  <a:lnTo>
                    <a:pt x="50" y="221"/>
                  </a:lnTo>
                  <a:lnTo>
                    <a:pt x="48" y="221"/>
                  </a:lnTo>
                  <a:lnTo>
                    <a:pt x="50" y="221"/>
                  </a:lnTo>
                  <a:lnTo>
                    <a:pt x="48" y="221"/>
                  </a:lnTo>
                  <a:lnTo>
                    <a:pt x="48" y="219"/>
                  </a:lnTo>
                  <a:lnTo>
                    <a:pt x="50" y="219"/>
                  </a:lnTo>
                  <a:lnTo>
                    <a:pt x="50" y="221"/>
                  </a:lnTo>
                  <a:lnTo>
                    <a:pt x="50" y="219"/>
                  </a:lnTo>
                  <a:lnTo>
                    <a:pt x="52" y="219"/>
                  </a:lnTo>
                  <a:lnTo>
                    <a:pt x="50" y="219"/>
                  </a:lnTo>
                  <a:lnTo>
                    <a:pt x="50" y="217"/>
                  </a:lnTo>
                  <a:lnTo>
                    <a:pt x="48" y="217"/>
                  </a:lnTo>
                  <a:lnTo>
                    <a:pt x="50" y="217"/>
                  </a:lnTo>
                  <a:lnTo>
                    <a:pt x="52" y="217"/>
                  </a:lnTo>
                  <a:lnTo>
                    <a:pt x="50" y="217"/>
                  </a:lnTo>
                  <a:lnTo>
                    <a:pt x="50" y="215"/>
                  </a:lnTo>
                  <a:lnTo>
                    <a:pt x="52" y="215"/>
                  </a:lnTo>
                  <a:lnTo>
                    <a:pt x="52" y="217"/>
                  </a:lnTo>
                  <a:lnTo>
                    <a:pt x="52" y="215"/>
                  </a:lnTo>
                  <a:lnTo>
                    <a:pt x="50" y="215"/>
                  </a:lnTo>
                  <a:lnTo>
                    <a:pt x="52" y="215"/>
                  </a:lnTo>
                  <a:lnTo>
                    <a:pt x="54" y="215"/>
                  </a:lnTo>
                  <a:lnTo>
                    <a:pt x="54" y="213"/>
                  </a:lnTo>
                  <a:lnTo>
                    <a:pt x="54" y="215"/>
                  </a:lnTo>
                  <a:lnTo>
                    <a:pt x="54" y="213"/>
                  </a:lnTo>
                  <a:lnTo>
                    <a:pt x="52" y="213"/>
                  </a:lnTo>
                  <a:lnTo>
                    <a:pt x="52" y="215"/>
                  </a:lnTo>
                  <a:lnTo>
                    <a:pt x="52" y="213"/>
                  </a:lnTo>
                  <a:lnTo>
                    <a:pt x="50" y="213"/>
                  </a:lnTo>
                  <a:lnTo>
                    <a:pt x="52" y="213"/>
                  </a:lnTo>
                  <a:lnTo>
                    <a:pt x="50" y="213"/>
                  </a:lnTo>
                  <a:lnTo>
                    <a:pt x="52" y="213"/>
                  </a:lnTo>
                  <a:lnTo>
                    <a:pt x="52" y="215"/>
                  </a:lnTo>
                  <a:lnTo>
                    <a:pt x="50" y="215"/>
                  </a:lnTo>
                  <a:lnTo>
                    <a:pt x="50" y="213"/>
                  </a:lnTo>
                  <a:lnTo>
                    <a:pt x="52" y="213"/>
                  </a:lnTo>
                  <a:lnTo>
                    <a:pt x="50" y="213"/>
                  </a:lnTo>
                  <a:lnTo>
                    <a:pt x="48" y="213"/>
                  </a:lnTo>
                  <a:lnTo>
                    <a:pt x="46" y="213"/>
                  </a:lnTo>
                  <a:lnTo>
                    <a:pt x="46" y="215"/>
                  </a:lnTo>
                  <a:lnTo>
                    <a:pt x="44" y="215"/>
                  </a:lnTo>
                  <a:lnTo>
                    <a:pt x="46" y="215"/>
                  </a:lnTo>
                  <a:lnTo>
                    <a:pt x="44" y="215"/>
                  </a:lnTo>
                  <a:lnTo>
                    <a:pt x="46" y="215"/>
                  </a:lnTo>
                  <a:lnTo>
                    <a:pt x="44" y="215"/>
                  </a:lnTo>
                  <a:lnTo>
                    <a:pt x="46" y="215"/>
                  </a:lnTo>
                  <a:lnTo>
                    <a:pt x="46" y="217"/>
                  </a:lnTo>
                  <a:lnTo>
                    <a:pt x="46" y="215"/>
                  </a:lnTo>
                  <a:lnTo>
                    <a:pt x="44" y="215"/>
                  </a:lnTo>
                  <a:lnTo>
                    <a:pt x="44" y="213"/>
                  </a:lnTo>
                  <a:lnTo>
                    <a:pt x="44" y="215"/>
                  </a:lnTo>
                  <a:lnTo>
                    <a:pt x="44" y="213"/>
                  </a:lnTo>
                  <a:lnTo>
                    <a:pt x="46" y="213"/>
                  </a:lnTo>
                  <a:lnTo>
                    <a:pt x="48" y="213"/>
                  </a:lnTo>
                  <a:lnTo>
                    <a:pt x="46" y="213"/>
                  </a:lnTo>
                  <a:lnTo>
                    <a:pt x="48" y="213"/>
                  </a:lnTo>
                  <a:lnTo>
                    <a:pt x="48" y="212"/>
                  </a:lnTo>
                  <a:lnTo>
                    <a:pt x="46" y="212"/>
                  </a:lnTo>
                  <a:lnTo>
                    <a:pt x="44" y="212"/>
                  </a:lnTo>
                  <a:lnTo>
                    <a:pt x="46" y="212"/>
                  </a:lnTo>
                  <a:lnTo>
                    <a:pt x="44" y="210"/>
                  </a:lnTo>
                  <a:lnTo>
                    <a:pt x="46" y="210"/>
                  </a:lnTo>
                  <a:lnTo>
                    <a:pt x="44" y="210"/>
                  </a:lnTo>
                  <a:lnTo>
                    <a:pt x="46" y="210"/>
                  </a:lnTo>
                  <a:lnTo>
                    <a:pt x="44" y="210"/>
                  </a:lnTo>
                  <a:lnTo>
                    <a:pt x="46" y="210"/>
                  </a:lnTo>
                  <a:lnTo>
                    <a:pt x="46" y="208"/>
                  </a:lnTo>
                  <a:lnTo>
                    <a:pt x="48" y="208"/>
                  </a:lnTo>
                  <a:lnTo>
                    <a:pt x="48" y="206"/>
                  </a:lnTo>
                  <a:lnTo>
                    <a:pt x="48" y="204"/>
                  </a:lnTo>
                  <a:lnTo>
                    <a:pt x="48" y="202"/>
                  </a:lnTo>
                  <a:lnTo>
                    <a:pt x="50" y="202"/>
                  </a:lnTo>
                  <a:lnTo>
                    <a:pt x="48" y="202"/>
                  </a:lnTo>
                  <a:lnTo>
                    <a:pt x="48" y="200"/>
                  </a:lnTo>
                  <a:lnTo>
                    <a:pt x="48" y="202"/>
                  </a:lnTo>
                  <a:lnTo>
                    <a:pt x="46" y="202"/>
                  </a:lnTo>
                  <a:lnTo>
                    <a:pt x="46" y="200"/>
                  </a:lnTo>
                  <a:lnTo>
                    <a:pt x="46" y="198"/>
                  </a:lnTo>
                  <a:lnTo>
                    <a:pt x="44" y="198"/>
                  </a:lnTo>
                  <a:lnTo>
                    <a:pt x="46" y="198"/>
                  </a:lnTo>
                  <a:lnTo>
                    <a:pt x="44" y="198"/>
                  </a:lnTo>
                  <a:lnTo>
                    <a:pt x="46" y="198"/>
                  </a:lnTo>
                  <a:lnTo>
                    <a:pt x="46" y="196"/>
                  </a:lnTo>
                  <a:lnTo>
                    <a:pt x="44" y="196"/>
                  </a:lnTo>
                  <a:lnTo>
                    <a:pt x="46" y="196"/>
                  </a:lnTo>
                  <a:lnTo>
                    <a:pt x="44" y="196"/>
                  </a:lnTo>
                  <a:lnTo>
                    <a:pt x="46" y="196"/>
                  </a:lnTo>
                  <a:lnTo>
                    <a:pt x="48" y="196"/>
                  </a:lnTo>
                  <a:lnTo>
                    <a:pt x="50" y="196"/>
                  </a:lnTo>
                  <a:lnTo>
                    <a:pt x="50" y="194"/>
                  </a:lnTo>
                  <a:lnTo>
                    <a:pt x="50" y="196"/>
                  </a:lnTo>
                  <a:lnTo>
                    <a:pt x="50" y="194"/>
                  </a:lnTo>
                  <a:lnTo>
                    <a:pt x="50" y="196"/>
                  </a:lnTo>
                  <a:lnTo>
                    <a:pt x="52" y="196"/>
                  </a:lnTo>
                  <a:lnTo>
                    <a:pt x="52" y="194"/>
                  </a:lnTo>
                  <a:lnTo>
                    <a:pt x="52" y="196"/>
                  </a:lnTo>
                  <a:lnTo>
                    <a:pt x="54" y="196"/>
                  </a:lnTo>
                  <a:lnTo>
                    <a:pt x="52" y="196"/>
                  </a:lnTo>
                  <a:lnTo>
                    <a:pt x="54" y="196"/>
                  </a:lnTo>
                  <a:lnTo>
                    <a:pt x="54" y="194"/>
                  </a:lnTo>
                  <a:lnTo>
                    <a:pt x="56" y="194"/>
                  </a:lnTo>
                  <a:lnTo>
                    <a:pt x="54" y="194"/>
                  </a:lnTo>
                  <a:lnTo>
                    <a:pt x="52" y="194"/>
                  </a:lnTo>
                  <a:lnTo>
                    <a:pt x="52" y="192"/>
                  </a:lnTo>
                  <a:lnTo>
                    <a:pt x="54" y="192"/>
                  </a:lnTo>
                  <a:lnTo>
                    <a:pt x="54" y="190"/>
                  </a:lnTo>
                  <a:lnTo>
                    <a:pt x="54" y="189"/>
                  </a:lnTo>
                  <a:lnTo>
                    <a:pt x="54" y="190"/>
                  </a:lnTo>
                  <a:lnTo>
                    <a:pt x="56" y="190"/>
                  </a:lnTo>
                  <a:lnTo>
                    <a:pt x="56" y="189"/>
                  </a:lnTo>
                  <a:lnTo>
                    <a:pt x="56" y="190"/>
                  </a:lnTo>
                  <a:lnTo>
                    <a:pt x="56" y="189"/>
                  </a:lnTo>
                  <a:lnTo>
                    <a:pt x="58" y="189"/>
                  </a:lnTo>
                  <a:lnTo>
                    <a:pt x="60" y="189"/>
                  </a:lnTo>
                  <a:lnTo>
                    <a:pt x="60" y="187"/>
                  </a:lnTo>
                  <a:lnTo>
                    <a:pt x="58" y="187"/>
                  </a:lnTo>
                  <a:lnTo>
                    <a:pt x="58" y="185"/>
                  </a:lnTo>
                  <a:lnTo>
                    <a:pt x="58" y="187"/>
                  </a:lnTo>
                  <a:lnTo>
                    <a:pt x="56" y="185"/>
                  </a:lnTo>
                  <a:lnTo>
                    <a:pt x="58" y="185"/>
                  </a:lnTo>
                  <a:lnTo>
                    <a:pt x="56" y="185"/>
                  </a:lnTo>
                  <a:lnTo>
                    <a:pt x="58" y="185"/>
                  </a:lnTo>
                  <a:lnTo>
                    <a:pt x="56" y="185"/>
                  </a:lnTo>
                  <a:lnTo>
                    <a:pt x="56" y="183"/>
                  </a:lnTo>
                  <a:lnTo>
                    <a:pt x="54" y="183"/>
                  </a:lnTo>
                  <a:lnTo>
                    <a:pt x="56" y="183"/>
                  </a:lnTo>
                  <a:lnTo>
                    <a:pt x="54" y="183"/>
                  </a:lnTo>
                  <a:lnTo>
                    <a:pt x="54" y="181"/>
                  </a:lnTo>
                  <a:lnTo>
                    <a:pt x="54" y="183"/>
                  </a:lnTo>
                  <a:lnTo>
                    <a:pt x="52" y="183"/>
                  </a:lnTo>
                  <a:lnTo>
                    <a:pt x="52" y="181"/>
                  </a:lnTo>
                  <a:lnTo>
                    <a:pt x="54" y="181"/>
                  </a:lnTo>
                  <a:lnTo>
                    <a:pt x="52" y="181"/>
                  </a:lnTo>
                  <a:lnTo>
                    <a:pt x="54" y="181"/>
                  </a:lnTo>
                  <a:lnTo>
                    <a:pt x="56" y="181"/>
                  </a:lnTo>
                  <a:lnTo>
                    <a:pt x="54" y="181"/>
                  </a:lnTo>
                  <a:lnTo>
                    <a:pt x="54" y="179"/>
                  </a:lnTo>
                  <a:lnTo>
                    <a:pt x="54" y="181"/>
                  </a:lnTo>
                  <a:lnTo>
                    <a:pt x="54" y="179"/>
                  </a:lnTo>
                  <a:lnTo>
                    <a:pt x="56" y="179"/>
                  </a:lnTo>
                  <a:lnTo>
                    <a:pt x="54" y="179"/>
                  </a:lnTo>
                  <a:lnTo>
                    <a:pt x="54" y="181"/>
                  </a:lnTo>
                  <a:lnTo>
                    <a:pt x="54" y="179"/>
                  </a:lnTo>
                  <a:lnTo>
                    <a:pt x="56" y="179"/>
                  </a:lnTo>
                  <a:lnTo>
                    <a:pt x="54" y="179"/>
                  </a:lnTo>
                  <a:lnTo>
                    <a:pt x="56" y="179"/>
                  </a:lnTo>
                  <a:lnTo>
                    <a:pt x="56" y="177"/>
                  </a:lnTo>
                  <a:lnTo>
                    <a:pt x="56" y="175"/>
                  </a:lnTo>
                  <a:lnTo>
                    <a:pt x="56" y="177"/>
                  </a:lnTo>
                  <a:lnTo>
                    <a:pt x="58" y="177"/>
                  </a:lnTo>
                  <a:lnTo>
                    <a:pt x="56" y="177"/>
                  </a:lnTo>
                  <a:lnTo>
                    <a:pt x="58" y="175"/>
                  </a:lnTo>
                  <a:lnTo>
                    <a:pt x="58" y="177"/>
                  </a:lnTo>
                  <a:lnTo>
                    <a:pt x="58" y="175"/>
                  </a:lnTo>
                  <a:lnTo>
                    <a:pt x="56" y="175"/>
                  </a:lnTo>
                  <a:lnTo>
                    <a:pt x="54" y="175"/>
                  </a:lnTo>
                  <a:lnTo>
                    <a:pt x="56" y="175"/>
                  </a:lnTo>
                  <a:lnTo>
                    <a:pt x="56" y="173"/>
                  </a:lnTo>
                  <a:lnTo>
                    <a:pt x="58" y="173"/>
                  </a:lnTo>
                  <a:lnTo>
                    <a:pt x="58" y="175"/>
                  </a:lnTo>
                  <a:lnTo>
                    <a:pt x="58" y="173"/>
                  </a:lnTo>
                  <a:lnTo>
                    <a:pt x="58" y="171"/>
                  </a:lnTo>
                  <a:lnTo>
                    <a:pt x="58" y="173"/>
                  </a:lnTo>
                  <a:lnTo>
                    <a:pt x="56" y="173"/>
                  </a:lnTo>
                  <a:lnTo>
                    <a:pt x="58" y="173"/>
                  </a:lnTo>
                  <a:lnTo>
                    <a:pt x="56" y="173"/>
                  </a:lnTo>
                  <a:lnTo>
                    <a:pt x="56" y="175"/>
                  </a:lnTo>
                  <a:lnTo>
                    <a:pt x="54" y="175"/>
                  </a:lnTo>
                  <a:lnTo>
                    <a:pt x="56" y="175"/>
                  </a:lnTo>
                  <a:lnTo>
                    <a:pt x="54" y="175"/>
                  </a:lnTo>
                  <a:lnTo>
                    <a:pt x="54" y="173"/>
                  </a:lnTo>
                  <a:lnTo>
                    <a:pt x="52" y="173"/>
                  </a:lnTo>
                  <a:lnTo>
                    <a:pt x="54" y="173"/>
                  </a:lnTo>
                  <a:lnTo>
                    <a:pt x="52" y="173"/>
                  </a:lnTo>
                  <a:lnTo>
                    <a:pt x="50" y="173"/>
                  </a:lnTo>
                  <a:lnTo>
                    <a:pt x="52" y="173"/>
                  </a:lnTo>
                  <a:lnTo>
                    <a:pt x="52" y="175"/>
                  </a:lnTo>
                  <a:lnTo>
                    <a:pt x="50" y="175"/>
                  </a:lnTo>
                  <a:lnTo>
                    <a:pt x="50" y="173"/>
                  </a:lnTo>
                  <a:lnTo>
                    <a:pt x="50" y="175"/>
                  </a:lnTo>
                  <a:lnTo>
                    <a:pt x="48" y="175"/>
                  </a:lnTo>
                  <a:lnTo>
                    <a:pt x="46" y="175"/>
                  </a:lnTo>
                  <a:lnTo>
                    <a:pt x="46" y="173"/>
                  </a:lnTo>
                  <a:lnTo>
                    <a:pt x="46" y="175"/>
                  </a:lnTo>
                  <a:lnTo>
                    <a:pt x="46" y="173"/>
                  </a:lnTo>
                  <a:lnTo>
                    <a:pt x="46" y="175"/>
                  </a:lnTo>
                  <a:lnTo>
                    <a:pt x="46" y="173"/>
                  </a:lnTo>
                  <a:lnTo>
                    <a:pt x="44" y="173"/>
                  </a:lnTo>
                  <a:lnTo>
                    <a:pt x="46" y="173"/>
                  </a:lnTo>
                  <a:lnTo>
                    <a:pt x="44" y="173"/>
                  </a:lnTo>
                  <a:lnTo>
                    <a:pt x="46" y="173"/>
                  </a:lnTo>
                  <a:lnTo>
                    <a:pt x="46" y="171"/>
                  </a:lnTo>
                  <a:lnTo>
                    <a:pt x="44" y="171"/>
                  </a:lnTo>
                  <a:lnTo>
                    <a:pt x="46" y="171"/>
                  </a:lnTo>
                  <a:lnTo>
                    <a:pt x="44" y="171"/>
                  </a:lnTo>
                  <a:lnTo>
                    <a:pt x="46" y="171"/>
                  </a:lnTo>
                  <a:lnTo>
                    <a:pt x="44" y="171"/>
                  </a:lnTo>
                  <a:lnTo>
                    <a:pt x="46" y="171"/>
                  </a:lnTo>
                  <a:lnTo>
                    <a:pt x="46" y="169"/>
                  </a:lnTo>
                  <a:lnTo>
                    <a:pt x="48" y="169"/>
                  </a:lnTo>
                  <a:lnTo>
                    <a:pt x="50" y="169"/>
                  </a:lnTo>
                  <a:lnTo>
                    <a:pt x="48" y="169"/>
                  </a:lnTo>
                  <a:lnTo>
                    <a:pt x="48" y="167"/>
                  </a:lnTo>
                  <a:lnTo>
                    <a:pt x="48" y="169"/>
                  </a:lnTo>
                  <a:lnTo>
                    <a:pt x="48" y="167"/>
                  </a:lnTo>
                  <a:lnTo>
                    <a:pt x="48" y="169"/>
                  </a:lnTo>
                  <a:lnTo>
                    <a:pt x="48" y="167"/>
                  </a:lnTo>
                  <a:lnTo>
                    <a:pt x="46" y="167"/>
                  </a:lnTo>
                  <a:lnTo>
                    <a:pt x="46" y="165"/>
                  </a:lnTo>
                  <a:lnTo>
                    <a:pt x="44" y="165"/>
                  </a:lnTo>
                  <a:lnTo>
                    <a:pt x="46" y="165"/>
                  </a:lnTo>
                  <a:lnTo>
                    <a:pt x="48" y="165"/>
                  </a:lnTo>
                  <a:lnTo>
                    <a:pt x="48" y="164"/>
                  </a:lnTo>
                  <a:lnTo>
                    <a:pt x="46" y="164"/>
                  </a:lnTo>
                  <a:lnTo>
                    <a:pt x="46" y="162"/>
                  </a:lnTo>
                  <a:lnTo>
                    <a:pt x="44" y="162"/>
                  </a:lnTo>
                  <a:lnTo>
                    <a:pt x="46" y="162"/>
                  </a:lnTo>
                  <a:lnTo>
                    <a:pt x="44" y="162"/>
                  </a:lnTo>
                  <a:lnTo>
                    <a:pt x="46" y="162"/>
                  </a:lnTo>
                  <a:lnTo>
                    <a:pt x="44" y="162"/>
                  </a:lnTo>
                  <a:lnTo>
                    <a:pt x="46" y="162"/>
                  </a:lnTo>
                  <a:lnTo>
                    <a:pt x="44" y="162"/>
                  </a:lnTo>
                  <a:lnTo>
                    <a:pt x="44" y="160"/>
                  </a:lnTo>
                  <a:lnTo>
                    <a:pt x="44" y="162"/>
                  </a:lnTo>
                  <a:lnTo>
                    <a:pt x="44" y="160"/>
                  </a:lnTo>
                  <a:lnTo>
                    <a:pt x="44" y="162"/>
                  </a:lnTo>
                  <a:lnTo>
                    <a:pt x="44" y="160"/>
                  </a:lnTo>
                  <a:lnTo>
                    <a:pt x="42" y="160"/>
                  </a:lnTo>
                  <a:lnTo>
                    <a:pt x="44" y="160"/>
                  </a:lnTo>
                  <a:lnTo>
                    <a:pt x="42" y="160"/>
                  </a:lnTo>
                  <a:lnTo>
                    <a:pt x="42" y="158"/>
                  </a:lnTo>
                  <a:lnTo>
                    <a:pt x="41" y="158"/>
                  </a:lnTo>
                  <a:lnTo>
                    <a:pt x="41" y="156"/>
                  </a:lnTo>
                  <a:lnTo>
                    <a:pt x="39" y="156"/>
                  </a:lnTo>
                  <a:lnTo>
                    <a:pt x="37" y="156"/>
                  </a:lnTo>
                  <a:lnTo>
                    <a:pt x="37" y="154"/>
                  </a:lnTo>
                  <a:lnTo>
                    <a:pt x="37" y="152"/>
                  </a:lnTo>
                  <a:lnTo>
                    <a:pt x="39" y="152"/>
                  </a:lnTo>
                  <a:lnTo>
                    <a:pt x="37" y="152"/>
                  </a:lnTo>
                  <a:lnTo>
                    <a:pt x="39" y="152"/>
                  </a:lnTo>
                  <a:lnTo>
                    <a:pt x="37" y="152"/>
                  </a:lnTo>
                  <a:lnTo>
                    <a:pt x="39" y="152"/>
                  </a:lnTo>
                  <a:lnTo>
                    <a:pt x="37" y="152"/>
                  </a:lnTo>
                  <a:lnTo>
                    <a:pt x="37" y="150"/>
                  </a:lnTo>
                  <a:lnTo>
                    <a:pt x="37" y="152"/>
                  </a:lnTo>
                  <a:lnTo>
                    <a:pt x="37" y="150"/>
                  </a:lnTo>
                  <a:lnTo>
                    <a:pt x="39" y="150"/>
                  </a:lnTo>
                  <a:lnTo>
                    <a:pt x="39" y="152"/>
                  </a:lnTo>
                  <a:lnTo>
                    <a:pt x="39" y="150"/>
                  </a:lnTo>
                  <a:lnTo>
                    <a:pt x="39" y="148"/>
                  </a:lnTo>
                  <a:lnTo>
                    <a:pt x="39" y="150"/>
                  </a:lnTo>
                  <a:lnTo>
                    <a:pt x="39" y="148"/>
                  </a:lnTo>
                  <a:lnTo>
                    <a:pt x="39" y="150"/>
                  </a:lnTo>
                  <a:lnTo>
                    <a:pt x="39" y="148"/>
                  </a:lnTo>
                  <a:lnTo>
                    <a:pt x="41" y="148"/>
                  </a:lnTo>
                  <a:lnTo>
                    <a:pt x="39" y="148"/>
                  </a:lnTo>
                  <a:lnTo>
                    <a:pt x="41" y="148"/>
                  </a:lnTo>
                  <a:lnTo>
                    <a:pt x="39" y="148"/>
                  </a:lnTo>
                  <a:lnTo>
                    <a:pt x="41" y="148"/>
                  </a:lnTo>
                  <a:lnTo>
                    <a:pt x="41" y="146"/>
                  </a:lnTo>
                  <a:lnTo>
                    <a:pt x="41" y="144"/>
                  </a:lnTo>
                  <a:lnTo>
                    <a:pt x="42" y="144"/>
                  </a:lnTo>
                  <a:lnTo>
                    <a:pt x="44" y="144"/>
                  </a:lnTo>
                  <a:lnTo>
                    <a:pt x="42" y="144"/>
                  </a:lnTo>
                  <a:lnTo>
                    <a:pt x="42" y="142"/>
                  </a:lnTo>
                  <a:lnTo>
                    <a:pt x="41" y="144"/>
                  </a:lnTo>
                  <a:lnTo>
                    <a:pt x="39" y="144"/>
                  </a:lnTo>
                  <a:lnTo>
                    <a:pt x="41" y="144"/>
                  </a:lnTo>
                  <a:lnTo>
                    <a:pt x="39" y="144"/>
                  </a:lnTo>
                  <a:lnTo>
                    <a:pt x="39" y="146"/>
                  </a:lnTo>
                  <a:lnTo>
                    <a:pt x="37" y="146"/>
                  </a:lnTo>
                  <a:lnTo>
                    <a:pt x="37" y="144"/>
                  </a:lnTo>
                  <a:lnTo>
                    <a:pt x="35" y="144"/>
                  </a:lnTo>
                  <a:lnTo>
                    <a:pt x="37" y="144"/>
                  </a:lnTo>
                  <a:lnTo>
                    <a:pt x="35" y="144"/>
                  </a:lnTo>
                  <a:lnTo>
                    <a:pt x="35" y="142"/>
                  </a:lnTo>
                  <a:lnTo>
                    <a:pt x="33" y="142"/>
                  </a:lnTo>
                  <a:lnTo>
                    <a:pt x="33" y="141"/>
                  </a:lnTo>
                  <a:lnTo>
                    <a:pt x="31" y="141"/>
                  </a:lnTo>
                  <a:lnTo>
                    <a:pt x="33" y="141"/>
                  </a:lnTo>
                  <a:lnTo>
                    <a:pt x="31" y="141"/>
                  </a:lnTo>
                  <a:lnTo>
                    <a:pt x="33" y="141"/>
                  </a:lnTo>
                  <a:lnTo>
                    <a:pt x="31" y="141"/>
                  </a:lnTo>
                  <a:lnTo>
                    <a:pt x="33" y="141"/>
                  </a:lnTo>
                  <a:lnTo>
                    <a:pt x="31" y="141"/>
                  </a:lnTo>
                  <a:lnTo>
                    <a:pt x="33" y="141"/>
                  </a:lnTo>
                  <a:lnTo>
                    <a:pt x="31" y="141"/>
                  </a:lnTo>
                  <a:lnTo>
                    <a:pt x="31" y="139"/>
                  </a:lnTo>
                  <a:lnTo>
                    <a:pt x="33" y="139"/>
                  </a:lnTo>
                  <a:lnTo>
                    <a:pt x="33" y="137"/>
                  </a:lnTo>
                  <a:lnTo>
                    <a:pt x="35" y="137"/>
                  </a:lnTo>
                  <a:lnTo>
                    <a:pt x="35" y="135"/>
                  </a:lnTo>
                  <a:lnTo>
                    <a:pt x="35" y="133"/>
                  </a:lnTo>
                  <a:lnTo>
                    <a:pt x="37" y="133"/>
                  </a:lnTo>
                  <a:lnTo>
                    <a:pt x="37" y="131"/>
                  </a:lnTo>
                  <a:lnTo>
                    <a:pt x="37" y="133"/>
                  </a:lnTo>
                  <a:lnTo>
                    <a:pt x="35" y="133"/>
                  </a:lnTo>
                  <a:lnTo>
                    <a:pt x="35" y="131"/>
                  </a:lnTo>
                  <a:lnTo>
                    <a:pt x="37" y="131"/>
                  </a:lnTo>
                  <a:lnTo>
                    <a:pt x="35" y="131"/>
                  </a:lnTo>
                  <a:lnTo>
                    <a:pt x="35" y="133"/>
                  </a:lnTo>
                  <a:lnTo>
                    <a:pt x="35" y="131"/>
                  </a:lnTo>
                  <a:lnTo>
                    <a:pt x="35" y="133"/>
                  </a:lnTo>
                  <a:lnTo>
                    <a:pt x="33" y="133"/>
                  </a:lnTo>
                  <a:lnTo>
                    <a:pt x="33" y="135"/>
                  </a:lnTo>
                  <a:lnTo>
                    <a:pt x="31" y="135"/>
                  </a:lnTo>
                  <a:lnTo>
                    <a:pt x="33" y="135"/>
                  </a:lnTo>
                  <a:lnTo>
                    <a:pt x="33" y="133"/>
                  </a:lnTo>
                  <a:lnTo>
                    <a:pt x="35" y="131"/>
                  </a:lnTo>
                  <a:lnTo>
                    <a:pt x="33" y="131"/>
                  </a:lnTo>
                  <a:lnTo>
                    <a:pt x="33" y="133"/>
                  </a:lnTo>
                  <a:lnTo>
                    <a:pt x="31" y="133"/>
                  </a:lnTo>
                  <a:lnTo>
                    <a:pt x="33" y="133"/>
                  </a:lnTo>
                  <a:lnTo>
                    <a:pt x="33" y="131"/>
                  </a:lnTo>
                  <a:lnTo>
                    <a:pt x="35" y="131"/>
                  </a:lnTo>
                  <a:lnTo>
                    <a:pt x="35" y="129"/>
                  </a:lnTo>
                  <a:lnTo>
                    <a:pt x="37" y="129"/>
                  </a:lnTo>
                  <a:lnTo>
                    <a:pt x="37" y="127"/>
                  </a:lnTo>
                  <a:lnTo>
                    <a:pt x="39" y="127"/>
                  </a:lnTo>
                  <a:lnTo>
                    <a:pt x="37" y="127"/>
                  </a:lnTo>
                  <a:lnTo>
                    <a:pt x="37" y="129"/>
                  </a:lnTo>
                  <a:lnTo>
                    <a:pt x="35" y="129"/>
                  </a:lnTo>
                  <a:lnTo>
                    <a:pt x="33" y="129"/>
                  </a:lnTo>
                  <a:lnTo>
                    <a:pt x="33" y="131"/>
                  </a:lnTo>
                  <a:lnTo>
                    <a:pt x="31" y="131"/>
                  </a:lnTo>
                  <a:lnTo>
                    <a:pt x="31" y="133"/>
                  </a:lnTo>
                  <a:lnTo>
                    <a:pt x="29" y="133"/>
                  </a:lnTo>
                  <a:lnTo>
                    <a:pt x="27" y="133"/>
                  </a:lnTo>
                  <a:lnTo>
                    <a:pt x="29" y="133"/>
                  </a:lnTo>
                  <a:lnTo>
                    <a:pt x="29" y="131"/>
                  </a:lnTo>
                  <a:lnTo>
                    <a:pt x="29" y="133"/>
                  </a:lnTo>
                  <a:lnTo>
                    <a:pt x="27" y="133"/>
                  </a:lnTo>
                  <a:lnTo>
                    <a:pt x="25" y="133"/>
                  </a:lnTo>
                  <a:lnTo>
                    <a:pt x="23" y="133"/>
                  </a:lnTo>
                  <a:lnTo>
                    <a:pt x="21" y="133"/>
                  </a:lnTo>
                  <a:lnTo>
                    <a:pt x="21" y="131"/>
                  </a:lnTo>
                  <a:lnTo>
                    <a:pt x="21" y="133"/>
                  </a:lnTo>
                  <a:lnTo>
                    <a:pt x="19" y="133"/>
                  </a:lnTo>
                  <a:lnTo>
                    <a:pt x="19" y="135"/>
                  </a:lnTo>
                  <a:lnTo>
                    <a:pt x="18" y="135"/>
                  </a:lnTo>
                  <a:lnTo>
                    <a:pt x="18" y="133"/>
                  </a:lnTo>
                  <a:lnTo>
                    <a:pt x="19" y="133"/>
                  </a:lnTo>
                  <a:lnTo>
                    <a:pt x="21" y="133"/>
                  </a:lnTo>
                  <a:lnTo>
                    <a:pt x="21" y="131"/>
                  </a:lnTo>
                  <a:lnTo>
                    <a:pt x="23" y="129"/>
                  </a:lnTo>
                  <a:lnTo>
                    <a:pt x="21" y="129"/>
                  </a:lnTo>
                  <a:lnTo>
                    <a:pt x="21" y="131"/>
                  </a:lnTo>
                  <a:lnTo>
                    <a:pt x="19" y="133"/>
                  </a:lnTo>
                  <a:lnTo>
                    <a:pt x="18" y="133"/>
                  </a:lnTo>
                  <a:lnTo>
                    <a:pt x="19" y="133"/>
                  </a:lnTo>
                  <a:lnTo>
                    <a:pt x="18" y="133"/>
                  </a:lnTo>
                  <a:lnTo>
                    <a:pt x="18" y="131"/>
                  </a:lnTo>
                  <a:lnTo>
                    <a:pt x="19" y="131"/>
                  </a:lnTo>
                  <a:lnTo>
                    <a:pt x="18" y="131"/>
                  </a:lnTo>
                  <a:lnTo>
                    <a:pt x="18" y="129"/>
                  </a:lnTo>
                  <a:lnTo>
                    <a:pt x="19" y="129"/>
                  </a:lnTo>
                  <a:lnTo>
                    <a:pt x="19" y="127"/>
                  </a:lnTo>
                  <a:lnTo>
                    <a:pt x="19" y="125"/>
                  </a:lnTo>
                  <a:lnTo>
                    <a:pt x="19" y="127"/>
                  </a:lnTo>
                  <a:lnTo>
                    <a:pt x="19" y="125"/>
                  </a:lnTo>
                  <a:lnTo>
                    <a:pt x="19" y="127"/>
                  </a:lnTo>
                  <a:lnTo>
                    <a:pt x="19" y="125"/>
                  </a:lnTo>
                  <a:lnTo>
                    <a:pt x="21" y="125"/>
                  </a:lnTo>
                  <a:lnTo>
                    <a:pt x="19" y="125"/>
                  </a:lnTo>
                  <a:lnTo>
                    <a:pt x="21" y="125"/>
                  </a:lnTo>
                  <a:lnTo>
                    <a:pt x="19" y="125"/>
                  </a:lnTo>
                  <a:lnTo>
                    <a:pt x="21" y="125"/>
                  </a:lnTo>
                  <a:lnTo>
                    <a:pt x="21" y="123"/>
                  </a:lnTo>
                  <a:lnTo>
                    <a:pt x="21" y="121"/>
                  </a:lnTo>
                  <a:lnTo>
                    <a:pt x="23" y="121"/>
                  </a:lnTo>
                  <a:lnTo>
                    <a:pt x="21" y="121"/>
                  </a:lnTo>
                  <a:lnTo>
                    <a:pt x="23" y="121"/>
                  </a:lnTo>
                  <a:lnTo>
                    <a:pt x="21" y="121"/>
                  </a:lnTo>
                  <a:lnTo>
                    <a:pt x="23" y="121"/>
                  </a:lnTo>
                  <a:lnTo>
                    <a:pt x="21" y="121"/>
                  </a:lnTo>
                  <a:lnTo>
                    <a:pt x="23" y="121"/>
                  </a:lnTo>
                  <a:lnTo>
                    <a:pt x="23" y="119"/>
                  </a:lnTo>
                  <a:lnTo>
                    <a:pt x="23" y="118"/>
                  </a:lnTo>
                  <a:lnTo>
                    <a:pt x="25" y="118"/>
                  </a:lnTo>
                  <a:lnTo>
                    <a:pt x="23" y="118"/>
                  </a:lnTo>
                  <a:lnTo>
                    <a:pt x="25" y="118"/>
                  </a:lnTo>
                  <a:lnTo>
                    <a:pt x="25" y="116"/>
                  </a:lnTo>
                  <a:lnTo>
                    <a:pt x="25" y="118"/>
                  </a:lnTo>
                  <a:lnTo>
                    <a:pt x="25" y="116"/>
                  </a:lnTo>
                  <a:lnTo>
                    <a:pt x="27" y="116"/>
                  </a:lnTo>
                  <a:lnTo>
                    <a:pt x="25" y="116"/>
                  </a:lnTo>
                  <a:lnTo>
                    <a:pt x="25" y="114"/>
                  </a:lnTo>
                  <a:lnTo>
                    <a:pt x="25" y="112"/>
                  </a:lnTo>
                  <a:lnTo>
                    <a:pt x="25" y="110"/>
                  </a:lnTo>
                  <a:lnTo>
                    <a:pt x="25" y="108"/>
                  </a:lnTo>
                  <a:lnTo>
                    <a:pt x="27" y="108"/>
                  </a:lnTo>
                  <a:lnTo>
                    <a:pt x="25" y="108"/>
                  </a:lnTo>
                  <a:lnTo>
                    <a:pt x="27" y="108"/>
                  </a:lnTo>
                  <a:lnTo>
                    <a:pt x="29" y="108"/>
                  </a:lnTo>
                  <a:lnTo>
                    <a:pt x="27" y="108"/>
                  </a:lnTo>
                  <a:lnTo>
                    <a:pt x="27" y="110"/>
                  </a:lnTo>
                  <a:lnTo>
                    <a:pt x="27" y="108"/>
                  </a:lnTo>
                  <a:lnTo>
                    <a:pt x="29" y="108"/>
                  </a:lnTo>
                  <a:lnTo>
                    <a:pt x="27" y="108"/>
                  </a:lnTo>
                  <a:lnTo>
                    <a:pt x="27" y="106"/>
                  </a:lnTo>
                  <a:lnTo>
                    <a:pt x="27" y="104"/>
                  </a:lnTo>
                  <a:lnTo>
                    <a:pt x="27" y="106"/>
                  </a:lnTo>
                  <a:lnTo>
                    <a:pt x="25" y="104"/>
                  </a:lnTo>
                  <a:lnTo>
                    <a:pt x="25" y="102"/>
                  </a:lnTo>
                  <a:lnTo>
                    <a:pt x="25" y="100"/>
                  </a:lnTo>
                  <a:lnTo>
                    <a:pt x="25" y="98"/>
                  </a:lnTo>
                  <a:lnTo>
                    <a:pt x="25" y="100"/>
                  </a:lnTo>
                  <a:lnTo>
                    <a:pt x="23" y="100"/>
                  </a:lnTo>
                  <a:lnTo>
                    <a:pt x="23" y="98"/>
                  </a:lnTo>
                  <a:lnTo>
                    <a:pt x="25" y="98"/>
                  </a:lnTo>
                  <a:lnTo>
                    <a:pt x="23" y="98"/>
                  </a:lnTo>
                  <a:lnTo>
                    <a:pt x="25" y="98"/>
                  </a:lnTo>
                  <a:lnTo>
                    <a:pt x="23" y="98"/>
                  </a:lnTo>
                  <a:lnTo>
                    <a:pt x="23" y="96"/>
                  </a:lnTo>
                  <a:lnTo>
                    <a:pt x="23" y="98"/>
                  </a:lnTo>
                  <a:lnTo>
                    <a:pt x="23" y="96"/>
                  </a:lnTo>
                  <a:lnTo>
                    <a:pt x="23" y="94"/>
                  </a:lnTo>
                  <a:lnTo>
                    <a:pt x="23" y="96"/>
                  </a:lnTo>
                  <a:lnTo>
                    <a:pt x="23" y="94"/>
                  </a:lnTo>
                  <a:lnTo>
                    <a:pt x="21" y="94"/>
                  </a:lnTo>
                  <a:lnTo>
                    <a:pt x="21" y="93"/>
                  </a:lnTo>
                  <a:lnTo>
                    <a:pt x="21" y="91"/>
                  </a:lnTo>
                  <a:lnTo>
                    <a:pt x="23" y="91"/>
                  </a:lnTo>
                  <a:lnTo>
                    <a:pt x="21" y="91"/>
                  </a:lnTo>
                  <a:lnTo>
                    <a:pt x="23" y="91"/>
                  </a:lnTo>
                  <a:lnTo>
                    <a:pt x="21" y="91"/>
                  </a:lnTo>
                  <a:lnTo>
                    <a:pt x="21" y="93"/>
                  </a:lnTo>
                  <a:lnTo>
                    <a:pt x="23" y="93"/>
                  </a:lnTo>
                  <a:lnTo>
                    <a:pt x="25" y="93"/>
                  </a:lnTo>
                  <a:lnTo>
                    <a:pt x="25" y="94"/>
                  </a:lnTo>
                  <a:lnTo>
                    <a:pt x="27" y="94"/>
                  </a:lnTo>
                  <a:lnTo>
                    <a:pt x="25" y="94"/>
                  </a:lnTo>
                  <a:lnTo>
                    <a:pt x="27" y="94"/>
                  </a:lnTo>
                  <a:lnTo>
                    <a:pt x="27" y="93"/>
                  </a:lnTo>
                  <a:lnTo>
                    <a:pt x="27" y="94"/>
                  </a:lnTo>
                  <a:lnTo>
                    <a:pt x="27" y="93"/>
                  </a:lnTo>
                  <a:lnTo>
                    <a:pt x="25" y="93"/>
                  </a:lnTo>
                  <a:lnTo>
                    <a:pt x="25" y="91"/>
                  </a:lnTo>
                  <a:lnTo>
                    <a:pt x="25" y="93"/>
                  </a:lnTo>
                  <a:lnTo>
                    <a:pt x="25" y="91"/>
                  </a:lnTo>
                  <a:lnTo>
                    <a:pt x="23" y="91"/>
                  </a:lnTo>
                  <a:lnTo>
                    <a:pt x="25" y="91"/>
                  </a:lnTo>
                  <a:lnTo>
                    <a:pt x="23" y="91"/>
                  </a:lnTo>
                  <a:lnTo>
                    <a:pt x="25" y="91"/>
                  </a:lnTo>
                  <a:lnTo>
                    <a:pt x="23" y="91"/>
                  </a:lnTo>
                  <a:lnTo>
                    <a:pt x="25" y="91"/>
                  </a:lnTo>
                  <a:lnTo>
                    <a:pt x="23" y="91"/>
                  </a:lnTo>
                  <a:lnTo>
                    <a:pt x="25" y="91"/>
                  </a:lnTo>
                  <a:lnTo>
                    <a:pt x="27" y="91"/>
                  </a:lnTo>
                  <a:lnTo>
                    <a:pt x="27" y="89"/>
                  </a:lnTo>
                  <a:lnTo>
                    <a:pt x="29" y="89"/>
                  </a:lnTo>
                  <a:lnTo>
                    <a:pt x="27" y="89"/>
                  </a:lnTo>
                  <a:lnTo>
                    <a:pt x="29" y="89"/>
                  </a:lnTo>
                  <a:lnTo>
                    <a:pt x="27" y="89"/>
                  </a:lnTo>
                  <a:lnTo>
                    <a:pt x="25" y="89"/>
                  </a:lnTo>
                  <a:lnTo>
                    <a:pt x="25" y="87"/>
                  </a:lnTo>
                  <a:lnTo>
                    <a:pt x="27" y="87"/>
                  </a:lnTo>
                  <a:lnTo>
                    <a:pt x="25" y="87"/>
                  </a:lnTo>
                  <a:lnTo>
                    <a:pt x="27" y="87"/>
                  </a:lnTo>
                  <a:lnTo>
                    <a:pt x="25" y="87"/>
                  </a:lnTo>
                  <a:lnTo>
                    <a:pt x="23" y="87"/>
                  </a:lnTo>
                  <a:lnTo>
                    <a:pt x="23" y="85"/>
                  </a:lnTo>
                  <a:lnTo>
                    <a:pt x="25" y="85"/>
                  </a:lnTo>
                  <a:lnTo>
                    <a:pt x="25" y="87"/>
                  </a:lnTo>
                  <a:lnTo>
                    <a:pt x="25" y="85"/>
                  </a:lnTo>
                  <a:lnTo>
                    <a:pt x="27" y="85"/>
                  </a:lnTo>
                  <a:lnTo>
                    <a:pt x="29" y="85"/>
                  </a:lnTo>
                  <a:lnTo>
                    <a:pt x="29" y="83"/>
                  </a:lnTo>
                  <a:lnTo>
                    <a:pt x="29" y="85"/>
                  </a:lnTo>
                  <a:lnTo>
                    <a:pt x="29" y="83"/>
                  </a:lnTo>
                  <a:lnTo>
                    <a:pt x="29" y="85"/>
                  </a:lnTo>
                  <a:lnTo>
                    <a:pt x="29" y="83"/>
                  </a:lnTo>
                  <a:lnTo>
                    <a:pt x="27" y="83"/>
                  </a:lnTo>
                  <a:lnTo>
                    <a:pt x="25" y="83"/>
                  </a:lnTo>
                  <a:lnTo>
                    <a:pt x="23" y="83"/>
                  </a:lnTo>
                  <a:lnTo>
                    <a:pt x="25" y="83"/>
                  </a:lnTo>
                  <a:lnTo>
                    <a:pt x="23" y="83"/>
                  </a:lnTo>
                  <a:lnTo>
                    <a:pt x="25" y="83"/>
                  </a:lnTo>
                  <a:lnTo>
                    <a:pt x="27" y="83"/>
                  </a:lnTo>
                  <a:lnTo>
                    <a:pt x="25" y="83"/>
                  </a:lnTo>
                  <a:lnTo>
                    <a:pt x="23" y="83"/>
                  </a:lnTo>
                  <a:lnTo>
                    <a:pt x="21" y="83"/>
                  </a:lnTo>
                  <a:lnTo>
                    <a:pt x="21" y="81"/>
                  </a:lnTo>
                  <a:lnTo>
                    <a:pt x="19" y="81"/>
                  </a:lnTo>
                  <a:lnTo>
                    <a:pt x="19" y="79"/>
                  </a:lnTo>
                  <a:lnTo>
                    <a:pt x="19" y="77"/>
                  </a:lnTo>
                  <a:lnTo>
                    <a:pt x="18" y="77"/>
                  </a:lnTo>
                  <a:lnTo>
                    <a:pt x="19" y="77"/>
                  </a:lnTo>
                  <a:lnTo>
                    <a:pt x="19" y="75"/>
                  </a:lnTo>
                  <a:lnTo>
                    <a:pt x="18" y="77"/>
                  </a:lnTo>
                  <a:lnTo>
                    <a:pt x="18" y="75"/>
                  </a:lnTo>
                  <a:lnTo>
                    <a:pt x="18" y="77"/>
                  </a:lnTo>
                  <a:lnTo>
                    <a:pt x="19" y="77"/>
                  </a:lnTo>
                  <a:lnTo>
                    <a:pt x="18" y="77"/>
                  </a:lnTo>
                  <a:lnTo>
                    <a:pt x="18" y="79"/>
                  </a:lnTo>
                  <a:lnTo>
                    <a:pt x="16" y="79"/>
                  </a:lnTo>
                  <a:lnTo>
                    <a:pt x="14" y="79"/>
                  </a:lnTo>
                  <a:lnTo>
                    <a:pt x="14" y="77"/>
                  </a:lnTo>
                  <a:lnTo>
                    <a:pt x="14" y="79"/>
                  </a:lnTo>
                  <a:lnTo>
                    <a:pt x="14" y="77"/>
                  </a:lnTo>
                  <a:lnTo>
                    <a:pt x="14" y="79"/>
                  </a:lnTo>
                  <a:lnTo>
                    <a:pt x="12" y="79"/>
                  </a:lnTo>
                  <a:lnTo>
                    <a:pt x="12" y="77"/>
                  </a:lnTo>
                  <a:lnTo>
                    <a:pt x="14" y="77"/>
                  </a:lnTo>
                  <a:lnTo>
                    <a:pt x="12" y="77"/>
                  </a:lnTo>
                  <a:lnTo>
                    <a:pt x="12" y="75"/>
                  </a:lnTo>
                  <a:lnTo>
                    <a:pt x="12" y="73"/>
                  </a:lnTo>
                  <a:lnTo>
                    <a:pt x="10" y="73"/>
                  </a:lnTo>
                  <a:lnTo>
                    <a:pt x="12" y="73"/>
                  </a:lnTo>
                  <a:lnTo>
                    <a:pt x="10" y="73"/>
                  </a:lnTo>
                  <a:lnTo>
                    <a:pt x="10" y="71"/>
                  </a:lnTo>
                  <a:lnTo>
                    <a:pt x="10" y="70"/>
                  </a:lnTo>
                  <a:lnTo>
                    <a:pt x="8" y="70"/>
                  </a:lnTo>
                  <a:lnTo>
                    <a:pt x="8" y="68"/>
                  </a:lnTo>
                  <a:lnTo>
                    <a:pt x="8" y="66"/>
                  </a:lnTo>
                  <a:lnTo>
                    <a:pt x="6" y="66"/>
                  </a:lnTo>
                  <a:lnTo>
                    <a:pt x="8" y="66"/>
                  </a:lnTo>
                  <a:lnTo>
                    <a:pt x="6" y="66"/>
                  </a:lnTo>
                  <a:lnTo>
                    <a:pt x="6" y="64"/>
                  </a:lnTo>
                  <a:lnTo>
                    <a:pt x="6" y="62"/>
                  </a:lnTo>
                  <a:lnTo>
                    <a:pt x="4" y="62"/>
                  </a:lnTo>
                  <a:lnTo>
                    <a:pt x="4" y="60"/>
                  </a:lnTo>
                  <a:lnTo>
                    <a:pt x="4" y="58"/>
                  </a:lnTo>
                  <a:lnTo>
                    <a:pt x="4" y="56"/>
                  </a:lnTo>
                  <a:lnTo>
                    <a:pt x="2" y="56"/>
                  </a:lnTo>
                  <a:lnTo>
                    <a:pt x="4" y="56"/>
                  </a:lnTo>
                  <a:lnTo>
                    <a:pt x="2" y="56"/>
                  </a:lnTo>
                  <a:lnTo>
                    <a:pt x="2" y="54"/>
                  </a:lnTo>
                  <a:lnTo>
                    <a:pt x="2" y="56"/>
                  </a:lnTo>
                  <a:lnTo>
                    <a:pt x="2" y="54"/>
                  </a:lnTo>
                  <a:lnTo>
                    <a:pt x="2" y="52"/>
                  </a:lnTo>
                  <a:lnTo>
                    <a:pt x="2" y="50"/>
                  </a:lnTo>
                  <a:lnTo>
                    <a:pt x="0" y="50"/>
                  </a:lnTo>
                  <a:lnTo>
                    <a:pt x="2" y="50"/>
                  </a:lnTo>
                  <a:lnTo>
                    <a:pt x="2" y="48"/>
                  </a:lnTo>
                  <a:lnTo>
                    <a:pt x="0" y="48"/>
                  </a:lnTo>
                  <a:lnTo>
                    <a:pt x="0" y="46"/>
                  </a:lnTo>
                  <a:lnTo>
                    <a:pt x="0" y="45"/>
                  </a:lnTo>
                  <a:lnTo>
                    <a:pt x="2" y="43"/>
                  </a:lnTo>
                  <a:lnTo>
                    <a:pt x="0" y="43"/>
                  </a:lnTo>
                  <a:lnTo>
                    <a:pt x="0" y="45"/>
                  </a:lnTo>
                  <a:lnTo>
                    <a:pt x="0" y="46"/>
                  </a:lnTo>
                  <a:lnTo>
                    <a:pt x="0" y="45"/>
                  </a:lnTo>
                  <a:lnTo>
                    <a:pt x="0" y="43"/>
                  </a:lnTo>
                  <a:lnTo>
                    <a:pt x="0" y="45"/>
                  </a:lnTo>
                  <a:lnTo>
                    <a:pt x="0" y="43"/>
                  </a:lnTo>
                  <a:lnTo>
                    <a:pt x="2" y="43"/>
                  </a:lnTo>
                  <a:lnTo>
                    <a:pt x="0" y="43"/>
                  </a:lnTo>
                  <a:lnTo>
                    <a:pt x="0" y="41"/>
                  </a:lnTo>
                  <a:lnTo>
                    <a:pt x="2" y="41"/>
                  </a:lnTo>
                  <a:lnTo>
                    <a:pt x="0" y="41"/>
                  </a:lnTo>
                  <a:lnTo>
                    <a:pt x="2" y="41"/>
                  </a:lnTo>
                  <a:lnTo>
                    <a:pt x="2" y="39"/>
                  </a:lnTo>
                  <a:lnTo>
                    <a:pt x="2" y="41"/>
                  </a:lnTo>
                  <a:lnTo>
                    <a:pt x="2" y="39"/>
                  </a:lnTo>
                  <a:lnTo>
                    <a:pt x="4" y="39"/>
                  </a:lnTo>
                  <a:lnTo>
                    <a:pt x="2" y="39"/>
                  </a:lnTo>
                  <a:lnTo>
                    <a:pt x="4" y="39"/>
                  </a:lnTo>
                  <a:lnTo>
                    <a:pt x="4" y="37"/>
                  </a:lnTo>
                  <a:lnTo>
                    <a:pt x="6" y="37"/>
                  </a:lnTo>
                  <a:lnTo>
                    <a:pt x="4" y="37"/>
                  </a:lnTo>
                  <a:lnTo>
                    <a:pt x="6" y="37"/>
                  </a:lnTo>
                  <a:lnTo>
                    <a:pt x="4" y="37"/>
                  </a:lnTo>
                  <a:lnTo>
                    <a:pt x="4" y="39"/>
                  </a:lnTo>
                  <a:lnTo>
                    <a:pt x="4" y="37"/>
                  </a:lnTo>
                  <a:lnTo>
                    <a:pt x="6" y="37"/>
                  </a:lnTo>
                  <a:lnTo>
                    <a:pt x="6" y="35"/>
                  </a:lnTo>
                  <a:lnTo>
                    <a:pt x="4" y="35"/>
                  </a:lnTo>
                  <a:lnTo>
                    <a:pt x="6" y="35"/>
                  </a:lnTo>
                  <a:lnTo>
                    <a:pt x="6" y="33"/>
                  </a:lnTo>
                  <a:lnTo>
                    <a:pt x="8" y="33"/>
                  </a:lnTo>
                  <a:lnTo>
                    <a:pt x="8" y="31"/>
                  </a:lnTo>
                  <a:lnTo>
                    <a:pt x="10" y="31"/>
                  </a:lnTo>
                  <a:lnTo>
                    <a:pt x="10" y="29"/>
                  </a:lnTo>
                  <a:lnTo>
                    <a:pt x="10" y="27"/>
                  </a:lnTo>
                  <a:lnTo>
                    <a:pt x="12" y="27"/>
                  </a:lnTo>
                  <a:lnTo>
                    <a:pt x="14" y="27"/>
                  </a:lnTo>
                  <a:lnTo>
                    <a:pt x="14" y="25"/>
                  </a:lnTo>
                  <a:lnTo>
                    <a:pt x="14" y="27"/>
                  </a:lnTo>
                  <a:lnTo>
                    <a:pt x="14" y="25"/>
                  </a:lnTo>
                  <a:lnTo>
                    <a:pt x="14" y="23"/>
                  </a:lnTo>
                  <a:lnTo>
                    <a:pt x="14" y="22"/>
                  </a:lnTo>
                  <a:lnTo>
                    <a:pt x="16" y="22"/>
                  </a:lnTo>
                  <a:lnTo>
                    <a:pt x="16" y="23"/>
                  </a:lnTo>
                  <a:lnTo>
                    <a:pt x="16" y="22"/>
                  </a:lnTo>
                  <a:lnTo>
                    <a:pt x="16" y="23"/>
                  </a:lnTo>
                  <a:lnTo>
                    <a:pt x="16" y="22"/>
                  </a:lnTo>
                  <a:lnTo>
                    <a:pt x="18" y="22"/>
                  </a:lnTo>
                  <a:lnTo>
                    <a:pt x="18" y="23"/>
                  </a:lnTo>
                  <a:lnTo>
                    <a:pt x="18" y="25"/>
                  </a:lnTo>
                  <a:lnTo>
                    <a:pt x="19" y="25"/>
                  </a:lnTo>
                  <a:lnTo>
                    <a:pt x="18" y="25"/>
                  </a:lnTo>
                  <a:lnTo>
                    <a:pt x="19" y="25"/>
                  </a:lnTo>
                  <a:lnTo>
                    <a:pt x="18" y="25"/>
                  </a:lnTo>
                  <a:lnTo>
                    <a:pt x="18" y="23"/>
                  </a:lnTo>
                  <a:lnTo>
                    <a:pt x="19" y="23"/>
                  </a:lnTo>
                  <a:lnTo>
                    <a:pt x="18" y="23"/>
                  </a:lnTo>
                  <a:lnTo>
                    <a:pt x="19" y="23"/>
                  </a:lnTo>
                  <a:lnTo>
                    <a:pt x="21" y="23"/>
                  </a:lnTo>
                  <a:lnTo>
                    <a:pt x="23" y="23"/>
                  </a:lnTo>
                  <a:lnTo>
                    <a:pt x="25" y="23"/>
                  </a:lnTo>
                  <a:lnTo>
                    <a:pt x="25" y="25"/>
                  </a:lnTo>
                  <a:lnTo>
                    <a:pt x="25" y="23"/>
                  </a:lnTo>
                  <a:lnTo>
                    <a:pt x="27" y="23"/>
                  </a:lnTo>
                  <a:lnTo>
                    <a:pt x="27" y="25"/>
                  </a:lnTo>
                  <a:lnTo>
                    <a:pt x="27" y="23"/>
                  </a:lnTo>
                  <a:lnTo>
                    <a:pt x="27" y="22"/>
                  </a:lnTo>
                  <a:lnTo>
                    <a:pt x="27" y="23"/>
                  </a:lnTo>
                  <a:lnTo>
                    <a:pt x="29" y="23"/>
                  </a:lnTo>
                  <a:lnTo>
                    <a:pt x="29" y="22"/>
                  </a:lnTo>
                  <a:lnTo>
                    <a:pt x="29" y="23"/>
                  </a:lnTo>
                  <a:lnTo>
                    <a:pt x="29" y="22"/>
                  </a:lnTo>
                  <a:lnTo>
                    <a:pt x="31" y="22"/>
                  </a:lnTo>
                  <a:lnTo>
                    <a:pt x="31" y="23"/>
                  </a:lnTo>
                  <a:lnTo>
                    <a:pt x="31" y="22"/>
                  </a:lnTo>
                  <a:lnTo>
                    <a:pt x="33" y="22"/>
                  </a:lnTo>
                  <a:lnTo>
                    <a:pt x="33" y="23"/>
                  </a:lnTo>
                  <a:lnTo>
                    <a:pt x="33" y="22"/>
                  </a:lnTo>
                  <a:lnTo>
                    <a:pt x="35" y="22"/>
                  </a:lnTo>
                  <a:lnTo>
                    <a:pt x="37" y="22"/>
                  </a:lnTo>
                  <a:lnTo>
                    <a:pt x="37" y="23"/>
                  </a:lnTo>
                  <a:lnTo>
                    <a:pt x="37" y="22"/>
                  </a:lnTo>
                  <a:lnTo>
                    <a:pt x="39" y="22"/>
                  </a:lnTo>
                  <a:lnTo>
                    <a:pt x="39" y="23"/>
                  </a:lnTo>
                  <a:lnTo>
                    <a:pt x="39" y="22"/>
                  </a:lnTo>
                  <a:lnTo>
                    <a:pt x="39" y="23"/>
                  </a:lnTo>
                  <a:lnTo>
                    <a:pt x="41" y="23"/>
                  </a:lnTo>
                  <a:lnTo>
                    <a:pt x="39" y="23"/>
                  </a:lnTo>
                  <a:lnTo>
                    <a:pt x="41" y="23"/>
                  </a:lnTo>
                  <a:lnTo>
                    <a:pt x="39" y="23"/>
                  </a:lnTo>
                  <a:lnTo>
                    <a:pt x="41" y="25"/>
                  </a:lnTo>
                  <a:lnTo>
                    <a:pt x="41" y="23"/>
                  </a:lnTo>
                  <a:lnTo>
                    <a:pt x="42" y="23"/>
                  </a:lnTo>
                  <a:lnTo>
                    <a:pt x="42" y="25"/>
                  </a:lnTo>
                  <a:lnTo>
                    <a:pt x="42" y="23"/>
                  </a:lnTo>
                  <a:lnTo>
                    <a:pt x="44" y="25"/>
                  </a:lnTo>
                  <a:lnTo>
                    <a:pt x="44" y="23"/>
                  </a:lnTo>
                  <a:lnTo>
                    <a:pt x="46" y="23"/>
                  </a:lnTo>
                  <a:lnTo>
                    <a:pt x="46" y="25"/>
                  </a:lnTo>
                  <a:lnTo>
                    <a:pt x="46" y="23"/>
                  </a:lnTo>
                  <a:lnTo>
                    <a:pt x="46" y="25"/>
                  </a:lnTo>
                  <a:lnTo>
                    <a:pt x="48" y="23"/>
                  </a:lnTo>
                  <a:lnTo>
                    <a:pt x="48" y="25"/>
                  </a:lnTo>
                  <a:lnTo>
                    <a:pt x="50" y="25"/>
                  </a:lnTo>
                  <a:lnTo>
                    <a:pt x="48" y="25"/>
                  </a:lnTo>
                  <a:lnTo>
                    <a:pt x="50" y="25"/>
                  </a:lnTo>
                  <a:lnTo>
                    <a:pt x="50" y="23"/>
                  </a:lnTo>
                  <a:lnTo>
                    <a:pt x="50" y="25"/>
                  </a:lnTo>
                  <a:lnTo>
                    <a:pt x="50" y="23"/>
                  </a:lnTo>
                  <a:lnTo>
                    <a:pt x="50" y="25"/>
                  </a:lnTo>
                  <a:lnTo>
                    <a:pt x="52" y="25"/>
                  </a:lnTo>
                  <a:lnTo>
                    <a:pt x="54" y="25"/>
                  </a:lnTo>
                  <a:lnTo>
                    <a:pt x="56" y="25"/>
                  </a:lnTo>
                  <a:lnTo>
                    <a:pt x="56" y="27"/>
                  </a:lnTo>
                  <a:lnTo>
                    <a:pt x="58" y="27"/>
                  </a:lnTo>
                  <a:lnTo>
                    <a:pt x="58" y="25"/>
                  </a:lnTo>
                  <a:lnTo>
                    <a:pt x="60" y="25"/>
                  </a:lnTo>
                  <a:lnTo>
                    <a:pt x="60" y="27"/>
                  </a:lnTo>
                  <a:lnTo>
                    <a:pt x="60" y="29"/>
                  </a:lnTo>
                  <a:lnTo>
                    <a:pt x="60" y="27"/>
                  </a:lnTo>
                  <a:lnTo>
                    <a:pt x="60" y="25"/>
                  </a:lnTo>
                  <a:lnTo>
                    <a:pt x="62" y="25"/>
                  </a:lnTo>
                  <a:lnTo>
                    <a:pt x="62" y="27"/>
                  </a:lnTo>
                  <a:lnTo>
                    <a:pt x="64" y="27"/>
                  </a:lnTo>
                  <a:lnTo>
                    <a:pt x="66" y="27"/>
                  </a:lnTo>
                  <a:lnTo>
                    <a:pt x="67" y="27"/>
                  </a:lnTo>
                  <a:lnTo>
                    <a:pt x="69" y="27"/>
                  </a:lnTo>
                  <a:lnTo>
                    <a:pt x="71" y="27"/>
                  </a:lnTo>
                  <a:lnTo>
                    <a:pt x="73" y="27"/>
                  </a:lnTo>
                  <a:lnTo>
                    <a:pt x="75" y="27"/>
                  </a:lnTo>
                  <a:lnTo>
                    <a:pt x="75" y="25"/>
                  </a:lnTo>
                  <a:lnTo>
                    <a:pt x="77" y="25"/>
                  </a:lnTo>
                  <a:lnTo>
                    <a:pt x="77" y="27"/>
                  </a:lnTo>
                  <a:lnTo>
                    <a:pt x="79" y="27"/>
                  </a:lnTo>
                  <a:lnTo>
                    <a:pt x="77" y="27"/>
                  </a:lnTo>
                  <a:lnTo>
                    <a:pt x="77" y="25"/>
                  </a:lnTo>
                  <a:lnTo>
                    <a:pt x="77" y="23"/>
                  </a:lnTo>
                  <a:lnTo>
                    <a:pt x="79" y="23"/>
                  </a:lnTo>
                  <a:lnTo>
                    <a:pt x="81" y="23"/>
                  </a:lnTo>
                  <a:lnTo>
                    <a:pt x="83" y="23"/>
                  </a:lnTo>
                  <a:lnTo>
                    <a:pt x="85" y="23"/>
                  </a:lnTo>
                  <a:lnTo>
                    <a:pt x="85" y="25"/>
                  </a:lnTo>
                  <a:lnTo>
                    <a:pt x="85" y="27"/>
                  </a:lnTo>
                  <a:lnTo>
                    <a:pt x="87" y="27"/>
                  </a:lnTo>
                  <a:lnTo>
                    <a:pt x="87" y="25"/>
                  </a:lnTo>
                  <a:lnTo>
                    <a:pt x="87" y="23"/>
                  </a:lnTo>
                  <a:lnTo>
                    <a:pt x="89" y="23"/>
                  </a:lnTo>
                  <a:lnTo>
                    <a:pt x="90" y="23"/>
                  </a:lnTo>
                  <a:lnTo>
                    <a:pt x="90" y="25"/>
                  </a:lnTo>
                  <a:lnTo>
                    <a:pt x="92" y="25"/>
                  </a:lnTo>
                  <a:lnTo>
                    <a:pt x="94" y="25"/>
                  </a:lnTo>
                  <a:lnTo>
                    <a:pt x="94" y="27"/>
                  </a:lnTo>
                  <a:lnTo>
                    <a:pt x="94" y="25"/>
                  </a:lnTo>
                  <a:lnTo>
                    <a:pt x="94" y="27"/>
                  </a:lnTo>
                  <a:lnTo>
                    <a:pt x="96" y="27"/>
                  </a:lnTo>
                  <a:lnTo>
                    <a:pt x="96" y="29"/>
                  </a:lnTo>
                  <a:lnTo>
                    <a:pt x="98" y="29"/>
                  </a:lnTo>
                  <a:lnTo>
                    <a:pt x="96" y="29"/>
                  </a:lnTo>
                  <a:lnTo>
                    <a:pt x="98" y="29"/>
                  </a:lnTo>
                  <a:lnTo>
                    <a:pt x="98" y="27"/>
                  </a:lnTo>
                  <a:lnTo>
                    <a:pt x="98" y="29"/>
                  </a:lnTo>
                  <a:lnTo>
                    <a:pt x="100" y="29"/>
                  </a:lnTo>
                  <a:lnTo>
                    <a:pt x="102" y="29"/>
                  </a:lnTo>
                  <a:lnTo>
                    <a:pt x="104" y="29"/>
                  </a:lnTo>
                  <a:lnTo>
                    <a:pt x="102" y="29"/>
                  </a:lnTo>
                  <a:lnTo>
                    <a:pt x="104" y="29"/>
                  </a:lnTo>
                  <a:lnTo>
                    <a:pt x="104" y="31"/>
                  </a:lnTo>
                  <a:lnTo>
                    <a:pt x="104" y="29"/>
                  </a:lnTo>
                  <a:lnTo>
                    <a:pt x="102" y="29"/>
                  </a:lnTo>
                  <a:lnTo>
                    <a:pt x="100" y="29"/>
                  </a:lnTo>
                  <a:lnTo>
                    <a:pt x="100" y="27"/>
                  </a:lnTo>
                  <a:lnTo>
                    <a:pt x="98" y="27"/>
                  </a:lnTo>
                  <a:lnTo>
                    <a:pt x="98" y="25"/>
                  </a:lnTo>
                  <a:lnTo>
                    <a:pt x="96" y="25"/>
                  </a:lnTo>
                  <a:lnTo>
                    <a:pt x="96" y="23"/>
                  </a:lnTo>
                  <a:lnTo>
                    <a:pt x="96" y="22"/>
                  </a:lnTo>
                  <a:lnTo>
                    <a:pt x="98" y="22"/>
                  </a:lnTo>
                  <a:lnTo>
                    <a:pt x="100" y="22"/>
                  </a:lnTo>
                  <a:lnTo>
                    <a:pt x="102" y="22"/>
                  </a:lnTo>
                  <a:lnTo>
                    <a:pt x="104" y="22"/>
                  </a:lnTo>
                  <a:lnTo>
                    <a:pt x="106" y="20"/>
                  </a:lnTo>
                  <a:lnTo>
                    <a:pt x="106" y="18"/>
                  </a:lnTo>
                  <a:lnTo>
                    <a:pt x="108" y="18"/>
                  </a:lnTo>
                  <a:lnTo>
                    <a:pt x="108" y="16"/>
                  </a:lnTo>
                  <a:lnTo>
                    <a:pt x="108" y="14"/>
                  </a:lnTo>
                  <a:lnTo>
                    <a:pt x="110" y="14"/>
                  </a:lnTo>
                  <a:lnTo>
                    <a:pt x="108" y="14"/>
                  </a:lnTo>
                  <a:lnTo>
                    <a:pt x="110" y="14"/>
                  </a:lnTo>
                  <a:lnTo>
                    <a:pt x="112" y="14"/>
                  </a:lnTo>
                  <a:lnTo>
                    <a:pt x="112" y="12"/>
                  </a:lnTo>
                  <a:lnTo>
                    <a:pt x="114" y="12"/>
                  </a:lnTo>
                  <a:lnTo>
                    <a:pt x="114" y="10"/>
                  </a:lnTo>
                  <a:lnTo>
                    <a:pt x="115" y="10"/>
                  </a:lnTo>
                  <a:lnTo>
                    <a:pt x="115" y="8"/>
                  </a:lnTo>
                  <a:lnTo>
                    <a:pt x="115" y="6"/>
                  </a:lnTo>
                  <a:lnTo>
                    <a:pt x="115" y="4"/>
                  </a:lnTo>
                  <a:lnTo>
                    <a:pt x="117" y="4"/>
                  </a:lnTo>
                  <a:lnTo>
                    <a:pt x="115" y="4"/>
                  </a:lnTo>
                  <a:lnTo>
                    <a:pt x="117" y="4"/>
                  </a:lnTo>
                  <a:lnTo>
                    <a:pt x="117" y="2"/>
                  </a:lnTo>
                  <a:lnTo>
                    <a:pt x="117" y="4"/>
                  </a:lnTo>
                  <a:lnTo>
                    <a:pt x="117" y="2"/>
                  </a:lnTo>
                  <a:lnTo>
                    <a:pt x="117" y="4"/>
                  </a:lnTo>
                  <a:lnTo>
                    <a:pt x="117" y="2"/>
                  </a:lnTo>
                  <a:lnTo>
                    <a:pt x="119" y="2"/>
                  </a:lnTo>
                  <a:lnTo>
                    <a:pt x="119" y="0"/>
                  </a:lnTo>
                  <a:lnTo>
                    <a:pt x="121" y="0"/>
                  </a:lnTo>
                  <a:lnTo>
                    <a:pt x="121" y="2"/>
                  </a:lnTo>
                  <a:lnTo>
                    <a:pt x="123" y="2"/>
                  </a:lnTo>
                  <a:lnTo>
                    <a:pt x="123" y="4"/>
                  </a:lnTo>
                  <a:lnTo>
                    <a:pt x="125" y="4"/>
                  </a:lnTo>
                  <a:lnTo>
                    <a:pt x="123" y="4"/>
                  </a:lnTo>
                  <a:lnTo>
                    <a:pt x="125" y="4"/>
                  </a:lnTo>
                  <a:lnTo>
                    <a:pt x="123" y="4"/>
                  </a:lnTo>
                  <a:lnTo>
                    <a:pt x="125" y="4"/>
                  </a:lnTo>
                  <a:lnTo>
                    <a:pt x="125" y="6"/>
                  </a:lnTo>
                  <a:lnTo>
                    <a:pt x="127" y="6"/>
                  </a:lnTo>
                  <a:lnTo>
                    <a:pt x="125" y="6"/>
                  </a:lnTo>
                  <a:lnTo>
                    <a:pt x="127" y="6"/>
                  </a:lnTo>
                  <a:lnTo>
                    <a:pt x="127" y="4"/>
                  </a:lnTo>
                  <a:lnTo>
                    <a:pt x="129" y="4"/>
                  </a:lnTo>
                  <a:lnTo>
                    <a:pt x="129" y="6"/>
                  </a:lnTo>
                  <a:lnTo>
                    <a:pt x="131" y="6"/>
                  </a:lnTo>
                  <a:lnTo>
                    <a:pt x="131" y="4"/>
                  </a:lnTo>
                  <a:lnTo>
                    <a:pt x="131" y="6"/>
                  </a:lnTo>
                  <a:lnTo>
                    <a:pt x="133" y="6"/>
                  </a:lnTo>
                  <a:lnTo>
                    <a:pt x="135" y="6"/>
                  </a:lnTo>
                  <a:lnTo>
                    <a:pt x="137" y="6"/>
                  </a:lnTo>
                  <a:lnTo>
                    <a:pt x="137" y="8"/>
                  </a:lnTo>
                  <a:lnTo>
                    <a:pt x="138" y="8"/>
                  </a:lnTo>
                  <a:lnTo>
                    <a:pt x="137" y="10"/>
                  </a:lnTo>
                  <a:lnTo>
                    <a:pt x="138" y="10"/>
                  </a:lnTo>
                  <a:lnTo>
                    <a:pt x="140" y="10"/>
                  </a:lnTo>
                  <a:lnTo>
                    <a:pt x="140" y="12"/>
                  </a:lnTo>
                  <a:lnTo>
                    <a:pt x="142" y="12"/>
                  </a:lnTo>
                  <a:lnTo>
                    <a:pt x="142" y="14"/>
                  </a:lnTo>
                  <a:lnTo>
                    <a:pt x="144" y="14"/>
                  </a:lnTo>
                  <a:lnTo>
                    <a:pt x="146" y="14"/>
                  </a:lnTo>
                  <a:lnTo>
                    <a:pt x="144" y="14"/>
                  </a:lnTo>
                  <a:lnTo>
                    <a:pt x="146" y="14"/>
                  </a:lnTo>
                  <a:lnTo>
                    <a:pt x="148" y="14"/>
                  </a:lnTo>
                  <a:lnTo>
                    <a:pt x="146" y="14"/>
                  </a:lnTo>
                  <a:lnTo>
                    <a:pt x="148" y="14"/>
                  </a:lnTo>
                  <a:lnTo>
                    <a:pt x="148" y="16"/>
                  </a:lnTo>
                  <a:lnTo>
                    <a:pt x="146" y="16"/>
                  </a:lnTo>
                  <a:lnTo>
                    <a:pt x="148" y="16"/>
                  </a:lnTo>
                  <a:lnTo>
                    <a:pt x="150" y="16"/>
                  </a:lnTo>
                  <a:lnTo>
                    <a:pt x="150" y="14"/>
                  </a:lnTo>
                  <a:lnTo>
                    <a:pt x="150" y="16"/>
                  </a:lnTo>
                  <a:lnTo>
                    <a:pt x="152" y="16"/>
                  </a:lnTo>
                  <a:lnTo>
                    <a:pt x="152" y="14"/>
                  </a:lnTo>
                  <a:lnTo>
                    <a:pt x="154" y="12"/>
                  </a:lnTo>
                  <a:lnTo>
                    <a:pt x="154" y="14"/>
                  </a:lnTo>
                  <a:lnTo>
                    <a:pt x="154" y="12"/>
                  </a:lnTo>
                  <a:lnTo>
                    <a:pt x="154" y="14"/>
                  </a:lnTo>
                  <a:lnTo>
                    <a:pt x="156" y="14"/>
                  </a:lnTo>
                  <a:lnTo>
                    <a:pt x="158" y="14"/>
                  </a:lnTo>
                  <a:lnTo>
                    <a:pt x="158" y="16"/>
                  </a:lnTo>
                  <a:lnTo>
                    <a:pt x="158" y="18"/>
                  </a:lnTo>
                  <a:lnTo>
                    <a:pt x="156" y="18"/>
                  </a:lnTo>
                  <a:lnTo>
                    <a:pt x="158" y="18"/>
                  </a:lnTo>
                  <a:lnTo>
                    <a:pt x="160" y="18"/>
                  </a:lnTo>
                  <a:lnTo>
                    <a:pt x="158" y="18"/>
                  </a:lnTo>
                  <a:lnTo>
                    <a:pt x="160" y="18"/>
                  </a:lnTo>
                  <a:lnTo>
                    <a:pt x="160" y="20"/>
                  </a:lnTo>
                  <a:lnTo>
                    <a:pt x="158" y="20"/>
                  </a:lnTo>
                  <a:lnTo>
                    <a:pt x="160" y="20"/>
                  </a:lnTo>
                  <a:lnTo>
                    <a:pt x="158" y="20"/>
                  </a:lnTo>
                  <a:lnTo>
                    <a:pt x="160" y="20"/>
                  </a:lnTo>
                  <a:lnTo>
                    <a:pt x="160" y="22"/>
                  </a:lnTo>
                  <a:lnTo>
                    <a:pt x="160" y="23"/>
                  </a:lnTo>
                  <a:lnTo>
                    <a:pt x="160" y="22"/>
                  </a:lnTo>
                  <a:lnTo>
                    <a:pt x="158" y="23"/>
                  </a:lnTo>
                  <a:lnTo>
                    <a:pt x="158" y="25"/>
                  </a:lnTo>
                  <a:lnTo>
                    <a:pt x="160" y="23"/>
                  </a:lnTo>
                  <a:lnTo>
                    <a:pt x="162" y="23"/>
                  </a:lnTo>
                  <a:lnTo>
                    <a:pt x="163" y="23"/>
                  </a:lnTo>
                  <a:lnTo>
                    <a:pt x="165" y="23"/>
                  </a:lnTo>
                  <a:lnTo>
                    <a:pt x="165" y="25"/>
                  </a:lnTo>
                  <a:lnTo>
                    <a:pt x="165" y="23"/>
                  </a:lnTo>
                  <a:lnTo>
                    <a:pt x="167" y="23"/>
                  </a:lnTo>
                  <a:lnTo>
                    <a:pt x="167" y="25"/>
                  </a:lnTo>
                  <a:lnTo>
                    <a:pt x="167" y="23"/>
                  </a:lnTo>
                  <a:lnTo>
                    <a:pt x="169" y="23"/>
                  </a:lnTo>
                  <a:lnTo>
                    <a:pt x="169" y="25"/>
                  </a:lnTo>
                  <a:lnTo>
                    <a:pt x="169" y="23"/>
                  </a:lnTo>
                  <a:lnTo>
                    <a:pt x="171" y="23"/>
                  </a:lnTo>
                  <a:lnTo>
                    <a:pt x="173" y="23"/>
                  </a:lnTo>
                  <a:lnTo>
                    <a:pt x="173" y="25"/>
                  </a:lnTo>
                  <a:lnTo>
                    <a:pt x="173" y="27"/>
                  </a:lnTo>
                  <a:lnTo>
                    <a:pt x="175" y="27"/>
                  </a:lnTo>
                  <a:lnTo>
                    <a:pt x="177" y="27"/>
                  </a:lnTo>
                  <a:lnTo>
                    <a:pt x="175" y="27"/>
                  </a:lnTo>
                  <a:lnTo>
                    <a:pt x="175" y="29"/>
                  </a:lnTo>
                  <a:lnTo>
                    <a:pt x="173" y="29"/>
                  </a:lnTo>
                  <a:lnTo>
                    <a:pt x="175" y="29"/>
                  </a:lnTo>
                  <a:lnTo>
                    <a:pt x="175" y="31"/>
                  </a:lnTo>
                  <a:lnTo>
                    <a:pt x="173" y="31"/>
                  </a:lnTo>
                  <a:lnTo>
                    <a:pt x="175" y="31"/>
                  </a:lnTo>
                  <a:lnTo>
                    <a:pt x="173" y="31"/>
                  </a:lnTo>
                  <a:lnTo>
                    <a:pt x="175" y="31"/>
                  </a:lnTo>
                  <a:lnTo>
                    <a:pt x="173" y="31"/>
                  </a:lnTo>
                  <a:lnTo>
                    <a:pt x="175" y="31"/>
                  </a:lnTo>
                  <a:lnTo>
                    <a:pt x="177" y="31"/>
                  </a:lnTo>
                  <a:lnTo>
                    <a:pt x="177" y="29"/>
                  </a:lnTo>
                  <a:lnTo>
                    <a:pt x="179" y="29"/>
                  </a:lnTo>
                  <a:lnTo>
                    <a:pt x="179" y="31"/>
                  </a:lnTo>
                  <a:lnTo>
                    <a:pt x="177" y="31"/>
                  </a:lnTo>
                  <a:lnTo>
                    <a:pt x="179" y="31"/>
                  </a:lnTo>
                  <a:lnTo>
                    <a:pt x="179" y="29"/>
                  </a:lnTo>
                  <a:lnTo>
                    <a:pt x="179" y="31"/>
                  </a:lnTo>
                  <a:lnTo>
                    <a:pt x="181" y="31"/>
                  </a:lnTo>
                  <a:lnTo>
                    <a:pt x="181" y="33"/>
                  </a:lnTo>
                  <a:lnTo>
                    <a:pt x="183" y="33"/>
                  </a:lnTo>
                  <a:lnTo>
                    <a:pt x="183" y="31"/>
                  </a:lnTo>
                  <a:lnTo>
                    <a:pt x="185" y="31"/>
                  </a:lnTo>
                  <a:lnTo>
                    <a:pt x="186" y="31"/>
                  </a:lnTo>
                  <a:lnTo>
                    <a:pt x="186" y="33"/>
                  </a:lnTo>
                  <a:lnTo>
                    <a:pt x="186" y="31"/>
                  </a:lnTo>
                  <a:lnTo>
                    <a:pt x="188" y="31"/>
                  </a:lnTo>
                  <a:lnTo>
                    <a:pt x="188" y="33"/>
                  </a:lnTo>
                  <a:lnTo>
                    <a:pt x="188" y="31"/>
                  </a:lnTo>
                  <a:lnTo>
                    <a:pt x="190" y="31"/>
                  </a:lnTo>
                  <a:lnTo>
                    <a:pt x="190" y="33"/>
                  </a:lnTo>
                  <a:lnTo>
                    <a:pt x="190" y="31"/>
                  </a:lnTo>
                  <a:lnTo>
                    <a:pt x="190" y="33"/>
                  </a:lnTo>
                  <a:lnTo>
                    <a:pt x="190" y="31"/>
                  </a:lnTo>
                  <a:lnTo>
                    <a:pt x="192" y="31"/>
                  </a:lnTo>
                  <a:lnTo>
                    <a:pt x="192" y="33"/>
                  </a:lnTo>
                  <a:lnTo>
                    <a:pt x="194" y="33"/>
                  </a:lnTo>
                  <a:lnTo>
                    <a:pt x="196" y="33"/>
                  </a:lnTo>
                  <a:lnTo>
                    <a:pt x="196" y="35"/>
                  </a:lnTo>
                  <a:lnTo>
                    <a:pt x="196" y="37"/>
                  </a:lnTo>
                  <a:lnTo>
                    <a:pt x="194" y="37"/>
                  </a:lnTo>
                  <a:lnTo>
                    <a:pt x="194" y="39"/>
                  </a:lnTo>
                  <a:lnTo>
                    <a:pt x="192" y="39"/>
                  </a:lnTo>
                  <a:lnTo>
                    <a:pt x="190" y="39"/>
                  </a:lnTo>
                  <a:lnTo>
                    <a:pt x="192" y="39"/>
                  </a:lnTo>
                  <a:lnTo>
                    <a:pt x="190" y="39"/>
                  </a:lnTo>
                  <a:lnTo>
                    <a:pt x="192" y="39"/>
                  </a:lnTo>
                  <a:lnTo>
                    <a:pt x="190" y="39"/>
                  </a:lnTo>
                  <a:lnTo>
                    <a:pt x="190" y="41"/>
                  </a:lnTo>
                  <a:lnTo>
                    <a:pt x="188" y="41"/>
                  </a:lnTo>
                  <a:lnTo>
                    <a:pt x="190" y="41"/>
                  </a:lnTo>
                  <a:lnTo>
                    <a:pt x="188" y="41"/>
                  </a:lnTo>
                  <a:lnTo>
                    <a:pt x="190" y="41"/>
                  </a:lnTo>
                  <a:lnTo>
                    <a:pt x="192" y="41"/>
                  </a:lnTo>
                  <a:lnTo>
                    <a:pt x="192" y="43"/>
                  </a:lnTo>
                  <a:lnTo>
                    <a:pt x="190" y="43"/>
                  </a:lnTo>
                  <a:lnTo>
                    <a:pt x="192" y="43"/>
                  </a:lnTo>
                  <a:lnTo>
                    <a:pt x="194" y="43"/>
                  </a:lnTo>
                  <a:lnTo>
                    <a:pt x="192" y="43"/>
                  </a:lnTo>
                  <a:lnTo>
                    <a:pt x="192" y="45"/>
                  </a:lnTo>
                  <a:lnTo>
                    <a:pt x="190" y="45"/>
                  </a:lnTo>
                  <a:lnTo>
                    <a:pt x="190" y="46"/>
                  </a:lnTo>
                  <a:lnTo>
                    <a:pt x="188" y="46"/>
                  </a:lnTo>
                  <a:lnTo>
                    <a:pt x="186" y="46"/>
                  </a:lnTo>
                  <a:lnTo>
                    <a:pt x="188" y="46"/>
                  </a:lnTo>
                  <a:lnTo>
                    <a:pt x="190" y="46"/>
                  </a:lnTo>
                  <a:lnTo>
                    <a:pt x="190" y="48"/>
                  </a:lnTo>
                  <a:lnTo>
                    <a:pt x="190" y="46"/>
                  </a:lnTo>
                  <a:lnTo>
                    <a:pt x="192" y="46"/>
                  </a:lnTo>
                  <a:lnTo>
                    <a:pt x="194" y="46"/>
                  </a:lnTo>
                  <a:lnTo>
                    <a:pt x="196" y="46"/>
                  </a:lnTo>
                  <a:lnTo>
                    <a:pt x="196" y="45"/>
                  </a:lnTo>
                  <a:lnTo>
                    <a:pt x="198" y="45"/>
                  </a:lnTo>
                  <a:lnTo>
                    <a:pt x="198" y="46"/>
                  </a:lnTo>
                  <a:lnTo>
                    <a:pt x="198" y="45"/>
                  </a:lnTo>
                  <a:lnTo>
                    <a:pt x="198" y="46"/>
                  </a:lnTo>
                  <a:lnTo>
                    <a:pt x="196" y="46"/>
                  </a:lnTo>
                  <a:lnTo>
                    <a:pt x="198" y="46"/>
                  </a:lnTo>
                  <a:lnTo>
                    <a:pt x="196" y="46"/>
                  </a:lnTo>
                  <a:lnTo>
                    <a:pt x="196" y="48"/>
                  </a:lnTo>
                  <a:lnTo>
                    <a:pt x="198" y="48"/>
                  </a:lnTo>
                  <a:lnTo>
                    <a:pt x="196" y="48"/>
                  </a:lnTo>
                  <a:lnTo>
                    <a:pt x="198" y="48"/>
                  </a:lnTo>
                  <a:lnTo>
                    <a:pt x="196" y="48"/>
                  </a:lnTo>
                  <a:lnTo>
                    <a:pt x="194" y="48"/>
                  </a:lnTo>
                  <a:lnTo>
                    <a:pt x="192" y="48"/>
                  </a:lnTo>
                  <a:lnTo>
                    <a:pt x="192" y="50"/>
                  </a:lnTo>
                  <a:lnTo>
                    <a:pt x="190" y="50"/>
                  </a:lnTo>
                  <a:lnTo>
                    <a:pt x="188" y="50"/>
                  </a:lnTo>
                  <a:lnTo>
                    <a:pt x="190" y="50"/>
                  </a:lnTo>
                  <a:lnTo>
                    <a:pt x="192" y="50"/>
                  </a:lnTo>
                  <a:lnTo>
                    <a:pt x="194" y="50"/>
                  </a:lnTo>
                  <a:lnTo>
                    <a:pt x="192" y="50"/>
                  </a:lnTo>
                  <a:lnTo>
                    <a:pt x="192" y="52"/>
                  </a:lnTo>
                  <a:lnTo>
                    <a:pt x="194" y="52"/>
                  </a:lnTo>
                  <a:lnTo>
                    <a:pt x="194" y="50"/>
                  </a:lnTo>
                  <a:lnTo>
                    <a:pt x="196" y="50"/>
                  </a:lnTo>
                  <a:lnTo>
                    <a:pt x="198" y="50"/>
                  </a:lnTo>
                  <a:lnTo>
                    <a:pt x="198" y="52"/>
                  </a:lnTo>
                  <a:lnTo>
                    <a:pt x="196" y="52"/>
                  </a:lnTo>
                  <a:lnTo>
                    <a:pt x="196" y="50"/>
                  </a:lnTo>
                  <a:lnTo>
                    <a:pt x="196" y="52"/>
                  </a:lnTo>
                  <a:lnTo>
                    <a:pt x="198" y="52"/>
                  </a:lnTo>
                  <a:lnTo>
                    <a:pt x="196" y="52"/>
                  </a:lnTo>
                  <a:lnTo>
                    <a:pt x="196" y="54"/>
                  </a:lnTo>
                  <a:lnTo>
                    <a:pt x="194" y="54"/>
                  </a:lnTo>
                  <a:lnTo>
                    <a:pt x="194" y="56"/>
                  </a:lnTo>
                  <a:lnTo>
                    <a:pt x="194" y="54"/>
                  </a:lnTo>
                  <a:lnTo>
                    <a:pt x="196" y="54"/>
                  </a:lnTo>
                  <a:lnTo>
                    <a:pt x="198" y="54"/>
                  </a:lnTo>
                  <a:lnTo>
                    <a:pt x="198" y="56"/>
                  </a:lnTo>
                  <a:lnTo>
                    <a:pt x="200" y="56"/>
                  </a:lnTo>
                  <a:lnTo>
                    <a:pt x="198" y="56"/>
                  </a:lnTo>
                  <a:lnTo>
                    <a:pt x="200" y="56"/>
                  </a:lnTo>
                  <a:lnTo>
                    <a:pt x="198" y="56"/>
                  </a:lnTo>
                  <a:lnTo>
                    <a:pt x="198" y="54"/>
                  </a:lnTo>
                  <a:lnTo>
                    <a:pt x="200" y="54"/>
                  </a:lnTo>
                  <a:lnTo>
                    <a:pt x="202" y="54"/>
                  </a:lnTo>
                  <a:lnTo>
                    <a:pt x="202" y="56"/>
                  </a:lnTo>
                  <a:lnTo>
                    <a:pt x="202" y="58"/>
                  </a:lnTo>
                  <a:lnTo>
                    <a:pt x="202" y="60"/>
                  </a:lnTo>
                  <a:lnTo>
                    <a:pt x="202" y="58"/>
                  </a:lnTo>
                  <a:lnTo>
                    <a:pt x="202" y="56"/>
                  </a:lnTo>
                  <a:lnTo>
                    <a:pt x="204" y="56"/>
                  </a:lnTo>
                  <a:lnTo>
                    <a:pt x="202" y="56"/>
                  </a:lnTo>
                  <a:lnTo>
                    <a:pt x="204" y="56"/>
                  </a:lnTo>
                  <a:lnTo>
                    <a:pt x="204" y="58"/>
                  </a:lnTo>
                  <a:lnTo>
                    <a:pt x="204" y="60"/>
                  </a:lnTo>
                  <a:lnTo>
                    <a:pt x="206" y="60"/>
                  </a:lnTo>
                  <a:lnTo>
                    <a:pt x="206" y="58"/>
                  </a:lnTo>
                  <a:lnTo>
                    <a:pt x="204" y="58"/>
                  </a:lnTo>
                  <a:lnTo>
                    <a:pt x="204" y="56"/>
                  </a:lnTo>
                  <a:lnTo>
                    <a:pt x="206" y="56"/>
                  </a:lnTo>
                  <a:lnTo>
                    <a:pt x="206" y="54"/>
                  </a:lnTo>
                  <a:lnTo>
                    <a:pt x="206" y="56"/>
                  </a:lnTo>
                  <a:lnTo>
                    <a:pt x="206" y="58"/>
                  </a:lnTo>
                  <a:lnTo>
                    <a:pt x="208" y="58"/>
                  </a:lnTo>
                  <a:lnTo>
                    <a:pt x="206" y="58"/>
                  </a:lnTo>
                  <a:lnTo>
                    <a:pt x="208" y="58"/>
                  </a:lnTo>
                  <a:lnTo>
                    <a:pt x="208" y="60"/>
                  </a:lnTo>
                  <a:lnTo>
                    <a:pt x="208" y="62"/>
                  </a:lnTo>
                  <a:lnTo>
                    <a:pt x="208" y="60"/>
                  </a:lnTo>
                  <a:lnTo>
                    <a:pt x="208" y="62"/>
                  </a:lnTo>
                  <a:lnTo>
                    <a:pt x="208" y="60"/>
                  </a:lnTo>
                  <a:lnTo>
                    <a:pt x="210" y="60"/>
                  </a:lnTo>
                  <a:lnTo>
                    <a:pt x="208" y="60"/>
                  </a:lnTo>
                  <a:lnTo>
                    <a:pt x="210" y="60"/>
                  </a:lnTo>
                  <a:lnTo>
                    <a:pt x="210" y="58"/>
                  </a:lnTo>
                  <a:lnTo>
                    <a:pt x="210" y="60"/>
                  </a:lnTo>
                  <a:lnTo>
                    <a:pt x="210" y="58"/>
                  </a:lnTo>
                  <a:lnTo>
                    <a:pt x="211" y="58"/>
                  </a:lnTo>
                  <a:lnTo>
                    <a:pt x="213" y="56"/>
                  </a:lnTo>
                  <a:lnTo>
                    <a:pt x="213" y="58"/>
                  </a:lnTo>
                  <a:lnTo>
                    <a:pt x="215" y="58"/>
                  </a:lnTo>
                  <a:lnTo>
                    <a:pt x="213" y="58"/>
                  </a:lnTo>
                  <a:lnTo>
                    <a:pt x="215" y="58"/>
                  </a:lnTo>
                  <a:lnTo>
                    <a:pt x="215" y="60"/>
                  </a:lnTo>
                  <a:lnTo>
                    <a:pt x="215" y="58"/>
                  </a:lnTo>
                  <a:lnTo>
                    <a:pt x="215" y="56"/>
                  </a:lnTo>
                  <a:lnTo>
                    <a:pt x="215" y="58"/>
                  </a:lnTo>
                  <a:lnTo>
                    <a:pt x="217" y="58"/>
                  </a:lnTo>
                  <a:lnTo>
                    <a:pt x="219" y="58"/>
                  </a:lnTo>
                  <a:lnTo>
                    <a:pt x="217" y="56"/>
                  </a:lnTo>
                  <a:lnTo>
                    <a:pt x="219" y="56"/>
                  </a:lnTo>
                  <a:lnTo>
                    <a:pt x="221" y="56"/>
                  </a:lnTo>
                  <a:lnTo>
                    <a:pt x="221" y="58"/>
                  </a:lnTo>
                  <a:lnTo>
                    <a:pt x="221" y="56"/>
                  </a:lnTo>
                  <a:lnTo>
                    <a:pt x="221" y="58"/>
                  </a:lnTo>
                  <a:lnTo>
                    <a:pt x="221" y="56"/>
                  </a:lnTo>
                  <a:lnTo>
                    <a:pt x="223" y="56"/>
                  </a:lnTo>
                  <a:lnTo>
                    <a:pt x="223" y="58"/>
                  </a:lnTo>
                  <a:lnTo>
                    <a:pt x="223" y="60"/>
                  </a:lnTo>
                  <a:lnTo>
                    <a:pt x="223" y="58"/>
                  </a:lnTo>
                  <a:lnTo>
                    <a:pt x="223" y="60"/>
                  </a:lnTo>
                  <a:lnTo>
                    <a:pt x="223" y="58"/>
                  </a:lnTo>
                  <a:lnTo>
                    <a:pt x="225" y="58"/>
                  </a:lnTo>
                  <a:lnTo>
                    <a:pt x="225" y="60"/>
                  </a:lnTo>
                  <a:lnTo>
                    <a:pt x="225" y="58"/>
                  </a:lnTo>
                  <a:lnTo>
                    <a:pt x="223" y="58"/>
                  </a:lnTo>
                  <a:lnTo>
                    <a:pt x="225" y="58"/>
                  </a:lnTo>
                  <a:lnTo>
                    <a:pt x="227" y="58"/>
                  </a:lnTo>
                  <a:lnTo>
                    <a:pt x="227" y="60"/>
                  </a:lnTo>
                  <a:lnTo>
                    <a:pt x="227" y="58"/>
                  </a:lnTo>
                  <a:lnTo>
                    <a:pt x="229" y="58"/>
                  </a:lnTo>
                  <a:lnTo>
                    <a:pt x="229" y="60"/>
                  </a:lnTo>
                  <a:lnTo>
                    <a:pt x="231" y="60"/>
                  </a:lnTo>
                  <a:lnTo>
                    <a:pt x="231" y="62"/>
                  </a:lnTo>
                  <a:lnTo>
                    <a:pt x="231" y="60"/>
                  </a:lnTo>
                  <a:lnTo>
                    <a:pt x="229" y="60"/>
                  </a:lnTo>
                  <a:lnTo>
                    <a:pt x="229" y="58"/>
                  </a:lnTo>
                  <a:lnTo>
                    <a:pt x="227" y="58"/>
                  </a:lnTo>
                  <a:lnTo>
                    <a:pt x="227" y="56"/>
                  </a:lnTo>
                  <a:lnTo>
                    <a:pt x="229" y="56"/>
                  </a:lnTo>
                  <a:lnTo>
                    <a:pt x="229" y="58"/>
                  </a:lnTo>
                  <a:lnTo>
                    <a:pt x="229" y="56"/>
                  </a:lnTo>
                  <a:lnTo>
                    <a:pt x="229" y="58"/>
                  </a:lnTo>
                  <a:lnTo>
                    <a:pt x="229" y="56"/>
                  </a:lnTo>
                  <a:lnTo>
                    <a:pt x="231" y="56"/>
                  </a:lnTo>
                  <a:lnTo>
                    <a:pt x="231" y="58"/>
                  </a:lnTo>
                  <a:lnTo>
                    <a:pt x="233" y="58"/>
                  </a:lnTo>
                  <a:lnTo>
                    <a:pt x="231" y="58"/>
                  </a:lnTo>
                  <a:lnTo>
                    <a:pt x="233" y="58"/>
                  </a:lnTo>
                  <a:lnTo>
                    <a:pt x="231" y="58"/>
                  </a:lnTo>
                  <a:lnTo>
                    <a:pt x="231" y="60"/>
                  </a:lnTo>
                  <a:lnTo>
                    <a:pt x="233" y="60"/>
                  </a:lnTo>
                  <a:lnTo>
                    <a:pt x="233" y="58"/>
                  </a:lnTo>
                  <a:lnTo>
                    <a:pt x="235" y="58"/>
                  </a:lnTo>
                  <a:lnTo>
                    <a:pt x="235" y="60"/>
                  </a:lnTo>
                  <a:lnTo>
                    <a:pt x="235" y="58"/>
                  </a:lnTo>
                  <a:lnTo>
                    <a:pt x="236" y="58"/>
                  </a:lnTo>
                  <a:lnTo>
                    <a:pt x="235" y="58"/>
                  </a:lnTo>
                  <a:lnTo>
                    <a:pt x="235" y="56"/>
                  </a:lnTo>
                  <a:lnTo>
                    <a:pt x="235" y="58"/>
                  </a:lnTo>
                  <a:lnTo>
                    <a:pt x="235" y="56"/>
                  </a:lnTo>
                  <a:lnTo>
                    <a:pt x="236" y="56"/>
                  </a:lnTo>
                  <a:lnTo>
                    <a:pt x="235" y="56"/>
                  </a:lnTo>
                  <a:lnTo>
                    <a:pt x="235" y="54"/>
                  </a:lnTo>
                  <a:lnTo>
                    <a:pt x="236" y="54"/>
                  </a:lnTo>
                  <a:lnTo>
                    <a:pt x="236" y="56"/>
                  </a:lnTo>
                  <a:lnTo>
                    <a:pt x="236" y="58"/>
                  </a:lnTo>
                  <a:lnTo>
                    <a:pt x="238" y="58"/>
                  </a:lnTo>
                  <a:lnTo>
                    <a:pt x="238" y="56"/>
                  </a:lnTo>
                  <a:lnTo>
                    <a:pt x="238" y="58"/>
                  </a:lnTo>
                  <a:lnTo>
                    <a:pt x="238" y="56"/>
                  </a:lnTo>
                  <a:lnTo>
                    <a:pt x="238" y="54"/>
                  </a:lnTo>
                  <a:lnTo>
                    <a:pt x="236" y="54"/>
                  </a:lnTo>
                  <a:lnTo>
                    <a:pt x="238" y="54"/>
                  </a:lnTo>
                  <a:lnTo>
                    <a:pt x="238" y="56"/>
                  </a:lnTo>
                  <a:lnTo>
                    <a:pt x="240" y="56"/>
                  </a:lnTo>
                  <a:lnTo>
                    <a:pt x="240" y="54"/>
                  </a:lnTo>
                  <a:lnTo>
                    <a:pt x="238" y="54"/>
                  </a:lnTo>
                  <a:lnTo>
                    <a:pt x="240" y="54"/>
                  </a:lnTo>
                  <a:lnTo>
                    <a:pt x="238" y="54"/>
                  </a:lnTo>
                  <a:lnTo>
                    <a:pt x="236" y="52"/>
                  </a:lnTo>
                  <a:lnTo>
                    <a:pt x="238" y="52"/>
                  </a:lnTo>
                  <a:lnTo>
                    <a:pt x="238" y="54"/>
                  </a:lnTo>
                  <a:lnTo>
                    <a:pt x="240" y="54"/>
                  </a:lnTo>
                  <a:lnTo>
                    <a:pt x="240" y="52"/>
                  </a:lnTo>
                  <a:lnTo>
                    <a:pt x="238" y="52"/>
                  </a:lnTo>
                  <a:lnTo>
                    <a:pt x="240" y="52"/>
                  </a:lnTo>
                  <a:lnTo>
                    <a:pt x="240" y="50"/>
                  </a:lnTo>
                  <a:lnTo>
                    <a:pt x="240" y="52"/>
                  </a:lnTo>
                  <a:lnTo>
                    <a:pt x="240" y="50"/>
                  </a:lnTo>
                  <a:lnTo>
                    <a:pt x="242" y="50"/>
                  </a:lnTo>
                  <a:lnTo>
                    <a:pt x="242" y="52"/>
                  </a:lnTo>
                  <a:lnTo>
                    <a:pt x="242" y="50"/>
                  </a:lnTo>
                  <a:lnTo>
                    <a:pt x="242" y="52"/>
                  </a:lnTo>
                  <a:lnTo>
                    <a:pt x="244" y="52"/>
                  </a:lnTo>
                  <a:lnTo>
                    <a:pt x="244" y="50"/>
                  </a:lnTo>
                  <a:lnTo>
                    <a:pt x="246" y="50"/>
                  </a:lnTo>
                  <a:lnTo>
                    <a:pt x="246" y="52"/>
                  </a:lnTo>
                  <a:lnTo>
                    <a:pt x="246" y="50"/>
                  </a:lnTo>
                  <a:lnTo>
                    <a:pt x="246" y="52"/>
                  </a:lnTo>
                  <a:lnTo>
                    <a:pt x="246" y="54"/>
                  </a:lnTo>
                  <a:lnTo>
                    <a:pt x="246" y="56"/>
                  </a:lnTo>
                  <a:lnTo>
                    <a:pt x="248" y="56"/>
                  </a:lnTo>
                  <a:lnTo>
                    <a:pt x="248" y="58"/>
                  </a:lnTo>
                  <a:lnTo>
                    <a:pt x="248" y="56"/>
                  </a:lnTo>
                  <a:lnTo>
                    <a:pt x="248" y="58"/>
                  </a:lnTo>
                  <a:lnTo>
                    <a:pt x="250" y="58"/>
                  </a:lnTo>
                  <a:lnTo>
                    <a:pt x="250" y="60"/>
                  </a:lnTo>
                  <a:lnTo>
                    <a:pt x="250" y="62"/>
                  </a:lnTo>
                  <a:lnTo>
                    <a:pt x="248" y="62"/>
                  </a:lnTo>
                  <a:lnTo>
                    <a:pt x="250" y="62"/>
                  </a:lnTo>
                  <a:lnTo>
                    <a:pt x="252" y="62"/>
                  </a:lnTo>
                  <a:lnTo>
                    <a:pt x="252" y="64"/>
                  </a:lnTo>
                  <a:lnTo>
                    <a:pt x="254" y="64"/>
                  </a:lnTo>
                  <a:lnTo>
                    <a:pt x="252" y="64"/>
                  </a:lnTo>
                  <a:lnTo>
                    <a:pt x="254" y="64"/>
                  </a:lnTo>
                  <a:lnTo>
                    <a:pt x="256" y="64"/>
                  </a:lnTo>
                  <a:lnTo>
                    <a:pt x="258" y="64"/>
                  </a:lnTo>
                  <a:lnTo>
                    <a:pt x="258" y="62"/>
                  </a:lnTo>
                  <a:lnTo>
                    <a:pt x="258" y="60"/>
                  </a:lnTo>
                  <a:lnTo>
                    <a:pt x="258" y="62"/>
                  </a:lnTo>
                  <a:lnTo>
                    <a:pt x="258" y="60"/>
                  </a:lnTo>
                  <a:lnTo>
                    <a:pt x="258" y="58"/>
                  </a:lnTo>
                  <a:lnTo>
                    <a:pt x="259" y="58"/>
                  </a:lnTo>
                  <a:lnTo>
                    <a:pt x="259" y="56"/>
                  </a:lnTo>
                  <a:lnTo>
                    <a:pt x="259" y="58"/>
                  </a:lnTo>
                  <a:lnTo>
                    <a:pt x="261" y="58"/>
                  </a:lnTo>
                  <a:lnTo>
                    <a:pt x="259" y="58"/>
                  </a:lnTo>
                  <a:lnTo>
                    <a:pt x="261" y="58"/>
                  </a:lnTo>
                  <a:lnTo>
                    <a:pt x="263" y="58"/>
                  </a:lnTo>
                  <a:lnTo>
                    <a:pt x="261" y="58"/>
                  </a:lnTo>
                  <a:lnTo>
                    <a:pt x="263" y="58"/>
                  </a:lnTo>
                  <a:lnTo>
                    <a:pt x="263" y="56"/>
                  </a:lnTo>
                  <a:lnTo>
                    <a:pt x="263" y="54"/>
                  </a:lnTo>
                  <a:lnTo>
                    <a:pt x="263" y="56"/>
                  </a:lnTo>
                  <a:lnTo>
                    <a:pt x="263" y="54"/>
                  </a:lnTo>
                  <a:lnTo>
                    <a:pt x="261" y="54"/>
                  </a:lnTo>
                  <a:lnTo>
                    <a:pt x="261" y="52"/>
                  </a:lnTo>
                  <a:lnTo>
                    <a:pt x="259" y="52"/>
                  </a:lnTo>
                  <a:lnTo>
                    <a:pt x="259" y="50"/>
                  </a:lnTo>
                  <a:lnTo>
                    <a:pt x="259" y="48"/>
                  </a:lnTo>
                  <a:lnTo>
                    <a:pt x="261" y="48"/>
                  </a:lnTo>
                  <a:lnTo>
                    <a:pt x="259" y="48"/>
                  </a:lnTo>
                  <a:lnTo>
                    <a:pt x="259" y="46"/>
                  </a:lnTo>
                  <a:lnTo>
                    <a:pt x="259" y="48"/>
                  </a:lnTo>
                  <a:lnTo>
                    <a:pt x="259" y="46"/>
                  </a:lnTo>
                  <a:lnTo>
                    <a:pt x="261" y="46"/>
                  </a:lnTo>
                  <a:lnTo>
                    <a:pt x="259" y="46"/>
                  </a:lnTo>
                  <a:lnTo>
                    <a:pt x="259" y="45"/>
                  </a:lnTo>
                  <a:lnTo>
                    <a:pt x="261" y="45"/>
                  </a:lnTo>
                  <a:lnTo>
                    <a:pt x="263" y="45"/>
                  </a:lnTo>
                  <a:lnTo>
                    <a:pt x="263" y="46"/>
                  </a:lnTo>
                  <a:lnTo>
                    <a:pt x="263" y="45"/>
                  </a:lnTo>
                  <a:lnTo>
                    <a:pt x="263" y="46"/>
                  </a:lnTo>
                  <a:lnTo>
                    <a:pt x="265" y="46"/>
                  </a:lnTo>
                  <a:lnTo>
                    <a:pt x="265" y="48"/>
                  </a:lnTo>
                  <a:lnTo>
                    <a:pt x="265" y="50"/>
                  </a:lnTo>
                  <a:lnTo>
                    <a:pt x="265" y="48"/>
                  </a:lnTo>
                  <a:lnTo>
                    <a:pt x="265" y="50"/>
                  </a:lnTo>
                  <a:lnTo>
                    <a:pt x="267" y="50"/>
                  </a:lnTo>
                  <a:lnTo>
                    <a:pt x="269" y="50"/>
                  </a:lnTo>
                  <a:lnTo>
                    <a:pt x="269" y="52"/>
                  </a:lnTo>
                  <a:lnTo>
                    <a:pt x="267" y="52"/>
                  </a:lnTo>
                  <a:lnTo>
                    <a:pt x="269" y="52"/>
                  </a:lnTo>
                  <a:lnTo>
                    <a:pt x="267" y="52"/>
                  </a:lnTo>
                  <a:lnTo>
                    <a:pt x="269" y="52"/>
                  </a:lnTo>
                  <a:lnTo>
                    <a:pt x="267" y="52"/>
                  </a:lnTo>
                  <a:lnTo>
                    <a:pt x="269" y="52"/>
                  </a:lnTo>
                  <a:lnTo>
                    <a:pt x="271" y="52"/>
                  </a:lnTo>
                  <a:lnTo>
                    <a:pt x="269" y="52"/>
                  </a:lnTo>
                  <a:lnTo>
                    <a:pt x="269" y="54"/>
                  </a:lnTo>
                  <a:lnTo>
                    <a:pt x="271" y="54"/>
                  </a:lnTo>
                  <a:lnTo>
                    <a:pt x="269" y="54"/>
                  </a:lnTo>
                  <a:lnTo>
                    <a:pt x="271" y="54"/>
                  </a:lnTo>
                  <a:lnTo>
                    <a:pt x="269" y="54"/>
                  </a:lnTo>
                  <a:lnTo>
                    <a:pt x="271" y="54"/>
                  </a:lnTo>
                  <a:lnTo>
                    <a:pt x="269" y="54"/>
                  </a:lnTo>
                  <a:lnTo>
                    <a:pt x="271" y="54"/>
                  </a:lnTo>
                  <a:lnTo>
                    <a:pt x="271" y="56"/>
                  </a:lnTo>
                  <a:lnTo>
                    <a:pt x="271" y="58"/>
                  </a:lnTo>
                  <a:lnTo>
                    <a:pt x="273" y="58"/>
                  </a:lnTo>
                  <a:lnTo>
                    <a:pt x="271" y="58"/>
                  </a:lnTo>
                  <a:lnTo>
                    <a:pt x="273" y="58"/>
                  </a:lnTo>
                  <a:lnTo>
                    <a:pt x="273" y="60"/>
                  </a:lnTo>
                  <a:lnTo>
                    <a:pt x="271" y="58"/>
                  </a:lnTo>
                  <a:lnTo>
                    <a:pt x="273" y="60"/>
                  </a:lnTo>
                  <a:lnTo>
                    <a:pt x="271" y="60"/>
                  </a:lnTo>
                  <a:lnTo>
                    <a:pt x="271" y="58"/>
                  </a:lnTo>
                  <a:lnTo>
                    <a:pt x="271" y="60"/>
                  </a:lnTo>
                  <a:lnTo>
                    <a:pt x="271" y="62"/>
                  </a:lnTo>
                  <a:lnTo>
                    <a:pt x="269" y="62"/>
                  </a:lnTo>
                  <a:lnTo>
                    <a:pt x="271" y="62"/>
                  </a:lnTo>
                  <a:lnTo>
                    <a:pt x="269" y="62"/>
                  </a:lnTo>
                  <a:lnTo>
                    <a:pt x="269" y="64"/>
                  </a:lnTo>
                  <a:lnTo>
                    <a:pt x="269" y="66"/>
                  </a:lnTo>
                  <a:lnTo>
                    <a:pt x="267" y="66"/>
                  </a:lnTo>
                  <a:lnTo>
                    <a:pt x="269" y="66"/>
                  </a:lnTo>
                  <a:lnTo>
                    <a:pt x="267" y="66"/>
                  </a:lnTo>
                  <a:lnTo>
                    <a:pt x="269" y="66"/>
                  </a:lnTo>
                  <a:lnTo>
                    <a:pt x="267" y="64"/>
                  </a:lnTo>
                  <a:lnTo>
                    <a:pt x="267" y="66"/>
                  </a:lnTo>
                  <a:lnTo>
                    <a:pt x="267" y="68"/>
                  </a:lnTo>
                  <a:lnTo>
                    <a:pt x="265" y="68"/>
                  </a:lnTo>
                  <a:lnTo>
                    <a:pt x="267" y="68"/>
                  </a:lnTo>
                  <a:lnTo>
                    <a:pt x="265" y="68"/>
                  </a:lnTo>
                  <a:lnTo>
                    <a:pt x="265" y="70"/>
                  </a:lnTo>
                  <a:lnTo>
                    <a:pt x="265" y="68"/>
                  </a:lnTo>
                  <a:lnTo>
                    <a:pt x="265" y="70"/>
                  </a:lnTo>
                  <a:lnTo>
                    <a:pt x="267" y="70"/>
                  </a:lnTo>
                  <a:lnTo>
                    <a:pt x="267" y="71"/>
                  </a:lnTo>
                  <a:lnTo>
                    <a:pt x="269" y="71"/>
                  </a:lnTo>
                  <a:lnTo>
                    <a:pt x="269" y="73"/>
                  </a:lnTo>
                  <a:lnTo>
                    <a:pt x="269" y="75"/>
                  </a:lnTo>
                  <a:lnTo>
                    <a:pt x="269" y="77"/>
                  </a:lnTo>
                  <a:lnTo>
                    <a:pt x="267" y="77"/>
                  </a:lnTo>
                  <a:lnTo>
                    <a:pt x="267" y="79"/>
                  </a:lnTo>
                  <a:lnTo>
                    <a:pt x="265" y="79"/>
                  </a:lnTo>
                  <a:lnTo>
                    <a:pt x="267" y="79"/>
                  </a:lnTo>
                  <a:lnTo>
                    <a:pt x="265" y="79"/>
                  </a:lnTo>
                  <a:lnTo>
                    <a:pt x="267" y="79"/>
                  </a:lnTo>
                  <a:lnTo>
                    <a:pt x="265" y="79"/>
                  </a:lnTo>
                  <a:lnTo>
                    <a:pt x="265" y="81"/>
                  </a:lnTo>
                  <a:lnTo>
                    <a:pt x="267" y="81"/>
                  </a:lnTo>
                  <a:lnTo>
                    <a:pt x="269" y="81"/>
                  </a:lnTo>
                  <a:lnTo>
                    <a:pt x="269" y="83"/>
                  </a:lnTo>
                  <a:lnTo>
                    <a:pt x="271" y="83"/>
                  </a:lnTo>
                  <a:lnTo>
                    <a:pt x="269" y="83"/>
                  </a:lnTo>
                  <a:lnTo>
                    <a:pt x="271" y="83"/>
                  </a:lnTo>
                  <a:lnTo>
                    <a:pt x="269" y="83"/>
                  </a:lnTo>
                  <a:lnTo>
                    <a:pt x="271" y="83"/>
                  </a:lnTo>
                  <a:lnTo>
                    <a:pt x="269" y="83"/>
                  </a:lnTo>
                  <a:lnTo>
                    <a:pt x="269" y="85"/>
                  </a:lnTo>
                  <a:lnTo>
                    <a:pt x="271" y="85"/>
                  </a:lnTo>
                  <a:lnTo>
                    <a:pt x="271" y="87"/>
                  </a:lnTo>
                  <a:lnTo>
                    <a:pt x="271" y="85"/>
                  </a:lnTo>
                  <a:lnTo>
                    <a:pt x="271" y="87"/>
                  </a:lnTo>
                  <a:lnTo>
                    <a:pt x="273" y="87"/>
                  </a:lnTo>
                  <a:lnTo>
                    <a:pt x="273" y="89"/>
                  </a:lnTo>
                  <a:lnTo>
                    <a:pt x="273" y="87"/>
                  </a:lnTo>
                  <a:lnTo>
                    <a:pt x="273" y="89"/>
                  </a:lnTo>
                  <a:lnTo>
                    <a:pt x="273" y="91"/>
                  </a:lnTo>
                  <a:lnTo>
                    <a:pt x="271" y="91"/>
                  </a:lnTo>
                  <a:lnTo>
                    <a:pt x="273" y="91"/>
                  </a:lnTo>
                  <a:lnTo>
                    <a:pt x="271" y="91"/>
                  </a:lnTo>
                  <a:lnTo>
                    <a:pt x="271" y="93"/>
                  </a:lnTo>
                  <a:lnTo>
                    <a:pt x="271" y="91"/>
                  </a:lnTo>
                  <a:lnTo>
                    <a:pt x="271" y="93"/>
                  </a:lnTo>
                  <a:lnTo>
                    <a:pt x="273" y="93"/>
                  </a:lnTo>
                  <a:lnTo>
                    <a:pt x="273" y="91"/>
                  </a:lnTo>
                  <a:lnTo>
                    <a:pt x="273" y="93"/>
                  </a:lnTo>
                  <a:lnTo>
                    <a:pt x="273" y="91"/>
                  </a:lnTo>
                  <a:lnTo>
                    <a:pt x="273" y="93"/>
                  </a:lnTo>
                  <a:lnTo>
                    <a:pt x="273" y="91"/>
                  </a:lnTo>
                  <a:lnTo>
                    <a:pt x="273" y="93"/>
                  </a:lnTo>
                  <a:lnTo>
                    <a:pt x="275" y="93"/>
                  </a:lnTo>
                  <a:lnTo>
                    <a:pt x="273" y="93"/>
                  </a:lnTo>
                  <a:lnTo>
                    <a:pt x="275" y="93"/>
                  </a:lnTo>
                  <a:lnTo>
                    <a:pt x="275" y="94"/>
                  </a:lnTo>
                  <a:lnTo>
                    <a:pt x="275" y="93"/>
                  </a:lnTo>
                  <a:lnTo>
                    <a:pt x="277" y="93"/>
                  </a:lnTo>
                  <a:lnTo>
                    <a:pt x="277" y="94"/>
                  </a:lnTo>
                  <a:lnTo>
                    <a:pt x="279" y="94"/>
                  </a:lnTo>
                  <a:lnTo>
                    <a:pt x="279" y="96"/>
                  </a:lnTo>
                  <a:lnTo>
                    <a:pt x="279" y="94"/>
                  </a:lnTo>
                  <a:lnTo>
                    <a:pt x="279" y="96"/>
                  </a:lnTo>
                  <a:lnTo>
                    <a:pt x="279" y="98"/>
                  </a:lnTo>
                  <a:lnTo>
                    <a:pt x="281" y="98"/>
                  </a:lnTo>
                  <a:lnTo>
                    <a:pt x="279" y="98"/>
                  </a:lnTo>
                  <a:lnTo>
                    <a:pt x="281" y="98"/>
                  </a:lnTo>
                  <a:lnTo>
                    <a:pt x="279" y="98"/>
                  </a:lnTo>
                  <a:lnTo>
                    <a:pt x="279" y="100"/>
                  </a:lnTo>
                  <a:lnTo>
                    <a:pt x="281" y="100"/>
                  </a:lnTo>
                  <a:lnTo>
                    <a:pt x="279" y="100"/>
                  </a:lnTo>
                  <a:lnTo>
                    <a:pt x="281" y="100"/>
                  </a:lnTo>
                  <a:lnTo>
                    <a:pt x="281" y="102"/>
                  </a:lnTo>
                  <a:lnTo>
                    <a:pt x="279" y="102"/>
                  </a:lnTo>
                  <a:lnTo>
                    <a:pt x="279" y="104"/>
                  </a:lnTo>
                  <a:lnTo>
                    <a:pt x="279" y="102"/>
                  </a:lnTo>
                  <a:lnTo>
                    <a:pt x="279" y="104"/>
                  </a:lnTo>
                  <a:lnTo>
                    <a:pt x="281" y="104"/>
                  </a:lnTo>
                  <a:lnTo>
                    <a:pt x="279" y="104"/>
                  </a:lnTo>
                  <a:lnTo>
                    <a:pt x="279" y="106"/>
                  </a:lnTo>
                  <a:lnTo>
                    <a:pt x="279" y="104"/>
                  </a:lnTo>
                  <a:lnTo>
                    <a:pt x="279" y="106"/>
                  </a:lnTo>
                  <a:lnTo>
                    <a:pt x="277" y="106"/>
                  </a:lnTo>
                  <a:lnTo>
                    <a:pt x="275" y="106"/>
                  </a:lnTo>
                  <a:lnTo>
                    <a:pt x="275" y="108"/>
                  </a:lnTo>
                  <a:lnTo>
                    <a:pt x="275" y="110"/>
                  </a:lnTo>
                  <a:lnTo>
                    <a:pt x="275" y="108"/>
                  </a:lnTo>
                  <a:lnTo>
                    <a:pt x="275" y="110"/>
                  </a:lnTo>
                  <a:lnTo>
                    <a:pt x="277" y="110"/>
                  </a:lnTo>
                  <a:lnTo>
                    <a:pt x="277" y="108"/>
                  </a:lnTo>
                  <a:lnTo>
                    <a:pt x="277" y="110"/>
                  </a:lnTo>
                  <a:lnTo>
                    <a:pt x="279" y="110"/>
                  </a:lnTo>
                  <a:lnTo>
                    <a:pt x="277" y="110"/>
                  </a:lnTo>
                  <a:lnTo>
                    <a:pt x="279" y="110"/>
                  </a:lnTo>
                  <a:lnTo>
                    <a:pt x="279" y="112"/>
                  </a:lnTo>
                  <a:lnTo>
                    <a:pt x="281" y="112"/>
                  </a:lnTo>
                  <a:lnTo>
                    <a:pt x="281" y="114"/>
                  </a:lnTo>
                  <a:lnTo>
                    <a:pt x="281" y="116"/>
                  </a:lnTo>
                  <a:lnTo>
                    <a:pt x="281" y="114"/>
                  </a:lnTo>
                  <a:lnTo>
                    <a:pt x="281" y="116"/>
                  </a:lnTo>
                  <a:lnTo>
                    <a:pt x="283" y="116"/>
                  </a:lnTo>
                  <a:lnTo>
                    <a:pt x="284" y="116"/>
                  </a:lnTo>
                  <a:lnTo>
                    <a:pt x="284" y="114"/>
                  </a:lnTo>
                  <a:lnTo>
                    <a:pt x="286" y="116"/>
                  </a:lnTo>
                  <a:lnTo>
                    <a:pt x="286" y="114"/>
                  </a:lnTo>
                  <a:lnTo>
                    <a:pt x="286" y="116"/>
                  </a:lnTo>
                  <a:lnTo>
                    <a:pt x="286" y="114"/>
                  </a:lnTo>
                  <a:lnTo>
                    <a:pt x="286" y="116"/>
                  </a:lnTo>
                  <a:lnTo>
                    <a:pt x="288" y="116"/>
                  </a:lnTo>
                  <a:lnTo>
                    <a:pt x="286" y="116"/>
                  </a:lnTo>
                  <a:lnTo>
                    <a:pt x="288" y="116"/>
                  </a:lnTo>
                  <a:lnTo>
                    <a:pt x="286" y="116"/>
                  </a:lnTo>
                  <a:lnTo>
                    <a:pt x="286" y="118"/>
                  </a:lnTo>
                  <a:lnTo>
                    <a:pt x="288" y="118"/>
                  </a:lnTo>
                  <a:lnTo>
                    <a:pt x="286" y="118"/>
                  </a:lnTo>
                  <a:lnTo>
                    <a:pt x="288" y="118"/>
                  </a:lnTo>
                  <a:lnTo>
                    <a:pt x="286" y="118"/>
                  </a:lnTo>
                  <a:lnTo>
                    <a:pt x="288" y="118"/>
                  </a:lnTo>
                  <a:lnTo>
                    <a:pt x="288" y="119"/>
                  </a:lnTo>
                  <a:lnTo>
                    <a:pt x="288" y="118"/>
                  </a:lnTo>
                  <a:lnTo>
                    <a:pt x="288" y="119"/>
                  </a:lnTo>
                  <a:lnTo>
                    <a:pt x="286" y="119"/>
                  </a:lnTo>
                  <a:lnTo>
                    <a:pt x="288" y="119"/>
                  </a:lnTo>
                  <a:lnTo>
                    <a:pt x="286" y="119"/>
                  </a:lnTo>
                  <a:lnTo>
                    <a:pt x="288" y="119"/>
                  </a:lnTo>
                  <a:lnTo>
                    <a:pt x="288" y="121"/>
                  </a:lnTo>
                  <a:lnTo>
                    <a:pt x="288" y="119"/>
                  </a:lnTo>
                  <a:lnTo>
                    <a:pt x="288" y="121"/>
                  </a:lnTo>
                  <a:lnTo>
                    <a:pt x="290" y="121"/>
                  </a:lnTo>
                  <a:lnTo>
                    <a:pt x="288" y="121"/>
                  </a:lnTo>
                  <a:lnTo>
                    <a:pt x="290" y="121"/>
                  </a:lnTo>
                  <a:lnTo>
                    <a:pt x="288" y="121"/>
                  </a:lnTo>
                  <a:lnTo>
                    <a:pt x="290" y="121"/>
                  </a:lnTo>
                  <a:lnTo>
                    <a:pt x="290" y="123"/>
                  </a:lnTo>
                  <a:lnTo>
                    <a:pt x="288" y="123"/>
                  </a:lnTo>
                  <a:lnTo>
                    <a:pt x="288" y="121"/>
                  </a:lnTo>
                  <a:lnTo>
                    <a:pt x="288" y="123"/>
                  </a:lnTo>
                  <a:lnTo>
                    <a:pt x="288" y="125"/>
                  </a:lnTo>
                  <a:lnTo>
                    <a:pt x="290" y="125"/>
                  </a:lnTo>
                  <a:lnTo>
                    <a:pt x="292" y="125"/>
                  </a:lnTo>
                  <a:lnTo>
                    <a:pt x="290" y="125"/>
                  </a:lnTo>
                  <a:lnTo>
                    <a:pt x="292" y="125"/>
                  </a:lnTo>
                  <a:lnTo>
                    <a:pt x="292" y="127"/>
                  </a:lnTo>
                  <a:lnTo>
                    <a:pt x="294" y="127"/>
                  </a:lnTo>
                  <a:lnTo>
                    <a:pt x="294" y="129"/>
                  </a:lnTo>
                  <a:lnTo>
                    <a:pt x="292" y="129"/>
                  </a:lnTo>
                  <a:lnTo>
                    <a:pt x="292" y="131"/>
                  </a:lnTo>
                  <a:lnTo>
                    <a:pt x="290" y="131"/>
                  </a:lnTo>
                  <a:lnTo>
                    <a:pt x="292" y="131"/>
                  </a:lnTo>
                  <a:lnTo>
                    <a:pt x="290" y="131"/>
                  </a:lnTo>
                  <a:lnTo>
                    <a:pt x="290" y="133"/>
                  </a:lnTo>
                  <a:lnTo>
                    <a:pt x="288" y="133"/>
                  </a:lnTo>
                  <a:lnTo>
                    <a:pt x="290" y="133"/>
                  </a:lnTo>
                  <a:lnTo>
                    <a:pt x="290" y="135"/>
                  </a:lnTo>
                  <a:lnTo>
                    <a:pt x="290" y="137"/>
                  </a:lnTo>
                  <a:lnTo>
                    <a:pt x="288" y="137"/>
                  </a:lnTo>
                  <a:lnTo>
                    <a:pt x="288" y="139"/>
                  </a:lnTo>
                  <a:lnTo>
                    <a:pt x="290" y="139"/>
                  </a:lnTo>
                  <a:lnTo>
                    <a:pt x="292" y="139"/>
                  </a:lnTo>
                  <a:lnTo>
                    <a:pt x="292" y="141"/>
                  </a:lnTo>
                  <a:lnTo>
                    <a:pt x="292" y="139"/>
                  </a:lnTo>
                  <a:lnTo>
                    <a:pt x="292" y="141"/>
                  </a:lnTo>
                  <a:lnTo>
                    <a:pt x="292" y="139"/>
                  </a:lnTo>
                  <a:lnTo>
                    <a:pt x="292" y="141"/>
                  </a:lnTo>
                  <a:lnTo>
                    <a:pt x="294" y="141"/>
                  </a:lnTo>
                  <a:lnTo>
                    <a:pt x="294" y="142"/>
                  </a:lnTo>
                  <a:lnTo>
                    <a:pt x="294" y="144"/>
                  </a:lnTo>
                  <a:lnTo>
                    <a:pt x="294" y="142"/>
                  </a:lnTo>
                  <a:lnTo>
                    <a:pt x="296" y="142"/>
                  </a:lnTo>
                  <a:lnTo>
                    <a:pt x="296" y="144"/>
                  </a:lnTo>
                  <a:lnTo>
                    <a:pt x="296" y="146"/>
                  </a:lnTo>
                  <a:lnTo>
                    <a:pt x="296" y="144"/>
                  </a:lnTo>
                  <a:lnTo>
                    <a:pt x="296" y="146"/>
                  </a:lnTo>
                  <a:lnTo>
                    <a:pt x="294" y="146"/>
                  </a:lnTo>
                  <a:lnTo>
                    <a:pt x="292" y="146"/>
                  </a:lnTo>
                  <a:lnTo>
                    <a:pt x="292" y="148"/>
                  </a:lnTo>
                  <a:lnTo>
                    <a:pt x="294" y="148"/>
                  </a:lnTo>
                  <a:lnTo>
                    <a:pt x="296" y="148"/>
                  </a:lnTo>
                  <a:lnTo>
                    <a:pt x="298" y="148"/>
                  </a:lnTo>
                  <a:lnTo>
                    <a:pt x="298" y="146"/>
                  </a:lnTo>
                  <a:lnTo>
                    <a:pt x="300" y="146"/>
                  </a:lnTo>
                  <a:lnTo>
                    <a:pt x="300" y="144"/>
                  </a:lnTo>
                  <a:lnTo>
                    <a:pt x="300" y="142"/>
                  </a:lnTo>
                  <a:lnTo>
                    <a:pt x="302" y="142"/>
                  </a:lnTo>
                  <a:lnTo>
                    <a:pt x="300" y="142"/>
                  </a:lnTo>
                  <a:lnTo>
                    <a:pt x="302" y="142"/>
                  </a:lnTo>
                  <a:lnTo>
                    <a:pt x="304" y="142"/>
                  </a:lnTo>
                  <a:lnTo>
                    <a:pt x="304" y="144"/>
                  </a:lnTo>
                  <a:lnTo>
                    <a:pt x="306" y="144"/>
                  </a:lnTo>
                  <a:lnTo>
                    <a:pt x="304" y="144"/>
                  </a:lnTo>
                  <a:lnTo>
                    <a:pt x="306" y="144"/>
                  </a:lnTo>
                  <a:lnTo>
                    <a:pt x="306" y="142"/>
                  </a:lnTo>
                  <a:lnTo>
                    <a:pt x="307" y="142"/>
                  </a:lnTo>
                  <a:lnTo>
                    <a:pt x="307" y="144"/>
                  </a:lnTo>
                  <a:lnTo>
                    <a:pt x="307" y="146"/>
                  </a:lnTo>
                  <a:lnTo>
                    <a:pt x="309" y="146"/>
                  </a:lnTo>
                  <a:lnTo>
                    <a:pt x="309" y="148"/>
                  </a:lnTo>
                  <a:lnTo>
                    <a:pt x="309" y="150"/>
                  </a:lnTo>
                  <a:lnTo>
                    <a:pt x="307" y="150"/>
                  </a:lnTo>
                  <a:lnTo>
                    <a:pt x="307" y="148"/>
                  </a:lnTo>
                  <a:lnTo>
                    <a:pt x="306" y="148"/>
                  </a:lnTo>
                  <a:lnTo>
                    <a:pt x="306" y="150"/>
                  </a:lnTo>
                  <a:lnTo>
                    <a:pt x="307" y="150"/>
                  </a:lnTo>
                  <a:lnTo>
                    <a:pt x="307" y="152"/>
                  </a:lnTo>
                  <a:lnTo>
                    <a:pt x="306" y="152"/>
                  </a:lnTo>
                  <a:lnTo>
                    <a:pt x="306" y="150"/>
                  </a:lnTo>
                  <a:lnTo>
                    <a:pt x="304" y="150"/>
                  </a:lnTo>
                  <a:lnTo>
                    <a:pt x="304" y="152"/>
                  </a:lnTo>
                  <a:lnTo>
                    <a:pt x="304" y="154"/>
                  </a:lnTo>
                  <a:lnTo>
                    <a:pt x="304" y="152"/>
                  </a:lnTo>
                  <a:lnTo>
                    <a:pt x="304" y="154"/>
                  </a:lnTo>
                  <a:lnTo>
                    <a:pt x="302" y="154"/>
                  </a:lnTo>
                  <a:lnTo>
                    <a:pt x="304" y="154"/>
                  </a:lnTo>
                  <a:lnTo>
                    <a:pt x="304" y="156"/>
                  </a:lnTo>
                  <a:lnTo>
                    <a:pt x="304" y="158"/>
                  </a:lnTo>
                  <a:lnTo>
                    <a:pt x="306" y="158"/>
                  </a:lnTo>
                  <a:lnTo>
                    <a:pt x="306" y="156"/>
                  </a:lnTo>
                  <a:lnTo>
                    <a:pt x="306" y="158"/>
                  </a:lnTo>
                  <a:lnTo>
                    <a:pt x="307" y="158"/>
                  </a:lnTo>
                  <a:lnTo>
                    <a:pt x="307" y="156"/>
                  </a:lnTo>
                  <a:lnTo>
                    <a:pt x="309" y="156"/>
                  </a:lnTo>
                  <a:lnTo>
                    <a:pt x="309" y="158"/>
                  </a:lnTo>
                  <a:lnTo>
                    <a:pt x="309" y="160"/>
                  </a:lnTo>
                  <a:lnTo>
                    <a:pt x="307" y="160"/>
                  </a:lnTo>
                  <a:lnTo>
                    <a:pt x="307" y="162"/>
                  </a:lnTo>
                  <a:lnTo>
                    <a:pt x="309" y="162"/>
                  </a:lnTo>
                  <a:lnTo>
                    <a:pt x="307" y="162"/>
                  </a:lnTo>
                  <a:lnTo>
                    <a:pt x="309" y="162"/>
                  </a:lnTo>
                  <a:lnTo>
                    <a:pt x="307" y="162"/>
                  </a:lnTo>
                  <a:lnTo>
                    <a:pt x="307" y="160"/>
                  </a:lnTo>
                  <a:lnTo>
                    <a:pt x="307" y="162"/>
                  </a:lnTo>
                  <a:lnTo>
                    <a:pt x="306" y="162"/>
                  </a:lnTo>
                  <a:lnTo>
                    <a:pt x="306" y="160"/>
                  </a:lnTo>
                  <a:lnTo>
                    <a:pt x="306" y="162"/>
                  </a:lnTo>
                  <a:lnTo>
                    <a:pt x="307" y="162"/>
                  </a:lnTo>
                  <a:lnTo>
                    <a:pt x="307" y="164"/>
                  </a:lnTo>
                  <a:lnTo>
                    <a:pt x="307" y="165"/>
                  </a:lnTo>
                  <a:lnTo>
                    <a:pt x="307" y="164"/>
                  </a:lnTo>
                  <a:lnTo>
                    <a:pt x="307" y="165"/>
                  </a:lnTo>
                  <a:lnTo>
                    <a:pt x="309" y="165"/>
                  </a:lnTo>
                  <a:lnTo>
                    <a:pt x="309" y="167"/>
                  </a:lnTo>
                  <a:lnTo>
                    <a:pt x="309" y="169"/>
                  </a:lnTo>
                  <a:lnTo>
                    <a:pt x="311" y="169"/>
                  </a:lnTo>
                  <a:lnTo>
                    <a:pt x="311" y="167"/>
                  </a:lnTo>
                  <a:lnTo>
                    <a:pt x="311" y="169"/>
                  </a:lnTo>
                  <a:lnTo>
                    <a:pt x="311" y="171"/>
                  </a:lnTo>
                  <a:lnTo>
                    <a:pt x="309" y="171"/>
                  </a:lnTo>
                  <a:lnTo>
                    <a:pt x="309" y="169"/>
                  </a:lnTo>
                  <a:lnTo>
                    <a:pt x="309" y="171"/>
                  </a:lnTo>
                  <a:lnTo>
                    <a:pt x="309" y="173"/>
                  </a:lnTo>
                  <a:lnTo>
                    <a:pt x="309" y="175"/>
                  </a:lnTo>
                  <a:lnTo>
                    <a:pt x="309" y="177"/>
                  </a:lnTo>
                  <a:lnTo>
                    <a:pt x="307" y="177"/>
                  </a:lnTo>
                  <a:lnTo>
                    <a:pt x="307" y="179"/>
                  </a:lnTo>
                  <a:lnTo>
                    <a:pt x="307" y="177"/>
                  </a:lnTo>
                  <a:lnTo>
                    <a:pt x="306" y="177"/>
                  </a:lnTo>
                  <a:lnTo>
                    <a:pt x="306" y="175"/>
                  </a:lnTo>
                  <a:lnTo>
                    <a:pt x="304" y="175"/>
                  </a:lnTo>
                  <a:lnTo>
                    <a:pt x="306" y="175"/>
                  </a:lnTo>
                  <a:lnTo>
                    <a:pt x="304" y="175"/>
                  </a:lnTo>
                  <a:lnTo>
                    <a:pt x="304" y="173"/>
                  </a:lnTo>
                  <a:lnTo>
                    <a:pt x="306" y="173"/>
                  </a:lnTo>
                  <a:lnTo>
                    <a:pt x="304" y="173"/>
                  </a:lnTo>
                  <a:lnTo>
                    <a:pt x="306" y="173"/>
                  </a:lnTo>
                  <a:lnTo>
                    <a:pt x="304" y="173"/>
                  </a:lnTo>
                  <a:lnTo>
                    <a:pt x="304" y="171"/>
                  </a:lnTo>
                  <a:lnTo>
                    <a:pt x="304" y="169"/>
                  </a:lnTo>
                  <a:lnTo>
                    <a:pt x="304" y="171"/>
                  </a:lnTo>
                  <a:lnTo>
                    <a:pt x="304" y="173"/>
                  </a:lnTo>
                  <a:lnTo>
                    <a:pt x="304" y="171"/>
                  </a:lnTo>
                  <a:lnTo>
                    <a:pt x="302" y="171"/>
                  </a:lnTo>
                  <a:lnTo>
                    <a:pt x="302" y="169"/>
                  </a:lnTo>
                  <a:lnTo>
                    <a:pt x="302" y="167"/>
                  </a:lnTo>
                  <a:lnTo>
                    <a:pt x="300" y="167"/>
                  </a:lnTo>
                  <a:lnTo>
                    <a:pt x="300" y="165"/>
                  </a:lnTo>
                  <a:lnTo>
                    <a:pt x="300" y="167"/>
                  </a:lnTo>
                  <a:lnTo>
                    <a:pt x="302" y="167"/>
                  </a:lnTo>
                  <a:lnTo>
                    <a:pt x="302" y="169"/>
                  </a:lnTo>
                  <a:lnTo>
                    <a:pt x="302" y="167"/>
                  </a:lnTo>
                  <a:lnTo>
                    <a:pt x="302" y="169"/>
                  </a:lnTo>
                  <a:lnTo>
                    <a:pt x="302" y="167"/>
                  </a:lnTo>
                  <a:lnTo>
                    <a:pt x="300" y="167"/>
                  </a:lnTo>
                  <a:lnTo>
                    <a:pt x="300" y="165"/>
                  </a:lnTo>
                  <a:lnTo>
                    <a:pt x="298" y="165"/>
                  </a:lnTo>
                  <a:lnTo>
                    <a:pt x="300" y="165"/>
                  </a:lnTo>
                  <a:lnTo>
                    <a:pt x="300" y="167"/>
                  </a:lnTo>
                  <a:lnTo>
                    <a:pt x="300" y="169"/>
                  </a:lnTo>
                  <a:lnTo>
                    <a:pt x="298" y="167"/>
                  </a:lnTo>
                  <a:lnTo>
                    <a:pt x="298" y="165"/>
                  </a:lnTo>
                  <a:lnTo>
                    <a:pt x="298" y="167"/>
                  </a:lnTo>
                  <a:lnTo>
                    <a:pt x="296" y="167"/>
                  </a:lnTo>
                  <a:lnTo>
                    <a:pt x="296" y="165"/>
                  </a:lnTo>
                  <a:lnTo>
                    <a:pt x="296" y="167"/>
                  </a:lnTo>
                  <a:lnTo>
                    <a:pt x="296" y="169"/>
                  </a:lnTo>
                  <a:lnTo>
                    <a:pt x="298" y="169"/>
                  </a:lnTo>
                  <a:lnTo>
                    <a:pt x="296" y="169"/>
                  </a:lnTo>
                  <a:lnTo>
                    <a:pt x="296" y="171"/>
                  </a:lnTo>
                  <a:lnTo>
                    <a:pt x="294" y="171"/>
                  </a:lnTo>
                  <a:lnTo>
                    <a:pt x="294" y="169"/>
                  </a:lnTo>
                  <a:lnTo>
                    <a:pt x="292" y="169"/>
                  </a:lnTo>
                  <a:lnTo>
                    <a:pt x="294" y="171"/>
                  </a:lnTo>
                  <a:lnTo>
                    <a:pt x="296" y="171"/>
                  </a:lnTo>
                  <a:lnTo>
                    <a:pt x="298" y="171"/>
                  </a:lnTo>
                  <a:lnTo>
                    <a:pt x="298" y="169"/>
                  </a:lnTo>
                  <a:lnTo>
                    <a:pt x="298" y="171"/>
                  </a:lnTo>
                  <a:lnTo>
                    <a:pt x="298" y="169"/>
                  </a:lnTo>
                  <a:lnTo>
                    <a:pt x="298" y="171"/>
                  </a:lnTo>
                  <a:lnTo>
                    <a:pt x="298" y="169"/>
                  </a:lnTo>
                  <a:lnTo>
                    <a:pt x="298" y="171"/>
                  </a:lnTo>
                  <a:lnTo>
                    <a:pt x="298" y="169"/>
                  </a:lnTo>
                  <a:lnTo>
                    <a:pt x="300" y="169"/>
                  </a:lnTo>
                  <a:lnTo>
                    <a:pt x="300" y="171"/>
                  </a:lnTo>
                  <a:lnTo>
                    <a:pt x="298" y="171"/>
                  </a:lnTo>
                  <a:lnTo>
                    <a:pt x="300" y="171"/>
                  </a:lnTo>
                  <a:lnTo>
                    <a:pt x="300" y="173"/>
                  </a:lnTo>
                  <a:lnTo>
                    <a:pt x="300" y="175"/>
                  </a:lnTo>
                  <a:lnTo>
                    <a:pt x="302" y="175"/>
                  </a:lnTo>
                  <a:lnTo>
                    <a:pt x="302" y="177"/>
                  </a:lnTo>
                  <a:lnTo>
                    <a:pt x="300" y="177"/>
                  </a:lnTo>
                  <a:lnTo>
                    <a:pt x="298" y="177"/>
                  </a:lnTo>
                  <a:lnTo>
                    <a:pt x="298" y="175"/>
                  </a:lnTo>
                  <a:lnTo>
                    <a:pt x="298" y="177"/>
                  </a:lnTo>
                  <a:lnTo>
                    <a:pt x="300" y="177"/>
                  </a:lnTo>
                  <a:lnTo>
                    <a:pt x="300" y="179"/>
                  </a:lnTo>
                  <a:lnTo>
                    <a:pt x="298" y="179"/>
                  </a:lnTo>
                  <a:lnTo>
                    <a:pt x="298" y="181"/>
                  </a:lnTo>
                  <a:lnTo>
                    <a:pt x="296" y="181"/>
                  </a:lnTo>
                  <a:lnTo>
                    <a:pt x="294" y="181"/>
                  </a:lnTo>
                  <a:lnTo>
                    <a:pt x="296" y="181"/>
                  </a:lnTo>
                  <a:lnTo>
                    <a:pt x="294" y="181"/>
                  </a:lnTo>
                  <a:lnTo>
                    <a:pt x="294" y="183"/>
                  </a:lnTo>
                  <a:lnTo>
                    <a:pt x="294" y="185"/>
                  </a:lnTo>
                  <a:lnTo>
                    <a:pt x="296" y="185"/>
                  </a:lnTo>
                  <a:lnTo>
                    <a:pt x="298" y="185"/>
                  </a:lnTo>
                  <a:lnTo>
                    <a:pt x="298" y="183"/>
                  </a:lnTo>
                  <a:lnTo>
                    <a:pt x="300" y="183"/>
                  </a:lnTo>
                  <a:lnTo>
                    <a:pt x="300" y="181"/>
                  </a:lnTo>
                  <a:lnTo>
                    <a:pt x="300" y="183"/>
                  </a:lnTo>
                  <a:lnTo>
                    <a:pt x="300" y="185"/>
                  </a:lnTo>
                  <a:lnTo>
                    <a:pt x="300" y="187"/>
                  </a:lnTo>
                  <a:lnTo>
                    <a:pt x="302" y="187"/>
                  </a:lnTo>
                  <a:lnTo>
                    <a:pt x="302" y="185"/>
                  </a:lnTo>
                  <a:lnTo>
                    <a:pt x="304" y="185"/>
                  </a:lnTo>
                  <a:lnTo>
                    <a:pt x="304" y="183"/>
                  </a:lnTo>
                  <a:lnTo>
                    <a:pt x="302" y="183"/>
                  </a:lnTo>
                  <a:lnTo>
                    <a:pt x="304" y="183"/>
                  </a:lnTo>
                  <a:lnTo>
                    <a:pt x="304" y="185"/>
                  </a:lnTo>
                  <a:lnTo>
                    <a:pt x="306" y="185"/>
                  </a:lnTo>
                  <a:lnTo>
                    <a:pt x="306" y="187"/>
                  </a:lnTo>
                  <a:lnTo>
                    <a:pt x="304" y="187"/>
                  </a:lnTo>
                  <a:lnTo>
                    <a:pt x="304" y="189"/>
                  </a:lnTo>
                  <a:lnTo>
                    <a:pt x="304" y="190"/>
                  </a:lnTo>
                  <a:lnTo>
                    <a:pt x="306" y="190"/>
                  </a:lnTo>
                  <a:lnTo>
                    <a:pt x="306" y="192"/>
                  </a:lnTo>
                  <a:lnTo>
                    <a:pt x="307" y="192"/>
                  </a:lnTo>
                  <a:lnTo>
                    <a:pt x="307" y="190"/>
                  </a:lnTo>
                  <a:lnTo>
                    <a:pt x="307" y="189"/>
                  </a:lnTo>
                  <a:lnTo>
                    <a:pt x="307" y="187"/>
                  </a:lnTo>
                  <a:lnTo>
                    <a:pt x="307" y="185"/>
                  </a:lnTo>
                  <a:lnTo>
                    <a:pt x="307" y="183"/>
                  </a:lnTo>
                  <a:lnTo>
                    <a:pt x="307" y="185"/>
                  </a:lnTo>
                  <a:lnTo>
                    <a:pt x="307" y="183"/>
                  </a:lnTo>
                  <a:lnTo>
                    <a:pt x="309" y="183"/>
                  </a:lnTo>
                  <a:lnTo>
                    <a:pt x="309" y="185"/>
                  </a:lnTo>
                  <a:lnTo>
                    <a:pt x="309" y="183"/>
                  </a:lnTo>
                  <a:lnTo>
                    <a:pt x="309" y="181"/>
                  </a:lnTo>
                  <a:lnTo>
                    <a:pt x="309" y="179"/>
                  </a:lnTo>
                  <a:lnTo>
                    <a:pt x="309" y="177"/>
                  </a:lnTo>
                  <a:lnTo>
                    <a:pt x="311" y="177"/>
                  </a:lnTo>
                  <a:lnTo>
                    <a:pt x="311" y="175"/>
                  </a:lnTo>
                  <a:lnTo>
                    <a:pt x="313" y="175"/>
                  </a:lnTo>
                  <a:lnTo>
                    <a:pt x="313" y="177"/>
                  </a:lnTo>
                  <a:lnTo>
                    <a:pt x="313" y="175"/>
                  </a:lnTo>
                  <a:lnTo>
                    <a:pt x="313" y="173"/>
                  </a:lnTo>
                  <a:lnTo>
                    <a:pt x="313" y="171"/>
                  </a:lnTo>
                  <a:lnTo>
                    <a:pt x="315" y="171"/>
                  </a:lnTo>
                  <a:lnTo>
                    <a:pt x="313" y="171"/>
                  </a:lnTo>
                  <a:lnTo>
                    <a:pt x="315" y="171"/>
                  </a:lnTo>
                  <a:lnTo>
                    <a:pt x="315" y="169"/>
                  </a:lnTo>
                  <a:lnTo>
                    <a:pt x="317" y="169"/>
                  </a:lnTo>
                  <a:lnTo>
                    <a:pt x="315" y="169"/>
                  </a:lnTo>
                  <a:lnTo>
                    <a:pt x="317" y="167"/>
                  </a:lnTo>
                  <a:lnTo>
                    <a:pt x="319" y="167"/>
                  </a:lnTo>
                  <a:lnTo>
                    <a:pt x="319" y="165"/>
                  </a:lnTo>
                  <a:lnTo>
                    <a:pt x="321" y="165"/>
                  </a:lnTo>
                  <a:lnTo>
                    <a:pt x="323" y="165"/>
                  </a:lnTo>
                  <a:lnTo>
                    <a:pt x="325" y="165"/>
                  </a:lnTo>
                  <a:lnTo>
                    <a:pt x="325" y="164"/>
                  </a:lnTo>
                  <a:lnTo>
                    <a:pt x="325" y="165"/>
                  </a:lnTo>
                  <a:lnTo>
                    <a:pt x="327" y="165"/>
                  </a:lnTo>
                  <a:lnTo>
                    <a:pt x="327" y="164"/>
                  </a:lnTo>
                  <a:lnTo>
                    <a:pt x="329" y="164"/>
                  </a:lnTo>
                  <a:lnTo>
                    <a:pt x="329" y="162"/>
                  </a:lnTo>
                  <a:lnTo>
                    <a:pt x="331" y="162"/>
                  </a:lnTo>
                  <a:lnTo>
                    <a:pt x="332" y="162"/>
                  </a:lnTo>
                  <a:lnTo>
                    <a:pt x="332" y="164"/>
                  </a:lnTo>
                  <a:lnTo>
                    <a:pt x="331" y="164"/>
                  </a:lnTo>
                  <a:lnTo>
                    <a:pt x="332" y="164"/>
                  </a:lnTo>
                  <a:lnTo>
                    <a:pt x="332" y="162"/>
                  </a:lnTo>
                  <a:lnTo>
                    <a:pt x="334" y="162"/>
                  </a:lnTo>
                  <a:lnTo>
                    <a:pt x="334" y="160"/>
                  </a:lnTo>
                  <a:lnTo>
                    <a:pt x="336" y="160"/>
                  </a:lnTo>
                  <a:lnTo>
                    <a:pt x="338" y="160"/>
                  </a:lnTo>
                  <a:lnTo>
                    <a:pt x="338" y="162"/>
                  </a:lnTo>
                  <a:lnTo>
                    <a:pt x="340" y="162"/>
                  </a:lnTo>
                  <a:lnTo>
                    <a:pt x="340" y="164"/>
                  </a:lnTo>
                  <a:lnTo>
                    <a:pt x="340" y="162"/>
                  </a:lnTo>
                  <a:lnTo>
                    <a:pt x="342" y="162"/>
                  </a:lnTo>
                  <a:lnTo>
                    <a:pt x="342" y="164"/>
                  </a:lnTo>
                  <a:lnTo>
                    <a:pt x="344" y="164"/>
                  </a:lnTo>
                  <a:lnTo>
                    <a:pt x="342" y="164"/>
                  </a:lnTo>
                  <a:lnTo>
                    <a:pt x="344" y="162"/>
                  </a:lnTo>
                  <a:lnTo>
                    <a:pt x="344" y="164"/>
                  </a:lnTo>
                  <a:lnTo>
                    <a:pt x="346" y="164"/>
                  </a:lnTo>
                  <a:lnTo>
                    <a:pt x="346" y="165"/>
                  </a:lnTo>
                  <a:lnTo>
                    <a:pt x="346" y="167"/>
                  </a:lnTo>
                  <a:lnTo>
                    <a:pt x="346" y="169"/>
                  </a:lnTo>
                  <a:lnTo>
                    <a:pt x="348" y="169"/>
                  </a:lnTo>
                  <a:lnTo>
                    <a:pt x="348" y="167"/>
                  </a:lnTo>
                  <a:lnTo>
                    <a:pt x="348" y="169"/>
                  </a:lnTo>
                  <a:lnTo>
                    <a:pt x="350" y="169"/>
                  </a:lnTo>
                  <a:lnTo>
                    <a:pt x="350" y="171"/>
                  </a:lnTo>
                  <a:lnTo>
                    <a:pt x="350" y="173"/>
                  </a:lnTo>
                  <a:lnTo>
                    <a:pt x="350" y="175"/>
                  </a:lnTo>
                  <a:lnTo>
                    <a:pt x="352" y="175"/>
                  </a:lnTo>
                  <a:lnTo>
                    <a:pt x="354" y="175"/>
                  </a:lnTo>
                  <a:lnTo>
                    <a:pt x="354" y="177"/>
                  </a:lnTo>
                  <a:lnTo>
                    <a:pt x="354" y="179"/>
                  </a:lnTo>
                  <a:lnTo>
                    <a:pt x="354" y="177"/>
                  </a:lnTo>
                  <a:lnTo>
                    <a:pt x="354" y="179"/>
                  </a:lnTo>
                  <a:lnTo>
                    <a:pt x="352" y="179"/>
                  </a:lnTo>
                  <a:lnTo>
                    <a:pt x="354" y="179"/>
                  </a:lnTo>
                  <a:lnTo>
                    <a:pt x="352" y="179"/>
                  </a:lnTo>
                  <a:lnTo>
                    <a:pt x="352" y="181"/>
                  </a:lnTo>
                  <a:lnTo>
                    <a:pt x="354" y="181"/>
                  </a:lnTo>
                  <a:lnTo>
                    <a:pt x="354" y="179"/>
                  </a:lnTo>
                  <a:lnTo>
                    <a:pt x="354" y="181"/>
                  </a:lnTo>
                  <a:lnTo>
                    <a:pt x="352" y="181"/>
                  </a:lnTo>
                  <a:lnTo>
                    <a:pt x="354" y="181"/>
                  </a:lnTo>
                  <a:lnTo>
                    <a:pt x="352" y="181"/>
                  </a:lnTo>
                  <a:lnTo>
                    <a:pt x="354" y="181"/>
                  </a:lnTo>
                  <a:lnTo>
                    <a:pt x="352" y="181"/>
                  </a:lnTo>
                  <a:lnTo>
                    <a:pt x="354" y="181"/>
                  </a:lnTo>
                  <a:lnTo>
                    <a:pt x="352" y="181"/>
                  </a:lnTo>
                  <a:lnTo>
                    <a:pt x="352" y="183"/>
                  </a:lnTo>
                  <a:lnTo>
                    <a:pt x="354" y="183"/>
                  </a:lnTo>
                  <a:lnTo>
                    <a:pt x="354" y="181"/>
                  </a:lnTo>
                  <a:lnTo>
                    <a:pt x="354" y="179"/>
                  </a:lnTo>
                  <a:lnTo>
                    <a:pt x="354" y="177"/>
                  </a:lnTo>
                  <a:lnTo>
                    <a:pt x="355" y="177"/>
                  </a:lnTo>
                  <a:lnTo>
                    <a:pt x="354" y="177"/>
                  </a:lnTo>
                  <a:lnTo>
                    <a:pt x="354" y="179"/>
                  </a:lnTo>
                  <a:lnTo>
                    <a:pt x="355" y="179"/>
                  </a:lnTo>
                  <a:lnTo>
                    <a:pt x="355" y="177"/>
                  </a:lnTo>
                  <a:lnTo>
                    <a:pt x="354" y="177"/>
                  </a:lnTo>
                  <a:lnTo>
                    <a:pt x="355" y="177"/>
                  </a:lnTo>
                  <a:lnTo>
                    <a:pt x="355" y="175"/>
                  </a:lnTo>
                  <a:lnTo>
                    <a:pt x="357" y="175"/>
                  </a:lnTo>
                  <a:lnTo>
                    <a:pt x="359" y="175"/>
                  </a:lnTo>
                  <a:lnTo>
                    <a:pt x="359" y="177"/>
                  </a:lnTo>
                  <a:lnTo>
                    <a:pt x="359" y="175"/>
                  </a:lnTo>
                  <a:lnTo>
                    <a:pt x="359" y="177"/>
                  </a:lnTo>
                  <a:lnTo>
                    <a:pt x="359" y="175"/>
                  </a:lnTo>
                  <a:lnTo>
                    <a:pt x="361" y="175"/>
                  </a:lnTo>
                  <a:lnTo>
                    <a:pt x="361" y="177"/>
                  </a:lnTo>
                  <a:lnTo>
                    <a:pt x="361" y="175"/>
                  </a:lnTo>
                  <a:lnTo>
                    <a:pt x="363" y="175"/>
                  </a:lnTo>
                  <a:lnTo>
                    <a:pt x="361" y="175"/>
                  </a:lnTo>
                  <a:lnTo>
                    <a:pt x="361" y="173"/>
                  </a:lnTo>
                  <a:lnTo>
                    <a:pt x="361" y="171"/>
                  </a:lnTo>
                  <a:lnTo>
                    <a:pt x="361" y="173"/>
                  </a:lnTo>
                  <a:lnTo>
                    <a:pt x="361" y="171"/>
                  </a:lnTo>
                  <a:lnTo>
                    <a:pt x="363" y="171"/>
                  </a:lnTo>
                  <a:lnTo>
                    <a:pt x="363" y="173"/>
                  </a:lnTo>
                  <a:lnTo>
                    <a:pt x="363" y="175"/>
                  </a:lnTo>
                  <a:lnTo>
                    <a:pt x="365" y="175"/>
                  </a:lnTo>
                  <a:lnTo>
                    <a:pt x="365" y="173"/>
                  </a:lnTo>
                  <a:lnTo>
                    <a:pt x="365" y="175"/>
                  </a:lnTo>
                  <a:lnTo>
                    <a:pt x="365" y="173"/>
                  </a:lnTo>
                  <a:lnTo>
                    <a:pt x="365" y="175"/>
                  </a:lnTo>
                  <a:lnTo>
                    <a:pt x="369" y="175"/>
                  </a:lnTo>
                  <a:lnTo>
                    <a:pt x="371" y="175"/>
                  </a:lnTo>
                  <a:lnTo>
                    <a:pt x="373" y="175"/>
                  </a:lnTo>
                  <a:lnTo>
                    <a:pt x="373" y="177"/>
                  </a:lnTo>
                  <a:lnTo>
                    <a:pt x="373" y="175"/>
                  </a:lnTo>
                  <a:lnTo>
                    <a:pt x="373" y="177"/>
                  </a:lnTo>
                  <a:lnTo>
                    <a:pt x="375" y="177"/>
                  </a:lnTo>
                  <a:lnTo>
                    <a:pt x="373" y="177"/>
                  </a:lnTo>
                  <a:lnTo>
                    <a:pt x="375" y="177"/>
                  </a:lnTo>
                  <a:lnTo>
                    <a:pt x="373" y="177"/>
                  </a:lnTo>
                  <a:lnTo>
                    <a:pt x="375" y="177"/>
                  </a:lnTo>
                  <a:lnTo>
                    <a:pt x="375" y="179"/>
                  </a:lnTo>
                  <a:lnTo>
                    <a:pt x="373" y="179"/>
                  </a:lnTo>
                  <a:lnTo>
                    <a:pt x="375" y="179"/>
                  </a:lnTo>
                  <a:lnTo>
                    <a:pt x="373" y="179"/>
                  </a:lnTo>
                  <a:lnTo>
                    <a:pt x="375" y="179"/>
                  </a:lnTo>
                  <a:lnTo>
                    <a:pt x="375" y="181"/>
                  </a:lnTo>
                  <a:lnTo>
                    <a:pt x="375" y="179"/>
                  </a:lnTo>
                  <a:lnTo>
                    <a:pt x="375" y="181"/>
                  </a:lnTo>
                  <a:lnTo>
                    <a:pt x="375" y="183"/>
                  </a:lnTo>
                  <a:lnTo>
                    <a:pt x="375" y="185"/>
                  </a:lnTo>
                  <a:lnTo>
                    <a:pt x="377" y="185"/>
                  </a:lnTo>
                  <a:lnTo>
                    <a:pt x="377" y="187"/>
                  </a:lnTo>
                  <a:lnTo>
                    <a:pt x="377" y="185"/>
                  </a:lnTo>
                  <a:lnTo>
                    <a:pt x="377" y="187"/>
                  </a:lnTo>
                  <a:lnTo>
                    <a:pt x="377" y="185"/>
                  </a:lnTo>
                  <a:lnTo>
                    <a:pt x="379" y="185"/>
                  </a:lnTo>
                  <a:lnTo>
                    <a:pt x="382" y="185"/>
                  </a:lnTo>
                  <a:lnTo>
                    <a:pt x="382" y="183"/>
                  </a:lnTo>
                  <a:lnTo>
                    <a:pt x="384" y="183"/>
                  </a:lnTo>
                  <a:lnTo>
                    <a:pt x="384" y="181"/>
                  </a:lnTo>
                  <a:lnTo>
                    <a:pt x="384" y="183"/>
                  </a:lnTo>
                  <a:lnTo>
                    <a:pt x="386" y="183"/>
                  </a:lnTo>
                  <a:lnTo>
                    <a:pt x="386" y="181"/>
                  </a:lnTo>
                  <a:lnTo>
                    <a:pt x="386" y="179"/>
                  </a:lnTo>
                  <a:lnTo>
                    <a:pt x="386" y="177"/>
                  </a:lnTo>
                  <a:lnTo>
                    <a:pt x="386" y="179"/>
                  </a:lnTo>
                  <a:lnTo>
                    <a:pt x="388" y="179"/>
                  </a:lnTo>
                  <a:lnTo>
                    <a:pt x="388" y="177"/>
                  </a:lnTo>
                  <a:lnTo>
                    <a:pt x="390" y="177"/>
                  </a:lnTo>
                  <a:lnTo>
                    <a:pt x="390" y="175"/>
                  </a:lnTo>
                  <a:lnTo>
                    <a:pt x="390" y="177"/>
                  </a:lnTo>
                  <a:lnTo>
                    <a:pt x="390" y="175"/>
                  </a:lnTo>
                  <a:lnTo>
                    <a:pt x="390" y="173"/>
                  </a:lnTo>
                  <a:lnTo>
                    <a:pt x="390" y="171"/>
                  </a:lnTo>
                  <a:lnTo>
                    <a:pt x="390" y="173"/>
                  </a:lnTo>
                  <a:lnTo>
                    <a:pt x="392" y="173"/>
                  </a:lnTo>
                  <a:lnTo>
                    <a:pt x="394" y="173"/>
                  </a:lnTo>
                  <a:lnTo>
                    <a:pt x="394" y="171"/>
                  </a:lnTo>
                  <a:lnTo>
                    <a:pt x="392" y="171"/>
                  </a:lnTo>
                  <a:lnTo>
                    <a:pt x="392" y="169"/>
                  </a:lnTo>
                  <a:lnTo>
                    <a:pt x="394" y="169"/>
                  </a:lnTo>
                  <a:lnTo>
                    <a:pt x="394" y="167"/>
                  </a:lnTo>
                  <a:lnTo>
                    <a:pt x="394" y="165"/>
                  </a:lnTo>
                  <a:lnTo>
                    <a:pt x="394" y="164"/>
                  </a:lnTo>
                  <a:lnTo>
                    <a:pt x="396" y="164"/>
                  </a:lnTo>
                  <a:lnTo>
                    <a:pt x="394" y="164"/>
                  </a:lnTo>
                  <a:lnTo>
                    <a:pt x="394" y="162"/>
                  </a:lnTo>
                  <a:lnTo>
                    <a:pt x="394" y="164"/>
                  </a:lnTo>
                  <a:lnTo>
                    <a:pt x="396" y="164"/>
                  </a:lnTo>
                  <a:lnTo>
                    <a:pt x="398" y="164"/>
                  </a:lnTo>
                  <a:lnTo>
                    <a:pt x="396" y="164"/>
                  </a:lnTo>
                  <a:lnTo>
                    <a:pt x="396" y="165"/>
                  </a:lnTo>
                  <a:lnTo>
                    <a:pt x="398" y="165"/>
                  </a:lnTo>
                  <a:lnTo>
                    <a:pt x="400" y="165"/>
                  </a:lnTo>
                  <a:lnTo>
                    <a:pt x="400" y="167"/>
                  </a:lnTo>
                  <a:lnTo>
                    <a:pt x="400" y="165"/>
                  </a:lnTo>
                  <a:lnTo>
                    <a:pt x="398" y="165"/>
                  </a:lnTo>
                  <a:lnTo>
                    <a:pt x="400" y="165"/>
                  </a:lnTo>
                  <a:lnTo>
                    <a:pt x="398" y="165"/>
                  </a:lnTo>
                  <a:lnTo>
                    <a:pt x="398" y="164"/>
                  </a:lnTo>
                  <a:lnTo>
                    <a:pt x="398" y="165"/>
                  </a:lnTo>
                  <a:lnTo>
                    <a:pt x="398" y="164"/>
                  </a:lnTo>
                  <a:lnTo>
                    <a:pt x="400" y="164"/>
                  </a:lnTo>
                  <a:lnTo>
                    <a:pt x="400" y="165"/>
                  </a:lnTo>
                  <a:lnTo>
                    <a:pt x="402" y="165"/>
                  </a:lnTo>
                  <a:lnTo>
                    <a:pt x="400" y="165"/>
                  </a:lnTo>
                  <a:lnTo>
                    <a:pt x="400" y="164"/>
                  </a:lnTo>
                  <a:lnTo>
                    <a:pt x="398" y="164"/>
                  </a:lnTo>
                  <a:lnTo>
                    <a:pt x="400" y="164"/>
                  </a:lnTo>
                  <a:lnTo>
                    <a:pt x="400" y="162"/>
                  </a:lnTo>
                  <a:lnTo>
                    <a:pt x="398" y="162"/>
                  </a:lnTo>
                  <a:lnTo>
                    <a:pt x="400" y="162"/>
                  </a:lnTo>
                  <a:lnTo>
                    <a:pt x="398" y="162"/>
                  </a:lnTo>
                  <a:lnTo>
                    <a:pt x="400" y="162"/>
                  </a:lnTo>
                  <a:lnTo>
                    <a:pt x="400" y="160"/>
                  </a:lnTo>
                  <a:lnTo>
                    <a:pt x="402" y="160"/>
                  </a:lnTo>
                  <a:lnTo>
                    <a:pt x="400" y="160"/>
                  </a:lnTo>
                  <a:lnTo>
                    <a:pt x="402" y="160"/>
                  </a:lnTo>
                  <a:lnTo>
                    <a:pt x="402" y="162"/>
                  </a:lnTo>
                  <a:lnTo>
                    <a:pt x="403" y="162"/>
                  </a:lnTo>
                  <a:lnTo>
                    <a:pt x="403" y="160"/>
                  </a:lnTo>
                  <a:lnTo>
                    <a:pt x="405" y="162"/>
                  </a:lnTo>
                  <a:lnTo>
                    <a:pt x="405" y="160"/>
                  </a:lnTo>
                  <a:lnTo>
                    <a:pt x="405" y="162"/>
                  </a:lnTo>
                  <a:lnTo>
                    <a:pt x="405" y="160"/>
                  </a:lnTo>
                  <a:lnTo>
                    <a:pt x="405" y="162"/>
                  </a:lnTo>
                  <a:lnTo>
                    <a:pt x="407" y="162"/>
                  </a:lnTo>
                  <a:lnTo>
                    <a:pt x="409" y="162"/>
                  </a:lnTo>
                  <a:lnTo>
                    <a:pt x="407" y="162"/>
                  </a:lnTo>
                  <a:lnTo>
                    <a:pt x="407" y="160"/>
                  </a:lnTo>
                  <a:lnTo>
                    <a:pt x="407" y="162"/>
                  </a:lnTo>
                  <a:lnTo>
                    <a:pt x="407" y="160"/>
                  </a:lnTo>
                  <a:lnTo>
                    <a:pt x="405" y="160"/>
                  </a:lnTo>
                  <a:lnTo>
                    <a:pt x="405" y="162"/>
                  </a:lnTo>
                  <a:lnTo>
                    <a:pt x="405" y="160"/>
                  </a:lnTo>
                  <a:lnTo>
                    <a:pt x="405" y="162"/>
                  </a:lnTo>
                  <a:lnTo>
                    <a:pt x="405" y="160"/>
                  </a:lnTo>
                  <a:lnTo>
                    <a:pt x="403" y="160"/>
                  </a:lnTo>
                  <a:lnTo>
                    <a:pt x="403" y="158"/>
                  </a:lnTo>
                  <a:lnTo>
                    <a:pt x="402" y="158"/>
                  </a:lnTo>
                  <a:lnTo>
                    <a:pt x="403" y="158"/>
                  </a:lnTo>
                  <a:lnTo>
                    <a:pt x="402" y="158"/>
                  </a:lnTo>
                  <a:lnTo>
                    <a:pt x="402" y="156"/>
                  </a:lnTo>
                  <a:lnTo>
                    <a:pt x="403" y="156"/>
                  </a:lnTo>
                  <a:lnTo>
                    <a:pt x="402" y="156"/>
                  </a:lnTo>
                  <a:lnTo>
                    <a:pt x="402" y="154"/>
                  </a:lnTo>
                  <a:lnTo>
                    <a:pt x="402" y="152"/>
                  </a:lnTo>
                  <a:lnTo>
                    <a:pt x="403" y="152"/>
                  </a:lnTo>
                  <a:lnTo>
                    <a:pt x="402" y="152"/>
                  </a:lnTo>
                  <a:lnTo>
                    <a:pt x="402" y="150"/>
                  </a:lnTo>
                  <a:lnTo>
                    <a:pt x="402" y="148"/>
                  </a:lnTo>
                  <a:lnTo>
                    <a:pt x="402" y="150"/>
                  </a:lnTo>
                  <a:lnTo>
                    <a:pt x="402" y="148"/>
                  </a:lnTo>
                  <a:lnTo>
                    <a:pt x="402" y="146"/>
                  </a:lnTo>
                  <a:lnTo>
                    <a:pt x="402" y="144"/>
                  </a:lnTo>
                  <a:lnTo>
                    <a:pt x="403" y="144"/>
                  </a:lnTo>
                  <a:lnTo>
                    <a:pt x="403" y="146"/>
                  </a:lnTo>
                  <a:lnTo>
                    <a:pt x="403" y="144"/>
                  </a:lnTo>
                  <a:lnTo>
                    <a:pt x="403" y="142"/>
                  </a:lnTo>
                  <a:lnTo>
                    <a:pt x="402" y="142"/>
                  </a:lnTo>
                  <a:lnTo>
                    <a:pt x="402" y="141"/>
                  </a:lnTo>
                  <a:lnTo>
                    <a:pt x="402" y="139"/>
                  </a:lnTo>
                  <a:lnTo>
                    <a:pt x="402" y="137"/>
                  </a:lnTo>
                  <a:lnTo>
                    <a:pt x="403" y="137"/>
                  </a:lnTo>
                  <a:lnTo>
                    <a:pt x="405" y="137"/>
                  </a:lnTo>
                  <a:lnTo>
                    <a:pt x="403" y="137"/>
                  </a:lnTo>
                  <a:lnTo>
                    <a:pt x="403" y="139"/>
                  </a:lnTo>
                  <a:lnTo>
                    <a:pt x="405" y="139"/>
                  </a:lnTo>
                  <a:lnTo>
                    <a:pt x="405" y="137"/>
                  </a:lnTo>
                  <a:lnTo>
                    <a:pt x="407" y="137"/>
                  </a:lnTo>
                  <a:lnTo>
                    <a:pt x="407" y="139"/>
                  </a:lnTo>
                  <a:lnTo>
                    <a:pt x="407" y="137"/>
                  </a:lnTo>
                  <a:lnTo>
                    <a:pt x="407" y="139"/>
                  </a:lnTo>
                  <a:lnTo>
                    <a:pt x="407" y="137"/>
                  </a:lnTo>
                  <a:lnTo>
                    <a:pt x="407" y="139"/>
                  </a:lnTo>
                  <a:lnTo>
                    <a:pt x="409" y="139"/>
                  </a:lnTo>
                  <a:lnTo>
                    <a:pt x="411" y="139"/>
                  </a:lnTo>
                  <a:lnTo>
                    <a:pt x="411" y="141"/>
                  </a:lnTo>
                  <a:lnTo>
                    <a:pt x="413" y="141"/>
                  </a:lnTo>
                  <a:lnTo>
                    <a:pt x="411" y="141"/>
                  </a:lnTo>
                  <a:lnTo>
                    <a:pt x="413" y="141"/>
                  </a:lnTo>
                  <a:lnTo>
                    <a:pt x="415" y="141"/>
                  </a:lnTo>
                  <a:lnTo>
                    <a:pt x="413" y="141"/>
                  </a:lnTo>
                  <a:lnTo>
                    <a:pt x="415" y="142"/>
                  </a:lnTo>
                  <a:lnTo>
                    <a:pt x="417" y="141"/>
                  </a:lnTo>
                  <a:lnTo>
                    <a:pt x="415" y="141"/>
                  </a:lnTo>
                  <a:lnTo>
                    <a:pt x="417" y="141"/>
                  </a:lnTo>
                  <a:lnTo>
                    <a:pt x="417" y="139"/>
                  </a:lnTo>
                  <a:lnTo>
                    <a:pt x="415" y="139"/>
                  </a:lnTo>
                  <a:lnTo>
                    <a:pt x="417" y="139"/>
                  </a:lnTo>
                  <a:lnTo>
                    <a:pt x="415" y="139"/>
                  </a:lnTo>
                  <a:lnTo>
                    <a:pt x="417" y="139"/>
                  </a:lnTo>
                  <a:lnTo>
                    <a:pt x="415" y="139"/>
                  </a:lnTo>
                  <a:lnTo>
                    <a:pt x="415" y="137"/>
                  </a:lnTo>
                  <a:lnTo>
                    <a:pt x="413" y="137"/>
                  </a:lnTo>
                  <a:lnTo>
                    <a:pt x="413" y="139"/>
                  </a:lnTo>
                  <a:lnTo>
                    <a:pt x="415" y="139"/>
                  </a:lnTo>
                  <a:lnTo>
                    <a:pt x="413" y="139"/>
                  </a:lnTo>
                  <a:lnTo>
                    <a:pt x="413" y="137"/>
                  </a:lnTo>
                  <a:lnTo>
                    <a:pt x="413" y="139"/>
                  </a:lnTo>
                  <a:lnTo>
                    <a:pt x="413" y="137"/>
                  </a:lnTo>
                  <a:lnTo>
                    <a:pt x="413" y="135"/>
                  </a:lnTo>
                  <a:lnTo>
                    <a:pt x="413" y="133"/>
                  </a:lnTo>
                  <a:lnTo>
                    <a:pt x="413" y="131"/>
                  </a:lnTo>
                  <a:lnTo>
                    <a:pt x="415" y="131"/>
                  </a:lnTo>
                  <a:lnTo>
                    <a:pt x="415" y="133"/>
                  </a:lnTo>
                  <a:lnTo>
                    <a:pt x="417" y="133"/>
                  </a:lnTo>
                  <a:lnTo>
                    <a:pt x="415" y="133"/>
                  </a:lnTo>
                  <a:lnTo>
                    <a:pt x="415" y="131"/>
                  </a:lnTo>
                  <a:lnTo>
                    <a:pt x="417" y="131"/>
                  </a:lnTo>
                  <a:lnTo>
                    <a:pt x="415" y="131"/>
                  </a:lnTo>
                  <a:lnTo>
                    <a:pt x="417" y="131"/>
                  </a:lnTo>
                  <a:lnTo>
                    <a:pt x="419" y="131"/>
                  </a:lnTo>
                  <a:lnTo>
                    <a:pt x="419" y="133"/>
                  </a:lnTo>
                  <a:lnTo>
                    <a:pt x="421" y="133"/>
                  </a:lnTo>
                  <a:lnTo>
                    <a:pt x="421" y="131"/>
                  </a:lnTo>
                  <a:lnTo>
                    <a:pt x="419" y="131"/>
                  </a:lnTo>
                  <a:lnTo>
                    <a:pt x="419" y="129"/>
                  </a:lnTo>
                  <a:lnTo>
                    <a:pt x="421" y="129"/>
                  </a:lnTo>
                  <a:lnTo>
                    <a:pt x="421" y="131"/>
                  </a:lnTo>
                  <a:lnTo>
                    <a:pt x="421" y="129"/>
                  </a:lnTo>
                  <a:lnTo>
                    <a:pt x="421" y="131"/>
                  </a:lnTo>
                  <a:lnTo>
                    <a:pt x="423" y="131"/>
                  </a:lnTo>
                  <a:lnTo>
                    <a:pt x="423" y="129"/>
                  </a:lnTo>
                  <a:lnTo>
                    <a:pt x="423" y="131"/>
                  </a:lnTo>
                  <a:lnTo>
                    <a:pt x="425" y="131"/>
                  </a:lnTo>
                  <a:lnTo>
                    <a:pt x="427" y="131"/>
                  </a:lnTo>
                  <a:lnTo>
                    <a:pt x="428" y="131"/>
                  </a:lnTo>
                  <a:lnTo>
                    <a:pt x="428" y="133"/>
                  </a:lnTo>
                  <a:lnTo>
                    <a:pt x="430" y="133"/>
                  </a:lnTo>
                  <a:lnTo>
                    <a:pt x="432" y="133"/>
                  </a:lnTo>
                  <a:lnTo>
                    <a:pt x="434" y="133"/>
                  </a:lnTo>
                  <a:lnTo>
                    <a:pt x="434" y="135"/>
                  </a:lnTo>
                  <a:lnTo>
                    <a:pt x="436" y="135"/>
                  </a:lnTo>
                  <a:lnTo>
                    <a:pt x="436" y="137"/>
                  </a:lnTo>
                  <a:lnTo>
                    <a:pt x="436" y="135"/>
                  </a:lnTo>
                  <a:lnTo>
                    <a:pt x="438" y="135"/>
                  </a:lnTo>
                  <a:lnTo>
                    <a:pt x="440" y="135"/>
                  </a:lnTo>
                  <a:lnTo>
                    <a:pt x="442" y="135"/>
                  </a:lnTo>
                  <a:lnTo>
                    <a:pt x="444" y="135"/>
                  </a:lnTo>
                  <a:lnTo>
                    <a:pt x="446" y="135"/>
                  </a:lnTo>
                  <a:lnTo>
                    <a:pt x="448" y="135"/>
                  </a:lnTo>
                  <a:lnTo>
                    <a:pt x="448" y="133"/>
                  </a:lnTo>
                  <a:lnTo>
                    <a:pt x="450" y="133"/>
                  </a:lnTo>
                  <a:lnTo>
                    <a:pt x="451" y="133"/>
                  </a:lnTo>
                  <a:lnTo>
                    <a:pt x="451" y="131"/>
                  </a:lnTo>
                  <a:lnTo>
                    <a:pt x="453" y="131"/>
                  </a:lnTo>
                  <a:lnTo>
                    <a:pt x="455" y="131"/>
                  </a:lnTo>
                  <a:lnTo>
                    <a:pt x="455" y="129"/>
                  </a:lnTo>
                  <a:lnTo>
                    <a:pt x="457" y="129"/>
                  </a:lnTo>
                  <a:lnTo>
                    <a:pt x="459" y="129"/>
                  </a:lnTo>
                  <a:lnTo>
                    <a:pt x="459" y="127"/>
                  </a:lnTo>
                  <a:lnTo>
                    <a:pt x="461" y="127"/>
                  </a:lnTo>
                  <a:lnTo>
                    <a:pt x="463" y="127"/>
                  </a:lnTo>
                  <a:lnTo>
                    <a:pt x="463" y="125"/>
                  </a:lnTo>
                  <a:lnTo>
                    <a:pt x="465" y="125"/>
                  </a:lnTo>
                  <a:lnTo>
                    <a:pt x="467" y="125"/>
                  </a:lnTo>
                  <a:lnTo>
                    <a:pt x="469" y="125"/>
                  </a:lnTo>
                  <a:lnTo>
                    <a:pt x="469" y="123"/>
                  </a:lnTo>
                  <a:lnTo>
                    <a:pt x="471" y="123"/>
                  </a:lnTo>
                  <a:lnTo>
                    <a:pt x="471" y="121"/>
                  </a:lnTo>
                  <a:lnTo>
                    <a:pt x="471" y="119"/>
                  </a:lnTo>
                  <a:lnTo>
                    <a:pt x="473" y="119"/>
                  </a:lnTo>
                  <a:lnTo>
                    <a:pt x="473" y="118"/>
                  </a:lnTo>
                  <a:lnTo>
                    <a:pt x="473" y="116"/>
                  </a:lnTo>
                  <a:lnTo>
                    <a:pt x="471" y="116"/>
                  </a:lnTo>
                  <a:lnTo>
                    <a:pt x="473" y="114"/>
                  </a:lnTo>
                  <a:lnTo>
                    <a:pt x="473" y="112"/>
                  </a:lnTo>
                  <a:lnTo>
                    <a:pt x="475" y="112"/>
                  </a:lnTo>
                  <a:lnTo>
                    <a:pt x="473" y="112"/>
                  </a:lnTo>
                  <a:lnTo>
                    <a:pt x="473" y="114"/>
                  </a:lnTo>
                  <a:lnTo>
                    <a:pt x="471" y="114"/>
                  </a:lnTo>
                  <a:lnTo>
                    <a:pt x="473" y="114"/>
                  </a:lnTo>
                  <a:lnTo>
                    <a:pt x="471" y="114"/>
                  </a:lnTo>
                  <a:lnTo>
                    <a:pt x="471" y="116"/>
                  </a:lnTo>
                  <a:lnTo>
                    <a:pt x="473" y="116"/>
                  </a:lnTo>
                  <a:lnTo>
                    <a:pt x="471" y="116"/>
                  </a:lnTo>
                  <a:lnTo>
                    <a:pt x="473" y="116"/>
                  </a:lnTo>
                  <a:lnTo>
                    <a:pt x="473" y="118"/>
                  </a:lnTo>
                  <a:lnTo>
                    <a:pt x="473" y="119"/>
                  </a:lnTo>
                  <a:lnTo>
                    <a:pt x="471" y="119"/>
                  </a:lnTo>
                  <a:lnTo>
                    <a:pt x="471" y="121"/>
                  </a:lnTo>
                  <a:lnTo>
                    <a:pt x="471" y="123"/>
                  </a:lnTo>
                  <a:lnTo>
                    <a:pt x="469" y="123"/>
                  </a:lnTo>
                  <a:lnTo>
                    <a:pt x="469" y="125"/>
                  </a:lnTo>
                  <a:lnTo>
                    <a:pt x="469" y="123"/>
                  </a:lnTo>
                  <a:lnTo>
                    <a:pt x="469" y="125"/>
                  </a:lnTo>
                  <a:lnTo>
                    <a:pt x="467" y="125"/>
                  </a:lnTo>
                  <a:lnTo>
                    <a:pt x="465" y="125"/>
                  </a:lnTo>
                  <a:lnTo>
                    <a:pt x="463" y="125"/>
                  </a:lnTo>
                  <a:lnTo>
                    <a:pt x="463" y="127"/>
                  </a:lnTo>
                  <a:lnTo>
                    <a:pt x="463" y="125"/>
                  </a:lnTo>
                  <a:lnTo>
                    <a:pt x="461" y="125"/>
                  </a:lnTo>
                  <a:lnTo>
                    <a:pt x="461" y="127"/>
                  </a:lnTo>
                  <a:lnTo>
                    <a:pt x="459" y="127"/>
                  </a:lnTo>
                  <a:lnTo>
                    <a:pt x="459" y="129"/>
                  </a:lnTo>
                  <a:lnTo>
                    <a:pt x="457" y="129"/>
                  </a:lnTo>
                  <a:lnTo>
                    <a:pt x="455" y="129"/>
                  </a:lnTo>
                  <a:lnTo>
                    <a:pt x="455" y="131"/>
                  </a:lnTo>
                  <a:lnTo>
                    <a:pt x="455" y="129"/>
                  </a:lnTo>
                  <a:lnTo>
                    <a:pt x="455" y="131"/>
                  </a:lnTo>
                  <a:lnTo>
                    <a:pt x="453" y="131"/>
                  </a:lnTo>
                  <a:lnTo>
                    <a:pt x="451" y="131"/>
                  </a:lnTo>
                  <a:lnTo>
                    <a:pt x="451" y="133"/>
                  </a:lnTo>
                  <a:lnTo>
                    <a:pt x="450" y="133"/>
                  </a:lnTo>
                  <a:lnTo>
                    <a:pt x="448" y="133"/>
                  </a:lnTo>
                  <a:lnTo>
                    <a:pt x="448" y="135"/>
                  </a:lnTo>
                  <a:lnTo>
                    <a:pt x="446" y="135"/>
                  </a:lnTo>
                  <a:lnTo>
                    <a:pt x="444" y="135"/>
                  </a:lnTo>
                  <a:lnTo>
                    <a:pt x="444" y="133"/>
                  </a:lnTo>
                  <a:lnTo>
                    <a:pt x="444" y="135"/>
                  </a:lnTo>
                  <a:lnTo>
                    <a:pt x="442" y="135"/>
                  </a:lnTo>
                  <a:lnTo>
                    <a:pt x="440" y="135"/>
                  </a:lnTo>
                  <a:lnTo>
                    <a:pt x="438" y="135"/>
                  </a:lnTo>
                  <a:lnTo>
                    <a:pt x="436" y="135"/>
                  </a:lnTo>
                  <a:lnTo>
                    <a:pt x="434" y="135"/>
                  </a:lnTo>
                  <a:lnTo>
                    <a:pt x="434" y="133"/>
                  </a:lnTo>
                  <a:lnTo>
                    <a:pt x="432" y="133"/>
                  </a:lnTo>
                  <a:lnTo>
                    <a:pt x="430" y="133"/>
                  </a:lnTo>
                  <a:lnTo>
                    <a:pt x="428" y="133"/>
                  </a:lnTo>
                  <a:lnTo>
                    <a:pt x="428" y="131"/>
                  </a:lnTo>
                  <a:lnTo>
                    <a:pt x="427" y="131"/>
                  </a:lnTo>
                  <a:lnTo>
                    <a:pt x="427" y="129"/>
                  </a:lnTo>
                  <a:lnTo>
                    <a:pt x="427" y="131"/>
                  </a:lnTo>
                  <a:lnTo>
                    <a:pt x="425" y="131"/>
                  </a:lnTo>
                  <a:lnTo>
                    <a:pt x="425" y="129"/>
                  </a:lnTo>
                  <a:lnTo>
                    <a:pt x="423" y="129"/>
                  </a:lnTo>
                  <a:lnTo>
                    <a:pt x="423" y="131"/>
                  </a:lnTo>
                  <a:lnTo>
                    <a:pt x="423" y="129"/>
                  </a:lnTo>
                  <a:lnTo>
                    <a:pt x="421" y="129"/>
                  </a:lnTo>
                  <a:lnTo>
                    <a:pt x="419" y="129"/>
                  </a:lnTo>
                  <a:lnTo>
                    <a:pt x="421" y="129"/>
                  </a:lnTo>
                  <a:lnTo>
                    <a:pt x="421" y="127"/>
                  </a:lnTo>
                  <a:lnTo>
                    <a:pt x="419" y="127"/>
                  </a:lnTo>
                  <a:lnTo>
                    <a:pt x="419" y="129"/>
                  </a:lnTo>
                  <a:lnTo>
                    <a:pt x="417" y="129"/>
                  </a:lnTo>
                  <a:lnTo>
                    <a:pt x="415" y="129"/>
                  </a:lnTo>
                  <a:lnTo>
                    <a:pt x="413" y="129"/>
                  </a:lnTo>
                  <a:lnTo>
                    <a:pt x="413" y="127"/>
                  </a:lnTo>
                  <a:lnTo>
                    <a:pt x="415" y="127"/>
                  </a:lnTo>
                  <a:lnTo>
                    <a:pt x="415" y="125"/>
                  </a:lnTo>
                  <a:lnTo>
                    <a:pt x="415" y="123"/>
                  </a:lnTo>
                  <a:lnTo>
                    <a:pt x="417" y="123"/>
                  </a:lnTo>
                  <a:lnTo>
                    <a:pt x="415" y="123"/>
                  </a:lnTo>
                  <a:lnTo>
                    <a:pt x="415" y="121"/>
                  </a:lnTo>
                  <a:lnTo>
                    <a:pt x="417" y="121"/>
                  </a:lnTo>
                  <a:lnTo>
                    <a:pt x="419" y="121"/>
                  </a:lnTo>
                  <a:lnTo>
                    <a:pt x="421" y="121"/>
                  </a:lnTo>
                  <a:lnTo>
                    <a:pt x="421" y="123"/>
                  </a:lnTo>
                  <a:lnTo>
                    <a:pt x="421" y="121"/>
                  </a:lnTo>
                  <a:lnTo>
                    <a:pt x="421" y="119"/>
                  </a:lnTo>
                  <a:lnTo>
                    <a:pt x="421" y="121"/>
                  </a:lnTo>
                  <a:lnTo>
                    <a:pt x="421" y="119"/>
                  </a:lnTo>
                  <a:lnTo>
                    <a:pt x="419" y="119"/>
                  </a:lnTo>
                  <a:lnTo>
                    <a:pt x="419" y="121"/>
                  </a:lnTo>
                  <a:lnTo>
                    <a:pt x="417" y="121"/>
                  </a:lnTo>
                  <a:lnTo>
                    <a:pt x="417" y="119"/>
                  </a:lnTo>
                  <a:lnTo>
                    <a:pt x="417" y="118"/>
                  </a:lnTo>
                  <a:lnTo>
                    <a:pt x="419" y="118"/>
                  </a:lnTo>
                  <a:lnTo>
                    <a:pt x="417" y="118"/>
                  </a:lnTo>
                  <a:lnTo>
                    <a:pt x="415" y="118"/>
                  </a:lnTo>
                  <a:lnTo>
                    <a:pt x="417" y="118"/>
                  </a:lnTo>
                  <a:lnTo>
                    <a:pt x="419" y="118"/>
                  </a:lnTo>
                  <a:lnTo>
                    <a:pt x="419" y="116"/>
                  </a:lnTo>
                  <a:lnTo>
                    <a:pt x="417" y="116"/>
                  </a:lnTo>
                  <a:lnTo>
                    <a:pt x="419" y="116"/>
                  </a:lnTo>
                  <a:lnTo>
                    <a:pt x="421" y="116"/>
                  </a:lnTo>
                  <a:lnTo>
                    <a:pt x="421" y="114"/>
                  </a:lnTo>
                  <a:lnTo>
                    <a:pt x="419" y="114"/>
                  </a:lnTo>
                  <a:lnTo>
                    <a:pt x="417" y="114"/>
                  </a:lnTo>
                  <a:lnTo>
                    <a:pt x="417" y="112"/>
                  </a:lnTo>
                  <a:lnTo>
                    <a:pt x="415" y="112"/>
                  </a:lnTo>
                  <a:lnTo>
                    <a:pt x="415" y="110"/>
                  </a:lnTo>
                  <a:lnTo>
                    <a:pt x="413" y="110"/>
                  </a:lnTo>
                  <a:lnTo>
                    <a:pt x="415" y="110"/>
                  </a:lnTo>
                  <a:lnTo>
                    <a:pt x="413" y="110"/>
                  </a:lnTo>
                  <a:lnTo>
                    <a:pt x="413" y="108"/>
                  </a:lnTo>
                  <a:lnTo>
                    <a:pt x="415" y="108"/>
                  </a:lnTo>
                  <a:lnTo>
                    <a:pt x="413" y="108"/>
                  </a:lnTo>
                  <a:lnTo>
                    <a:pt x="415" y="108"/>
                  </a:lnTo>
                  <a:lnTo>
                    <a:pt x="415" y="106"/>
                  </a:lnTo>
                  <a:lnTo>
                    <a:pt x="415" y="108"/>
                  </a:lnTo>
                  <a:lnTo>
                    <a:pt x="413" y="108"/>
                  </a:lnTo>
                  <a:lnTo>
                    <a:pt x="413" y="106"/>
                  </a:lnTo>
                  <a:lnTo>
                    <a:pt x="413" y="108"/>
                  </a:lnTo>
                  <a:lnTo>
                    <a:pt x="413" y="106"/>
                  </a:lnTo>
                  <a:lnTo>
                    <a:pt x="411" y="106"/>
                  </a:lnTo>
                  <a:lnTo>
                    <a:pt x="411" y="108"/>
                  </a:lnTo>
                  <a:lnTo>
                    <a:pt x="411" y="106"/>
                  </a:lnTo>
                  <a:lnTo>
                    <a:pt x="413" y="106"/>
                  </a:lnTo>
                  <a:lnTo>
                    <a:pt x="411" y="106"/>
                  </a:lnTo>
                  <a:lnTo>
                    <a:pt x="411" y="104"/>
                  </a:lnTo>
                  <a:lnTo>
                    <a:pt x="411" y="106"/>
                  </a:lnTo>
                  <a:lnTo>
                    <a:pt x="411" y="104"/>
                  </a:lnTo>
                  <a:lnTo>
                    <a:pt x="413" y="104"/>
                  </a:lnTo>
                  <a:lnTo>
                    <a:pt x="411" y="104"/>
                  </a:lnTo>
                  <a:lnTo>
                    <a:pt x="413" y="104"/>
                  </a:lnTo>
                  <a:lnTo>
                    <a:pt x="415" y="104"/>
                  </a:lnTo>
                  <a:lnTo>
                    <a:pt x="415" y="106"/>
                  </a:lnTo>
                  <a:lnTo>
                    <a:pt x="417" y="106"/>
                  </a:lnTo>
                  <a:lnTo>
                    <a:pt x="417" y="108"/>
                  </a:lnTo>
                  <a:lnTo>
                    <a:pt x="419" y="108"/>
                  </a:lnTo>
                  <a:lnTo>
                    <a:pt x="419" y="110"/>
                  </a:lnTo>
                  <a:lnTo>
                    <a:pt x="419" y="108"/>
                  </a:lnTo>
                  <a:lnTo>
                    <a:pt x="417" y="108"/>
                  </a:lnTo>
                  <a:lnTo>
                    <a:pt x="417" y="106"/>
                  </a:lnTo>
                  <a:lnTo>
                    <a:pt x="417" y="108"/>
                  </a:lnTo>
                  <a:lnTo>
                    <a:pt x="417" y="106"/>
                  </a:lnTo>
                  <a:lnTo>
                    <a:pt x="417" y="104"/>
                  </a:lnTo>
                  <a:lnTo>
                    <a:pt x="415" y="104"/>
                  </a:lnTo>
                  <a:lnTo>
                    <a:pt x="417" y="104"/>
                  </a:lnTo>
                  <a:lnTo>
                    <a:pt x="417" y="106"/>
                  </a:lnTo>
                  <a:lnTo>
                    <a:pt x="419" y="106"/>
                  </a:lnTo>
                  <a:lnTo>
                    <a:pt x="419" y="108"/>
                  </a:lnTo>
                  <a:lnTo>
                    <a:pt x="421" y="108"/>
                  </a:lnTo>
                  <a:lnTo>
                    <a:pt x="421" y="110"/>
                  </a:lnTo>
                  <a:lnTo>
                    <a:pt x="421" y="108"/>
                  </a:lnTo>
                  <a:lnTo>
                    <a:pt x="423" y="108"/>
                  </a:lnTo>
                  <a:lnTo>
                    <a:pt x="421" y="108"/>
                  </a:lnTo>
                  <a:lnTo>
                    <a:pt x="421" y="106"/>
                  </a:lnTo>
                  <a:lnTo>
                    <a:pt x="419" y="106"/>
                  </a:lnTo>
                  <a:lnTo>
                    <a:pt x="419" y="104"/>
                  </a:lnTo>
                  <a:lnTo>
                    <a:pt x="417" y="104"/>
                  </a:lnTo>
                  <a:lnTo>
                    <a:pt x="417" y="102"/>
                  </a:lnTo>
                  <a:lnTo>
                    <a:pt x="419" y="102"/>
                  </a:lnTo>
                  <a:lnTo>
                    <a:pt x="417" y="102"/>
                  </a:lnTo>
                  <a:lnTo>
                    <a:pt x="419" y="102"/>
                  </a:lnTo>
                  <a:lnTo>
                    <a:pt x="417" y="102"/>
                  </a:lnTo>
                  <a:lnTo>
                    <a:pt x="417" y="100"/>
                  </a:lnTo>
                  <a:lnTo>
                    <a:pt x="415" y="100"/>
                  </a:lnTo>
                  <a:lnTo>
                    <a:pt x="415" y="98"/>
                  </a:lnTo>
                  <a:lnTo>
                    <a:pt x="415" y="96"/>
                  </a:lnTo>
                  <a:lnTo>
                    <a:pt x="413" y="96"/>
                  </a:lnTo>
                  <a:lnTo>
                    <a:pt x="415" y="96"/>
                  </a:lnTo>
                  <a:lnTo>
                    <a:pt x="417" y="96"/>
                  </a:lnTo>
                  <a:lnTo>
                    <a:pt x="417" y="98"/>
                  </a:lnTo>
                  <a:lnTo>
                    <a:pt x="419" y="98"/>
                  </a:lnTo>
                  <a:lnTo>
                    <a:pt x="421" y="98"/>
                  </a:lnTo>
                  <a:lnTo>
                    <a:pt x="421" y="100"/>
                  </a:lnTo>
                  <a:lnTo>
                    <a:pt x="423" y="100"/>
                  </a:lnTo>
                  <a:lnTo>
                    <a:pt x="425" y="100"/>
                  </a:lnTo>
                  <a:lnTo>
                    <a:pt x="423" y="100"/>
                  </a:lnTo>
                  <a:lnTo>
                    <a:pt x="423" y="98"/>
                  </a:lnTo>
                  <a:lnTo>
                    <a:pt x="425" y="98"/>
                  </a:lnTo>
                  <a:lnTo>
                    <a:pt x="423" y="98"/>
                  </a:lnTo>
                  <a:lnTo>
                    <a:pt x="421" y="98"/>
                  </a:lnTo>
                  <a:lnTo>
                    <a:pt x="419" y="96"/>
                  </a:lnTo>
                  <a:lnTo>
                    <a:pt x="417" y="96"/>
                  </a:lnTo>
                  <a:lnTo>
                    <a:pt x="417" y="94"/>
                  </a:lnTo>
                  <a:lnTo>
                    <a:pt x="419" y="94"/>
                  </a:lnTo>
                  <a:lnTo>
                    <a:pt x="417" y="94"/>
                  </a:lnTo>
                  <a:lnTo>
                    <a:pt x="417" y="93"/>
                  </a:lnTo>
                  <a:lnTo>
                    <a:pt x="419" y="93"/>
                  </a:lnTo>
                  <a:lnTo>
                    <a:pt x="421" y="93"/>
                  </a:lnTo>
                  <a:lnTo>
                    <a:pt x="419" y="93"/>
                  </a:lnTo>
                  <a:lnTo>
                    <a:pt x="417" y="93"/>
                  </a:lnTo>
                  <a:lnTo>
                    <a:pt x="415" y="93"/>
                  </a:lnTo>
                  <a:lnTo>
                    <a:pt x="413" y="93"/>
                  </a:lnTo>
                  <a:lnTo>
                    <a:pt x="415" y="93"/>
                  </a:lnTo>
                  <a:lnTo>
                    <a:pt x="413" y="93"/>
                  </a:lnTo>
                  <a:lnTo>
                    <a:pt x="415" y="93"/>
                  </a:lnTo>
                  <a:lnTo>
                    <a:pt x="413" y="93"/>
                  </a:lnTo>
                  <a:lnTo>
                    <a:pt x="415" y="93"/>
                  </a:lnTo>
                  <a:lnTo>
                    <a:pt x="415" y="91"/>
                  </a:lnTo>
                  <a:lnTo>
                    <a:pt x="413" y="91"/>
                  </a:lnTo>
                  <a:lnTo>
                    <a:pt x="415" y="91"/>
                  </a:lnTo>
                  <a:lnTo>
                    <a:pt x="413" y="91"/>
                  </a:lnTo>
                  <a:lnTo>
                    <a:pt x="413" y="89"/>
                  </a:lnTo>
                  <a:lnTo>
                    <a:pt x="415" y="89"/>
                  </a:lnTo>
                  <a:lnTo>
                    <a:pt x="413" y="89"/>
                  </a:lnTo>
                  <a:lnTo>
                    <a:pt x="413" y="91"/>
                  </a:lnTo>
                  <a:lnTo>
                    <a:pt x="415" y="91"/>
                  </a:lnTo>
                  <a:lnTo>
                    <a:pt x="415" y="89"/>
                  </a:lnTo>
                  <a:lnTo>
                    <a:pt x="415" y="91"/>
                  </a:lnTo>
                  <a:lnTo>
                    <a:pt x="415" y="89"/>
                  </a:lnTo>
                  <a:lnTo>
                    <a:pt x="415" y="91"/>
                  </a:lnTo>
                  <a:lnTo>
                    <a:pt x="417" y="91"/>
                  </a:lnTo>
                  <a:lnTo>
                    <a:pt x="417" y="89"/>
                  </a:lnTo>
                  <a:lnTo>
                    <a:pt x="417" y="91"/>
                  </a:lnTo>
                  <a:lnTo>
                    <a:pt x="417" y="89"/>
                  </a:lnTo>
                  <a:lnTo>
                    <a:pt x="415" y="89"/>
                  </a:lnTo>
                  <a:lnTo>
                    <a:pt x="417" y="89"/>
                  </a:lnTo>
                  <a:lnTo>
                    <a:pt x="415" y="89"/>
                  </a:lnTo>
                  <a:lnTo>
                    <a:pt x="415" y="87"/>
                  </a:lnTo>
                  <a:lnTo>
                    <a:pt x="413" y="87"/>
                  </a:lnTo>
                  <a:lnTo>
                    <a:pt x="413" y="85"/>
                  </a:lnTo>
                  <a:lnTo>
                    <a:pt x="413" y="83"/>
                  </a:lnTo>
                  <a:lnTo>
                    <a:pt x="411" y="83"/>
                  </a:lnTo>
                  <a:lnTo>
                    <a:pt x="413" y="83"/>
                  </a:lnTo>
                  <a:lnTo>
                    <a:pt x="411" y="83"/>
                  </a:lnTo>
                  <a:lnTo>
                    <a:pt x="411" y="81"/>
                  </a:lnTo>
                  <a:lnTo>
                    <a:pt x="409" y="81"/>
                  </a:lnTo>
                  <a:lnTo>
                    <a:pt x="409" y="79"/>
                  </a:lnTo>
                  <a:lnTo>
                    <a:pt x="407" y="79"/>
                  </a:lnTo>
                  <a:lnTo>
                    <a:pt x="409" y="79"/>
                  </a:lnTo>
                  <a:lnTo>
                    <a:pt x="409" y="81"/>
                  </a:lnTo>
                  <a:lnTo>
                    <a:pt x="411" y="81"/>
                  </a:lnTo>
                  <a:lnTo>
                    <a:pt x="411" y="79"/>
                  </a:lnTo>
                  <a:lnTo>
                    <a:pt x="409" y="79"/>
                  </a:lnTo>
                  <a:lnTo>
                    <a:pt x="411" y="79"/>
                  </a:lnTo>
                  <a:lnTo>
                    <a:pt x="409" y="79"/>
                  </a:lnTo>
                  <a:lnTo>
                    <a:pt x="407" y="79"/>
                  </a:lnTo>
                  <a:lnTo>
                    <a:pt x="409" y="79"/>
                  </a:lnTo>
                  <a:lnTo>
                    <a:pt x="407" y="79"/>
                  </a:lnTo>
                  <a:lnTo>
                    <a:pt x="407" y="77"/>
                  </a:lnTo>
                  <a:lnTo>
                    <a:pt x="405" y="77"/>
                  </a:lnTo>
                  <a:lnTo>
                    <a:pt x="407" y="77"/>
                  </a:lnTo>
                  <a:lnTo>
                    <a:pt x="405" y="77"/>
                  </a:lnTo>
                  <a:lnTo>
                    <a:pt x="407" y="77"/>
                  </a:lnTo>
                  <a:lnTo>
                    <a:pt x="405" y="77"/>
                  </a:lnTo>
                  <a:lnTo>
                    <a:pt x="407" y="77"/>
                  </a:lnTo>
                  <a:lnTo>
                    <a:pt x="405" y="77"/>
                  </a:lnTo>
                  <a:lnTo>
                    <a:pt x="405" y="75"/>
                  </a:lnTo>
                  <a:lnTo>
                    <a:pt x="405" y="73"/>
                  </a:lnTo>
                  <a:lnTo>
                    <a:pt x="405" y="75"/>
                  </a:lnTo>
                  <a:lnTo>
                    <a:pt x="407" y="75"/>
                  </a:lnTo>
                  <a:lnTo>
                    <a:pt x="407" y="73"/>
                  </a:lnTo>
                  <a:lnTo>
                    <a:pt x="405" y="73"/>
                  </a:lnTo>
                  <a:lnTo>
                    <a:pt x="407" y="73"/>
                  </a:lnTo>
                  <a:lnTo>
                    <a:pt x="405" y="73"/>
                  </a:lnTo>
                  <a:lnTo>
                    <a:pt x="405" y="71"/>
                  </a:lnTo>
                  <a:lnTo>
                    <a:pt x="405" y="73"/>
                  </a:lnTo>
                  <a:lnTo>
                    <a:pt x="405" y="71"/>
                  </a:lnTo>
                  <a:lnTo>
                    <a:pt x="407" y="71"/>
                  </a:lnTo>
                  <a:lnTo>
                    <a:pt x="407" y="70"/>
                  </a:lnTo>
                  <a:lnTo>
                    <a:pt x="407" y="71"/>
                  </a:lnTo>
                  <a:lnTo>
                    <a:pt x="407" y="70"/>
                  </a:lnTo>
                  <a:lnTo>
                    <a:pt x="407" y="71"/>
                  </a:lnTo>
                  <a:lnTo>
                    <a:pt x="409" y="71"/>
                  </a:lnTo>
                  <a:lnTo>
                    <a:pt x="407" y="70"/>
                  </a:lnTo>
                  <a:lnTo>
                    <a:pt x="409" y="70"/>
                  </a:lnTo>
                  <a:lnTo>
                    <a:pt x="407" y="70"/>
                  </a:lnTo>
                  <a:lnTo>
                    <a:pt x="409" y="70"/>
                  </a:lnTo>
                  <a:lnTo>
                    <a:pt x="409" y="68"/>
                  </a:lnTo>
                  <a:lnTo>
                    <a:pt x="409" y="70"/>
                  </a:lnTo>
                  <a:lnTo>
                    <a:pt x="407" y="68"/>
                  </a:lnTo>
                  <a:lnTo>
                    <a:pt x="409" y="68"/>
                  </a:lnTo>
                  <a:lnTo>
                    <a:pt x="409" y="70"/>
                  </a:lnTo>
                  <a:lnTo>
                    <a:pt x="409" y="68"/>
                  </a:lnTo>
                  <a:lnTo>
                    <a:pt x="407" y="68"/>
                  </a:lnTo>
                  <a:lnTo>
                    <a:pt x="409" y="68"/>
                  </a:lnTo>
                  <a:lnTo>
                    <a:pt x="407" y="68"/>
                  </a:lnTo>
                  <a:lnTo>
                    <a:pt x="407" y="66"/>
                  </a:lnTo>
                  <a:lnTo>
                    <a:pt x="409" y="66"/>
                  </a:lnTo>
                  <a:lnTo>
                    <a:pt x="409" y="68"/>
                  </a:lnTo>
                  <a:lnTo>
                    <a:pt x="411" y="68"/>
                  </a:lnTo>
                  <a:lnTo>
                    <a:pt x="411" y="66"/>
                  </a:lnTo>
                  <a:lnTo>
                    <a:pt x="409" y="66"/>
                  </a:lnTo>
                  <a:lnTo>
                    <a:pt x="409" y="64"/>
                  </a:lnTo>
                  <a:lnTo>
                    <a:pt x="409" y="66"/>
                  </a:lnTo>
                  <a:lnTo>
                    <a:pt x="409" y="64"/>
                  </a:lnTo>
                  <a:lnTo>
                    <a:pt x="409" y="66"/>
                  </a:lnTo>
                  <a:lnTo>
                    <a:pt x="409" y="64"/>
                  </a:lnTo>
                  <a:lnTo>
                    <a:pt x="411" y="64"/>
                  </a:lnTo>
                  <a:lnTo>
                    <a:pt x="411" y="66"/>
                  </a:lnTo>
                  <a:lnTo>
                    <a:pt x="411" y="64"/>
                  </a:lnTo>
                  <a:lnTo>
                    <a:pt x="413" y="64"/>
                  </a:lnTo>
                  <a:lnTo>
                    <a:pt x="415" y="64"/>
                  </a:lnTo>
                  <a:lnTo>
                    <a:pt x="413" y="64"/>
                  </a:lnTo>
                  <a:lnTo>
                    <a:pt x="413" y="62"/>
                  </a:lnTo>
                  <a:lnTo>
                    <a:pt x="413" y="64"/>
                  </a:lnTo>
                  <a:lnTo>
                    <a:pt x="413" y="62"/>
                  </a:lnTo>
                  <a:lnTo>
                    <a:pt x="411" y="62"/>
                  </a:lnTo>
                  <a:lnTo>
                    <a:pt x="413" y="62"/>
                  </a:lnTo>
                  <a:lnTo>
                    <a:pt x="411" y="62"/>
                  </a:lnTo>
                  <a:lnTo>
                    <a:pt x="409" y="62"/>
                  </a:lnTo>
                  <a:lnTo>
                    <a:pt x="411" y="62"/>
                  </a:lnTo>
                  <a:lnTo>
                    <a:pt x="409" y="62"/>
                  </a:lnTo>
                  <a:lnTo>
                    <a:pt x="411" y="62"/>
                  </a:lnTo>
                  <a:lnTo>
                    <a:pt x="409" y="62"/>
                  </a:lnTo>
                  <a:lnTo>
                    <a:pt x="411" y="62"/>
                  </a:lnTo>
                  <a:lnTo>
                    <a:pt x="411" y="60"/>
                  </a:lnTo>
                  <a:lnTo>
                    <a:pt x="413" y="60"/>
                  </a:lnTo>
                  <a:lnTo>
                    <a:pt x="413" y="62"/>
                  </a:lnTo>
                  <a:lnTo>
                    <a:pt x="413" y="60"/>
                  </a:lnTo>
                  <a:lnTo>
                    <a:pt x="411" y="60"/>
                  </a:lnTo>
                  <a:lnTo>
                    <a:pt x="411" y="58"/>
                  </a:lnTo>
                  <a:lnTo>
                    <a:pt x="413" y="58"/>
                  </a:lnTo>
                  <a:lnTo>
                    <a:pt x="413" y="60"/>
                  </a:lnTo>
                  <a:lnTo>
                    <a:pt x="415" y="60"/>
                  </a:lnTo>
                  <a:lnTo>
                    <a:pt x="417" y="60"/>
                  </a:lnTo>
                  <a:lnTo>
                    <a:pt x="415" y="60"/>
                  </a:lnTo>
                  <a:lnTo>
                    <a:pt x="415" y="58"/>
                  </a:lnTo>
                  <a:lnTo>
                    <a:pt x="413" y="58"/>
                  </a:lnTo>
                  <a:lnTo>
                    <a:pt x="411" y="58"/>
                  </a:lnTo>
                  <a:lnTo>
                    <a:pt x="411" y="56"/>
                  </a:lnTo>
                  <a:lnTo>
                    <a:pt x="413" y="56"/>
                  </a:lnTo>
                  <a:lnTo>
                    <a:pt x="413" y="58"/>
                  </a:lnTo>
                  <a:lnTo>
                    <a:pt x="413" y="56"/>
                  </a:lnTo>
                  <a:lnTo>
                    <a:pt x="411" y="56"/>
                  </a:lnTo>
                  <a:lnTo>
                    <a:pt x="413" y="56"/>
                  </a:lnTo>
                  <a:lnTo>
                    <a:pt x="411" y="56"/>
                  </a:lnTo>
                  <a:lnTo>
                    <a:pt x="409" y="56"/>
                  </a:lnTo>
                  <a:lnTo>
                    <a:pt x="411" y="56"/>
                  </a:lnTo>
                  <a:lnTo>
                    <a:pt x="409" y="56"/>
                  </a:lnTo>
                  <a:lnTo>
                    <a:pt x="409" y="54"/>
                  </a:lnTo>
                  <a:lnTo>
                    <a:pt x="409" y="56"/>
                  </a:lnTo>
                  <a:lnTo>
                    <a:pt x="411" y="56"/>
                  </a:lnTo>
                  <a:lnTo>
                    <a:pt x="411" y="54"/>
                  </a:lnTo>
                  <a:lnTo>
                    <a:pt x="411" y="56"/>
                  </a:lnTo>
                  <a:lnTo>
                    <a:pt x="411" y="54"/>
                  </a:lnTo>
                  <a:lnTo>
                    <a:pt x="409" y="54"/>
                  </a:lnTo>
                  <a:lnTo>
                    <a:pt x="409" y="52"/>
                  </a:lnTo>
                  <a:lnTo>
                    <a:pt x="409" y="54"/>
                  </a:lnTo>
                  <a:lnTo>
                    <a:pt x="409" y="52"/>
                  </a:lnTo>
                  <a:lnTo>
                    <a:pt x="409" y="54"/>
                  </a:lnTo>
                  <a:lnTo>
                    <a:pt x="409" y="52"/>
                  </a:lnTo>
                  <a:lnTo>
                    <a:pt x="411" y="52"/>
                  </a:lnTo>
                  <a:lnTo>
                    <a:pt x="411" y="54"/>
                  </a:lnTo>
                  <a:lnTo>
                    <a:pt x="411" y="52"/>
                  </a:lnTo>
                  <a:lnTo>
                    <a:pt x="411" y="54"/>
                  </a:lnTo>
                  <a:lnTo>
                    <a:pt x="411" y="52"/>
                  </a:lnTo>
                  <a:lnTo>
                    <a:pt x="409" y="52"/>
                  </a:lnTo>
                  <a:lnTo>
                    <a:pt x="411" y="52"/>
                  </a:lnTo>
                  <a:lnTo>
                    <a:pt x="413" y="52"/>
                  </a:lnTo>
                  <a:lnTo>
                    <a:pt x="411" y="52"/>
                  </a:lnTo>
                  <a:lnTo>
                    <a:pt x="411" y="50"/>
                  </a:lnTo>
                  <a:lnTo>
                    <a:pt x="409" y="50"/>
                  </a:lnTo>
                  <a:lnTo>
                    <a:pt x="409" y="48"/>
                  </a:lnTo>
                  <a:lnTo>
                    <a:pt x="409" y="50"/>
                  </a:lnTo>
                  <a:lnTo>
                    <a:pt x="411" y="50"/>
                  </a:lnTo>
                  <a:lnTo>
                    <a:pt x="409" y="50"/>
                  </a:lnTo>
                  <a:lnTo>
                    <a:pt x="411" y="50"/>
                  </a:lnTo>
                  <a:lnTo>
                    <a:pt x="409" y="50"/>
                  </a:lnTo>
                  <a:lnTo>
                    <a:pt x="409" y="48"/>
                  </a:lnTo>
                  <a:lnTo>
                    <a:pt x="411" y="48"/>
                  </a:lnTo>
                  <a:lnTo>
                    <a:pt x="413" y="48"/>
                  </a:lnTo>
                  <a:lnTo>
                    <a:pt x="413" y="50"/>
                  </a:lnTo>
                  <a:lnTo>
                    <a:pt x="413" y="48"/>
                  </a:lnTo>
                  <a:lnTo>
                    <a:pt x="411" y="48"/>
                  </a:lnTo>
                  <a:lnTo>
                    <a:pt x="411" y="46"/>
                  </a:lnTo>
                  <a:lnTo>
                    <a:pt x="409" y="46"/>
                  </a:lnTo>
                  <a:lnTo>
                    <a:pt x="409" y="45"/>
                  </a:lnTo>
                  <a:lnTo>
                    <a:pt x="411" y="45"/>
                  </a:lnTo>
                  <a:lnTo>
                    <a:pt x="411" y="46"/>
                  </a:lnTo>
                  <a:lnTo>
                    <a:pt x="411" y="45"/>
                  </a:lnTo>
                  <a:lnTo>
                    <a:pt x="411" y="46"/>
                  </a:lnTo>
                  <a:lnTo>
                    <a:pt x="413" y="46"/>
                  </a:lnTo>
                  <a:lnTo>
                    <a:pt x="413" y="48"/>
                  </a:lnTo>
                  <a:lnTo>
                    <a:pt x="413" y="46"/>
                  </a:lnTo>
                  <a:lnTo>
                    <a:pt x="411" y="46"/>
                  </a:lnTo>
                  <a:lnTo>
                    <a:pt x="411" y="45"/>
                  </a:lnTo>
                  <a:lnTo>
                    <a:pt x="411" y="46"/>
                  </a:lnTo>
                  <a:lnTo>
                    <a:pt x="411" y="45"/>
                  </a:lnTo>
                  <a:lnTo>
                    <a:pt x="411" y="43"/>
                  </a:lnTo>
                  <a:lnTo>
                    <a:pt x="413" y="43"/>
                  </a:lnTo>
                  <a:lnTo>
                    <a:pt x="413" y="41"/>
                  </a:lnTo>
                  <a:lnTo>
                    <a:pt x="413" y="43"/>
                  </a:lnTo>
                  <a:lnTo>
                    <a:pt x="413" y="41"/>
                  </a:lnTo>
                  <a:lnTo>
                    <a:pt x="411" y="41"/>
                  </a:lnTo>
                  <a:lnTo>
                    <a:pt x="413" y="41"/>
                  </a:lnTo>
                  <a:lnTo>
                    <a:pt x="411" y="41"/>
                  </a:lnTo>
                  <a:lnTo>
                    <a:pt x="409" y="41"/>
                  </a:lnTo>
                  <a:lnTo>
                    <a:pt x="411" y="41"/>
                  </a:lnTo>
                  <a:lnTo>
                    <a:pt x="409" y="41"/>
                  </a:lnTo>
                  <a:lnTo>
                    <a:pt x="409" y="39"/>
                  </a:lnTo>
                  <a:lnTo>
                    <a:pt x="409" y="41"/>
                  </a:lnTo>
                  <a:lnTo>
                    <a:pt x="409" y="39"/>
                  </a:lnTo>
                  <a:lnTo>
                    <a:pt x="409" y="41"/>
                  </a:lnTo>
                  <a:lnTo>
                    <a:pt x="409" y="39"/>
                  </a:lnTo>
                  <a:lnTo>
                    <a:pt x="409" y="37"/>
                  </a:lnTo>
                  <a:lnTo>
                    <a:pt x="409" y="39"/>
                  </a:lnTo>
                  <a:lnTo>
                    <a:pt x="411" y="39"/>
                  </a:lnTo>
                  <a:lnTo>
                    <a:pt x="409" y="39"/>
                  </a:lnTo>
                  <a:lnTo>
                    <a:pt x="409" y="37"/>
                  </a:lnTo>
                  <a:lnTo>
                    <a:pt x="411" y="37"/>
                  </a:lnTo>
                  <a:lnTo>
                    <a:pt x="411" y="35"/>
                  </a:lnTo>
                  <a:lnTo>
                    <a:pt x="411" y="37"/>
                  </a:lnTo>
                  <a:lnTo>
                    <a:pt x="411" y="35"/>
                  </a:lnTo>
                  <a:lnTo>
                    <a:pt x="413" y="35"/>
                  </a:lnTo>
                  <a:lnTo>
                    <a:pt x="413" y="37"/>
                  </a:lnTo>
                  <a:lnTo>
                    <a:pt x="413" y="35"/>
                  </a:lnTo>
                  <a:lnTo>
                    <a:pt x="411" y="35"/>
                  </a:lnTo>
                  <a:lnTo>
                    <a:pt x="411" y="33"/>
                  </a:lnTo>
                  <a:lnTo>
                    <a:pt x="411" y="35"/>
                  </a:lnTo>
                  <a:lnTo>
                    <a:pt x="411" y="33"/>
                  </a:lnTo>
                  <a:lnTo>
                    <a:pt x="411" y="35"/>
                  </a:lnTo>
                  <a:lnTo>
                    <a:pt x="409" y="35"/>
                  </a:lnTo>
                  <a:lnTo>
                    <a:pt x="409" y="33"/>
                  </a:lnTo>
                  <a:lnTo>
                    <a:pt x="411" y="33"/>
                  </a:lnTo>
                  <a:lnTo>
                    <a:pt x="409" y="33"/>
                  </a:lnTo>
                  <a:lnTo>
                    <a:pt x="409" y="31"/>
                  </a:lnTo>
                  <a:lnTo>
                    <a:pt x="409" y="33"/>
                  </a:lnTo>
                  <a:lnTo>
                    <a:pt x="411" y="33"/>
                  </a:lnTo>
                  <a:lnTo>
                    <a:pt x="411" y="31"/>
                  </a:lnTo>
                  <a:lnTo>
                    <a:pt x="409" y="31"/>
                  </a:lnTo>
                  <a:lnTo>
                    <a:pt x="411" y="31"/>
                  </a:lnTo>
                  <a:lnTo>
                    <a:pt x="411" y="33"/>
                  </a:lnTo>
                  <a:lnTo>
                    <a:pt x="413" y="33"/>
                  </a:lnTo>
                  <a:lnTo>
                    <a:pt x="411" y="33"/>
                  </a:lnTo>
                  <a:lnTo>
                    <a:pt x="411" y="31"/>
                  </a:lnTo>
                  <a:lnTo>
                    <a:pt x="411" y="33"/>
                  </a:lnTo>
                  <a:lnTo>
                    <a:pt x="411" y="31"/>
                  </a:lnTo>
                  <a:lnTo>
                    <a:pt x="413" y="31"/>
                  </a:lnTo>
                  <a:lnTo>
                    <a:pt x="413" y="33"/>
                  </a:lnTo>
                  <a:lnTo>
                    <a:pt x="413" y="31"/>
                  </a:lnTo>
                  <a:lnTo>
                    <a:pt x="413" y="33"/>
                  </a:lnTo>
                  <a:lnTo>
                    <a:pt x="415" y="33"/>
                  </a:lnTo>
                  <a:lnTo>
                    <a:pt x="415" y="31"/>
                  </a:lnTo>
                  <a:lnTo>
                    <a:pt x="415" y="33"/>
                  </a:lnTo>
                  <a:lnTo>
                    <a:pt x="417" y="33"/>
                  </a:lnTo>
                  <a:lnTo>
                    <a:pt x="417" y="31"/>
                  </a:lnTo>
                  <a:lnTo>
                    <a:pt x="415" y="31"/>
                  </a:lnTo>
                  <a:lnTo>
                    <a:pt x="413" y="31"/>
                  </a:lnTo>
                  <a:lnTo>
                    <a:pt x="415" y="31"/>
                  </a:lnTo>
                  <a:lnTo>
                    <a:pt x="417" y="31"/>
                  </a:lnTo>
                  <a:lnTo>
                    <a:pt x="419" y="31"/>
                  </a:lnTo>
                  <a:lnTo>
                    <a:pt x="417" y="31"/>
                  </a:lnTo>
                  <a:lnTo>
                    <a:pt x="417" y="33"/>
                  </a:lnTo>
                  <a:lnTo>
                    <a:pt x="415" y="33"/>
                  </a:lnTo>
                  <a:lnTo>
                    <a:pt x="415" y="35"/>
                  </a:lnTo>
                  <a:lnTo>
                    <a:pt x="413" y="35"/>
                  </a:lnTo>
                  <a:lnTo>
                    <a:pt x="413" y="37"/>
                  </a:lnTo>
                  <a:lnTo>
                    <a:pt x="411" y="37"/>
                  </a:lnTo>
                  <a:lnTo>
                    <a:pt x="411" y="39"/>
                  </a:lnTo>
                  <a:lnTo>
                    <a:pt x="411" y="41"/>
                  </a:lnTo>
                  <a:lnTo>
                    <a:pt x="413" y="41"/>
                  </a:lnTo>
                  <a:lnTo>
                    <a:pt x="415" y="41"/>
                  </a:lnTo>
                  <a:lnTo>
                    <a:pt x="417" y="41"/>
                  </a:lnTo>
                  <a:lnTo>
                    <a:pt x="417" y="43"/>
                  </a:lnTo>
                  <a:lnTo>
                    <a:pt x="419" y="41"/>
                  </a:lnTo>
                  <a:lnTo>
                    <a:pt x="421" y="41"/>
                  </a:lnTo>
                  <a:lnTo>
                    <a:pt x="423" y="43"/>
                  </a:lnTo>
                  <a:lnTo>
                    <a:pt x="421" y="45"/>
                  </a:lnTo>
                  <a:lnTo>
                    <a:pt x="419" y="45"/>
                  </a:lnTo>
                  <a:lnTo>
                    <a:pt x="417" y="45"/>
                  </a:lnTo>
                  <a:lnTo>
                    <a:pt x="417" y="46"/>
                  </a:lnTo>
                  <a:lnTo>
                    <a:pt x="419" y="46"/>
                  </a:lnTo>
                  <a:lnTo>
                    <a:pt x="421" y="46"/>
                  </a:lnTo>
                  <a:lnTo>
                    <a:pt x="419" y="48"/>
                  </a:lnTo>
                  <a:lnTo>
                    <a:pt x="417" y="48"/>
                  </a:lnTo>
                  <a:lnTo>
                    <a:pt x="417" y="50"/>
                  </a:lnTo>
                  <a:lnTo>
                    <a:pt x="415" y="50"/>
                  </a:lnTo>
                  <a:lnTo>
                    <a:pt x="417" y="50"/>
                  </a:lnTo>
                  <a:lnTo>
                    <a:pt x="417" y="52"/>
                  </a:lnTo>
                  <a:lnTo>
                    <a:pt x="419" y="52"/>
                  </a:lnTo>
                  <a:lnTo>
                    <a:pt x="419" y="54"/>
                  </a:lnTo>
                  <a:lnTo>
                    <a:pt x="421" y="54"/>
                  </a:lnTo>
                  <a:lnTo>
                    <a:pt x="421" y="52"/>
                  </a:lnTo>
                  <a:lnTo>
                    <a:pt x="423" y="52"/>
                  </a:lnTo>
                  <a:lnTo>
                    <a:pt x="423" y="54"/>
                  </a:lnTo>
                  <a:lnTo>
                    <a:pt x="425" y="52"/>
                  </a:lnTo>
                  <a:lnTo>
                    <a:pt x="425" y="54"/>
                  </a:lnTo>
                  <a:lnTo>
                    <a:pt x="427" y="54"/>
                  </a:lnTo>
                  <a:lnTo>
                    <a:pt x="427" y="56"/>
                  </a:lnTo>
                  <a:lnTo>
                    <a:pt x="427" y="58"/>
                  </a:lnTo>
                  <a:lnTo>
                    <a:pt x="425" y="58"/>
                  </a:lnTo>
                  <a:lnTo>
                    <a:pt x="425" y="60"/>
                  </a:lnTo>
                  <a:lnTo>
                    <a:pt x="425" y="62"/>
                  </a:lnTo>
                  <a:lnTo>
                    <a:pt x="423" y="62"/>
                  </a:lnTo>
                  <a:lnTo>
                    <a:pt x="425" y="62"/>
                  </a:lnTo>
                  <a:lnTo>
                    <a:pt x="425" y="64"/>
                  </a:lnTo>
                  <a:lnTo>
                    <a:pt x="427" y="66"/>
                  </a:lnTo>
                  <a:lnTo>
                    <a:pt x="427" y="68"/>
                  </a:lnTo>
                  <a:lnTo>
                    <a:pt x="428" y="68"/>
                  </a:lnTo>
                  <a:lnTo>
                    <a:pt x="428" y="70"/>
                  </a:lnTo>
                  <a:lnTo>
                    <a:pt x="427" y="70"/>
                  </a:lnTo>
                  <a:lnTo>
                    <a:pt x="427" y="71"/>
                  </a:lnTo>
                  <a:lnTo>
                    <a:pt x="427" y="73"/>
                  </a:lnTo>
                  <a:lnTo>
                    <a:pt x="427" y="75"/>
                  </a:lnTo>
                  <a:lnTo>
                    <a:pt x="428" y="75"/>
                  </a:lnTo>
                  <a:lnTo>
                    <a:pt x="427" y="77"/>
                  </a:lnTo>
                  <a:lnTo>
                    <a:pt x="428" y="77"/>
                  </a:lnTo>
                  <a:lnTo>
                    <a:pt x="428" y="79"/>
                  </a:lnTo>
                  <a:lnTo>
                    <a:pt x="430" y="77"/>
                  </a:lnTo>
                  <a:lnTo>
                    <a:pt x="432" y="77"/>
                  </a:lnTo>
                  <a:lnTo>
                    <a:pt x="432" y="79"/>
                  </a:lnTo>
                  <a:lnTo>
                    <a:pt x="434" y="79"/>
                  </a:lnTo>
                  <a:lnTo>
                    <a:pt x="434" y="81"/>
                  </a:lnTo>
                  <a:lnTo>
                    <a:pt x="436" y="81"/>
                  </a:lnTo>
                  <a:lnTo>
                    <a:pt x="438" y="81"/>
                  </a:lnTo>
                  <a:lnTo>
                    <a:pt x="438" y="79"/>
                  </a:lnTo>
                  <a:lnTo>
                    <a:pt x="440" y="79"/>
                  </a:lnTo>
                  <a:lnTo>
                    <a:pt x="440" y="77"/>
                  </a:lnTo>
                  <a:lnTo>
                    <a:pt x="440" y="75"/>
                  </a:lnTo>
                  <a:lnTo>
                    <a:pt x="442" y="73"/>
                  </a:lnTo>
                  <a:lnTo>
                    <a:pt x="444" y="73"/>
                  </a:lnTo>
                  <a:lnTo>
                    <a:pt x="446" y="73"/>
                  </a:lnTo>
                  <a:lnTo>
                    <a:pt x="446" y="75"/>
                  </a:lnTo>
                  <a:lnTo>
                    <a:pt x="444" y="75"/>
                  </a:lnTo>
                  <a:lnTo>
                    <a:pt x="444" y="77"/>
                  </a:lnTo>
                  <a:lnTo>
                    <a:pt x="444" y="79"/>
                  </a:lnTo>
                  <a:lnTo>
                    <a:pt x="442" y="79"/>
                  </a:lnTo>
                  <a:lnTo>
                    <a:pt x="442" y="81"/>
                  </a:lnTo>
                  <a:lnTo>
                    <a:pt x="444" y="81"/>
                  </a:lnTo>
                  <a:lnTo>
                    <a:pt x="442" y="81"/>
                  </a:lnTo>
                  <a:lnTo>
                    <a:pt x="442" y="83"/>
                  </a:lnTo>
                  <a:lnTo>
                    <a:pt x="444" y="83"/>
                  </a:lnTo>
                  <a:lnTo>
                    <a:pt x="444" y="85"/>
                  </a:lnTo>
                  <a:lnTo>
                    <a:pt x="446" y="85"/>
                  </a:lnTo>
                  <a:lnTo>
                    <a:pt x="444" y="85"/>
                  </a:lnTo>
                  <a:lnTo>
                    <a:pt x="444" y="87"/>
                  </a:lnTo>
                  <a:lnTo>
                    <a:pt x="446" y="89"/>
                  </a:lnTo>
                  <a:lnTo>
                    <a:pt x="448" y="89"/>
                  </a:lnTo>
                  <a:lnTo>
                    <a:pt x="448" y="91"/>
                  </a:lnTo>
                  <a:lnTo>
                    <a:pt x="448" y="93"/>
                  </a:lnTo>
                  <a:lnTo>
                    <a:pt x="450" y="93"/>
                  </a:lnTo>
                  <a:lnTo>
                    <a:pt x="450" y="94"/>
                  </a:lnTo>
                  <a:lnTo>
                    <a:pt x="450" y="96"/>
                  </a:lnTo>
                  <a:lnTo>
                    <a:pt x="451" y="96"/>
                  </a:lnTo>
                  <a:lnTo>
                    <a:pt x="451" y="98"/>
                  </a:lnTo>
                  <a:lnTo>
                    <a:pt x="453" y="98"/>
                  </a:lnTo>
                  <a:lnTo>
                    <a:pt x="455" y="96"/>
                  </a:lnTo>
                  <a:lnTo>
                    <a:pt x="455" y="98"/>
                  </a:lnTo>
                  <a:lnTo>
                    <a:pt x="457" y="98"/>
                  </a:lnTo>
                  <a:lnTo>
                    <a:pt x="459" y="98"/>
                  </a:lnTo>
                  <a:lnTo>
                    <a:pt x="459" y="100"/>
                  </a:lnTo>
                  <a:lnTo>
                    <a:pt x="461" y="100"/>
                  </a:lnTo>
                  <a:lnTo>
                    <a:pt x="459" y="100"/>
                  </a:lnTo>
                  <a:lnTo>
                    <a:pt x="457" y="102"/>
                  </a:lnTo>
                  <a:lnTo>
                    <a:pt x="455" y="104"/>
                  </a:lnTo>
                  <a:lnTo>
                    <a:pt x="453" y="102"/>
                  </a:lnTo>
                  <a:lnTo>
                    <a:pt x="453" y="104"/>
                  </a:lnTo>
                  <a:lnTo>
                    <a:pt x="451" y="104"/>
                  </a:lnTo>
                  <a:lnTo>
                    <a:pt x="450" y="104"/>
                  </a:lnTo>
                  <a:lnTo>
                    <a:pt x="448" y="104"/>
                  </a:lnTo>
                  <a:lnTo>
                    <a:pt x="446" y="102"/>
                  </a:lnTo>
                  <a:lnTo>
                    <a:pt x="444" y="104"/>
                  </a:lnTo>
                  <a:lnTo>
                    <a:pt x="444" y="106"/>
                  </a:lnTo>
                  <a:lnTo>
                    <a:pt x="444" y="108"/>
                  </a:lnTo>
                  <a:lnTo>
                    <a:pt x="442" y="108"/>
                  </a:lnTo>
                  <a:lnTo>
                    <a:pt x="444" y="108"/>
                  </a:lnTo>
                  <a:lnTo>
                    <a:pt x="444" y="110"/>
                  </a:lnTo>
                  <a:lnTo>
                    <a:pt x="446" y="110"/>
                  </a:lnTo>
                  <a:lnTo>
                    <a:pt x="444" y="112"/>
                  </a:lnTo>
                  <a:lnTo>
                    <a:pt x="446" y="112"/>
                  </a:lnTo>
                  <a:lnTo>
                    <a:pt x="446" y="114"/>
                  </a:lnTo>
                  <a:lnTo>
                    <a:pt x="448" y="112"/>
                  </a:lnTo>
                  <a:lnTo>
                    <a:pt x="448" y="110"/>
                  </a:lnTo>
                  <a:lnTo>
                    <a:pt x="450" y="110"/>
                  </a:lnTo>
                  <a:lnTo>
                    <a:pt x="451" y="110"/>
                  </a:lnTo>
                  <a:lnTo>
                    <a:pt x="453" y="110"/>
                  </a:lnTo>
                  <a:lnTo>
                    <a:pt x="455" y="110"/>
                  </a:lnTo>
                  <a:lnTo>
                    <a:pt x="455" y="112"/>
                  </a:lnTo>
                  <a:lnTo>
                    <a:pt x="455" y="110"/>
                  </a:lnTo>
                  <a:lnTo>
                    <a:pt x="457" y="110"/>
                  </a:lnTo>
                  <a:lnTo>
                    <a:pt x="457" y="108"/>
                  </a:lnTo>
                  <a:lnTo>
                    <a:pt x="459" y="110"/>
                  </a:lnTo>
                  <a:lnTo>
                    <a:pt x="459" y="108"/>
                  </a:lnTo>
                  <a:lnTo>
                    <a:pt x="461" y="108"/>
                  </a:lnTo>
                  <a:lnTo>
                    <a:pt x="463" y="106"/>
                  </a:lnTo>
                  <a:lnTo>
                    <a:pt x="463" y="108"/>
                  </a:lnTo>
                  <a:lnTo>
                    <a:pt x="465" y="108"/>
                  </a:lnTo>
                  <a:lnTo>
                    <a:pt x="465" y="110"/>
                  </a:lnTo>
                  <a:lnTo>
                    <a:pt x="467" y="112"/>
                  </a:lnTo>
                  <a:lnTo>
                    <a:pt x="469" y="112"/>
                  </a:lnTo>
                  <a:lnTo>
                    <a:pt x="471" y="114"/>
                  </a:lnTo>
                  <a:lnTo>
                    <a:pt x="471" y="112"/>
                  </a:lnTo>
                  <a:lnTo>
                    <a:pt x="473" y="112"/>
                  </a:lnTo>
                  <a:lnTo>
                    <a:pt x="471" y="110"/>
                  </a:lnTo>
                  <a:lnTo>
                    <a:pt x="473" y="110"/>
                  </a:lnTo>
                  <a:lnTo>
                    <a:pt x="473" y="108"/>
                  </a:lnTo>
                  <a:lnTo>
                    <a:pt x="473" y="106"/>
                  </a:lnTo>
                  <a:lnTo>
                    <a:pt x="475" y="106"/>
                  </a:lnTo>
                  <a:lnTo>
                    <a:pt x="475" y="104"/>
                  </a:lnTo>
                  <a:lnTo>
                    <a:pt x="476" y="104"/>
                  </a:lnTo>
                  <a:lnTo>
                    <a:pt x="478" y="104"/>
                  </a:lnTo>
                  <a:lnTo>
                    <a:pt x="478" y="102"/>
                  </a:lnTo>
                  <a:lnTo>
                    <a:pt x="478" y="100"/>
                  </a:lnTo>
                  <a:lnTo>
                    <a:pt x="480" y="100"/>
                  </a:lnTo>
                  <a:lnTo>
                    <a:pt x="482" y="100"/>
                  </a:lnTo>
                  <a:lnTo>
                    <a:pt x="484" y="100"/>
                  </a:lnTo>
                  <a:lnTo>
                    <a:pt x="486" y="100"/>
                  </a:lnTo>
                  <a:lnTo>
                    <a:pt x="488" y="102"/>
                  </a:lnTo>
                  <a:lnTo>
                    <a:pt x="488" y="104"/>
                  </a:lnTo>
                  <a:lnTo>
                    <a:pt x="490" y="104"/>
                  </a:lnTo>
                  <a:lnTo>
                    <a:pt x="488" y="106"/>
                  </a:lnTo>
                  <a:lnTo>
                    <a:pt x="486" y="108"/>
                  </a:lnTo>
                  <a:lnTo>
                    <a:pt x="484" y="108"/>
                  </a:lnTo>
                  <a:lnTo>
                    <a:pt x="484" y="110"/>
                  </a:lnTo>
                  <a:lnTo>
                    <a:pt x="482" y="110"/>
                  </a:lnTo>
                  <a:lnTo>
                    <a:pt x="482" y="112"/>
                  </a:lnTo>
                  <a:lnTo>
                    <a:pt x="480" y="110"/>
                  </a:lnTo>
                  <a:lnTo>
                    <a:pt x="480" y="112"/>
                  </a:lnTo>
                  <a:lnTo>
                    <a:pt x="478" y="112"/>
                  </a:lnTo>
                  <a:lnTo>
                    <a:pt x="478" y="114"/>
                  </a:lnTo>
                  <a:lnTo>
                    <a:pt x="476" y="114"/>
                  </a:lnTo>
                  <a:lnTo>
                    <a:pt x="475" y="114"/>
                  </a:lnTo>
                  <a:lnTo>
                    <a:pt x="475" y="116"/>
                  </a:lnTo>
                  <a:lnTo>
                    <a:pt x="475" y="118"/>
                  </a:lnTo>
                  <a:lnTo>
                    <a:pt x="475" y="119"/>
                  </a:lnTo>
                  <a:lnTo>
                    <a:pt x="475" y="121"/>
                  </a:lnTo>
                  <a:lnTo>
                    <a:pt x="476" y="121"/>
                  </a:lnTo>
                  <a:lnTo>
                    <a:pt x="476" y="123"/>
                  </a:lnTo>
                  <a:lnTo>
                    <a:pt x="478" y="123"/>
                  </a:lnTo>
                  <a:lnTo>
                    <a:pt x="480" y="125"/>
                  </a:lnTo>
                  <a:lnTo>
                    <a:pt x="480" y="123"/>
                  </a:lnTo>
                  <a:lnTo>
                    <a:pt x="482" y="121"/>
                  </a:lnTo>
                  <a:lnTo>
                    <a:pt x="480" y="121"/>
                  </a:lnTo>
                  <a:lnTo>
                    <a:pt x="482" y="119"/>
                  </a:lnTo>
                  <a:lnTo>
                    <a:pt x="484" y="119"/>
                  </a:lnTo>
                  <a:lnTo>
                    <a:pt x="484" y="121"/>
                  </a:lnTo>
                  <a:lnTo>
                    <a:pt x="484" y="123"/>
                  </a:lnTo>
                  <a:lnTo>
                    <a:pt x="486" y="123"/>
                  </a:lnTo>
                  <a:lnTo>
                    <a:pt x="486" y="125"/>
                  </a:lnTo>
                  <a:lnTo>
                    <a:pt x="486" y="127"/>
                  </a:lnTo>
                  <a:lnTo>
                    <a:pt x="484" y="127"/>
                  </a:lnTo>
                  <a:lnTo>
                    <a:pt x="482" y="127"/>
                  </a:lnTo>
                  <a:lnTo>
                    <a:pt x="482" y="129"/>
                  </a:lnTo>
                  <a:lnTo>
                    <a:pt x="482" y="131"/>
                  </a:lnTo>
                  <a:lnTo>
                    <a:pt x="484" y="133"/>
                  </a:lnTo>
                  <a:lnTo>
                    <a:pt x="482" y="133"/>
                  </a:lnTo>
                  <a:lnTo>
                    <a:pt x="480" y="135"/>
                  </a:lnTo>
                  <a:lnTo>
                    <a:pt x="480" y="137"/>
                  </a:lnTo>
                  <a:lnTo>
                    <a:pt x="480" y="139"/>
                  </a:lnTo>
                  <a:lnTo>
                    <a:pt x="480" y="141"/>
                  </a:lnTo>
                  <a:lnTo>
                    <a:pt x="480" y="142"/>
                  </a:lnTo>
                  <a:lnTo>
                    <a:pt x="480" y="144"/>
                  </a:lnTo>
                  <a:lnTo>
                    <a:pt x="478" y="144"/>
                  </a:lnTo>
                  <a:lnTo>
                    <a:pt x="478" y="146"/>
                  </a:lnTo>
                  <a:lnTo>
                    <a:pt x="478" y="148"/>
                  </a:lnTo>
                  <a:lnTo>
                    <a:pt x="476" y="148"/>
                  </a:lnTo>
                  <a:lnTo>
                    <a:pt x="476" y="150"/>
                  </a:lnTo>
                  <a:lnTo>
                    <a:pt x="478" y="152"/>
                  </a:lnTo>
                  <a:lnTo>
                    <a:pt x="478" y="154"/>
                  </a:lnTo>
                  <a:lnTo>
                    <a:pt x="480" y="156"/>
                  </a:lnTo>
                  <a:lnTo>
                    <a:pt x="480" y="154"/>
                  </a:lnTo>
                  <a:lnTo>
                    <a:pt x="482" y="154"/>
                  </a:lnTo>
                  <a:lnTo>
                    <a:pt x="484" y="154"/>
                  </a:lnTo>
                  <a:lnTo>
                    <a:pt x="486" y="154"/>
                  </a:lnTo>
                  <a:lnTo>
                    <a:pt x="486" y="156"/>
                  </a:lnTo>
                  <a:lnTo>
                    <a:pt x="488" y="156"/>
                  </a:lnTo>
                  <a:lnTo>
                    <a:pt x="488" y="158"/>
                  </a:lnTo>
                  <a:lnTo>
                    <a:pt x="490" y="160"/>
                  </a:lnTo>
                  <a:lnTo>
                    <a:pt x="492" y="160"/>
                  </a:lnTo>
                  <a:lnTo>
                    <a:pt x="492" y="162"/>
                  </a:lnTo>
                  <a:lnTo>
                    <a:pt x="494" y="164"/>
                  </a:lnTo>
                  <a:lnTo>
                    <a:pt x="496" y="164"/>
                  </a:lnTo>
                  <a:lnTo>
                    <a:pt x="496" y="165"/>
                  </a:lnTo>
                  <a:lnTo>
                    <a:pt x="498" y="165"/>
                  </a:lnTo>
                  <a:lnTo>
                    <a:pt x="498" y="167"/>
                  </a:lnTo>
                  <a:lnTo>
                    <a:pt x="500" y="165"/>
                  </a:lnTo>
                  <a:lnTo>
                    <a:pt x="498" y="164"/>
                  </a:lnTo>
                  <a:lnTo>
                    <a:pt x="500" y="164"/>
                  </a:lnTo>
                  <a:lnTo>
                    <a:pt x="501" y="164"/>
                  </a:lnTo>
                  <a:lnTo>
                    <a:pt x="503" y="164"/>
                  </a:lnTo>
                  <a:lnTo>
                    <a:pt x="503" y="165"/>
                  </a:lnTo>
                  <a:lnTo>
                    <a:pt x="505" y="167"/>
                  </a:lnTo>
                  <a:lnTo>
                    <a:pt x="507" y="167"/>
                  </a:lnTo>
                  <a:lnTo>
                    <a:pt x="509" y="167"/>
                  </a:lnTo>
                  <a:lnTo>
                    <a:pt x="509" y="165"/>
                  </a:lnTo>
                  <a:lnTo>
                    <a:pt x="509" y="167"/>
                  </a:lnTo>
                  <a:lnTo>
                    <a:pt x="511" y="167"/>
                  </a:lnTo>
                  <a:lnTo>
                    <a:pt x="513" y="167"/>
                  </a:lnTo>
                  <a:lnTo>
                    <a:pt x="511" y="165"/>
                  </a:lnTo>
                  <a:lnTo>
                    <a:pt x="513" y="165"/>
                  </a:lnTo>
                  <a:lnTo>
                    <a:pt x="511" y="164"/>
                  </a:lnTo>
                  <a:lnTo>
                    <a:pt x="513" y="164"/>
                  </a:lnTo>
                  <a:lnTo>
                    <a:pt x="513" y="162"/>
                  </a:lnTo>
                  <a:lnTo>
                    <a:pt x="513" y="164"/>
                  </a:lnTo>
                  <a:lnTo>
                    <a:pt x="513" y="165"/>
                  </a:lnTo>
                  <a:lnTo>
                    <a:pt x="515" y="165"/>
                  </a:lnTo>
                  <a:lnTo>
                    <a:pt x="515" y="167"/>
                  </a:lnTo>
                  <a:lnTo>
                    <a:pt x="515" y="169"/>
                  </a:lnTo>
                  <a:lnTo>
                    <a:pt x="513" y="169"/>
                  </a:lnTo>
                  <a:lnTo>
                    <a:pt x="515" y="171"/>
                  </a:lnTo>
                  <a:lnTo>
                    <a:pt x="513" y="169"/>
                  </a:lnTo>
                  <a:lnTo>
                    <a:pt x="513" y="171"/>
                  </a:lnTo>
                  <a:lnTo>
                    <a:pt x="513" y="173"/>
                  </a:lnTo>
                  <a:lnTo>
                    <a:pt x="511" y="173"/>
                  </a:lnTo>
                  <a:lnTo>
                    <a:pt x="513" y="175"/>
                  </a:lnTo>
                  <a:lnTo>
                    <a:pt x="515" y="177"/>
                  </a:lnTo>
                  <a:lnTo>
                    <a:pt x="513" y="177"/>
                  </a:lnTo>
                  <a:lnTo>
                    <a:pt x="515" y="177"/>
                  </a:lnTo>
                  <a:lnTo>
                    <a:pt x="515" y="179"/>
                  </a:lnTo>
                  <a:lnTo>
                    <a:pt x="515" y="181"/>
                  </a:lnTo>
                  <a:lnTo>
                    <a:pt x="517" y="181"/>
                  </a:lnTo>
                  <a:lnTo>
                    <a:pt x="519" y="181"/>
                  </a:lnTo>
                  <a:lnTo>
                    <a:pt x="519" y="183"/>
                  </a:lnTo>
                  <a:lnTo>
                    <a:pt x="519" y="185"/>
                  </a:lnTo>
                  <a:lnTo>
                    <a:pt x="517" y="187"/>
                  </a:lnTo>
                  <a:lnTo>
                    <a:pt x="517" y="189"/>
                  </a:lnTo>
                  <a:lnTo>
                    <a:pt x="517" y="190"/>
                  </a:lnTo>
                  <a:lnTo>
                    <a:pt x="517" y="192"/>
                  </a:lnTo>
                  <a:lnTo>
                    <a:pt x="519" y="194"/>
                  </a:lnTo>
                  <a:lnTo>
                    <a:pt x="519" y="196"/>
                  </a:lnTo>
                  <a:lnTo>
                    <a:pt x="519" y="194"/>
                  </a:lnTo>
                  <a:lnTo>
                    <a:pt x="519" y="192"/>
                  </a:lnTo>
                  <a:lnTo>
                    <a:pt x="519" y="190"/>
                  </a:lnTo>
                  <a:lnTo>
                    <a:pt x="521" y="190"/>
                  </a:lnTo>
                  <a:lnTo>
                    <a:pt x="523" y="192"/>
                  </a:lnTo>
                  <a:lnTo>
                    <a:pt x="523" y="194"/>
                  </a:lnTo>
                  <a:lnTo>
                    <a:pt x="523" y="196"/>
                  </a:lnTo>
                  <a:lnTo>
                    <a:pt x="524" y="198"/>
                  </a:lnTo>
                  <a:lnTo>
                    <a:pt x="524" y="200"/>
                  </a:lnTo>
                  <a:lnTo>
                    <a:pt x="524" y="202"/>
                  </a:lnTo>
                  <a:lnTo>
                    <a:pt x="523" y="202"/>
                  </a:lnTo>
                  <a:lnTo>
                    <a:pt x="521" y="202"/>
                  </a:lnTo>
                  <a:lnTo>
                    <a:pt x="523" y="204"/>
                  </a:lnTo>
                  <a:lnTo>
                    <a:pt x="523" y="206"/>
                  </a:lnTo>
                  <a:lnTo>
                    <a:pt x="524" y="206"/>
                  </a:lnTo>
                  <a:lnTo>
                    <a:pt x="524" y="208"/>
                  </a:lnTo>
                  <a:lnTo>
                    <a:pt x="523" y="208"/>
                  </a:lnTo>
                  <a:lnTo>
                    <a:pt x="523" y="210"/>
                  </a:lnTo>
                  <a:lnTo>
                    <a:pt x="524" y="210"/>
                  </a:lnTo>
                  <a:lnTo>
                    <a:pt x="524" y="212"/>
                  </a:lnTo>
                  <a:lnTo>
                    <a:pt x="524" y="213"/>
                  </a:lnTo>
                  <a:lnTo>
                    <a:pt x="526" y="213"/>
                  </a:lnTo>
                  <a:lnTo>
                    <a:pt x="526" y="212"/>
                  </a:lnTo>
                  <a:lnTo>
                    <a:pt x="526" y="213"/>
                  </a:lnTo>
                  <a:lnTo>
                    <a:pt x="528" y="213"/>
                  </a:lnTo>
                  <a:lnTo>
                    <a:pt x="526" y="213"/>
                  </a:lnTo>
                  <a:lnTo>
                    <a:pt x="526" y="215"/>
                  </a:lnTo>
                  <a:lnTo>
                    <a:pt x="524" y="215"/>
                  </a:lnTo>
                  <a:lnTo>
                    <a:pt x="524" y="217"/>
                  </a:lnTo>
                  <a:lnTo>
                    <a:pt x="524" y="219"/>
                  </a:lnTo>
                  <a:lnTo>
                    <a:pt x="526" y="219"/>
                  </a:lnTo>
                  <a:lnTo>
                    <a:pt x="526" y="221"/>
                  </a:lnTo>
                  <a:lnTo>
                    <a:pt x="524" y="223"/>
                  </a:lnTo>
                  <a:lnTo>
                    <a:pt x="524" y="225"/>
                  </a:lnTo>
                  <a:lnTo>
                    <a:pt x="524" y="227"/>
                  </a:lnTo>
                  <a:lnTo>
                    <a:pt x="524" y="229"/>
                  </a:lnTo>
                  <a:lnTo>
                    <a:pt x="526" y="229"/>
                  </a:lnTo>
                  <a:lnTo>
                    <a:pt x="528" y="229"/>
                  </a:lnTo>
                  <a:lnTo>
                    <a:pt x="528" y="231"/>
                  </a:lnTo>
                  <a:lnTo>
                    <a:pt x="530" y="231"/>
                  </a:lnTo>
                  <a:lnTo>
                    <a:pt x="532" y="233"/>
                  </a:lnTo>
                  <a:lnTo>
                    <a:pt x="534" y="233"/>
                  </a:lnTo>
                  <a:lnTo>
                    <a:pt x="534" y="235"/>
                  </a:lnTo>
                  <a:lnTo>
                    <a:pt x="536" y="237"/>
                  </a:lnTo>
                  <a:lnTo>
                    <a:pt x="536" y="238"/>
                  </a:lnTo>
                  <a:lnTo>
                    <a:pt x="538" y="237"/>
                  </a:lnTo>
                  <a:lnTo>
                    <a:pt x="538" y="238"/>
                  </a:lnTo>
                  <a:lnTo>
                    <a:pt x="536" y="240"/>
                  </a:lnTo>
                  <a:lnTo>
                    <a:pt x="536" y="242"/>
                  </a:lnTo>
                  <a:lnTo>
                    <a:pt x="534" y="242"/>
                  </a:lnTo>
                  <a:lnTo>
                    <a:pt x="532" y="242"/>
                  </a:lnTo>
                  <a:lnTo>
                    <a:pt x="530" y="242"/>
                  </a:lnTo>
                  <a:lnTo>
                    <a:pt x="530" y="244"/>
                  </a:lnTo>
                  <a:lnTo>
                    <a:pt x="532" y="244"/>
                  </a:lnTo>
                  <a:lnTo>
                    <a:pt x="532" y="246"/>
                  </a:lnTo>
                  <a:lnTo>
                    <a:pt x="534" y="246"/>
                  </a:lnTo>
                  <a:lnTo>
                    <a:pt x="534" y="248"/>
                  </a:lnTo>
                  <a:lnTo>
                    <a:pt x="534" y="250"/>
                  </a:lnTo>
                  <a:lnTo>
                    <a:pt x="536" y="250"/>
                  </a:lnTo>
                  <a:lnTo>
                    <a:pt x="538" y="252"/>
                  </a:lnTo>
                  <a:lnTo>
                    <a:pt x="538" y="250"/>
                  </a:lnTo>
                  <a:lnTo>
                    <a:pt x="540" y="250"/>
                  </a:lnTo>
                  <a:lnTo>
                    <a:pt x="542" y="250"/>
                  </a:lnTo>
                  <a:lnTo>
                    <a:pt x="542" y="248"/>
                  </a:lnTo>
                  <a:lnTo>
                    <a:pt x="542" y="250"/>
                  </a:lnTo>
                  <a:lnTo>
                    <a:pt x="544" y="250"/>
                  </a:lnTo>
                  <a:lnTo>
                    <a:pt x="546" y="250"/>
                  </a:lnTo>
                  <a:lnTo>
                    <a:pt x="544" y="252"/>
                  </a:lnTo>
                  <a:lnTo>
                    <a:pt x="544" y="254"/>
                  </a:lnTo>
                  <a:lnTo>
                    <a:pt x="542" y="254"/>
                  </a:lnTo>
                  <a:lnTo>
                    <a:pt x="542" y="256"/>
                  </a:lnTo>
                  <a:lnTo>
                    <a:pt x="542" y="258"/>
                  </a:lnTo>
                  <a:lnTo>
                    <a:pt x="544" y="258"/>
                  </a:lnTo>
                  <a:lnTo>
                    <a:pt x="544" y="260"/>
                  </a:lnTo>
                  <a:lnTo>
                    <a:pt x="544" y="261"/>
                  </a:lnTo>
                  <a:lnTo>
                    <a:pt x="544" y="260"/>
                  </a:lnTo>
                  <a:lnTo>
                    <a:pt x="546" y="260"/>
                  </a:lnTo>
                  <a:lnTo>
                    <a:pt x="546" y="258"/>
                  </a:lnTo>
                  <a:lnTo>
                    <a:pt x="546" y="256"/>
                  </a:lnTo>
                  <a:lnTo>
                    <a:pt x="548" y="256"/>
                  </a:lnTo>
                  <a:lnTo>
                    <a:pt x="548" y="258"/>
                  </a:lnTo>
                  <a:lnTo>
                    <a:pt x="549" y="256"/>
                  </a:lnTo>
                  <a:lnTo>
                    <a:pt x="549" y="258"/>
                  </a:lnTo>
                  <a:lnTo>
                    <a:pt x="549" y="260"/>
                  </a:lnTo>
                  <a:lnTo>
                    <a:pt x="551" y="260"/>
                  </a:lnTo>
                  <a:lnTo>
                    <a:pt x="551" y="258"/>
                  </a:lnTo>
                  <a:lnTo>
                    <a:pt x="553" y="258"/>
                  </a:lnTo>
                  <a:lnTo>
                    <a:pt x="553" y="256"/>
                  </a:lnTo>
                  <a:lnTo>
                    <a:pt x="553" y="258"/>
                  </a:lnTo>
                  <a:lnTo>
                    <a:pt x="555" y="256"/>
                  </a:lnTo>
                  <a:lnTo>
                    <a:pt x="555" y="258"/>
                  </a:lnTo>
                  <a:lnTo>
                    <a:pt x="557" y="258"/>
                  </a:lnTo>
                  <a:lnTo>
                    <a:pt x="559" y="258"/>
                  </a:lnTo>
                  <a:lnTo>
                    <a:pt x="559" y="256"/>
                  </a:lnTo>
                  <a:lnTo>
                    <a:pt x="561" y="256"/>
                  </a:lnTo>
                  <a:lnTo>
                    <a:pt x="563" y="254"/>
                  </a:lnTo>
                  <a:lnTo>
                    <a:pt x="563" y="256"/>
                  </a:lnTo>
                  <a:lnTo>
                    <a:pt x="563" y="258"/>
                  </a:lnTo>
                  <a:lnTo>
                    <a:pt x="561" y="258"/>
                  </a:lnTo>
                  <a:lnTo>
                    <a:pt x="559" y="258"/>
                  </a:lnTo>
                  <a:lnTo>
                    <a:pt x="559" y="260"/>
                  </a:lnTo>
                  <a:lnTo>
                    <a:pt x="559" y="261"/>
                  </a:lnTo>
                  <a:lnTo>
                    <a:pt x="557" y="261"/>
                  </a:lnTo>
                  <a:lnTo>
                    <a:pt x="557" y="263"/>
                  </a:lnTo>
                  <a:lnTo>
                    <a:pt x="557" y="265"/>
                  </a:lnTo>
                  <a:lnTo>
                    <a:pt x="555" y="265"/>
                  </a:lnTo>
                  <a:lnTo>
                    <a:pt x="553" y="267"/>
                  </a:lnTo>
                  <a:lnTo>
                    <a:pt x="555" y="267"/>
                  </a:lnTo>
                  <a:lnTo>
                    <a:pt x="555" y="269"/>
                  </a:lnTo>
                  <a:lnTo>
                    <a:pt x="557" y="269"/>
                  </a:lnTo>
                  <a:lnTo>
                    <a:pt x="559" y="269"/>
                  </a:lnTo>
                  <a:lnTo>
                    <a:pt x="557" y="271"/>
                  </a:lnTo>
                  <a:lnTo>
                    <a:pt x="559" y="271"/>
                  </a:lnTo>
                  <a:lnTo>
                    <a:pt x="559" y="273"/>
                  </a:lnTo>
                  <a:lnTo>
                    <a:pt x="561" y="273"/>
                  </a:lnTo>
                  <a:lnTo>
                    <a:pt x="563" y="271"/>
                  </a:lnTo>
                  <a:lnTo>
                    <a:pt x="563" y="273"/>
                  </a:lnTo>
                  <a:lnTo>
                    <a:pt x="563" y="275"/>
                  </a:lnTo>
                  <a:lnTo>
                    <a:pt x="563" y="277"/>
                  </a:lnTo>
                  <a:lnTo>
                    <a:pt x="565" y="279"/>
                  </a:lnTo>
                  <a:lnTo>
                    <a:pt x="563" y="279"/>
                  </a:lnTo>
                  <a:lnTo>
                    <a:pt x="563" y="281"/>
                  </a:lnTo>
                  <a:lnTo>
                    <a:pt x="565" y="281"/>
                  </a:lnTo>
                  <a:lnTo>
                    <a:pt x="565" y="279"/>
                  </a:lnTo>
                  <a:lnTo>
                    <a:pt x="567" y="279"/>
                  </a:lnTo>
                  <a:lnTo>
                    <a:pt x="567" y="281"/>
                  </a:lnTo>
                  <a:lnTo>
                    <a:pt x="567" y="283"/>
                  </a:lnTo>
                  <a:lnTo>
                    <a:pt x="569" y="285"/>
                  </a:lnTo>
                  <a:lnTo>
                    <a:pt x="569" y="286"/>
                  </a:lnTo>
                  <a:lnTo>
                    <a:pt x="569" y="288"/>
                  </a:lnTo>
                  <a:lnTo>
                    <a:pt x="569" y="290"/>
                  </a:lnTo>
                  <a:lnTo>
                    <a:pt x="567" y="290"/>
                  </a:lnTo>
                  <a:lnTo>
                    <a:pt x="567" y="292"/>
                  </a:lnTo>
                  <a:lnTo>
                    <a:pt x="569" y="292"/>
                  </a:lnTo>
                  <a:lnTo>
                    <a:pt x="571" y="292"/>
                  </a:lnTo>
                  <a:lnTo>
                    <a:pt x="572" y="292"/>
                  </a:lnTo>
                  <a:lnTo>
                    <a:pt x="572" y="290"/>
                  </a:lnTo>
                  <a:lnTo>
                    <a:pt x="574" y="290"/>
                  </a:lnTo>
                  <a:lnTo>
                    <a:pt x="576" y="290"/>
                  </a:lnTo>
                  <a:lnTo>
                    <a:pt x="578" y="290"/>
                  </a:lnTo>
                  <a:lnTo>
                    <a:pt x="578" y="288"/>
                  </a:lnTo>
                  <a:lnTo>
                    <a:pt x="580" y="288"/>
                  </a:lnTo>
                  <a:lnTo>
                    <a:pt x="580" y="290"/>
                  </a:lnTo>
                  <a:lnTo>
                    <a:pt x="580" y="288"/>
                  </a:lnTo>
                  <a:lnTo>
                    <a:pt x="582" y="288"/>
                  </a:lnTo>
                  <a:lnTo>
                    <a:pt x="584" y="286"/>
                  </a:lnTo>
                  <a:lnTo>
                    <a:pt x="584" y="288"/>
                  </a:lnTo>
                  <a:lnTo>
                    <a:pt x="584" y="290"/>
                  </a:lnTo>
                  <a:lnTo>
                    <a:pt x="582" y="292"/>
                  </a:lnTo>
                  <a:lnTo>
                    <a:pt x="580" y="294"/>
                  </a:lnTo>
                  <a:lnTo>
                    <a:pt x="578" y="294"/>
                  </a:lnTo>
                  <a:lnTo>
                    <a:pt x="578" y="296"/>
                  </a:lnTo>
                  <a:lnTo>
                    <a:pt x="576" y="296"/>
                  </a:lnTo>
                  <a:lnTo>
                    <a:pt x="578" y="296"/>
                  </a:lnTo>
                  <a:lnTo>
                    <a:pt x="580" y="296"/>
                  </a:lnTo>
                  <a:lnTo>
                    <a:pt x="578" y="296"/>
                  </a:lnTo>
                  <a:lnTo>
                    <a:pt x="578" y="298"/>
                  </a:lnTo>
                  <a:lnTo>
                    <a:pt x="576" y="298"/>
                  </a:lnTo>
                  <a:lnTo>
                    <a:pt x="576" y="300"/>
                  </a:lnTo>
                  <a:lnTo>
                    <a:pt x="576" y="302"/>
                  </a:lnTo>
                  <a:lnTo>
                    <a:pt x="578" y="302"/>
                  </a:lnTo>
                  <a:lnTo>
                    <a:pt x="578" y="300"/>
                  </a:lnTo>
                  <a:lnTo>
                    <a:pt x="578" y="302"/>
                  </a:lnTo>
                  <a:lnTo>
                    <a:pt x="580" y="302"/>
                  </a:lnTo>
                  <a:lnTo>
                    <a:pt x="580" y="300"/>
                  </a:lnTo>
                  <a:lnTo>
                    <a:pt x="582" y="302"/>
                  </a:lnTo>
                  <a:lnTo>
                    <a:pt x="582" y="300"/>
                  </a:lnTo>
                  <a:lnTo>
                    <a:pt x="584" y="300"/>
                  </a:lnTo>
                  <a:lnTo>
                    <a:pt x="584" y="298"/>
                  </a:lnTo>
                  <a:lnTo>
                    <a:pt x="586" y="298"/>
                  </a:lnTo>
                  <a:lnTo>
                    <a:pt x="584" y="298"/>
                  </a:lnTo>
                  <a:lnTo>
                    <a:pt x="586" y="298"/>
                  </a:lnTo>
                  <a:lnTo>
                    <a:pt x="586" y="300"/>
                  </a:lnTo>
                  <a:lnTo>
                    <a:pt x="584" y="300"/>
                  </a:lnTo>
                  <a:lnTo>
                    <a:pt x="584" y="302"/>
                  </a:lnTo>
                  <a:lnTo>
                    <a:pt x="582" y="304"/>
                  </a:lnTo>
                  <a:lnTo>
                    <a:pt x="584" y="304"/>
                  </a:lnTo>
                  <a:lnTo>
                    <a:pt x="584" y="306"/>
                  </a:lnTo>
                  <a:lnTo>
                    <a:pt x="582" y="306"/>
                  </a:lnTo>
                  <a:lnTo>
                    <a:pt x="582" y="308"/>
                  </a:lnTo>
                  <a:lnTo>
                    <a:pt x="584" y="309"/>
                  </a:lnTo>
                  <a:lnTo>
                    <a:pt x="582" y="309"/>
                  </a:lnTo>
                  <a:lnTo>
                    <a:pt x="584" y="309"/>
                  </a:lnTo>
                  <a:lnTo>
                    <a:pt x="584" y="311"/>
                  </a:lnTo>
                  <a:lnTo>
                    <a:pt x="586" y="311"/>
                  </a:lnTo>
                  <a:lnTo>
                    <a:pt x="586" y="313"/>
                  </a:lnTo>
                  <a:lnTo>
                    <a:pt x="588" y="313"/>
                  </a:lnTo>
                  <a:lnTo>
                    <a:pt x="588" y="315"/>
                  </a:lnTo>
                  <a:lnTo>
                    <a:pt x="586" y="315"/>
                  </a:lnTo>
                  <a:lnTo>
                    <a:pt x="588" y="315"/>
                  </a:lnTo>
                  <a:lnTo>
                    <a:pt x="586" y="315"/>
                  </a:lnTo>
                  <a:lnTo>
                    <a:pt x="586" y="317"/>
                  </a:lnTo>
                  <a:lnTo>
                    <a:pt x="588" y="317"/>
                  </a:lnTo>
                  <a:lnTo>
                    <a:pt x="586" y="317"/>
                  </a:lnTo>
                  <a:lnTo>
                    <a:pt x="588" y="317"/>
                  </a:lnTo>
                  <a:lnTo>
                    <a:pt x="588" y="319"/>
                  </a:lnTo>
                  <a:lnTo>
                    <a:pt x="588" y="321"/>
                  </a:lnTo>
                  <a:lnTo>
                    <a:pt x="586" y="321"/>
                  </a:lnTo>
                  <a:lnTo>
                    <a:pt x="584" y="321"/>
                  </a:lnTo>
                  <a:lnTo>
                    <a:pt x="582" y="321"/>
                  </a:lnTo>
                  <a:lnTo>
                    <a:pt x="580" y="321"/>
                  </a:lnTo>
                  <a:lnTo>
                    <a:pt x="580" y="319"/>
                  </a:lnTo>
                  <a:lnTo>
                    <a:pt x="580" y="321"/>
                  </a:lnTo>
                  <a:lnTo>
                    <a:pt x="582" y="321"/>
                  </a:lnTo>
                  <a:lnTo>
                    <a:pt x="580" y="323"/>
                  </a:lnTo>
                  <a:lnTo>
                    <a:pt x="580" y="325"/>
                  </a:lnTo>
                  <a:lnTo>
                    <a:pt x="582" y="325"/>
                  </a:lnTo>
                  <a:lnTo>
                    <a:pt x="582" y="327"/>
                  </a:lnTo>
                  <a:lnTo>
                    <a:pt x="584" y="327"/>
                  </a:lnTo>
                  <a:lnTo>
                    <a:pt x="584" y="329"/>
                  </a:lnTo>
                  <a:lnTo>
                    <a:pt x="582" y="329"/>
                  </a:lnTo>
                  <a:lnTo>
                    <a:pt x="582" y="331"/>
                  </a:lnTo>
                  <a:lnTo>
                    <a:pt x="580" y="331"/>
                  </a:lnTo>
                  <a:lnTo>
                    <a:pt x="582" y="331"/>
                  </a:lnTo>
                  <a:lnTo>
                    <a:pt x="580" y="333"/>
                  </a:lnTo>
                  <a:lnTo>
                    <a:pt x="582" y="333"/>
                  </a:lnTo>
                  <a:lnTo>
                    <a:pt x="584" y="333"/>
                  </a:lnTo>
                  <a:lnTo>
                    <a:pt x="586" y="333"/>
                  </a:lnTo>
                  <a:lnTo>
                    <a:pt x="586" y="334"/>
                  </a:lnTo>
                  <a:lnTo>
                    <a:pt x="588" y="334"/>
                  </a:lnTo>
                  <a:lnTo>
                    <a:pt x="590" y="334"/>
                  </a:lnTo>
                  <a:lnTo>
                    <a:pt x="590" y="336"/>
                  </a:lnTo>
                  <a:lnTo>
                    <a:pt x="592" y="336"/>
                  </a:lnTo>
                  <a:lnTo>
                    <a:pt x="592" y="338"/>
                  </a:lnTo>
                  <a:lnTo>
                    <a:pt x="590" y="338"/>
                  </a:lnTo>
                  <a:lnTo>
                    <a:pt x="588" y="336"/>
                  </a:lnTo>
                  <a:lnTo>
                    <a:pt x="588" y="338"/>
                  </a:lnTo>
                  <a:lnTo>
                    <a:pt x="588" y="340"/>
                  </a:lnTo>
                  <a:lnTo>
                    <a:pt x="586" y="340"/>
                  </a:lnTo>
                  <a:lnTo>
                    <a:pt x="588" y="340"/>
                  </a:lnTo>
                  <a:lnTo>
                    <a:pt x="586" y="340"/>
                  </a:lnTo>
                  <a:lnTo>
                    <a:pt x="588" y="340"/>
                  </a:lnTo>
                  <a:lnTo>
                    <a:pt x="586" y="340"/>
                  </a:lnTo>
                  <a:lnTo>
                    <a:pt x="586" y="342"/>
                  </a:lnTo>
                  <a:lnTo>
                    <a:pt x="584" y="342"/>
                  </a:lnTo>
                  <a:lnTo>
                    <a:pt x="582" y="344"/>
                  </a:lnTo>
                  <a:lnTo>
                    <a:pt x="580" y="344"/>
                  </a:lnTo>
                  <a:lnTo>
                    <a:pt x="578" y="344"/>
                  </a:lnTo>
                  <a:lnTo>
                    <a:pt x="578" y="342"/>
                  </a:lnTo>
                  <a:lnTo>
                    <a:pt x="576" y="342"/>
                  </a:lnTo>
                  <a:lnTo>
                    <a:pt x="576" y="340"/>
                  </a:lnTo>
                  <a:lnTo>
                    <a:pt x="574" y="340"/>
                  </a:lnTo>
                  <a:lnTo>
                    <a:pt x="574" y="338"/>
                  </a:lnTo>
                  <a:lnTo>
                    <a:pt x="572" y="338"/>
                  </a:lnTo>
                  <a:lnTo>
                    <a:pt x="572" y="340"/>
                  </a:lnTo>
                  <a:lnTo>
                    <a:pt x="571" y="340"/>
                  </a:lnTo>
                  <a:lnTo>
                    <a:pt x="571" y="338"/>
                  </a:lnTo>
                  <a:lnTo>
                    <a:pt x="569" y="338"/>
                  </a:lnTo>
                  <a:lnTo>
                    <a:pt x="567" y="338"/>
                  </a:lnTo>
                  <a:lnTo>
                    <a:pt x="565" y="338"/>
                  </a:lnTo>
                  <a:lnTo>
                    <a:pt x="563" y="338"/>
                  </a:lnTo>
                  <a:lnTo>
                    <a:pt x="563" y="340"/>
                  </a:lnTo>
                  <a:lnTo>
                    <a:pt x="563" y="342"/>
                  </a:lnTo>
                  <a:lnTo>
                    <a:pt x="561" y="342"/>
                  </a:lnTo>
                  <a:lnTo>
                    <a:pt x="561" y="344"/>
                  </a:lnTo>
                  <a:lnTo>
                    <a:pt x="563" y="344"/>
                  </a:lnTo>
                  <a:lnTo>
                    <a:pt x="563" y="346"/>
                  </a:lnTo>
                  <a:lnTo>
                    <a:pt x="561" y="346"/>
                  </a:lnTo>
                  <a:lnTo>
                    <a:pt x="561" y="344"/>
                  </a:lnTo>
                  <a:lnTo>
                    <a:pt x="561" y="346"/>
                  </a:lnTo>
                  <a:lnTo>
                    <a:pt x="559" y="346"/>
                  </a:lnTo>
                  <a:lnTo>
                    <a:pt x="557" y="346"/>
                  </a:lnTo>
                  <a:lnTo>
                    <a:pt x="557" y="348"/>
                  </a:lnTo>
                  <a:lnTo>
                    <a:pt x="555" y="348"/>
                  </a:lnTo>
                  <a:lnTo>
                    <a:pt x="555" y="346"/>
                  </a:lnTo>
                  <a:lnTo>
                    <a:pt x="555" y="348"/>
                  </a:lnTo>
                  <a:lnTo>
                    <a:pt x="553" y="348"/>
                  </a:lnTo>
                  <a:lnTo>
                    <a:pt x="553" y="346"/>
                  </a:lnTo>
                  <a:lnTo>
                    <a:pt x="555" y="344"/>
                  </a:lnTo>
                  <a:lnTo>
                    <a:pt x="553" y="344"/>
                  </a:lnTo>
                  <a:lnTo>
                    <a:pt x="553" y="342"/>
                  </a:lnTo>
                  <a:lnTo>
                    <a:pt x="551" y="342"/>
                  </a:lnTo>
                  <a:lnTo>
                    <a:pt x="549" y="342"/>
                  </a:lnTo>
                  <a:lnTo>
                    <a:pt x="549" y="340"/>
                  </a:lnTo>
                  <a:lnTo>
                    <a:pt x="548" y="340"/>
                  </a:lnTo>
                  <a:lnTo>
                    <a:pt x="546" y="340"/>
                  </a:lnTo>
                  <a:lnTo>
                    <a:pt x="546" y="338"/>
                  </a:lnTo>
                  <a:lnTo>
                    <a:pt x="544" y="338"/>
                  </a:lnTo>
                  <a:lnTo>
                    <a:pt x="542" y="338"/>
                  </a:lnTo>
                  <a:lnTo>
                    <a:pt x="542" y="340"/>
                  </a:lnTo>
                  <a:lnTo>
                    <a:pt x="540" y="340"/>
                  </a:lnTo>
                  <a:lnTo>
                    <a:pt x="540" y="338"/>
                  </a:lnTo>
                  <a:lnTo>
                    <a:pt x="538" y="338"/>
                  </a:lnTo>
                  <a:lnTo>
                    <a:pt x="538" y="340"/>
                  </a:lnTo>
                  <a:lnTo>
                    <a:pt x="538" y="342"/>
                  </a:lnTo>
                  <a:lnTo>
                    <a:pt x="536" y="342"/>
                  </a:lnTo>
                  <a:lnTo>
                    <a:pt x="536" y="344"/>
                  </a:lnTo>
                  <a:lnTo>
                    <a:pt x="536" y="346"/>
                  </a:lnTo>
                  <a:lnTo>
                    <a:pt x="538" y="346"/>
                  </a:lnTo>
                  <a:lnTo>
                    <a:pt x="538" y="348"/>
                  </a:lnTo>
                  <a:lnTo>
                    <a:pt x="536" y="348"/>
                  </a:lnTo>
                  <a:lnTo>
                    <a:pt x="534" y="348"/>
                  </a:lnTo>
                  <a:lnTo>
                    <a:pt x="536" y="350"/>
                  </a:lnTo>
                  <a:lnTo>
                    <a:pt x="534" y="350"/>
                  </a:lnTo>
                  <a:lnTo>
                    <a:pt x="534" y="348"/>
                  </a:lnTo>
                  <a:lnTo>
                    <a:pt x="532" y="350"/>
                  </a:lnTo>
                  <a:lnTo>
                    <a:pt x="534" y="350"/>
                  </a:lnTo>
                  <a:lnTo>
                    <a:pt x="534" y="352"/>
                  </a:lnTo>
                  <a:lnTo>
                    <a:pt x="532" y="352"/>
                  </a:lnTo>
                  <a:lnTo>
                    <a:pt x="532" y="350"/>
                  </a:lnTo>
                  <a:lnTo>
                    <a:pt x="532" y="352"/>
                  </a:lnTo>
                  <a:lnTo>
                    <a:pt x="530" y="352"/>
                  </a:lnTo>
                  <a:lnTo>
                    <a:pt x="530" y="350"/>
                  </a:lnTo>
                  <a:lnTo>
                    <a:pt x="528" y="352"/>
                  </a:lnTo>
                  <a:lnTo>
                    <a:pt x="528" y="354"/>
                  </a:lnTo>
                  <a:lnTo>
                    <a:pt x="530" y="354"/>
                  </a:lnTo>
                  <a:lnTo>
                    <a:pt x="532" y="354"/>
                  </a:lnTo>
                  <a:lnTo>
                    <a:pt x="532" y="356"/>
                  </a:lnTo>
                  <a:lnTo>
                    <a:pt x="532" y="357"/>
                  </a:lnTo>
                  <a:lnTo>
                    <a:pt x="530" y="357"/>
                  </a:lnTo>
                  <a:lnTo>
                    <a:pt x="530" y="359"/>
                  </a:lnTo>
                  <a:lnTo>
                    <a:pt x="528" y="359"/>
                  </a:lnTo>
                  <a:lnTo>
                    <a:pt x="528" y="357"/>
                  </a:lnTo>
                  <a:lnTo>
                    <a:pt x="528" y="359"/>
                  </a:lnTo>
                  <a:lnTo>
                    <a:pt x="526" y="359"/>
                  </a:lnTo>
                  <a:lnTo>
                    <a:pt x="524" y="359"/>
                  </a:lnTo>
                  <a:lnTo>
                    <a:pt x="526" y="359"/>
                  </a:lnTo>
                  <a:lnTo>
                    <a:pt x="526" y="361"/>
                  </a:lnTo>
                  <a:lnTo>
                    <a:pt x="524" y="361"/>
                  </a:lnTo>
                  <a:lnTo>
                    <a:pt x="523" y="359"/>
                  </a:lnTo>
                  <a:lnTo>
                    <a:pt x="521" y="359"/>
                  </a:lnTo>
                  <a:lnTo>
                    <a:pt x="521" y="357"/>
                  </a:lnTo>
                  <a:lnTo>
                    <a:pt x="519" y="357"/>
                  </a:lnTo>
                  <a:lnTo>
                    <a:pt x="517" y="357"/>
                  </a:lnTo>
                  <a:lnTo>
                    <a:pt x="517" y="356"/>
                  </a:lnTo>
                  <a:lnTo>
                    <a:pt x="517" y="354"/>
                  </a:lnTo>
                  <a:lnTo>
                    <a:pt x="515" y="354"/>
                  </a:lnTo>
                  <a:lnTo>
                    <a:pt x="515" y="352"/>
                  </a:lnTo>
                  <a:lnTo>
                    <a:pt x="513" y="352"/>
                  </a:lnTo>
                  <a:lnTo>
                    <a:pt x="511" y="352"/>
                  </a:lnTo>
                  <a:lnTo>
                    <a:pt x="511" y="354"/>
                  </a:lnTo>
                  <a:lnTo>
                    <a:pt x="509" y="354"/>
                  </a:lnTo>
                  <a:lnTo>
                    <a:pt x="507" y="354"/>
                  </a:lnTo>
                  <a:lnTo>
                    <a:pt x="509" y="354"/>
                  </a:lnTo>
                  <a:lnTo>
                    <a:pt x="509" y="356"/>
                  </a:lnTo>
                  <a:lnTo>
                    <a:pt x="507" y="356"/>
                  </a:lnTo>
                  <a:lnTo>
                    <a:pt x="507" y="354"/>
                  </a:lnTo>
                  <a:lnTo>
                    <a:pt x="505" y="354"/>
                  </a:lnTo>
                  <a:lnTo>
                    <a:pt x="503" y="354"/>
                  </a:lnTo>
                  <a:lnTo>
                    <a:pt x="501" y="354"/>
                  </a:lnTo>
                  <a:lnTo>
                    <a:pt x="500" y="354"/>
                  </a:lnTo>
                  <a:lnTo>
                    <a:pt x="500" y="356"/>
                  </a:lnTo>
                  <a:lnTo>
                    <a:pt x="500" y="354"/>
                  </a:lnTo>
                  <a:lnTo>
                    <a:pt x="498" y="352"/>
                  </a:lnTo>
                  <a:lnTo>
                    <a:pt x="496" y="352"/>
                  </a:lnTo>
                  <a:lnTo>
                    <a:pt x="496" y="350"/>
                  </a:lnTo>
                  <a:lnTo>
                    <a:pt x="494" y="350"/>
                  </a:lnTo>
                  <a:lnTo>
                    <a:pt x="492" y="350"/>
                  </a:lnTo>
                  <a:lnTo>
                    <a:pt x="492" y="348"/>
                  </a:lnTo>
                  <a:lnTo>
                    <a:pt x="490" y="348"/>
                  </a:lnTo>
                  <a:lnTo>
                    <a:pt x="488" y="348"/>
                  </a:lnTo>
                  <a:lnTo>
                    <a:pt x="488" y="346"/>
                  </a:lnTo>
                  <a:lnTo>
                    <a:pt x="486" y="346"/>
                  </a:lnTo>
                  <a:lnTo>
                    <a:pt x="486" y="344"/>
                  </a:lnTo>
                  <a:lnTo>
                    <a:pt x="484" y="344"/>
                  </a:lnTo>
                  <a:lnTo>
                    <a:pt x="482" y="344"/>
                  </a:lnTo>
                  <a:lnTo>
                    <a:pt x="482" y="342"/>
                  </a:lnTo>
                  <a:lnTo>
                    <a:pt x="480" y="342"/>
                  </a:lnTo>
                  <a:lnTo>
                    <a:pt x="480" y="344"/>
                  </a:lnTo>
                  <a:lnTo>
                    <a:pt x="478" y="344"/>
                  </a:lnTo>
                  <a:lnTo>
                    <a:pt x="478" y="342"/>
                  </a:lnTo>
                  <a:lnTo>
                    <a:pt x="476" y="342"/>
                  </a:lnTo>
                  <a:lnTo>
                    <a:pt x="475" y="340"/>
                  </a:lnTo>
                  <a:lnTo>
                    <a:pt x="473" y="340"/>
                  </a:lnTo>
                  <a:lnTo>
                    <a:pt x="473" y="342"/>
                  </a:lnTo>
                  <a:lnTo>
                    <a:pt x="475" y="342"/>
                  </a:lnTo>
                  <a:lnTo>
                    <a:pt x="473" y="342"/>
                  </a:lnTo>
                  <a:lnTo>
                    <a:pt x="473" y="344"/>
                  </a:lnTo>
                  <a:lnTo>
                    <a:pt x="475" y="344"/>
                  </a:lnTo>
                  <a:lnTo>
                    <a:pt x="475" y="346"/>
                  </a:lnTo>
                  <a:lnTo>
                    <a:pt x="476" y="346"/>
                  </a:lnTo>
                  <a:lnTo>
                    <a:pt x="478" y="346"/>
                  </a:lnTo>
                  <a:lnTo>
                    <a:pt x="480" y="348"/>
                  </a:lnTo>
                  <a:lnTo>
                    <a:pt x="482" y="348"/>
                  </a:lnTo>
                  <a:lnTo>
                    <a:pt x="482" y="350"/>
                  </a:lnTo>
                  <a:lnTo>
                    <a:pt x="480" y="348"/>
                  </a:lnTo>
                  <a:lnTo>
                    <a:pt x="478" y="348"/>
                  </a:lnTo>
                  <a:lnTo>
                    <a:pt x="478" y="350"/>
                  </a:lnTo>
                  <a:lnTo>
                    <a:pt x="480" y="352"/>
                  </a:lnTo>
                  <a:lnTo>
                    <a:pt x="478" y="352"/>
                  </a:lnTo>
                  <a:lnTo>
                    <a:pt x="478" y="354"/>
                  </a:lnTo>
                  <a:lnTo>
                    <a:pt x="480" y="354"/>
                  </a:lnTo>
                  <a:lnTo>
                    <a:pt x="478" y="354"/>
                  </a:lnTo>
                  <a:lnTo>
                    <a:pt x="480" y="354"/>
                  </a:lnTo>
                  <a:lnTo>
                    <a:pt x="482" y="354"/>
                  </a:lnTo>
                  <a:lnTo>
                    <a:pt x="482" y="356"/>
                  </a:lnTo>
                  <a:lnTo>
                    <a:pt x="484" y="356"/>
                  </a:lnTo>
                  <a:lnTo>
                    <a:pt x="482" y="356"/>
                  </a:lnTo>
                  <a:lnTo>
                    <a:pt x="480" y="356"/>
                  </a:lnTo>
                  <a:lnTo>
                    <a:pt x="482" y="356"/>
                  </a:lnTo>
                  <a:lnTo>
                    <a:pt x="482" y="357"/>
                  </a:lnTo>
                  <a:lnTo>
                    <a:pt x="484" y="357"/>
                  </a:lnTo>
                  <a:lnTo>
                    <a:pt x="486" y="357"/>
                  </a:lnTo>
                  <a:lnTo>
                    <a:pt x="486" y="359"/>
                  </a:lnTo>
                  <a:lnTo>
                    <a:pt x="488" y="359"/>
                  </a:lnTo>
                  <a:lnTo>
                    <a:pt x="486" y="359"/>
                  </a:lnTo>
                  <a:lnTo>
                    <a:pt x="484" y="359"/>
                  </a:lnTo>
                  <a:lnTo>
                    <a:pt x="482" y="359"/>
                  </a:lnTo>
                  <a:lnTo>
                    <a:pt x="484" y="359"/>
                  </a:lnTo>
                  <a:lnTo>
                    <a:pt x="482" y="359"/>
                  </a:lnTo>
                  <a:lnTo>
                    <a:pt x="482" y="361"/>
                  </a:lnTo>
                  <a:lnTo>
                    <a:pt x="484" y="361"/>
                  </a:lnTo>
                  <a:lnTo>
                    <a:pt x="486" y="361"/>
                  </a:lnTo>
                  <a:lnTo>
                    <a:pt x="486" y="363"/>
                  </a:lnTo>
                  <a:lnTo>
                    <a:pt x="488" y="363"/>
                  </a:lnTo>
                  <a:lnTo>
                    <a:pt x="488" y="365"/>
                  </a:lnTo>
                  <a:lnTo>
                    <a:pt x="490" y="365"/>
                  </a:lnTo>
                  <a:lnTo>
                    <a:pt x="490" y="367"/>
                  </a:lnTo>
                  <a:lnTo>
                    <a:pt x="492" y="367"/>
                  </a:lnTo>
                  <a:lnTo>
                    <a:pt x="492" y="369"/>
                  </a:lnTo>
                  <a:lnTo>
                    <a:pt x="492" y="371"/>
                  </a:lnTo>
                  <a:lnTo>
                    <a:pt x="492" y="373"/>
                  </a:lnTo>
                  <a:lnTo>
                    <a:pt x="490" y="371"/>
                  </a:lnTo>
                  <a:lnTo>
                    <a:pt x="488" y="371"/>
                  </a:lnTo>
                  <a:lnTo>
                    <a:pt x="490" y="373"/>
                  </a:lnTo>
                  <a:lnTo>
                    <a:pt x="492" y="373"/>
                  </a:lnTo>
                  <a:lnTo>
                    <a:pt x="492" y="375"/>
                  </a:lnTo>
                  <a:lnTo>
                    <a:pt x="494" y="375"/>
                  </a:lnTo>
                  <a:lnTo>
                    <a:pt x="492" y="375"/>
                  </a:lnTo>
                  <a:lnTo>
                    <a:pt x="492" y="377"/>
                  </a:lnTo>
                  <a:lnTo>
                    <a:pt x="492" y="375"/>
                  </a:lnTo>
                  <a:lnTo>
                    <a:pt x="490" y="375"/>
                  </a:lnTo>
                  <a:lnTo>
                    <a:pt x="488" y="375"/>
                  </a:lnTo>
                  <a:lnTo>
                    <a:pt x="488" y="373"/>
                  </a:lnTo>
                  <a:lnTo>
                    <a:pt x="486" y="373"/>
                  </a:lnTo>
                  <a:lnTo>
                    <a:pt x="484" y="373"/>
                  </a:lnTo>
                  <a:lnTo>
                    <a:pt x="482" y="373"/>
                  </a:lnTo>
                  <a:lnTo>
                    <a:pt x="482" y="375"/>
                  </a:lnTo>
                  <a:lnTo>
                    <a:pt x="482" y="373"/>
                  </a:lnTo>
                  <a:lnTo>
                    <a:pt x="480" y="373"/>
                  </a:lnTo>
                  <a:lnTo>
                    <a:pt x="478" y="373"/>
                  </a:lnTo>
                  <a:lnTo>
                    <a:pt x="476" y="373"/>
                  </a:lnTo>
                  <a:lnTo>
                    <a:pt x="476" y="371"/>
                  </a:lnTo>
                  <a:lnTo>
                    <a:pt x="475" y="371"/>
                  </a:lnTo>
                  <a:lnTo>
                    <a:pt x="475" y="369"/>
                  </a:lnTo>
                  <a:lnTo>
                    <a:pt x="473" y="369"/>
                  </a:lnTo>
                  <a:lnTo>
                    <a:pt x="471" y="369"/>
                  </a:lnTo>
                  <a:lnTo>
                    <a:pt x="471" y="367"/>
                  </a:lnTo>
                  <a:lnTo>
                    <a:pt x="469" y="367"/>
                  </a:lnTo>
                  <a:lnTo>
                    <a:pt x="467" y="367"/>
                  </a:lnTo>
                  <a:lnTo>
                    <a:pt x="467" y="365"/>
                  </a:lnTo>
                  <a:lnTo>
                    <a:pt x="465" y="365"/>
                  </a:lnTo>
                  <a:lnTo>
                    <a:pt x="467" y="365"/>
                  </a:lnTo>
                  <a:lnTo>
                    <a:pt x="467" y="363"/>
                  </a:lnTo>
                  <a:lnTo>
                    <a:pt x="465" y="363"/>
                  </a:lnTo>
                  <a:lnTo>
                    <a:pt x="463" y="363"/>
                  </a:lnTo>
                  <a:lnTo>
                    <a:pt x="461" y="363"/>
                  </a:lnTo>
                  <a:lnTo>
                    <a:pt x="459" y="363"/>
                  </a:lnTo>
                  <a:lnTo>
                    <a:pt x="459" y="365"/>
                  </a:lnTo>
                  <a:lnTo>
                    <a:pt x="457" y="367"/>
                  </a:lnTo>
                  <a:lnTo>
                    <a:pt x="459" y="367"/>
                  </a:lnTo>
                  <a:lnTo>
                    <a:pt x="459" y="369"/>
                  </a:lnTo>
                  <a:lnTo>
                    <a:pt x="461" y="369"/>
                  </a:lnTo>
                  <a:lnTo>
                    <a:pt x="461" y="371"/>
                  </a:lnTo>
                  <a:lnTo>
                    <a:pt x="463" y="371"/>
                  </a:lnTo>
                  <a:lnTo>
                    <a:pt x="465" y="373"/>
                  </a:lnTo>
                  <a:lnTo>
                    <a:pt x="467" y="373"/>
                  </a:lnTo>
                  <a:lnTo>
                    <a:pt x="467" y="375"/>
                  </a:lnTo>
                  <a:lnTo>
                    <a:pt x="469" y="375"/>
                  </a:lnTo>
                  <a:lnTo>
                    <a:pt x="469" y="377"/>
                  </a:lnTo>
                  <a:lnTo>
                    <a:pt x="471" y="377"/>
                  </a:lnTo>
                  <a:lnTo>
                    <a:pt x="473" y="377"/>
                  </a:lnTo>
                  <a:lnTo>
                    <a:pt x="473" y="379"/>
                  </a:lnTo>
                  <a:lnTo>
                    <a:pt x="475" y="379"/>
                  </a:lnTo>
                  <a:lnTo>
                    <a:pt x="475" y="381"/>
                  </a:lnTo>
                  <a:lnTo>
                    <a:pt x="475" y="379"/>
                  </a:lnTo>
                  <a:lnTo>
                    <a:pt x="475" y="381"/>
                  </a:lnTo>
                  <a:lnTo>
                    <a:pt x="476" y="381"/>
                  </a:lnTo>
                  <a:lnTo>
                    <a:pt x="478" y="381"/>
                  </a:lnTo>
                  <a:lnTo>
                    <a:pt x="480" y="382"/>
                  </a:lnTo>
                  <a:lnTo>
                    <a:pt x="480" y="384"/>
                  </a:lnTo>
                  <a:lnTo>
                    <a:pt x="478" y="384"/>
                  </a:lnTo>
                  <a:lnTo>
                    <a:pt x="478" y="386"/>
                  </a:lnTo>
                  <a:lnTo>
                    <a:pt x="478" y="388"/>
                  </a:lnTo>
                  <a:lnTo>
                    <a:pt x="476" y="388"/>
                  </a:lnTo>
                  <a:lnTo>
                    <a:pt x="476" y="390"/>
                  </a:lnTo>
                  <a:lnTo>
                    <a:pt x="475" y="390"/>
                  </a:lnTo>
                  <a:lnTo>
                    <a:pt x="475" y="392"/>
                  </a:lnTo>
                  <a:lnTo>
                    <a:pt x="476" y="392"/>
                  </a:lnTo>
                  <a:lnTo>
                    <a:pt x="475" y="394"/>
                  </a:lnTo>
                  <a:lnTo>
                    <a:pt x="476" y="394"/>
                  </a:lnTo>
                  <a:lnTo>
                    <a:pt x="476" y="392"/>
                  </a:lnTo>
                  <a:lnTo>
                    <a:pt x="476" y="394"/>
                  </a:lnTo>
                  <a:lnTo>
                    <a:pt x="478" y="394"/>
                  </a:lnTo>
                  <a:lnTo>
                    <a:pt x="478" y="396"/>
                  </a:lnTo>
                  <a:lnTo>
                    <a:pt x="478" y="398"/>
                  </a:lnTo>
                  <a:lnTo>
                    <a:pt x="478" y="396"/>
                  </a:lnTo>
                  <a:lnTo>
                    <a:pt x="476" y="396"/>
                  </a:lnTo>
                  <a:lnTo>
                    <a:pt x="475" y="396"/>
                  </a:lnTo>
                  <a:lnTo>
                    <a:pt x="473" y="396"/>
                  </a:lnTo>
                  <a:lnTo>
                    <a:pt x="473" y="394"/>
                  </a:lnTo>
                  <a:lnTo>
                    <a:pt x="471" y="394"/>
                  </a:lnTo>
                  <a:lnTo>
                    <a:pt x="469" y="394"/>
                  </a:lnTo>
                  <a:lnTo>
                    <a:pt x="467" y="396"/>
                  </a:lnTo>
                  <a:lnTo>
                    <a:pt x="469" y="396"/>
                  </a:lnTo>
                  <a:lnTo>
                    <a:pt x="471" y="398"/>
                  </a:lnTo>
                  <a:lnTo>
                    <a:pt x="471" y="400"/>
                  </a:lnTo>
                  <a:lnTo>
                    <a:pt x="469" y="400"/>
                  </a:lnTo>
                  <a:lnTo>
                    <a:pt x="467" y="400"/>
                  </a:lnTo>
                  <a:lnTo>
                    <a:pt x="467" y="402"/>
                  </a:lnTo>
                  <a:lnTo>
                    <a:pt x="465" y="402"/>
                  </a:lnTo>
                  <a:lnTo>
                    <a:pt x="465" y="400"/>
                  </a:lnTo>
                  <a:lnTo>
                    <a:pt x="465" y="402"/>
                  </a:lnTo>
                  <a:lnTo>
                    <a:pt x="465" y="404"/>
                  </a:lnTo>
                  <a:lnTo>
                    <a:pt x="465" y="405"/>
                  </a:lnTo>
                  <a:lnTo>
                    <a:pt x="465" y="404"/>
                  </a:lnTo>
                  <a:lnTo>
                    <a:pt x="463" y="405"/>
                  </a:lnTo>
                  <a:lnTo>
                    <a:pt x="463" y="407"/>
                  </a:lnTo>
                  <a:lnTo>
                    <a:pt x="465" y="407"/>
                  </a:lnTo>
                  <a:lnTo>
                    <a:pt x="465" y="409"/>
                  </a:lnTo>
                  <a:lnTo>
                    <a:pt x="465" y="411"/>
                  </a:lnTo>
                  <a:lnTo>
                    <a:pt x="467" y="411"/>
                  </a:lnTo>
                  <a:lnTo>
                    <a:pt x="469" y="411"/>
                  </a:lnTo>
                  <a:lnTo>
                    <a:pt x="469" y="413"/>
                  </a:lnTo>
                  <a:lnTo>
                    <a:pt x="469" y="415"/>
                  </a:lnTo>
                  <a:lnTo>
                    <a:pt x="471" y="415"/>
                  </a:lnTo>
                  <a:lnTo>
                    <a:pt x="471" y="417"/>
                  </a:lnTo>
                  <a:lnTo>
                    <a:pt x="473" y="417"/>
                  </a:lnTo>
                  <a:lnTo>
                    <a:pt x="473" y="419"/>
                  </a:lnTo>
                  <a:lnTo>
                    <a:pt x="473" y="421"/>
                  </a:lnTo>
                  <a:lnTo>
                    <a:pt x="471" y="421"/>
                  </a:lnTo>
                  <a:lnTo>
                    <a:pt x="471" y="423"/>
                  </a:lnTo>
                  <a:lnTo>
                    <a:pt x="469" y="423"/>
                  </a:lnTo>
                  <a:lnTo>
                    <a:pt x="469" y="425"/>
                  </a:lnTo>
                  <a:lnTo>
                    <a:pt x="469" y="427"/>
                  </a:lnTo>
                  <a:lnTo>
                    <a:pt x="471" y="427"/>
                  </a:lnTo>
                  <a:lnTo>
                    <a:pt x="471" y="429"/>
                  </a:lnTo>
                  <a:lnTo>
                    <a:pt x="471" y="430"/>
                  </a:lnTo>
                  <a:lnTo>
                    <a:pt x="473" y="430"/>
                  </a:lnTo>
                  <a:lnTo>
                    <a:pt x="473" y="432"/>
                  </a:lnTo>
                  <a:lnTo>
                    <a:pt x="473" y="430"/>
                  </a:lnTo>
                  <a:lnTo>
                    <a:pt x="473" y="432"/>
                  </a:lnTo>
                  <a:lnTo>
                    <a:pt x="475" y="432"/>
                  </a:lnTo>
                  <a:lnTo>
                    <a:pt x="476" y="432"/>
                  </a:lnTo>
                  <a:lnTo>
                    <a:pt x="476" y="434"/>
                  </a:lnTo>
                  <a:lnTo>
                    <a:pt x="478" y="434"/>
                  </a:lnTo>
                  <a:lnTo>
                    <a:pt x="480" y="434"/>
                  </a:lnTo>
                  <a:lnTo>
                    <a:pt x="480" y="436"/>
                  </a:lnTo>
                  <a:lnTo>
                    <a:pt x="482" y="436"/>
                  </a:lnTo>
                  <a:lnTo>
                    <a:pt x="482" y="438"/>
                  </a:lnTo>
                  <a:lnTo>
                    <a:pt x="484" y="438"/>
                  </a:lnTo>
                  <a:lnTo>
                    <a:pt x="486" y="438"/>
                  </a:lnTo>
                  <a:lnTo>
                    <a:pt x="484" y="440"/>
                  </a:lnTo>
                  <a:lnTo>
                    <a:pt x="482" y="442"/>
                  </a:lnTo>
                  <a:lnTo>
                    <a:pt x="484" y="442"/>
                  </a:lnTo>
                  <a:lnTo>
                    <a:pt x="484" y="444"/>
                  </a:lnTo>
                  <a:lnTo>
                    <a:pt x="484" y="442"/>
                  </a:lnTo>
                  <a:lnTo>
                    <a:pt x="486" y="442"/>
                  </a:lnTo>
                  <a:lnTo>
                    <a:pt x="488" y="442"/>
                  </a:lnTo>
                  <a:lnTo>
                    <a:pt x="488" y="444"/>
                  </a:lnTo>
                  <a:lnTo>
                    <a:pt x="490" y="444"/>
                  </a:lnTo>
                  <a:lnTo>
                    <a:pt x="490" y="442"/>
                  </a:lnTo>
                  <a:lnTo>
                    <a:pt x="492" y="444"/>
                  </a:lnTo>
                  <a:lnTo>
                    <a:pt x="490" y="444"/>
                  </a:lnTo>
                  <a:lnTo>
                    <a:pt x="492" y="444"/>
                  </a:lnTo>
                  <a:lnTo>
                    <a:pt x="492" y="446"/>
                  </a:lnTo>
                  <a:lnTo>
                    <a:pt x="494" y="446"/>
                  </a:lnTo>
                  <a:lnTo>
                    <a:pt x="494" y="448"/>
                  </a:lnTo>
                  <a:lnTo>
                    <a:pt x="496" y="448"/>
                  </a:lnTo>
                  <a:lnTo>
                    <a:pt x="496" y="450"/>
                  </a:lnTo>
                  <a:lnTo>
                    <a:pt x="498" y="450"/>
                  </a:lnTo>
                  <a:lnTo>
                    <a:pt x="498" y="452"/>
                  </a:lnTo>
                  <a:lnTo>
                    <a:pt x="500" y="452"/>
                  </a:lnTo>
                  <a:lnTo>
                    <a:pt x="500" y="450"/>
                  </a:lnTo>
                  <a:lnTo>
                    <a:pt x="501" y="450"/>
                  </a:lnTo>
                  <a:lnTo>
                    <a:pt x="501" y="452"/>
                  </a:lnTo>
                  <a:lnTo>
                    <a:pt x="503" y="452"/>
                  </a:lnTo>
                  <a:lnTo>
                    <a:pt x="503" y="450"/>
                  </a:lnTo>
                  <a:lnTo>
                    <a:pt x="505" y="450"/>
                  </a:lnTo>
                  <a:lnTo>
                    <a:pt x="507" y="450"/>
                  </a:lnTo>
                  <a:lnTo>
                    <a:pt x="507" y="448"/>
                  </a:lnTo>
                  <a:lnTo>
                    <a:pt x="507" y="450"/>
                  </a:lnTo>
                  <a:lnTo>
                    <a:pt x="509" y="450"/>
                  </a:lnTo>
                  <a:lnTo>
                    <a:pt x="509" y="448"/>
                  </a:lnTo>
                  <a:lnTo>
                    <a:pt x="509" y="450"/>
                  </a:lnTo>
                  <a:lnTo>
                    <a:pt x="511" y="450"/>
                  </a:lnTo>
                  <a:lnTo>
                    <a:pt x="511" y="452"/>
                  </a:lnTo>
                  <a:lnTo>
                    <a:pt x="513" y="452"/>
                  </a:lnTo>
                  <a:lnTo>
                    <a:pt x="513" y="450"/>
                  </a:lnTo>
                  <a:lnTo>
                    <a:pt x="513" y="452"/>
                  </a:lnTo>
                  <a:lnTo>
                    <a:pt x="515" y="452"/>
                  </a:lnTo>
                  <a:lnTo>
                    <a:pt x="515" y="453"/>
                  </a:lnTo>
                  <a:lnTo>
                    <a:pt x="517" y="453"/>
                  </a:lnTo>
                  <a:lnTo>
                    <a:pt x="517" y="455"/>
                  </a:lnTo>
                  <a:lnTo>
                    <a:pt x="515" y="453"/>
                  </a:lnTo>
                  <a:lnTo>
                    <a:pt x="515" y="455"/>
                  </a:lnTo>
                  <a:lnTo>
                    <a:pt x="515" y="457"/>
                  </a:lnTo>
                  <a:lnTo>
                    <a:pt x="513" y="457"/>
                  </a:lnTo>
                  <a:lnTo>
                    <a:pt x="515" y="457"/>
                  </a:lnTo>
                  <a:lnTo>
                    <a:pt x="513" y="459"/>
                  </a:lnTo>
                  <a:lnTo>
                    <a:pt x="515" y="461"/>
                  </a:lnTo>
                  <a:lnTo>
                    <a:pt x="515" y="459"/>
                  </a:lnTo>
                  <a:lnTo>
                    <a:pt x="517" y="459"/>
                  </a:lnTo>
                  <a:lnTo>
                    <a:pt x="517" y="461"/>
                  </a:lnTo>
                  <a:lnTo>
                    <a:pt x="517" y="463"/>
                  </a:lnTo>
                  <a:lnTo>
                    <a:pt x="517" y="465"/>
                  </a:lnTo>
                  <a:lnTo>
                    <a:pt x="519" y="465"/>
                  </a:lnTo>
                  <a:lnTo>
                    <a:pt x="519" y="467"/>
                  </a:lnTo>
                  <a:lnTo>
                    <a:pt x="519" y="469"/>
                  </a:lnTo>
                  <a:lnTo>
                    <a:pt x="519" y="471"/>
                  </a:lnTo>
                  <a:lnTo>
                    <a:pt x="521" y="471"/>
                  </a:lnTo>
                  <a:lnTo>
                    <a:pt x="521" y="473"/>
                  </a:lnTo>
                  <a:lnTo>
                    <a:pt x="521" y="475"/>
                  </a:lnTo>
                  <a:lnTo>
                    <a:pt x="519" y="475"/>
                  </a:lnTo>
                  <a:lnTo>
                    <a:pt x="517" y="475"/>
                  </a:lnTo>
                  <a:lnTo>
                    <a:pt x="517" y="473"/>
                  </a:lnTo>
                  <a:lnTo>
                    <a:pt x="519" y="473"/>
                  </a:lnTo>
                  <a:lnTo>
                    <a:pt x="517" y="473"/>
                  </a:lnTo>
                  <a:lnTo>
                    <a:pt x="517" y="471"/>
                  </a:lnTo>
                  <a:lnTo>
                    <a:pt x="517" y="473"/>
                  </a:lnTo>
                  <a:lnTo>
                    <a:pt x="515" y="473"/>
                  </a:lnTo>
                  <a:lnTo>
                    <a:pt x="515" y="475"/>
                  </a:lnTo>
                  <a:lnTo>
                    <a:pt x="515" y="473"/>
                  </a:lnTo>
                  <a:lnTo>
                    <a:pt x="513" y="473"/>
                  </a:lnTo>
                  <a:lnTo>
                    <a:pt x="511" y="473"/>
                  </a:lnTo>
                  <a:lnTo>
                    <a:pt x="509" y="473"/>
                  </a:lnTo>
                  <a:lnTo>
                    <a:pt x="507" y="473"/>
                  </a:lnTo>
                  <a:lnTo>
                    <a:pt x="509" y="475"/>
                  </a:lnTo>
                  <a:lnTo>
                    <a:pt x="507" y="477"/>
                  </a:lnTo>
                  <a:lnTo>
                    <a:pt x="505" y="477"/>
                  </a:lnTo>
                  <a:lnTo>
                    <a:pt x="507" y="478"/>
                  </a:lnTo>
                  <a:lnTo>
                    <a:pt x="507" y="480"/>
                  </a:lnTo>
                  <a:lnTo>
                    <a:pt x="509" y="482"/>
                  </a:lnTo>
                  <a:lnTo>
                    <a:pt x="509" y="484"/>
                  </a:lnTo>
                  <a:lnTo>
                    <a:pt x="511" y="484"/>
                  </a:lnTo>
                  <a:lnTo>
                    <a:pt x="513" y="484"/>
                  </a:lnTo>
                  <a:lnTo>
                    <a:pt x="515" y="482"/>
                  </a:lnTo>
                  <a:lnTo>
                    <a:pt x="515" y="484"/>
                  </a:lnTo>
                  <a:lnTo>
                    <a:pt x="513" y="484"/>
                  </a:lnTo>
                  <a:lnTo>
                    <a:pt x="511" y="484"/>
                  </a:lnTo>
                  <a:lnTo>
                    <a:pt x="511" y="486"/>
                  </a:lnTo>
                  <a:lnTo>
                    <a:pt x="511" y="488"/>
                  </a:lnTo>
                  <a:lnTo>
                    <a:pt x="513" y="488"/>
                  </a:lnTo>
                  <a:lnTo>
                    <a:pt x="513" y="490"/>
                  </a:lnTo>
                  <a:lnTo>
                    <a:pt x="515" y="490"/>
                  </a:lnTo>
                  <a:lnTo>
                    <a:pt x="517" y="490"/>
                  </a:lnTo>
                  <a:lnTo>
                    <a:pt x="519" y="490"/>
                  </a:lnTo>
                  <a:lnTo>
                    <a:pt x="521" y="490"/>
                  </a:lnTo>
                  <a:lnTo>
                    <a:pt x="521" y="492"/>
                  </a:lnTo>
                  <a:lnTo>
                    <a:pt x="521" y="490"/>
                  </a:lnTo>
                  <a:lnTo>
                    <a:pt x="521" y="488"/>
                  </a:lnTo>
                  <a:lnTo>
                    <a:pt x="523" y="488"/>
                  </a:lnTo>
                  <a:lnTo>
                    <a:pt x="523" y="486"/>
                  </a:lnTo>
                  <a:lnTo>
                    <a:pt x="524" y="486"/>
                  </a:lnTo>
                  <a:lnTo>
                    <a:pt x="524" y="488"/>
                  </a:lnTo>
                  <a:lnTo>
                    <a:pt x="524" y="490"/>
                  </a:lnTo>
                  <a:lnTo>
                    <a:pt x="524" y="492"/>
                  </a:lnTo>
                  <a:lnTo>
                    <a:pt x="526" y="492"/>
                  </a:lnTo>
                  <a:lnTo>
                    <a:pt x="526" y="494"/>
                  </a:lnTo>
                  <a:lnTo>
                    <a:pt x="528" y="492"/>
                  </a:lnTo>
                  <a:lnTo>
                    <a:pt x="528" y="494"/>
                  </a:lnTo>
                  <a:lnTo>
                    <a:pt x="528" y="492"/>
                  </a:lnTo>
                  <a:lnTo>
                    <a:pt x="530" y="492"/>
                  </a:lnTo>
                  <a:lnTo>
                    <a:pt x="530" y="494"/>
                  </a:lnTo>
                  <a:lnTo>
                    <a:pt x="532" y="494"/>
                  </a:lnTo>
                  <a:lnTo>
                    <a:pt x="534" y="496"/>
                  </a:lnTo>
                  <a:lnTo>
                    <a:pt x="536" y="496"/>
                  </a:lnTo>
                  <a:lnTo>
                    <a:pt x="534" y="494"/>
                  </a:lnTo>
                  <a:lnTo>
                    <a:pt x="532" y="492"/>
                  </a:lnTo>
                  <a:lnTo>
                    <a:pt x="534" y="492"/>
                  </a:lnTo>
                  <a:lnTo>
                    <a:pt x="534" y="490"/>
                  </a:lnTo>
                  <a:lnTo>
                    <a:pt x="532" y="490"/>
                  </a:lnTo>
                  <a:lnTo>
                    <a:pt x="534" y="490"/>
                  </a:lnTo>
                  <a:lnTo>
                    <a:pt x="534" y="492"/>
                  </a:lnTo>
                  <a:lnTo>
                    <a:pt x="536" y="492"/>
                  </a:lnTo>
                  <a:lnTo>
                    <a:pt x="538" y="494"/>
                  </a:lnTo>
                  <a:lnTo>
                    <a:pt x="538" y="492"/>
                  </a:lnTo>
                  <a:lnTo>
                    <a:pt x="538" y="490"/>
                  </a:lnTo>
                  <a:lnTo>
                    <a:pt x="536" y="490"/>
                  </a:lnTo>
                  <a:lnTo>
                    <a:pt x="536" y="488"/>
                  </a:lnTo>
                  <a:lnTo>
                    <a:pt x="534" y="488"/>
                  </a:lnTo>
                  <a:lnTo>
                    <a:pt x="534" y="486"/>
                  </a:lnTo>
                  <a:lnTo>
                    <a:pt x="536" y="486"/>
                  </a:lnTo>
                  <a:lnTo>
                    <a:pt x="536" y="488"/>
                  </a:lnTo>
                  <a:lnTo>
                    <a:pt x="538" y="488"/>
                  </a:lnTo>
                  <a:lnTo>
                    <a:pt x="538" y="486"/>
                  </a:lnTo>
                  <a:lnTo>
                    <a:pt x="540" y="486"/>
                  </a:lnTo>
                  <a:lnTo>
                    <a:pt x="540" y="484"/>
                  </a:lnTo>
                  <a:lnTo>
                    <a:pt x="538" y="484"/>
                  </a:lnTo>
                  <a:lnTo>
                    <a:pt x="538" y="482"/>
                  </a:lnTo>
                  <a:lnTo>
                    <a:pt x="538" y="480"/>
                  </a:lnTo>
                  <a:lnTo>
                    <a:pt x="536" y="480"/>
                  </a:lnTo>
                  <a:lnTo>
                    <a:pt x="536" y="478"/>
                  </a:lnTo>
                  <a:lnTo>
                    <a:pt x="538" y="478"/>
                  </a:lnTo>
                  <a:lnTo>
                    <a:pt x="536" y="478"/>
                  </a:lnTo>
                  <a:lnTo>
                    <a:pt x="536" y="477"/>
                  </a:lnTo>
                  <a:lnTo>
                    <a:pt x="538" y="477"/>
                  </a:lnTo>
                  <a:lnTo>
                    <a:pt x="538" y="475"/>
                  </a:lnTo>
                  <a:lnTo>
                    <a:pt x="540" y="475"/>
                  </a:lnTo>
                  <a:lnTo>
                    <a:pt x="540" y="473"/>
                  </a:lnTo>
                  <a:lnTo>
                    <a:pt x="540" y="475"/>
                  </a:lnTo>
                  <a:lnTo>
                    <a:pt x="542" y="475"/>
                  </a:lnTo>
                  <a:lnTo>
                    <a:pt x="542" y="473"/>
                  </a:lnTo>
                  <a:lnTo>
                    <a:pt x="540" y="473"/>
                  </a:lnTo>
                  <a:lnTo>
                    <a:pt x="540" y="471"/>
                  </a:lnTo>
                  <a:lnTo>
                    <a:pt x="542" y="471"/>
                  </a:lnTo>
                  <a:lnTo>
                    <a:pt x="540" y="471"/>
                  </a:lnTo>
                  <a:lnTo>
                    <a:pt x="540" y="469"/>
                  </a:lnTo>
                  <a:lnTo>
                    <a:pt x="540" y="467"/>
                  </a:lnTo>
                  <a:lnTo>
                    <a:pt x="542" y="467"/>
                  </a:lnTo>
                  <a:lnTo>
                    <a:pt x="542" y="469"/>
                  </a:lnTo>
                  <a:lnTo>
                    <a:pt x="544" y="469"/>
                  </a:lnTo>
                  <a:lnTo>
                    <a:pt x="546" y="469"/>
                  </a:lnTo>
                  <a:lnTo>
                    <a:pt x="546" y="471"/>
                  </a:lnTo>
                  <a:lnTo>
                    <a:pt x="548" y="471"/>
                  </a:lnTo>
                  <a:lnTo>
                    <a:pt x="548" y="473"/>
                  </a:lnTo>
                  <a:lnTo>
                    <a:pt x="549" y="473"/>
                  </a:lnTo>
                  <a:lnTo>
                    <a:pt x="549" y="475"/>
                  </a:lnTo>
                  <a:lnTo>
                    <a:pt x="551" y="475"/>
                  </a:lnTo>
                  <a:lnTo>
                    <a:pt x="551" y="477"/>
                  </a:lnTo>
                  <a:lnTo>
                    <a:pt x="549" y="477"/>
                  </a:lnTo>
                  <a:lnTo>
                    <a:pt x="551" y="477"/>
                  </a:lnTo>
                  <a:lnTo>
                    <a:pt x="551" y="478"/>
                  </a:lnTo>
                  <a:lnTo>
                    <a:pt x="549" y="477"/>
                  </a:lnTo>
                  <a:lnTo>
                    <a:pt x="548" y="477"/>
                  </a:lnTo>
                  <a:lnTo>
                    <a:pt x="546" y="477"/>
                  </a:lnTo>
                  <a:lnTo>
                    <a:pt x="546" y="478"/>
                  </a:lnTo>
                  <a:lnTo>
                    <a:pt x="548" y="478"/>
                  </a:lnTo>
                  <a:lnTo>
                    <a:pt x="548" y="480"/>
                  </a:lnTo>
                  <a:lnTo>
                    <a:pt x="549" y="480"/>
                  </a:lnTo>
                  <a:lnTo>
                    <a:pt x="549" y="482"/>
                  </a:lnTo>
                  <a:lnTo>
                    <a:pt x="551" y="482"/>
                  </a:lnTo>
                  <a:lnTo>
                    <a:pt x="551" y="484"/>
                  </a:lnTo>
                  <a:lnTo>
                    <a:pt x="553" y="484"/>
                  </a:lnTo>
                  <a:lnTo>
                    <a:pt x="553" y="486"/>
                  </a:lnTo>
                  <a:lnTo>
                    <a:pt x="553" y="488"/>
                  </a:lnTo>
                  <a:lnTo>
                    <a:pt x="555" y="488"/>
                  </a:lnTo>
                  <a:lnTo>
                    <a:pt x="555" y="490"/>
                  </a:lnTo>
                  <a:lnTo>
                    <a:pt x="557" y="488"/>
                  </a:lnTo>
                  <a:lnTo>
                    <a:pt x="557" y="490"/>
                  </a:lnTo>
                  <a:lnTo>
                    <a:pt x="557" y="492"/>
                  </a:lnTo>
                  <a:lnTo>
                    <a:pt x="555" y="492"/>
                  </a:lnTo>
                  <a:lnTo>
                    <a:pt x="555" y="490"/>
                  </a:lnTo>
                  <a:lnTo>
                    <a:pt x="553" y="490"/>
                  </a:lnTo>
                  <a:lnTo>
                    <a:pt x="553" y="488"/>
                  </a:lnTo>
                  <a:lnTo>
                    <a:pt x="551" y="488"/>
                  </a:lnTo>
                  <a:lnTo>
                    <a:pt x="551" y="490"/>
                  </a:lnTo>
                  <a:lnTo>
                    <a:pt x="551" y="492"/>
                  </a:lnTo>
                  <a:lnTo>
                    <a:pt x="553" y="494"/>
                  </a:lnTo>
                  <a:lnTo>
                    <a:pt x="555" y="494"/>
                  </a:lnTo>
                  <a:lnTo>
                    <a:pt x="555" y="496"/>
                  </a:lnTo>
                  <a:lnTo>
                    <a:pt x="555" y="498"/>
                  </a:lnTo>
                  <a:lnTo>
                    <a:pt x="557" y="498"/>
                  </a:lnTo>
                  <a:lnTo>
                    <a:pt x="557" y="500"/>
                  </a:lnTo>
                  <a:lnTo>
                    <a:pt x="555" y="500"/>
                  </a:lnTo>
                  <a:lnTo>
                    <a:pt x="557" y="500"/>
                  </a:lnTo>
                  <a:lnTo>
                    <a:pt x="557" y="501"/>
                  </a:lnTo>
                  <a:lnTo>
                    <a:pt x="559" y="501"/>
                  </a:lnTo>
                  <a:lnTo>
                    <a:pt x="559" y="503"/>
                  </a:lnTo>
                  <a:lnTo>
                    <a:pt x="559" y="505"/>
                  </a:lnTo>
                  <a:lnTo>
                    <a:pt x="561" y="505"/>
                  </a:lnTo>
                  <a:lnTo>
                    <a:pt x="561" y="507"/>
                  </a:lnTo>
                  <a:lnTo>
                    <a:pt x="559" y="507"/>
                  </a:lnTo>
                  <a:lnTo>
                    <a:pt x="559" y="505"/>
                  </a:lnTo>
                  <a:lnTo>
                    <a:pt x="557" y="505"/>
                  </a:lnTo>
                  <a:lnTo>
                    <a:pt x="557" y="507"/>
                  </a:lnTo>
                  <a:lnTo>
                    <a:pt x="555" y="507"/>
                  </a:lnTo>
                  <a:lnTo>
                    <a:pt x="555" y="509"/>
                  </a:lnTo>
                  <a:lnTo>
                    <a:pt x="557" y="509"/>
                  </a:lnTo>
                  <a:lnTo>
                    <a:pt x="557" y="511"/>
                  </a:lnTo>
                  <a:lnTo>
                    <a:pt x="559" y="511"/>
                  </a:lnTo>
                  <a:lnTo>
                    <a:pt x="557" y="511"/>
                  </a:lnTo>
                  <a:lnTo>
                    <a:pt x="559" y="511"/>
                  </a:lnTo>
                  <a:lnTo>
                    <a:pt x="559" y="513"/>
                  </a:lnTo>
                  <a:lnTo>
                    <a:pt x="559" y="515"/>
                  </a:lnTo>
                  <a:lnTo>
                    <a:pt x="561" y="515"/>
                  </a:lnTo>
                  <a:lnTo>
                    <a:pt x="563" y="515"/>
                  </a:lnTo>
                  <a:lnTo>
                    <a:pt x="563" y="517"/>
                  </a:lnTo>
                  <a:lnTo>
                    <a:pt x="565" y="517"/>
                  </a:lnTo>
                  <a:lnTo>
                    <a:pt x="565" y="519"/>
                  </a:lnTo>
                  <a:lnTo>
                    <a:pt x="567" y="517"/>
                  </a:lnTo>
                  <a:lnTo>
                    <a:pt x="567" y="519"/>
                  </a:lnTo>
                  <a:lnTo>
                    <a:pt x="567" y="517"/>
                  </a:lnTo>
                  <a:lnTo>
                    <a:pt x="569" y="517"/>
                  </a:lnTo>
                  <a:lnTo>
                    <a:pt x="569" y="515"/>
                  </a:lnTo>
                  <a:lnTo>
                    <a:pt x="567" y="515"/>
                  </a:lnTo>
                  <a:lnTo>
                    <a:pt x="567" y="513"/>
                  </a:lnTo>
                  <a:lnTo>
                    <a:pt x="565" y="513"/>
                  </a:lnTo>
                  <a:lnTo>
                    <a:pt x="565" y="511"/>
                  </a:lnTo>
                  <a:lnTo>
                    <a:pt x="565" y="509"/>
                  </a:lnTo>
                  <a:lnTo>
                    <a:pt x="563" y="509"/>
                  </a:lnTo>
                  <a:lnTo>
                    <a:pt x="565" y="509"/>
                  </a:lnTo>
                  <a:lnTo>
                    <a:pt x="565" y="507"/>
                  </a:lnTo>
                  <a:lnTo>
                    <a:pt x="563" y="507"/>
                  </a:lnTo>
                  <a:lnTo>
                    <a:pt x="565" y="507"/>
                  </a:lnTo>
                  <a:lnTo>
                    <a:pt x="565" y="509"/>
                  </a:lnTo>
                  <a:lnTo>
                    <a:pt x="567" y="509"/>
                  </a:lnTo>
                  <a:lnTo>
                    <a:pt x="569" y="509"/>
                  </a:lnTo>
                  <a:lnTo>
                    <a:pt x="569" y="511"/>
                  </a:lnTo>
                  <a:lnTo>
                    <a:pt x="571" y="511"/>
                  </a:lnTo>
                  <a:lnTo>
                    <a:pt x="572" y="511"/>
                  </a:lnTo>
                  <a:lnTo>
                    <a:pt x="574" y="513"/>
                  </a:lnTo>
                  <a:lnTo>
                    <a:pt x="574" y="515"/>
                  </a:lnTo>
                  <a:lnTo>
                    <a:pt x="576" y="515"/>
                  </a:lnTo>
                  <a:lnTo>
                    <a:pt x="576" y="517"/>
                  </a:lnTo>
                  <a:lnTo>
                    <a:pt x="578" y="517"/>
                  </a:lnTo>
                  <a:lnTo>
                    <a:pt x="580" y="517"/>
                  </a:lnTo>
                  <a:lnTo>
                    <a:pt x="580" y="519"/>
                  </a:lnTo>
                  <a:lnTo>
                    <a:pt x="580" y="517"/>
                  </a:lnTo>
                  <a:lnTo>
                    <a:pt x="582" y="517"/>
                  </a:lnTo>
                  <a:lnTo>
                    <a:pt x="580" y="517"/>
                  </a:lnTo>
                  <a:lnTo>
                    <a:pt x="580" y="515"/>
                  </a:lnTo>
                  <a:lnTo>
                    <a:pt x="582" y="515"/>
                  </a:lnTo>
                  <a:lnTo>
                    <a:pt x="584" y="515"/>
                  </a:lnTo>
                  <a:lnTo>
                    <a:pt x="584" y="513"/>
                  </a:lnTo>
                  <a:lnTo>
                    <a:pt x="582" y="513"/>
                  </a:lnTo>
                  <a:lnTo>
                    <a:pt x="584" y="513"/>
                  </a:lnTo>
                  <a:lnTo>
                    <a:pt x="584" y="511"/>
                  </a:lnTo>
                  <a:lnTo>
                    <a:pt x="584" y="513"/>
                  </a:lnTo>
                  <a:lnTo>
                    <a:pt x="586" y="513"/>
                  </a:lnTo>
                  <a:lnTo>
                    <a:pt x="586" y="511"/>
                  </a:lnTo>
                  <a:lnTo>
                    <a:pt x="588" y="511"/>
                  </a:lnTo>
                  <a:lnTo>
                    <a:pt x="588" y="513"/>
                  </a:lnTo>
                  <a:lnTo>
                    <a:pt x="590" y="513"/>
                  </a:lnTo>
                  <a:lnTo>
                    <a:pt x="590" y="511"/>
                  </a:lnTo>
                  <a:lnTo>
                    <a:pt x="590" y="509"/>
                  </a:lnTo>
                  <a:lnTo>
                    <a:pt x="592" y="511"/>
                  </a:lnTo>
                  <a:lnTo>
                    <a:pt x="592" y="513"/>
                  </a:lnTo>
                  <a:lnTo>
                    <a:pt x="592" y="515"/>
                  </a:lnTo>
                  <a:lnTo>
                    <a:pt x="594" y="515"/>
                  </a:lnTo>
                  <a:lnTo>
                    <a:pt x="594" y="517"/>
                  </a:lnTo>
                  <a:lnTo>
                    <a:pt x="594" y="515"/>
                  </a:lnTo>
                  <a:lnTo>
                    <a:pt x="594" y="513"/>
                  </a:lnTo>
                  <a:lnTo>
                    <a:pt x="596" y="513"/>
                  </a:lnTo>
                  <a:lnTo>
                    <a:pt x="597" y="511"/>
                  </a:lnTo>
                  <a:lnTo>
                    <a:pt x="596" y="509"/>
                  </a:lnTo>
                  <a:lnTo>
                    <a:pt x="597" y="509"/>
                  </a:lnTo>
                  <a:lnTo>
                    <a:pt x="597" y="507"/>
                  </a:lnTo>
                  <a:lnTo>
                    <a:pt x="596" y="507"/>
                  </a:lnTo>
                  <a:lnTo>
                    <a:pt x="597" y="507"/>
                  </a:lnTo>
                  <a:lnTo>
                    <a:pt x="597" y="509"/>
                  </a:lnTo>
                  <a:lnTo>
                    <a:pt x="597" y="511"/>
                  </a:lnTo>
                  <a:lnTo>
                    <a:pt x="601" y="513"/>
                  </a:lnTo>
                  <a:lnTo>
                    <a:pt x="601" y="511"/>
                  </a:lnTo>
                  <a:lnTo>
                    <a:pt x="601" y="513"/>
                  </a:lnTo>
                  <a:lnTo>
                    <a:pt x="603" y="513"/>
                  </a:lnTo>
                  <a:lnTo>
                    <a:pt x="605" y="513"/>
                  </a:lnTo>
                  <a:lnTo>
                    <a:pt x="603" y="513"/>
                  </a:lnTo>
                  <a:lnTo>
                    <a:pt x="603" y="511"/>
                  </a:lnTo>
                  <a:lnTo>
                    <a:pt x="605" y="513"/>
                  </a:lnTo>
                  <a:lnTo>
                    <a:pt x="605" y="515"/>
                  </a:lnTo>
                  <a:lnTo>
                    <a:pt x="605" y="517"/>
                  </a:lnTo>
                  <a:lnTo>
                    <a:pt x="605" y="519"/>
                  </a:lnTo>
                  <a:lnTo>
                    <a:pt x="607" y="519"/>
                  </a:lnTo>
                  <a:lnTo>
                    <a:pt x="609" y="521"/>
                  </a:lnTo>
                  <a:lnTo>
                    <a:pt x="609" y="519"/>
                  </a:lnTo>
                  <a:lnTo>
                    <a:pt x="609" y="517"/>
                  </a:lnTo>
                  <a:lnTo>
                    <a:pt x="611" y="517"/>
                  </a:lnTo>
                  <a:lnTo>
                    <a:pt x="611" y="519"/>
                  </a:lnTo>
                  <a:lnTo>
                    <a:pt x="613" y="519"/>
                  </a:lnTo>
                  <a:lnTo>
                    <a:pt x="613" y="521"/>
                  </a:lnTo>
                  <a:lnTo>
                    <a:pt x="613" y="519"/>
                  </a:lnTo>
                  <a:lnTo>
                    <a:pt x="615" y="519"/>
                  </a:lnTo>
                  <a:lnTo>
                    <a:pt x="617" y="519"/>
                  </a:lnTo>
                  <a:lnTo>
                    <a:pt x="617" y="521"/>
                  </a:lnTo>
                  <a:lnTo>
                    <a:pt x="617" y="523"/>
                  </a:lnTo>
                  <a:lnTo>
                    <a:pt x="617" y="521"/>
                  </a:lnTo>
                  <a:lnTo>
                    <a:pt x="619" y="521"/>
                  </a:lnTo>
                  <a:lnTo>
                    <a:pt x="620" y="521"/>
                  </a:lnTo>
                  <a:lnTo>
                    <a:pt x="620" y="519"/>
                  </a:lnTo>
                  <a:lnTo>
                    <a:pt x="622" y="519"/>
                  </a:lnTo>
                  <a:lnTo>
                    <a:pt x="622" y="521"/>
                  </a:lnTo>
                  <a:lnTo>
                    <a:pt x="624" y="521"/>
                  </a:lnTo>
                  <a:lnTo>
                    <a:pt x="626" y="521"/>
                  </a:lnTo>
                  <a:lnTo>
                    <a:pt x="626" y="519"/>
                  </a:lnTo>
                  <a:lnTo>
                    <a:pt x="624" y="519"/>
                  </a:lnTo>
                  <a:lnTo>
                    <a:pt x="624" y="517"/>
                  </a:lnTo>
                  <a:lnTo>
                    <a:pt x="626" y="517"/>
                  </a:lnTo>
                  <a:lnTo>
                    <a:pt x="628" y="517"/>
                  </a:lnTo>
                  <a:lnTo>
                    <a:pt x="628" y="515"/>
                  </a:lnTo>
                  <a:lnTo>
                    <a:pt x="630" y="515"/>
                  </a:lnTo>
                  <a:lnTo>
                    <a:pt x="630" y="517"/>
                  </a:lnTo>
                  <a:lnTo>
                    <a:pt x="632" y="517"/>
                  </a:lnTo>
                  <a:lnTo>
                    <a:pt x="632" y="515"/>
                  </a:lnTo>
                  <a:lnTo>
                    <a:pt x="634" y="515"/>
                  </a:lnTo>
                  <a:lnTo>
                    <a:pt x="634" y="517"/>
                  </a:lnTo>
                  <a:lnTo>
                    <a:pt x="636" y="517"/>
                  </a:lnTo>
                  <a:lnTo>
                    <a:pt x="638" y="517"/>
                  </a:lnTo>
                  <a:lnTo>
                    <a:pt x="638" y="519"/>
                  </a:lnTo>
                  <a:lnTo>
                    <a:pt x="640" y="519"/>
                  </a:lnTo>
                  <a:lnTo>
                    <a:pt x="640" y="521"/>
                  </a:lnTo>
                  <a:lnTo>
                    <a:pt x="642" y="521"/>
                  </a:lnTo>
                  <a:lnTo>
                    <a:pt x="644" y="523"/>
                  </a:lnTo>
                  <a:lnTo>
                    <a:pt x="644" y="521"/>
                  </a:lnTo>
                  <a:lnTo>
                    <a:pt x="645" y="521"/>
                  </a:lnTo>
                  <a:lnTo>
                    <a:pt x="645" y="519"/>
                  </a:lnTo>
                  <a:lnTo>
                    <a:pt x="645" y="517"/>
                  </a:lnTo>
                  <a:lnTo>
                    <a:pt x="645" y="515"/>
                  </a:lnTo>
                  <a:lnTo>
                    <a:pt x="647" y="515"/>
                  </a:lnTo>
                  <a:lnTo>
                    <a:pt x="649" y="515"/>
                  </a:lnTo>
                  <a:lnTo>
                    <a:pt x="649" y="513"/>
                  </a:lnTo>
                  <a:lnTo>
                    <a:pt x="649" y="511"/>
                  </a:lnTo>
                  <a:lnTo>
                    <a:pt x="649" y="509"/>
                  </a:lnTo>
                  <a:lnTo>
                    <a:pt x="647" y="509"/>
                  </a:lnTo>
                  <a:lnTo>
                    <a:pt x="647" y="507"/>
                  </a:lnTo>
                  <a:lnTo>
                    <a:pt x="647" y="505"/>
                  </a:lnTo>
                  <a:lnTo>
                    <a:pt x="645" y="505"/>
                  </a:lnTo>
                  <a:lnTo>
                    <a:pt x="644" y="505"/>
                  </a:lnTo>
                  <a:lnTo>
                    <a:pt x="644" y="503"/>
                  </a:lnTo>
                  <a:lnTo>
                    <a:pt x="644" y="501"/>
                  </a:lnTo>
                  <a:lnTo>
                    <a:pt x="642" y="501"/>
                  </a:lnTo>
                  <a:lnTo>
                    <a:pt x="644" y="501"/>
                  </a:lnTo>
                  <a:lnTo>
                    <a:pt x="642" y="500"/>
                  </a:lnTo>
                  <a:lnTo>
                    <a:pt x="642" y="498"/>
                  </a:lnTo>
                  <a:lnTo>
                    <a:pt x="640" y="496"/>
                  </a:lnTo>
                  <a:lnTo>
                    <a:pt x="640" y="494"/>
                  </a:lnTo>
                  <a:lnTo>
                    <a:pt x="640" y="496"/>
                  </a:lnTo>
                  <a:lnTo>
                    <a:pt x="642" y="496"/>
                  </a:lnTo>
                  <a:lnTo>
                    <a:pt x="644" y="496"/>
                  </a:lnTo>
                  <a:lnTo>
                    <a:pt x="644" y="494"/>
                  </a:lnTo>
                  <a:lnTo>
                    <a:pt x="642" y="492"/>
                  </a:lnTo>
                  <a:lnTo>
                    <a:pt x="640" y="490"/>
                  </a:lnTo>
                  <a:lnTo>
                    <a:pt x="642" y="490"/>
                  </a:lnTo>
                  <a:lnTo>
                    <a:pt x="642" y="488"/>
                  </a:lnTo>
                  <a:lnTo>
                    <a:pt x="640" y="488"/>
                  </a:lnTo>
                  <a:lnTo>
                    <a:pt x="640" y="486"/>
                  </a:lnTo>
                  <a:lnTo>
                    <a:pt x="642" y="486"/>
                  </a:lnTo>
                  <a:lnTo>
                    <a:pt x="644" y="486"/>
                  </a:lnTo>
                  <a:lnTo>
                    <a:pt x="642" y="484"/>
                  </a:lnTo>
                  <a:lnTo>
                    <a:pt x="640" y="482"/>
                  </a:lnTo>
                  <a:lnTo>
                    <a:pt x="640" y="480"/>
                  </a:lnTo>
                  <a:lnTo>
                    <a:pt x="638" y="480"/>
                  </a:lnTo>
                  <a:lnTo>
                    <a:pt x="638" y="478"/>
                  </a:lnTo>
                  <a:lnTo>
                    <a:pt x="636" y="478"/>
                  </a:lnTo>
                  <a:lnTo>
                    <a:pt x="636" y="477"/>
                  </a:lnTo>
                  <a:lnTo>
                    <a:pt x="638" y="477"/>
                  </a:lnTo>
                  <a:lnTo>
                    <a:pt x="636" y="477"/>
                  </a:lnTo>
                  <a:lnTo>
                    <a:pt x="636" y="475"/>
                  </a:lnTo>
                  <a:lnTo>
                    <a:pt x="638" y="475"/>
                  </a:lnTo>
                  <a:lnTo>
                    <a:pt x="638" y="477"/>
                  </a:lnTo>
                  <a:lnTo>
                    <a:pt x="638" y="475"/>
                  </a:lnTo>
                  <a:lnTo>
                    <a:pt x="638" y="473"/>
                  </a:lnTo>
                  <a:lnTo>
                    <a:pt x="636" y="475"/>
                  </a:lnTo>
                  <a:lnTo>
                    <a:pt x="636" y="473"/>
                  </a:lnTo>
                  <a:lnTo>
                    <a:pt x="638" y="473"/>
                  </a:lnTo>
                  <a:lnTo>
                    <a:pt x="636" y="473"/>
                  </a:lnTo>
                  <a:lnTo>
                    <a:pt x="636" y="471"/>
                  </a:lnTo>
                  <a:lnTo>
                    <a:pt x="638" y="471"/>
                  </a:lnTo>
                  <a:lnTo>
                    <a:pt x="638" y="469"/>
                  </a:lnTo>
                  <a:lnTo>
                    <a:pt x="638" y="467"/>
                  </a:lnTo>
                  <a:lnTo>
                    <a:pt x="636" y="467"/>
                  </a:lnTo>
                  <a:lnTo>
                    <a:pt x="636" y="465"/>
                  </a:lnTo>
                  <a:lnTo>
                    <a:pt x="634" y="465"/>
                  </a:lnTo>
                  <a:lnTo>
                    <a:pt x="634" y="463"/>
                  </a:lnTo>
                  <a:lnTo>
                    <a:pt x="632" y="463"/>
                  </a:lnTo>
                  <a:lnTo>
                    <a:pt x="632" y="461"/>
                  </a:lnTo>
                  <a:lnTo>
                    <a:pt x="630" y="461"/>
                  </a:lnTo>
                  <a:lnTo>
                    <a:pt x="628" y="461"/>
                  </a:lnTo>
                  <a:lnTo>
                    <a:pt x="630" y="461"/>
                  </a:lnTo>
                  <a:lnTo>
                    <a:pt x="630" y="459"/>
                  </a:lnTo>
                  <a:lnTo>
                    <a:pt x="630" y="457"/>
                  </a:lnTo>
                  <a:lnTo>
                    <a:pt x="630" y="455"/>
                  </a:lnTo>
                  <a:lnTo>
                    <a:pt x="628" y="455"/>
                  </a:lnTo>
                  <a:lnTo>
                    <a:pt x="628" y="453"/>
                  </a:lnTo>
                  <a:lnTo>
                    <a:pt x="630" y="453"/>
                  </a:lnTo>
                  <a:lnTo>
                    <a:pt x="630" y="452"/>
                  </a:lnTo>
                  <a:lnTo>
                    <a:pt x="628" y="452"/>
                  </a:lnTo>
                  <a:lnTo>
                    <a:pt x="628" y="450"/>
                  </a:lnTo>
                  <a:lnTo>
                    <a:pt x="630" y="450"/>
                  </a:lnTo>
                  <a:lnTo>
                    <a:pt x="632" y="450"/>
                  </a:lnTo>
                  <a:lnTo>
                    <a:pt x="630" y="448"/>
                  </a:lnTo>
                  <a:lnTo>
                    <a:pt x="632" y="448"/>
                  </a:lnTo>
                  <a:lnTo>
                    <a:pt x="634" y="448"/>
                  </a:lnTo>
                  <a:lnTo>
                    <a:pt x="636" y="446"/>
                  </a:lnTo>
                  <a:lnTo>
                    <a:pt x="634" y="446"/>
                  </a:lnTo>
                  <a:lnTo>
                    <a:pt x="636" y="446"/>
                  </a:lnTo>
                  <a:lnTo>
                    <a:pt x="636" y="444"/>
                  </a:lnTo>
                  <a:lnTo>
                    <a:pt x="638" y="444"/>
                  </a:lnTo>
                  <a:lnTo>
                    <a:pt x="640" y="442"/>
                  </a:lnTo>
                  <a:lnTo>
                    <a:pt x="642" y="442"/>
                  </a:lnTo>
                  <a:lnTo>
                    <a:pt x="640" y="442"/>
                  </a:lnTo>
                  <a:lnTo>
                    <a:pt x="640" y="440"/>
                  </a:lnTo>
                  <a:lnTo>
                    <a:pt x="642" y="440"/>
                  </a:lnTo>
                  <a:lnTo>
                    <a:pt x="640" y="440"/>
                  </a:lnTo>
                  <a:lnTo>
                    <a:pt x="642" y="440"/>
                  </a:lnTo>
                  <a:lnTo>
                    <a:pt x="642" y="438"/>
                  </a:lnTo>
                  <a:lnTo>
                    <a:pt x="642" y="436"/>
                  </a:lnTo>
                  <a:lnTo>
                    <a:pt x="640" y="436"/>
                  </a:lnTo>
                  <a:lnTo>
                    <a:pt x="642" y="436"/>
                  </a:lnTo>
                  <a:lnTo>
                    <a:pt x="644" y="436"/>
                  </a:lnTo>
                  <a:lnTo>
                    <a:pt x="644" y="434"/>
                  </a:lnTo>
                  <a:lnTo>
                    <a:pt x="642" y="434"/>
                  </a:lnTo>
                  <a:lnTo>
                    <a:pt x="644" y="434"/>
                  </a:lnTo>
                  <a:lnTo>
                    <a:pt x="644" y="436"/>
                  </a:lnTo>
                  <a:lnTo>
                    <a:pt x="644" y="438"/>
                  </a:lnTo>
                  <a:lnTo>
                    <a:pt x="645" y="438"/>
                  </a:lnTo>
                  <a:lnTo>
                    <a:pt x="644" y="438"/>
                  </a:lnTo>
                  <a:lnTo>
                    <a:pt x="644" y="440"/>
                  </a:lnTo>
                  <a:lnTo>
                    <a:pt x="645" y="440"/>
                  </a:lnTo>
                  <a:lnTo>
                    <a:pt x="647" y="440"/>
                  </a:lnTo>
                  <a:lnTo>
                    <a:pt x="649" y="440"/>
                  </a:lnTo>
                  <a:lnTo>
                    <a:pt x="651" y="440"/>
                  </a:lnTo>
                  <a:lnTo>
                    <a:pt x="653" y="440"/>
                  </a:lnTo>
                  <a:lnTo>
                    <a:pt x="653" y="442"/>
                  </a:lnTo>
                  <a:lnTo>
                    <a:pt x="655" y="442"/>
                  </a:lnTo>
                  <a:lnTo>
                    <a:pt x="655" y="444"/>
                  </a:lnTo>
                  <a:lnTo>
                    <a:pt x="653" y="444"/>
                  </a:lnTo>
                  <a:lnTo>
                    <a:pt x="651" y="444"/>
                  </a:lnTo>
                  <a:lnTo>
                    <a:pt x="651" y="446"/>
                  </a:lnTo>
                  <a:lnTo>
                    <a:pt x="649" y="446"/>
                  </a:lnTo>
                  <a:lnTo>
                    <a:pt x="647" y="446"/>
                  </a:lnTo>
                  <a:lnTo>
                    <a:pt x="647" y="448"/>
                  </a:lnTo>
                  <a:lnTo>
                    <a:pt x="645" y="450"/>
                  </a:lnTo>
                  <a:lnTo>
                    <a:pt x="644" y="450"/>
                  </a:lnTo>
                  <a:lnTo>
                    <a:pt x="642" y="452"/>
                  </a:lnTo>
                  <a:lnTo>
                    <a:pt x="640" y="452"/>
                  </a:lnTo>
                  <a:lnTo>
                    <a:pt x="640" y="453"/>
                  </a:lnTo>
                  <a:lnTo>
                    <a:pt x="638" y="453"/>
                  </a:lnTo>
                  <a:lnTo>
                    <a:pt x="638" y="455"/>
                  </a:lnTo>
                  <a:lnTo>
                    <a:pt x="636" y="457"/>
                  </a:lnTo>
                  <a:lnTo>
                    <a:pt x="636" y="459"/>
                  </a:lnTo>
                  <a:lnTo>
                    <a:pt x="636" y="461"/>
                  </a:lnTo>
                  <a:lnTo>
                    <a:pt x="636" y="463"/>
                  </a:lnTo>
                  <a:lnTo>
                    <a:pt x="636" y="465"/>
                  </a:lnTo>
                  <a:lnTo>
                    <a:pt x="638" y="465"/>
                  </a:lnTo>
                  <a:lnTo>
                    <a:pt x="638" y="467"/>
                  </a:lnTo>
                  <a:lnTo>
                    <a:pt x="640" y="467"/>
                  </a:lnTo>
                  <a:lnTo>
                    <a:pt x="640" y="469"/>
                  </a:lnTo>
                  <a:lnTo>
                    <a:pt x="642" y="469"/>
                  </a:lnTo>
                  <a:lnTo>
                    <a:pt x="644" y="469"/>
                  </a:lnTo>
                  <a:lnTo>
                    <a:pt x="645" y="469"/>
                  </a:lnTo>
                  <a:lnTo>
                    <a:pt x="647" y="469"/>
                  </a:lnTo>
                  <a:lnTo>
                    <a:pt x="649" y="469"/>
                  </a:lnTo>
                  <a:lnTo>
                    <a:pt x="651" y="467"/>
                  </a:lnTo>
                  <a:lnTo>
                    <a:pt x="653" y="467"/>
                  </a:lnTo>
                  <a:lnTo>
                    <a:pt x="653" y="469"/>
                  </a:lnTo>
                  <a:lnTo>
                    <a:pt x="651" y="469"/>
                  </a:lnTo>
                  <a:lnTo>
                    <a:pt x="649" y="469"/>
                  </a:lnTo>
                  <a:lnTo>
                    <a:pt x="651" y="469"/>
                  </a:lnTo>
                  <a:lnTo>
                    <a:pt x="653" y="469"/>
                  </a:lnTo>
                  <a:lnTo>
                    <a:pt x="653" y="471"/>
                  </a:lnTo>
                  <a:lnTo>
                    <a:pt x="651" y="471"/>
                  </a:lnTo>
                  <a:lnTo>
                    <a:pt x="653" y="471"/>
                  </a:lnTo>
                  <a:lnTo>
                    <a:pt x="655" y="473"/>
                  </a:lnTo>
                  <a:lnTo>
                    <a:pt x="657" y="475"/>
                  </a:lnTo>
                  <a:lnTo>
                    <a:pt x="659" y="477"/>
                  </a:lnTo>
                  <a:lnTo>
                    <a:pt x="659" y="478"/>
                  </a:lnTo>
                  <a:lnTo>
                    <a:pt x="661" y="480"/>
                  </a:lnTo>
                  <a:lnTo>
                    <a:pt x="663" y="480"/>
                  </a:lnTo>
                  <a:lnTo>
                    <a:pt x="663" y="482"/>
                  </a:lnTo>
                  <a:lnTo>
                    <a:pt x="663" y="480"/>
                  </a:lnTo>
                  <a:lnTo>
                    <a:pt x="661" y="480"/>
                  </a:lnTo>
                  <a:lnTo>
                    <a:pt x="661" y="482"/>
                  </a:lnTo>
                  <a:lnTo>
                    <a:pt x="659" y="482"/>
                  </a:lnTo>
                  <a:lnTo>
                    <a:pt x="657" y="480"/>
                  </a:lnTo>
                  <a:lnTo>
                    <a:pt x="657" y="482"/>
                  </a:lnTo>
                  <a:lnTo>
                    <a:pt x="655" y="482"/>
                  </a:lnTo>
                  <a:lnTo>
                    <a:pt x="657" y="484"/>
                  </a:lnTo>
                  <a:lnTo>
                    <a:pt x="659" y="486"/>
                  </a:lnTo>
                  <a:lnTo>
                    <a:pt x="661" y="486"/>
                  </a:lnTo>
                  <a:lnTo>
                    <a:pt x="663" y="484"/>
                  </a:lnTo>
                  <a:lnTo>
                    <a:pt x="667" y="482"/>
                  </a:lnTo>
                  <a:lnTo>
                    <a:pt x="668" y="482"/>
                  </a:lnTo>
                  <a:lnTo>
                    <a:pt x="674" y="480"/>
                  </a:lnTo>
                  <a:lnTo>
                    <a:pt x="674" y="478"/>
                  </a:lnTo>
                  <a:lnTo>
                    <a:pt x="678" y="477"/>
                  </a:lnTo>
                  <a:lnTo>
                    <a:pt x="680" y="477"/>
                  </a:lnTo>
                  <a:lnTo>
                    <a:pt x="682" y="475"/>
                  </a:lnTo>
                  <a:lnTo>
                    <a:pt x="686" y="473"/>
                  </a:lnTo>
                  <a:lnTo>
                    <a:pt x="688" y="473"/>
                  </a:lnTo>
                  <a:lnTo>
                    <a:pt x="690" y="471"/>
                  </a:lnTo>
                  <a:lnTo>
                    <a:pt x="692" y="471"/>
                  </a:lnTo>
                  <a:lnTo>
                    <a:pt x="697" y="469"/>
                  </a:lnTo>
                  <a:lnTo>
                    <a:pt x="703" y="465"/>
                  </a:lnTo>
                  <a:lnTo>
                    <a:pt x="709" y="461"/>
                  </a:lnTo>
                  <a:lnTo>
                    <a:pt x="716" y="459"/>
                  </a:lnTo>
                  <a:lnTo>
                    <a:pt x="720" y="455"/>
                  </a:lnTo>
                  <a:lnTo>
                    <a:pt x="728" y="453"/>
                  </a:lnTo>
                  <a:lnTo>
                    <a:pt x="730" y="452"/>
                  </a:lnTo>
                  <a:lnTo>
                    <a:pt x="734" y="450"/>
                  </a:lnTo>
                  <a:lnTo>
                    <a:pt x="738" y="448"/>
                  </a:lnTo>
                  <a:lnTo>
                    <a:pt x="740" y="446"/>
                  </a:lnTo>
                  <a:lnTo>
                    <a:pt x="741" y="446"/>
                  </a:lnTo>
                  <a:lnTo>
                    <a:pt x="743" y="444"/>
                  </a:lnTo>
                  <a:lnTo>
                    <a:pt x="747" y="442"/>
                  </a:lnTo>
                  <a:lnTo>
                    <a:pt x="749" y="442"/>
                  </a:lnTo>
                  <a:lnTo>
                    <a:pt x="751" y="440"/>
                  </a:lnTo>
                  <a:lnTo>
                    <a:pt x="755" y="438"/>
                  </a:lnTo>
                  <a:lnTo>
                    <a:pt x="759" y="436"/>
                  </a:lnTo>
                  <a:lnTo>
                    <a:pt x="763" y="434"/>
                  </a:lnTo>
                  <a:lnTo>
                    <a:pt x="772" y="429"/>
                  </a:lnTo>
                  <a:lnTo>
                    <a:pt x="774" y="429"/>
                  </a:lnTo>
                  <a:lnTo>
                    <a:pt x="782" y="425"/>
                  </a:lnTo>
                  <a:lnTo>
                    <a:pt x="782" y="423"/>
                  </a:lnTo>
                  <a:lnTo>
                    <a:pt x="784" y="423"/>
                  </a:lnTo>
                  <a:lnTo>
                    <a:pt x="786" y="421"/>
                  </a:lnTo>
                  <a:lnTo>
                    <a:pt x="789" y="421"/>
                  </a:lnTo>
                  <a:lnTo>
                    <a:pt x="791" y="419"/>
                  </a:lnTo>
                  <a:lnTo>
                    <a:pt x="793" y="417"/>
                  </a:lnTo>
                  <a:lnTo>
                    <a:pt x="797" y="415"/>
                  </a:lnTo>
                  <a:lnTo>
                    <a:pt x="807" y="411"/>
                  </a:lnTo>
                  <a:lnTo>
                    <a:pt x="811" y="409"/>
                  </a:lnTo>
                  <a:lnTo>
                    <a:pt x="811" y="407"/>
                  </a:lnTo>
                  <a:lnTo>
                    <a:pt x="814" y="405"/>
                  </a:lnTo>
                  <a:lnTo>
                    <a:pt x="818" y="404"/>
                  </a:lnTo>
                  <a:lnTo>
                    <a:pt x="822" y="402"/>
                  </a:lnTo>
                  <a:lnTo>
                    <a:pt x="824" y="402"/>
                  </a:lnTo>
                  <a:lnTo>
                    <a:pt x="830" y="398"/>
                  </a:lnTo>
                  <a:lnTo>
                    <a:pt x="834" y="396"/>
                  </a:lnTo>
                  <a:lnTo>
                    <a:pt x="836" y="394"/>
                  </a:lnTo>
                  <a:lnTo>
                    <a:pt x="839" y="392"/>
                  </a:lnTo>
                  <a:lnTo>
                    <a:pt x="845" y="388"/>
                  </a:lnTo>
                  <a:lnTo>
                    <a:pt x="851" y="384"/>
                  </a:lnTo>
                  <a:lnTo>
                    <a:pt x="857" y="382"/>
                  </a:lnTo>
                  <a:lnTo>
                    <a:pt x="857" y="381"/>
                  </a:lnTo>
                  <a:lnTo>
                    <a:pt x="861" y="381"/>
                  </a:lnTo>
                  <a:lnTo>
                    <a:pt x="862" y="379"/>
                  </a:lnTo>
                  <a:lnTo>
                    <a:pt x="864" y="379"/>
                  </a:lnTo>
                  <a:lnTo>
                    <a:pt x="866" y="377"/>
                  </a:lnTo>
                  <a:lnTo>
                    <a:pt x="866" y="375"/>
                  </a:lnTo>
                  <a:lnTo>
                    <a:pt x="868" y="375"/>
                  </a:lnTo>
                  <a:lnTo>
                    <a:pt x="870" y="373"/>
                  </a:lnTo>
                  <a:lnTo>
                    <a:pt x="872" y="373"/>
                  </a:lnTo>
                  <a:lnTo>
                    <a:pt x="874" y="371"/>
                  </a:lnTo>
                  <a:lnTo>
                    <a:pt x="880" y="369"/>
                  </a:lnTo>
                  <a:lnTo>
                    <a:pt x="880" y="367"/>
                  </a:lnTo>
                  <a:lnTo>
                    <a:pt x="882" y="367"/>
                  </a:lnTo>
                  <a:lnTo>
                    <a:pt x="884" y="365"/>
                  </a:lnTo>
                  <a:lnTo>
                    <a:pt x="885" y="365"/>
                  </a:lnTo>
                  <a:lnTo>
                    <a:pt x="885" y="363"/>
                  </a:lnTo>
                  <a:lnTo>
                    <a:pt x="885" y="365"/>
                  </a:lnTo>
                  <a:lnTo>
                    <a:pt x="887" y="365"/>
                  </a:lnTo>
                  <a:lnTo>
                    <a:pt x="887" y="367"/>
                  </a:lnTo>
                  <a:lnTo>
                    <a:pt x="887" y="369"/>
                  </a:lnTo>
                  <a:lnTo>
                    <a:pt x="891" y="373"/>
                  </a:lnTo>
                  <a:lnTo>
                    <a:pt x="893" y="375"/>
                  </a:lnTo>
                  <a:lnTo>
                    <a:pt x="893" y="377"/>
                  </a:lnTo>
                  <a:lnTo>
                    <a:pt x="895" y="379"/>
                  </a:lnTo>
                  <a:lnTo>
                    <a:pt x="895" y="381"/>
                  </a:lnTo>
                  <a:lnTo>
                    <a:pt x="897" y="382"/>
                  </a:lnTo>
                  <a:lnTo>
                    <a:pt x="897" y="384"/>
                  </a:lnTo>
                  <a:lnTo>
                    <a:pt x="899" y="384"/>
                  </a:lnTo>
                  <a:lnTo>
                    <a:pt x="899" y="386"/>
                  </a:lnTo>
                  <a:lnTo>
                    <a:pt x="901" y="388"/>
                  </a:lnTo>
                  <a:lnTo>
                    <a:pt x="901" y="390"/>
                  </a:lnTo>
                  <a:lnTo>
                    <a:pt x="903" y="390"/>
                  </a:lnTo>
                  <a:lnTo>
                    <a:pt x="903" y="392"/>
                  </a:lnTo>
                  <a:lnTo>
                    <a:pt x="903" y="394"/>
                  </a:lnTo>
                  <a:lnTo>
                    <a:pt x="905" y="394"/>
                  </a:lnTo>
                  <a:lnTo>
                    <a:pt x="905" y="396"/>
                  </a:lnTo>
                  <a:lnTo>
                    <a:pt x="903" y="396"/>
                  </a:lnTo>
                  <a:lnTo>
                    <a:pt x="903" y="398"/>
                  </a:lnTo>
                  <a:lnTo>
                    <a:pt x="901" y="398"/>
                  </a:lnTo>
                  <a:lnTo>
                    <a:pt x="901" y="396"/>
                  </a:lnTo>
                  <a:lnTo>
                    <a:pt x="899" y="396"/>
                  </a:lnTo>
                  <a:lnTo>
                    <a:pt x="899" y="394"/>
                  </a:lnTo>
                  <a:lnTo>
                    <a:pt x="897" y="394"/>
                  </a:lnTo>
                  <a:lnTo>
                    <a:pt x="895" y="394"/>
                  </a:lnTo>
                  <a:lnTo>
                    <a:pt x="895" y="396"/>
                  </a:lnTo>
                  <a:lnTo>
                    <a:pt x="893" y="398"/>
                  </a:lnTo>
                  <a:lnTo>
                    <a:pt x="893" y="400"/>
                  </a:lnTo>
                  <a:lnTo>
                    <a:pt x="891" y="400"/>
                  </a:lnTo>
                  <a:lnTo>
                    <a:pt x="891" y="398"/>
                  </a:lnTo>
                  <a:lnTo>
                    <a:pt x="891" y="400"/>
                  </a:lnTo>
                  <a:lnTo>
                    <a:pt x="891" y="398"/>
                  </a:lnTo>
                  <a:lnTo>
                    <a:pt x="891" y="400"/>
                  </a:lnTo>
                  <a:lnTo>
                    <a:pt x="893" y="400"/>
                  </a:lnTo>
                  <a:lnTo>
                    <a:pt x="893" y="402"/>
                  </a:lnTo>
                  <a:lnTo>
                    <a:pt x="891" y="402"/>
                  </a:lnTo>
                  <a:lnTo>
                    <a:pt x="891" y="400"/>
                  </a:lnTo>
                  <a:lnTo>
                    <a:pt x="889" y="400"/>
                  </a:lnTo>
                  <a:lnTo>
                    <a:pt x="891" y="400"/>
                  </a:lnTo>
                  <a:lnTo>
                    <a:pt x="891" y="402"/>
                  </a:lnTo>
                  <a:lnTo>
                    <a:pt x="891" y="404"/>
                  </a:lnTo>
                  <a:lnTo>
                    <a:pt x="891" y="402"/>
                  </a:lnTo>
                  <a:lnTo>
                    <a:pt x="889" y="402"/>
                  </a:lnTo>
                  <a:lnTo>
                    <a:pt x="889" y="404"/>
                  </a:lnTo>
                  <a:lnTo>
                    <a:pt x="887" y="404"/>
                  </a:lnTo>
                  <a:lnTo>
                    <a:pt x="889" y="404"/>
                  </a:lnTo>
                  <a:lnTo>
                    <a:pt x="887" y="404"/>
                  </a:lnTo>
                  <a:lnTo>
                    <a:pt x="887" y="405"/>
                  </a:lnTo>
                  <a:lnTo>
                    <a:pt x="887" y="404"/>
                  </a:lnTo>
                  <a:lnTo>
                    <a:pt x="887" y="402"/>
                  </a:lnTo>
                  <a:lnTo>
                    <a:pt x="887" y="404"/>
                  </a:lnTo>
                  <a:lnTo>
                    <a:pt x="887" y="405"/>
                  </a:lnTo>
                  <a:lnTo>
                    <a:pt x="887" y="404"/>
                  </a:lnTo>
                  <a:lnTo>
                    <a:pt x="887" y="405"/>
                  </a:lnTo>
                  <a:lnTo>
                    <a:pt x="885" y="405"/>
                  </a:lnTo>
                  <a:lnTo>
                    <a:pt x="885" y="407"/>
                  </a:lnTo>
                  <a:lnTo>
                    <a:pt x="885" y="405"/>
                  </a:lnTo>
                  <a:lnTo>
                    <a:pt x="885" y="407"/>
                  </a:lnTo>
                  <a:lnTo>
                    <a:pt x="884" y="407"/>
                  </a:lnTo>
                  <a:lnTo>
                    <a:pt x="884" y="405"/>
                  </a:lnTo>
                  <a:lnTo>
                    <a:pt x="885" y="405"/>
                  </a:lnTo>
                  <a:lnTo>
                    <a:pt x="884" y="405"/>
                  </a:lnTo>
                  <a:lnTo>
                    <a:pt x="885" y="405"/>
                  </a:lnTo>
                  <a:lnTo>
                    <a:pt x="884" y="405"/>
                  </a:lnTo>
                  <a:lnTo>
                    <a:pt x="882" y="405"/>
                  </a:lnTo>
                  <a:lnTo>
                    <a:pt x="882" y="407"/>
                  </a:lnTo>
                  <a:lnTo>
                    <a:pt x="882" y="409"/>
                  </a:lnTo>
                  <a:lnTo>
                    <a:pt x="884" y="409"/>
                  </a:lnTo>
                  <a:lnTo>
                    <a:pt x="882" y="409"/>
                  </a:lnTo>
                  <a:lnTo>
                    <a:pt x="884" y="409"/>
                  </a:lnTo>
                  <a:lnTo>
                    <a:pt x="882" y="409"/>
                  </a:lnTo>
                  <a:lnTo>
                    <a:pt x="882" y="407"/>
                  </a:lnTo>
                  <a:lnTo>
                    <a:pt x="882" y="409"/>
                  </a:lnTo>
                  <a:lnTo>
                    <a:pt x="880" y="409"/>
                  </a:lnTo>
                  <a:lnTo>
                    <a:pt x="882" y="409"/>
                  </a:lnTo>
                  <a:lnTo>
                    <a:pt x="880" y="409"/>
                  </a:lnTo>
                  <a:lnTo>
                    <a:pt x="882" y="409"/>
                  </a:lnTo>
                  <a:lnTo>
                    <a:pt x="882" y="411"/>
                  </a:lnTo>
                  <a:lnTo>
                    <a:pt x="880" y="411"/>
                  </a:lnTo>
                  <a:lnTo>
                    <a:pt x="880" y="413"/>
                  </a:lnTo>
                  <a:lnTo>
                    <a:pt x="880" y="415"/>
                  </a:lnTo>
                  <a:lnTo>
                    <a:pt x="878" y="415"/>
                  </a:lnTo>
                  <a:lnTo>
                    <a:pt x="880" y="415"/>
                  </a:lnTo>
                  <a:lnTo>
                    <a:pt x="880" y="417"/>
                  </a:lnTo>
                  <a:lnTo>
                    <a:pt x="878" y="417"/>
                  </a:lnTo>
                  <a:lnTo>
                    <a:pt x="878" y="415"/>
                  </a:lnTo>
                  <a:lnTo>
                    <a:pt x="878" y="417"/>
                  </a:lnTo>
                  <a:lnTo>
                    <a:pt x="878" y="419"/>
                  </a:lnTo>
                  <a:lnTo>
                    <a:pt x="878" y="421"/>
                  </a:lnTo>
                  <a:lnTo>
                    <a:pt x="878" y="419"/>
                  </a:lnTo>
                  <a:lnTo>
                    <a:pt x="878" y="421"/>
                  </a:lnTo>
                  <a:lnTo>
                    <a:pt x="876" y="419"/>
                  </a:lnTo>
                  <a:lnTo>
                    <a:pt x="876" y="417"/>
                  </a:lnTo>
                  <a:lnTo>
                    <a:pt x="876" y="419"/>
                  </a:lnTo>
                  <a:lnTo>
                    <a:pt x="876" y="421"/>
                  </a:lnTo>
                  <a:lnTo>
                    <a:pt x="876" y="423"/>
                  </a:lnTo>
                  <a:lnTo>
                    <a:pt x="874" y="423"/>
                  </a:lnTo>
                  <a:lnTo>
                    <a:pt x="874" y="425"/>
                  </a:lnTo>
                  <a:lnTo>
                    <a:pt x="874" y="423"/>
                  </a:lnTo>
                  <a:lnTo>
                    <a:pt x="874" y="421"/>
                  </a:lnTo>
                  <a:lnTo>
                    <a:pt x="874" y="419"/>
                  </a:lnTo>
                  <a:lnTo>
                    <a:pt x="874" y="421"/>
                  </a:lnTo>
                  <a:lnTo>
                    <a:pt x="874" y="423"/>
                  </a:lnTo>
                  <a:lnTo>
                    <a:pt x="874" y="425"/>
                  </a:lnTo>
                  <a:lnTo>
                    <a:pt x="872" y="425"/>
                  </a:lnTo>
                  <a:lnTo>
                    <a:pt x="872" y="423"/>
                  </a:lnTo>
                  <a:lnTo>
                    <a:pt x="872" y="425"/>
                  </a:lnTo>
                  <a:lnTo>
                    <a:pt x="872" y="427"/>
                  </a:lnTo>
                  <a:lnTo>
                    <a:pt x="870" y="425"/>
                  </a:lnTo>
                  <a:lnTo>
                    <a:pt x="870" y="423"/>
                  </a:lnTo>
                  <a:lnTo>
                    <a:pt x="868" y="423"/>
                  </a:lnTo>
                  <a:lnTo>
                    <a:pt x="866" y="423"/>
                  </a:lnTo>
                  <a:lnTo>
                    <a:pt x="866" y="421"/>
                  </a:lnTo>
                  <a:lnTo>
                    <a:pt x="868" y="421"/>
                  </a:lnTo>
                  <a:lnTo>
                    <a:pt x="866" y="421"/>
                  </a:lnTo>
                  <a:lnTo>
                    <a:pt x="866" y="423"/>
                  </a:lnTo>
                  <a:lnTo>
                    <a:pt x="868" y="423"/>
                  </a:lnTo>
                  <a:lnTo>
                    <a:pt x="868" y="425"/>
                  </a:lnTo>
                  <a:lnTo>
                    <a:pt x="870" y="425"/>
                  </a:lnTo>
                  <a:lnTo>
                    <a:pt x="868" y="423"/>
                  </a:lnTo>
                  <a:lnTo>
                    <a:pt x="870" y="423"/>
                  </a:lnTo>
                  <a:lnTo>
                    <a:pt x="870" y="425"/>
                  </a:lnTo>
                  <a:lnTo>
                    <a:pt x="868" y="425"/>
                  </a:lnTo>
                  <a:lnTo>
                    <a:pt x="870" y="425"/>
                  </a:lnTo>
                  <a:lnTo>
                    <a:pt x="868" y="425"/>
                  </a:lnTo>
                  <a:lnTo>
                    <a:pt x="868" y="427"/>
                  </a:lnTo>
                  <a:lnTo>
                    <a:pt x="870" y="427"/>
                  </a:lnTo>
                  <a:lnTo>
                    <a:pt x="870" y="429"/>
                  </a:lnTo>
                  <a:lnTo>
                    <a:pt x="868" y="429"/>
                  </a:lnTo>
                  <a:lnTo>
                    <a:pt x="868" y="427"/>
                  </a:lnTo>
                  <a:lnTo>
                    <a:pt x="868" y="429"/>
                  </a:lnTo>
                  <a:lnTo>
                    <a:pt x="866" y="427"/>
                  </a:lnTo>
                  <a:lnTo>
                    <a:pt x="866" y="429"/>
                  </a:lnTo>
                  <a:lnTo>
                    <a:pt x="864" y="429"/>
                  </a:lnTo>
                  <a:lnTo>
                    <a:pt x="864" y="427"/>
                  </a:lnTo>
                  <a:lnTo>
                    <a:pt x="864" y="429"/>
                  </a:lnTo>
                  <a:lnTo>
                    <a:pt x="864" y="427"/>
                  </a:lnTo>
                  <a:lnTo>
                    <a:pt x="864" y="429"/>
                  </a:lnTo>
                  <a:lnTo>
                    <a:pt x="862" y="429"/>
                  </a:lnTo>
                  <a:lnTo>
                    <a:pt x="862" y="430"/>
                  </a:lnTo>
                  <a:lnTo>
                    <a:pt x="862" y="432"/>
                  </a:lnTo>
                  <a:lnTo>
                    <a:pt x="861" y="432"/>
                  </a:lnTo>
                  <a:lnTo>
                    <a:pt x="861" y="434"/>
                  </a:lnTo>
                  <a:lnTo>
                    <a:pt x="861" y="432"/>
                  </a:lnTo>
                  <a:lnTo>
                    <a:pt x="861" y="434"/>
                  </a:lnTo>
                  <a:lnTo>
                    <a:pt x="859" y="434"/>
                  </a:lnTo>
                  <a:lnTo>
                    <a:pt x="859" y="432"/>
                  </a:lnTo>
                  <a:lnTo>
                    <a:pt x="859" y="434"/>
                  </a:lnTo>
                  <a:lnTo>
                    <a:pt x="861" y="434"/>
                  </a:lnTo>
                  <a:lnTo>
                    <a:pt x="861" y="436"/>
                  </a:lnTo>
                  <a:lnTo>
                    <a:pt x="859" y="436"/>
                  </a:lnTo>
                  <a:lnTo>
                    <a:pt x="861" y="436"/>
                  </a:lnTo>
                  <a:lnTo>
                    <a:pt x="859" y="436"/>
                  </a:lnTo>
                  <a:close/>
                  <a:moveTo>
                    <a:pt x="37" y="265"/>
                  </a:moveTo>
                  <a:lnTo>
                    <a:pt x="35" y="265"/>
                  </a:lnTo>
                  <a:lnTo>
                    <a:pt x="37" y="265"/>
                  </a:lnTo>
                  <a:close/>
                  <a:moveTo>
                    <a:pt x="695" y="665"/>
                  </a:moveTo>
                  <a:lnTo>
                    <a:pt x="697" y="665"/>
                  </a:lnTo>
                  <a:lnTo>
                    <a:pt x="699" y="665"/>
                  </a:lnTo>
                  <a:lnTo>
                    <a:pt x="701" y="665"/>
                  </a:lnTo>
                  <a:lnTo>
                    <a:pt x="703" y="665"/>
                  </a:lnTo>
                  <a:lnTo>
                    <a:pt x="705" y="665"/>
                  </a:lnTo>
                  <a:lnTo>
                    <a:pt x="707" y="665"/>
                  </a:lnTo>
                  <a:lnTo>
                    <a:pt x="709" y="665"/>
                  </a:lnTo>
                  <a:lnTo>
                    <a:pt x="711" y="665"/>
                  </a:lnTo>
                  <a:lnTo>
                    <a:pt x="713" y="665"/>
                  </a:lnTo>
                  <a:lnTo>
                    <a:pt x="715" y="665"/>
                  </a:lnTo>
                  <a:lnTo>
                    <a:pt x="715" y="667"/>
                  </a:lnTo>
                  <a:lnTo>
                    <a:pt x="716" y="667"/>
                  </a:lnTo>
                  <a:lnTo>
                    <a:pt x="718" y="667"/>
                  </a:lnTo>
                  <a:lnTo>
                    <a:pt x="718" y="669"/>
                  </a:lnTo>
                  <a:lnTo>
                    <a:pt x="720" y="669"/>
                  </a:lnTo>
                  <a:lnTo>
                    <a:pt x="722" y="669"/>
                  </a:lnTo>
                  <a:lnTo>
                    <a:pt x="722" y="670"/>
                  </a:lnTo>
                  <a:lnTo>
                    <a:pt x="722" y="669"/>
                  </a:lnTo>
                  <a:lnTo>
                    <a:pt x="724" y="669"/>
                  </a:lnTo>
                  <a:lnTo>
                    <a:pt x="724" y="670"/>
                  </a:lnTo>
                  <a:lnTo>
                    <a:pt x="726" y="670"/>
                  </a:lnTo>
                  <a:lnTo>
                    <a:pt x="728" y="670"/>
                  </a:lnTo>
                  <a:lnTo>
                    <a:pt x="728" y="672"/>
                  </a:lnTo>
                  <a:lnTo>
                    <a:pt x="728" y="674"/>
                  </a:lnTo>
                  <a:lnTo>
                    <a:pt x="728" y="676"/>
                  </a:lnTo>
                  <a:lnTo>
                    <a:pt x="730" y="676"/>
                  </a:lnTo>
                  <a:lnTo>
                    <a:pt x="732" y="676"/>
                  </a:lnTo>
                  <a:lnTo>
                    <a:pt x="730" y="676"/>
                  </a:lnTo>
                  <a:lnTo>
                    <a:pt x="728" y="676"/>
                  </a:lnTo>
                  <a:lnTo>
                    <a:pt x="726" y="676"/>
                  </a:lnTo>
                  <a:lnTo>
                    <a:pt x="726" y="674"/>
                  </a:lnTo>
                  <a:lnTo>
                    <a:pt x="724" y="674"/>
                  </a:lnTo>
                  <a:lnTo>
                    <a:pt x="724" y="676"/>
                  </a:lnTo>
                  <a:lnTo>
                    <a:pt x="724" y="674"/>
                  </a:lnTo>
                  <a:lnTo>
                    <a:pt x="724" y="676"/>
                  </a:lnTo>
                  <a:lnTo>
                    <a:pt x="722" y="676"/>
                  </a:lnTo>
                  <a:lnTo>
                    <a:pt x="722" y="674"/>
                  </a:lnTo>
                  <a:lnTo>
                    <a:pt x="720" y="674"/>
                  </a:lnTo>
                  <a:lnTo>
                    <a:pt x="720" y="676"/>
                  </a:lnTo>
                  <a:lnTo>
                    <a:pt x="718" y="676"/>
                  </a:lnTo>
                  <a:lnTo>
                    <a:pt x="720" y="676"/>
                  </a:lnTo>
                  <a:lnTo>
                    <a:pt x="718" y="676"/>
                  </a:lnTo>
                  <a:lnTo>
                    <a:pt x="718" y="678"/>
                  </a:lnTo>
                  <a:lnTo>
                    <a:pt x="720" y="678"/>
                  </a:lnTo>
                  <a:lnTo>
                    <a:pt x="720" y="676"/>
                  </a:lnTo>
                  <a:lnTo>
                    <a:pt x="720" y="678"/>
                  </a:lnTo>
                  <a:lnTo>
                    <a:pt x="722" y="678"/>
                  </a:lnTo>
                  <a:lnTo>
                    <a:pt x="720" y="678"/>
                  </a:lnTo>
                  <a:lnTo>
                    <a:pt x="722" y="678"/>
                  </a:lnTo>
                  <a:lnTo>
                    <a:pt x="720" y="676"/>
                  </a:lnTo>
                  <a:lnTo>
                    <a:pt x="722" y="676"/>
                  </a:lnTo>
                  <a:lnTo>
                    <a:pt x="722" y="678"/>
                  </a:lnTo>
                  <a:lnTo>
                    <a:pt x="722" y="680"/>
                  </a:lnTo>
                  <a:lnTo>
                    <a:pt x="724" y="680"/>
                  </a:lnTo>
                  <a:lnTo>
                    <a:pt x="726" y="680"/>
                  </a:lnTo>
                  <a:lnTo>
                    <a:pt x="728" y="680"/>
                  </a:lnTo>
                  <a:lnTo>
                    <a:pt x="728" y="682"/>
                  </a:lnTo>
                  <a:lnTo>
                    <a:pt x="728" y="680"/>
                  </a:lnTo>
                  <a:lnTo>
                    <a:pt x="728" y="682"/>
                  </a:lnTo>
                  <a:lnTo>
                    <a:pt x="728" y="680"/>
                  </a:lnTo>
                  <a:lnTo>
                    <a:pt x="728" y="682"/>
                  </a:lnTo>
                  <a:lnTo>
                    <a:pt x="730" y="682"/>
                  </a:lnTo>
                  <a:lnTo>
                    <a:pt x="732" y="682"/>
                  </a:lnTo>
                  <a:lnTo>
                    <a:pt x="732" y="684"/>
                  </a:lnTo>
                  <a:lnTo>
                    <a:pt x="734" y="684"/>
                  </a:lnTo>
                  <a:lnTo>
                    <a:pt x="736" y="684"/>
                  </a:lnTo>
                  <a:lnTo>
                    <a:pt x="736" y="686"/>
                  </a:lnTo>
                  <a:lnTo>
                    <a:pt x="734" y="686"/>
                  </a:lnTo>
                  <a:lnTo>
                    <a:pt x="732" y="686"/>
                  </a:lnTo>
                  <a:lnTo>
                    <a:pt x="732" y="688"/>
                  </a:lnTo>
                  <a:lnTo>
                    <a:pt x="730" y="688"/>
                  </a:lnTo>
                  <a:lnTo>
                    <a:pt x="732" y="688"/>
                  </a:lnTo>
                  <a:lnTo>
                    <a:pt x="732" y="690"/>
                  </a:lnTo>
                  <a:lnTo>
                    <a:pt x="732" y="688"/>
                  </a:lnTo>
                  <a:lnTo>
                    <a:pt x="732" y="686"/>
                  </a:lnTo>
                  <a:lnTo>
                    <a:pt x="732" y="688"/>
                  </a:lnTo>
                  <a:lnTo>
                    <a:pt x="732" y="690"/>
                  </a:lnTo>
                  <a:lnTo>
                    <a:pt x="732" y="692"/>
                  </a:lnTo>
                  <a:lnTo>
                    <a:pt x="734" y="692"/>
                  </a:lnTo>
                  <a:lnTo>
                    <a:pt x="734" y="690"/>
                  </a:lnTo>
                  <a:lnTo>
                    <a:pt x="736" y="690"/>
                  </a:lnTo>
                  <a:lnTo>
                    <a:pt x="736" y="692"/>
                  </a:lnTo>
                  <a:lnTo>
                    <a:pt x="738" y="692"/>
                  </a:lnTo>
                  <a:lnTo>
                    <a:pt x="736" y="692"/>
                  </a:lnTo>
                  <a:lnTo>
                    <a:pt x="736" y="693"/>
                  </a:lnTo>
                  <a:lnTo>
                    <a:pt x="734" y="693"/>
                  </a:lnTo>
                  <a:lnTo>
                    <a:pt x="734" y="695"/>
                  </a:lnTo>
                  <a:lnTo>
                    <a:pt x="734" y="697"/>
                  </a:lnTo>
                  <a:lnTo>
                    <a:pt x="734" y="699"/>
                  </a:lnTo>
                  <a:lnTo>
                    <a:pt x="736" y="699"/>
                  </a:lnTo>
                  <a:lnTo>
                    <a:pt x="734" y="699"/>
                  </a:lnTo>
                  <a:lnTo>
                    <a:pt x="732" y="699"/>
                  </a:lnTo>
                  <a:lnTo>
                    <a:pt x="732" y="701"/>
                  </a:lnTo>
                  <a:lnTo>
                    <a:pt x="730" y="701"/>
                  </a:lnTo>
                  <a:lnTo>
                    <a:pt x="730" y="703"/>
                  </a:lnTo>
                  <a:lnTo>
                    <a:pt x="728" y="703"/>
                  </a:lnTo>
                  <a:lnTo>
                    <a:pt x="730" y="703"/>
                  </a:lnTo>
                  <a:lnTo>
                    <a:pt x="728" y="703"/>
                  </a:lnTo>
                  <a:lnTo>
                    <a:pt x="730" y="703"/>
                  </a:lnTo>
                  <a:lnTo>
                    <a:pt x="728" y="703"/>
                  </a:lnTo>
                  <a:lnTo>
                    <a:pt x="730" y="703"/>
                  </a:lnTo>
                  <a:lnTo>
                    <a:pt x="728" y="703"/>
                  </a:lnTo>
                  <a:lnTo>
                    <a:pt x="728" y="705"/>
                  </a:lnTo>
                  <a:lnTo>
                    <a:pt x="726" y="705"/>
                  </a:lnTo>
                  <a:lnTo>
                    <a:pt x="726" y="707"/>
                  </a:lnTo>
                  <a:lnTo>
                    <a:pt x="726" y="705"/>
                  </a:lnTo>
                  <a:lnTo>
                    <a:pt x="724" y="705"/>
                  </a:lnTo>
                  <a:lnTo>
                    <a:pt x="726" y="705"/>
                  </a:lnTo>
                  <a:lnTo>
                    <a:pt x="726" y="707"/>
                  </a:lnTo>
                  <a:lnTo>
                    <a:pt x="724" y="707"/>
                  </a:lnTo>
                  <a:lnTo>
                    <a:pt x="724" y="709"/>
                  </a:lnTo>
                  <a:lnTo>
                    <a:pt x="724" y="711"/>
                  </a:lnTo>
                  <a:lnTo>
                    <a:pt x="722" y="711"/>
                  </a:lnTo>
                  <a:lnTo>
                    <a:pt x="724" y="711"/>
                  </a:lnTo>
                  <a:lnTo>
                    <a:pt x="722" y="711"/>
                  </a:lnTo>
                  <a:lnTo>
                    <a:pt x="720" y="711"/>
                  </a:lnTo>
                  <a:lnTo>
                    <a:pt x="722" y="711"/>
                  </a:lnTo>
                  <a:lnTo>
                    <a:pt x="724" y="711"/>
                  </a:lnTo>
                  <a:lnTo>
                    <a:pt x="722" y="711"/>
                  </a:lnTo>
                  <a:lnTo>
                    <a:pt x="724" y="711"/>
                  </a:lnTo>
                  <a:lnTo>
                    <a:pt x="722" y="711"/>
                  </a:lnTo>
                  <a:lnTo>
                    <a:pt x="724" y="711"/>
                  </a:lnTo>
                  <a:lnTo>
                    <a:pt x="724" y="713"/>
                  </a:lnTo>
                  <a:lnTo>
                    <a:pt x="722" y="713"/>
                  </a:lnTo>
                  <a:lnTo>
                    <a:pt x="724" y="713"/>
                  </a:lnTo>
                  <a:lnTo>
                    <a:pt x="722" y="713"/>
                  </a:lnTo>
                  <a:lnTo>
                    <a:pt x="724" y="713"/>
                  </a:lnTo>
                  <a:lnTo>
                    <a:pt x="722" y="713"/>
                  </a:lnTo>
                  <a:lnTo>
                    <a:pt x="722" y="715"/>
                  </a:lnTo>
                  <a:lnTo>
                    <a:pt x="722" y="713"/>
                  </a:lnTo>
                  <a:lnTo>
                    <a:pt x="722" y="715"/>
                  </a:lnTo>
                  <a:lnTo>
                    <a:pt x="722" y="716"/>
                  </a:lnTo>
                  <a:lnTo>
                    <a:pt x="722" y="718"/>
                  </a:lnTo>
                  <a:lnTo>
                    <a:pt x="724" y="718"/>
                  </a:lnTo>
                  <a:lnTo>
                    <a:pt x="722" y="718"/>
                  </a:lnTo>
                  <a:lnTo>
                    <a:pt x="724" y="718"/>
                  </a:lnTo>
                  <a:lnTo>
                    <a:pt x="722" y="718"/>
                  </a:lnTo>
                  <a:lnTo>
                    <a:pt x="722" y="720"/>
                  </a:lnTo>
                  <a:lnTo>
                    <a:pt x="720" y="720"/>
                  </a:lnTo>
                  <a:lnTo>
                    <a:pt x="720" y="722"/>
                  </a:lnTo>
                  <a:lnTo>
                    <a:pt x="718" y="722"/>
                  </a:lnTo>
                  <a:lnTo>
                    <a:pt x="718" y="724"/>
                  </a:lnTo>
                  <a:lnTo>
                    <a:pt x="716" y="724"/>
                  </a:lnTo>
                  <a:lnTo>
                    <a:pt x="716" y="722"/>
                  </a:lnTo>
                  <a:lnTo>
                    <a:pt x="716" y="724"/>
                  </a:lnTo>
                  <a:lnTo>
                    <a:pt x="716" y="726"/>
                  </a:lnTo>
                  <a:lnTo>
                    <a:pt x="718" y="726"/>
                  </a:lnTo>
                  <a:lnTo>
                    <a:pt x="716" y="726"/>
                  </a:lnTo>
                  <a:lnTo>
                    <a:pt x="716" y="728"/>
                  </a:lnTo>
                  <a:lnTo>
                    <a:pt x="716" y="730"/>
                  </a:lnTo>
                  <a:lnTo>
                    <a:pt x="715" y="730"/>
                  </a:lnTo>
                  <a:lnTo>
                    <a:pt x="715" y="732"/>
                  </a:lnTo>
                  <a:lnTo>
                    <a:pt x="713" y="732"/>
                  </a:lnTo>
                  <a:lnTo>
                    <a:pt x="713" y="734"/>
                  </a:lnTo>
                  <a:lnTo>
                    <a:pt x="713" y="736"/>
                  </a:lnTo>
                  <a:lnTo>
                    <a:pt x="711" y="736"/>
                  </a:lnTo>
                  <a:lnTo>
                    <a:pt x="711" y="738"/>
                  </a:lnTo>
                  <a:lnTo>
                    <a:pt x="709" y="738"/>
                  </a:lnTo>
                  <a:lnTo>
                    <a:pt x="709" y="740"/>
                  </a:lnTo>
                  <a:lnTo>
                    <a:pt x="707" y="740"/>
                  </a:lnTo>
                  <a:lnTo>
                    <a:pt x="707" y="741"/>
                  </a:lnTo>
                  <a:lnTo>
                    <a:pt x="705" y="741"/>
                  </a:lnTo>
                  <a:lnTo>
                    <a:pt x="703" y="741"/>
                  </a:lnTo>
                  <a:lnTo>
                    <a:pt x="701" y="741"/>
                  </a:lnTo>
                  <a:lnTo>
                    <a:pt x="699" y="741"/>
                  </a:lnTo>
                  <a:lnTo>
                    <a:pt x="699" y="740"/>
                  </a:lnTo>
                  <a:lnTo>
                    <a:pt x="697" y="740"/>
                  </a:lnTo>
                  <a:lnTo>
                    <a:pt x="695" y="741"/>
                  </a:lnTo>
                  <a:lnTo>
                    <a:pt x="693" y="741"/>
                  </a:lnTo>
                  <a:lnTo>
                    <a:pt x="692" y="741"/>
                  </a:lnTo>
                  <a:lnTo>
                    <a:pt x="690" y="741"/>
                  </a:lnTo>
                  <a:lnTo>
                    <a:pt x="688" y="741"/>
                  </a:lnTo>
                  <a:lnTo>
                    <a:pt x="686" y="741"/>
                  </a:lnTo>
                  <a:lnTo>
                    <a:pt x="684" y="741"/>
                  </a:lnTo>
                  <a:lnTo>
                    <a:pt x="682" y="741"/>
                  </a:lnTo>
                  <a:lnTo>
                    <a:pt x="682" y="740"/>
                  </a:lnTo>
                  <a:lnTo>
                    <a:pt x="684" y="740"/>
                  </a:lnTo>
                  <a:lnTo>
                    <a:pt x="682" y="740"/>
                  </a:lnTo>
                  <a:lnTo>
                    <a:pt x="680" y="740"/>
                  </a:lnTo>
                  <a:lnTo>
                    <a:pt x="682" y="740"/>
                  </a:lnTo>
                  <a:lnTo>
                    <a:pt x="680" y="740"/>
                  </a:lnTo>
                  <a:lnTo>
                    <a:pt x="678" y="740"/>
                  </a:lnTo>
                  <a:lnTo>
                    <a:pt x="678" y="741"/>
                  </a:lnTo>
                  <a:lnTo>
                    <a:pt x="676" y="741"/>
                  </a:lnTo>
                  <a:lnTo>
                    <a:pt x="676" y="743"/>
                  </a:lnTo>
                  <a:lnTo>
                    <a:pt x="676" y="745"/>
                  </a:lnTo>
                  <a:lnTo>
                    <a:pt x="676" y="747"/>
                  </a:lnTo>
                  <a:lnTo>
                    <a:pt x="674" y="747"/>
                  </a:lnTo>
                  <a:lnTo>
                    <a:pt x="674" y="749"/>
                  </a:lnTo>
                  <a:lnTo>
                    <a:pt x="674" y="747"/>
                  </a:lnTo>
                  <a:lnTo>
                    <a:pt x="674" y="749"/>
                  </a:lnTo>
                  <a:lnTo>
                    <a:pt x="674" y="747"/>
                  </a:lnTo>
                  <a:lnTo>
                    <a:pt x="672" y="747"/>
                  </a:lnTo>
                  <a:lnTo>
                    <a:pt x="672" y="749"/>
                  </a:lnTo>
                  <a:lnTo>
                    <a:pt x="670" y="749"/>
                  </a:lnTo>
                  <a:lnTo>
                    <a:pt x="668" y="749"/>
                  </a:lnTo>
                  <a:lnTo>
                    <a:pt x="670" y="749"/>
                  </a:lnTo>
                  <a:lnTo>
                    <a:pt x="668" y="749"/>
                  </a:lnTo>
                  <a:lnTo>
                    <a:pt x="668" y="751"/>
                  </a:lnTo>
                  <a:lnTo>
                    <a:pt x="668" y="749"/>
                  </a:lnTo>
                  <a:lnTo>
                    <a:pt x="668" y="751"/>
                  </a:lnTo>
                  <a:lnTo>
                    <a:pt x="668" y="749"/>
                  </a:lnTo>
                  <a:lnTo>
                    <a:pt x="667" y="749"/>
                  </a:lnTo>
                  <a:lnTo>
                    <a:pt x="667" y="751"/>
                  </a:lnTo>
                  <a:lnTo>
                    <a:pt x="667" y="749"/>
                  </a:lnTo>
                  <a:lnTo>
                    <a:pt x="667" y="751"/>
                  </a:lnTo>
                  <a:lnTo>
                    <a:pt x="667" y="749"/>
                  </a:lnTo>
                  <a:lnTo>
                    <a:pt x="667" y="751"/>
                  </a:lnTo>
                  <a:lnTo>
                    <a:pt x="668" y="751"/>
                  </a:lnTo>
                  <a:lnTo>
                    <a:pt x="668" y="753"/>
                  </a:lnTo>
                  <a:lnTo>
                    <a:pt x="667" y="753"/>
                  </a:lnTo>
                  <a:lnTo>
                    <a:pt x="665" y="753"/>
                  </a:lnTo>
                  <a:lnTo>
                    <a:pt x="663" y="753"/>
                  </a:lnTo>
                  <a:lnTo>
                    <a:pt x="663" y="755"/>
                  </a:lnTo>
                  <a:lnTo>
                    <a:pt x="661" y="755"/>
                  </a:lnTo>
                  <a:lnTo>
                    <a:pt x="659" y="755"/>
                  </a:lnTo>
                  <a:lnTo>
                    <a:pt x="659" y="757"/>
                  </a:lnTo>
                  <a:lnTo>
                    <a:pt x="659" y="759"/>
                  </a:lnTo>
                  <a:lnTo>
                    <a:pt x="657" y="759"/>
                  </a:lnTo>
                  <a:lnTo>
                    <a:pt x="657" y="761"/>
                  </a:lnTo>
                  <a:lnTo>
                    <a:pt x="655" y="761"/>
                  </a:lnTo>
                  <a:lnTo>
                    <a:pt x="655" y="763"/>
                  </a:lnTo>
                  <a:lnTo>
                    <a:pt x="653" y="763"/>
                  </a:lnTo>
                  <a:lnTo>
                    <a:pt x="653" y="764"/>
                  </a:lnTo>
                  <a:lnTo>
                    <a:pt x="651" y="764"/>
                  </a:lnTo>
                  <a:lnTo>
                    <a:pt x="649" y="766"/>
                  </a:lnTo>
                  <a:lnTo>
                    <a:pt x="647" y="766"/>
                  </a:lnTo>
                  <a:lnTo>
                    <a:pt x="645" y="766"/>
                  </a:lnTo>
                  <a:lnTo>
                    <a:pt x="645" y="768"/>
                  </a:lnTo>
                  <a:lnTo>
                    <a:pt x="645" y="770"/>
                  </a:lnTo>
                  <a:lnTo>
                    <a:pt x="645" y="772"/>
                  </a:lnTo>
                  <a:lnTo>
                    <a:pt x="647" y="774"/>
                  </a:lnTo>
                  <a:lnTo>
                    <a:pt x="645" y="774"/>
                  </a:lnTo>
                  <a:lnTo>
                    <a:pt x="644" y="774"/>
                  </a:lnTo>
                  <a:lnTo>
                    <a:pt x="642" y="774"/>
                  </a:lnTo>
                  <a:lnTo>
                    <a:pt x="642" y="772"/>
                  </a:lnTo>
                  <a:lnTo>
                    <a:pt x="642" y="774"/>
                  </a:lnTo>
                  <a:lnTo>
                    <a:pt x="640" y="774"/>
                  </a:lnTo>
                  <a:lnTo>
                    <a:pt x="640" y="776"/>
                  </a:lnTo>
                  <a:lnTo>
                    <a:pt x="638" y="776"/>
                  </a:lnTo>
                  <a:lnTo>
                    <a:pt x="640" y="776"/>
                  </a:lnTo>
                  <a:lnTo>
                    <a:pt x="640" y="778"/>
                  </a:lnTo>
                  <a:lnTo>
                    <a:pt x="638" y="778"/>
                  </a:lnTo>
                  <a:lnTo>
                    <a:pt x="636" y="780"/>
                  </a:lnTo>
                  <a:lnTo>
                    <a:pt x="636" y="778"/>
                  </a:lnTo>
                  <a:lnTo>
                    <a:pt x="636" y="780"/>
                  </a:lnTo>
                  <a:lnTo>
                    <a:pt x="634" y="780"/>
                  </a:lnTo>
                  <a:lnTo>
                    <a:pt x="632" y="780"/>
                  </a:lnTo>
                  <a:lnTo>
                    <a:pt x="630" y="780"/>
                  </a:lnTo>
                  <a:lnTo>
                    <a:pt x="632" y="780"/>
                  </a:lnTo>
                  <a:lnTo>
                    <a:pt x="632" y="782"/>
                  </a:lnTo>
                  <a:lnTo>
                    <a:pt x="630" y="782"/>
                  </a:lnTo>
                  <a:lnTo>
                    <a:pt x="632" y="782"/>
                  </a:lnTo>
                  <a:lnTo>
                    <a:pt x="630" y="782"/>
                  </a:lnTo>
                  <a:lnTo>
                    <a:pt x="630" y="784"/>
                  </a:lnTo>
                  <a:lnTo>
                    <a:pt x="632" y="784"/>
                  </a:lnTo>
                  <a:lnTo>
                    <a:pt x="630" y="784"/>
                  </a:lnTo>
                  <a:lnTo>
                    <a:pt x="630" y="782"/>
                  </a:lnTo>
                  <a:lnTo>
                    <a:pt x="628" y="782"/>
                  </a:lnTo>
                  <a:lnTo>
                    <a:pt x="626" y="782"/>
                  </a:lnTo>
                  <a:lnTo>
                    <a:pt x="624" y="782"/>
                  </a:lnTo>
                  <a:lnTo>
                    <a:pt x="622" y="782"/>
                  </a:lnTo>
                  <a:lnTo>
                    <a:pt x="620" y="782"/>
                  </a:lnTo>
                  <a:lnTo>
                    <a:pt x="619" y="782"/>
                  </a:lnTo>
                  <a:lnTo>
                    <a:pt x="619" y="780"/>
                  </a:lnTo>
                  <a:lnTo>
                    <a:pt x="619" y="778"/>
                  </a:lnTo>
                  <a:lnTo>
                    <a:pt x="617" y="778"/>
                  </a:lnTo>
                  <a:lnTo>
                    <a:pt x="615" y="780"/>
                  </a:lnTo>
                  <a:lnTo>
                    <a:pt x="613" y="780"/>
                  </a:lnTo>
                  <a:lnTo>
                    <a:pt x="611" y="782"/>
                  </a:lnTo>
                  <a:lnTo>
                    <a:pt x="609" y="782"/>
                  </a:lnTo>
                  <a:lnTo>
                    <a:pt x="607" y="782"/>
                  </a:lnTo>
                  <a:lnTo>
                    <a:pt x="605" y="784"/>
                  </a:lnTo>
                  <a:lnTo>
                    <a:pt x="603" y="784"/>
                  </a:lnTo>
                  <a:lnTo>
                    <a:pt x="601" y="786"/>
                  </a:lnTo>
                  <a:lnTo>
                    <a:pt x="597" y="786"/>
                  </a:lnTo>
                  <a:lnTo>
                    <a:pt x="599" y="791"/>
                  </a:lnTo>
                  <a:lnTo>
                    <a:pt x="596" y="793"/>
                  </a:lnTo>
                  <a:lnTo>
                    <a:pt x="594" y="793"/>
                  </a:lnTo>
                  <a:lnTo>
                    <a:pt x="592" y="795"/>
                  </a:lnTo>
                  <a:lnTo>
                    <a:pt x="590" y="795"/>
                  </a:lnTo>
                  <a:lnTo>
                    <a:pt x="590" y="797"/>
                  </a:lnTo>
                  <a:lnTo>
                    <a:pt x="590" y="799"/>
                  </a:lnTo>
                  <a:lnTo>
                    <a:pt x="592" y="801"/>
                  </a:lnTo>
                  <a:lnTo>
                    <a:pt x="592" y="803"/>
                  </a:lnTo>
                  <a:lnTo>
                    <a:pt x="594" y="805"/>
                  </a:lnTo>
                  <a:lnTo>
                    <a:pt x="594" y="807"/>
                  </a:lnTo>
                  <a:lnTo>
                    <a:pt x="594" y="809"/>
                  </a:lnTo>
                  <a:lnTo>
                    <a:pt x="596" y="811"/>
                  </a:lnTo>
                  <a:lnTo>
                    <a:pt x="596" y="812"/>
                  </a:lnTo>
                  <a:lnTo>
                    <a:pt x="596" y="814"/>
                  </a:lnTo>
                  <a:lnTo>
                    <a:pt x="597" y="814"/>
                  </a:lnTo>
                  <a:lnTo>
                    <a:pt x="597" y="816"/>
                  </a:lnTo>
                  <a:lnTo>
                    <a:pt x="597" y="818"/>
                  </a:lnTo>
                  <a:lnTo>
                    <a:pt x="596" y="818"/>
                  </a:lnTo>
                  <a:lnTo>
                    <a:pt x="596" y="820"/>
                  </a:lnTo>
                  <a:lnTo>
                    <a:pt x="596" y="822"/>
                  </a:lnTo>
                  <a:lnTo>
                    <a:pt x="596" y="824"/>
                  </a:lnTo>
                  <a:lnTo>
                    <a:pt x="594" y="824"/>
                  </a:lnTo>
                  <a:lnTo>
                    <a:pt x="594" y="826"/>
                  </a:lnTo>
                  <a:lnTo>
                    <a:pt x="594" y="828"/>
                  </a:lnTo>
                  <a:lnTo>
                    <a:pt x="592" y="828"/>
                  </a:lnTo>
                  <a:lnTo>
                    <a:pt x="592" y="830"/>
                  </a:lnTo>
                  <a:lnTo>
                    <a:pt x="590" y="830"/>
                  </a:lnTo>
                  <a:lnTo>
                    <a:pt x="590" y="832"/>
                  </a:lnTo>
                  <a:lnTo>
                    <a:pt x="588" y="832"/>
                  </a:lnTo>
                  <a:lnTo>
                    <a:pt x="588" y="834"/>
                  </a:lnTo>
                  <a:lnTo>
                    <a:pt x="586" y="834"/>
                  </a:lnTo>
                  <a:lnTo>
                    <a:pt x="586" y="836"/>
                  </a:lnTo>
                  <a:lnTo>
                    <a:pt x="584" y="836"/>
                  </a:lnTo>
                  <a:lnTo>
                    <a:pt x="584" y="837"/>
                  </a:lnTo>
                  <a:lnTo>
                    <a:pt x="582" y="837"/>
                  </a:lnTo>
                  <a:lnTo>
                    <a:pt x="580" y="839"/>
                  </a:lnTo>
                  <a:lnTo>
                    <a:pt x="578" y="841"/>
                  </a:lnTo>
                  <a:lnTo>
                    <a:pt x="576" y="841"/>
                  </a:lnTo>
                  <a:lnTo>
                    <a:pt x="576" y="839"/>
                  </a:lnTo>
                  <a:lnTo>
                    <a:pt x="574" y="839"/>
                  </a:lnTo>
                  <a:lnTo>
                    <a:pt x="574" y="837"/>
                  </a:lnTo>
                  <a:lnTo>
                    <a:pt x="574" y="836"/>
                  </a:lnTo>
                  <a:lnTo>
                    <a:pt x="574" y="834"/>
                  </a:lnTo>
                  <a:lnTo>
                    <a:pt x="574" y="836"/>
                  </a:lnTo>
                  <a:lnTo>
                    <a:pt x="574" y="834"/>
                  </a:lnTo>
                  <a:lnTo>
                    <a:pt x="572" y="834"/>
                  </a:lnTo>
                  <a:lnTo>
                    <a:pt x="572" y="836"/>
                  </a:lnTo>
                  <a:lnTo>
                    <a:pt x="571" y="836"/>
                  </a:lnTo>
                  <a:lnTo>
                    <a:pt x="571" y="834"/>
                  </a:lnTo>
                  <a:lnTo>
                    <a:pt x="569" y="834"/>
                  </a:lnTo>
                  <a:lnTo>
                    <a:pt x="569" y="836"/>
                  </a:lnTo>
                  <a:lnTo>
                    <a:pt x="569" y="834"/>
                  </a:lnTo>
                  <a:lnTo>
                    <a:pt x="569" y="836"/>
                  </a:lnTo>
                  <a:lnTo>
                    <a:pt x="569" y="834"/>
                  </a:lnTo>
                  <a:lnTo>
                    <a:pt x="567" y="834"/>
                  </a:lnTo>
                  <a:lnTo>
                    <a:pt x="567" y="836"/>
                  </a:lnTo>
                  <a:lnTo>
                    <a:pt x="565" y="836"/>
                  </a:lnTo>
                  <a:lnTo>
                    <a:pt x="565" y="839"/>
                  </a:lnTo>
                  <a:lnTo>
                    <a:pt x="563" y="845"/>
                  </a:lnTo>
                  <a:lnTo>
                    <a:pt x="563" y="847"/>
                  </a:lnTo>
                  <a:lnTo>
                    <a:pt x="563" y="849"/>
                  </a:lnTo>
                  <a:lnTo>
                    <a:pt x="561" y="851"/>
                  </a:lnTo>
                  <a:lnTo>
                    <a:pt x="561" y="853"/>
                  </a:lnTo>
                  <a:lnTo>
                    <a:pt x="561" y="855"/>
                  </a:lnTo>
                  <a:lnTo>
                    <a:pt x="561" y="857"/>
                  </a:lnTo>
                  <a:lnTo>
                    <a:pt x="559" y="857"/>
                  </a:lnTo>
                  <a:lnTo>
                    <a:pt x="559" y="859"/>
                  </a:lnTo>
                  <a:lnTo>
                    <a:pt x="559" y="860"/>
                  </a:lnTo>
                  <a:lnTo>
                    <a:pt x="559" y="862"/>
                  </a:lnTo>
                  <a:lnTo>
                    <a:pt x="559" y="864"/>
                  </a:lnTo>
                  <a:lnTo>
                    <a:pt x="557" y="866"/>
                  </a:lnTo>
                  <a:lnTo>
                    <a:pt x="557" y="868"/>
                  </a:lnTo>
                  <a:lnTo>
                    <a:pt x="557" y="870"/>
                  </a:lnTo>
                  <a:lnTo>
                    <a:pt x="557" y="872"/>
                  </a:lnTo>
                  <a:lnTo>
                    <a:pt x="555" y="872"/>
                  </a:lnTo>
                  <a:lnTo>
                    <a:pt x="555" y="874"/>
                  </a:lnTo>
                  <a:lnTo>
                    <a:pt x="555" y="876"/>
                  </a:lnTo>
                  <a:lnTo>
                    <a:pt x="555" y="878"/>
                  </a:lnTo>
                  <a:lnTo>
                    <a:pt x="555" y="880"/>
                  </a:lnTo>
                  <a:lnTo>
                    <a:pt x="553" y="880"/>
                  </a:lnTo>
                  <a:lnTo>
                    <a:pt x="553" y="882"/>
                  </a:lnTo>
                  <a:lnTo>
                    <a:pt x="553" y="884"/>
                  </a:lnTo>
                  <a:lnTo>
                    <a:pt x="553" y="885"/>
                  </a:lnTo>
                  <a:lnTo>
                    <a:pt x="553" y="887"/>
                  </a:lnTo>
                  <a:lnTo>
                    <a:pt x="551" y="887"/>
                  </a:lnTo>
                  <a:lnTo>
                    <a:pt x="551" y="889"/>
                  </a:lnTo>
                  <a:lnTo>
                    <a:pt x="551" y="891"/>
                  </a:lnTo>
                  <a:lnTo>
                    <a:pt x="551" y="893"/>
                  </a:lnTo>
                  <a:lnTo>
                    <a:pt x="551" y="895"/>
                  </a:lnTo>
                  <a:lnTo>
                    <a:pt x="551" y="897"/>
                  </a:lnTo>
                  <a:lnTo>
                    <a:pt x="551" y="899"/>
                  </a:lnTo>
                  <a:lnTo>
                    <a:pt x="553" y="899"/>
                  </a:lnTo>
                  <a:lnTo>
                    <a:pt x="553" y="901"/>
                  </a:lnTo>
                  <a:lnTo>
                    <a:pt x="553" y="903"/>
                  </a:lnTo>
                  <a:lnTo>
                    <a:pt x="553" y="905"/>
                  </a:lnTo>
                  <a:lnTo>
                    <a:pt x="553" y="907"/>
                  </a:lnTo>
                  <a:lnTo>
                    <a:pt x="555" y="908"/>
                  </a:lnTo>
                  <a:lnTo>
                    <a:pt x="555" y="910"/>
                  </a:lnTo>
                  <a:lnTo>
                    <a:pt x="553" y="910"/>
                  </a:lnTo>
                  <a:lnTo>
                    <a:pt x="553" y="912"/>
                  </a:lnTo>
                  <a:lnTo>
                    <a:pt x="551" y="912"/>
                  </a:lnTo>
                  <a:lnTo>
                    <a:pt x="553" y="912"/>
                  </a:lnTo>
                  <a:lnTo>
                    <a:pt x="553" y="914"/>
                  </a:lnTo>
                  <a:lnTo>
                    <a:pt x="551" y="914"/>
                  </a:lnTo>
                  <a:lnTo>
                    <a:pt x="551" y="916"/>
                  </a:lnTo>
                  <a:lnTo>
                    <a:pt x="549" y="916"/>
                  </a:lnTo>
                  <a:lnTo>
                    <a:pt x="549" y="918"/>
                  </a:lnTo>
                  <a:lnTo>
                    <a:pt x="551" y="918"/>
                  </a:lnTo>
                  <a:lnTo>
                    <a:pt x="551" y="920"/>
                  </a:lnTo>
                  <a:lnTo>
                    <a:pt x="549" y="920"/>
                  </a:lnTo>
                  <a:lnTo>
                    <a:pt x="549" y="922"/>
                  </a:lnTo>
                  <a:lnTo>
                    <a:pt x="549" y="924"/>
                  </a:lnTo>
                  <a:lnTo>
                    <a:pt x="549" y="926"/>
                  </a:lnTo>
                  <a:lnTo>
                    <a:pt x="549" y="928"/>
                  </a:lnTo>
                  <a:lnTo>
                    <a:pt x="551" y="928"/>
                  </a:lnTo>
                  <a:lnTo>
                    <a:pt x="553" y="928"/>
                  </a:lnTo>
                  <a:lnTo>
                    <a:pt x="553" y="930"/>
                  </a:lnTo>
                  <a:lnTo>
                    <a:pt x="553" y="932"/>
                  </a:lnTo>
                  <a:lnTo>
                    <a:pt x="551" y="932"/>
                  </a:lnTo>
                  <a:lnTo>
                    <a:pt x="551" y="933"/>
                  </a:lnTo>
                  <a:lnTo>
                    <a:pt x="551" y="935"/>
                  </a:lnTo>
                  <a:lnTo>
                    <a:pt x="553" y="933"/>
                  </a:lnTo>
                  <a:lnTo>
                    <a:pt x="553" y="935"/>
                  </a:lnTo>
                  <a:lnTo>
                    <a:pt x="553" y="937"/>
                  </a:lnTo>
                  <a:lnTo>
                    <a:pt x="551" y="937"/>
                  </a:lnTo>
                  <a:lnTo>
                    <a:pt x="553" y="937"/>
                  </a:lnTo>
                  <a:lnTo>
                    <a:pt x="553" y="939"/>
                  </a:lnTo>
                  <a:lnTo>
                    <a:pt x="553" y="941"/>
                  </a:lnTo>
                  <a:lnTo>
                    <a:pt x="555" y="941"/>
                  </a:lnTo>
                  <a:lnTo>
                    <a:pt x="555" y="939"/>
                  </a:lnTo>
                  <a:lnTo>
                    <a:pt x="555" y="941"/>
                  </a:lnTo>
                  <a:lnTo>
                    <a:pt x="555" y="939"/>
                  </a:lnTo>
                  <a:lnTo>
                    <a:pt x="555" y="941"/>
                  </a:lnTo>
                  <a:lnTo>
                    <a:pt x="557" y="941"/>
                  </a:lnTo>
                  <a:lnTo>
                    <a:pt x="557" y="943"/>
                  </a:lnTo>
                  <a:lnTo>
                    <a:pt x="557" y="945"/>
                  </a:lnTo>
                  <a:lnTo>
                    <a:pt x="557" y="947"/>
                  </a:lnTo>
                  <a:lnTo>
                    <a:pt x="555" y="947"/>
                  </a:lnTo>
                  <a:lnTo>
                    <a:pt x="555" y="949"/>
                  </a:lnTo>
                  <a:lnTo>
                    <a:pt x="553" y="949"/>
                  </a:lnTo>
                  <a:lnTo>
                    <a:pt x="555" y="949"/>
                  </a:lnTo>
                  <a:lnTo>
                    <a:pt x="553" y="949"/>
                  </a:lnTo>
                  <a:lnTo>
                    <a:pt x="553" y="951"/>
                  </a:lnTo>
                  <a:lnTo>
                    <a:pt x="553" y="953"/>
                  </a:lnTo>
                  <a:lnTo>
                    <a:pt x="553" y="955"/>
                  </a:lnTo>
                  <a:lnTo>
                    <a:pt x="555" y="955"/>
                  </a:lnTo>
                  <a:lnTo>
                    <a:pt x="555" y="956"/>
                  </a:lnTo>
                  <a:lnTo>
                    <a:pt x="555" y="955"/>
                  </a:lnTo>
                  <a:lnTo>
                    <a:pt x="555" y="956"/>
                  </a:lnTo>
                  <a:lnTo>
                    <a:pt x="553" y="956"/>
                  </a:lnTo>
                  <a:lnTo>
                    <a:pt x="553" y="958"/>
                  </a:lnTo>
                  <a:lnTo>
                    <a:pt x="551" y="958"/>
                  </a:lnTo>
                  <a:lnTo>
                    <a:pt x="553" y="958"/>
                  </a:lnTo>
                  <a:lnTo>
                    <a:pt x="551" y="958"/>
                  </a:lnTo>
                  <a:lnTo>
                    <a:pt x="551" y="960"/>
                  </a:lnTo>
                  <a:lnTo>
                    <a:pt x="551" y="962"/>
                  </a:lnTo>
                  <a:lnTo>
                    <a:pt x="549" y="962"/>
                  </a:lnTo>
                  <a:lnTo>
                    <a:pt x="549" y="964"/>
                  </a:lnTo>
                  <a:lnTo>
                    <a:pt x="548" y="964"/>
                  </a:lnTo>
                  <a:lnTo>
                    <a:pt x="548" y="966"/>
                  </a:lnTo>
                  <a:lnTo>
                    <a:pt x="548" y="968"/>
                  </a:lnTo>
                  <a:lnTo>
                    <a:pt x="546" y="968"/>
                  </a:lnTo>
                  <a:lnTo>
                    <a:pt x="546" y="970"/>
                  </a:lnTo>
                  <a:lnTo>
                    <a:pt x="548" y="970"/>
                  </a:lnTo>
                  <a:lnTo>
                    <a:pt x="548" y="972"/>
                  </a:lnTo>
                  <a:lnTo>
                    <a:pt x="546" y="972"/>
                  </a:lnTo>
                  <a:lnTo>
                    <a:pt x="546" y="974"/>
                  </a:lnTo>
                  <a:lnTo>
                    <a:pt x="546" y="976"/>
                  </a:lnTo>
                  <a:lnTo>
                    <a:pt x="548" y="976"/>
                  </a:lnTo>
                  <a:lnTo>
                    <a:pt x="549" y="978"/>
                  </a:lnTo>
                  <a:lnTo>
                    <a:pt x="551" y="978"/>
                  </a:lnTo>
                  <a:lnTo>
                    <a:pt x="551" y="980"/>
                  </a:lnTo>
                  <a:lnTo>
                    <a:pt x="551" y="981"/>
                  </a:lnTo>
                  <a:lnTo>
                    <a:pt x="549" y="980"/>
                  </a:lnTo>
                  <a:lnTo>
                    <a:pt x="549" y="981"/>
                  </a:lnTo>
                  <a:lnTo>
                    <a:pt x="548" y="981"/>
                  </a:lnTo>
                  <a:lnTo>
                    <a:pt x="548" y="980"/>
                  </a:lnTo>
                  <a:lnTo>
                    <a:pt x="546" y="980"/>
                  </a:lnTo>
                  <a:lnTo>
                    <a:pt x="544" y="980"/>
                  </a:lnTo>
                  <a:lnTo>
                    <a:pt x="544" y="981"/>
                  </a:lnTo>
                  <a:lnTo>
                    <a:pt x="544" y="983"/>
                  </a:lnTo>
                  <a:lnTo>
                    <a:pt x="546" y="983"/>
                  </a:lnTo>
                  <a:lnTo>
                    <a:pt x="546" y="985"/>
                  </a:lnTo>
                  <a:lnTo>
                    <a:pt x="546" y="987"/>
                  </a:lnTo>
                  <a:lnTo>
                    <a:pt x="546" y="989"/>
                  </a:lnTo>
                  <a:lnTo>
                    <a:pt x="546" y="991"/>
                  </a:lnTo>
                  <a:lnTo>
                    <a:pt x="546" y="993"/>
                  </a:lnTo>
                  <a:lnTo>
                    <a:pt x="544" y="993"/>
                  </a:lnTo>
                  <a:lnTo>
                    <a:pt x="544" y="991"/>
                  </a:lnTo>
                  <a:lnTo>
                    <a:pt x="542" y="991"/>
                  </a:lnTo>
                  <a:lnTo>
                    <a:pt x="542" y="989"/>
                  </a:lnTo>
                  <a:lnTo>
                    <a:pt x="540" y="989"/>
                  </a:lnTo>
                  <a:lnTo>
                    <a:pt x="540" y="987"/>
                  </a:lnTo>
                  <a:lnTo>
                    <a:pt x="540" y="989"/>
                  </a:lnTo>
                  <a:lnTo>
                    <a:pt x="538" y="989"/>
                  </a:lnTo>
                  <a:lnTo>
                    <a:pt x="536" y="987"/>
                  </a:lnTo>
                  <a:lnTo>
                    <a:pt x="536" y="989"/>
                  </a:lnTo>
                  <a:lnTo>
                    <a:pt x="538" y="989"/>
                  </a:lnTo>
                  <a:lnTo>
                    <a:pt x="538" y="991"/>
                  </a:lnTo>
                  <a:lnTo>
                    <a:pt x="536" y="991"/>
                  </a:lnTo>
                  <a:lnTo>
                    <a:pt x="534" y="991"/>
                  </a:lnTo>
                  <a:lnTo>
                    <a:pt x="534" y="993"/>
                  </a:lnTo>
                  <a:lnTo>
                    <a:pt x="534" y="995"/>
                  </a:lnTo>
                  <a:lnTo>
                    <a:pt x="534" y="997"/>
                  </a:lnTo>
                  <a:lnTo>
                    <a:pt x="532" y="997"/>
                  </a:lnTo>
                  <a:lnTo>
                    <a:pt x="530" y="997"/>
                  </a:lnTo>
                  <a:lnTo>
                    <a:pt x="528" y="997"/>
                  </a:lnTo>
                  <a:lnTo>
                    <a:pt x="526" y="995"/>
                  </a:lnTo>
                  <a:lnTo>
                    <a:pt x="524" y="995"/>
                  </a:lnTo>
                  <a:lnTo>
                    <a:pt x="524" y="997"/>
                  </a:lnTo>
                  <a:lnTo>
                    <a:pt x="524" y="999"/>
                  </a:lnTo>
                  <a:lnTo>
                    <a:pt x="523" y="999"/>
                  </a:lnTo>
                  <a:lnTo>
                    <a:pt x="524" y="999"/>
                  </a:lnTo>
                  <a:lnTo>
                    <a:pt x="523" y="999"/>
                  </a:lnTo>
                  <a:lnTo>
                    <a:pt x="523" y="1001"/>
                  </a:lnTo>
                  <a:lnTo>
                    <a:pt x="521" y="1001"/>
                  </a:lnTo>
                  <a:lnTo>
                    <a:pt x="523" y="1001"/>
                  </a:lnTo>
                  <a:lnTo>
                    <a:pt x="523" y="1003"/>
                  </a:lnTo>
                  <a:lnTo>
                    <a:pt x="523" y="1004"/>
                  </a:lnTo>
                  <a:lnTo>
                    <a:pt x="523" y="1006"/>
                  </a:lnTo>
                  <a:lnTo>
                    <a:pt x="523" y="1008"/>
                  </a:lnTo>
                  <a:lnTo>
                    <a:pt x="523" y="1010"/>
                  </a:lnTo>
                  <a:lnTo>
                    <a:pt x="523" y="1012"/>
                  </a:lnTo>
                  <a:lnTo>
                    <a:pt x="521" y="1012"/>
                  </a:lnTo>
                  <a:lnTo>
                    <a:pt x="523" y="1012"/>
                  </a:lnTo>
                  <a:lnTo>
                    <a:pt x="521" y="1012"/>
                  </a:lnTo>
                  <a:lnTo>
                    <a:pt x="523" y="1012"/>
                  </a:lnTo>
                  <a:lnTo>
                    <a:pt x="521" y="1012"/>
                  </a:lnTo>
                  <a:lnTo>
                    <a:pt x="523" y="1012"/>
                  </a:lnTo>
                  <a:lnTo>
                    <a:pt x="523" y="1014"/>
                  </a:lnTo>
                  <a:lnTo>
                    <a:pt x="521" y="1014"/>
                  </a:lnTo>
                  <a:lnTo>
                    <a:pt x="523" y="1014"/>
                  </a:lnTo>
                  <a:lnTo>
                    <a:pt x="523" y="1016"/>
                  </a:lnTo>
                  <a:lnTo>
                    <a:pt x="521" y="1016"/>
                  </a:lnTo>
                  <a:lnTo>
                    <a:pt x="519" y="1016"/>
                  </a:lnTo>
                  <a:lnTo>
                    <a:pt x="519" y="1018"/>
                  </a:lnTo>
                  <a:lnTo>
                    <a:pt x="517" y="1018"/>
                  </a:lnTo>
                  <a:lnTo>
                    <a:pt x="515" y="1018"/>
                  </a:lnTo>
                  <a:lnTo>
                    <a:pt x="513" y="1018"/>
                  </a:lnTo>
                  <a:lnTo>
                    <a:pt x="513" y="1020"/>
                  </a:lnTo>
                  <a:lnTo>
                    <a:pt x="511" y="1020"/>
                  </a:lnTo>
                  <a:lnTo>
                    <a:pt x="509" y="1020"/>
                  </a:lnTo>
                  <a:lnTo>
                    <a:pt x="507" y="1020"/>
                  </a:lnTo>
                  <a:lnTo>
                    <a:pt x="507" y="1022"/>
                  </a:lnTo>
                  <a:lnTo>
                    <a:pt x="505" y="1022"/>
                  </a:lnTo>
                  <a:lnTo>
                    <a:pt x="503" y="1022"/>
                  </a:lnTo>
                  <a:lnTo>
                    <a:pt x="501" y="1022"/>
                  </a:lnTo>
                  <a:lnTo>
                    <a:pt x="501" y="1024"/>
                  </a:lnTo>
                  <a:lnTo>
                    <a:pt x="500" y="1024"/>
                  </a:lnTo>
                  <a:lnTo>
                    <a:pt x="498" y="1024"/>
                  </a:lnTo>
                  <a:lnTo>
                    <a:pt x="496" y="1024"/>
                  </a:lnTo>
                  <a:lnTo>
                    <a:pt x="496" y="1026"/>
                  </a:lnTo>
                  <a:lnTo>
                    <a:pt x="494" y="1026"/>
                  </a:lnTo>
                  <a:lnTo>
                    <a:pt x="492" y="1026"/>
                  </a:lnTo>
                  <a:lnTo>
                    <a:pt x="490" y="1026"/>
                  </a:lnTo>
                  <a:lnTo>
                    <a:pt x="490" y="1024"/>
                  </a:lnTo>
                  <a:lnTo>
                    <a:pt x="492" y="1024"/>
                  </a:lnTo>
                  <a:lnTo>
                    <a:pt x="490" y="1024"/>
                  </a:lnTo>
                  <a:lnTo>
                    <a:pt x="490" y="1022"/>
                  </a:lnTo>
                  <a:lnTo>
                    <a:pt x="490" y="1020"/>
                  </a:lnTo>
                  <a:lnTo>
                    <a:pt x="492" y="1020"/>
                  </a:lnTo>
                  <a:lnTo>
                    <a:pt x="492" y="1018"/>
                  </a:lnTo>
                  <a:lnTo>
                    <a:pt x="492" y="1020"/>
                  </a:lnTo>
                  <a:lnTo>
                    <a:pt x="490" y="1020"/>
                  </a:lnTo>
                  <a:lnTo>
                    <a:pt x="490" y="1022"/>
                  </a:lnTo>
                  <a:lnTo>
                    <a:pt x="490" y="1024"/>
                  </a:lnTo>
                  <a:lnTo>
                    <a:pt x="488" y="1024"/>
                  </a:lnTo>
                  <a:lnTo>
                    <a:pt x="488" y="1022"/>
                  </a:lnTo>
                  <a:lnTo>
                    <a:pt x="488" y="1020"/>
                  </a:lnTo>
                  <a:lnTo>
                    <a:pt x="488" y="1022"/>
                  </a:lnTo>
                  <a:lnTo>
                    <a:pt x="488" y="1020"/>
                  </a:lnTo>
                  <a:lnTo>
                    <a:pt x="488" y="1018"/>
                  </a:lnTo>
                  <a:lnTo>
                    <a:pt x="488" y="1016"/>
                  </a:lnTo>
                  <a:lnTo>
                    <a:pt x="488" y="1014"/>
                  </a:lnTo>
                  <a:lnTo>
                    <a:pt x="488" y="1012"/>
                  </a:lnTo>
                  <a:lnTo>
                    <a:pt x="490" y="1012"/>
                  </a:lnTo>
                  <a:lnTo>
                    <a:pt x="490" y="1010"/>
                  </a:lnTo>
                  <a:lnTo>
                    <a:pt x="490" y="1008"/>
                  </a:lnTo>
                  <a:lnTo>
                    <a:pt x="490" y="1010"/>
                  </a:lnTo>
                  <a:lnTo>
                    <a:pt x="488" y="1010"/>
                  </a:lnTo>
                  <a:lnTo>
                    <a:pt x="490" y="1008"/>
                  </a:lnTo>
                  <a:lnTo>
                    <a:pt x="488" y="1008"/>
                  </a:lnTo>
                  <a:lnTo>
                    <a:pt x="488" y="1010"/>
                  </a:lnTo>
                  <a:lnTo>
                    <a:pt x="488" y="1008"/>
                  </a:lnTo>
                  <a:lnTo>
                    <a:pt x="488" y="1010"/>
                  </a:lnTo>
                  <a:lnTo>
                    <a:pt x="488" y="1012"/>
                  </a:lnTo>
                  <a:lnTo>
                    <a:pt x="488" y="1014"/>
                  </a:lnTo>
                  <a:lnTo>
                    <a:pt x="488" y="1016"/>
                  </a:lnTo>
                  <a:lnTo>
                    <a:pt x="486" y="1016"/>
                  </a:lnTo>
                  <a:lnTo>
                    <a:pt x="488" y="1016"/>
                  </a:lnTo>
                  <a:lnTo>
                    <a:pt x="486" y="1016"/>
                  </a:lnTo>
                  <a:lnTo>
                    <a:pt x="486" y="1018"/>
                  </a:lnTo>
                  <a:lnTo>
                    <a:pt x="486" y="1020"/>
                  </a:lnTo>
                  <a:lnTo>
                    <a:pt x="486" y="1022"/>
                  </a:lnTo>
                  <a:lnTo>
                    <a:pt x="488" y="1022"/>
                  </a:lnTo>
                  <a:lnTo>
                    <a:pt x="488" y="1024"/>
                  </a:lnTo>
                  <a:lnTo>
                    <a:pt x="488" y="1026"/>
                  </a:lnTo>
                  <a:lnTo>
                    <a:pt x="490" y="1026"/>
                  </a:lnTo>
                  <a:lnTo>
                    <a:pt x="490" y="1028"/>
                  </a:lnTo>
                  <a:lnTo>
                    <a:pt x="488" y="1028"/>
                  </a:lnTo>
                  <a:lnTo>
                    <a:pt x="486" y="1028"/>
                  </a:lnTo>
                  <a:lnTo>
                    <a:pt x="484" y="1028"/>
                  </a:lnTo>
                  <a:lnTo>
                    <a:pt x="484" y="1029"/>
                  </a:lnTo>
                  <a:lnTo>
                    <a:pt x="482" y="1029"/>
                  </a:lnTo>
                  <a:lnTo>
                    <a:pt x="480" y="1029"/>
                  </a:lnTo>
                  <a:lnTo>
                    <a:pt x="478" y="1029"/>
                  </a:lnTo>
                  <a:lnTo>
                    <a:pt x="476" y="1031"/>
                  </a:lnTo>
                  <a:lnTo>
                    <a:pt x="475" y="1031"/>
                  </a:lnTo>
                  <a:lnTo>
                    <a:pt x="473" y="1031"/>
                  </a:lnTo>
                  <a:lnTo>
                    <a:pt x="471" y="1031"/>
                  </a:lnTo>
                  <a:lnTo>
                    <a:pt x="469" y="1033"/>
                  </a:lnTo>
                  <a:lnTo>
                    <a:pt x="467" y="1033"/>
                  </a:lnTo>
                  <a:lnTo>
                    <a:pt x="465" y="1033"/>
                  </a:lnTo>
                  <a:lnTo>
                    <a:pt x="463" y="1033"/>
                  </a:lnTo>
                  <a:lnTo>
                    <a:pt x="463" y="1035"/>
                  </a:lnTo>
                  <a:lnTo>
                    <a:pt x="461" y="1035"/>
                  </a:lnTo>
                  <a:lnTo>
                    <a:pt x="459" y="1035"/>
                  </a:lnTo>
                  <a:lnTo>
                    <a:pt x="457" y="1035"/>
                  </a:lnTo>
                  <a:lnTo>
                    <a:pt x="457" y="1037"/>
                  </a:lnTo>
                  <a:lnTo>
                    <a:pt x="455" y="1037"/>
                  </a:lnTo>
                  <a:lnTo>
                    <a:pt x="453" y="1037"/>
                  </a:lnTo>
                  <a:lnTo>
                    <a:pt x="453" y="1035"/>
                  </a:lnTo>
                  <a:lnTo>
                    <a:pt x="453" y="1033"/>
                  </a:lnTo>
                  <a:lnTo>
                    <a:pt x="451" y="1033"/>
                  </a:lnTo>
                  <a:lnTo>
                    <a:pt x="451" y="1035"/>
                  </a:lnTo>
                  <a:lnTo>
                    <a:pt x="450" y="1035"/>
                  </a:lnTo>
                  <a:lnTo>
                    <a:pt x="450" y="1037"/>
                  </a:lnTo>
                  <a:lnTo>
                    <a:pt x="450" y="1039"/>
                  </a:lnTo>
                  <a:lnTo>
                    <a:pt x="448" y="1039"/>
                  </a:lnTo>
                  <a:lnTo>
                    <a:pt x="446" y="1039"/>
                  </a:lnTo>
                  <a:lnTo>
                    <a:pt x="446" y="1041"/>
                  </a:lnTo>
                  <a:lnTo>
                    <a:pt x="444" y="1041"/>
                  </a:lnTo>
                  <a:lnTo>
                    <a:pt x="442" y="1041"/>
                  </a:lnTo>
                  <a:lnTo>
                    <a:pt x="442" y="1039"/>
                  </a:lnTo>
                  <a:lnTo>
                    <a:pt x="444" y="1039"/>
                  </a:lnTo>
                  <a:lnTo>
                    <a:pt x="442" y="1039"/>
                  </a:lnTo>
                  <a:lnTo>
                    <a:pt x="444" y="1039"/>
                  </a:lnTo>
                  <a:lnTo>
                    <a:pt x="442" y="1039"/>
                  </a:lnTo>
                  <a:lnTo>
                    <a:pt x="442" y="1037"/>
                  </a:lnTo>
                  <a:lnTo>
                    <a:pt x="442" y="1035"/>
                  </a:lnTo>
                  <a:lnTo>
                    <a:pt x="444" y="1035"/>
                  </a:lnTo>
                  <a:lnTo>
                    <a:pt x="444" y="1033"/>
                  </a:lnTo>
                  <a:lnTo>
                    <a:pt x="444" y="1031"/>
                  </a:lnTo>
                  <a:lnTo>
                    <a:pt x="444" y="1029"/>
                  </a:lnTo>
                  <a:lnTo>
                    <a:pt x="444" y="1028"/>
                  </a:lnTo>
                  <a:lnTo>
                    <a:pt x="444" y="1026"/>
                  </a:lnTo>
                  <a:lnTo>
                    <a:pt x="442" y="1026"/>
                  </a:lnTo>
                  <a:lnTo>
                    <a:pt x="444" y="1026"/>
                  </a:lnTo>
                  <a:lnTo>
                    <a:pt x="442" y="1026"/>
                  </a:lnTo>
                  <a:lnTo>
                    <a:pt x="442" y="1024"/>
                  </a:lnTo>
                  <a:lnTo>
                    <a:pt x="442" y="1022"/>
                  </a:lnTo>
                  <a:lnTo>
                    <a:pt x="442" y="1020"/>
                  </a:lnTo>
                  <a:lnTo>
                    <a:pt x="440" y="1020"/>
                  </a:lnTo>
                  <a:lnTo>
                    <a:pt x="440" y="1018"/>
                  </a:lnTo>
                  <a:lnTo>
                    <a:pt x="440" y="1016"/>
                  </a:lnTo>
                  <a:lnTo>
                    <a:pt x="440" y="1014"/>
                  </a:lnTo>
                  <a:lnTo>
                    <a:pt x="438" y="1014"/>
                  </a:lnTo>
                  <a:lnTo>
                    <a:pt x="438" y="1012"/>
                  </a:lnTo>
                  <a:lnTo>
                    <a:pt x="438" y="1014"/>
                  </a:lnTo>
                  <a:lnTo>
                    <a:pt x="440" y="1014"/>
                  </a:lnTo>
                  <a:lnTo>
                    <a:pt x="440" y="1016"/>
                  </a:lnTo>
                  <a:lnTo>
                    <a:pt x="440" y="1018"/>
                  </a:lnTo>
                  <a:lnTo>
                    <a:pt x="440" y="1016"/>
                  </a:lnTo>
                  <a:lnTo>
                    <a:pt x="440" y="1018"/>
                  </a:lnTo>
                  <a:lnTo>
                    <a:pt x="440" y="1020"/>
                  </a:lnTo>
                  <a:lnTo>
                    <a:pt x="440" y="1022"/>
                  </a:lnTo>
                  <a:lnTo>
                    <a:pt x="440" y="1020"/>
                  </a:lnTo>
                  <a:lnTo>
                    <a:pt x="440" y="1022"/>
                  </a:lnTo>
                  <a:lnTo>
                    <a:pt x="442" y="1022"/>
                  </a:lnTo>
                  <a:lnTo>
                    <a:pt x="442" y="1024"/>
                  </a:lnTo>
                  <a:lnTo>
                    <a:pt x="442" y="1026"/>
                  </a:lnTo>
                  <a:lnTo>
                    <a:pt x="442" y="1028"/>
                  </a:lnTo>
                  <a:lnTo>
                    <a:pt x="442" y="1029"/>
                  </a:lnTo>
                  <a:lnTo>
                    <a:pt x="444" y="1029"/>
                  </a:lnTo>
                  <a:lnTo>
                    <a:pt x="442" y="1029"/>
                  </a:lnTo>
                  <a:lnTo>
                    <a:pt x="444" y="1029"/>
                  </a:lnTo>
                  <a:lnTo>
                    <a:pt x="442" y="1029"/>
                  </a:lnTo>
                  <a:lnTo>
                    <a:pt x="444" y="1029"/>
                  </a:lnTo>
                  <a:lnTo>
                    <a:pt x="444" y="1031"/>
                  </a:lnTo>
                  <a:lnTo>
                    <a:pt x="444" y="1033"/>
                  </a:lnTo>
                  <a:lnTo>
                    <a:pt x="444" y="1035"/>
                  </a:lnTo>
                  <a:lnTo>
                    <a:pt x="444" y="1033"/>
                  </a:lnTo>
                  <a:lnTo>
                    <a:pt x="444" y="1035"/>
                  </a:lnTo>
                  <a:lnTo>
                    <a:pt x="442" y="1035"/>
                  </a:lnTo>
                  <a:lnTo>
                    <a:pt x="444" y="1035"/>
                  </a:lnTo>
                  <a:lnTo>
                    <a:pt x="442" y="1035"/>
                  </a:lnTo>
                  <a:lnTo>
                    <a:pt x="444" y="1035"/>
                  </a:lnTo>
                  <a:lnTo>
                    <a:pt x="442" y="1035"/>
                  </a:lnTo>
                  <a:lnTo>
                    <a:pt x="444" y="1035"/>
                  </a:lnTo>
                  <a:lnTo>
                    <a:pt x="442" y="1035"/>
                  </a:lnTo>
                  <a:lnTo>
                    <a:pt x="442" y="1037"/>
                  </a:lnTo>
                  <a:lnTo>
                    <a:pt x="442" y="1039"/>
                  </a:lnTo>
                  <a:lnTo>
                    <a:pt x="442" y="1041"/>
                  </a:lnTo>
                  <a:lnTo>
                    <a:pt x="440" y="1041"/>
                  </a:lnTo>
                  <a:lnTo>
                    <a:pt x="438" y="1043"/>
                  </a:lnTo>
                  <a:lnTo>
                    <a:pt x="434" y="1043"/>
                  </a:lnTo>
                  <a:lnTo>
                    <a:pt x="432" y="1045"/>
                  </a:lnTo>
                  <a:lnTo>
                    <a:pt x="430" y="1045"/>
                  </a:lnTo>
                  <a:lnTo>
                    <a:pt x="428" y="1045"/>
                  </a:lnTo>
                  <a:lnTo>
                    <a:pt x="427" y="1047"/>
                  </a:lnTo>
                  <a:lnTo>
                    <a:pt x="425" y="1047"/>
                  </a:lnTo>
                  <a:lnTo>
                    <a:pt x="423" y="1047"/>
                  </a:lnTo>
                  <a:lnTo>
                    <a:pt x="421" y="1049"/>
                  </a:lnTo>
                  <a:lnTo>
                    <a:pt x="419" y="1049"/>
                  </a:lnTo>
                  <a:lnTo>
                    <a:pt x="417" y="1049"/>
                  </a:lnTo>
                  <a:lnTo>
                    <a:pt x="415" y="1051"/>
                  </a:lnTo>
                  <a:lnTo>
                    <a:pt x="413" y="1051"/>
                  </a:lnTo>
                  <a:lnTo>
                    <a:pt x="411" y="1051"/>
                  </a:lnTo>
                  <a:lnTo>
                    <a:pt x="409" y="1052"/>
                  </a:lnTo>
                  <a:lnTo>
                    <a:pt x="407" y="1052"/>
                  </a:lnTo>
                  <a:lnTo>
                    <a:pt x="405" y="1052"/>
                  </a:lnTo>
                  <a:lnTo>
                    <a:pt x="403" y="1052"/>
                  </a:lnTo>
                  <a:lnTo>
                    <a:pt x="403" y="1054"/>
                  </a:lnTo>
                  <a:lnTo>
                    <a:pt x="402" y="1054"/>
                  </a:lnTo>
                  <a:lnTo>
                    <a:pt x="400" y="1054"/>
                  </a:lnTo>
                  <a:lnTo>
                    <a:pt x="398" y="1054"/>
                  </a:lnTo>
                  <a:lnTo>
                    <a:pt x="396" y="1054"/>
                  </a:lnTo>
                  <a:lnTo>
                    <a:pt x="396" y="1056"/>
                  </a:lnTo>
                  <a:lnTo>
                    <a:pt x="394" y="1056"/>
                  </a:lnTo>
                  <a:lnTo>
                    <a:pt x="392" y="1056"/>
                  </a:lnTo>
                  <a:lnTo>
                    <a:pt x="390" y="1056"/>
                  </a:lnTo>
                  <a:lnTo>
                    <a:pt x="388" y="1058"/>
                  </a:lnTo>
                  <a:lnTo>
                    <a:pt x="386" y="1058"/>
                  </a:lnTo>
                  <a:lnTo>
                    <a:pt x="386" y="1056"/>
                  </a:lnTo>
                  <a:lnTo>
                    <a:pt x="388" y="1056"/>
                  </a:lnTo>
                  <a:lnTo>
                    <a:pt x="390" y="1056"/>
                  </a:lnTo>
                  <a:lnTo>
                    <a:pt x="390" y="1054"/>
                  </a:lnTo>
                  <a:lnTo>
                    <a:pt x="392" y="1054"/>
                  </a:lnTo>
                  <a:lnTo>
                    <a:pt x="392" y="1052"/>
                  </a:lnTo>
                  <a:lnTo>
                    <a:pt x="394" y="1052"/>
                  </a:lnTo>
                  <a:lnTo>
                    <a:pt x="394" y="1051"/>
                  </a:lnTo>
                  <a:lnTo>
                    <a:pt x="394" y="1049"/>
                  </a:lnTo>
                  <a:lnTo>
                    <a:pt x="394" y="1051"/>
                  </a:lnTo>
                  <a:lnTo>
                    <a:pt x="394" y="1049"/>
                  </a:lnTo>
                  <a:lnTo>
                    <a:pt x="396" y="1049"/>
                  </a:lnTo>
                  <a:lnTo>
                    <a:pt x="394" y="1049"/>
                  </a:lnTo>
                  <a:lnTo>
                    <a:pt x="394" y="1047"/>
                  </a:lnTo>
                  <a:lnTo>
                    <a:pt x="396" y="1047"/>
                  </a:lnTo>
                  <a:lnTo>
                    <a:pt x="396" y="1045"/>
                  </a:lnTo>
                  <a:lnTo>
                    <a:pt x="396" y="1047"/>
                  </a:lnTo>
                  <a:lnTo>
                    <a:pt x="396" y="1045"/>
                  </a:lnTo>
                  <a:lnTo>
                    <a:pt x="396" y="1047"/>
                  </a:lnTo>
                  <a:lnTo>
                    <a:pt x="396" y="1045"/>
                  </a:lnTo>
                  <a:lnTo>
                    <a:pt x="398" y="1045"/>
                  </a:lnTo>
                  <a:lnTo>
                    <a:pt x="398" y="1047"/>
                  </a:lnTo>
                  <a:lnTo>
                    <a:pt x="400" y="1047"/>
                  </a:lnTo>
                  <a:lnTo>
                    <a:pt x="402" y="1047"/>
                  </a:lnTo>
                  <a:lnTo>
                    <a:pt x="400" y="1047"/>
                  </a:lnTo>
                  <a:lnTo>
                    <a:pt x="398" y="1047"/>
                  </a:lnTo>
                  <a:lnTo>
                    <a:pt x="398" y="1045"/>
                  </a:lnTo>
                  <a:lnTo>
                    <a:pt x="396" y="1045"/>
                  </a:lnTo>
                  <a:lnTo>
                    <a:pt x="398" y="1045"/>
                  </a:lnTo>
                  <a:lnTo>
                    <a:pt x="396" y="1045"/>
                  </a:lnTo>
                  <a:lnTo>
                    <a:pt x="398" y="1045"/>
                  </a:lnTo>
                  <a:lnTo>
                    <a:pt x="398" y="1043"/>
                  </a:lnTo>
                  <a:lnTo>
                    <a:pt x="400" y="1043"/>
                  </a:lnTo>
                  <a:lnTo>
                    <a:pt x="398" y="1043"/>
                  </a:lnTo>
                  <a:lnTo>
                    <a:pt x="400" y="1043"/>
                  </a:lnTo>
                  <a:lnTo>
                    <a:pt x="402" y="1043"/>
                  </a:lnTo>
                  <a:lnTo>
                    <a:pt x="402" y="1041"/>
                  </a:lnTo>
                  <a:lnTo>
                    <a:pt x="403" y="1041"/>
                  </a:lnTo>
                  <a:lnTo>
                    <a:pt x="403" y="1039"/>
                  </a:lnTo>
                  <a:lnTo>
                    <a:pt x="403" y="1037"/>
                  </a:lnTo>
                  <a:lnTo>
                    <a:pt x="405" y="1037"/>
                  </a:lnTo>
                  <a:lnTo>
                    <a:pt x="407" y="1037"/>
                  </a:lnTo>
                  <a:lnTo>
                    <a:pt x="409" y="1037"/>
                  </a:lnTo>
                  <a:lnTo>
                    <a:pt x="409" y="1035"/>
                  </a:lnTo>
                  <a:lnTo>
                    <a:pt x="411" y="1035"/>
                  </a:lnTo>
                  <a:lnTo>
                    <a:pt x="411" y="1033"/>
                  </a:lnTo>
                  <a:lnTo>
                    <a:pt x="413" y="1031"/>
                  </a:lnTo>
                  <a:lnTo>
                    <a:pt x="413" y="1029"/>
                  </a:lnTo>
                  <a:lnTo>
                    <a:pt x="415" y="1029"/>
                  </a:lnTo>
                  <a:lnTo>
                    <a:pt x="415" y="1028"/>
                  </a:lnTo>
                  <a:lnTo>
                    <a:pt x="417" y="1028"/>
                  </a:lnTo>
                  <a:lnTo>
                    <a:pt x="417" y="1026"/>
                  </a:lnTo>
                  <a:lnTo>
                    <a:pt x="417" y="1024"/>
                  </a:lnTo>
                  <a:lnTo>
                    <a:pt x="419" y="1024"/>
                  </a:lnTo>
                  <a:lnTo>
                    <a:pt x="417" y="1024"/>
                  </a:lnTo>
                  <a:lnTo>
                    <a:pt x="417" y="1022"/>
                  </a:lnTo>
                  <a:lnTo>
                    <a:pt x="419" y="1022"/>
                  </a:lnTo>
                  <a:lnTo>
                    <a:pt x="421" y="1022"/>
                  </a:lnTo>
                  <a:lnTo>
                    <a:pt x="421" y="1020"/>
                  </a:lnTo>
                  <a:lnTo>
                    <a:pt x="423" y="1020"/>
                  </a:lnTo>
                  <a:lnTo>
                    <a:pt x="425" y="1020"/>
                  </a:lnTo>
                  <a:lnTo>
                    <a:pt x="427" y="1020"/>
                  </a:lnTo>
                  <a:lnTo>
                    <a:pt x="428" y="1020"/>
                  </a:lnTo>
                  <a:lnTo>
                    <a:pt x="428" y="1018"/>
                  </a:lnTo>
                  <a:lnTo>
                    <a:pt x="428" y="1016"/>
                  </a:lnTo>
                  <a:lnTo>
                    <a:pt x="428" y="1014"/>
                  </a:lnTo>
                  <a:lnTo>
                    <a:pt x="427" y="1014"/>
                  </a:lnTo>
                  <a:lnTo>
                    <a:pt x="427" y="1012"/>
                  </a:lnTo>
                  <a:lnTo>
                    <a:pt x="425" y="1012"/>
                  </a:lnTo>
                  <a:lnTo>
                    <a:pt x="425" y="1010"/>
                  </a:lnTo>
                  <a:lnTo>
                    <a:pt x="427" y="1010"/>
                  </a:lnTo>
                  <a:lnTo>
                    <a:pt x="425" y="1010"/>
                  </a:lnTo>
                  <a:lnTo>
                    <a:pt x="427" y="1010"/>
                  </a:lnTo>
                  <a:lnTo>
                    <a:pt x="427" y="1008"/>
                  </a:lnTo>
                  <a:lnTo>
                    <a:pt x="427" y="1006"/>
                  </a:lnTo>
                  <a:lnTo>
                    <a:pt x="427" y="1004"/>
                  </a:lnTo>
                  <a:lnTo>
                    <a:pt x="427" y="1003"/>
                  </a:lnTo>
                  <a:lnTo>
                    <a:pt x="427" y="1001"/>
                  </a:lnTo>
                  <a:lnTo>
                    <a:pt x="427" y="1003"/>
                  </a:lnTo>
                  <a:lnTo>
                    <a:pt x="427" y="1001"/>
                  </a:lnTo>
                  <a:lnTo>
                    <a:pt x="427" y="1003"/>
                  </a:lnTo>
                  <a:lnTo>
                    <a:pt x="427" y="1001"/>
                  </a:lnTo>
                  <a:lnTo>
                    <a:pt x="427" y="999"/>
                  </a:lnTo>
                  <a:lnTo>
                    <a:pt x="427" y="997"/>
                  </a:lnTo>
                  <a:lnTo>
                    <a:pt x="427" y="995"/>
                  </a:lnTo>
                  <a:lnTo>
                    <a:pt x="428" y="995"/>
                  </a:lnTo>
                  <a:lnTo>
                    <a:pt x="428" y="993"/>
                  </a:lnTo>
                  <a:lnTo>
                    <a:pt x="428" y="995"/>
                  </a:lnTo>
                  <a:lnTo>
                    <a:pt x="428" y="993"/>
                  </a:lnTo>
                  <a:lnTo>
                    <a:pt x="428" y="991"/>
                  </a:lnTo>
                  <a:lnTo>
                    <a:pt x="430" y="991"/>
                  </a:lnTo>
                  <a:lnTo>
                    <a:pt x="430" y="989"/>
                  </a:lnTo>
                  <a:lnTo>
                    <a:pt x="430" y="987"/>
                  </a:lnTo>
                  <a:lnTo>
                    <a:pt x="432" y="987"/>
                  </a:lnTo>
                  <a:lnTo>
                    <a:pt x="432" y="985"/>
                  </a:lnTo>
                  <a:lnTo>
                    <a:pt x="432" y="983"/>
                  </a:lnTo>
                  <a:lnTo>
                    <a:pt x="432" y="981"/>
                  </a:lnTo>
                  <a:lnTo>
                    <a:pt x="432" y="980"/>
                  </a:lnTo>
                  <a:lnTo>
                    <a:pt x="432" y="978"/>
                  </a:lnTo>
                  <a:lnTo>
                    <a:pt x="432" y="976"/>
                  </a:lnTo>
                  <a:lnTo>
                    <a:pt x="432" y="974"/>
                  </a:lnTo>
                  <a:lnTo>
                    <a:pt x="434" y="974"/>
                  </a:lnTo>
                  <a:lnTo>
                    <a:pt x="432" y="974"/>
                  </a:lnTo>
                  <a:lnTo>
                    <a:pt x="434" y="974"/>
                  </a:lnTo>
                  <a:lnTo>
                    <a:pt x="436" y="974"/>
                  </a:lnTo>
                  <a:lnTo>
                    <a:pt x="436" y="972"/>
                  </a:lnTo>
                  <a:lnTo>
                    <a:pt x="438" y="972"/>
                  </a:lnTo>
                  <a:lnTo>
                    <a:pt x="438" y="970"/>
                  </a:lnTo>
                  <a:lnTo>
                    <a:pt x="440" y="970"/>
                  </a:lnTo>
                  <a:lnTo>
                    <a:pt x="440" y="972"/>
                  </a:lnTo>
                  <a:lnTo>
                    <a:pt x="440" y="970"/>
                  </a:lnTo>
                  <a:lnTo>
                    <a:pt x="442" y="970"/>
                  </a:lnTo>
                  <a:lnTo>
                    <a:pt x="440" y="970"/>
                  </a:lnTo>
                  <a:lnTo>
                    <a:pt x="440" y="968"/>
                  </a:lnTo>
                  <a:lnTo>
                    <a:pt x="442" y="968"/>
                  </a:lnTo>
                  <a:lnTo>
                    <a:pt x="442" y="966"/>
                  </a:lnTo>
                  <a:lnTo>
                    <a:pt x="444" y="966"/>
                  </a:lnTo>
                  <a:lnTo>
                    <a:pt x="444" y="964"/>
                  </a:lnTo>
                  <a:lnTo>
                    <a:pt x="446" y="964"/>
                  </a:lnTo>
                  <a:lnTo>
                    <a:pt x="444" y="964"/>
                  </a:lnTo>
                  <a:lnTo>
                    <a:pt x="446" y="964"/>
                  </a:lnTo>
                  <a:lnTo>
                    <a:pt x="446" y="962"/>
                  </a:lnTo>
                  <a:lnTo>
                    <a:pt x="448" y="962"/>
                  </a:lnTo>
                  <a:lnTo>
                    <a:pt x="448" y="960"/>
                  </a:lnTo>
                  <a:lnTo>
                    <a:pt x="450" y="960"/>
                  </a:lnTo>
                  <a:lnTo>
                    <a:pt x="450" y="958"/>
                  </a:lnTo>
                  <a:lnTo>
                    <a:pt x="450" y="956"/>
                  </a:lnTo>
                  <a:lnTo>
                    <a:pt x="450" y="955"/>
                  </a:lnTo>
                  <a:lnTo>
                    <a:pt x="450" y="956"/>
                  </a:lnTo>
                  <a:lnTo>
                    <a:pt x="450" y="955"/>
                  </a:lnTo>
                  <a:lnTo>
                    <a:pt x="451" y="955"/>
                  </a:lnTo>
                  <a:lnTo>
                    <a:pt x="451" y="953"/>
                  </a:lnTo>
                  <a:lnTo>
                    <a:pt x="451" y="951"/>
                  </a:lnTo>
                  <a:lnTo>
                    <a:pt x="453" y="951"/>
                  </a:lnTo>
                  <a:lnTo>
                    <a:pt x="453" y="949"/>
                  </a:lnTo>
                  <a:lnTo>
                    <a:pt x="453" y="947"/>
                  </a:lnTo>
                  <a:lnTo>
                    <a:pt x="455" y="947"/>
                  </a:lnTo>
                  <a:lnTo>
                    <a:pt x="455" y="945"/>
                  </a:lnTo>
                  <a:lnTo>
                    <a:pt x="457" y="945"/>
                  </a:lnTo>
                  <a:lnTo>
                    <a:pt x="455" y="945"/>
                  </a:lnTo>
                  <a:lnTo>
                    <a:pt x="457" y="945"/>
                  </a:lnTo>
                  <a:lnTo>
                    <a:pt x="457" y="943"/>
                  </a:lnTo>
                  <a:lnTo>
                    <a:pt x="459" y="943"/>
                  </a:lnTo>
                  <a:lnTo>
                    <a:pt x="461" y="943"/>
                  </a:lnTo>
                  <a:lnTo>
                    <a:pt x="461" y="941"/>
                  </a:lnTo>
                  <a:lnTo>
                    <a:pt x="461" y="943"/>
                  </a:lnTo>
                  <a:lnTo>
                    <a:pt x="461" y="941"/>
                  </a:lnTo>
                  <a:lnTo>
                    <a:pt x="463" y="941"/>
                  </a:lnTo>
                  <a:lnTo>
                    <a:pt x="463" y="939"/>
                  </a:lnTo>
                  <a:lnTo>
                    <a:pt x="463" y="937"/>
                  </a:lnTo>
                  <a:lnTo>
                    <a:pt x="463" y="935"/>
                  </a:lnTo>
                  <a:lnTo>
                    <a:pt x="463" y="933"/>
                  </a:lnTo>
                  <a:lnTo>
                    <a:pt x="463" y="932"/>
                  </a:lnTo>
                  <a:lnTo>
                    <a:pt x="465" y="932"/>
                  </a:lnTo>
                  <a:lnTo>
                    <a:pt x="465" y="930"/>
                  </a:lnTo>
                  <a:lnTo>
                    <a:pt x="467" y="930"/>
                  </a:lnTo>
                  <a:lnTo>
                    <a:pt x="469" y="930"/>
                  </a:lnTo>
                  <a:lnTo>
                    <a:pt x="471" y="930"/>
                  </a:lnTo>
                  <a:lnTo>
                    <a:pt x="471" y="928"/>
                  </a:lnTo>
                  <a:lnTo>
                    <a:pt x="471" y="926"/>
                  </a:lnTo>
                  <a:lnTo>
                    <a:pt x="471" y="924"/>
                  </a:lnTo>
                  <a:lnTo>
                    <a:pt x="473" y="924"/>
                  </a:lnTo>
                  <a:lnTo>
                    <a:pt x="473" y="922"/>
                  </a:lnTo>
                  <a:lnTo>
                    <a:pt x="475" y="922"/>
                  </a:lnTo>
                  <a:lnTo>
                    <a:pt x="475" y="920"/>
                  </a:lnTo>
                  <a:lnTo>
                    <a:pt x="476" y="920"/>
                  </a:lnTo>
                  <a:lnTo>
                    <a:pt x="476" y="922"/>
                  </a:lnTo>
                  <a:lnTo>
                    <a:pt x="478" y="922"/>
                  </a:lnTo>
                  <a:lnTo>
                    <a:pt x="480" y="922"/>
                  </a:lnTo>
                  <a:lnTo>
                    <a:pt x="480" y="920"/>
                  </a:lnTo>
                  <a:lnTo>
                    <a:pt x="480" y="922"/>
                  </a:lnTo>
                  <a:lnTo>
                    <a:pt x="480" y="920"/>
                  </a:lnTo>
                  <a:lnTo>
                    <a:pt x="482" y="920"/>
                  </a:lnTo>
                  <a:lnTo>
                    <a:pt x="484" y="920"/>
                  </a:lnTo>
                  <a:lnTo>
                    <a:pt x="484" y="918"/>
                  </a:lnTo>
                  <a:lnTo>
                    <a:pt x="486" y="918"/>
                  </a:lnTo>
                  <a:lnTo>
                    <a:pt x="486" y="916"/>
                  </a:lnTo>
                  <a:lnTo>
                    <a:pt x="488" y="916"/>
                  </a:lnTo>
                  <a:lnTo>
                    <a:pt x="488" y="914"/>
                  </a:lnTo>
                  <a:lnTo>
                    <a:pt x="490" y="914"/>
                  </a:lnTo>
                  <a:lnTo>
                    <a:pt x="490" y="912"/>
                  </a:lnTo>
                  <a:lnTo>
                    <a:pt x="492" y="912"/>
                  </a:lnTo>
                  <a:lnTo>
                    <a:pt x="494" y="912"/>
                  </a:lnTo>
                  <a:lnTo>
                    <a:pt x="494" y="910"/>
                  </a:lnTo>
                  <a:lnTo>
                    <a:pt x="496" y="910"/>
                  </a:lnTo>
                  <a:lnTo>
                    <a:pt x="496" y="908"/>
                  </a:lnTo>
                  <a:lnTo>
                    <a:pt x="498" y="908"/>
                  </a:lnTo>
                  <a:lnTo>
                    <a:pt x="498" y="907"/>
                  </a:lnTo>
                  <a:lnTo>
                    <a:pt x="500" y="907"/>
                  </a:lnTo>
                  <a:lnTo>
                    <a:pt x="500" y="905"/>
                  </a:lnTo>
                  <a:lnTo>
                    <a:pt x="500" y="903"/>
                  </a:lnTo>
                  <a:lnTo>
                    <a:pt x="500" y="905"/>
                  </a:lnTo>
                  <a:lnTo>
                    <a:pt x="500" y="903"/>
                  </a:lnTo>
                  <a:lnTo>
                    <a:pt x="500" y="905"/>
                  </a:lnTo>
                  <a:lnTo>
                    <a:pt x="500" y="903"/>
                  </a:lnTo>
                  <a:lnTo>
                    <a:pt x="500" y="901"/>
                  </a:lnTo>
                  <a:lnTo>
                    <a:pt x="501" y="901"/>
                  </a:lnTo>
                  <a:lnTo>
                    <a:pt x="503" y="901"/>
                  </a:lnTo>
                  <a:lnTo>
                    <a:pt x="503" y="899"/>
                  </a:lnTo>
                  <a:lnTo>
                    <a:pt x="505" y="899"/>
                  </a:lnTo>
                  <a:lnTo>
                    <a:pt x="503" y="899"/>
                  </a:lnTo>
                  <a:lnTo>
                    <a:pt x="505" y="899"/>
                  </a:lnTo>
                  <a:lnTo>
                    <a:pt x="507" y="899"/>
                  </a:lnTo>
                  <a:lnTo>
                    <a:pt x="507" y="897"/>
                  </a:lnTo>
                  <a:lnTo>
                    <a:pt x="509" y="897"/>
                  </a:lnTo>
                  <a:lnTo>
                    <a:pt x="509" y="895"/>
                  </a:lnTo>
                  <a:lnTo>
                    <a:pt x="509" y="893"/>
                  </a:lnTo>
                  <a:lnTo>
                    <a:pt x="511" y="893"/>
                  </a:lnTo>
                  <a:lnTo>
                    <a:pt x="513" y="893"/>
                  </a:lnTo>
                  <a:lnTo>
                    <a:pt x="513" y="891"/>
                  </a:lnTo>
                  <a:lnTo>
                    <a:pt x="515" y="891"/>
                  </a:lnTo>
                  <a:lnTo>
                    <a:pt x="513" y="891"/>
                  </a:lnTo>
                  <a:lnTo>
                    <a:pt x="515" y="891"/>
                  </a:lnTo>
                  <a:lnTo>
                    <a:pt x="513" y="891"/>
                  </a:lnTo>
                  <a:lnTo>
                    <a:pt x="515" y="891"/>
                  </a:lnTo>
                  <a:lnTo>
                    <a:pt x="515" y="889"/>
                  </a:lnTo>
                  <a:lnTo>
                    <a:pt x="515" y="887"/>
                  </a:lnTo>
                  <a:lnTo>
                    <a:pt x="517" y="887"/>
                  </a:lnTo>
                  <a:lnTo>
                    <a:pt x="517" y="885"/>
                  </a:lnTo>
                  <a:lnTo>
                    <a:pt x="519" y="885"/>
                  </a:lnTo>
                  <a:lnTo>
                    <a:pt x="519" y="884"/>
                  </a:lnTo>
                  <a:lnTo>
                    <a:pt x="521" y="884"/>
                  </a:lnTo>
                  <a:lnTo>
                    <a:pt x="523" y="884"/>
                  </a:lnTo>
                  <a:lnTo>
                    <a:pt x="523" y="882"/>
                  </a:lnTo>
                  <a:lnTo>
                    <a:pt x="523" y="884"/>
                  </a:lnTo>
                  <a:lnTo>
                    <a:pt x="523" y="882"/>
                  </a:lnTo>
                  <a:lnTo>
                    <a:pt x="523" y="880"/>
                  </a:lnTo>
                  <a:lnTo>
                    <a:pt x="524" y="880"/>
                  </a:lnTo>
                  <a:lnTo>
                    <a:pt x="524" y="878"/>
                  </a:lnTo>
                  <a:lnTo>
                    <a:pt x="524" y="876"/>
                  </a:lnTo>
                  <a:lnTo>
                    <a:pt x="524" y="874"/>
                  </a:lnTo>
                  <a:lnTo>
                    <a:pt x="526" y="874"/>
                  </a:lnTo>
                  <a:lnTo>
                    <a:pt x="526" y="872"/>
                  </a:lnTo>
                  <a:lnTo>
                    <a:pt x="526" y="870"/>
                  </a:lnTo>
                  <a:lnTo>
                    <a:pt x="528" y="870"/>
                  </a:lnTo>
                  <a:lnTo>
                    <a:pt x="528" y="868"/>
                  </a:lnTo>
                  <a:lnTo>
                    <a:pt x="528" y="866"/>
                  </a:lnTo>
                  <a:lnTo>
                    <a:pt x="528" y="864"/>
                  </a:lnTo>
                  <a:lnTo>
                    <a:pt x="528" y="862"/>
                  </a:lnTo>
                  <a:lnTo>
                    <a:pt x="530" y="862"/>
                  </a:lnTo>
                  <a:lnTo>
                    <a:pt x="528" y="862"/>
                  </a:lnTo>
                  <a:lnTo>
                    <a:pt x="530" y="862"/>
                  </a:lnTo>
                  <a:lnTo>
                    <a:pt x="528" y="862"/>
                  </a:lnTo>
                  <a:lnTo>
                    <a:pt x="530" y="862"/>
                  </a:lnTo>
                  <a:lnTo>
                    <a:pt x="530" y="860"/>
                  </a:lnTo>
                  <a:lnTo>
                    <a:pt x="528" y="860"/>
                  </a:lnTo>
                  <a:lnTo>
                    <a:pt x="530" y="860"/>
                  </a:lnTo>
                  <a:lnTo>
                    <a:pt x="530" y="859"/>
                  </a:lnTo>
                  <a:lnTo>
                    <a:pt x="530" y="857"/>
                  </a:lnTo>
                  <a:lnTo>
                    <a:pt x="532" y="857"/>
                  </a:lnTo>
                  <a:lnTo>
                    <a:pt x="532" y="855"/>
                  </a:lnTo>
                  <a:lnTo>
                    <a:pt x="534" y="855"/>
                  </a:lnTo>
                  <a:lnTo>
                    <a:pt x="534" y="853"/>
                  </a:lnTo>
                  <a:lnTo>
                    <a:pt x="534" y="851"/>
                  </a:lnTo>
                  <a:lnTo>
                    <a:pt x="534" y="849"/>
                  </a:lnTo>
                  <a:lnTo>
                    <a:pt x="532" y="849"/>
                  </a:lnTo>
                  <a:lnTo>
                    <a:pt x="534" y="849"/>
                  </a:lnTo>
                  <a:lnTo>
                    <a:pt x="534" y="847"/>
                  </a:lnTo>
                  <a:lnTo>
                    <a:pt x="532" y="847"/>
                  </a:lnTo>
                  <a:lnTo>
                    <a:pt x="532" y="845"/>
                  </a:lnTo>
                  <a:lnTo>
                    <a:pt x="534" y="845"/>
                  </a:lnTo>
                  <a:lnTo>
                    <a:pt x="532" y="845"/>
                  </a:lnTo>
                  <a:lnTo>
                    <a:pt x="534" y="845"/>
                  </a:lnTo>
                  <a:lnTo>
                    <a:pt x="532" y="845"/>
                  </a:lnTo>
                  <a:lnTo>
                    <a:pt x="534" y="845"/>
                  </a:lnTo>
                  <a:lnTo>
                    <a:pt x="534" y="843"/>
                  </a:lnTo>
                  <a:lnTo>
                    <a:pt x="536" y="843"/>
                  </a:lnTo>
                  <a:lnTo>
                    <a:pt x="536" y="841"/>
                  </a:lnTo>
                  <a:lnTo>
                    <a:pt x="536" y="843"/>
                  </a:lnTo>
                  <a:lnTo>
                    <a:pt x="536" y="841"/>
                  </a:lnTo>
                  <a:lnTo>
                    <a:pt x="538" y="841"/>
                  </a:lnTo>
                  <a:lnTo>
                    <a:pt x="538" y="839"/>
                  </a:lnTo>
                  <a:lnTo>
                    <a:pt x="538" y="837"/>
                  </a:lnTo>
                  <a:lnTo>
                    <a:pt x="538" y="839"/>
                  </a:lnTo>
                  <a:lnTo>
                    <a:pt x="538" y="837"/>
                  </a:lnTo>
                  <a:lnTo>
                    <a:pt x="538" y="839"/>
                  </a:lnTo>
                  <a:lnTo>
                    <a:pt x="540" y="839"/>
                  </a:lnTo>
                  <a:lnTo>
                    <a:pt x="538" y="839"/>
                  </a:lnTo>
                  <a:lnTo>
                    <a:pt x="540" y="839"/>
                  </a:lnTo>
                  <a:lnTo>
                    <a:pt x="538" y="839"/>
                  </a:lnTo>
                  <a:lnTo>
                    <a:pt x="540" y="839"/>
                  </a:lnTo>
                  <a:lnTo>
                    <a:pt x="538" y="839"/>
                  </a:lnTo>
                  <a:lnTo>
                    <a:pt x="540" y="839"/>
                  </a:lnTo>
                  <a:lnTo>
                    <a:pt x="538" y="839"/>
                  </a:lnTo>
                  <a:lnTo>
                    <a:pt x="538" y="837"/>
                  </a:lnTo>
                  <a:lnTo>
                    <a:pt x="538" y="836"/>
                  </a:lnTo>
                  <a:lnTo>
                    <a:pt x="540" y="836"/>
                  </a:lnTo>
                  <a:lnTo>
                    <a:pt x="540" y="834"/>
                  </a:lnTo>
                  <a:lnTo>
                    <a:pt x="540" y="832"/>
                  </a:lnTo>
                  <a:lnTo>
                    <a:pt x="540" y="830"/>
                  </a:lnTo>
                  <a:lnTo>
                    <a:pt x="542" y="830"/>
                  </a:lnTo>
                  <a:lnTo>
                    <a:pt x="540" y="830"/>
                  </a:lnTo>
                  <a:lnTo>
                    <a:pt x="542" y="830"/>
                  </a:lnTo>
                  <a:lnTo>
                    <a:pt x="540" y="830"/>
                  </a:lnTo>
                  <a:lnTo>
                    <a:pt x="542" y="830"/>
                  </a:lnTo>
                  <a:lnTo>
                    <a:pt x="540" y="830"/>
                  </a:lnTo>
                  <a:lnTo>
                    <a:pt x="542" y="830"/>
                  </a:lnTo>
                  <a:lnTo>
                    <a:pt x="542" y="828"/>
                  </a:lnTo>
                  <a:lnTo>
                    <a:pt x="542" y="826"/>
                  </a:lnTo>
                  <a:lnTo>
                    <a:pt x="544" y="826"/>
                  </a:lnTo>
                  <a:lnTo>
                    <a:pt x="544" y="824"/>
                  </a:lnTo>
                  <a:lnTo>
                    <a:pt x="544" y="822"/>
                  </a:lnTo>
                  <a:lnTo>
                    <a:pt x="544" y="820"/>
                  </a:lnTo>
                  <a:lnTo>
                    <a:pt x="544" y="818"/>
                  </a:lnTo>
                  <a:lnTo>
                    <a:pt x="544" y="816"/>
                  </a:lnTo>
                  <a:lnTo>
                    <a:pt x="544" y="814"/>
                  </a:lnTo>
                  <a:lnTo>
                    <a:pt x="544" y="812"/>
                  </a:lnTo>
                  <a:lnTo>
                    <a:pt x="544" y="811"/>
                  </a:lnTo>
                  <a:lnTo>
                    <a:pt x="544" y="812"/>
                  </a:lnTo>
                  <a:lnTo>
                    <a:pt x="544" y="811"/>
                  </a:lnTo>
                  <a:lnTo>
                    <a:pt x="544" y="812"/>
                  </a:lnTo>
                  <a:lnTo>
                    <a:pt x="544" y="811"/>
                  </a:lnTo>
                  <a:lnTo>
                    <a:pt x="546" y="811"/>
                  </a:lnTo>
                  <a:lnTo>
                    <a:pt x="546" y="809"/>
                  </a:lnTo>
                  <a:lnTo>
                    <a:pt x="546" y="807"/>
                  </a:lnTo>
                  <a:lnTo>
                    <a:pt x="546" y="805"/>
                  </a:lnTo>
                  <a:lnTo>
                    <a:pt x="548" y="805"/>
                  </a:lnTo>
                  <a:lnTo>
                    <a:pt x="548" y="803"/>
                  </a:lnTo>
                  <a:lnTo>
                    <a:pt x="548" y="805"/>
                  </a:lnTo>
                  <a:lnTo>
                    <a:pt x="549" y="805"/>
                  </a:lnTo>
                  <a:lnTo>
                    <a:pt x="549" y="803"/>
                  </a:lnTo>
                  <a:lnTo>
                    <a:pt x="548" y="803"/>
                  </a:lnTo>
                  <a:lnTo>
                    <a:pt x="549" y="803"/>
                  </a:lnTo>
                  <a:lnTo>
                    <a:pt x="549" y="801"/>
                  </a:lnTo>
                  <a:lnTo>
                    <a:pt x="549" y="799"/>
                  </a:lnTo>
                  <a:lnTo>
                    <a:pt x="551" y="799"/>
                  </a:lnTo>
                  <a:lnTo>
                    <a:pt x="549" y="799"/>
                  </a:lnTo>
                  <a:lnTo>
                    <a:pt x="549" y="797"/>
                  </a:lnTo>
                  <a:lnTo>
                    <a:pt x="551" y="797"/>
                  </a:lnTo>
                  <a:lnTo>
                    <a:pt x="551" y="795"/>
                  </a:lnTo>
                  <a:lnTo>
                    <a:pt x="553" y="795"/>
                  </a:lnTo>
                  <a:lnTo>
                    <a:pt x="553" y="793"/>
                  </a:lnTo>
                  <a:lnTo>
                    <a:pt x="553" y="791"/>
                  </a:lnTo>
                  <a:lnTo>
                    <a:pt x="555" y="791"/>
                  </a:lnTo>
                  <a:lnTo>
                    <a:pt x="555" y="789"/>
                  </a:lnTo>
                  <a:lnTo>
                    <a:pt x="555" y="788"/>
                  </a:lnTo>
                  <a:lnTo>
                    <a:pt x="555" y="786"/>
                  </a:lnTo>
                  <a:lnTo>
                    <a:pt x="557" y="786"/>
                  </a:lnTo>
                  <a:lnTo>
                    <a:pt x="557" y="784"/>
                  </a:lnTo>
                  <a:lnTo>
                    <a:pt x="557" y="782"/>
                  </a:lnTo>
                  <a:lnTo>
                    <a:pt x="559" y="782"/>
                  </a:lnTo>
                  <a:lnTo>
                    <a:pt x="559" y="780"/>
                  </a:lnTo>
                  <a:lnTo>
                    <a:pt x="561" y="780"/>
                  </a:lnTo>
                  <a:lnTo>
                    <a:pt x="561" y="778"/>
                  </a:lnTo>
                  <a:lnTo>
                    <a:pt x="561" y="776"/>
                  </a:lnTo>
                  <a:lnTo>
                    <a:pt x="563" y="776"/>
                  </a:lnTo>
                  <a:lnTo>
                    <a:pt x="561" y="776"/>
                  </a:lnTo>
                  <a:lnTo>
                    <a:pt x="563" y="776"/>
                  </a:lnTo>
                  <a:lnTo>
                    <a:pt x="561" y="776"/>
                  </a:lnTo>
                  <a:lnTo>
                    <a:pt x="561" y="774"/>
                  </a:lnTo>
                  <a:lnTo>
                    <a:pt x="563" y="774"/>
                  </a:lnTo>
                  <a:lnTo>
                    <a:pt x="563" y="776"/>
                  </a:lnTo>
                  <a:lnTo>
                    <a:pt x="563" y="774"/>
                  </a:lnTo>
                  <a:lnTo>
                    <a:pt x="565" y="774"/>
                  </a:lnTo>
                  <a:lnTo>
                    <a:pt x="567" y="774"/>
                  </a:lnTo>
                  <a:lnTo>
                    <a:pt x="567" y="772"/>
                  </a:lnTo>
                  <a:lnTo>
                    <a:pt x="565" y="772"/>
                  </a:lnTo>
                  <a:lnTo>
                    <a:pt x="565" y="774"/>
                  </a:lnTo>
                  <a:lnTo>
                    <a:pt x="565" y="772"/>
                  </a:lnTo>
                  <a:lnTo>
                    <a:pt x="567" y="772"/>
                  </a:lnTo>
                  <a:lnTo>
                    <a:pt x="567" y="770"/>
                  </a:lnTo>
                  <a:lnTo>
                    <a:pt x="567" y="772"/>
                  </a:lnTo>
                  <a:lnTo>
                    <a:pt x="567" y="770"/>
                  </a:lnTo>
                  <a:lnTo>
                    <a:pt x="569" y="770"/>
                  </a:lnTo>
                  <a:lnTo>
                    <a:pt x="569" y="768"/>
                  </a:lnTo>
                  <a:lnTo>
                    <a:pt x="569" y="766"/>
                  </a:lnTo>
                  <a:lnTo>
                    <a:pt x="571" y="766"/>
                  </a:lnTo>
                  <a:lnTo>
                    <a:pt x="571" y="764"/>
                  </a:lnTo>
                  <a:lnTo>
                    <a:pt x="572" y="764"/>
                  </a:lnTo>
                  <a:lnTo>
                    <a:pt x="572" y="763"/>
                  </a:lnTo>
                  <a:lnTo>
                    <a:pt x="572" y="761"/>
                  </a:lnTo>
                  <a:lnTo>
                    <a:pt x="574" y="761"/>
                  </a:lnTo>
                  <a:lnTo>
                    <a:pt x="574" y="759"/>
                  </a:lnTo>
                  <a:lnTo>
                    <a:pt x="574" y="757"/>
                  </a:lnTo>
                  <a:lnTo>
                    <a:pt x="574" y="759"/>
                  </a:lnTo>
                  <a:lnTo>
                    <a:pt x="576" y="757"/>
                  </a:lnTo>
                  <a:lnTo>
                    <a:pt x="576" y="755"/>
                  </a:lnTo>
                  <a:lnTo>
                    <a:pt x="578" y="755"/>
                  </a:lnTo>
                  <a:lnTo>
                    <a:pt x="578" y="753"/>
                  </a:lnTo>
                  <a:lnTo>
                    <a:pt x="578" y="751"/>
                  </a:lnTo>
                  <a:lnTo>
                    <a:pt x="578" y="753"/>
                  </a:lnTo>
                  <a:lnTo>
                    <a:pt x="578" y="751"/>
                  </a:lnTo>
                  <a:lnTo>
                    <a:pt x="580" y="751"/>
                  </a:lnTo>
                  <a:lnTo>
                    <a:pt x="580" y="749"/>
                  </a:lnTo>
                  <a:lnTo>
                    <a:pt x="582" y="749"/>
                  </a:lnTo>
                  <a:lnTo>
                    <a:pt x="584" y="749"/>
                  </a:lnTo>
                  <a:lnTo>
                    <a:pt x="584" y="747"/>
                  </a:lnTo>
                  <a:lnTo>
                    <a:pt x="584" y="745"/>
                  </a:lnTo>
                  <a:lnTo>
                    <a:pt x="586" y="745"/>
                  </a:lnTo>
                  <a:lnTo>
                    <a:pt x="588" y="745"/>
                  </a:lnTo>
                  <a:lnTo>
                    <a:pt x="588" y="743"/>
                  </a:lnTo>
                  <a:lnTo>
                    <a:pt x="588" y="741"/>
                  </a:lnTo>
                  <a:lnTo>
                    <a:pt x="590" y="741"/>
                  </a:lnTo>
                  <a:lnTo>
                    <a:pt x="590" y="740"/>
                  </a:lnTo>
                  <a:lnTo>
                    <a:pt x="592" y="740"/>
                  </a:lnTo>
                  <a:lnTo>
                    <a:pt x="592" y="738"/>
                  </a:lnTo>
                  <a:lnTo>
                    <a:pt x="594" y="738"/>
                  </a:lnTo>
                  <a:lnTo>
                    <a:pt x="594" y="736"/>
                  </a:lnTo>
                  <a:lnTo>
                    <a:pt x="594" y="734"/>
                  </a:lnTo>
                  <a:lnTo>
                    <a:pt x="596" y="734"/>
                  </a:lnTo>
                  <a:lnTo>
                    <a:pt x="596" y="732"/>
                  </a:lnTo>
                  <a:lnTo>
                    <a:pt x="597" y="732"/>
                  </a:lnTo>
                  <a:lnTo>
                    <a:pt x="597" y="730"/>
                  </a:lnTo>
                  <a:lnTo>
                    <a:pt x="599" y="730"/>
                  </a:lnTo>
                  <a:lnTo>
                    <a:pt x="599" y="728"/>
                  </a:lnTo>
                  <a:lnTo>
                    <a:pt x="601" y="728"/>
                  </a:lnTo>
                  <a:lnTo>
                    <a:pt x="601" y="726"/>
                  </a:lnTo>
                  <a:lnTo>
                    <a:pt x="603" y="726"/>
                  </a:lnTo>
                  <a:lnTo>
                    <a:pt x="603" y="724"/>
                  </a:lnTo>
                  <a:lnTo>
                    <a:pt x="605" y="724"/>
                  </a:lnTo>
                  <a:lnTo>
                    <a:pt x="605" y="722"/>
                  </a:lnTo>
                  <a:lnTo>
                    <a:pt x="607" y="722"/>
                  </a:lnTo>
                  <a:lnTo>
                    <a:pt x="607" y="720"/>
                  </a:lnTo>
                  <a:lnTo>
                    <a:pt x="609" y="720"/>
                  </a:lnTo>
                  <a:lnTo>
                    <a:pt x="609" y="718"/>
                  </a:lnTo>
                  <a:lnTo>
                    <a:pt x="611" y="718"/>
                  </a:lnTo>
                  <a:lnTo>
                    <a:pt x="611" y="716"/>
                  </a:lnTo>
                  <a:lnTo>
                    <a:pt x="613" y="716"/>
                  </a:lnTo>
                  <a:lnTo>
                    <a:pt x="613" y="715"/>
                  </a:lnTo>
                  <a:lnTo>
                    <a:pt x="615" y="715"/>
                  </a:lnTo>
                  <a:lnTo>
                    <a:pt x="615" y="713"/>
                  </a:lnTo>
                  <a:lnTo>
                    <a:pt x="617" y="713"/>
                  </a:lnTo>
                  <a:lnTo>
                    <a:pt x="617" y="711"/>
                  </a:lnTo>
                  <a:lnTo>
                    <a:pt x="619" y="711"/>
                  </a:lnTo>
                  <a:lnTo>
                    <a:pt x="619" y="709"/>
                  </a:lnTo>
                  <a:lnTo>
                    <a:pt x="619" y="707"/>
                  </a:lnTo>
                  <a:lnTo>
                    <a:pt x="619" y="709"/>
                  </a:lnTo>
                  <a:lnTo>
                    <a:pt x="620" y="709"/>
                  </a:lnTo>
                  <a:lnTo>
                    <a:pt x="620" y="707"/>
                  </a:lnTo>
                  <a:lnTo>
                    <a:pt x="620" y="705"/>
                  </a:lnTo>
                  <a:lnTo>
                    <a:pt x="622" y="705"/>
                  </a:lnTo>
                  <a:lnTo>
                    <a:pt x="624" y="705"/>
                  </a:lnTo>
                  <a:lnTo>
                    <a:pt x="624" y="703"/>
                  </a:lnTo>
                  <a:lnTo>
                    <a:pt x="624" y="701"/>
                  </a:lnTo>
                  <a:lnTo>
                    <a:pt x="626" y="701"/>
                  </a:lnTo>
                  <a:lnTo>
                    <a:pt x="626" y="699"/>
                  </a:lnTo>
                  <a:lnTo>
                    <a:pt x="628" y="699"/>
                  </a:lnTo>
                  <a:lnTo>
                    <a:pt x="626" y="699"/>
                  </a:lnTo>
                  <a:lnTo>
                    <a:pt x="628" y="699"/>
                  </a:lnTo>
                  <a:lnTo>
                    <a:pt x="628" y="697"/>
                  </a:lnTo>
                  <a:lnTo>
                    <a:pt x="630" y="697"/>
                  </a:lnTo>
                  <a:lnTo>
                    <a:pt x="630" y="695"/>
                  </a:lnTo>
                  <a:lnTo>
                    <a:pt x="632" y="695"/>
                  </a:lnTo>
                  <a:lnTo>
                    <a:pt x="634" y="695"/>
                  </a:lnTo>
                  <a:lnTo>
                    <a:pt x="634" y="693"/>
                  </a:lnTo>
                  <a:lnTo>
                    <a:pt x="636" y="693"/>
                  </a:lnTo>
                  <a:lnTo>
                    <a:pt x="636" y="692"/>
                  </a:lnTo>
                  <a:lnTo>
                    <a:pt x="638" y="692"/>
                  </a:lnTo>
                  <a:lnTo>
                    <a:pt x="638" y="690"/>
                  </a:lnTo>
                  <a:lnTo>
                    <a:pt x="640" y="690"/>
                  </a:lnTo>
                  <a:lnTo>
                    <a:pt x="640" y="688"/>
                  </a:lnTo>
                  <a:lnTo>
                    <a:pt x="642" y="688"/>
                  </a:lnTo>
                  <a:lnTo>
                    <a:pt x="642" y="686"/>
                  </a:lnTo>
                  <a:lnTo>
                    <a:pt x="644" y="686"/>
                  </a:lnTo>
                  <a:lnTo>
                    <a:pt x="644" y="684"/>
                  </a:lnTo>
                  <a:lnTo>
                    <a:pt x="645" y="684"/>
                  </a:lnTo>
                  <a:lnTo>
                    <a:pt x="647" y="684"/>
                  </a:lnTo>
                  <a:lnTo>
                    <a:pt x="647" y="682"/>
                  </a:lnTo>
                  <a:lnTo>
                    <a:pt x="649" y="682"/>
                  </a:lnTo>
                  <a:lnTo>
                    <a:pt x="649" y="680"/>
                  </a:lnTo>
                  <a:lnTo>
                    <a:pt x="651" y="680"/>
                  </a:lnTo>
                  <a:lnTo>
                    <a:pt x="653" y="680"/>
                  </a:lnTo>
                  <a:lnTo>
                    <a:pt x="655" y="680"/>
                  </a:lnTo>
                  <a:lnTo>
                    <a:pt x="655" y="678"/>
                  </a:lnTo>
                  <a:lnTo>
                    <a:pt x="657" y="678"/>
                  </a:lnTo>
                  <a:lnTo>
                    <a:pt x="659" y="678"/>
                  </a:lnTo>
                  <a:lnTo>
                    <a:pt x="659" y="676"/>
                  </a:lnTo>
                  <a:lnTo>
                    <a:pt x="661" y="676"/>
                  </a:lnTo>
                  <a:lnTo>
                    <a:pt x="661" y="674"/>
                  </a:lnTo>
                  <a:lnTo>
                    <a:pt x="663" y="674"/>
                  </a:lnTo>
                  <a:lnTo>
                    <a:pt x="665" y="674"/>
                  </a:lnTo>
                  <a:lnTo>
                    <a:pt x="665" y="672"/>
                  </a:lnTo>
                  <a:lnTo>
                    <a:pt x="667" y="672"/>
                  </a:lnTo>
                  <a:lnTo>
                    <a:pt x="668" y="670"/>
                  </a:lnTo>
                  <a:lnTo>
                    <a:pt x="670" y="670"/>
                  </a:lnTo>
                  <a:lnTo>
                    <a:pt x="672" y="670"/>
                  </a:lnTo>
                  <a:lnTo>
                    <a:pt x="672" y="669"/>
                  </a:lnTo>
                  <a:lnTo>
                    <a:pt x="674" y="669"/>
                  </a:lnTo>
                  <a:lnTo>
                    <a:pt x="676" y="669"/>
                  </a:lnTo>
                  <a:lnTo>
                    <a:pt x="676" y="670"/>
                  </a:lnTo>
                  <a:lnTo>
                    <a:pt x="678" y="670"/>
                  </a:lnTo>
                  <a:lnTo>
                    <a:pt x="676" y="670"/>
                  </a:lnTo>
                  <a:lnTo>
                    <a:pt x="678" y="670"/>
                  </a:lnTo>
                  <a:lnTo>
                    <a:pt x="676" y="670"/>
                  </a:lnTo>
                  <a:lnTo>
                    <a:pt x="676" y="669"/>
                  </a:lnTo>
                  <a:lnTo>
                    <a:pt x="678" y="669"/>
                  </a:lnTo>
                  <a:lnTo>
                    <a:pt x="680" y="669"/>
                  </a:lnTo>
                  <a:lnTo>
                    <a:pt x="680" y="667"/>
                  </a:lnTo>
                  <a:lnTo>
                    <a:pt x="682" y="667"/>
                  </a:lnTo>
                  <a:lnTo>
                    <a:pt x="684" y="667"/>
                  </a:lnTo>
                  <a:lnTo>
                    <a:pt x="686" y="665"/>
                  </a:lnTo>
                  <a:lnTo>
                    <a:pt x="688" y="665"/>
                  </a:lnTo>
                  <a:lnTo>
                    <a:pt x="690" y="665"/>
                  </a:lnTo>
                  <a:lnTo>
                    <a:pt x="692" y="665"/>
                  </a:lnTo>
                  <a:lnTo>
                    <a:pt x="693" y="665"/>
                  </a:lnTo>
                  <a:lnTo>
                    <a:pt x="695" y="665"/>
                  </a:lnTo>
                  <a:close/>
                  <a:moveTo>
                    <a:pt x="763" y="599"/>
                  </a:moveTo>
                  <a:lnTo>
                    <a:pt x="765" y="599"/>
                  </a:lnTo>
                  <a:lnTo>
                    <a:pt x="765" y="601"/>
                  </a:lnTo>
                  <a:lnTo>
                    <a:pt x="766" y="599"/>
                  </a:lnTo>
                  <a:lnTo>
                    <a:pt x="768" y="599"/>
                  </a:lnTo>
                  <a:lnTo>
                    <a:pt x="770" y="599"/>
                  </a:lnTo>
                  <a:lnTo>
                    <a:pt x="772" y="601"/>
                  </a:lnTo>
                  <a:lnTo>
                    <a:pt x="772" y="599"/>
                  </a:lnTo>
                  <a:lnTo>
                    <a:pt x="772" y="601"/>
                  </a:lnTo>
                  <a:lnTo>
                    <a:pt x="774" y="601"/>
                  </a:lnTo>
                  <a:lnTo>
                    <a:pt x="774" y="603"/>
                  </a:lnTo>
                  <a:lnTo>
                    <a:pt x="776" y="603"/>
                  </a:lnTo>
                  <a:lnTo>
                    <a:pt x="778" y="603"/>
                  </a:lnTo>
                  <a:lnTo>
                    <a:pt x="780" y="603"/>
                  </a:lnTo>
                  <a:lnTo>
                    <a:pt x="782" y="603"/>
                  </a:lnTo>
                  <a:lnTo>
                    <a:pt x="784" y="603"/>
                  </a:lnTo>
                  <a:lnTo>
                    <a:pt x="786" y="603"/>
                  </a:lnTo>
                  <a:lnTo>
                    <a:pt x="786" y="605"/>
                  </a:lnTo>
                  <a:lnTo>
                    <a:pt x="786" y="603"/>
                  </a:lnTo>
                  <a:lnTo>
                    <a:pt x="786" y="605"/>
                  </a:lnTo>
                  <a:lnTo>
                    <a:pt x="788" y="605"/>
                  </a:lnTo>
                  <a:lnTo>
                    <a:pt x="789" y="605"/>
                  </a:lnTo>
                  <a:lnTo>
                    <a:pt x="789" y="603"/>
                  </a:lnTo>
                  <a:lnTo>
                    <a:pt x="791" y="603"/>
                  </a:lnTo>
                  <a:lnTo>
                    <a:pt x="791" y="605"/>
                  </a:lnTo>
                  <a:lnTo>
                    <a:pt x="793" y="605"/>
                  </a:lnTo>
                  <a:lnTo>
                    <a:pt x="793" y="603"/>
                  </a:lnTo>
                  <a:lnTo>
                    <a:pt x="795" y="603"/>
                  </a:lnTo>
                  <a:lnTo>
                    <a:pt x="797" y="603"/>
                  </a:lnTo>
                  <a:lnTo>
                    <a:pt x="799" y="603"/>
                  </a:lnTo>
                  <a:lnTo>
                    <a:pt x="799" y="601"/>
                  </a:lnTo>
                  <a:lnTo>
                    <a:pt x="801" y="601"/>
                  </a:lnTo>
                  <a:lnTo>
                    <a:pt x="801" y="603"/>
                  </a:lnTo>
                  <a:lnTo>
                    <a:pt x="803" y="603"/>
                  </a:lnTo>
                  <a:lnTo>
                    <a:pt x="805" y="603"/>
                  </a:lnTo>
                  <a:lnTo>
                    <a:pt x="805" y="605"/>
                  </a:lnTo>
                  <a:lnTo>
                    <a:pt x="807" y="605"/>
                  </a:lnTo>
                  <a:lnTo>
                    <a:pt x="809" y="605"/>
                  </a:lnTo>
                  <a:lnTo>
                    <a:pt x="809" y="607"/>
                  </a:lnTo>
                  <a:lnTo>
                    <a:pt x="811" y="607"/>
                  </a:lnTo>
                  <a:lnTo>
                    <a:pt x="813" y="607"/>
                  </a:lnTo>
                  <a:lnTo>
                    <a:pt x="813" y="609"/>
                  </a:lnTo>
                  <a:lnTo>
                    <a:pt x="814" y="609"/>
                  </a:lnTo>
                  <a:lnTo>
                    <a:pt x="814" y="611"/>
                  </a:lnTo>
                  <a:lnTo>
                    <a:pt x="814" y="613"/>
                  </a:lnTo>
                  <a:lnTo>
                    <a:pt x="813" y="615"/>
                  </a:lnTo>
                  <a:lnTo>
                    <a:pt x="811" y="617"/>
                  </a:lnTo>
                  <a:lnTo>
                    <a:pt x="809" y="617"/>
                  </a:lnTo>
                  <a:lnTo>
                    <a:pt x="809" y="619"/>
                  </a:lnTo>
                  <a:lnTo>
                    <a:pt x="807" y="619"/>
                  </a:lnTo>
                  <a:lnTo>
                    <a:pt x="805" y="619"/>
                  </a:lnTo>
                  <a:lnTo>
                    <a:pt x="805" y="621"/>
                  </a:lnTo>
                  <a:lnTo>
                    <a:pt x="803" y="621"/>
                  </a:lnTo>
                  <a:lnTo>
                    <a:pt x="801" y="621"/>
                  </a:lnTo>
                  <a:lnTo>
                    <a:pt x="801" y="622"/>
                  </a:lnTo>
                  <a:lnTo>
                    <a:pt x="799" y="622"/>
                  </a:lnTo>
                  <a:lnTo>
                    <a:pt x="797" y="624"/>
                  </a:lnTo>
                  <a:lnTo>
                    <a:pt x="795" y="624"/>
                  </a:lnTo>
                  <a:lnTo>
                    <a:pt x="793" y="624"/>
                  </a:lnTo>
                  <a:lnTo>
                    <a:pt x="791" y="624"/>
                  </a:lnTo>
                  <a:lnTo>
                    <a:pt x="789" y="626"/>
                  </a:lnTo>
                  <a:lnTo>
                    <a:pt x="788" y="626"/>
                  </a:lnTo>
                  <a:lnTo>
                    <a:pt x="786" y="626"/>
                  </a:lnTo>
                  <a:lnTo>
                    <a:pt x="784" y="626"/>
                  </a:lnTo>
                  <a:lnTo>
                    <a:pt x="782" y="626"/>
                  </a:lnTo>
                  <a:lnTo>
                    <a:pt x="780" y="626"/>
                  </a:lnTo>
                  <a:lnTo>
                    <a:pt x="778" y="628"/>
                  </a:lnTo>
                  <a:lnTo>
                    <a:pt x="776" y="628"/>
                  </a:lnTo>
                  <a:lnTo>
                    <a:pt x="774" y="628"/>
                  </a:lnTo>
                  <a:lnTo>
                    <a:pt x="772" y="628"/>
                  </a:lnTo>
                  <a:lnTo>
                    <a:pt x="770" y="628"/>
                  </a:lnTo>
                  <a:lnTo>
                    <a:pt x="770" y="630"/>
                  </a:lnTo>
                  <a:lnTo>
                    <a:pt x="768" y="630"/>
                  </a:lnTo>
                  <a:lnTo>
                    <a:pt x="766" y="630"/>
                  </a:lnTo>
                  <a:lnTo>
                    <a:pt x="765" y="630"/>
                  </a:lnTo>
                  <a:lnTo>
                    <a:pt x="763" y="630"/>
                  </a:lnTo>
                  <a:lnTo>
                    <a:pt x="761" y="630"/>
                  </a:lnTo>
                  <a:lnTo>
                    <a:pt x="759" y="630"/>
                  </a:lnTo>
                  <a:lnTo>
                    <a:pt x="757" y="630"/>
                  </a:lnTo>
                  <a:lnTo>
                    <a:pt x="755" y="630"/>
                  </a:lnTo>
                  <a:lnTo>
                    <a:pt x="753" y="630"/>
                  </a:lnTo>
                  <a:lnTo>
                    <a:pt x="751" y="630"/>
                  </a:lnTo>
                  <a:lnTo>
                    <a:pt x="749" y="630"/>
                  </a:lnTo>
                  <a:lnTo>
                    <a:pt x="749" y="628"/>
                  </a:lnTo>
                  <a:lnTo>
                    <a:pt x="747" y="630"/>
                  </a:lnTo>
                  <a:lnTo>
                    <a:pt x="749" y="630"/>
                  </a:lnTo>
                  <a:lnTo>
                    <a:pt x="747" y="630"/>
                  </a:lnTo>
                  <a:lnTo>
                    <a:pt x="745" y="630"/>
                  </a:lnTo>
                  <a:lnTo>
                    <a:pt x="743" y="630"/>
                  </a:lnTo>
                  <a:lnTo>
                    <a:pt x="741" y="630"/>
                  </a:lnTo>
                  <a:lnTo>
                    <a:pt x="740" y="630"/>
                  </a:lnTo>
                  <a:lnTo>
                    <a:pt x="738" y="630"/>
                  </a:lnTo>
                  <a:lnTo>
                    <a:pt x="736" y="630"/>
                  </a:lnTo>
                  <a:lnTo>
                    <a:pt x="738" y="630"/>
                  </a:lnTo>
                  <a:lnTo>
                    <a:pt x="736" y="630"/>
                  </a:lnTo>
                  <a:lnTo>
                    <a:pt x="736" y="628"/>
                  </a:lnTo>
                  <a:lnTo>
                    <a:pt x="734" y="628"/>
                  </a:lnTo>
                  <a:lnTo>
                    <a:pt x="734" y="626"/>
                  </a:lnTo>
                  <a:lnTo>
                    <a:pt x="732" y="626"/>
                  </a:lnTo>
                  <a:lnTo>
                    <a:pt x="732" y="624"/>
                  </a:lnTo>
                  <a:lnTo>
                    <a:pt x="730" y="624"/>
                  </a:lnTo>
                  <a:lnTo>
                    <a:pt x="728" y="624"/>
                  </a:lnTo>
                  <a:lnTo>
                    <a:pt x="728" y="622"/>
                  </a:lnTo>
                  <a:lnTo>
                    <a:pt x="726" y="622"/>
                  </a:lnTo>
                  <a:lnTo>
                    <a:pt x="724" y="622"/>
                  </a:lnTo>
                  <a:lnTo>
                    <a:pt x="722" y="622"/>
                  </a:lnTo>
                  <a:lnTo>
                    <a:pt x="722" y="621"/>
                  </a:lnTo>
                  <a:lnTo>
                    <a:pt x="720" y="621"/>
                  </a:lnTo>
                  <a:lnTo>
                    <a:pt x="718" y="621"/>
                  </a:lnTo>
                  <a:lnTo>
                    <a:pt x="716" y="621"/>
                  </a:lnTo>
                  <a:lnTo>
                    <a:pt x="715" y="621"/>
                  </a:lnTo>
                  <a:lnTo>
                    <a:pt x="713" y="621"/>
                  </a:lnTo>
                  <a:lnTo>
                    <a:pt x="711" y="621"/>
                  </a:lnTo>
                  <a:lnTo>
                    <a:pt x="709" y="621"/>
                  </a:lnTo>
                  <a:lnTo>
                    <a:pt x="707" y="621"/>
                  </a:lnTo>
                  <a:lnTo>
                    <a:pt x="705" y="621"/>
                  </a:lnTo>
                  <a:lnTo>
                    <a:pt x="703" y="621"/>
                  </a:lnTo>
                  <a:lnTo>
                    <a:pt x="701" y="621"/>
                  </a:lnTo>
                  <a:lnTo>
                    <a:pt x="699" y="621"/>
                  </a:lnTo>
                  <a:lnTo>
                    <a:pt x="697" y="621"/>
                  </a:lnTo>
                  <a:lnTo>
                    <a:pt x="697" y="619"/>
                  </a:lnTo>
                  <a:lnTo>
                    <a:pt x="697" y="621"/>
                  </a:lnTo>
                  <a:lnTo>
                    <a:pt x="697" y="619"/>
                  </a:lnTo>
                  <a:lnTo>
                    <a:pt x="695" y="619"/>
                  </a:lnTo>
                  <a:lnTo>
                    <a:pt x="695" y="621"/>
                  </a:lnTo>
                  <a:lnTo>
                    <a:pt x="697" y="621"/>
                  </a:lnTo>
                  <a:lnTo>
                    <a:pt x="695" y="621"/>
                  </a:lnTo>
                  <a:lnTo>
                    <a:pt x="695" y="622"/>
                  </a:lnTo>
                  <a:lnTo>
                    <a:pt x="695" y="621"/>
                  </a:lnTo>
                  <a:lnTo>
                    <a:pt x="693" y="621"/>
                  </a:lnTo>
                  <a:lnTo>
                    <a:pt x="692" y="621"/>
                  </a:lnTo>
                  <a:lnTo>
                    <a:pt x="690" y="621"/>
                  </a:lnTo>
                  <a:lnTo>
                    <a:pt x="690" y="619"/>
                  </a:lnTo>
                  <a:lnTo>
                    <a:pt x="690" y="617"/>
                  </a:lnTo>
                  <a:lnTo>
                    <a:pt x="690" y="615"/>
                  </a:lnTo>
                  <a:lnTo>
                    <a:pt x="692" y="615"/>
                  </a:lnTo>
                  <a:lnTo>
                    <a:pt x="693" y="615"/>
                  </a:lnTo>
                  <a:lnTo>
                    <a:pt x="693" y="613"/>
                  </a:lnTo>
                  <a:lnTo>
                    <a:pt x="695" y="613"/>
                  </a:lnTo>
                  <a:lnTo>
                    <a:pt x="695" y="611"/>
                  </a:lnTo>
                  <a:lnTo>
                    <a:pt x="697" y="611"/>
                  </a:lnTo>
                  <a:lnTo>
                    <a:pt x="697" y="609"/>
                  </a:lnTo>
                  <a:lnTo>
                    <a:pt x="699" y="609"/>
                  </a:lnTo>
                  <a:lnTo>
                    <a:pt x="701" y="609"/>
                  </a:lnTo>
                  <a:lnTo>
                    <a:pt x="703" y="609"/>
                  </a:lnTo>
                  <a:lnTo>
                    <a:pt x="705" y="609"/>
                  </a:lnTo>
                  <a:lnTo>
                    <a:pt x="705" y="607"/>
                  </a:lnTo>
                  <a:lnTo>
                    <a:pt x="707" y="607"/>
                  </a:lnTo>
                  <a:lnTo>
                    <a:pt x="709" y="607"/>
                  </a:lnTo>
                  <a:lnTo>
                    <a:pt x="711" y="609"/>
                  </a:lnTo>
                  <a:lnTo>
                    <a:pt x="713" y="607"/>
                  </a:lnTo>
                  <a:lnTo>
                    <a:pt x="713" y="609"/>
                  </a:lnTo>
                  <a:lnTo>
                    <a:pt x="713" y="607"/>
                  </a:lnTo>
                  <a:lnTo>
                    <a:pt x="715" y="607"/>
                  </a:lnTo>
                  <a:lnTo>
                    <a:pt x="716" y="607"/>
                  </a:lnTo>
                  <a:lnTo>
                    <a:pt x="716" y="605"/>
                  </a:lnTo>
                  <a:lnTo>
                    <a:pt x="718" y="605"/>
                  </a:lnTo>
                  <a:lnTo>
                    <a:pt x="720" y="605"/>
                  </a:lnTo>
                  <a:lnTo>
                    <a:pt x="722" y="605"/>
                  </a:lnTo>
                  <a:lnTo>
                    <a:pt x="724" y="605"/>
                  </a:lnTo>
                  <a:lnTo>
                    <a:pt x="726" y="603"/>
                  </a:lnTo>
                  <a:lnTo>
                    <a:pt x="728" y="603"/>
                  </a:lnTo>
                  <a:lnTo>
                    <a:pt x="730" y="603"/>
                  </a:lnTo>
                  <a:lnTo>
                    <a:pt x="732" y="603"/>
                  </a:lnTo>
                  <a:lnTo>
                    <a:pt x="732" y="601"/>
                  </a:lnTo>
                  <a:lnTo>
                    <a:pt x="734" y="601"/>
                  </a:lnTo>
                  <a:lnTo>
                    <a:pt x="736" y="601"/>
                  </a:lnTo>
                  <a:lnTo>
                    <a:pt x="738" y="601"/>
                  </a:lnTo>
                  <a:lnTo>
                    <a:pt x="740" y="601"/>
                  </a:lnTo>
                  <a:lnTo>
                    <a:pt x="741" y="601"/>
                  </a:lnTo>
                  <a:lnTo>
                    <a:pt x="743" y="601"/>
                  </a:lnTo>
                  <a:lnTo>
                    <a:pt x="745" y="599"/>
                  </a:lnTo>
                  <a:lnTo>
                    <a:pt x="747" y="599"/>
                  </a:lnTo>
                  <a:lnTo>
                    <a:pt x="749" y="599"/>
                  </a:lnTo>
                  <a:lnTo>
                    <a:pt x="749" y="601"/>
                  </a:lnTo>
                  <a:lnTo>
                    <a:pt x="749" y="599"/>
                  </a:lnTo>
                  <a:lnTo>
                    <a:pt x="751" y="599"/>
                  </a:lnTo>
                  <a:lnTo>
                    <a:pt x="751" y="601"/>
                  </a:lnTo>
                  <a:lnTo>
                    <a:pt x="753" y="601"/>
                  </a:lnTo>
                  <a:lnTo>
                    <a:pt x="753" y="599"/>
                  </a:lnTo>
                  <a:lnTo>
                    <a:pt x="755" y="599"/>
                  </a:lnTo>
                  <a:lnTo>
                    <a:pt x="757" y="599"/>
                  </a:lnTo>
                  <a:lnTo>
                    <a:pt x="759" y="599"/>
                  </a:lnTo>
                  <a:lnTo>
                    <a:pt x="759" y="601"/>
                  </a:lnTo>
                  <a:lnTo>
                    <a:pt x="761" y="601"/>
                  </a:lnTo>
                  <a:lnTo>
                    <a:pt x="761" y="599"/>
                  </a:lnTo>
                  <a:lnTo>
                    <a:pt x="763" y="599"/>
                  </a:lnTo>
                  <a:close/>
                  <a:moveTo>
                    <a:pt x="425" y="1001"/>
                  </a:moveTo>
                  <a:lnTo>
                    <a:pt x="425" y="1003"/>
                  </a:lnTo>
                  <a:lnTo>
                    <a:pt x="425" y="1004"/>
                  </a:lnTo>
                  <a:lnTo>
                    <a:pt x="425" y="1006"/>
                  </a:lnTo>
                  <a:lnTo>
                    <a:pt x="425" y="1008"/>
                  </a:lnTo>
                  <a:lnTo>
                    <a:pt x="425" y="1010"/>
                  </a:lnTo>
                  <a:lnTo>
                    <a:pt x="425" y="1012"/>
                  </a:lnTo>
                  <a:lnTo>
                    <a:pt x="425" y="1014"/>
                  </a:lnTo>
                  <a:lnTo>
                    <a:pt x="425" y="1012"/>
                  </a:lnTo>
                  <a:lnTo>
                    <a:pt x="425" y="1014"/>
                  </a:lnTo>
                  <a:lnTo>
                    <a:pt x="425" y="1016"/>
                  </a:lnTo>
                  <a:lnTo>
                    <a:pt x="425" y="1018"/>
                  </a:lnTo>
                  <a:lnTo>
                    <a:pt x="425" y="1020"/>
                  </a:lnTo>
                  <a:lnTo>
                    <a:pt x="423" y="1020"/>
                  </a:lnTo>
                  <a:lnTo>
                    <a:pt x="423" y="1018"/>
                  </a:lnTo>
                  <a:lnTo>
                    <a:pt x="425" y="1018"/>
                  </a:lnTo>
                  <a:lnTo>
                    <a:pt x="425" y="1016"/>
                  </a:lnTo>
                  <a:lnTo>
                    <a:pt x="425" y="1018"/>
                  </a:lnTo>
                  <a:lnTo>
                    <a:pt x="423" y="1018"/>
                  </a:lnTo>
                  <a:lnTo>
                    <a:pt x="423" y="1020"/>
                  </a:lnTo>
                  <a:lnTo>
                    <a:pt x="421" y="1020"/>
                  </a:lnTo>
                  <a:lnTo>
                    <a:pt x="421" y="1018"/>
                  </a:lnTo>
                  <a:lnTo>
                    <a:pt x="423" y="1018"/>
                  </a:lnTo>
                  <a:lnTo>
                    <a:pt x="423" y="1016"/>
                  </a:lnTo>
                  <a:lnTo>
                    <a:pt x="425" y="1016"/>
                  </a:lnTo>
                  <a:lnTo>
                    <a:pt x="425" y="1014"/>
                  </a:lnTo>
                  <a:lnTo>
                    <a:pt x="425" y="1016"/>
                  </a:lnTo>
                  <a:lnTo>
                    <a:pt x="423" y="1016"/>
                  </a:lnTo>
                  <a:lnTo>
                    <a:pt x="423" y="1018"/>
                  </a:lnTo>
                  <a:lnTo>
                    <a:pt x="421" y="1018"/>
                  </a:lnTo>
                  <a:lnTo>
                    <a:pt x="421" y="1020"/>
                  </a:lnTo>
                  <a:lnTo>
                    <a:pt x="419" y="1020"/>
                  </a:lnTo>
                  <a:lnTo>
                    <a:pt x="417" y="1020"/>
                  </a:lnTo>
                  <a:lnTo>
                    <a:pt x="415" y="1020"/>
                  </a:lnTo>
                  <a:lnTo>
                    <a:pt x="415" y="1022"/>
                  </a:lnTo>
                  <a:lnTo>
                    <a:pt x="415" y="1020"/>
                  </a:lnTo>
                  <a:lnTo>
                    <a:pt x="415" y="1022"/>
                  </a:lnTo>
                  <a:lnTo>
                    <a:pt x="413" y="1022"/>
                  </a:lnTo>
                  <a:lnTo>
                    <a:pt x="411" y="1022"/>
                  </a:lnTo>
                  <a:lnTo>
                    <a:pt x="411" y="1024"/>
                  </a:lnTo>
                  <a:lnTo>
                    <a:pt x="409" y="1024"/>
                  </a:lnTo>
                  <a:lnTo>
                    <a:pt x="407" y="1024"/>
                  </a:lnTo>
                  <a:lnTo>
                    <a:pt x="409" y="1024"/>
                  </a:lnTo>
                  <a:lnTo>
                    <a:pt x="407" y="1024"/>
                  </a:lnTo>
                  <a:lnTo>
                    <a:pt x="407" y="1022"/>
                  </a:lnTo>
                  <a:lnTo>
                    <a:pt x="407" y="1024"/>
                  </a:lnTo>
                  <a:lnTo>
                    <a:pt x="407" y="1022"/>
                  </a:lnTo>
                  <a:lnTo>
                    <a:pt x="409" y="1022"/>
                  </a:lnTo>
                  <a:lnTo>
                    <a:pt x="407" y="1022"/>
                  </a:lnTo>
                  <a:lnTo>
                    <a:pt x="409" y="1022"/>
                  </a:lnTo>
                  <a:lnTo>
                    <a:pt x="407" y="1022"/>
                  </a:lnTo>
                  <a:lnTo>
                    <a:pt x="409" y="1022"/>
                  </a:lnTo>
                  <a:lnTo>
                    <a:pt x="407" y="1022"/>
                  </a:lnTo>
                  <a:lnTo>
                    <a:pt x="409" y="1022"/>
                  </a:lnTo>
                  <a:lnTo>
                    <a:pt x="409" y="1020"/>
                  </a:lnTo>
                  <a:lnTo>
                    <a:pt x="409" y="1022"/>
                  </a:lnTo>
                  <a:lnTo>
                    <a:pt x="407" y="1022"/>
                  </a:lnTo>
                  <a:lnTo>
                    <a:pt x="407" y="1020"/>
                  </a:lnTo>
                  <a:lnTo>
                    <a:pt x="409" y="1020"/>
                  </a:lnTo>
                  <a:lnTo>
                    <a:pt x="407" y="1020"/>
                  </a:lnTo>
                  <a:lnTo>
                    <a:pt x="409" y="1020"/>
                  </a:lnTo>
                  <a:lnTo>
                    <a:pt x="411" y="1020"/>
                  </a:lnTo>
                  <a:lnTo>
                    <a:pt x="411" y="1018"/>
                  </a:lnTo>
                  <a:lnTo>
                    <a:pt x="411" y="1016"/>
                  </a:lnTo>
                  <a:lnTo>
                    <a:pt x="413" y="1016"/>
                  </a:lnTo>
                  <a:lnTo>
                    <a:pt x="415" y="1016"/>
                  </a:lnTo>
                  <a:lnTo>
                    <a:pt x="415" y="1014"/>
                  </a:lnTo>
                  <a:lnTo>
                    <a:pt x="417" y="1014"/>
                  </a:lnTo>
                  <a:lnTo>
                    <a:pt x="417" y="1012"/>
                  </a:lnTo>
                  <a:lnTo>
                    <a:pt x="419" y="1012"/>
                  </a:lnTo>
                  <a:lnTo>
                    <a:pt x="419" y="1010"/>
                  </a:lnTo>
                  <a:lnTo>
                    <a:pt x="419" y="1008"/>
                  </a:lnTo>
                  <a:lnTo>
                    <a:pt x="419" y="1006"/>
                  </a:lnTo>
                  <a:lnTo>
                    <a:pt x="421" y="1006"/>
                  </a:lnTo>
                  <a:lnTo>
                    <a:pt x="421" y="1004"/>
                  </a:lnTo>
                  <a:lnTo>
                    <a:pt x="421" y="1003"/>
                  </a:lnTo>
                  <a:lnTo>
                    <a:pt x="423" y="1003"/>
                  </a:lnTo>
                  <a:lnTo>
                    <a:pt x="423" y="1001"/>
                  </a:lnTo>
                  <a:lnTo>
                    <a:pt x="425" y="1001"/>
                  </a:lnTo>
                  <a:close/>
                  <a:moveTo>
                    <a:pt x="423" y="1001"/>
                  </a:moveTo>
                  <a:lnTo>
                    <a:pt x="423" y="1003"/>
                  </a:lnTo>
                  <a:lnTo>
                    <a:pt x="421" y="1003"/>
                  </a:lnTo>
                  <a:lnTo>
                    <a:pt x="421" y="1004"/>
                  </a:lnTo>
                  <a:lnTo>
                    <a:pt x="419" y="1004"/>
                  </a:lnTo>
                  <a:lnTo>
                    <a:pt x="419" y="1006"/>
                  </a:lnTo>
                  <a:lnTo>
                    <a:pt x="419" y="1008"/>
                  </a:lnTo>
                  <a:lnTo>
                    <a:pt x="419" y="1010"/>
                  </a:lnTo>
                  <a:lnTo>
                    <a:pt x="419" y="1012"/>
                  </a:lnTo>
                  <a:lnTo>
                    <a:pt x="419" y="1010"/>
                  </a:lnTo>
                  <a:lnTo>
                    <a:pt x="419" y="1012"/>
                  </a:lnTo>
                  <a:lnTo>
                    <a:pt x="417" y="1012"/>
                  </a:lnTo>
                  <a:lnTo>
                    <a:pt x="417" y="1014"/>
                  </a:lnTo>
                  <a:lnTo>
                    <a:pt x="415" y="1014"/>
                  </a:lnTo>
                  <a:lnTo>
                    <a:pt x="415" y="1016"/>
                  </a:lnTo>
                  <a:lnTo>
                    <a:pt x="413" y="1016"/>
                  </a:lnTo>
                  <a:lnTo>
                    <a:pt x="411" y="1016"/>
                  </a:lnTo>
                  <a:lnTo>
                    <a:pt x="409" y="1016"/>
                  </a:lnTo>
                  <a:lnTo>
                    <a:pt x="409" y="1014"/>
                  </a:lnTo>
                  <a:lnTo>
                    <a:pt x="411" y="1014"/>
                  </a:lnTo>
                  <a:lnTo>
                    <a:pt x="411" y="1012"/>
                  </a:lnTo>
                  <a:lnTo>
                    <a:pt x="411" y="1010"/>
                  </a:lnTo>
                  <a:lnTo>
                    <a:pt x="413" y="1010"/>
                  </a:lnTo>
                  <a:lnTo>
                    <a:pt x="413" y="1008"/>
                  </a:lnTo>
                  <a:lnTo>
                    <a:pt x="413" y="1006"/>
                  </a:lnTo>
                  <a:lnTo>
                    <a:pt x="413" y="1008"/>
                  </a:lnTo>
                  <a:lnTo>
                    <a:pt x="413" y="1006"/>
                  </a:lnTo>
                  <a:lnTo>
                    <a:pt x="413" y="1004"/>
                  </a:lnTo>
                  <a:lnTo>
                    <a:pt x="415" y="1004"/>
                  </a:lnTo>
                  <a:lnTo>
                    <a:pt x="417" y="1004"/>
                  </a:lnTo>
                  <a:lnTo>
                    <a:pt x="417" y="1003"/>
                  </a:lnTo>
                  <a:lnTo>
                    <a:pt x="417" y="1004"/>
                  </a:lnTo>
                  <a:lnTo>
                    <a:pt x="417" y="1003"/>
                  </a:lnTo>
                  <a:lnTo>
                    <a:pt x="419" y="1003"/>
                  </a:lnTo>
                  <a:lnTo>
                    <a:pt x="421" y="1003"/>
                  </a:lnTo>
                  <a:lnTo>
                    <a:pt x="421" y="1001"/>
                  </a:lnTo>
                  <a:lnTo>
                    <a:pt x="423" y="1001"/>
                  </a:lnTo>
                  <a:close/>
                  <a:moveTo>
                    <a:pt x="870" y="690"/>
                  </a:moveTo>
                  <a:lnTo>
                    <a:pt x="868" y="690"/>
                  </a:lnTo>
                  <a:lnTo>
                    <a:pt x="868" y="692"/>
                  </a:lnTo>
                  <a:lnTo>
                    <a:pt x="866" y="692"/>
                  </a:lnTo>
                  <a:lnTo>
                    <a:pt x="866" y="693"/>
                  </a:lnTo>
                  <a:lnTo>
                    <a:pt x="868" y="693"/>
                  </a:lnTo>
                  <a:lnTo>
                    <a:pt x="866" y="693"/>
                  </a:lnTo>
                  <a:lnTo>
                    <a:pt x="866" y="695"/>
                  </a:lnTo>
                  <a:lnTo>
                    <a:pt x="866" y="697"/>
                  </a:lnTo>
                  <a:lnTo>
                    <a:pt x="866" y="695"/>
                  </a:lnTo>
                  <a:lnTo>
                    <a:pt x="866" y="697"/>
                  </a:lnTo>
                  <a:lnTo>
                    <a:pt x="864" y="697"/>
                  </a:lnTo>
                  <a:lnTo>
                    <a:pt x="864" y="695"/>
                  </a:lnTo>
                  <a:lnTo>
                    <a:pt x="864" y="697"/>
                  </a:lnTo>
                  <a:lnTo>
                    <a:pt x="864" y="695"/>
                  </a:lnTo>
                  <a:lnTo>
                    <a:pt x="866" y="695"/>
                  </a:lnTo>
                  <a:lnTo>
                    <a:pt x="866" y="693"/>
                  </a:lnTo>
                  <a:lnTo>
                    <a:pt x="866" y="692"/>
                  </a:lnTo>
                  <a:lnTo>
                    <a:pt x="866" y="690"/>
                  </a:lnTo>
                  <a:lnTo>
                    <a:pt x="866" y="692"/>
                  </a:lnTo>
                  <a:lnTo>
                    <a:pt x="864" y="692"/>
                  </a:lnTo>
                  <a:lnTo>
                    <a:pt x="864" y="693"/>
                  </a:lnTo>
                  <a:lnTo>
                    <a:pt x="862" y="693"/>
                  </a:lnTo>
                  <a:lnTo>
                    <a:pt x="862" y="692"/>
                  </a:lnTo>
                  <a:lnTo>
                    <a:pt x="864" y="692"/>
                  </a:lnTo>
                  <a:lnTo>
                    <a:pt x="862" y="692"/>
                  </a:lnTo>
                  <a:lnTo>
                    <a:pt x="862" y="693"/>
                  </a:lnTo>
                  <a:lnTo>
                    <a:pt x="862" y="695"/>
                  </a:lnTo>
                  <a:lnTo>
                    <a:pt x="862" y="697"/>
                  </a:lnTo>
                  <a:lnTo>
                    <a:pt x="861" y="697"/>
                  </a:lnTo>
                  <a:lnTo>
                    <a:pt x="861" y="699"/>
                  </a:lnTo>
                  <a:lnTo>
                    <a:pt x="861" y="701"/>
                  </a:lnTo>
                  <a:lnTo>
                    <a:pt x="861" y="703"/>
                  </a:lnTo>
                  <a:lnTo>
                    <a:pt x="859" y="703"/>
                  </a:lnTo>
                  <a:lnTo>
                    <a:pt x="859" y="705"/>
                  </a:lnTo>
                  <a:lnTo>
                    <a:pt x="859" y="707"/>
                  </a:lnTo>
                  <a:lnTo>
                    <a:pt x="857" y="707"/>
                  </a:lnTo>
                  <a:lnTo>
                    <a:pt x="857" y="709"/>
                  </a:lnTo>
                  <a:lnTo>
                    <a:pt x="857" y="711"/>
                  </a:lnTo>
                  <a:lnTo>
                    <a:pt x="859" y="711"/>
                  </a:lnTo>
                  <a:lnTo>
                    <a:pt x="857" y="711"/>
                  </a:lnTo>
                  <a:lnTo>
                    <a:pt x="859" y="711"/>
                  </a:lnTo>
                  <a:lnTo>
                    <a:pt x="859" y="713"/>
                  </a:lnTo>
                  <a:lnTo>
                    <a:pt x="859" y="715"/>
                  </a:lnTo>
                  <a:lnTo>
                    <a:pt x="857" y="715"/>
                  </a:lnTo>
                  <a:lnTo>
                    <a:pt x="857" y="716"/>
                  </a:lnTo>
                  <a:lnTo>
                    <a:pt x="857" y="718"/>
                  </a:lnTo>
                  <a:lnTo>
                    <a:pt x="859" y="718"/>
                  </a:lnTo>
                  <a:lnTo>
                    <a:pt x="859" y="720"/>
                  </a:lnTo>
                  <a:lnTo>
                    <a:pt x="861" y="720"/>
                  </a:lnTo>
                  <a:lnTo>
                    <a:pt x="862" y="720"/>
                  </a:lnTo>
                  <a:lnTo>
                    <a:pt x="864" y="720"/>
                  </a:lnTo>
                  <a:lnTo>
                    <a:pt x="862" y="720"/>
                  </a:lnTo>
                  <a:lnTo>
                    <a:pt x="864" y="720"/>
                  </a:lnTo>
                  <a:lnTo>
                    <a:pt x="862" y="720"/>
                  </a:lnTo>
                  <a:lnTo>
                    <a:pt x="864" y="720"/>
                  </a:lnTo>
                  <a:lnTo>
                    <a:pt x="864" y="718"/>
                  </a:lnTo>
                  <a:lnTo>
                    <a:pt x="864" y="716"/>
                  </a:lnTo>
                  <a:lnTo>
                    <a:pt x="864" y="718"/>
                  </a:lnTo>
                  <a:lnTo>
                    <a:pt x="864" y="720"/>
                  </a:lnTo>
                  <a:lnTo>
                    <a:pt x="862" y="720"/>
                  </a:lnTo>
                  <a:lnTo>
                    <a:pt x="862" y="722"/>
                  </a:lnTo>
                  <a:lnTo>
                    <a:pt x="862" y="720"/>
                  </a:lnTo>
                  <a:lnTo>
                    <a:pt x="861" y="720"/>
                  </a:lnTo>
                  <a:lnTo>
                    <a:pt x="861" y="722"/>
                  </a:lnTo>
                  <a:lnTo>
                    <a:pt x="862" y="722"/>
                  </a:lnTo>
                  <a:lnTo>
                    <a:pt x="861" y="722"/>
                  </a:lnTo>
                  <a:lnTo>
                    <a:pt x="859" y="722"/>
                  </a:lnTo>
                  <a:lnTo>
                    <a:pt x="859" y="724"/>
                  </a:lnTo>
                  <a:lnTo>
                    <a:pt x="857" y="724"/>
                  </a:lnTo>
                  <a:lnTo>
                    <a:pt x="857" y="722"/>
                  </a:lnTo>
                  <a:lnTo>
                    <a:pt x="855" y="722"/>
                  </a:lnTo>
                  <a:lnTo>
                    <a:pt x="857" y="722"/>
                  </a:lnTo>
                  <a:lnTo>
                    <a:pt x="857" y="720"/>
                  </a:lnTo>
                  <a:lnTo>
                    <a:pt x="857" y="718"/>
                  </a:lnTo>
                  <a:lnTo>
                    <a:pt x="857" y="716"/>
                  </a:lnTo>
                  <a:lnTo>
                    <a:pt x="855" y="716"/>
                  </a:lnTo>
                  <a:lnTo>
                    <a:pt x="855" y="715"/>
                  </a:lnTo>
                  <a:lnTo>
                    <a:pt x="855" y="713"/>
                  </a:lnTo>
                  <a:lnTo>
                    <a:pt x="855" y="711"/>
                  </a:lnTo>
                  <a:lnTo>
                    <a:pt x="857" y="711"/>
                  </a:lnTo>
                  <a:lnTo>
                    <a:pt x="857" y="709"/>
                  </a:lnTo>
                  <a:lnTo>
                    <a:pt x="857" y="707"/>
                  </a:lnTo>
                  <a:lnTo>
                    <a:pt x="859" y="707"/>
                  </a:lnTo>
                  <a:lnTo>
                    <a:pt x="859" y="705"/>
                  </a:lnTo>
                  <a:lnTo>
                    <a:pt x="859" y="703"/>
                  </a:lnTo>
                  <a:lnTo>
                    <a:pt x="859" y="701"/>
                  </a:lnTo>
                  <a:lnTo>
                    <a:pt x="861" y="699"/>
                  </a:lnTo>
                  <a:lnTo>
                    <a:pt x="861" y="697"/>
                  </a:lnTo>
                  <a:lnTo>
                    <a:pt x="861" y="695"/>
                  </a:lnTo>
                  <a:lnTo>
                    <a:pt x="862" y="695"/>
                  </a:lnTo>
                  <a:lnTo>
                    <a:pt x="862" y="693"/>
                  </a:lnTo>
                  <a:lnTo>
                    <a:pt x="862" y="692"/>
                  </a:lnTo>
                  <a:lnTo>
                    <a:pt x="864" y="692"/>
                  </a:lnTo>
                  <a:lnTo>
                    <a:pt x="866" y="692"/>
                  </a:lnTo>
                  <a:lnTo>
                    <a:pt x="866" y="690"/>
                  </a:lnTo>
                  <a:lnTo>
                    <a:pt x="868" y="690"/>
                  </a:lnTo>
                  <a:lnTo>
                    <a:pt x="870" y="690"/>
                  </a:lnTo>
                  <a:close/>
                  <a:moveTo>
                    <a:pt x="511" y="884"/>
                  </a:moveTo>
                  <a:lnTo>
                    <a:pt x="511" y="885"/>
                  </a:lnTo>
                  <a:lnTo>
                    <a:pt x="511" y="887"/>
                  </a:lnTo>
                  <a:lnTo>
                    <a:pt x="511" y="889"/>
                  </a:lnTo>
                  <a:lnTo>
                    <a:pt x="509" y="889"/>
                  </a:lnTo>
                  <a:lnTo>
                    <a:pt x="509" y="891"/>
                  </a:lnTo>
                  <a:lnTo>
                    <a:pt x="509" y="893"/>
                  </a:lnTo>
                  <a:lnTo>
                    <a:pt x="507" y="893"/>
                  </a:lnTo>
                  <a:lnTo>
                    <a:pt x="507" y="895"/>
                  </a:lnTo>
                  <a:lnTo>
                    <a:pt x="507" y="897"/>
                  </a:lnTo>
                  <a:lnTo>
                    <a:pt x="505" y="897"/>
                  </a:lnTo>
                  <a:lnTo>
                    <a:pt x="503" y="897"/>
                  </a:lnTo>
                  <a:lnTo>
                    <a:pt x="503" y="899"/>
                  </a:lnTo>
                  <a:lnTo>
                    <a:pt x="501" y="899"/>
                  </a:lnTo>
                  <a:lnTo>
                    <a:pt x="500" y="899"/>
                  </a:lnTo>
                  <a:lnTo>
                    <a:pt x="501" y="899"/>
                  </a:lnTo>
                  <a:lnTo>
                    <a:pt x="501" y="897"/>
                  </a:lnTo>
                  <a:lnTo>
                    <a:pt x="501" y="895"/>
                  </a:lnTo>
                  <a:lnTo>
                    <a:pt x="501" y="897"/>
                  </a:lnTo>
                  <a:lnTo>
                    <a:pt x="501" y="895"/>
                  </a:lnTo>
                  <a:lnTo>
                    <a:pt x="503" y="895"/>
                  </a:lnTo>
                  <a:lnTo>
                    <a:pt x="503" y="893"/>
                  </a:lnTo>
                  <a:lnTo>
                    <a:pt x="503" y="891"/>
                  </a:lnTo>
                  <a:lnTo>
                    <a:pt x="505" y="891"/>
                  </a:lnTo>
                  <a:lnTo>
                    <a:pt x="505" y="889"/>
                  </a:lnTo>
                  <a:lnTo>
                    <a:pt x="505" y="887"/>
                  </a:lnTo>
                  <a:lnTo>
                    <a:pt x="507" y="887"/>
                  </a:lnTo>
                  <a:lnTo>
                    <a:pt x="507" y="885"/>
                  </a:lnTo>
                  <a:lnTo>
                    <a:pt x="509" y="885"/>
                  </a:lnTo>
                  <a:lnTo>
                    <a:pt x="509" y="884"/>
                  </a:lnTo>
                  <a:lnTo>
                    <a:pt x="509" y="885"/>
                  </a:lnTo>
                  <a:lnTo>
                    <a:pt x="511" y="885"/>
                  </a:lnTo>
                  <a:lnTo>
                    <a:pt x="511" y="884"/>
                  </a:lnTo>
                  <a:close/>
                  <a:moveTo>
                    <a:pt x="311" y="152"/>
                  </a:moveTo>
                  <a:lnTo>
                    <a:pt x="313" y="152"/>
                  </a:lnTo>
                  <a:lnTo>
                    <a:pt x="313" y="154"/>
                  </a:lnTo>
                  <a:lnTo>
                    <a:pt x="313" y="152"/>
                  </a:lnTo>
                  <a:lnTo>
                    <a:pt x="313" y="154"/>
                  </a:lnTo>
                  <a:lnTo>
                    <a:pt x="315" y="154"/>
                  </a:lnTo>
                  <a:lnTo>
                    <a:pt x="315" y="156"/>
                  </a:lnTo>
                  <a:lnTo>
                    <a:pt x="317" y="156"/>
                  </a:lnTo>
                  <a:lnTo>
                    <a:pt x="317" y="158"/>
                  </a:lnTo>
                  <a:lnTo>
                    <a:pt x="317" y="160"/>
                  </a:lnTo>
                  <a:lnTo>
                    <a:pt x="315" y="160"/>
                  </a:lnTo>
                  <a:lnTo>
                    <a:pt x="315" y="162"/>
                  </a:lnTo>
                  <a:lnTo>
                    <a:pt x="317" y="162"/>
                  </a:lnTo>
                  <a:lnTo>
                    <a:pt x="315" y="162"/>
                  </a:lnTo>
                  <a:lnTo>
                    <a:pt x="317" y="162"/>
                  </a:lnTo>
                  <a:lnTo>
                    <a:pt x="317" y="164"/>
                  </a:lnTo>
                  <a:lnTo>
                    <a:pt x="315" y="164"/>
                  </a:lnTo>
                  <a:lnTo>
                    <a:pt x="317" y="164"/>
                  </a:lnTo>
                  <a:lnTo>
                    <a:pt x="315" y="164"/>
                  </a:lnTo>
                  <a:lnTo>
                    <a:pt x="313" y="164"/>
                  </a:lnTo>
                  <a:lnTo>
                    <a:pt x="313" y="165"/>
                  </a:lnTo>
                  <a:lnTo>
                    <a:pt x="313" y="164"/>
                  </a:lnTo>
                  <a:lnTo>
                    <a:pt x="311" y="164"/>
                  </a:lnTo>
                  <a:lnTo>
                    <a:pt x="313" y="164"/>
                  </a:lnTo>
                  <a:lnTo>
                    <a:pt x="313" y="162"/>
                  </a:lnTo>
                  <a:lnTo>
                    <a:pt x="313" y="160"/>
                  </a:lnTo>
                  <a:lnTo>
                    <a:pt x="313" y="158"/>
                  </a:lnTo>
                  <a:lnTo>
                    <a:pt x="311" y="158"/>
                  </a:lnTo>
                  <a:lnTo>
                    <a:pt x="313" y="158"/>
                  </a:lnTo>
                  <a:lnTo>
                    <a:pt x="311" y="158"/>
                  </a:lnTo>
                  <a:lnTo>
                    <a:pt x="311" y="156"/>
                  </a:lnTo>
                  <a:lnTo>
                    <a:pt x="309" y="156"/>
                  </a:lnTo>
                  <a:lnTo>
                    <a:pt x="309" y="154"/>
                  </a:lnTo>
                  <a:lnTo>
                    <a:pt x="311" y="154"/>
                  </a:lnTo>
                  <a:lnTo>
                    <a:pt x="309" y="154"/>
                  </a:lnTo>
                  <a:lnTo>
                    <a:pt x="311" y="154"/>
                  </a:lnTo>
                  <a:lnTo>
                    <a:pt x="311" y="152"/>
                  </a:lnTo>
                  <a:close/>
                  <a:moveTo>
                    <a:pt x="411" y="1029"/>
                  </a:moveTo>
                  <a:lnTo>
                    <a:pt x="411" y="1031"/>
                  </a:lnTo>
                  <a:lnTo>
                    <a:pt x="411" y="1033"/>
                  </a:lnTo>
                  <a:lnTo>
                    <a:pt x="411" y="1035"/>
                  </a:lnTo>
                  <a:lnTo>
                    <a:pt x="409" y="1035"/>
                  </a:lnTo>
                  <a:lnTo>
                    <a:pt x="409" y="1037"/>
                  </a:lnTo>
                  <a:lnTo>
                    <a:pt x="407" y="1037"/>
                  </a:lnTo>
                  <a:lnTo>
                    <a:pt x="405" y="1037"/>
                  </a:lnTo>
                  <a:lnTo>
                    <a:pt x="403" y="1037"/>
                  </a:lnTo>
                  <a:lnTo>
                    <a:pt x="403" y="1035"/>
                  </a:lnTo>
                  <a:lnTo>
                    <a:pt x="403" y="1037"/>
                  </a:lnTo>
                  <a:lnTo>
                    <a:pt x="403" y="1035"/>
                  </a:lnTo>
                  <a:lnTo>
                    <a:pt x="402" y="1035"/>
                  </a:lnTo>
                  <a:lnTo>
                    <a:pt x="402" y="1033"/>
                  </a:lnTo>
                  <a:lnTo>
                    <a:pt x="403" y="1033"/>
                  </a:lnTo>
                  <a:lnTo>
                    <a:pt x="405" y="1033"/>
                  </a:lnTo>
                  <a:lnTo>
                    <a:pt x="407" y="1033"/>
                  </a:lnTo>
                  <a:lnTo>
                    <a:pt x="405" y="1033"/>
                  </a:lnTo>
                  <a:lnTo>
                    <a:pt x="405" y="1035"/>
                  </a:lnTo>
                  <a:lnTo>
                    <a:pt x="403" y="1035"/>
                  </a:lnTo>
                  <a:lnTo>
                    <a:pt x="405" y="1035"/>
                  </a:lnTo>
                  <a:lnTo>
                    <a:pt x="405" y="1033"/>
                  </a:lnTo>
                  <a:lnTo>
                    <a:pt x="407" y="1033"/>
                  </a:lnTo>
                  <a:lnTo>
                    <a:pt x="407" y="1031"/>
                  </a:lnTo>
                  <a:lnTo>
                    <a:pt x="409" y="1031"/>
                  </a:lnTo>
                  <a:lnTo>
                    <a:pt x="409" y="1029"/>
                  </a:lnTo>
                  <a:lnTo>
                    <a:pt x="411" y="1029"/>
                  </a:lnTo>
                  <a:close/>
                  <a:moveTo>
                    <a:pt x="379" y="177"/>
                  </a:moveTo>
                  <a:lnTo>
                    <a:pt x="379" y="179"/>
                  </a:lnTo>
                  <a:lnTo>
                    <a:pt x="380" y="179"/>
                  </a:lnTo>
                  <a:lnTo>
                    <a:pt x="380" y="181"/>
                  </a:lnTo>
                  <a:lnTo>
                    <a:pt x="380" y="183"/>
                  </a:lnTo>
                  <a:lnTo>
                    <a:pt x="379" y="183"/>
                  </a:lnTo>
                  <a:lnTo>
                    <a:pt x="379" y="185"/>
                  </a:lnTo>
                  <a:lnTo>
                    <a:pt x="379" y="183"/>
                  </a:lnTo>
                  <a:lnTo>
                    <a:pt x="379" y="185"/>
                  </a:lnTo>
                  <a:lnTo>
                    <a:pt x="379" y="183"/>
                  </a:lnTo>
                  <a:lnTo>
                    <a:pt x="377" y="183"/>
                  </a:lnTo>
                  <a:lnTo>
                    <a:pt x="377" y="181"/>
                  </a:lnTo>
                  <a:lnTo>
                    <a:pt x="379" y="181"/>
                  </a:lnTo>
                  <a:lnTo>
                    <a:pt x="379" y="179"/>
                  </a:lnTo>
                  <a:lnTo>
                    <a:pt x="377" y="179"/>
                  </a:lnTo>
                  <a:lnTo>
                    <a:pt x="379" y="179"/>
                  </a:lnTo>
                  <a:lnTo>
                    <a:pt x="377" y="179"/>
                  </a:lnTo>
                  <a:lnTo>
                    <a:pt x="377" y="177"/>
                  </a:lnTo>
                  <a:lnTo>
                    <a:pt x="379" y="177"/>
                  </a:lnTo>
                  <a:close/>
                  <a:moveTo>
                    <a:pt x="866" y="430"/>
                  </a:moveTo>
                  <a:lnTo>
                    <a:pt x="868" y="430"/>
                  </a:lnTo>
                  <a:lnTo>
                    <a:pt x="866" y="432"/>
                  </a:lnTo>
                  <a:lnTo>
                    <a:pt x="866" y="430"/>
                  </a:lnTo>
                  <a:lnTo>
                    <a:pt x="866" y="432"/>
                  </a:lnTo>
                  <a:lnTo>
                    <a:pt x="864" y="434"/>
                  </a:lnTo>
                  <a:lnTo>
                    <a:pt x="862" y="434"/>
                  </a:lnTo>
                  <a:lnTo>
                    <a:pt x="862" y="436"/>
                  </a:lnTo>
                  <a:lnTo>
                    <a:pt x="861" y="434"/>
                  </a:lnTo>
                  <a:lnTo>
                    <a:pt x="862" y="434"/>
                  </a:lnTo>
                  <a:lnTo>
                    <a:pt x="862" y="432"/>
                  </a:lnTo>
                  <a:lnTo>
                    <a:pt x="862" y="430"/>
                  </a:lnTo>
                  <a:lnTo>
                    <a:pt x="864" y="430"/>
                  </a:lnTo>
                  <a:lnTo>
                    <a:pt x="866" y="429"/>
                  </a:lnTo>
                  <a:lnTo>
                    <a:pt x="866" y="430"/>
                  </a:lnTo>
                  <a:close/>
                  <a:moveTo>
                    <a:pt x="855" y="482"/>
                  </a:moveTo>
                  <a:lnTo>
                    <a:pt x="857" y="484"/>
                  </a:lnTo>
                  <a:lnTo>
                    <a:pt x="857" y="486"/>
                  </a:lnTo>
                  <a:lnTo>
                    <a:pt x="859" y="486"/>
                  </a:lnTo>
                  <a:lnTo>
                    <a:pt x="859" y="484"/>
                  </a:lnTo>
                  <a:lnTo>
                    <a:pt x="859" y="486"/>
                  </a:lnTo>
                  <a:lnTo>
                    <a:pt x="857" y="486"/>
                  </a:lnTo>
                  <a:lnTo>
                    <a:pt x="857" y="488"/>
                  </a:lnTo>
                  <a:lnTo>
                    <a:pt x="855" y="486"/>
                  </a:lnTo>
                  <a:lnTo>
                    <a:pt x="855" y="484"/>
                  </a:lnTo>
                  <a:lnTo>
                    <a:pt x="855" y="482"/>
                  </a:lnTo>
                  <a:lnTo>
                    <a:pt x="855" y="484"/>
                  </a:lnTo>
                  <a:lnTo>
                    <a:pt x="855" y="486"/>
                  </a:lnTo>
                  <a:lnTo>
                    <a:pt x="855" y="484"/>
                  </a:lnTo>
                  <a:lnTo>
                    <a:pt x="853" y="484"/>
                  </a:lnTo>
                  <a:lnTo>
                    <a:pt x="853" y="482"/>
                  </a:lnTo>
                  <a:lnTo>
                    <a:pt x="855" y="482"/>
                  </a:lnTo>
                  <a:close/>
                  <a:moveTo>
                    <a:pt x="411" y="1024"/>
                  </a:moveTo>
                  <a:lnTo>
                    <a:pt x="411" y="1026"/>
                  </a:lnTo>
                  <a:lnTo>
                    <a:pt x="413" y="1026"/>
                  </a:lnTo>
                  <a:lnTo>
                    <a:pt x="415" y="1026"/>
                  </a:lnTo>
                  <a:lnTo>
                    <a:pt x="413" y="1026"/>
                  </a:lnTo>
                  <a:lnTo>
                    <a:pt x="413" y="1028"/>
                  </a:lnTo>
                  <a:lnTo>
                    <a:pt x="411" y="1028"/>
                  </a:lnTo>
                  <a:lnTo>
                    <a:pt x="409" y="1028"/>
                  </a:lnTo>
                  <a:lnTo>
                    <a:pt x="407" y="1028"/>
                  </a:lnTo>
                  <a:lnTo>
                    <a:pt x="407" y="1026"/>
                  </a:lnTo>
                  <a:lnTo>
                    <a:pt x="407" y="1028"/>
                  </a:lnTo>
                  <a:lnTo>
                    <a:pt x="407" y="1026"/>
                  </a:lnTo>
                  <a:lnTo>
                    <a:pt x="409" y="1026"/>
                  </a:lnTo>
                  <a:lnTo>
                    <a:pt x="411" y="1026"/>
                  </a:lnTo>
                  <a:lnTo>
                    <a:pt x="409" y="1026"/>
                  </a:lnTo>
                  <a:lnTo>
                    <a:pt x="411" y="1026"/>
                  </a:lnTo>
                  <a:lnTo>
                    <a:pt x="411" y="1024"/>
                  </a:lnTo>
                  <a:close/>
                  <a:moveTo>
                    <a:pt x="862" y="697"/>
                  </a:moveTo>
                  <a:lnTo>
                    <a:pt x="862" y="699"/>
                  </a:lnTo>
                  <a:lnTo>
                    <a:pt x="861" y="699"/>
                  </a:lnTo>
                  <a:lnTo>
                    <a:pt x="861" y="701"/>
                  </a:lnTo>
                  <a:lnTo>
                    <a:pt x="861" y="703"/>
                  </a:lnTo>
                  <a:lnTo>
                    <a:pt x="861" y="705"/>
                  </a:lnTo>
                  <a:lnTo>
                    <a:pt x="861" y="707"/>
                  </a:lnTo>
                  <a:lnTo>
                    <a:pt x="861" y="709"/>
                  </a:lnTo>
                  <a:lnTo>
                    <a:pt x="861" y="711"/>
                  </a:lnTo>
                  <a:lnTo>
                    <a:pt x="859" y="711"/>
                  </a:lnTo>
                  <a:lnTo>
                    <a:pt x="859" y="709"/>
                  </a:lnTo>
                  <a:lnTo>
                    <a:pt x="861" y="709"/>
                  </a:lnTo>
                  <a:lnTo>
                    <a:pt x="859" y="709"/>
                  </a:lnTo>
                  <a:lnTo>
                    <a:pt x="861" y="709"/>
                  </a:lnTo>
                  <a:lnTo>
                    <a:pt x="859" y="709"/>
                  </a:lnTo>
                  <a:lnTo>
                    <a:pt x="861" y="707"/>
                  </a:lnTo>
                  <a:lnTo>
                    <a:pt x="859" y="707"/>
                  </a:lnTo>
                  <a:lnTo>
                    <a:pt x="859" y="705"/>
                  </a:lnTo>
                  <a:lnTo>
                    <a:pt x="861" y="705"/>
                  </a:lnTo>
                  <a:lnTo>
                    <a:pt x="861" y="703"/>
                  </a:lnTo>
                  <a:lnTo>
                    <a:pt x="861" y="701"/>
                  </a:lnTo>
                  <a:lnTo>
                    <a:pt x="861" y="699"/>
                  </a:lnTo>
                  <a:lnTo>
                    <a:pt x="862" y="699"/>
                  </a:lnTo>
                  <a:lnTo>
                    <a:pt x="862" y="697"/>
                  </a:lnTo>
                  <a:close/>
                  <a:moveTo>
                    <a:pt x="523" y="853"/>
                  </a:moveTo>
                  <a:lnTo>
                    <a:pt x="523" y="855"/>
                  </a:lnTo>
                  <a:lnTo>
                    <a:pt x="521" y="855"/>
                  </a:lnTo>
                  <a:lnTo>
                    <a:pt x="521" y="857"/>
                  </a:lnTo>
                  <a:lnTo>
                    <a:pt x="521" y="859"/>
                  </a:lnTo>
                  <a:lnTo>
                    <a:pt x="521" y="857"/>
                  </a:lnTo>
                  <a:lnTo>
                    <a:pt x="521" y="859"/>
                  </a:lnTo>
                  <a:lnTo>
                    <a:pt x="519" y="859"/>
                  </a:lnTo>
                  <a:lnTo>
                    <a:pt x="519" y="857"/>
                  </a:lnTo>
                  <a:lnTo>
                    <a:pt x="519" y="859"/>
                  </a:lnTo>
                  <a:lnTo>
                    <a:pt x="519" y="857"/>
                  </a:lnTo>
                  <a:lnTo>
                    <a:pt x="519" y="855"/>
                  </a:lnTo>
                  <a:lnTo>
                    <a:pt x="521" y="855"/>
                  </a:lnTo>
                  <a:lnTo>
                    <a:pt x="521" y="853"/>
                  </a:lnTo>
                  <a:lnTo>
                    <a:pt x="523" y="853"/>
                  </a:lnTo>
                  <a:close/>
                  <a:moveTo>
                    <a:pt x="862" y="446"/>
                  </a:moveTo>
                  <a:lnTo>
                    <a:pt x="861" y="446"/>
                  </a:lnTo>
                  <a:lnTo>
                    <a:pt x="862" y="446"/>
                  </a:lnTo>
                  <a:lnTo>
                    <a:pt x="861" y="446"/>
                  </a:lnTo>
                  <a:lnTo>
                    <a:pt x="862" y="446"/>
                  </a:lnTo>
                  <a:lnTo>
                    <a:pt x="861" y="446"/>
                  </a:lnTo>
                  <a:lnTo>
                    <a:pt x="861" y="448"/>
                  </a:lnTo>
                  <a:lnTo>
                    <a:pt x="861" y="450"/>
                  </a:lnTo>
                  <a:lnTo>
                    <a:pt x="862" y="450"/>
                  </a:lnTo>
                  <a:lnTo>
                    <a:pt x="861" y="452"/>
                  </a:lnTo>
                  <a:lnTo>
                    <a:pt x="861" y="450"/>
                  </a:lnTo>
                  <a:lnTo>
                    <a:pt x="859" y="450"/>
                  </a:lnTo>
                  <a:lnTo>
                    <a:pt x="859" y="448"/>
                  </a:lnTo>
                  <a:lnTo>
                    <a:pt x="861" y="448"/>
                  </a:lnTo>
                  <a:lnTo>
                    <a:pt x="859" y="448"/>
                  </a:lnTo>
                  <a:lnTo>
                    <a:pt x="861" y="448"/>
                  </a:lnTo>
                  <a:lnTo>
                    <a:pt x="861" y="446"/>
                  </a:lnTo>
                  <a:lnTo>
                    <a:pt x="861" y="444"/>
                  </a:lnTo>
                  <a:lnTo>
                    <a:pt x="862" y="444"/>
                  </a:lnTo>
                  <a:lnTo>
                    <a:pt x="862" y="446"/>
                  </a:lnTo>
                  <a:close/>
                  <a:moveTo>
                    <a:pt x="411" y="1016"/>
                  </a:moveTo>
                  <a:lnTo>
                    <a:pt x="411" y="1018"/>
                  </a:lnTo>
                  <a:lnTo>
                    <a:pt x="411" y="1020"/>
                  </a:lnTo>
                  <a:lnTo>
                    <a:pt x="409" y="1020"/>
                  </a:lnTo>
                  <a:lnTo>
                    <a:pt x="407" y="1020"/>
                  </a:lnTo>
                  <a:lnTo>
                    <a:pt x="409" y="1020"/>
                  </a:lnTo>
                  <a:lnTo>
                    <a:pt x="407" y="1020"/>
                  </a:lnTo>
                  <a:lnTo>
                    <a:pt x="407" y="1018"/>
                  </a:lnTo>
                  <a:lnTo>
                    <a:pt x="409" y="1018"/>
                  </a:lnTo>
                  <a:lnTo>
                    <a:pt x="409" y="1016"/>
                  </a:lnTo>
                  <a:lnTo>
                    <a:pt x="411" y="1016"/>
                  </a:lnTo>
                  <a:close/>
                  <a:moveTo>
                    <a:pt x="701" y="588"/>
                  </a:moveTo>
                  <a:lnTo>
                    <a:pt x="703" y="588"/>
                  </a:lnTo>
                  <a:lnTo>
                    <a:pt x="705" y="588"/>
                  </a:lnTo>
                  <a:lnTo>
                    <a:pt x="705" y="590"/>
                  </a:lnTo>
                  <a:lnTo>
                    <a:pt x="703" y="590"/>
                  </a:lnTo>
                  <a:lnTo>
                    <a:pt x="703" y="592"/>
                  </a:lnTo>
                  <a:lnTo>
                    <a:pt x="703" y="590"/>
                  </a:lnTo>
                  <a:lnTo>
                    <a:pt x="701" y="590"/>
                  </a:lnTo>
                  <a:lnTo>
                    <a:pt x="701" y="588"/>
                  </a:lnTo>
                  <a:close/>
                  <a:moveTo>
                    <a:pt x="321" y="158"/>
                  </a:moveTo>
                  <a:lnTo>
                    <a:pt x="323" y="158"/>
                  </a:lnTo>
                  <a:lnTo>
                    <a:pt x="323" y="160"/>
                  </a:lnTo>
                  <a:lnTo>
                    <a:pt x="323" y="158"/>
                  </a:lnTo>
                  <a:lnTo>
                    <a:pt x="323" y="160"/>
                  </a:lnTo>
                  <a:lnTo>
                    <a:pt x="323" y="162"/>
                  </a:lnTo>
                  <a:lnTo>
                    <a:pt x="321" y="162"/>
                  </a:lnTo>
                  <a:lnTo>
                    <a:pt x="321" y="160"/>
                  </a:lnTo>
                  <a:lnTo>
                    <a:pt x="321" y="162"/>
                  </a:lnTo>
                  <a:lnTo>
                    <a:pt x="319" y="162"/>
                  </a:lnTo>
                  <a:lnTo>
                    <a:pt x="321" y="162"/>
                  </a:lnTo>
                  <a:lnTo>
                    <a:pt x="319" y="162"/>
                  </a:lnTo>
                  <a:lnTo>
                    <a:pt x="321" y="162"/>
                  </a:lnTo>
                  <a:lnTo>
                    <a:pt x="319" y="162"/>
                  </a:lnTo>
                  <a:lnTo>
                    <a:pt x="319" y="160"/>
                  </a:lnTo>
                  <a:lnTo>
                    <a:pt x="321" y="160"/>
                  </a:lnTo>
                  <a:lnTo>
                    <a:pt x="319" y="160"/>
                  </a:lnTo>
                  <a:lnTo>
                    <a:pt x="321" y="160"/>
                  </a:lnTo>
                  <a:lnTo>
                    <a:pt x="321" y="158"/>
                  </a:lnTo>
                  <a:lnTo>
                    <a:pt x="321" y="160"/>
                  </a:lnTo>
                  <a:lnTo>
                    <a:pt x="321" y="158"/>
                  </a:lnTo>
                  <a:close/>
                  <a:moveTo>
                    <a:pt x="523" y="870"/>
                  </a:moveTo>
                  <a:lnTo>
                    <a:pt x="523" y="872"/>
                  </a:lnTo>
                  <a:lnTo>
                    <a:pt x="523" y="874"/>
                  </a:lnTo>
                  <a:lnTo>
                    <a:pt x="521" y="874"/>
                  </a:lnTo>
                  <a:lnTo>
                    <a:pt x="521" y="876"/>
                  </a:lnTo>
                  <a:lnTo>
                    <a:pt x="521" y="878"/>
                  </a:lnTo>
                  <a:lnTo>
                    <a:pt x="521" y="880"/>
                  </a:lnTo>
                  <a:lnTo>
                    <a:pt x="521" y="878"/>
                  </a:lnTo>
                  <a:lnTo>
                    <a:pt x="521" y="876"/>
                  </a:lnTo>
                  <a:lnTo>
                    <a:pt x="521" y="874"/>
                  </a:lnTo>
                  <a:lnTo>
                    <a:pt x="521" y="872"/>
                  </a:lnTo>
                  <a:lnTo>
                    <a:pt x="523" y="872"/>
                  </a:lnTo>
                  <a:lnTo>
                    <a:pt x="523" y="870"/>
                  </a:lnTo>
                  <a:close/>
                  <a:moveTo>
                    <a:pt x="868" y="438"/>
                  </a:moveTo>
                  <a:lnTo>
                    <a:pt x="866" y="438"/>
                  </a:lnTo>
                  <a:lnTo>
                    <a:pt x="866" y="440"/>
                  </a:lnTo>
                  <a:lnTo>
                    <a:pt x="864" y="440"/>
                  </a:lnTo>
                  <a:lnTo>
                    <a:pt x="864" y="438"/>
                  </a:lnTo>
                  <a:lnTo>
                    <a:pt x="866" y="438"/>
                  </a:lnTo>
                  <a:lnTo>
                    <a:pt x="866" y="436"/>
                  </a:lnTo>
                  <a:lnTo>
                    <a:pt x="868" y="436"/>
                  </a:lnTo>
                  <a:lnTo>
                    <a:pt x="868" y="438"/>
                  </a:lnTo>
                  <a:close/>
                  <a:moveTo>
                    <a:pt x="868" y="430"/>
                  </a:moveTo>
                  <a:lnTo>
                    <a:pt x="868" y="429"/>
                  </a:lnTo>
                  <a:lnTo>
                    <a:pt x="868" y="430"/>
                  </a:lnTo>
                  <a:lnTo>
                    <a:pt x="868" y="429"/>
                  </a:lnTo>
                  <a:lnTo>
                    <a:pt x="868" y="430"/>
                  </a:lnTo>
                  <a:lnTo>
                    <a:pt x="870" y="430"/>
                  </a:lnTo>
                  <a:lnTo>
                    <a:pt x="868" y="430"/>
                  </a:lnTo>
                  <a:lnTo>
                    <a:pt x="870" y="430"/>
                  </a:lnTo>
                  <a:lnTo>
                    <a:pt x="870" y="432"/>
                  </a:lnTo>
                  <a:lnTo>
                    <a:pt x="868" y="432"/>
                  </a:lnTo>
                  <a:lnTo>
                    <a:pt x="866" y="432"/>
                  </a:lnTo>
                  <a:lnTo>
                    <a:pt x="868" y="432"/>
                  </a:lnTo>
                  <a:lnTo>
                    <a:pt x="868" y="430"/>
                  </a:lnTo>
                  <a:close/>
                  <a:moveTo>
                    <a:pt x="434" y="968"/>
                  </a:moveTo>
                  <a:lnTo>
                    <a:pt x="434" y="970"/>
                  </a:lnTo>
                  <a:lnTo>
                    <a:pt x="432" y="970"/>
                  </a:lnTo>
                  <a:lnTo>
                    <a:pt x="432" y="972"/>
                  </a:lnTo>
                  <a:lnTo>
                    <a:pt x="432" y="974"/>
                  </a:lnTo>
                  <a:lnTo>
                    <a:pt x="430" y="974"/>
                  </a:lnTo>
                  <a:lnTo>
                    <a:pt x="430" y="972"/>
                  </a:lnTo>
                  <a:lnTo>
                    <a:pt x="432" y="972"/>
                  </a:lnTo>
                  <a:lnTo>
                    <a:pt x="432" y="970"/>
                  </a:lnTo>
                  <a:lnTo>
                    <a:pt x="432" y="968"/>
                  </a:lnTo>
                  <a:lnTo>
                    <a:pt x="434" y="968"/>
                  </a:lnTo>
                  <a:close/>
                  <a:moveTo>
                    <a:pt x="37" y="265"/>
                  </a:moveTo>
                  <a:lnTo>
                    <a:pt x="37" y="267"/>
                  </a:lnTo>
                  <a:lnTo>
                    <a:pt x="39" y="267"/>
                  </a:lnTo>
                  <a:lnTo>
                    <a:pt x="39" y="265"/>
                  </a:lnTo>
                  <a:lnTo>
                    <a:pt x="39" y="267"/>
                  </a:lnTo>
                  <a:lnTo>
                    <a:pt x="37" y="267"/>
                  </a:lnTo>
                  <a:lnTo>
                    <a:pt x="35" y="267"/>
                  </a:lnTo>
                  <a:lnTo>
                    <a:pt x="35" y="265"/>
                  </a:lnTo>
                  <a:lnTo>
                    <a:pt x="37" y="265"/>
                  </a:lnTo>
                  <a:close/>
                  <a:moveTo>
                    <a:pt x="434" y="972"/>
                  </a:moveTo>
                  <a:lnTo>
                    <a:pt x="434" y="970"/>
                  </a:lnTo>
                  <a:lnTo>
                    <a:pt x="434" y="972"/>
                  </a:lnTo>
                  <a:lnTo>
                    <a:pt x="434" y="974"/>
                  </a:lnTo>
                  <a:lnTo>
                    <a:pt x="432" y="974"/>
                  </a:lnTo>
                  <a:lnTo>
                    <a:pt x="432" y="972"/>
                  </a:lnTo>
                  <a:lnTo>
                    <a:pt x="432" y="970"/>
                  </a:lnTo>
                  <a:lnTo>
                    <a:pt x="434" y="970"/>
                  </a:lnTo>
                  <a:lnTo>
                    <a:pt x="434" y="972"/>
                  </a:lnTo>
                  <a:close/>
                  <a:moveTo>
                    <a:pt x="730" y="574"/>
                  </a:moveTo>
                  <a:lnTo>
                    <a:pt x="732" y="574"/>
                  </a:lnTo>
                  <a:lnTo>
                    <a:pt x="732" y="576"/>
                  </a:lnTo>
                  <a:lnTo>
                    <a:pt x="730" y="576"/>
                  </a:lnTo>
                  <a:lnTo>
                    <a:pt x="730" y="578"/>
                  </a:lnTo>
                  <a:lnTo>
                    <a:pt x="728" y="578"/>
                  </a:lnTo>
                  <a:lnTo>
                    <a:pt x="728" y="576"/>
                  </a:lnTo>
                  <a:lnTo>
                    <a:pt x="730" y="576"/>
                  </a:lnTo>
                  <a:lnTo>
                    <a:pt x="730" y="574"/>
                  </a:lnTo>
                  <a:close/>
                  <a:moveTo>
                    <a:pt x="864" y="438"/>
                  </a:moveTo>
                  <a:lnTo>
                    <a:pt x="864" y="440"/>
                  </a:lnTo>
                  <a:lnTo>
                    <a:pt x="864" y="438"/>
                  </a:lnTo>
                  <a:lnTo>
                    <a:pt x="864" y="440"/>
                  </a:lnTo>
                  <a:lnTo>
                    <a:pt x="862" y="440"/>
                  </a:lnTo>
                  <a:lnTo>
                    <a:pt x="864" y="442"/>
                  </a:lnTo>
                  <a:lnTo>
                    <a:pt x="862" y="442"/>
                  </a:lnTo>
                  <a:lnTo>
                    <a:pt x="862" y="440"/>
                  </a:lnTo>
                  <a:lnTo>
                    <a:pt x="862" y="438"/>
                  </a:lnTo>
                  <a:lnTo>
                    <a:pt x="864" y="438"/>
                  </a:lnTo>
                  <a:close/>
                  <a:moveTo>
                    <a:pt x="37" y="246"/>
                  </a:moveTo>
                  <a:lnTo>
                    <a:pt x="37" y="248"/>
                  </a:lnTo>
                  <a:lnTo>
                    <a:pt x="35" y="248"/>
                  </a:lnTo>
                  <a:lnTo>
                    <a:pt x="35" y="246"/>
                  </a:lnTo>
                  <a:lnTo>
                    <a:pt x="37" y="246"/>
                  </a:lnTo>
                  <a:close/>
                  <a:moveTo>
                    <a:pt x="52" y="277"/>
                  </a:moveTo>
                  <a:lnTo>
                    <a:pt x="54" y="277"/>
                  </a:lnTo>
                  <a:lnTo>
                    <a:pt x="54" y="279"/>
                  </a:lnTo>
                  <a:lnTo>
                    <a:pt x="52" y="279"/>
                  </a:lnTo>
                  <a:lnTo>
                    <a:pt x="52" y="277"/>
                  </a:lnTo>
                  <a:lnTo>
                    <a:pt x="50" y="277"/>
                  </a:lnTo>
                  <a:lnTo>
                    <a:pt x="52" y="277"/>
                  </a:lnTo>
                  <a:close/>
                  <a:moveTo>
                    <a:pt x="315" y="152"/>
                  </a:moveTo>
                  <a:lnTo>
                    <a:pt x="317" y="152"/>
                  </a:lnTo>
                  <a:lnTo>
                    <a:pt x="317" y="154"/>
                  </a:lnTo>
                  <a:lnTo>
                    <a:pt x="317" y="152"/>
                  </a:lnTo>
                  <a:lnTo>
                    <a:pt x="317" y="154"/>
                  </a:lnTo>
                  <a:lnTo>
                    <a:pt x="317" y="156"/>
                  </a:lnTo>
                  <a:lnTo>
                    <a:pt x="317" y="154"/>
                  </a:lnTo>
                  <a:lnTo>
                    <a:pt x="317" y="156"/>
                  </a:lnTo>
                  <a:lnTo>
                    <a:pt x="315" y="156"/>
                  </a:lnTo>
                  <a:lnTo>
                    <a:pt x="315" y="154"/>
                  </a:lnTo>
                  <a:lnTo>
                    <a:pt x="315" y="152"/>
                  </a:lnTo>
                  <a:close/>
                  <a:moveTo>
                    <a:pt x="546" y="801"/>
                  </a:moveTo>
                  <a:lnTo>
                    <a:pt x="546" y="803"/>
                  </a:lnTo>
                  <a:lnTo>
                    <a:pt x="546" y="805"/>
                  </a:lnTo>
                  <a:lnTo>
                    <a:pt x="544" y="807"/>
                  </a:lnTo>
                  <a:lnTo>
                    <a:pt x="544" y="809"/>
                  </a:lnTo>
                  <a:lnTo>
                    <a:pt x="544" y="807"/>
                  </a:lnTo>
                  <a:lnTo>
                    <a:pt x="544" y="805"/>
                  </a:lnTo>
                  <a:lnTo>
                    <a:pt x="544" y="803"/>
                  </a:lnTo>
                  <a:lnTo>
                    <a:pt x="546" y="803"/>
                  </a:lnTo>
                  <a:lnTo>
                    <a:pt x="546" y="801"/>
                  </a:lnTo>
                  <a:close/>
                  <a:moveTo>
                    <a:pt x="18" y="79"/>
                  </a:moveTo>
                  <a:lnTo>
                    <a:pt x="19" y="79"/>
                  </a:lnTo>
                  <a:lnTo>
                    <a:pt x="19" y="81"/>
                  </a:lnTo>
                  <a:lnTo>
                    <a:pt x="18" y="81"/>
                  </a:lnTo>
                  <a:lnTo>
                    <a:pt x="18" y="79"/>
                  </a:lnTo>
                  <a:lnTo>
                    <a:pt x="16" y="79"/>
                  </a:lnTo>
                  <a:lnTo>
                    <a:pt x="18" y="79"/>
                  </a:lnTo>
                  <a:lnTo>
                    <a:pt x="16" y="79"/>
                  </a:lnTo>
                  <a:lnTo>
                    <a:pt x="18" y="79"/>
                  </a:lnTo>
                  <a:close/>
                  <a:moveTo>
                    <a:pt x="853" y="488"/>
                  </a:moveTo>
                  <a:lnTo>
                    <a:pt x="853" y="490"/>
                  </a:lnTo>
                  <a:lnTo>
                    <a:pt x="851" y="490"/>
                  </a:lnTo>
                  <a:lnTo>
                    <a:pt x="853" y="488"/>
                  </a:lnTo>
                  <a:close/>
                  <a:moveTo>
                    <a:pt x="436" y="970"/>
                  </a:moveTo>
                  <a:lnTo>
                    <a:pt x="438" y="970"/>
                  </a:lnTo>
                  <a:lnTo>
                    <a:pt x="436" y="970"/>
                  </a:lnTo>
                  <a:lnTo>
                    <a:pt x="436" y="972"/>
                  </a:lnTo>
                  <a:lnTo>
                    <a:pt x="434" y="972"/>
                  </a:lnTo>
                  <a:lnTo>
                    <a:pt x="434" y="970"/>
                  </a:lnTo>
                  <a:lnTo>
                    <a:pt x="436" y="970"/>
                  </a:lnTo>
                  <a:close/>
                  <a:moveTo>
                    <a:pt x="864" y="429"/>
                  </a:moveTo>
                  <a:lnTo>
                    <a:pt x="864" y="430"/>
                  </a:lnTo>
                  <a:lnTo>
                    <a:pt x="862" y="430"/>
                  </a:lnTo>
                  <a:lnTo>
                    <a:pt x="862" y="429"/>
                  </a:lnTo>
                  <a:lnTo>
                    <a:pt x="864" y="429"/>
                  </a:lnTo>
                  <a:close/>
                  <a:moveTo>
                    <a:pt x="430" y="974"/>
                  </a:moveTo>
                  <a:lnTo>
                    <a:pt x="430" y="972"/>
                  </a:lnTo>
                  <a:lnTo>
                    <a:pt x="430" y="974"/>
                  </a:lnTo>
                  <a:lnTo>
                    <a:pt x="430" y="976"/>
                  </a:lnTo>
                  <a:lnTo>
                    <a:pt x="430" y="974"/>
                  </a:lnTo>
                  <a:lnTo>
                    <a:pt x="430" y="972"/>
                  </a:lnTo>
                  <a:lnTo>
                    <a:pt x="430" y="970"/>
                  </a:lnTo>
                  <a:lnTo>
                    <a:pt x="432" y="970"/>
                  </a:lnTo>
                  <a:lnTo>
                    <a:pt x="432" y="972"/>
                  </a:lnTo>
                  <a:lnTo>
                    <a:pt x="430" y="972"/>
                  </a:lnTo>
                  <a:lnTo>
                    <a:pt x="430" y="974"/>
                  </a:lnTo>
                  <a:close/>
                  <a:moveTo>
                    <a:pt x="884" y="407"/>
                  </a:moveTo>
                  <a:lnTo>
                    <a:pt x="885" y="407"/>
                  </a:lnTo>
                  <a:lnTo>
                    <a:pt x="884" y="407"/>
                  </a:lnTo>
                  <a:lnTo>
                    <a:pt x="884" y="409"/>
                  </a:lnTo>
                  <a:lnTo>
                    <a:pt x="884" y="407"/>
                  </a:lnTo>
                  <a:lnTo>
                    <a:pt x="884" y="405"/>
                  </a:lnTo>
                  <a:lnTo>
                    <a:pt x="884" y="407"/>
                  </a:lnTo>
                  <a:lnTo>
                    <a:pt x="884" y="405"/>
                  </a:lnTo>
                  <a:lnTo>
                    <a:pt x="884" y="407"/>
                  </a:lnTo>
                  <a:close/>
                  <a:moveTo>
                    <a:pt x="870" y="429"/>
                  </a:moveTo>
                  <a:lnTo>
                    <a:pt x="872" y="429"/>
                  </a:lnTo>
                  <a:lnTo>
                    <a:pt x="872" y="430"/>
                  </a:lnTo>
                  <a:lnTo>
                    <a:pt x="870" y="430"/>
                  </a:lnTo>
                  <a:lnTo>
                    <a:pt x="870" y="429"/>
                  </a:lnTo>
                  <a:lnTo>
                    <a:pt x="870" y="430"/>
                  </a:lnTo>
                  <a:lnTo>
                    <a:pt x="870" y="429"/>
                  </a:lnTo>
                  <a:lnTo>
                    <a:pt x="868" y="429"/>
                  </a:lnTo>
                  <a:lnTo>
                    <a:pt x="870" y="429"/>
                  </a:lnTo>
                  <a:lnTo>
                    <a:pt x="868" y="429"/>
                  </a:lnTo>
                  <a:lnTo>
                    <a:pt x="870" y="429"/>
                  </a:lnTo>
                  <a:close/>
                  <a:moveTo>
                    <a:pt x="283" y="110"/>
                  </a:moveTo>
                  <a:lnTo>
                    <a:pt x="283" y="112"/>
                  </a:lnTo>
                  <a:lnTo>
                    <a:pt x="284" y="112"/>
                  </a:lnTo>
                  <a:lnTo>
                    <a:pt x="284" y="114"/>
                  </a:lnTo>
                  <a:lnTo>
                    <a:pt x="283" y="114"/>
                  </a:lnTo>
                  <a:lnTo>
                    <a:pt x="283" y="112"/>
                  </a:lnTo>
                  <a:lnTo>
                    <a:pt x="283" y="110"/>
                  </a:lnTo>
                  <a:close/>
                  <a:moveTo>
                    <a:pt x="436" y="966"/>
                  </a:moveTo>
                  <a:lnTo>
                    <a:pt x="436" y="968"/>
                  </a:lnTo>
                  <a:lnTo>
                    <a:pt x="436" y="970"/>
                  </a:lnTo>
                  <a:lnTo>
                    <a:pt x="434" y="970"/>
                  </a:lnTo>
                  <a:lnTo>
                    <a:pt x="434" y="968"/>
                  </a:lnTo>
                  <a:lnTo>
                    <a:pt x="436" y="968"/>
                  </a:lnTo>
                  <a:lnTo>
                    <a:pt x="434" y="968"/>
                  </a:lnTo>
                  <a:lnTo>
                    <a:pt x="436" y="968"/>
                  </a:lnTo>
                  <a:lnTo>
                    <a:pt x="436" y="966"/>
                  </a:lnTo>
                  <a:close/>
                  <a:moveTo>
                    <a:pt x="864" y="463"/>
                  </a:moveTo>
                  <a:lnTo>
                    <a:pt x="866" y="463"/>
                  </a:lnTo>
                  <a:lnTo>
                    <a:pt x="866" y="465"/>
                  </a:lnTo>
                  <a:lnTo>
                    <a:pt x="864" y="465"/>
                  </a:lnTo>
                  <a:lnTo>
                    <a:pt x="864" y="463"/>
                  </a:lnTo>
                  <a:lnTo>
                    <a:pt x="864" y="461"/>
                  </a:lnTo>
                  <a:lnTo>
                    <a:pt x="864" y="463"/>
                  </a:lnTo>
                  <a:close/>
                  <a:moveTo>
                    <a:pt x="538" y="816"/>
                  </a:moveTo>
                  <a:lnTo>
                    <a:pt x="538" y="818"/>
                  </a:lnTo>
                  <a:lnTo>
                    <a:pt x="538" y="820"/>
                  </a:lnTo>
                  <a:lnTo>
                    <a:pt x="536" y="820"/>
                  </a:lnTo>
                  <a:lnTo>
                    <a:pt x="536" y="822"/>
                  </a:lnTo>
                  <a:lnTo>
                    <a:pt x="536" y="820"/>
                  </a:lnTo>
                  <a:lnTo>
                    <a:pt x="536" y="818"/>
                  </a:lnTo>
                  <a:lnTo>
                    <a:pt x="538" y="818"/>
                  </a:lnTo>
                  <a:lnTo>
                    <a:pt x="538" y="816"/>
                  </a:lnTo>
                  <a:close/>
                  <a:moveTo>
                    <a:pt x="413" y="110"/>
                  </a:moveTo>
                  <a:lnTo>
                    <a:pt x="413" y="112"/>
                  </a:lnTo>
                  <a:lnTo>
                    <a:pt x="411" y="112"/>
                  </a:lnTo>
                  <a:lnTo>
                    <a:pt x="411" y="110"/>
                  </a:lnTo>
                  <a:lnTo>
                    <a:pt x="413" y="110"/>
                  </a:lnTo>
                  <a:lnTo>
                    <a:pt x="411" y="110"/>
                  </a:lnTo>
                  <a:lnTo>
                    <a:pt x="413" y="110"/>
                  </a:lnTo>
                  <a:lnTo>
                    <a:pt x="411" y="110"/>
                  </a:lnTo>
                  <a:lnTo>
                    <a:pt x="413" y="110"/>
                  </a:lnTo>
                  <a:close/>
                  <a:moveTo>
                    <a:pt x="715" y="584"/>
                  </a:moveTo>
                  <a:lnTo>
                    <a:pt x="713" y="584"/>
                  </a:lnTo>
                  <a:lnTo>
                    <a:pt x="713" y="586"/>
                  </a:lnTo>
                  <a:lnTo>
                    <a:pt x="713" y="584"/>
                  </a:lnTo>
                  <a:lnTo>
                    <a:pt x="715" y="584"/>
                  </a:lnTo>
                  <a:close/>
                  <a:moveTo>
                    <a:pt x="430" y="989"/>
                  </a:moveTo>
                  <a:lnTo>
                    <a:pt x="428" y="989"/>
                  </a:lnTo>
                  <a:lnTo>
                    <a:pt x="430" y="989"/>
                  </a:lnTo>
                  <a:lnTo>
                    <a:pt x="428" y="989"/>
                  </a:lnTo>
                  <a:lnTo>
                    <a:pt x="428" y="991"/>
                  </a:lnTo>
                  <a:lnTo>
                    <a:pt x="428" y="993"/>
                  </a:lnTo>
                  <a:lnTo>
                    <a:pt x="427" y="993"/>
                  </a:lnTo>
                  <a:lnTo>
                    <a:pt x="428" y="993"/>
                  </a:lnTo>
                  <a:lnTo>
                    <a:pt x="428" y="991"/>
                  </a:lnTo>
                  <a:lnTo>
                    <a:pt x="428" y="989"/>
                  </a:lnTo>
                  <a:lnTo>
                    <a:pt x="430" y="989"/>
                  </a:lnTo>
                  <a:close/>
                  <a:moveTo>
                    <a:pt x="79" y="567"/>
                  </a:moveTo>
                  <a:lnTo>
                    <a:pt x="81" y="567"/>
                  </a:lnTo>
                  <a:lnTo>
                    <a:pt x="81" y="569"/>
                  </a:lnTo>
                  <a:lnTo>
                    <a:pt x="79" y="569"/>
                  </a:lnTo>
                  <a:lnTo>
                    <a:pt x="77" y="569"/>
                  </a:lnTo>
                  <a:lnTo>
                    <a:pt x="79" y="569"/>
                  </a:lnTo>
                  <a:lnTo>
                    <a:pt x="77" y="569"/>
                  </a:lnTo>
                  <a:lnTo>
                    <a:pt x="79" y="569"/>
                  </a:lnTo>
                  <a:lnTo>
                    <a:pt x="79" y="567"/>
                  </a:lnTo>
                  <a:lnTo>
                    <a:pt x="79" y="569"/>
                  </a:lnTo>
                  <a:lnTo>
                    <a:pt x="79" y="567"/>
                  </a:lnTo>
                  <a:close/>
                  <a:moveTo>
                    <a:pt x="845" y="503"/>
                  </a:moveTo>
                  <a:lnTo>
                    <a:pt x="845" y="505"/>
                  </a:lnTo>
                  <a:lnTo>
                    <a:pt x="843" y="505"/>
                  </a:lnTo>
                  <a:lnTo>
                    <a:pt x="845" y="505"/>
                  </a:lnTo>
                  <a:lnTo>
                    <a:pt x="843" y="505"/>
                  </a:lnTo>
                  <a:lnTo>
                    <a:pt x="845" y="503"/>
                  </a:lnTo>
                  <a:lnTo>
                    <a:pt x="845" y="505"/>
                  </a:lnTo>
                  <a:lnTo>
                    <a:pt x="845" y="503"/>
                  </a:lnTo>
                  <a:close/>
                  <a:moveTo>
                    <a:pt x="862" y="680"/>
                  </a:moveTo>
                  <a:lnTo>
                    <a:pt x="861" y="682"/>
                  </a:lnTo>
                  <a:lnTo>
                    <a:pt x="861" y="680"/>
                  </a:lnTo>
                  <a:lnTo>
                    <a:pt x="862" y="680"/>
                  </a:lnTo>
                  <a:close/>
                  <a:moveTo>
                    <a:pt x="707" y="588"/>
                  </a:moveTo>
                  <a:lnTo>
                    <a:pt x="707" y="586"/>
                  </a:lnTo>
                  <a:lnTo>
                    <a:pt x="707" y="588"/>
                  </a:lnTo>
                  <a:lnTo>
                    <a:pt x="707" y="590"/>
                  </a:lnTo>
                  <a:lnTo>
                    <a:pt x="705" y="588"/>
                  </a:lnTo>
                  <a:lnTo>
                    <a:pt x="707" y="588"/>
                  </a:lnTo>
                  <a:close/>
                  <a:moveTo>
                    <a:pt x="309" y="164"/>
                  </a:moveTo>
                  <a:lnTo>
                    <a:pt x="309" y="165"/>
                  </a:lnTo>
                  <a:lnTo>
                    <a:pt x="309" y="164"/>
                  </a:lnTo>
                  <a:lnTo>
                    <a:pt x="309" y="165"/>
                  </a:lnTo>
                  <a:lnTo>
                    <a:pt x="311" y="165"/>
                  </a:lnTo>
                  <a:lnTo>
                    <a:pt x="311" y="164"/>
                  </a:lnTo>
                  <a:lnTo>
                    <a:pt x="311" y="165"/>
                  </a:lnTo>
                  <a:lnTo>
                    <a:pt x="311" y="167"/>
                  </a:lnTo>
                  <a:lnTo>
                    <a:pt x="311" y="165"/>
                  </a:lnTo>
                  <a:lnTo>
                    <a:pt x="311" y="167"/>
                  </a:lnTo>
                  <a:lnTo>
                    <a:pt x="309" y="165"/>
                  </a:lnTo>
                  <a:lnTo>
                    <a:pt x="309" y="164"/>
                  </a:lnTo>
                  <a:close/>
                  <a:moveTo>
                    <a:pt x="434" y="968"/>
                  </a:moveTo>
                  <a:lnTo>
                    <a:pt x="434" y="970"/>
                  </a:lnTo>
                  <a:lnTo>
                    <a:pt x="434" y="972"/>
                  </a:lnTo>
                  <a:lnTo>
                    <a:pt x="434" y="970"/>
                  </a:lnTo>
                  <a:lnTo>
                    <a:pt x="434" y="968"/>
                  </a:lnTo>
                  <a:close/>
                  <a:moveTo>
                    <a:pt x="33" y="254"/>
                  </a:moveTo>
                  <a:lnTo>
                    <a:pt x="33" y="256"/>
                  </a:lnTo>
                  <a:lnTo>
                    <a:pt x="33" y="254"/>
                  </a:lnTo>
                  <a:lnTo>
                    <a:pt x="33" y="256"/>
                  </a:lnTo>
                  <a:lnTo>
                    <a:pt x="31" y="256"/>
                  </a:lnTo>
                  <a:lnTo>
                    <a:pt x="33" y="256"/>
                  </a:lnTo>
                  <a:lnTo>
                    <a:pt x="31" y="256"/>
                  </a:lnTo>
                  <a:lnTo>
                    <a:pt x="33" y="256"/>
                  </a:lnTo>
                  <a:lnTo>
                    <a:pt x="33" y="254"/>
                  </a:lnTo>
                  <a:close/>
                  <a:moveTo>
                    <a:pt x="409" y="66"/>
                  </a:moveTo>
                  <a:lnTo>
                    <a:pt x="411" y="66"/>
                  </a:lnTo>
                  <a:lnTo>
                    <a:pt x="411" y="68"/>
                  </a:lnTo>
                  <a:lnTo>
                    <a:pt x="409" y="68"/>
                  </a:lnTo>
                  <a:lnTo>
                    <a:pt x="409" y="66"/>
                  </a:lnTo>
                  <a:close/>
                  <a:moveTo>
                    <a:pt x="413" y="121"/>
                  </a:moveTo>
                  <a:lnTo>
                    <a:pt x="413" y="123"/>
                  </a:lnTo>
                  <a:lnTo>
                    <a:pt x="415" y="123"/>
                  </a:lnTo>
                  <a:lnTo>
                    <a:pt x="413" y="123"/>
                  </a:lnTo>
                  <a:lnTo>
                    <a:pt x="413" y="121"/>
                  </a:lnTo>
                  <a:close/>
                  <a:moveTo>
                    <a:pt x="724" y="580"/>
                  </a:moveTo>
                  <a:lnTo>
                    <a:pt x="726" y="580"/>
                  </a:lnTo>
                  <a:lnTo>
                    <a:pt x="724" y="580"/>
                  </a:lnTo>
                  <a:lnTo>
                    <a:pt x="722" y="580"/>
                  </a:lnTo>
                  <a:lnTo>
                    <a:pt x="724" y="580"/>
                  </a:lnTo>
                  <a:lnTo>
                    <a:pt x="724" y="578"/>
                  </a:lnTo>
                  <a:lnTo>
                    <a:pt x="724" y="580"/>
                  </a:lnTo>
                  <a:close/>
                  <a:moveTo>
                    <a:pt x="841" y="521"/>
                  </a:moveTo>
                  <a:lnTo>
                    <a:pt x="841" y="523"/>
                  </a:lnTo>
                  <a:lnTo>
                    <a:pt x="839" y="523"/>
                  </a:lnTo>
                  <a:lnTo>
                    <a:pt x="841" y="521"/>
                  </a:lnTo>
                  <a:close/>
                  <a:moveTo>
                    <a:pt x="39" y="240"/>
                  </a:moveTo>
                  <a:lnTo>
                    <a:pt x="39" y="242"/>
                  </a:lnTo>
                  <a:lnTo>
                    <a:pt x="39" y="244"/>
                  </a:lnTo>
                  <a:lnTo>
                    <a:pt x="39" y="242"/>
                  </a:lnTo>
                  <a:lnTo>
                    <a:pt x="39" y="244"/>
                  </a:lnTo>
                  <a:lnTo>
                    <a:pt x="39" y="242"/>
                  </a:lnTo>
                  <a:lnTo>
                    <a:pt x="39" y="240"/>
                  </a:lnTo>
                  <a:close/>
                  <a:moveTo>
                    <a:pt x="417" y="116"/>
                  </a:moveTo>
                  <a:lnTo>
                    <a:pt x="415" y="118"/>
                  </a:lnTo>
                  <a:lnTo>
                    <a:pt x="415" y="116"/>
                  </a:lnTo>
                  <a:lnTo>
                    <a:pt x="417" y="116"/>
                  </a:lnTo>
                  <a:close/>
                  <a:moveTo>
                    <a:pt x="425" y="1001"/>
                  </a:moveTo>
                  <a:lnTo>
                    <a:pt x="425" y="1003"/>
                  </a:lnTo>
                  <a:lnTo>
                    <a:pt x="425" y="1001"/>
                  </a:lnTo>
                  <a:close/>
                  <a:moveTo>
                    <a:pt x="859" y="455"/>
                  </a:moveTo>
                  <a:lnTo>
                    <a:pt x="859" y="457"/>
                  </a:lnTo>
                  <a:lnTo>
                    <a:pt x="859" y="455"/>
                  </a:lnTo>
                  <a:lnTo>
                    <a:pt x="859" y="457"/>
                  </a:lnTo>
                  <a:lnTo>
                    <a:pt x="859" y="455"/>
                  </a:lnTo>
                  <a:lnTo>
                    <a:pt x="859" y="453"/>
                  </a:lnTo>
                  <a:lnTo>
                    <a:pt x="859" y="455"/>
                  </a:lnTo>
                  <a:close/>
                  <a:moveTo>
                    <a:pt x="258" y="62"/>
                  </a:moveTo>
                  <a:lnTo>
                    <a:pt x="258" y="64"/>
                  </a:lnTo>
                  <a:lnTo>
                    <a:pt x="256" y="64"/>
                  </a:lnTo>
                  <a:lnTo>
                    <a:pt x="256" y="62"/>
                  </a:lnTo>
                  <a:lnTo>
                    <a:pt x="258" y="62"/>
                  </a:lnTo>
                  <a:close/>
                  <a:moveTo>
                    <a:pt x="559" y="772"/>
                  </a:moveTo>
                  <a:lnTo>
                    <a:pt x="559" y="774"/>
                  </a:lnTo>
                  <a:lnTo>
                    <a:pt x="561" y="774"/>
                  </a:lnTo>
                  <a:lnTo>
                    <a:pt x="559" y="774"/>
                  </a:lnTo>
                  <a:lnTo>
                    <a:pt x="559" y="772"/>
                  </a:lnTo>
                  <a:close/>
                  <a:moveTo>
                    <a:pt x="311" y="162"/>
                  </a:moveTo>
                  <a:lnTo>
                    <a:pt x="311" y="164"/>
                  </a:lnTo>
                  <a:lnTo>
                    <a:pt x="311" y="162"/>
                  </a:lnTo>
                  <a:lnTo>
                    <a:pt x="311" y="164"/>
                  </a:lnTo>
                  <a:lnTo>
                    <a:pt x="311" y="162"/>
                  </a:lnTo>
                  <a:lnTo>
                    <a:pt x="309" y="162"/>
                  </a:lnTo>
                  <a:lnTo>
                    <a:pt x="311" y="162"/>
                  </a:lnTo>
                  <a:close/>
                  <a:moveTo>
                    <a:pt x="194" y="41"/>
                  </a:moveTo>
                  <a:lnTo>
                    <a:pt x="192" y="41"/>
                  </a:lnTo>
                  <a:lnTo>
                    <a:pt x="194" y="41"/>
                  </a:lnTo>
                  <a:lnTo>
                    <a:pt x="192" y="41"/>
                  </a:lnTo>
                  <a:lnTo>
                    <a:pt x="194" y="41"/>
                  </a:lnTo>
                  <a:close/>
                  <a:moveTo>
                    <a:pt x="862" y="444"/>
                  </a:moveTo>
                  <a:lnTo>
                    <a:pt x="862" y="442"/>
                  </a:lnTo>
                  <a:lnTo>
                    <a:pt x="864" y="442"/>
                  </a:lnTo>
                  <a:lnTo>
                    <a:pt x="864" y="444"/>
                  </a:lnTo>
                  <a:lnTo>
                    <a:pt x="862" y="444"/>
                  </a:lnTo>
                  <a:lnTo>
                    <a:pt x="864" y="444"/>
                  </a:lnTo>
                  <a:lnTo>
                    <a:pt x="862" y="444"/>
                  </a:lnTo>
                  <a:close/>
                  <a:moveTo>
                    <a:pt x="62" y="542"/>
                  </a:moveTo>
                  <a:lnTo>
                    <a:pt x="60" y="542"/>
                  </a:lnTo>
                  <a:lnTo>
                    <a:pt x="62" y="542"/>
                  </a:lnTo>
                  <a:lnTo>
                    <a:pt x="60" y="542"/>
                  </a:lnTo>
                  <a:lnTo>
                    <a:pt x="60" y="544"/>
                  </a:lnTo>
                  <a:lnTo>
                    <a:pt x="60" y="542"/>
                  </a:lnTo>
                  <a:lnTo>
                    <a:pt x="62" y="542"/>
                  </a:lnTo>
                  <a:close/>
                  <a:moveTo>
                    <a:pt x="71" y="546"/>
                  </a:moveTo>
                  <a:lnTo>
                    <a:pt x="73" y="546"/>
                  </a:lnTo>
                  <a:lnTo>
                    <a:pt x="71" y="546"/>
                  </a:lnTo>
                  <a:lnTo>
                    <a:pt x="69" y="546"/>
                  </a:lnTo>
                  <a:lnTo>
                    <a:pt x="67" y="546"/>
                  </a:lnTo>
                  <a:lnTo>
                    <a:pt x="69" y="546"/>
                  </a:lnTo>
                  <a:lnTo>
                    <a:pt x="71" y="546"/>
                  </a:lnTo>
                  <a:lnTo>
                    <a:pt x="69" y="546"/>
                  </a:lnTo>
                  <a:lnTo>
                    <a:pt x="71" y="546"/>
                  </a:lnTo>
                  <a:close/>
                  <a:moveTo>
                    <a:pt x="411" y="93"/>
                  </a:moveTo>
                  <a:lnTo>
                    <a:pt x="413" y="94"/>
                  </a:lnTo>
                  <a:lnTo>
                    <a:pt x="413" y="93"/>
                  </a:lnTo>
                  <a:lnTo>
                    <a:pt x="413" y="94"/>
                  </a:lnTo>
                  <a:lnTo>
                    <a:pt x="415" y="94"/>
                  </a:lnTo>
                  <a:lnTo>
                    <a:pt x="413" y="94"/>
                  </a:lnTo>
                  <a:lnTo>
                    <a:pt x="415" y="94"/>
                  </a:lnTo>
                  <a:lnTo>
                    <a:pt x="413" y="94"/>
                  </a:lnTo>
                  <a:lnTo>
                    <a:pt x="415" y="94"/>
                  </a:lnTo>
                  <a:lnTo>
                    <a:pt x="413" y="94"/>
                  </a:lnTo>
                  <a:lnTo>
                    <a:pt x="411" y="94"/>
                  </a:lnTo>
                  <a:lnTo>
                    <a:pt x="411" y="93"/>
                  </a:lnTo>
                  <a:close/>
                  <a:moveTo>
                    <a:pt x="870" y="432"/>
                  </a:moveTo>
                  <a:lnTo>
                    <a:pt x="870" y="430"/>
                  </a:lnTo>
                  <a:lnTo>
                    <a:pt x="872" y="430"/>
                  </a:lnTo>
                  <a:lnTo>
                    <a:pt x="870" y="430"/>
                  </a:lnTo>
                  <a:lnTo>
                    <a:pt x="870" y="432"/>
                  </a:lnTo>
                  <a:close/>
                  <a:moveTo>
                    <a:pt x="52" y="517"/>
                  </a:moveTo>
                  <a:lnTo>
                    <a:pt x="52" y="519"/>
                  </a:lnTo>
                  <a:lnTo>
                    <a:pt x="50" y="519"/>
                  </a:lnTo>
                  <a:lnTo>
                    <a:pt x="52" y="519"/>
                  </a:lnTo>
                  <a:lnTo>
                    <a:pt x="52" y="517"/>
                  </a:lnTo>
                  <a:lnTo>
                    <a:pt x="52" y="519"/>
                  </a:lnTo>
                  <a:lnTo>
                    <a:pt x="52" y="517"/>
                  </a:lnTo>
                  <a:lnTo>
                    <a:pt x="52" y="519"/>
                  </a:lnTo>
                  <a:lnTo>
                    <a:pt x="50" y="519"/>
                  </a:lnTo>
                  <a:lnTo>
                    <a:pt x="50" y="517"/>
                  </a:lnTo>
                  <a:lnTo>
                    <a:pt x="52" y="517"/>
                  </a:lnTo>
                  <a:close/>
                  <a:moveTo>
                    <a:pt x="617" y="632"/>
                  </a:moveTo>
                  <a:lnTo>
                    <a:pt x="617" y="634"/>
                  </a:lnTo>
                  <a:lnTo>
                    <a:pt x="617" y="632"/>
                  </a:lnTo>
                  <a:close/>
                  <a:moveTo>
                    <a:pt x="734" y="574"/>
                  </a:moveTo>
                  <a:lnTo>
                    <a:pt x="732" y="574"/>
                  </a:lnTo>
                  <a:lnTo>
                    <a:pt x="732" y="573"/>
                  </a:lnTo>
                  <a:lnTo>
                    <a:pt x="734" y="573"/>
                  </a:lnTo>
                  <a:lnTo>
                    <a:pt x="734" y="574"/>
                  </a:lnTo>
                  <a:close/>
                  <a:moveTo>
                    <a:pt x="425" y="1012"/>
                  </a:moveTo>
                  <a:lnTo>
                    <a:pt x="427" y="1012"/>
                  </a:lnTo>
                  <a:lnTo>
                    <a:pt x="427" y="1014"/>
                  </a:lnTo>
                  <a:lnTo>
                    <a:pt x="427" y="1016"/>
                  </a:lnTo>
                  <a:lnTo>
                    <a:pt x="428" y="1016"/>
                  </a:lnTo>
                  <a:lnTo>
                    <a:pt x="428" y="1018"/>
                  </a:lnTo>
                  <a:lnTo>
                    <a:pt x="427" y="1018"/>
                  </a:lnTo>
                  <a:lnTo>
                    <a:pt x="427" y="1020"/>
                  </a:lnTo>
                  <a:lnTo>
                    <a:pt x="425" y="1020"/>
                  </a:lnTo>
                  <a:lnTo>
                    <a:pt x="423" y="1020"/>
                  </a:lnTo>
                  <a:lnTo>
                    <a:pt x="421" y="1020"/>
                  </a:lnTo>
                  <a:lnTo>
                    <a:pt x="419" y="1020"/>
                  </a:lnTo>
                  <a:lnTo>
                    <a:pt x="419" y="1022"/>
                  </a:lnTo>
                  <a:lnTo>
                    <a:pt x="419" y="1020"/>
                  </a:lnTo>
                  <a:lnTo>
                    <a:pt x="421" y="1020"/>
                  </a:lnTo>
                  <a:lnTo>
                    <a:pt x="423" y="1020"/>
                  </a:lnTo>
                  <a:lnTo>
                    <a:pt x="421" y="1020"/>
                  </a:lnTo>
                  <a:lnTo>
                    <a:pt x="423" y="1020"/>
                  </a:lnTo>
                  <a:lnTo>
                    <a:pt x="425" y="1020"/>
                  </a:lnTo>
                  <a:lnTo>
                    <a:pt x="427" y="1020"/>
                  </a:lnTo>
                  <a:lnTo>
                    <a:pt x="427" y="1018"/>
                  </a:lnTo>
                  <a:lnTo>
                    <a:pt x="428" y="1018"/>
                  </a:lnTo>
                  <a:lnTo>
                    <a:pt x="428" y="1016"/>
                  </a:lnTo>
                  <a:lnTo>
                    <a:pt x="427" y="1016"/>
                  </a:lnTo>
                  <a:lnTo>
                    <a:pt x="427" y="1014"/>
                  </a:lnTo>
                  <a:lnTo>
                    <a:pt x="425" y="1014"/>
                  </a:lnTo>
                  <a:lnTo>
                    <a:pt x="425" y="1012"/>
                  </a:lnTo>
                  <a:close/>
                  <a:moveTo>
                    <a:pt x="427" y="1012"/>
                  </a:moveTo>
                  <a:lnTo>
                    <a:pt x="427" y="1014"/>
                  </a:lnTo>
                  <a:lnTo>
                    <a:pt x="427" y="1012"/>
                  </a:lnTo>
                  <a:close/>
                  <a:moveTo>
                    <a:pt x="425" y="1012"/>
                  </a:moveTo>
                  <a:lnTo>
                    <a:pt x="427" y="1014"/>
                  </a:lnTo>
                  <a:lnTo>
                    <a:pt x="425" y="1012"/>
                  </a:lnTo>
                  <a:close/>
                  <a:moveTo>
                    <a:pt x="427" y="1012"/>
                  </a:moveTo>
                  <a:lnTo>
                    <a:pt x="425" y="1012"/>
                  </a:lnTo>
                  <a:lnTo>
                    <a:pt x="427" y="1012"/>
                  </a:lnTo>
                  <a:lnTo>
                    <a:pt x="427" y="1014"/>
                  </a:lnTo>
                  <a:lnTo>
                    <a:pt x="427" y="1012"/>
                  </a:lnTo>
                  <a:lnTo>
                    <a:pt x="427" y="1014"/>
                  </a:lnTo>
                  <a:lnTo>
                    <a:pt x="427" y="1012"/>
                  </a:lnTo>
                  <a:close/>
                  <a:moveTo>
                    <a:pt x="740" y="692"/>
                  </a:moveTo>
                  <a:lnTo>
                    <a:pt x="738" y="692"/>
                  </a:lnTo>
                  <a:lnTo>
                    <a:pt x="740" y="692"/>
                  </a:lnTo>
                  <a:close/>
                  <a:moveTo>
                    <a:pt x="415" y="112"/>
                  </a:moveTo>
                  <a:lnTo>
                    <a:pt x="417" y="112"/>
                  </a:lnTo>
                  <a:lnTo>
                    <a:pt x="417" y="114"/>
                  </a:lnTo>
                  <a:lnTo>
                    <a:pt x="417" y="112"/>
                  </a:lnTo>
                  <a:lnTo>
                    <a:pt x="415" y="112"/>
                  </a:lnTo>
                  <a:close/>
                  <a:moveTo>
                    <a:pt x="843" y="519"/>
                  </a:moveTo>
                  <a:lnTo>
                    <a:pt x="843" y="521"/>
                  </a:lnTo>
                  <a:lnTo>
                    <a:pt x="841" y="521"/>
                  </a:lnTo>
                  <a:lnTo>
                    <a:pt x="841" y="519"/>
                  </a:lnTo>
                  <a:lnTo>
                    <a:pt x="843" y="519"/>
                  </a:lnTo>
                  <a:close/>
                  <a:moveTo>
                    <a:pt x="73" y="285"/>
                  </a:moveTo>
                  <a:lnTo>
                    <a:pt x="75" y="285"/>
                  </a:lnTo>
                  <a:lnTo>
                    <a:pt x="73" y="285"/>
                  </a:lnTo>
                  <a:lnTo>
                    <a:pt x="71" y="285"/>
                  </a:lnTo>
                  <a:lnTo>
                    <a:pt x="73" y="285"/>
                  </a:lnTo>
                  <a:close/>
                  <a:moveTo>
                    <a:pt x="709" y="586"/>
                  </a:moveTo>
                  <a:lnTo>
                    <a:pt x="709" y="588"/>
                  </a:lnTo>
                  <a:lnTo>
                    <a:pt x="709" y="586"/>
                  </a:lnTo>
                  <a:close/>
                  <a:moveTo>
                    <a:pt x="866" y="440"/>
                  </a:moveTo>
                  <a:lnTo>
                    <a:pt x="866" y="442"/>
                  </a:lnTo>
                  <a:lnTo>
                    <a:pt x="864" y="442"/>
                  </a:lnTo>
                  <a:lnTo>
                    <a:pt x="864" y="440"/>
                  </a:lnTo>
                  <a:lnTo>
                    <a:pt x="866" y="440"/>
                  </a:lnTo>
                  <a:close/>
                  <a:moveTo>
                    <a:pt x="438" y="970"/>
                  </a:moveTo>
                  <a:lnTo>
                    <a:pt x="440" y="970"/>
                  </a:lnTo>
                  <a:lnTo>
                    <a:pt x="438" y="970"/>
                  </a:lnTo>
                  <a:lnTo>
                    <a:pt x="440" y="970"/>
                  </a:lnTo>
                  <a:lnTo>
                    <a:pt x="438" y="970"/>
                  </a:lnTo>
                  <a:lnTo>
                    <a:pt x="438" y="972"/>
                  </a:lnTo>
                  <a:lnTo>
                    <a:pt x="436" y="972"/>
                  </a:lnTo>
                  <a:lnTo>
                    <a:pt x="438" y="972"/>
                  </a:lnTo>
                  <a:lnTo>
                    <a:pt x="438" y="970"/>
                  </a:lnTo>
                  <a:close/>
                  <a:moveTo>
                    <a:pt x="857" y="469"/>
                  </a:moveTo>
                  <a:lnTo>
                    <a:pt x="859" y="469"/>
                  </a:lnTo>
                  <a:lnTo>
                    <a:pt x="859" y="471"/>
                  </a:lnTo>
                  <a:lnTo>
                    <a:pt x="857" y="471"/>
                  </a:lnTo>
                  <a:lnTo>
                    <a:pt x="857" y="469"/>
                  </a:lnTo>
                  <a:close/>
                  <a:moveTo>
                    <a:pt x="868" y="715"/>
                  </a:moveTo>
                  <a:lnTo>
                    <a:pt x="866" y="715"/>
                  </a:lnTo>
                  <a:lnTo>
                    <a:pt x="866" y="716"/>
                  </a:lnTo>
                  <a:lnTo>
                    <a:pt x="866" y="715"/>
                  </a:lnTo>
                  <a:lnTo>
                    <a:pt x="868" y="715"/>
                  </a:lnTo>
                  <a:close/>
                  <a:moveTo>
                    <a:pt x="851" y="488"/>
                  </a:moveTo>
                  <a:lnTo>
                    <a:pt x="851" y="486"/>
                  </a:lnTo>
                  <a:lnTo>
                    <a:pt x="853" y="486"/>
                  </a:lnTo>
                  <a:lnTo>
                    <a:pt x="853" y="488"/>
                  </a:lnTo>
                  <a:lnTo>
                    <a:pt x="853" y="486"/>
                  </a:lnTo>
                  <a:lnTo>
                    <a:pt x="851" y="488"/>
                  </a:lnTo>
                  <a:close/>
                  <a:moveTo>
                    <a:pt x="413" y="96"/>
                  </a:moveTo>
                  <a:lnTo>
                    <a:pt x="413" y="98"/>
                  </a:lnTo>
                  <a:lnTo>
                    <a:pt x="415" y="98"/>
                  </a:lnTo>
                  <a:lnTo>
                    <a:pt x="413" y="98"/>
                  </a:lnTo>
                  <a:lnTo>
                    <a:pt x="415" y="98"/>
                  </a:lnTo>
                  <a:lnTo>
                    <a:pt x="413" y="98"/>
                  </a:lnTo>
                  <a:lnTo>
                    <a:pt x="413" y="96"/>
                  </a:lnTo>
                  <a:lnTo>
                    <a:pt x="411" y="96"/>
                  </a:lnTo>
                  <a:lnTo>
                    <a:pt x="413" y="96"/>
                  </a:lnTo>
                  <a:close/>
                  <a:moveTo>
                    <a:pt x="613" y="632"/>
                  </a:moveTo>
                  <a:lnTo>
                    <a:pt x="615" y="632"/>
                  </a:lnTo>
                  <a:lnTo>
                    <a:pt x="615" y="634"/>
                  </a:lnTo>
                  <a:lnTo>
                    <a:pt x="613" y="634"/>
                  </a:lnTo>
                  <a:lnTo>
                    <a:pt x="613" y="632"/>
                  </a:lnTo>
                  <a:close/>
                  <a:moveTo>
                    <a:pt x="427" y="1014"/>
                  </a:moveTo>
                  <a:lnTo>
                    <a:pt x="427" y="1016"/>
                  </a:lnTo>
                  <a:lnTo>
                    <a:pt x="425" y="1016"/>
                  </a:lnTo>
                  <a:lnTo>
                    <a:pt x="425" y="1018"/>
                  </a:lnTo>
                  <a:lnTo>
                    <a:pt x="425" y="1016"/>
                  </a:lnTo>
                  <a:lnTo>
                    <a:pt x="425" y="1018"/>
                  </a:lnTo>
                  <a:lnTo>
                    <a:pt x="425" y="1016"/>
                  </a:lnTo>
                  <a:lnTo>
                    <a:pt x="425" y="1014"/>
                  </a:lnTo>
                  <a:lnTo>
                    <a:pt x="427" y="1014"/>
                  </a:lnTo>
                  <a:close/>
                  <a:moveTo>
                    <a:pt x="411" y="133"/>
                  </a:moveTo>
                  <a:lnTo>
                    <a:pt x="413" y="133"/>
                  </a:lnTo>
                  <a:lnTo>
                    <a:pt x="411" y="133"/>
                  </a:lnTo>
                  <a:close/>
                  <a:moveTo>
                    <a:pt x="413" y="96"/>
                  </a:moveTo>
                  <a:lnTo>
                    <a:pt x="411" y="96"/>
                  </a:lnTo>
                  <a:lnTo>
                    <a:pt x="413" y="96"/>
                  </a:lnTo>
                  <a:close/>
                  <a:moveTo>
                    <a:pt x="884" y="411"/>
                  </a:moveTo>
                  <a:lnTo>
                    <a:pt x="884" y="413"/>
                  </a:lnTo>
                  <a:lnTo>
                    <a:pt x="884" y="411"/>
                  </a:lnTo>
                  <a:close/>
                  <a:moveTo>
                    <a:pt x="436" y="966"/>
                  </a:moveTo>
                  <a:lnTo>
                    <a:pt x="436" y="968"/>
                  </a:lnTo>
                  <a:lnTo>
                    <a:pt x="434" y="968"/>
                  </a:lnTo>
                  <a:lnTo>
                    <a:pt x="434" y="966"/>
                  </a:lnTo>
                  <a:lnTo>
                    <a:pt x="436" y="966"/>
                  </a:lnTo>
                  <a:close/>
                  <a:moveTo>
                    <a:pt x="413" y="121"/>
                  </a:moveTo>
                  <a:lnTo>
                    <a:pt x="415" y="121"/>
                  </a:lnTo>
                  <a:lnTo>
                    <a:pt x="413" y="121"/>
                  </a:lnTo>
                  <a:lnTo>
                    <a:pt x="415" y="121"/>
                  </a:lnTo>
                  <a:lnTo>
                    <a:pt x="413" y="121"/>
                  </a:lnTo>
                  <a:lnTo>
                    <a:pt x="415" y="121"/>
                  </a:lnTo>
                  <a:lnTo>
                    <a:pt x="413" y="121"/>
                  </a:lnTo>
                  <a:close/>
                  <a:moveTo>
                    <a:pt x="386" y="1056"/>
                  </a:moveTo>
                  <a:lnTo>
                    <a:pt x="386" y="1058"/>
                  </a:lnTo>
                  <a:lnTo>
                    <a:pt x="384" y="1058"/>
                  </a:lnTo>
                  <a:lnTo>
                    <a:pt x="384" y="1056"/>
                  </a:lnTo>
                  <a:lnTo>
                    <a:pt x="386" y="1056"/>
                  </a:lnTo>
                  <a:close/>
                  <a:moveTo>
                    <a:pt x="394" y="1022"/>
                  </a:moveTo>
                  <a:lnTo>
                    <a:pt x="392" y="1022"/>
                  </a:lnTo>
                  <a:lnTo>
                    <a:pt x="394" y="1022"/>
                  </a:lnTo>
                  <a:close/>
                  <a:moveTo>
                    <a:pt x="48" y="275"/>
                  </a:moveTo>
                  <a:lnTo>
                    <a:pt x="50" y="275"/>
                  </a:lnTo>
                  <a:lnTo>
                    <a:pt x="48" y="275"/>
                  </a:lnTo>
                  <a:close/>
                  <a:moveTo>
                    <a:pt x="411" y="119"/>
                  </a:moveTo>
                  <a:lnTo>
                    <a:pt x="413" y="119"/>
                  </a:lnTo>
                  <a:lnTo>
                    <a:pt x="411" y="119"/>
                  </a:lnTo>
                  <a:lnTo>
                    <a:pt x="413" y="119"/>
                  </a:lnTo>
                  <a:lnTo>
                    <a:pt x="413" y="121"/>
                  </a:lnTo>
                  <a:lnTo>
                    <a:pt x="411" y="121"/>
                  </a:lnTo>
                  <a:lnTo>
                    <a:pt x="413" y="121"/>
                  </a:lnTo>
                  <a:lnTo>
                    <a:pt x="411" y="121"/>
                  </a:lnTo>
                  <a:lnTo>
                    <a:pt x="413" y="121"/>
                  </a:lnTo>
                  <a:lnTo>
                    <a:pt x="411" y="121"/>
                  </a:lnTo>
                  <a:lnTo>
                    <a:pt x="411" y="119"/>
                  </a:lnTo>
                  <a:close/>
                  <a:moveTo>
                    <a:pt x="905" y="398"/>
                  </a:moveTo>
                  <a:lnTo>
                    <a:pt x="903" y="398"/>
                  </a:lnTo>
                  <a:lnTo>
                    <a:pt x="905" y="398"/>
                  </a:lnTo>
                  <a:close/>
                  <a:moveTo>
                    <a:pt x="379" y="177"/>
                  </a:moveTo>
                  <a:lnTo>
                    <a:pt x="380" y="179"/>
                  </a:lnTo>
                  <a:lnTo>
                    <a:pt x="379" y="177"/>
                  </a:lnTo>
                  <a:close/>
                  <a:moveTo>
                    <a:pt x="73" y="27"/>
                  </a:moveTo>
                  <a:lnTo>
                    <a:pt x="71" y="27"/>
                  </a:lnTo>
                  <a:lnTo>
                    <a:pt x="73" y="27"/>
                  </a:lnTo>
                  <a:lnTo>
                    <a:pt x="73" y="25"/>
                  </a:lnTo>
                  <a:lnTo>
                    <a:pt x="73" y="27"/>
                  </a:lnTo>
                  <a:close/>
                  <a:moveTo>
                    <a:pt x="413" y="100"/>
                  </a:moveTo>
                  <a:lnTo>
                    <a:pt x="415" y="100"/>
                  </a:lnTo>
                  <a:lnTo>
                    <a:pt x="415" y="102"/>
                  </a:lnTo>
                  <a:lnTo>
                    <a:pt x="413" y="102"/>
                  </a:lnTo>
                  <a:lnTo>
                    <a:pt x="415" y="102"/>
                  </a:lnTo>
                  <a:lnTo>
                    <a:pt x="413" y="102"/>
                  </a:lnTo>
                  <a:lnTo>
                    <a:pt x="413" y="100"/>
                  </a:lnTo>
                  <a:lnTo>
                    <a:pt x="413" y="102"/>
                  </a:lnTo>
                  <a:lnTo>
                    <a:pt x="413" y="100"/>
                  </a:lnTo>
                  <a:lnTo>
                    <a:pt x="413" y="102"/>
                  </a:lnTo>
                  <a:lnTo>
                    <a:pt x="413" y="100"/>
                  </a:lnTo>
                  <a:close/>
                  <a:moveTo>
                    <a:pt x="62" y="536"/>
                  </a:moveTo>
                  <a:lnTo>
                    <a:pt x="62" y="538"/>
                  </a:lnTo>
                  <a:lnTo>
                    <a:pt x="60" y="538"/>
                  </a:lnTo>
                  <a:lnTo>
                    <a:pt x="62" y="538"/>
                  </a:lnTo>
                  <a:lnTo>
                    <a:pt x="60" y="538"/>
                  </a:lnTo>
                  <a:lnTo>
                    <a:pt x="62" y="538"/>
                  </a:lnTo>
                  <a:lnTo>
                    <a:pt x="62" y="536"/>
                  </a:lnTo>
                  <a:close/>
                  <a:moveTo>
                    <a:pt x="427" y="1004"/>
                  </a:moveTo>
                  <a:lnTo>
                    <a:pt x="427" y="1006"/>
                  </a:lnTo>
                  <a:lnTo>
                    <a:pt x="427" y="1004"/>
                  </a:lnTo>
                  <a:lnTo>
                    <a:pt x="427" y="1006"/>
                  </a:lnTo>
                  <a:lnTo>
                    <a:pt x="427" y="1004"/>
                  </a:lnTo>
                  <a:close/>
                  <a:moveTo>
                    <a:pt x="697" y="590"/>
                  </a:moveTo>
                  <a:lnTo>
                    <a:pt x="699" y="588"/>
                  </a:lnTo>
                  <a:lnTo>
                    <a:pt x="699" y="590"/>
                  </a:lnTo>
                  <a:lnTo>
                    <a:pt x="697" y="590"/>
                  </a:lnTo>
                  <a:close/>
                  <a:moveTo>
                    <a:pt x="42" y="162"/>
                  </a:moveTo>
                  <a:lnTo>
                    <a:pt x="44" y="162"/>
                  </a:lnTo>
                  <a:lnTo>
                    <a:pt x="42" y="162"/>
                  </a:lnTo>
                  <a:lnTo>
                    <a:pt x="44" y="162"/>
                  </a:lnTo>
                  <a:lnTo>
                    <a:pt x="42" y="162"/>
                  </a:lnTo>
                  <a:close/>
                  <a:moveTo>
                    <a:pt x="252" y="58"/>
                  </a:moveTo>
                  <a:lnTo>
                    <a:pt x="252" y="56"/>
                  </a:lnTo>
                  <a:lnTo>
                    <a:pt x="254" y="56"/>
                  </a:lnTo>
                  <a:lnTo>
                    <a:pt x="252" y="56"/>
                  </a:lnTo>
                  <a:lnTo>
                    <a:pt x="254" y="58"/>
                  </a:lnTo>
                  <a:lnTo>
                    <a:pt x="252" y="58"/>
                  </a:lnTo>
                  <a:close/>
                  <a:moveTo>
                    <a:pt x="50" y="213"/>
                  </a:moveTo>
                  <a:lnTo>
                    <a:pt x="50" y="215"/>
                  </a:lnTo>
                  <a:lnTo>
                    <a:pt x="50" y="213"/>
                  </a:lnTo>
                  <a:lnTo>
                    <a:pt x="50" y="215"/>
                  </a:lnTo>
                  <a:lnTo>
                    <a:pt x="50" y="213"/>
                  </a:lnTo>
                  <a:lnTo>
                    <a:pt x="50" y="215"/>
                  </a:lnTo>
                  <a:lnTo>
                    <a:pt x="50" y="213"/>
                  </a:lnTo>
                  <a:close/>
                  <a:moveTo>
                    <a:pt x="302" y="181"/>
                  </a:moveTo>
                  <a:lnTo>
                    <a:pt x="304" y="181"/>
                  </a:lnTo>
                  <a:lnTo>
                    <a:pt x="302" y="181"/>
                  </a:lnTo>
                  <a:lnTo>
                    <a:pt x="302" y="183"/>
                  </a:lnTo>
                  <a:lnTo>
                    <a:pt x="302" y="181"/>
                  </a:lnTo>
                  <a:close/>
                  <a:moveTo>
                    <a:pt x="411" y="119"/>
                  </a:moveTo>
                  <a:lnTo>
                    <a:pt x="413" y="119"/>
                  </a:lnTo>
                  <a:lnTo>
                    <a:pt x="411" y="119"/>
                  </a:lnTo>
                  <a:close/>
                  <a:moveTo>
                    <a:pt x="87" y="584"/>
                  </a:moveTo>
                  <a:lnTo>
                    <a:pt x="87" y="586"/>
                  </a:lnTo>
                  <a:lnTo>
                    <a:pt x="85" y="586"/>
                  </a:lnTo>
                  <a:lnTo>
                    <a:pt x="87" y="586"/>
                  </a:lnTo>
                  <a:lnTo>
                    <a:pt x="87" y="584"/>
                  </a:lnTo>
                  <a:close/>
                  <a:moveTo>
                    <a:pt x="864" y="438"/>
                  </a:moveTo>
                  <a:lnTo>
                    <a:pt x="864" y="436"/>
                  </a:lnTo>
                  <a:lnTo>
                    <a:pt x="864" y="438"/>
                  </a:lnTo>
                  <a:close/>
                  <a:moveTo>
                    <a:pt x="615" y="636"/>
                  </a:moveTo>
                  <a:lnTo>
                    <a:pt x="615" y="638"/>
                  </a:lnTo>
                  <a:lnTo>
                    <a:pt x="615" y="636"/>
                  </a:lnTo>
                  <a:lnTo>
                    <a:pt x="613" y="636"/>
                  </a:lnTo>
                  <a:lnTo>
                    <a:pt x="615" y="636"/>
                  </a:lnTo>
                  <a:close/>
                  <a:moveTo>
                    <a:pt x="21" y="83"/>
                  </a:moveTo>
                  <a:lnTo>
                    <a:pt x="21" y="85"/>
                  </a:lnTo>
                  <a:lnTo>
                    <a:pt x="19" y="83"/>
                  </a:lnTo>
                  <a:lnTo>
                    <a:pt x="21" y="83"/>
                  </a:lnTo>
                  <a:close/>
                  <a:moveTo>
                    <a:pt x="427" y="1006"/>
                  </a:moveTo>
                  <a:lnTo>
                    <a:pt x="427" y="1008"/>
                  </a:lnTo>
                  <a:lnTo>
                    <a:pt x="425" y="1008"/>
                  </a:lnTo>
                  <a:lnTo>
                    <a:pt x="427" y="1008"/>
                  </a:lnTo>
                  <a:lnTo>
                    <a:pt x="425" y="1008"/>
                  </a:lnTo>
                  <a:lnTo>
                    <a:pt x="427" y="1008"/>
                  </a:lnTo>
                  <a:lnTo>
                    <a:pt x="427" y="1006"/>
                  </a:lnTo>
                  <a:close/>
                  <a:moveTo>
                    <a:pt x="695" y="594"/>
                  </a:moveTo>
                  <a:lnTo>
                    <a:pt x="693" y="594"/>
                  </a:lnTo>
                  <a:lnTo>
                    <a:pt x="693" y="592"/>
                  </a:lnTo>
                  <a:lnTo>
                    <a:pt x="695" y="592"/>
                  </a:lnTo>
                  <a:lnTo>
                    <a:pt x="695" y="594"/>
                  </a:lnTo>
                  <a:close/>
                  <a:moveTo>
                    <a:pt x="864" y="434"/>
                  </a:moveTo>
                  <a:lnTo>
                    <a:pt x="862" y="436"/>
                  </a:lnTo>
                  <a:lnTo>
                    <a:pt x="862" y="434"/>
                  </a:lnTo>
                  <a:lnTo>
                    <a:pt x="864" y="434"/>
                  </a:lnTo>
                  <a:close/>
                  <a:moveTo>
                    <a:pt x="196" y="39"/>
                  </a:moveTo>
                  <a:lnTo>
                    <a:pt x="194" y="39"/>
                  </a:lnTo>
                  <a:lnTo>
                    <a:pt x="194" y="37"/>
                  </a:lnTo>
                  <a:lnTo>
                    <a:pt x="196" y="37"/>
                  </a:lnTo>
                  <a:lnTo>
                    <a:pt x="194" y="37"/>
                  </a:lnTo>
                  <a:lnTo>
                    <a:pt x="196" y="37"/>
                  </a:lnTo>
                  <a:lnTo>
                    <a:pt x="196" y="39"/>
                  </a:lnTo>
                  <a:lnTo>
                    <a:pt x="196" y="37"/>
                  </a:lnTo>
                  <a:lnTo>
                    <a:pt x="196" y="39"/>
                  </a:lnTo>
                  <a:close/>
                  <a:moveTo>
                    <a:pt x="428" y="993"/>
                  </a:moveTo>
                  <a:lnTo>
                    <a:pt x="427" y="993"/>
                  </a:lnTo>
                  <a:lnTo>
                    <a:pt x="427" y="995"/>
                  </a:lnTo>
                  <a:lnTo>
                    <a:pt x="427" y="993"/>
                  </a:lnTo>
                  <a:lnTo>
                    <a:pt x="428" y="993"/>
                  </a:lnTo>
                  <a:close/>
                  <a:moveTo>
                    <a:pt x="855" y="477"/>
                  </a:moveTo>
                  <a:lnTo>
                    <a:pt x="857" y="477"/>
                  </a:lnTo>
                  <a:lnTo>
                    <a:pt x="855" y="477"/>
                  </a:lnTo>
                  <a:lnTo>
                    <a:pt x="855" y="475"/>
                  </a:lnTo>
                  <a:lnTo>
                    <a:pt x="855" y="477"/>
                  </a:lnTo>
                  <a:close/>
                  <a:moveTo>
                    <a:pt x="48" y="194"/>
                  </a:moveTo>
                  <a:lnTo>
                    <a:pt x="50" y="194"/>
                  </a:lnTo>
                  <a:lnTo>
                    <a:pt x="48" y="194"/>
                  </a:lnTo>
                  <a:lnTo>
                    <a:pt x="48" y="196"/>
                  </a:lnTo>
                  <a:lnTo>
                    <a:pt x="48" y="194"/>
                  </a:lnTo>
                  <a:close/>
                  <a:moveTo>
                    <a:pt x="252" y="62"/>
                  </a:moveTo>
                  <a:lnTo>
                    <a:pt x="252" y="60"/>
                  </a:lnTo>
                  <a:lnTo>
                    <a:pt x="252" y="62"/>
                  </a:lnTo>
                  <a:close/>
                  <a:moveTo>
                    <a:pt x="94" y="23"/>
                  </a:moveTo>
                  <a:lnTo>
                    <a:pt x="94" y="25"/>
                  </a:lnTo>
                  <a:lnTo>
                    <a:pt x="92" y="25"/>
                  </a:lnTo>
                  <a:lnTo>
                    <a:pt x="94" y="25"/>
                  </a:lnTo>
                  <a:lnTo>
                    <a:pt x="92" y="25"/>
                  </a:lnTo>
                  <a:lnTo>
                    <a:pt x="92" y="23"/>
                  </a:lnTo>
                  <a:lnTo>
                    <a:pt x="94" y="23"/>
                  </a:lnTo>
                  <a:close/>
                  <a:moveTo>
                    <a:pt x="866" y="429"/>
                  </a:moveTo>
                  <a:lnTo>
                    <a:pt x="868" y="429"/>
                  </a:lnTo>
                  <a:lnTo>
                    <a:pt x="866" y="429"/>
                  </a:lnTo>
                  <a:close/>
                  <a:moveTo>
                    <a:pt x="861" y="438"/>
                  </a:moveTo>
                  <a:lnTo>
                    <a:pt x="859" y="436"/>
                  </a:lnTo>
                  <a:lnTo>
                    <a:pt x="861" y="436"/>
                  </a:lnTo>
                  <a:lnTo>
                    <a:pt x="861" y="438"/>
                  </a:lnTo>
                  <a:close/>
                  <a:moveTo>
                    <a:pt x="29" y="133"/>
                  </a:moveTo>
                  <a:lnTo>
                    <a:pt x="29" y="135"/>
                  </a:lnTo>
                  <a:lnTo>
                    <a:pt x="27" y="135"/>
                  </a:lnTo>
                  <a:lnTo>
                    <a:pt x="27" y="133"/>
                  </a:lnTo>
                  <a:lnTo>
                    <a:pt x="29" y="133"/>
                  </a:lnTo>
                  <a:close/>
                  <a:moveTo>
                    <a:pt x="866" y="436"/>
                  </a:moveTo>
                  <a:lnTo>
                    <a:pt x="866" y="434"/>
                  </a:lnTo>
                  <a:lnTo>
                    <a:pt x="868" y="434"/>
                  </a:lnTo>
                  <a:lnTo>
                    <a:pt x="866" y="434"/>
                  </a:lnTo>
                  <a:lnTo>
                    <a:pt x="866" y="436"/>
                  </a:lnTo>
                  <a:close/>
                  <a:moveTo>
                    <a:pt x="411" y="89"/>
                  </a:moveTo>
                  <a:lnTo>
                    <a:pt x="411" y="91"/>
                  </a:lnTo>
                  <a:lnTo>
                    <a:pt x="411" y="89"/>
                  </a:lnTo>
                  <a:lnTo>
                    <a:pt x="411" y="91"/>
                  </a:lnTo>
                  <a:lnTo>
                    <a:pt x="411" y="89"/>
                  </a:lnTo>
                  <a:lnTo>
                    <a:pt x="411" y="91"/>
                  </a:lnTo>
                  <a:lnTo>
                    <a:pt x="413" y="91"/>
                  </a:lnTo>
                  <a:lnTo>
                    <a:pt x="411" y="91"/>
                  </a:lnTo>
                  <a:lnTo>
                    <a:pt x="413" y="91"/>
                  </a:lnTo>
                  <a:lnTo>
                    <a:pt x="411" y="91"/>
                  </a:lnTo>
                  <a:lnTo>
                    <a:pt x="411" y="89"/>
                  </a:lnTo>
                  <a:close/>
                  <a:moveTo>
                    <a:pt x="33" y="258"/>
                  </a:moveTo>
                  <a:lnTo>
                    <a:pt x="33" y="260"/>
                  </a:lnTo>
                  <a:lnTo>
                    <a:pt x="33" y="258"/>
                  </a:lnTo>
                  <a:close/>
                  <a:moveTo>
                    <a:pt x="882" y="413"/>
                  </a:moveTo>
                  <a:lnTo>
                    <a:pt x="880" y="413"/>
                  </a:lnTo>
                  <a:lnTo>
                    <a:pt x="882" y="413"/>
                  </a:lnTo>
                  <a:lnTo>
                    <a:pt x="882" y="411"/>
                  </a:lnTo>
                  <a:lnTo>
                    <a:pt x="882" y="413"/>
                  </a:lnTo>
                  <a:close/>
                  <a:moveTo>
                    <a:pt x="110" y="636"/>
                  </a:moveTo>
                  <a:lnTo>
                    <a:pt x="108" y="638"/>
                  </a:lnTo>
                  <a:lnTo>
                    <a:pt x="108" y="636"/>
                  </a:lnTo>
                  <a:lnTo>
                    <a:pt x="110" y="636"/>
                  </a:lnTo>
                  <a:lnTo>
                    <a:pt x="108" y="636"/>
                  </a:lnTo>
                  <a:lnTo>
                    <a:pt x="110" y="636"/>
                  </a:lnTo>
                  <a:close/>
                  <a:moveTo>
                    <a:pt x="62" y="536"/>
                  </a:moveTo>
                  <a:lnTo>
                    <a:pt x="64" y="536"/>
                  </a:lnTo>
                  <a:lnTo>
                    <a:pt x="62" y="536"/>
                  </a:lnTo>
                  <a:lnTo>
                    <a:pt x="64" y="536"/>
                  </a:lnTo>
                  <a:lnTo>
                    <a:pt x="62" y="536"/>
                  </a:lnTo>
                  <a:close/>
                  <a:moveTo>
                    <a:pt x="897" y="396"/>
                  </a:moveTo>
                  <a:lnTo>
                    <a:pt x="899" y="396"/>
                  </a:lnTo>
                  <a:lnTo>
                    <a:pt x="897" y="396"/>
                  </a:lnTo>
                  <a:lnTo>
                    <a:pt x="899" y="396"/>
                  </a:lnTo>
                  <a:lnTo>
                    <a:pt x="897" y="396"/>
                  </a:lnTo>
                  <a:lnTo>
                    <a:pt x="897" y="398"/>
                  </a:lnTo>
                  <a:lnTo>
                    <a:pt x="897" y="396"/>
                  </a:lnTo>
                  <a:close/>
                  <a:moveTo>
                    <a:pt x="304" y="173"/>
                  </a:moveTo>
                  <a:lnTo>
                    <a:pt x="304" y="175"/>
                  </a:lnTo>
                  <a:lnTo>
                    <a:pt x="304" y="173"/>
                  </a:lnTo>
                  <a:close/>
                  <a:moveTo>
                    <a:pt x="705" y="586"/>
                  </a:moveTo>
                  <a:lnTo>
                    <a:pt x="703" y="586"/>
                  </a:lnTo>
                  <a:lnTo>
                    <a:pt x="703" y="584"/>
                  </a:lnTo>
                  <a:lnTo>
                    <a:pt x="705" y="584"/>
                  </a:lnTo>
                  <a:lnTo>
                    <a:pt x="705" y="586"/>
                  </a:lnTo>
                  <a:close/>
                  <a:moveTo>
                    <a:pt x="861" y="457"/>
                  </a:moveTo>
                  <a:lnTo>
                    <a:pt x="859" y="457"/>
                  </a:lnTo>
                  <a:lnTo>
                    <a:pt x="861" y="457"/>
                  </a:lnTo>
                  <a:close/>
                  <a:moveTo>
                    <a:pt x="517" y="882"/>
                  </a:moveTo>
                  <a:lnTo>
                    <a:pt x="517" y="884"/>
                  </a:lnTo>
                  <a:lnTo>
                    <a:pt x="517" y="882"/>
                  </a:lnTo>
                  <a:lnTo>
                    <a:pt x="515" y="882"/>
                  </a:lnTo>
                  <a:lnTo>
                    <a:pt x="517" y="882"/>
                  </a:lnTo>
                  <a:lnTo>
                    <a:pt x="515" y="882"/>
                  </a:lnTo>
                  <a:lnTo>
                    <a:pt x="517" y="882"/>
                  </a:lnTo>
                  <a:close/>
                  <a:moveTo>
                    <a:pt x="23" y="91"/>
                  </a:moveTo>
                  <a:lnTo>
                    <a:pt x="21" y="91"/>
                  </a:lnTo>
                  <a:lnTo>
                    <a:pt x="23" y="91"/>
                  </a:lnTo>
                  <a:close/>
                  <a:moveTo>
                    <a:pt x="853" y="505"/>
                  </a:moveTo>
                  <a:lnTo>
                    <a:pt x="853" y="507"/>
                  </a:lnTo>
                  <a:lnTo>
                    <a:pt x="853" y="505"/>
                  </a:lnTo>
                  <a:close/>
                  <a:moveTo>
                    <a:pt x="515" y="884"/>
                  </a:moveTo>
                  <a:lnTo>
                    <a:pt x="513" y="884"/>
                  </a:lnTo>
                  <a:lnTo>
                    <a:pt x="513" y="885"/>
                  </a:lnTo>
                  <a:lnTo>
                    <a:pt x="513" y="884"/>
                  </a:lnTo>
                  <a:lnTo>
                    <a:pt x="515" y="884"/>
                  </a:lnTo>
                  <a:close/>
                  <a:moveTo>
                    <a:pt x="849" y="509"/>
                  </a:moveTo>
                  <a:lnTo>
                    <a:pt x="849" y="511"/>
                  </a:lnTo>
                  <a:lnTo>
                    <a:pt x="849" y="509"/>
                  </a:lnTo>
                  <a:close/>
                  <a:moveTo>
                    <a:pt x="826" y="526"/>
                  </a:moveTo>
                  <a:lnTo>
                    <a:pt x="826" y="528"/>
                  </a:lnTo>
                  <a:lnTo>
                    <a:pt x="824" y="526"/>
                  </a:lnTo>
                  <a:lnTo>
                    <a:pt x="826" y="526"/>
                  </a:lnTo>
                  <a:close/>
                  <a:moveTo>
                    <a:pt x="711" y="586"/>
                  </a:moveTo>
                  <a:lnTo>
                    <a:pt x="711" y="584"/>
                  </a:lnTo>
                  <a:lnTo>
                    <a:pt x="711" y="586"/>
                  </a:lnTo>
                  <a:close/>
                  <a:moveTo>
                    <a:pt x="415" y="119"/>
                  </a:moveTo>
                  <a:lnTo>
                    <a:pt x="415" y="121"/>
                  </a:lnTo>
                  <a:lnTo>
                    <a:pt x="415" y="119"/>
                  </a:lnTo>
                  <a:close/>
                  <a:moveTo>
                    <a:pt x="438" y="970"/>
                  </a:moveTo>
                  <a:lnTo>
                    <a:pt x="438" y="972"/>
                  </a:lnTo>
                  <a:lnTo>
                    <a:pt x="438" y="970"/>
                  </a:lnTo>
                  <a:close/>
                  <a:moveTo>
                    <a:pt x="102" y="622"/>
                  </a:moveTo>
                  <a:lnTo>
                    <a:pt x="104" y="622"/>
                  </a:lnTo>
                  <a:lnTo>
                    <a:pt x="102" y="622"/>
                  </a:lnTo>
                  <a:lnTo>
                    <a:pt x="104" y="622"/>
                  </a:lnTo>
                  <a:lnTo>
                    <a:pt x="102" y="622"/>
                  </a:lnTo>
                  <a:close/>
                  <a:moveTo>
                    <a:pt x="388" y="1054"/>
                  </a:moveTo>
                  <a:lnTo>
                    <a:pt x="390" y="1054"/>
                  </a:lnTo>
                  <a:lnTo>
                    <a:pt x="388" y="1054"/>
                  </a:lnTo>
                  <a:lnTo>
                    <a:pt x="388" y="1056"/>
                  </a:lnTo>
                  <a:lnTo>
                    <a:pt x="388" y="1054"/>
                  </a:lnTo>
                  <a:close/>
                  <a:moveTo>
                    <a:pt x="377" y="181"/>
                  </a:moveTo>
                  <a:lnTo>
                    <a:pt x="379" y="181"/>
                  </a:lnTo>
                  <a:lnTo>
                    <a:pt x="377" y="181"/>
                  </a:lnTo>
                  <a:lnTo>
                    <a:pt x="379" y="181"/>
                  </a:lnTo>
                  <a:lnTo>
                    <a:pt x="377" y="181"/>
                  </a:lnTo>
                  <a:close/>
                  <a:moveTo>
                    <a:pt x="617" y="630"/>
                  </a:moveTo>
                  <a:lnTo>
                    <a:pt x="617" y="632"/>
                  </a:lnTo>
                  <a:lnTo>
                    <a:pt x="615" y="632"/>
                  </a:lnTo>
                  <a:lnTo>
                    <a:pt x="615" y="630"/>
                  </a:lnTo>
                  <a:lnTo>
                    <a:pt x="617" y="630"/>
                  </a:lnTo>
                  <a:close/>
                  <a:moveTo>
                    <a:pt x="192" y="41"/>
                  </a:moveTo>
                  <a:lnTo>
                    <a:pt x="190" y="41"/>
                  </a:lnTo>
                  <a:lnTo>
                    <a:pt x="190" y="39"/>
                  </a:lnTo>
                  <a:lnTo>
                    <a:pt x="192" y="39"/>
                  </a:lnTo>
                  <a:lnTo>
                    <a:pt x="192" y="41"/>
                  </a:lnTo>
                  <a:close/>
                  <a:moveTo>
                    <a:pt x="859" y="478"/>
                  </a:moveTo>
                  <a:lnTo>
                    <a:pt x="859" y="480"/>
                  </a:lnTo>
                  <a:lnTo>
                    <a:pt x="859" y="478"/>
                  </a:lnTo>
                  <a:close/>
                  <a:moveTo>
                    <a:pt x="853" y="478"/>
                  </a:moveTo>
                  <a:lnTo>
                    <a:pt x="855" y="478"/>
                  </a:lnTo>
                  <a:lnTo>
                    <a:pt x="855" y="480"/>
                  </a:lnTo>
                  <a:lnTo>
                    <a:pt x="853" y="478"/>
                  </a:lnTo>
                  <a:close/>
                  <a:moveTo>
                    <a:pt x="54" y="183"/>
                  </a:moveTo>
                  <a:lnTo>
                    <a:pt x="52" y="183"/>
                  </a:lnTo>
                  <a:lnTo>
                    <a:pt x="54" y="183"/>
                  </a:lnTo>
                  <a:close/>
                  <a:moveTo>
                    <a:pt x="39" y="267"/>
                  </a:moveTo>
                  <a:lnTo>
                    <a:pt x="37" y="267"/>
                  </a:lnTo>
                  <a:lnTo>
                    <a:pt x="39" y="267"/>
                  </a:lnTo>
                  <a:close/>
                  <a:moveTo>
                    <a:pt x="571" y="764"/>
                  </a:moveTo>
                  <a:lnTo>
                    <a:pt x="569" y="764"/>
                  </a:lnTo>
                  <a:lnTo>
                    <a:pt x="569" y="766"/>
                  </a:lnTo>
                  <a:lnTo>
                    <a:pt x="569" y="764"/>
                  </a:lnTo>
                  <a:lnTo>
                    <a:pt x="571" y="764"/>
                  </a:lnTo>
                  <a:close/>
                  <a:moveTo>
                    <a:pt x="35" y="260"/>
                  </a:moveTo>
                  <a:lnTo>
                    <a:pt x="37" y="260"/>
                  </a:lnTo>
                  <a:lnTo>
                    <a:pt x="35" y="260"/>
                  </a:lnTo>
                  <a:lnTo>
                    <a:pt x="35" y="261"/>
                  </a:lnTo>
                  <a:lnTo>
                    <a:pt x="35" y="260"/>
                  </a:lnTo>
                  <a:close/>
                  <a:moveTo>
                    <a:pt x="348" y="167"/>
                  </a:moveTo>
                  <a:lnTo>
                    <a:pt x="350" y="167"/>
                  </a:lnTo>
                  <a:lnTo>
                    <a:pt x="350" y="169"/>
                  </a:lnTo>
                  <a:lnTo>
                    <a:pt x="348" y="169"/>
                  </a:lnTo>
                  <a:lnTo>
                    <a:pt x="350" y="169"/>
                  </a:lnTo>
                  <a:lnTo>
                    <a:pt x="348" y="169"/>
                  </a:lnTo>
                  <a:lnTo>
                    <a:pt x="348" y="167"/>
                  </a:lnTo>
                  <a:close/>
                  <a:moveTo>
                    <a:pt x="54" y="183"/>
                  </a:moveTo>
                  <a:lnTo>
                    <a:pt x="54" y="185"/>
                  </a:lnTo>
                  <a:lnTo>
                    <a:pt x="56" y="185"/>
                  </a:lnTo>
                  <a:lnTo>
                    <a:pt x="54" y="185"/>
                  </a:lnTo>
                  <a:lnTo>
                    <a:pt x="54" y="183"/>
                  </a:lnTo>
                  <a:close/>
                  <a:moveTo>
                    <a:pt x="27" y="135"/>
                  </a:moveTo>
                  <a:lnTo>
                    <a:pt x="25" y="135"/>
                  </a:lnTo>
                  <a:lnTo>
                    <a:pt x="25" y="133"/>
                  </a:lnTo>
                  <a:lnTo>
                    <a:pt x="27" y="133"/>
                  </a:lnTo>
                  <a:lnTo>
                    <a:pt x="27" y="135"/>
                  </a:lnTo>
                  <a:close/>
                  <a:moveTo>
                    <a:pt x="885" y="407"/>
                  </a:moveTo>
                  <a:lnTo>
                    <a:pt x="887" y="407"/>
                  </a:lnTo>
                  <a:lnTo>
                    <a:pt x="885" y="407"/>
                  </a:lnTo>
                  <a:close/>
                  <a:moveTo>
                    <a:pt x="417" y="1003"/>
                  </a:moveTo>
                  <a:lnTo>
                    <a:pt x="417" y="1004"/>
                  </a:lnTo>
                  <a:lnTo>
                    <a:pt x="415" y="1004"/>
                  </a:lnTo>
                  <a:lnTo>
                    <a:pt x="415" y="1003"/>
                  </a:lnTo>
                  <a:lnTo>
                    <a:pt x="417" y="1003"/>
                  </a:lnTo>
                  <a:close/>
                  <a:moveTo>
                    <a:pt x="56" y="185"/>
                  </a:moveTo>
                  <a:lnTo>
                    <a:pt x="54" y="185"/>
                  </a:lnTo>
                  <a:lnTo>
                    <a:pt x="56" y="185"/>
                  </a:lnTo>
                  <a:close/>
                  <a:moveTo>
                    <a:pt x="33" y="258"/>
                  </a:moveTo>
                  <a:lnTo>
                    <a:pt x="31" y="258"/>
                  </a:lnTo>
                  <a:lnTo>
                    <a:pt x="33" y="258"/>
                  </a:lnTo>
                  <a:close/>
                  <a:moveTo>
                    <a:pt x="388" y="1056"/>
                  </a:moveTo>
                  <a:lnTo>
                    <a:pt x="386" y="1056"/>
                  </a:lnTo>
                  <a:lnTo>
                    <a:pt x="386" y="1058"/>
                  </a:lnTo>
                  <a:lnTo>
                    <a:pt x="386" y="1056"/>
                  </a:lnTo>
                  <a:lnTo>
                    <a:pt x="388" y="1056"/>
                  </a:lnTo>
                  <a:close/>
                  <a:moveTo>
                    <a:pt x="861" y="452"/>
                  </a:moveTo>
                  <a:lnTo>
                    <a:pt x="861" y="453"/>
                  </a:lnTo>
                  <a:lnTo>
                    <a:pt x="861" y="452"/>
                  </a:lnTo>
                  <a:close/>
                  <a:moveTo>
                    <a:pt x="859" y="471"/>
                  </a:moveTo>
                  <a:lnTo>
                    <a:pt x="859" y="473"/>
                  </a:lnTo>
                  <a:lnTo>
                    <a:pt x="859" y="471"/>
                  </a:lnTo>
                  <a:close/>
                  <a:moveTo>
                    <a:pt x="35" y="244"/>
                  </a:moveTo>
                  <a:lnTo>
                    <a:pt x="37" y="244"/>
                  </a:lnTo>
                  <a:lnTo>
                    <a:pt x="37" y="246"/>
                  </a:lnTo>
                  <a:lnTo>
                    <a:pt x="35" y="246"/>
                  </a:lnTo>
                  <a:lnTo>
                    <a:pt x="37" y="246"/>
                  </a:lnTo>
                  <a:lnTo>
                    <a:pt x="35" y="246"/>
                  </a:lnTo>
                  <a:lnTo>
                    <a:pt x="35" y="244"/>
                  </a:lnTo>
                  <a:lnTo>
                    <a:pt x="37" y="244"/>
                  </a:lnTo>
                  <a:lnTo>
                    <a:pt x="35" y="244"/>
                  </a:lnTo>
                  <a:close/>
                  <a:moveTo>
                    <a:pt x="411" y="60"/>
                  </a:moveTo>
                  <a:lnTo>
                    <a:pt x="409" y="60"/>
                  </a:lnTo>
                  <a:lnTo>
                    <a:pt x="411" y="60"/>
                  </a:lnTo>
                  <a:lnTo>
                    <a:pt x="409" y="60"/>
                  </a:lnTo>
                  <a:lnTo>
                    <a:pt x="411" y="60"/>
                  </a:lnTo>
                  <a:lnTo>
                    <a:pt x="409" y="58"/>
                  </a:lnTo>
                  <a:lnTo>
                    <a:pt x="411" y="58"/>
                  </a:lnTo>
                  <a:lnTo>
                    <a:pt x="411" y="60"/>
                  </a:lnTo>
                  <a:close/>
                  <a:moveTo>
                    <a:pt x="697" y="586"/>
                  </a:moveTo>
                  <a:lnTo>
                    <a:pt x="697" y="588"/>
                  </a:lnTo>
                  <a:lnTo>
                    <a:pt x="695" y="588"/>
                  </a:lnTo>
                  <a:lnTo>
                    <a:pt x="697" y="588"/>
                  </a:lnTo>
                  <a:lnTo>
                    <a:pt x="697" y="586"/>
                  </a:lnTo>
                  <a:close/>
                  <a:moveTo>
                    <a:pt x="390" y="1022"/>
                  </a:moveTo>
                  <a:lnTo>
                    <a:pt x="392" y="1022"/>
                  </a:lnTo>
                  <a:lnTo>
                    <a:pt x="390" y="1022"/>
                  </a:lnTo>
                  <a:close/>
                  <a:moveTo>
                    <a:pt x="67" y="540"/>
                  </a:moveTo>
                  <a:lnTo>
                    <a:pt x="69" y="540"/>
                  </a:lnTo>
                  <a:lnTo>
                    <a:pt x="67" y="540"/>
                  </a:lnTo>
                  <a:close/>
                  <a:moveTo>
                    <a:pt x="438" y="970"/>
                  </a:moveTo>
                  <a:lnTo>
                    <a:pt x="436" y="970"/>
                  </a:lnTo>
                  <a:lnTo>
                    <a:pt x="436" y="972"/>
                  </a:lnTo>
                  <a:lnTo>
                    <a:pt x="436" y="970"/>
                  </a:lnTo>
                  <a:lnTo>
                    <a:pt x="438" y="970"/>
                  </a:lnTo>
                  <a:close/>
                  <a:moveTo>
                    <a:pt x="861" y="478"/>
                  </a:moveTo>
                  <a:lnTo>
                    <a:pt x="859" y="478"/>
                  </a:lnTo>
                  <a:lnTo>
                    <a:pt x="861" y="478"/>
                  </a:lnTo>
                  <a:close/>
                  <a:moveTo>
                    <a:pt x="33" y="256"/>
                  </a:moveTo>
                  <a:lnTo>
                    <a:pt x="33" y="258"/>
                  </a:lnTo>
                  <a:lnTo>
                    <a:pt x="33" y="256"/>
                  </a:lnTo>
                  <a:lnTo>
                    <a:pt x="33" y="258"/>
                  </a:lnTo>
                  <a:lnTo>
                    <a:pt x="33" y="256"/>
                  </a:lnTo>
                  <a:close/>
                  <a:moveTo>
                    <a:pt x="861" y="478"/>
                  </a:moveTo>
                  <a:lnTo>
                    <a:pt x="861" y="480"/>
                  </a:lnTo>
                  <a:lnTo>
                    <a:pt x="861" y="478"/>
                  </a:lnTo>
                  <a:lnTo>
                    <a:pt x="861" y="480"/>
                  </a:lnTo>
                  <a:lnTo>
                    <a:pt x="861" y="478"/>
                  </a:lnTo>
                  <a:close/>
                  <a:moveTo>
                    <a:pt x="18" y="81"/>
                  </a:moveTo>
                  <a:lnTo>
                    <a:pt x="19" y="81"/>
                  </a:lnTo>
                  <a:lnTo>
                    <a:pt x="19" y="83"/>
                  </a:lnTo>
                  <a:lnTo>
                    <a:pt x="18" y="83"/>
                  </a:lnTo>
                  <a:lnTo>
                    <a:pt x="19" y="83"/>
                  </a:lnTo>
                  <a:lnTo>
                    <a:pt x="18" y="83"/>
                  </a:lnTo>
                  <a:lnTo>
                    <a:pt x="18" y="81"/>
                  </a:lnTo>
                  <a:close/>
                  <a:moveTo>
                    <a:pt x="866" y="444"/>
                  </a:moveTo>
                  <a:lnTo>
                    <a:pt x="864" y="444"/>
                  </a:lnTo>
                  <a:lnTo>
                    <a:pt x="864" y="442"/>
                  </a:lnTo>
                  <a:lnTo>
                    <a:pt x="866" y="442"/>
                  </a:lnTo>
                  <a:lnTo>
                    <a:pt x="866" y="444"/>
                  </a:lnTo>
                  <a:close/>
                  <a:moveTo>
                    <a:pt x="319" y="154"/>
                  </a:moveTo>
                  <a:lnTo>
                    <a:pt x="319" y="156"/>
                  </a:lnTo>
                  <a:lnTo>
                    <a:pt x="317" y="154"/>
                  </a:lnTo>
                  <a:lnTo>
                    <a:pt x="319" y="154"/>
                  </a:lnTo>
                  <a:close/>
                  <a:moveTo>
                    <a:pt x="411" y="116"/>
                  </a:moveTo>
                  <a:lnTo>
                    <a:pt x="413" y="116"/>
                  </a:lnTo>
                  <a:lnTo>
                    <a:pt x="413" y="118"/>
                  </a:lnTo>
                  <a:lnTo>
                    <a:pt x="411" y="118"/>
                  </a:lnTo>
                  <a:lnTo>
                    <a:pt x="411" y="116"/>
                  </a:lnTo>
                  <a:close/>
                  <a:moveTo>
                    <a:pt x="415" y="93"/>
                  </a:moveTo>
                  <a:lnTo>
                    <a:pt x="417" y="93"/>
                  </a:lnTo>
                  <a:lnTo>
                    <a:pt x="417" y="94"/>
                  </a:lnTo>
                  <a:lnTo>
                    <a:pt x="417" y="93"/>
                  </a:lnTo>
                  <a:lnTo>
                    <a:pt x="415" y="93"/>
                  </a:lnTo>
                  <a:lnTo>
                    <a:pt x="417" y="93"/>
                  </a:lnTo>
                  <a:lnTo>
                    <a:pt x="415" y="93"/>
                  </a:lnTo>
                  <a:close/>
                  <a:moveTo>
                    <a:pt x="513" y="887"/>
                  </a:moveTo>
                  <a:lnTo>
                    <a:pt x="513" y="885"/>
                  </a:lnTo>
                  <a:lnTo>
                    <a:pt x="513" y="887"/>
                  </a:lnTo>
                  <a:close/>
                  <a:moveTo>
                    <a:pt x="392" y="167"/>
                  </a:moveTo>
                  <a:lnTo>
                    <a:pt x="394" y="167"/>
                  </a:lnTo>
                  <a:lnTo>
                    <a:pt x="394" y="169"/>
                  </a:lnTo>
                  <a:lnTo>
                    <a:pt x="392" y="169"/>
                  </a:lnTo>
                  <a:lnTo>
                    <a:pt x="394" y="169"/>
                  </a:lnTo>
                  <a:lnTo>
                    <a:pt x="392" y="169"/>
                  </a:lnTo>
                  <a:lnTo>
                    <a:pt x="392" y="167"/>
                  </a:lnTo>
                  <a:close/>
                  <a:moveTo>
                    <a:pt x="48" y="515"/>
                  </a:moveTo>
                  <a:lnTo>
                    <a:pt x="48" y="517"/>
                  </a:lnTo>
                  <a:lnTo>
                    <a:pt x="48" y="515"/>
                  </a:lnTo>
                  <a:lnTo>
                    <a:pt x="48" y="517"/>
                  </a:lnTo>
                  <a:lnTo>
                    <a:pt x="48" y="515"/>
                  </a:lnTo>
                  <a:close/>
                  <a:moveTo>
                    <a:pt x="41" y="267"/>
                  </a:moveTo>
                  <a:lnTo>
                    <a:pt x="41" y="265"/>
                  </a:lnTo>
                  <a:lnTo>
                    <a:pt x="42" y="265"/>
                  </a:lnTo>
                  <a:lnTo>
                    <a:pt x="42" y="267"/>
                  </a:lnTo>
                  <a:lnTo>
                    <a:pt x="41" y="267"/>
                  </a:lnTo>
                  <a:lnTo>
                    <a:pt x="42" y="267"/>
                  </a:lnTo>
                  <a:lnTo>
                    <a:pt x="41" y="267"/>
                  </a:lnTo>
                  <a:close/>
                  <a:moveTo>
                    <a:pt x="73" y="544"/>
                  </a:moveTo>
                  <a:lnTo>
                    <a:pt x="75" y="544"/>
                  </a:lnTo>
                  <a:lnTo>
                    <a:pt x="73" y="544"/>
                  </a:lnTo>
                  <a:lnTo>
                    <a:pt x="73" y="542"/>
                  </a:lnTo>
                  <a:lnTo>
                    <a:pt x="73" y="544"/>
                  </a:lnTo>
                  <a:close/>
                  <a:moveTo>
                    <a:pt x="307" y="162"/>
                  </a:moveTo>
                  <a:lnTo>
                    <a:pt x="307" y="164"/>
                  </a:lnTo>
                  <a:lnTo>
                    <a:pt x="307" y="162"/>
                  </a:lnTo>
                  <a:close/>
                  <a:moveTo>
                    <a:pt x="440" y="970"/>
                  </a:moveTo>
                  <a:lnTo>
                    <a:pt x="438" y="970"/>
                  </a:lnTo>
                  <a:lnTo>
                    <a:pt x="438" y="968"/>
                  </a:lnTo>
                  <a:lnTo>
                    <a:pt x="438" y="970"/>
                  </a:lnTo>
                  <a:lnTo>
                    <a:pt x="438" y="968"/>
                  </a:lnTo>
                  <a:lnTo>
                    <a:pt x="440" y="968"/>
                  </a:lnTo>
                  <a:lnTo>
                    <a:pt x="438" y="968"/>
                  </a:lnTo>
                  <a:lnTo>
                    <a:pt x="438" y="970"/>
                  </a:lnTo>
                  <a:lnTo>
                    <a:pt x="440" y="970"/>
                  </a:lnTo>
                  <a:lnTo>
                    <a:pt x="440" y="968"/>
                  </a:lnTo>
                  <a:lnTo>
                    <a:pt x="440" y="970"/>
                  </a:lnTo>
                  <a:close/>
                  <a:moveTo>
                    <a:pt x="302" y="173"/>
                  </a:moveTo>
                  <a:lnTo>
                    <a:pt x="302" y="175"/>
                  </a:lnTo>
                  <a:lnTo>
                    <a:pt x="302" y="173"/>
                  </a:lnTo>
                  <a:close/>
                  <a:moveTo>
                    <a:pt x="411" y="110"/>
                  </a:moveTo>
                  <a:lnTo>
                    <a:pt x="411" y="108"/>
                  </a:lnTo>
                  <a:lnTo>
                    <a:pt x="411" y="110"/>
                  </a:lnTo>
                  <a:close/>
                  <a:moveTo>
                    <a:pt x="862" y="448"/>
                  </a:moveTo>
                  <a:lnTo>
                    <a:pt x="862" y="450"/>
                  </a:lnTo>
                  <a:lnTo>
                    <a:pt x="862" y="448"/>
                  </a:lnTo>
                  <a:close/>
                  <a:moveTo>
                    <a:pt x="826" y="528"/>
                  </a:moveTo>
                  <a:lnTo>
                    <a:pt x="824" y="528"/>
                  </a:lnTo>
                  <a:lnTo>
                    <a:pt x="826" y="528"/>
                  </a:lnTo>
                  <a:close/>
                  <a:moveTo>
                    <a:pt x="48" y="194"/>
                  </a:moveTo>
                  <a:lnTo>
                    <a:pt x="46" y="194"/>
                  </a:lnTo>
                  <a:lnTo>
                    <a:pt x="48" y="194"/>
                  </a:lnTo>
                  <a:lnTo>
                    <a:pt x="46" y="194"/>
                  </a:lnTo>
                  <a:lnTo>
                    <a:pt x="48" y="194"/>
                  </a:lnTo>
                  <a:close/>
                  <a:moveTo>
                    <a:pt x="853" y="503"/>
                  </a:moveTo>
                  <a:lnTo>
                    <a:pt x="853" y="505"/>
                  </a:lnTo>
                  <a:lnTo>
                    <a:pt x="853" y="503"/>
                  </a:lnTo>
                  <a:close/>
                  <a:moveTo>
                    <a:pt x="62" y="544"/>
                  </a:moveTo>
                  <a:lnTo>
                    <a:pt x="60" y="544"/>
                  </a:lnTo>
                  <a:lnTo>
                    <a:pt x="62" y="544"/>
                  </a:lnTo>
                  <a:lnTo>
                    <a:pt x="60" y="544"/>
                  </a:lnTo>
                  <a:lnTo>
                    <a:pt x="62" y="544"/>
                  </a:lnTo>
                  <a:close/>
                  <a:moveTo>
                    <a:pt x="409" y="60"/>
                  </a:moveTo>
                  <a:lnTo>
                    <a:pt x="411" y="60"/>
                  </a:lnTo>
                  <a:lnTo>
                    <a:pt x="409" y="60"/>
                  </a:lnTo>
                  <a:lnTo>
                    <a:pt x="411" y="60"/>
                  </a:lnTo>
                  <a:lnTo>
                    <a:pt x="409" y="60"/>
                  </a:lnTo>
                  <a:close/>
                  <a:moveTo>
                    <a:pt x="836" y="519"/>
                  </a:moveTo>
                  <a:lnTo>
                    <a:pt x="836" y="521"/>
                  </a:lnTo>
                  <a:lnTo>
                    <a:pt x="834" y="521"/>
                  </a:lnTo>
                  <a:lnTo>
                    <a:pt x="834" y="519"/>
                  </a:lnTo>
                  <a:lnTo>
                    <a:pt x="836" y="519"/>
                  </a:lnTo>
                  <a:close/>
                  <a:moveTo>
                    <a:pt x="365" y="175"/>
                  </a:moveTo>
                  <a:lnTo>
                    <a:pt x="365" y="173"/>
                  </a:lnTo>
                  <a:lnTo>
                    <a:pt x="365" y="175"/>
                  </a:lnTo>
                  <a:close/>
                  <a:moveTo>
                    <a:pt x="874" y="427"/>
                  </a:moveTo>
                  <a:lnTo>
                    <a:pt x="872" y="427"/>
                  </a:lnTo>
                  <a:lnTo>
                    <a:pt x="874" y="427"/>
                  </a:lnTo>
                  <a:close/>
                  <a:moveTo>
                    <a:pt x="69" y="546"/>
                  </a:moveTo>
                  <a:lnTo>
                    <a:pt x="67" y="546"/>
                  </a:lnTo>
                  <a:lnTo>
                    <a:pt x="69" y="546"/>
                  </a:lnTo>
                  <a:close/>
                  <a:moveTo>
                    <a:pt x="857" y="453"/>
                  </a:moveTo>
                  <a:lnTo>
                    <a:pt x="857" y="452"/>
                  </a:lnTo>
                  <a:lnTo>
                    <a:pt x="857" y="453"/>
                  </a:lnTo>
                  <a:close/>
                  <a:moveTo>
                    <a:pt x="519" y="880"/>
                  </a:moveTo>
                  <a:lnTo>
                    <a:pt x="519" y="882"/>
                  </a:lnTo>
                  <a:lnTo>
                    <a:pt x="517" y="882"/>
                  </a:lnTo>
                  <a:lnTo>
                    <a:pt x="519" y="882"/>
                  </a:lnTo>
                  <a:lnTo>
                    <a:pt x="519" y="880"/>
                  </a:lnTo>
                  <a:close/>
                  <a:moveTo>
                    <a:pt x="866" y="434"/>
                  </a:moveTo>
                  <a:lnTo>
                    <a:pt x="866" y="432"/>
                  </a:lnTo>
                  <a:lnTo>
                    <a:pt x="866" y="434"/>
                  </a:lnTo>
                  <a:close/>
                  <a:moveTo>
                    <a:pt x="427" y="1003"/>
                  </a:moveTo>
                  <a:lnTo>
                    <a:pt x="425" y="1003"/>
                  </a:lnTo>
                  <a:lnTo>
                    <a:pt x="427" y="1003"/>
                  </a:lnTo>
                  <a:lnTo>
                    <a:pt x="425" y="1003"/>
                  </a:lnTo>
                  <a:lnTo>
                    <a:pt x="427" y="1003"/>
                  </a:lnTo>
                  <a:close/>
                  <a:moveTo>
                    <a:pt x="857" y="453"/>
                  </a:moveTo>
                  <a:lnTo>
                    <a:pt x="857" y="455"/>
                  </a:lnTo>
                  <a:lnTo>
                    <a:pt x="857" y="453"/>
                  </a:lnTo>
                  <a:close/>
                  <a:moveTo>
                    <a:pt x="855" y="480"/>
                  </a:moveTo>
                  <a:lnTo>
                    <a:pt x="857" y="480"/>
                  </a:lnTo>
                  <a:lnTo>
                    <a:pt x="855" y="480"/>
                  </a:lnTo>
                  <a:close/>
                  <a:moveTo>
                    <a:pt x="425" y="1006"/>
                  </a:moveTo>
                  <a:lnTo>
                    <a:pt x="425" y="1004"/>
                  </a:lnTo>
                  <a:lnTo>
                    <a:pt x="425" y="1006"/>
                  </a:lnTo>
                  <a:close/>
                  <a:moveTo>
                    <a:pt x="75" y="546"/>
                  </a:moveTo>
                  <a:lnTo>
                    <a:pt x="73" y="546"/>
                  </a:lnTo>
                  <a:lnTo>
                    <a:pt x="75" y="546"/>
                  </a:lnTo>
                  <a:close/>
                  <a:moveTo>
                    <a:pt x="857" y="480"/>
                  </a:moveTo>
                  <a:lnTo>
                    <a:pt x="857" y="478"/>
                  </a:lnTo>
                  <a:lnTo>
                    <a:pt x="857" y="480"/>
                  </a:lnTo>
                  <a:close/>
                  <a:moveTo>
                    <a:pt x="615" y="636"/>
                  </a:moveTo>
                  <a:lnTo>
                    <a:pt x="615" y="638"/>
                  </a:lnTo>
                  <a:lnTo>
                    <a:pt x="615" y="636"/>
                  </a:lnTo>
                  <a:close/>
                  <a:moveTo>
                    <a:pt x="87" y="292"/>
                  </a:moveTo>
                  <a:lnTo>
                    <a:pt x="87" y="294"/>
                  </a:lnTo>
                  <a:lnTo>
                    <a:pt x="87" y="292"/>
                  </a:lnTo>
                  <a:close/>
                  <a:moveTo>
                    <a:pt x="73" y="548"/>
                  </a:moveTo>
                  <a:lnTo>
                    <a:pt x="75" y="548"/>
                  </a:lnTo>
                  <a:lnTo>
                    <a:pt x="73" y="548"/>
                  </a:lnTo>
                  <a:close/>
                  <a:moveTo>
                    <a:pt x="380" y="179"/>
                  </a:moveTo>
                  <a:lnTo>
                    <a:pt x="382" y="179"/>
                  </a:lnTo>
                  <a:lnTo>
                    <a:pt x="380" y="179"/>
                  </a:lnTo>
                  <a:close/>
                  <a:moveTo>
                    <a:pt x="857" y="478"/>
                  </a:moveTo>
                  <a:lnTo>
                    <a:pt x="859" y="480"/>
                  </a:lnTo>
                  <a:lnTo>
                    <a:pt x="857" y="478"/>
                  </a:lnTo>
                  <a:close/>
                  <a:moveTo>
                    <a:pt x="394" y="164"/>
                  </a:moveTo>
                  <a:lnTo>
                    <a:pt x="394" y="165"/>
                  </a:lnTo>
                  <a:lnTo>
                    <a:pt x="392" y="165"/>
                  </a:lnTo>
                  <a:lnTo>
                    <a:pt x="392" y="164"/>
                  </a:lnTo>
                  <a:lnTo>
                    <a:pt x="394" y="164"/>
                  </a:lnTo>
                  <a:lnTo>
                    <a:pt x="392" y="164"/>
                  </a:lnTo>
                  <a:lnTo>
                    <a:pt x="394" y="164"/>
                  </a:lnTo>
                  <a:close/>
                  <a:moveTo>
                    <a:pt x="851" y="484"/>
                  </a:moveTo>
                  <a:lnTo>
                    <a:pt x="851" y="482"/>
                  </a:lnTo>
                  <a:lnTo>
                    <a:pt x="853" y="484"/>
                  </a:lnTo>
                  <a:lnTo>
                    <a:pt x="851" y="484"/>
                  </a:lnTo>
                  <a:close/>
                  <a:moveTo>
                    <a:pt x="816" y="532"/>
                  </a:moveTo>
                  <a:lnTo>
                    <a:pt x="816" y="534"/>
                  </a:lnTo>
                  <a:lnTo>
                    <a:pt x="816" y="532"/>
                  </a:lnTo>
                  <a:close/>
                  <a:moveTo>
                    <a:pt x="112" y="636"/>
                  </a:moveTo>
                  <a:lnTo>
                    <a:pt x="112" y="638"/>
                  </a:lnTo>
                  <a:lnTo>
                    <a:pt x="110" y="638"/>
                  </a:lnTo>
                  <a:lnTo>
                    <a:pt x="112" y="636"/>
                  </a:lnTo>
                  <a:lnTo>
                    <a:pt x="110" y="636"/>
                  </a:lnTo>
                  <a:lnTo>
                    <a:pt x="112" y="636"/>
                  </a:lnTo>
                  <a:close/>
                  <a:moveTo>
                    <a:pt x="71" y="542"/>
                  </a:moveTo>
                  <a:lnTo>
                    <a:pt x="71" y="544"/>
                  </a:lnTo>
                  <a:lnTo>
                    <a:pt x="71" y="542"/>
                  </a:lnTo>
                  <a:close/>
                  <a:moveTo>
                    <a:pt x="853" y="490"/>
                  </a:moveTo>
                  <a:lnTo>
                    <a:pt x="853" y="492"/>
                  </a:lnTo>
                  <a:lnTo>
                    <a:pt x="851" y="490"/>
                  </a:lnTo>
                  <a:lnTo>
                    <a:pt x="853" y="490"/>
                  </a:lnTo>
                  <a:close/>
                  <a:moveTo>
                    <a:pt x="813" y="536"/>
                  </a:moveTo>
                  <a:lnTo>
                    <a:pt x="813" y="534"/>
                  </a:lnTo>
                  <a:lnTo>
                    <a:pt x="814" y="534"/>
                  </a:lnTo>
                  <a:lnTo>
                    <a:pt x="814" y="536"/>
                  </a:lnTo>
                  <a:lnTo>
                    <a:pt x="813" y="536"/>
                  </a:lnTo>
                  <a:close/>
                  <a:moveTo>
                    <a:pt x="432" y="970"/>
                  </a:moveTo>
                  <a:lnTo>
                    <a:pt x="434" y="970"/>
                  </a:lnTo>
                  <a:lnTo>
                    <a:pt x="432" y="970"/>
                  </a:lnTo>
                  <a:close/>
                  <a:moveTo>
                    <a:pt x="196" y="35"/>
                  </a:moveTo>
                  <a:lnTo>
                    <a:pt x="196" y="33"/>
                  </a:lnTo>
                  <a:lnTo>
                    <a:pt x="196" y="35"/>
                  </a:lnTo>
                  <a:close/>
                  <a:moveTo>
                    <a:pt x="415" y="1028"/>
                  </a:moveTo>
                  <a:lnTo>
                    <a:pt x="415" y="1026"/>
                  </a:lnTo>
                  <a:lnTo>
                    <a:pt x="415" y="1028"/>
                  </a:lnTo>
                  <a:close/>
                  <a:moveTo>
                    <a:pt x="845" y="503"/>
                  </a:moveTo>
                  <a:lnTo>
                    <a:pt x="843" y="503"/>
                  </a:lnTo>
                  <a:lnTo>
                    <a:pt x="845" y="503"/>
                  </a:lnTo>
                  <a:close/>
                  <a:moveTo>
                    <a:pt x="402" y="142"/>
                  </a:moveTo>
                  <a:lnTo>
                    <a:pt x="403" y="142"/>
                  </a:lnTo>
                  <a:lnTo>
                    <a:pt x="402" y="142"/>
                  </a:lnTo>
                  <a:lnTo>
                    <a:pt x="403" y="142"/>
                  </a:lnTo>
                  <a:lnTo>
                    <a:pt x="403" y="144"/>
                  </a:lnTo>
                  <a:lnTo>
                    <a:pt x="402" y="144"/>
                  </a:lnTo>
                  <a:lnTo>
                    <a:pt x="402" y="142"/>
                  </a:lnTo>
                  <a:close/>
                  <a:moveTo>
                    <a:pt x="903" y="398"/>
                  </a:moveTo>
                  <a:lnTo>
                    <a:pt x="903" y="400"/>
                  </a:lnTo>
                  <a:lnTo>
                    <a:pt x="903" y="398"/>
                  </a:lnTo>
                  <a:close/>
                  <a:moveTo>
                    <a:pt x="849" y="507"/>
                  </a:moveTo>
                  <a:lnTo>
                    <a:pt x="849" y="509"/>
                  </a:lnTo>
                  <a:lnTo>
                    <a:pt x="849" y="507"/>
                  </a:lnTo>
                  <a:close/>
                  <a:moveTo>
                    <a:pt x="392" y="1052"/>
                  </a:moveTo>
                  <a:lnTo>
                    <a:pt x="392" y="1054"/>
                  </a:lnTo>
                  <a:lnTo>
                    <a:pt x="392" y="1052"/>
                  </a:lnTo>
                  <a:close/>
                  <a:moveTo>
                    <a:pt x="41" y="235"/>
                  </a:moveTo>
                  <a:lnTo>
                    <a:pt x="42" y="235"/>
                  </a:lnTo>
                  <a:lnTo>
                    <a:pt x="41" y="235"/>
                  </a:lnTo>
                  <a:lnTo>
                    <a:pt x="42" y="235"/>
                  </a:lnTo>
                  <a:lnTo>
                    <a:pt x="41" y="235"/>
                  </a:lnTo>
                  <a:lnTo>
                    <a:pt x="41" y="237"/>
                  </a:lnTo>
                  <a:lnTo>
                    <a:pt x="41" y="235"/>
                  </a:lnTo>
                  <a:lnTo>
                    <a:pt x="42" y="235"/>
                  </a:lnTo>
                  <a:lnTo>
                    <a:pt x="41" y="235"/>
                  </a:lnTo>
                  <a:close/>
                  <a:moveTo>
                    <a:pt x="430" y="983"/>
                  </a:moveTo>
                  <a:lnTo>
                    <a:pt x="432" y="983"/>
                  </a:lnTo>
                  <a:lnTo>
                    <a:pt x="430" y="983"/>
                  </a:lnTo>
                  <a:lnTo>
                    <a:pt x="430" y="985"/>
                  </a:lnTo>
                  <a:lnTo>
                    <a:pt x="432" y="985"/>
                  </a:lnTo>
                  <a:lnTo>
                    <a:pt x="430" y="985"/>
                  </a:lnTo>
                  <a:lnTo>
                    <a:pt x="430" y="983"/>
                  </a:lnTo>
                  <a:close/>
                  <a:moveTo>
                    <a:pt x="204" y="56"/>
                  </a:moveTo>
                  <a:lnTo>
                    <a:pt x="202" y="56"/>
                  </a:lnTo>
                  <a:lnTo>
                    <a:pt x="204" y="56"/>
                  </a:lnTo>
                  <a:close/>
                  <a:moveTo>
                    <a:pt x="716" y="584"/>
                  </a:moveTo>
                  <a:lnTo>
                    <a:pt x="715" y="582"/>
                  </a:lnTo>
                  <a:lnTo>
                    <a:pt x="716" y="582"/>
                  </a:lnTo>
                  <a:lnTo>
                    <a:pt x="716" y="584"/>
                  </a:lnTo>
                  <a:close/>
                  <a:moveTo>
                    <a:pt x="60" y="540"/>
                  </a:moveTo>
                  <a:lnTo>
                    <a:pt x="60" y="542"/>
                  </a:lnTo>
                  <a:lnTo>
                    <a:pt x="60" y="540"/>
                  </a:lnTo>
                  <a:lnTo>
                    <a:pt x="60" y="542"/>
                  </a:lnTo>
                  <a:lnTo>
                    <a:pt x="60" y="540"/>
                  </a:lnTo>
                  <a:close/>
                  <a:moveTo>
                    <a:pt x="866" y="442"/>
                  </a:moveTo>
                  <a:lnTo>
                    <a:pt x="866" y="444"/>
                  </a:lnTo>
                  <a:lnTo>
                    <a:pt x="866" y="442"/>
                  </a:lnTo>
                  <a:close/>
                  <a:moveTo>
                    <a:pt x="868" y="438"/>
                  </a:moveTo>
                  <a:lnTo>
                    <a:pt x="868" y="436"/>
                  </a:lnTo>
                  <a:lnTo>
                    <a:pt x="868" y="438"/>
                  </a:lnTo>
                  <a:close/>
                  <a:moveTo>
                    <a:pt x="27" y="135"/>
                  </a:moveTo>
                  <a:lnTo>
                    <a:pt x="27" y="137"/>
                  </a:lnTo>
                  <a:lnTo>
                    <a:pt x="27" y="135"/>
                  </a:lnTo>
                  <a:lnTo>
                    <a:pt x="27" y="137"/>
                  </a:lnTo>
                  <a:lnTo>
                    <a:pt x="27" y="135"/>
                  </a:lnTo>
                  <a:lnTo>
                    <a:pt x="29" y="135"/>
                  </a:lnTo>
                  <a:lnTo>
                    <a:pt x="27" y="135"/>
                  </a:lnTo>
                  <a:close/>
                  <a:moveTo>
                    <a:pt x="887" y="407"/>
                  </a:moveTo>
                  <a:lnTo>
                    <a:pt x="885" y="407"/>
                  </a:lnTo>
                  <a:lnTo>
                    <a:pt x="887" y="407"/>
                  </a:lnTo>
                  <a:close/>
                  <a:moveTo>
                    <a:pt x="271" y="62"/>
                  </a:moveTo>
                  <a:lnTo>
                    <a:pt x="273" y="62"/>
                  </a:lnTo>
                  <a:lnTo>
                    <a:pt x="271" y="62"/>
                  </a:lnTo>
                  <a:close/>
                  <a:moveTo>
                    <a:pt x="306" y="142"/>
                  </a:moveTo>
                  <a:lnTo>
                    <a:pt x="304" y="142"/>
                  </a:lnTo>
                  <a:lnTo>
                    <a:pt x="306" y="142"/>
                  </a:lnTo>
                  <a:close/>
                  <a:moveTo>
                    <a:pt x="41" y="229"/>
                  </a:moveTo>
                  <a:lnTo>
                    <a:pt x="41" y="231"/>
                  </a:lnTo>
                  <a:lnTo>
                    <a:pt x="41" y="229"/>
                  </a:lnTo>
                  <a:lnTo>
                    <a:pt x="42" y="229"/>
                  </a:lnTo>
                  <a:lnTo>
                    <a:pt x="42" y="231"/>
                  </a:lnTo>
                  <a:lnTo>
                    <a:pt x="41" y="231"/>
                  </a:lnTo>
                  <a:lnTo>
                    <a:pt x="41" y="229"/>
                  </a:lnTo>
                  <a:lnTo>
                    <a:pt x="41" y="231"/>
                  </a:lnTo>
                  <a:lnTo>
                    <a:pt x="41" y="229"/>
                  </a:lnTo>
                  <a:lnTo>
                    <a:pt x="41" y="231"/>
                  </a:lnTo>
                  <a:lnTo>
                    <a:pt x="41" y="229"/>
                  </a:lnTo>
                  <a:close/>
                  <a:moveTo>
                    <a:pt x="400" y="158"/>
                  </a:moveTo>
                  <a:lnTo>
                    <a:pt x="402" y="158"/>
                  </a:lnTo>
                  <a:lnTo>
                    <a:pt x="400" y="158"/>
                  </a:lnTo>
                  <a:close/>
                  <a:moveTo>
                    <a:pt x="388" y="1054"/>
                  </a:moveTo>
                  <a:lnTo>
                    <a:pt x="388" y="1056"/>
                  </a:lnTo>
                  <a:lnTo>
                    <a:pt x="388" y="1054"/>
                  </a:lnTo>
                  <a:close/>
                  <a:moveTo>
                    <a:pt x="859" y="471"/>
                  </a:moveTo>
                  <a:lnTo>
                    <a:pt x="861" y="471"/>
                  </a:lnTo>
                  <a:lnTo>
                    <a:pt x="861" y="473"/>
                  </a:lnTo>
                  <a:lnTo>
                    <a:pt x="859" y="473"/>
                  </a:lnTo>
                  <a:lnTo>
                    <a:pt x="859" y="471"/>
                  </a:lnTo>
                  <a:close/>
                  <a:moveTo>
                    <a:pt x="861" y="452"/>
                  </a:moveTo>
                  <a:lnTo>
                    <a:pt x="861" y="450"/>
                  </a:lnTo>
                  <a:lnTo>
                    <a:pt x="861" y="452"/>
                  </a:lnTo>
                  <a:close/>
                  <a:moveTo>
                    <a:pt x="440" y="972"/>
                  </a:moveTo>
                  <a:lnTo>
                    <a:pt x="440" y="970"/>
                  </a:lnTo>
                  <a:lnTo>
                    <a:pt x="440" y="972"/>
                  </a:lnTo>
                  <a:close/>
                  <a:moveTo>
                    <a:pt x="27" y="133"/>
                  </a:moveTo>
                  <a:lnTo>
                    <a:pt x="25" y="133"/>
                  </a:lnTo>
                  <a:lnTo>
                    <a:pt x="27" y="133"/>
                  </a:lnTo>
                  <a:close/>
                  <a:moveTo>
                    <a:pt x="192" y="43"/>
                  </a:moveTo>
                  <a:lnTo>
                    <a:pt x="190" y="43"/>
                  </a:lnTo>
                  <a:lnTo>
                    <a:pt x="192" y="43"/>
                  </a:lnTo>
                  <a:close/>
                  <a:moveTo>
                    <a:pt x="853" y="478"/>
                  </a:moveTo>
                  <a:lnTo>
                    <a:pt x="855" y="477"/>
                  </a:lnTo>
                  <a:lnTo>
                    <a:pt x="855" y="478"/>
                  </a:lnTo>
                  <a:lnTo>
                    <a:pt x="853" y="478"/>
                  </a:lnTo>
                  <a:close/>
                  <a:moveTo>
                    <a:pt x="52" y="521"/>
                  </a:moveTo>
                  <a:lnTo>
                    <a:pt x="54" y="521"/>
                  </a:lnTo>
                  <a:lnTo>
                    <a:pt x="52" y="521"/>
                  </a:lnTo>
                  <a:close/>
                  <a:moveTo>
                    <a:pt x="880" y="417"/>
                  </a:moveTo>
                  <a:lnTo>
                    <a:pt x="880" y="415"/>
                  </a:lnTo>
                  <a:lnTo>
                    <a:pt x="880" y="417"/>
                  </a:lnTo>
                  <a:close/>
                  <a:moveTo>
                    <a:pt x="198" y="54"/>
                  </a:moveTo>
                  <a:lnTo>
                    <a:pt x="200" y="54"/>
                  </a:lnTo>
                  <a:lnTo>
                    <a:pt x="198" y="54"/>
                  </a:lnTo>
                  <a:close/>
                  <a:moveTo>
                    <a:pt x="67" y="540"/>
                  </a:moveTo>
                  <a:lnTo>
                    <a:pt x="67" y="542"/>
                  </a:lnTo>
                  <a:lnTo>
                    <a:pt x="67" y="540"/>
                  </a:lnTo>
                  <a:lnTo>
                    <a:pt x="67" y="542"/>
                  </a:lnTo>
                  <a:lnTo>
                    <a:pt x="67" y="540"/>
                  </a:lnTo>
                  <a:lnTo>
                    <a:pt x="67" y="542"/>
                  </a:lnTo>
                  <a:lnTo>
                    <a:pt x="67" y="540"/>
                  </a:lnTo>
                  <a:close/>
                  <a:moveTo>
                    <a:pt x="394" y="165"/>
                  </a:moveTo>
                  <a:lnTo>
                    <a:pt x="394" y="167"/>
                  </a:lnTo>
                  <a:lnTo>
                    <a:pt x="392" y="167"/>
                  </a:lnTo>
                  <a:lnTo>
                    <a:pt x="394" y="167"/>
                  </a:lnTo>
                  <a:lnTo>
                    <a:pt x="392" y="167"/>
                  </a:lnTo>
                  <a:lnTo>
                    <a:pt x="394" y="167"/>
                  </a:lnTo>
                  <a:lnTo>
                    <a:pt x="394" y="165"/>
                  </a:lnTo>
                  <a:close/>
                  <a:moveTo>
                    <a:pt x="428" y="991"/>
                  </a:moveTo>
                  <a:lnTo>
                    <a:pt x="428" y="993"/>
                  </a:lnTo>
                  <a:lnTo>
                    <a:pt x="427" y="993"/>
                  </a:lnTo>
                  <a:lnTo>
                    <a:pt x="427" y="991"/>
                  </a:lnTo>
                  <a:lnTo>
                    <a:pt x="428" y="991"/>
                  </a:lnTo>
                  <a:close/>
                  <a:moveTo>
                    <a:pt x="73" y="548"/>
                  </a:moveTo>
                  <a:lnTo>
                    <a:pt x="71" y="548"/>
                  </a:lnTo>
                  <a:lnTo>
                    <a:pt x="73" y="548"/>
                  </a:lnTo>
                  <a:close/>
                  <a:moveTo>
                    <a:pt x="279" y="106"/>
                  </a:moveTo>
                  <a:lnTo>
                    <a:pt x="279" y="108"/>
                  </a:lnTo>
                  <a:lnTo>
                    <a:pt x="277" y="108"/>
                  </a:lnTo>
                  <a:lnTo>
                    <a:pt x="279" y="108"/>
                  </a:lnTo>
                  <a:lnTo>
                    <a:pt x="277" y="108"/>
                  </a:lnTo>
                  <a:lnTo>
                    <a:pt x="279" y="108"/>
                  </a:lnTo>
                  <a:lnTo>
                    <a:pt x="279" y="106"/>
                  </a:lnTo>
                  <a:close/>
                  <a:moveTo>
                    <a:pt x="413" y="1029"/>
                  </a:moveTo>
                  <a:lnTo>
                    <a:pt x="411" y="1029"/>
                  </a:lnTo>
                  <a:lnTo>
                    <a:pt x="411" y="1031"/>
                  </a:lnTo>
                  <a:lnTo>
                    <a:pt x="411" y="1029"/>
                  </a:lnTo>
                  <a:lnTo>
                    <a:pt x="413" y="1029"/>
                  </a:lnTo>
                  <a:close/>
                  <a:moveTo>
                    <a:pt x="56" y="523"/>
                  </a:moveTo>
                  <a:lnTo>
                    <a:pt x="54" y="523"/>
                  </a:lnTo>
                  <a:lnTo>
                    <a:pt x="56" y="523"/>
                  </a:lnTo>
                  <a:close/>
                  <a:moveTo>
                    <a:pt x="597" y="661"/>
                  </a:moveTo>
                  <a:lnTo>
                    <a:pt x="597" y="663"/>
                  </a:lnTo>
                  <a:lnTo>
                    <a:pt x="597" y="661"/>
                  </a:lnTo>
                  <a:lnTo>
                    <a:pt x="597" y="663"/>
                  </a:lnTo>
                  <a:lnTo>
                    <a:pt x="597" y="661"/>
                  </a:lnTo>
                  <a:close/>
                  <a:moveTo>
                    <a:pt x="283" y="102"/>
                  </a:moveTo>
                  <a:lnTo>
                    <a:pt x="283" y="104"/>
                  </a:lnTo>
                  <a:lnTo>
                    <a:pt x="283" y="102"/>
                  </a:lnTo>
                  <a:lnTo>
                    <a:pt x="283" y="104"/>
                  </a:lnTo>
                  <a:lnTo>
                    <a:pt x="283" y="102"/>
                  </a:lnTo>
                  <a:lnTo>
                    <a:pt x="281" y="102"/>
                  </a:lnTo>
                  <a:lnTo>
                    <a:pt x="283" y="102"/>
                  </a:lnTo>
                  <a:close/>
                  <a:moveTo>
                    <a:pt x="436" y="968"/>
                  </a:moveTo>
                  <a:lnTo>
                    <a:pt x="436" y="970"/>
                  </a:lnTo>
                  <a:lnTo>
                    <a:pt x="436" y="968"/>
                  </a:lnTo>
                  <a:close/>
                  <a:moveTo>
                    <a:pt x="864" y="436"/>
                  </a:moveTo>
                  <a:lnTo>
                    <a:pt x="864" y="434"/>
                  </a:lnTo>
                  <a:lnTo>
                    <a:pt x="864" y="436"/>
                  </a:lnTo>
                  <a:close/>
                  <a:moveTo>
                    <a:pt x="307" y="181"/>
                  </a:moveTo>
                  <a:lnTo>
                    <a:pt x="307" y="183"/>
                  </a:lnTo>
                  <a:lnTo>
                    <a:pt x="307" y="181"/>
                  </a:lnTo>
                  <a:close/>
                  <a:moveTo>
                    <a:pt x="250" y="58"/>
                  </a:moveTo>
                  <a:lnTo>
                    <a:pt x="250" y="56"/>
                  </a:lnTo>
                  <a:lnTo>
                    <a:pt x="250" y="58"/>
                  </a:lnTo>
                  <a:close/>
                  <a:moveTo>
                    <a:pt x="62" y="536"/>
                  </a:moveTo>
                  <a:lnTo>
                    <a:pt x="64" y="536"/>
                  </a:lnTo>
                  <a:lnTo>
                    <a:pt x="62" y="536"/>
                  </a:lnTo>
                  <a:close/>
                  <a:moveTo>
                    <a:pt x="41" y="267"/>
                  </a:moveTo>
                  <a:lnTo>
                    <a:pt x="41" y="269"/>
                  </a:lnTo>
                  <a:lnTo>
                    <a:pt x="41" y="267"/>
                  </a:lnTo>
                  <a:close/>
                  <a:moveTo>
                    <a:pt x="35" y="144"/>
                  </a:moveTo>
                  <a:lnTo>
                    <a:pt x="35" y="146"/>
                  </a:lnTo>
                  <a:lnTo>
                    <a:pt x="35" y="144"/>
                  </a:lnTo>
                  <a:close/>
                  <a:moveTo>
                    <a:pt x="75" y="540"/>
                  </a:moveTo>
                  <a:lnTo>
                    <a:pt x="73" y="540"/>
                  </a:lnTo>
                  <a:lnTo>
                    <a:pt x="73" y="542"/>
                  </a:lnTo>
                  <a:lnTo>
                    <a:pt x="73" y="540"/>
                  </a:lnTo>
                  <a:lnTo>
                    <a:pt x="75" y="540"/>
                  </a:lnTo>
                  <a:close/>
                  <a:moveTo>
                    <a:pt x="861" y="450"/>
                  </a:moveTo>
                  <a:lnTo>
                    <a:pt x="861" y="452"/>
                  </a:lnTo>
                  <a:lnTo>
                    <a:pt x="861" y="450"/>
                  </a:lnTo>
                  <a:close/>
                  <a:moveTo>
                    <a:pt x="42" y="231"/>
                  </a:moveTo>
                  <a:lnTo>
                    <a:pt x="42" y="233"/>
                  </a:lnTo>
                  <a:lnTo>
                    <a:pt x="41" y="233"/>
                  </a:lnTo>
                  <a:lnTo>
                    <a:pt x="41" y="231"/>
                  </a:lnTo>
                  <a:lnTo>
                    <a:pt x="42" y="231"/>
                  </a:lnTo>
                  <a:close/>
                  <a:moveTo>
                    <a:pt x="807" y="540"/>
                  </a:moveTo>
                  <a:lnTo>
                    <a:pt x="807" y="542"/>
                  </a:lnTo>
                  <a:lnTo>
                    <a:pt x="805" y="540"/>
                  </a:lnTo>
                  <a:lnTo>
                    <a:pt x="807" y="540"/>
                  </a:lnTo>
                  <a:close/>
                  <a:moveTo>
                    <a:pt x="884" y="409"/>
                  </a:moveTo>
                  <a:lnTo>
                    <a:pt x="884" y="411"/>
                  </a:lnTo>
                  <a:lnTo>
                    <a:pt x="884" y="409"/>
                  </a:lnTo>
                  <a:lnTo>
                    <a:pt x="884" y="411"/>
                  </a:lnTo>
                  <a:lnTo>
                    <a:pt x="884" y="409"/>
                  </a:lnTo>
                  <a:close/>
                  <a:moveTo>
                    <a:pt x="836" y="523"/>
                  </a:moveTo>
                  <a:lnTo>
                    <a:pt x="836" y="521"/>
                  </a:lnTo>
                  <a:lnTo>
                    <a:pt x="836" y="523"/>
                  </a:lnTo>
                  <a:close/>
                  <a:moveTo>
                    <a:pt x="19" y="81"/>
                  </a:moveTo>
                  <a:lnTo>
                    <a:pt x="19" y="83"/>
                  </a:lnTo>
                  <a:lnTo>
                    <a:pt x="19" y="81"/>
                  </a:lnTo>
                  <a:close/>
                  <a:moveTo>
                    <a:pt x="419" y="96"/>
                  </a:moveTo>
                  <a:lnTo>
                    <a:pt x="419" y="98"/>
                  </a:lnTo>
                  <a:lnTo>
                    <a:pt x="419" y="96"/>
                  </a:lnTo>
                  <a:close/>
                  <a:moveTo>
                    <a:pt x="540" y="826"/>
                  </a:moveTo>
                  <a:lnTo>
                    <a:pt x="540" y="828"/>
                  </a:lnTo>
                  <a:lnTo>
                    <a:pt x="540" y="826"/>
                  </a:lnTo>
                  <a:close/>
                  <a:moveTo>
                    <a:pt x="419" y="108"/>
                  </a:moveTo>
                  <a:lnTo>
                    <a:pt x="419" y="110"/>
                  </a:lnTo>
                  <a:lnTo>
                    <a:pt x="419" y="108"/>
                  </a:lnTo>
                  <a:close/>
                  <a:moveTo>
                    <a:pt x="413" y="98"/>
                  </a:moveTo>
                  <a:lnTo>
                    <a:pt x="415" y="98"/>
                  </a:lnTo>
                  <a:lnTo>
                    <a:pt x="413" y="98"/>
                  </a:lnTo>
                  <a:close/>
                  <a:moveTo>
                    <a:pt x="35" y="144"/>
                  </a:moveTo>
                  <a:lnTo>
                    <a:pt x="33" y="144"/>
                  </a:lnTo>
                  <a:lnTo>
                    <a:pt x="35" y="144"/>
                  </a:lnTo>
                  <a:close/>
                  <a:moveTo>
                    <a:pt x="440" y="968"/>
                  </a:moveTo>
                  <a:lnTo>
                    <a:pt x="438" y="968"/>
                  </a:lnTo>
                  <a:lnTo>
                    <a:pt x="440" y="968"/>
                  </a:lnTo>
                  <a:lnTo>
                    <a:pt x="438" y="968"/>
                  </a:lnTo>
                  <a:lnTo>
                    <a:pt x="440" y="968"/>
                  </a:lnTo>
                  <a:close/>
                  <a:moveTo>
                    <a:pt x="409" y="108"/>
                  </a:moveTo>
                  <a:lnTo>
                    <a:pt x="411" y="108"/>
                  </a:lnTo>
                  <a:lnTo>
                    <a:pt x="409" y="108"/>
                  </a:lnTo>
                  <a:close/>
                  <a:moveTo>
                    <a:pt x="880" y="417"/>
                  </a:moveTo>
                  <a:lnTo>
                    <a:pt x="882" y="417"/>
                  </a:lnTo>
                  <a:lnTo>
                    <a:pt x="880" y="417"/>
                  </a:lnTo>
                  <a:lnTo>
                    <a:pt x="880" y="415"/>
                  </a:lnTo>
                  <a:lnTo>
                    <a:pt x="880" y="417"/>
                  </a:lnTo>
                  <a:lnTo>
                    <a:pt x="880" y="415"/>
                  </a:lnTo>
                  <a:lnTo>
                    <a:pt x="880" y="417"/>
                  </a:lnTo>
                  <a:close/>
                  <a:moveTo>
                    <a:pt x="868" y="436"/>
                  </a:moveTo>
                  <a:lnTo>
                    <a:pt x="868" y="434"/>
                  </a:lnTo>
                  <a:lnTo>
                    <a:pt x="870" y="434"/>
                  </a:lnTo>
                  <a:lnTo>
                    <a:pt x="868" y="436"/>
                  </a:lnTo>
                  <a:close/>
                  <a:moveTo>
                    <a:pt x="425" y="999"/>
                  </a:moveTo>
                  <a:lnTo>
                    <a:pt x="425" y="1001"/>
                  </a:lnTo>
                  <a:lnTo>
                    <a:pt x="423" y="1001"/>
                  </a:lnTo>
                  <a:lnTo>
                    <a:pt x="425" y="1001"/>
                  </a:lnTo>
                  <a:lnTo>
                    <a:pt x="425" y="999"/>
                  </a:lnTo>
                  <a:close/>
                  <a:moveTo>
                    <a:pt x="828" y="526"/>
                  </a:moveTo>
                  <a:lnTo>
                    <a:pt x="830" y="525"/>
                  </a:lnTo>
                  <a:lnTo>
                    <a:pt x="830" y="526"/>
                  </a:lnTo>
                  <a:lnTo>
                    <a:pt x="828" y="526"/>
                  </a:lnTo>
                  <a:close/>
                  <a:moveTo>
                    <a:pt x="319" y="156"/>
                  </a:moveTo>
                  <a:lnTo>
                    <a:pt x="319" y="154"/>
                  </a:lnTo>
                  <a:lnTo>
                    <a:pt x="317" y="154"/>
                  </a:lnTo>
                  <a:lnTo>
                    <a:pt x="319" y="154"/>
                  </a:lnTo>
                  <a:lnTo>
                    <a:pt x="319" y="156"/>
                  </a:lnTo>
                  <a:close/>
                  <a:moveTo>
                    <a:pt x="267" y="68"/>
                  </a:moveTo>
                  <a:lnTo>
                    <a:pt x="267" y="70"/>
                  </a:lnTo>
                  <a:lnTo>
                    <a:pt x="267" y="68"/>
                  </a:lnTo>
                  <a:close/>
                  <a:moveTo>
                    <a:pt x="866" y="430"/>
                  </a:moveTo>
                  <a:lnTo>
                    <a:pt x="868" y="430"/>
                  </a:lnTo>
                  <a:lnTo>
                    <a:pt x="866" y="430"/>
                  </a:lnTo>
                  <a:close/>
                  <a:moveTo>
                    <a:pt x="868" y="434"/>
                  </a:moveTo>
                  <a:lnTo>
                    <a:pt x="868" y="436"/>
                  </a:lnTo>
                  <a:lnTo>
                    <a:pt x="868" y="434"/>
                  </a:lnTo>
                  <a:close/>
                  <a:moveTo>
                    <a:pt x="265" y="46"/>
                  </a:moveTo>
                  <a:lnTo>
                    <a:pt x="265" y="48"/>
                  </a:lnTo>
                  <a:lnTo>
                    <a:pt x="265" y="46"/>
                  </a:lnTo>
                  <a:lnTo>
                    <a:pt x="265" y="48"/>
                  </a:lnTo>
                  <a:lnTo>
                    <a:pt x="265" y="46"/>
                  </a:lnTo>
                  <a:close/>
                  <a:moveTo>
                    <a:pt x="66" y="538"/>
                  </a:moveTo>
                  <a:lnTo>
                    <a:pt x="64" y="538"/>
                  </a:lnTo>
                  <a:lnTo>
                    <a:pt x="66" y="538"/>
                  </a:lnTo>
                  <a:close/>
                  <a:moveTo>
                    <a:pt x="434" y="970"/>
                  </a:moveTo>
                  <a:lnTo>
                    <a:pt x="434" y="968"/>
                  </a:lnTo>
                  <a:lnTo>
                    <a:pt x="434" y="970"/>
                  </a:lnTo>
                  <a:close/>
                  <a:moveTo>
                    <a:pt x="58" y="187"/>
                  </a:moveTo>
                  <a:lnTo>
                    <a:pt x="58" y="189"/>
                  </a:lnTo>
                  <a:lnTo>
                    <a:pt x="58" y="187"/>
                  </a:lnTo>
                  <a:close/>
                  <a:moveTo>
                    <a:pt x="386" y="1058"/>
                  </a:moveTo>
                  <a:lnTo>
                    <a:pt x="384" y="1058"/>
                  </a:lnTo>
                  <a:lnTo>
                    <a:pt x="386" y="1058"/>
                  </a:lnTo>
                  <a:close/>
                  <a:moveTo>
                    <a:pt x="115" y="638"/>
                  </a:moveTo>
                  <a:lnTo>
                    <a:pt x="114" y="638"/>
                  </a:lnTo>
                  <a:lnTo>
                    <a:pt x="115" y="638"/>
                  </a:lnTo>
                  <a:close/>
                  <a:moveTo>
                    <a:pt x="855" y="492"/>
                  </a:moveTo>
                  <a:lnTo>
                    <a:pt x="855" y="494"/>
                  </a:lnTo>
                  <a:lnTo>
                    <a:pt x="855" y="492"/>
                  </a:lnTo>
                  <a:close/>
                  <a:moveTo>
                    <a:pt x="0" y="41"/>
                  </a:moveTo>
                  <a:lnTo>
                    <a:pt x="0" y="39"/>
                  </a:lnTo>
                  <a:lnTo>
                    <a:pt x="2" y="39"/>
                  </a:lnTo>
                  <a:lnTo>
                    <a:pt x="0" y="41"/>
                  </a:lnTo>
                  <a:close/>
                  <a:moveTo>
                    <a:pt x="175" y="29"/>
                  </a:moveTo>
                  <a:lnTo>
                    <a:pt x="177" y="29"/>
                  </a:lnTo>
                  <a:lnTo>
                    <a:pt x="175" y="31"/>
                  </a:lnTo>
                  <a:lnTo>
                    <a:pt x="175" y="29"/>
                  </a:lnTo>
                  <a:close/>
                  <a:moveTo>
                    <a:pt x="313" y="164"/>
                  </a:moveTo>
                  <a:lnTo>
                    <a:pt x="311" y="164"/>
                  </a:lnTo>
                  <a:lnTo>
                    <a:pt x="313" y="164"/>
                  </a:lnTo>
                  <a:close/>
                  <a:moveTo>
                    <a:pt x="64" y="538"/>
                  </a:moveTo>
                  <a:lnTo>
                    <a:pt x="62" y="538"/>
                  </a:lnTo>
                  <a:lnTo>
                    <a:pt x="64" y="538"/>
                  </a:lnTo>
                  <a:close/>
                  <a:moveTo>
                    <a:pt x="302" y="171"/>
                  </a:moveTo>
                  <a:lnTo>
                    <a:pt x="302" y="169"/>
                  </a:lnTo>
                  <a:lnTo>
                    <a:pt x="302" y="171"/>
                  </a:lnTo>
                  <a:close/>
                  <a:moveTo>
                    <a:pt x="66" y="536"/>
                  </a:moveTo>
                  <a:lnTo>
                    <a:pt x="64" y="536"/>
                  </a:lnTo>
                  <a:lnTo>
                    <a:pt x="64" y="538"/>
                  </a:lnTo>
                  <a:lnTo>
                    <a:pt x="64" y="536"/>
                  </a:lnTo>
                  <a:lnTo>
                    <a:pt x="64" y="538"/>
                  </a:lnTo>
                  <a:lnTo>
                    <a:pt x="64" y="536"/>
                  </a:lnTo>
                  <a:lnTo>
                    <a:pt x="66" y="536"/>
                  </a:lnTo>
                  <a:close/>
                  <a:moveTo>
                    <a:pt x="859" y="478"/>
                  </a:moveTo>
                  <a:lnTo>
                    <a:pt x="859" y="480"/>
                  </a:lnTo>
                  <a:lnTo>
                    <a:pt x="859" y="478"/>
                  </a:lnTo>
                  <a:close/>
                  <a:moveTo>
                    <a:pt x="39" y="238"/>
                  </a:moveTo>
                  <a:lnTo>
                    <a:pt x="41" y="238"/>
                  </a:lnTo>
                  <a:lnTo>
                    <a:pt x="39" y="238"/>
                  </a:lnTo>
                  <a:lnTo>
                    <a:pt x="41" y="238"/>
                  </a:lnTo>
                  <a:lnTo>
                    <a:pt x="39" y="238"/>
                  </a:lnTo>
                  <a:close/>
                  <a:moveTo>
                    <a:pt x="519" y="876"/>
                  </a:moveTo>
                  <a:lnTo>
                    <a:pt x="519" y="878"/>
                  </a:lnTo>
                  <a:lnTo>
                    <a:pt x="519" y="876"/>
                  </a:lnTo>
                  <a:close/>
                  <a:moveTo>
                    <a:pt x="33" y="144"/>
                  </a:moveTo>
                  <a:lnTo>
                    <a:pt x="33" y="146"/>
                  </a:lnTo>
                  <a:lnTo>
                    <a:pt x="31" y="146"/>
                  </a:lnTo>
                  <a:lnTo>
                    <a:pt x="33" y="146"/>
                  </a:lnTo>
                  <a:lnTo>
                    <a:pt x="31" y="146"/>
                  </a:lnTo>
                  <a:lnTo>
                    <a:pt x="31" y="144"/>
                  </a:lnTo>
                  <a:lnTo>
                    <a:pt x="33" y="144"/>
                  </a:lnTo>
                  <a:close/>
                  <a:moveTo>
                    <a:pt x="283" y="110"/>
                  </a:moveTo>
                  <a:lnTo>
                    <a:pt x="283" y="112"/>
                  </a:lnTo>
                  <a:lnTo>
                    <a:pt x="283" y="110"/>
                  </a:lnTo>
                  <a:close/>
                  <a:moveTo>
                    <a:pt x="29" y="135"/>
                  </a:moveTo>
                  <a:lnTo>
                    <a:pt x="29" y="133"/>
                  </a:lnTo>
                  <a:lnTo>
                    <a:pt x="29" y="135"/>
                  </a:lnTo>
                  <a:close/>
                  <a:moveTo>
                    <a:pt x="421" y="1022"/>
                  </a:moveTo>
                  <a:lnTo>
                    <a:pt x="419" y="1022"/>
                  </a:lnTo>
                  <a:lnTo>
                    <a:pt x="421" y="1020"/>
                  </a:lnTo>
                  <a:lnTo>
                    <a:pt x="421" y="1022"/>
                  </a:lnTo>
                  <a:close/>
                  <a:moveTo>
                    <a:pt x="39" y="156"/>
                  </a:moveTo>
                  <a:lnTo>
                    <a:pt x="41" y="156"/>
                  </a:lnTo>
                  <a:lnTo>
                    <a:pt x="39" y="156"/>
                  </a:lnTo>
                  <a:lnTo>
                    <a:pt x="41" y="156"/>
                  </a:lnTo>
                  <a:lnTo>
                    <a:pt x="39" y="156"/>
                  </a:lnTo>
                  <a:close/>
                  <a:moveTo>
                    <a:pt x="67" y="542"/>
                  </a:moveTo>
                  <a:lnTo>
                    <a:pt x="66" y="542"/>
                  </a:lnTo>
                  <a:lnTo>
                    <a:pt x="67" y="542"/>
                  </a:lnTo>
                  <a:close/>
                  <a:moveTo>
                    <a:pt x="354" y="179"/>
                  </a:moveTo>
                  <a:lnTo>
                    <a:pt x="354" y="181"/>
                  </a:lnTo>
                  <a:lnTo>
                    <a:pt x="354" y="179"/>
                  </a:lnTo>
                  <a:close/>
                  <a:moveTo>
                    <a:pt x="73" y="540"/>
                  </a:moveTo>
                  <a:lnTo>
                    <a:pt x="73" y="542"/>
                  </a:lnTo>
                  <a:lnTo>
                    <a:pt x="73" y="540"/>
                  </a:lnTo>
                  <a:close/>
                  <a:moveTo>
                    <a:pt x="37" y="240"/>
                  </a:moveTo>
                  <a:lnTo>
                    <a:pt x="39" y="240"/>
                  </a:lnTo>
                  <a:lnTo>
                    <a:pt x="37" y="240"/>
                  </a:lnTo>
                  <a:close/>
                  <a:moveTo>
                    <a:pt x="417" y="94"/>
                  </a:moveTo>
                  <a:lnTo>
                    <a:pt x="417" y="96"/>
                  </a:lnTo>
                  <a:lnTo>
                    <a:pt x="417" y="94"/>
                  </a:lnTo>
                  <a:lnTo>
                    <a:pt x="415" y="94"/>
                  </a:lnTo>
                  <a:lnTo>
                    <a:pt x="417" y="94"/>
                  </a:lnTo>
                  <a:close/>
                  <a:moveTo>
                    <a:pt x="425" y="999"/>
                  </a:moveTo>
                  <a:lnTo>
                    <a:pt x="425" y="1001"/>
                  </a:lnTo>
                  <a:lnTo>
                    <a:pt x="425" y="999"/>
                  </a:lnTo>
                  <a:close/>
                  <a:moveTo>
                    <a:pt x="423" y="1003"/>
                  </a:moveTo>
                  <a:lnTo>
                    <a:pt x="421" y="1003"/>
                  </a:lnTo>
                  <a:lnTo>
                    <a:pt x="423" y="1003"/>
                  </a:lnTo>
                  <a:lnTo>
                    <a:pt x="423" y="1001"/>
                  </a:lnTo>
                  <a:lnTo>
                    <a:pt x="423" y="1003"/>
                  </a:lnTo>
                  <a:close/>
                  <a:moveTo>
                    <a:pt x="60" y="536"/>
                  </a:moveTo>
                  <a:lnTo>
                    <a:pt x="62" y="536"/>
                  </a:lnTo>
                  <a:lnTo>
                    <a:pt x="60" y="536"/>
                  </a:lnTo>
                  <a:close/>
                  <a:moveTo>
                    <a:pt x="39" y="242"/>
                  </a:moveTo>
                  <a:lnTo>
                    <a:pt x="39" y="244"/>
                  </a:lnTo>
                  <a:lnTo>
                    <a:pt x="39" y="242"/>
                  </a:lnTo>
                  <a:close/>
                  <a:moveTo>
                    <a:pt x="402" y="1035"/>
                  </a:moveTo>
                  <a:lnTo>
                    <a:pt x="403" y="1035"/>
                  </a:lnTo>
                  <a:lnTo>
                    <a:pt x="403" y="1037"/>
                  </a:lnTo>
                  <a:lnTo>
                    <a:pt x="402" y="1037"/>
                  </a:lnTo>
                  <a:lnTo>
                    <a:pt x="402" y="1035"/>
                  </a:lnTo>
                  <a:close/>
                  <a:moveTo>
                    <a:pt x="411" y="62"/>
                  </a:moveTo>
                  <a:lnTo>
                    <a:pt x="411" y="64"/>
                  </a:lnTo>
                  <a:lnTo>
                    <a:pt x="411" y="62"/>
                  </a:lnTo>
                  <a:close/>
                  <a:moveTo>
                    <a:pt x="48" y="194"/>
                  </a:moveTo>
                  <a:lnTo>
                    <a:pt x="50" y="194"/>
                  </a:lnTo>
                  <a:lnTo>
                    <a:pt x="48" y="194"/>
                  </a:lnTo>
                  <a:close/>
                  <a:moveTo>
                    <a:pt x="83" y="571"/>
                  </a:moveTo>
                  <a:lnTo>
                    <a:pt x="81" y="571"/>
                  </a:lnTo>
                  <a:lnTo>
                    <a:pt x="81" y="569"/>
                  </a:lnTo>
                  <a:lnTo>
                    <a:pt x="83" y="569"/>
                  </a:lnTo>
                  <a:lnTo>
                    <a:pt x="83" y="571"/>
                  </a:lnTo>
                  <a:close/>
                  <a:moveTo>
                    <a:pt x="313" y="160"/>
                  </a:moveTo>
                  <a:lnTo>
                    <a:pt x="311" y="160"/>
                  </a:lnTo>
                  <a:lnTo>
                    <a:pt x="313" y="160"/>
                  </a:lnTo>
                  <a:close/>
                  <a:moveTo>
                    <a:pt x="828" y="526"/>
                  </a:moveTo>
                  <a:lnTo>
                    <a:pt x="830" y="526"/>
                  </a:lnTo>
                  <a:lnTo>
                    <a:pt x="828" y="526"/>
                  </a:lnTo>
                  <a:close/>
                  <a:moveTo>
                    <a:pt x="271" y="54"/>
                  </a:moveTo>
                  <a:lnTo>
                    <a:pt x="271" y="56"/>
                  </a:lnTo>
                  <a:lnTo>
                    <a:pt x="271" y="54"/>
                  </a:lnTo>
                  <a:lnTo>
                    <a:pt x="271" y="56"/>
                  </a:lnTo>
                  <a:lnTo>
                    <a:pt x="271" y="54"/>
                  </a:lnTo>
                  <a:close/>
                  <a:moveTo>
                    <a:pt x="411" y="135"/>
                  </a:moveTo>
                  <a:lnTo>
                    <a:pt x="409" y="135"/>
                  </a:lnTo>
                  <a:lnTo>
                    <a:pt x="411" y="135"/>
                  </a:lnTo>
                  <a:close/>
                  <a:moveTo>
                    <a:pt x="413" y="93"/>
                  </a:moveTo>
                  <a:lnTo>
                    <a:pt x="415" y="93"/>
                  </a:lnTo>
                  <a:lnTo>
                    <a:pt x="413" y="93"/>
                  </a:lnTo>
                  <a:close/>
                  <a:moveTo>
                    <a:pt x="882" y="413"/>
                  </a:moveTo>
                  <a:lnTo>
                    <a:pt x="882" y="411"/>
                  </a:lnTo>
                  <a:lnTo>
                    <a:pt x="882" y="413"/>
                  </a:lnTo>
                  <a:close/>
                  <a:moveTo>
                    <a:pt x="62" y="538"/>
                  </a:moveTo>
                  <a:lnTo>
                    <a:pt x="62" y="540"/>
                  </a:lnTo>
                  <a:lnTo>
                    <a:pt x="62" y="538"/>
                  </a:lnTo>
                  <a:close/>
                  <a:moveTo>
                    <a:pt x="29" y="135"/>
                  </a:moveTo>
                  <a:lnTo>
                    <a:pt x="31" y="135"/>
                  </a:lnTo>
                  <a:lnTo>
                    <a:pt x="29" y="135"/>
                  </a:lnTo>
                  <a:close/>
                  <a:moveTo>
                    <a:pt x="25" y="85"/>
                  </a:moveTo>
                  <a:lnTo>
                    <a:pt x="23" y="85"/>
                  </a:lnTo>
                  <a:lnTo>
                    <a:pt x="25" y="85"/>
                  </a:lnTo>
                  <a:close/>
                  <a:moveTo>
                    <a:pt x="411" y="1029"/>
                  </a:moveTo>
                  <a:lnTo>
                    <a:pt x="409" y="1029"/>
                  </a:lnTo>
                  <a:lnTo>
                    <a:pt x="411" y="1029"/>
                  </a:lnTo>
                  <a:close/>
                  <a:moveTo>
                    <a:pt x="73" y="544"/>
                  </a:moveTo>
                  <a:lnTo>
                    <a:pt x="71" y="544"/>
                  </a:lnTo>
                  <a:lnTo>
                    <a:pt x="73" y="544"/>
                  </a:lnTo>
                  <a:close/>
                  <a:moveTo>
                    <a:pt x="200" y="52"/>
                  </a:moveTo>
                  <a:lnTo>
                    <a:pt x="198" y="52"/>
                  </a:lnTo>
                  <a:lnTo>
                    <a:pt x="200" y="52"/>
                  </a:lnTo>
                  <a:close/>
                  <a:moveTo>
                    <a:pt x="33" y="133"/>
                  </a:moveTo>
                  <a:lnTo>
                    <a:pt x="33" y="135"/>
                  </a:lnTo>
                  <a:lnTo>
                    <a:pt x="33" y="133"/>
                  </a:lnTo>
                  <a:close/>
                  <a:moveTo>
                    <a:pt x="444" y="135"/>
                  </a:moveTo>
                  <a:lnTo>
                    <a:pt x="446" y="135"/>
                  </a:lnTo>
                  <a:lnTo>
                    <a:pt x="444" y="135"/>
                  </a:lnTo>
                  <a:close/>
                  <a:moveTo>
                    <a:pt x="887" y="409"/>
                  </a:moveTo>
                  <a:lnTo>
                    <a:pt x="887" y="407"/>
                  </a:lnTo>
                  <a:lnTo>
                    <a:pt x="887" y="409"/>
                  </a:lnTo>
                  <a:close/>
                  <a:moveTo>
                    <a:pt x="75" y="548"/>
                  </a:moveTo>
                  <a:lnTo>
                    <a:pt x="73" y="548"/>
                  </a:lnTo>
                  <a:lnTo>
                    <a:pt x="75" y="548"/>
                  </a:lnTo>
                  <a:close/>
                  <a:moveTo>
                    <a:pt x="430" y="133"/>
                  </a:moveTo>
                  <a:lnTo>
                    <a:pt x="428" y="133"/>
                  </a:lnTo>
                  <a:lnTo>
                    <a:pt x="430" y="133"/>
                  </a:lnTo>
                  <a:close/>
                  <a:moveTo>
                    <a:pt x="300" y="183"/>
                  </a:moveTo>
                  <a:lnTo>
                    <a:pt x="302" y="183"/>
                  </a:lnTo>
                  <a:lnTo>
                    <a:pt x="300" y="183"/>
                  </a:lnTo>
                  <a:close/>
                  <a:moveTo>
                    <a:pt x="52" y="183"/>
                  </a:moveTo>
                  <a:lnTo>
                    <a:pt x="54" y="183"/>
                  </a:lnTo>
                  <a:lnTo>
                    <a:pt x="52" y="183"/>
                  </a:lnTo>
                  <a:close/>
                  <a:moveTo>
                    <a:pt x="73" y="542"/>
                  </a:moveTo>
                  <a:lnTo>
                    <a:pt x="71" y="542"/>
                  </a:lnTo>
                  <a:lnTo>
                    <a:pt x="73" y="542"/>
                  </a:lnTo>
                  <a:lnTo>
                    <a:pt x="71" y="542"/>
                  </a:lnTo>
                  <a:lnTo>
                    <a:pt x="73" y="542"/>
                  </a:lnTo>
                  <a:close/>
                  <a:moveTo>
                    <a:pt x="188" y="46"/>
                  </a:moveTo>
                  <a:lnTo>
                    <a:pt x="190" y="46"/>
                  </a:lnTo>
                  <a:lnTo>
                    <a:pt x="188" y="46"/>
                  </a:lnTo>
                  <a:close/>
                  <a:moveTo>
                    <a:pt x="425" y="1004"/>
                  </a:moveTo>
                  <a:lnTo>
                    <a:pt x="427" y="1004"/>
                  </a:lnTo>
                  <a:lnTo>
                    <a:pt x="425" y="1004"/>
                  </a:lnTo>
                  <a:close/>
                  <a:moveTo>
                    <a:pt x="273" y="54"/>
                  </a:moveTo>
                  <a:lnTo>
                    <a:pt x="271" y="54"/>
                  </a:lnTo>
                  <a:lnTo>
                    <a:pt x="273" y="54"/>
                  </a:lnTo>
                  <a:close/>
                  <a:moveTo>
                    <a:pt x="256" y="62"/>
                  </a:moveTo>
                  <a:lnTo>
                    <a:pt x="254" y="62"/>
                  </a:lnTo>
                  <a:lnTo>
                    <a:pt x="256" y="62"/>
                  </a:lnTo>
                  <a:close/>
                  <a:moveTo>
                    <a:pt x="35" y="144"/>
                  </a:moveTo>
                  <a:lnTo>
                    <a:pt x="35" y="146"/>
                  </a:lnTo>
                  <a:lnTo>
                    <a:pt x="35" y="144"/>
                  </a:lnTo>
                  <a:lnTo>
                    <a:pt x="35" y="146"/>
                  </a:lnTo>
                  <a:lnTo>
                    <a:pt x="35" y="144"/>
                  </a:lnTo>
                  <a:close/>
                  <a:moveTo>
                    <a:pt x="71" y="540"/>
                  </a:moveTo>
                  <a:lnTo>
                    <a:pt x="71" y="542"/>
                  </a:lnTo>
                  <a:lnTo>
                    <a:pt x="71" y="540"/>
                  </a:lnTo>
                  <a:close/>
                  <a:moveTo>
                    <a:pt x="438" y="968"/>
                  </a:moveTo>
                  <a:lnTo>
                    <a:pt x="436" y="968"/>
                  </a:lnTo>
                  <a:lnTo>
                    <a:pt x="438" y="968"/>
                  </a:lnTo>
                  <a:close/>
                  <a:moveTo>
                    <a:pt x="54" y="519"/>
                  </a:moveTo>
                  <a:lnTo>
                    <a:pt x="52" y="519"/>
                  </a:lnTo>
                  <a:lnTo>
                    <a:pt x="54" y="519"/>
                  </a:lnTo>
                  <a:close/>
                  <a:moveTo>
                    <a:pt x="35" y="261"/>
                  </a:moveTo>
                  <a:lnTo>
                    <a:pt x="37" y="261"/>
                  </a:lnTo>
                  <a:lnTo>
                    <a:pt x="35" y="261"/>
                  </a:lnTo>
                  <a:close/>
                  <a:moveTo>
                    <a:pt x="355" y="175"/>
                  </a:moveTo>
                  <a:lnTo>
                    <a:pt x="355" y="177"/>
                  </a:lnTo>
                  <a:lnTo>
                    <a:pt x="354" y="177"/>
                  </a:lnTo>
                  <a:lnTo>
                    <a:pt x="355" y="177"/>
                  </a:lnTo>
                  <a:lnTo>
                    <a:pt x="354" y="177"/>
                  </a:lnTo>
                  <a:lnTo>
                    <a:pt x="354" y="175"/>
                  </a:lnTo>
                  <a:lnTo>
                    <a:pt x="355" y="175"/>
                  </a:lnTo>
                  <a:lnTo>
                    <a:pt x="354" y="175"/>
                  </a:lnTo>
                  <a:lnTo>
                    <a:pt x="355" y="175"/>
                  </a:lnTo>
                  <a:close/>
                  <a:moveTo>
                    <a:pt x="89" y="296"/>
                  </a:moveTo>
                  <a:lnTo>
                    <a:pt x="90" y="296"/>
                  </a:lnTo>
                  <a:lnTo>
                    <a:pt x="89" y="296"/>
                  </a:lnTo>
                  <a:close/>
                  <a:moveTo>
                    <a:pt x="411" y="139"/>
                  </a:moveTo>
                  <a:lnTo>
                    <a:pt x="411" y="141"/>
                  </a:lnTo>
                  <a:lnTo>
                    <a:pt x="411" y="139"/>
                  </a:lnTo>
                  <a:close/>
                  <a:moveTo>
                    <a:pt x="432" y="987"/>
                  </a:moveTo>
                  <a:lnTo>
                    <a:pt x="430" y="987"/>
                  </a:lnTo>
                  <a:lnTo>
                    <a:pt x="432" y="987"/>
                  </a:lnTo>
                  <a:close/>
                  <a:moveTo>
                    <a:pt x="546" y="764"/>
                  </a:moveTo>
                  <a:lnTo>
                    <a:pt x="546" y="763"/>
                  </a:lnTo>
                  <a:lnTo>
                    <a:pt x="546" y="764"/>
                  </a:lnTo>
                  <a:close/>
                  <a:moveTo>
                    <a:pt x="271" y="56"/>
                  </a:moveTo>
                  <a:lnTo>
                    <a:pt x="273" y="56"/>
                  </a:lnTo>
                  <a:lnTo>
                    <a:pt x="271" y="56"/>
                  </a:lnTo>
                  <a:close/>
                  <a:moveTo>
                    <a:pt x="52" y="275"/>
                  </a:moveTo>
                  <a:lnTo>
                    <a:pt x="50" y="275"/>
                  </a:lnTo>
                  <a:lnTo>
                    <a:pt x="52" y="275"/>
                  </a:lnTo>
                  <a:close/>
                  <a:moveTo>
                    <a:pt x="546" y="755"/>
                  </a:moveTo>
                  <a:lnTo>
                    <a:pt x="544" y="755"/>
                  </a:lnTo>
                  <a:lnTo>
                    <a:pt x="546" y="755"/>
                  </a:lnTo>
                  <a:close/>
                  <a:moveTo>
                    <a:pt x="46" y="271"/>
                  </a:moveTo>
                  <a:lnTo>
                    <a:pt x="46" y="273"/>
                  </a:lnTo>
                  <a:lnTo>
                    <a:pt x="46" y="271"/>
                  </a:lnTo>
                  <a:close/>
                  <a:moveTo>
                    <a:pt x="114" y="672"/>
                  </a:moveTo>
                  <a:lnTo>
                    <a:pt x="114" y="670"/>
                  </a:lnTo>
                  <a:lnTo>
                    <a:pt x="114" y="672"/>
                  </a:lnTo>
                  <a:close/>
                  <a:moveTo>
                    <a:pt x="56" y="189"/>
                  </a:moveTo>
                  <a:lnTo>
                    <a:pt x="58" y="189"/>
                  </a:lnTo>
                  <a:lnTo>
                    <a:pt x="56" y="189"/>
                  </a:lnTo>
                  <a:close/>
                  <a:moveTo>
                    <a:pt x="311" y="160"/>
                  </a:moveTo>
                  <a:lnTo>
                    <a:pt x="311" y="162"/>
                  </a:lnTo>
                  <a:lnTo>
                    <a:pt x="309" y="162"/>
                  </a:lnTo>
                  <a:lnTo>
                    <a:pt x="309" y="160"/>
                  </a:lnTo>
                  <a:lnTo>
                    <a:pt x="311" y="160"/>
                  </a:lnTo>
                  <a:close/>
                  <a:moveTo>
                    <a:pt x="69" y="548"/>
                  </a:moveTo>
                  <a:lnTo>
                    <a:pt x="69" y="546"/>
                  </a:lnTo>
                  <a:lnTo>
                    <a:pt x="69" y="548"/>
                  </a:lnTo>
                  <a:close/>
                  <a:moveTo>
                    <a:pt x="862" y="697"/>
                  </a:moveTo>
                  <a:lnTo>
                    <a:pt x="864" y="697"/>
                  </a:lnTo>
                  <a:lnTo>
                    <a:pt x="864" y="695"/>
                  </a:lnTo>
                  <a:lnTo>
                    <a:pt x="864" y="697"/>
                  </a:lnTo>
                  <a:lnTo>
                    <a:pt x="862" y="697"/>
                  </a:lnTo>
                  <a:close/>
                  <a:moveTo>
                    <a:pt x="405" y="135"/>
                  </a:moveTo>
                  <a:lnTo>
                    <a:pt x="405" y="137"/>
                  </a:lnTo>
                  <a:lnTo>
                    <a:pt x="405" y="135"/>
                  </a:lnTo>
                  <a:close/>
                  <a:moveTo>
                    <a:pt x="388" y="1056"/>
                  </a:moveTo>
                  <a:lnTo>
                    <a:pt x="386" y="1056"/>
                  </a:lnTo>
                  <a:lnTo>
                    <a:pt x="388" y="1056"/>
                  </a:lnTo>
                  <a:close/>
                  <a:moveTo>
                    <a:pt x="411" y="48"/>
                  </a:moveTo>
                  <a:lnTo>
                    <a:pt x="413" y="48"/>
                  </a:lnTo>
                  <a:lnTo>
                    <a:pt x="411" y="48"/>
                  </a:lnTo>
                  <a:close/>
                  <a:moveTo>
                    <a:pt x="400" y="141"/>
                  </a:moveTo>
                  <a:lnTo>
                    <a:pt x="402" y="141"/>
                  </a:lnTo>
                  <a:lnTo>
                    <a:pt x="400" y="141"/>
                  </a:lnTo>
                  <a:close/>
                  <a:moveTo>
                    <a:pt x="411" y="108"/>
                  </a:moveTo>
                  <a:lnTo>
                    <a:pt x="413" y="108"/>
                  </a:lnTo>
                  <a:lnTo>
                    <a:pt x="411" y="108"/>
                  </a:lnTo>
                  <a:lnTo>
                    <a:pt x="413" y="108"/>
                  </a:lnTo>
                  <a:lnTo>
                    <a:pt x="411" y="108"/>
                  </a:lnTo>
                  <a:close/>
                  <a:moveTo>
                    <a:pt x="450" y="953"/>
                  </a:moveTo>
                  <a:lnTo>
                    <a:pt x="450" y="955"/>
                  </a:lnTo>
                  <a:lnTo>
                    <a:pt x="450" y="953"/>
                  </a:lnTo>
                  <a:close/>
                  <a:moveTo>
                    <a:pt x="50" y="519"/>
                  </a:moveTo>
                  <a:lnTo>
                    <a:pt x="50" y="521"/>
                  </a:lnTo>
                  <a:lnTo>
                    <a:pt x="50" y="519"/>
                  </a:lnTo>
                  <a:close/>
                  <a:moveTo>
                    <a:pt x="67" y="542"/>
                  </a:moveTo>
                  <a:lnTo>
                    <a:pt x="69" y="542"/>
                  </a:lnTo>
                  <a:lnTo>
                    <a:pt x="67" y="542"/>
                  </a:lnTo>
                  <a:close/>
                  <a:moveTo>
                    <a:pt x="540" y="824"/>
                  </a:moveTo>
                  <a:lnTo>
                    <a:pt x="540" y="826"/>
                  </a:lnTo>
                  <a:lnTo>
                    <a:pt x="540" y="824"/>
                  </a:lnTo>
                  <a:close/>
                  <a:moveTo>
                    <a:pt x="44" y="223"/>
                  </a:moveTo>
                  <a:lnTo>
                    <a:pt x="46" y="223"/>
                  </a:lnTo>
                  <a:lnTo>
                    <a:pt x="46" y="225"/>
                  </a:lnTo>
                  <a:lnTo>
                    <a:pt x="44" y="225"/>
                  </a:lnTo>
                  <a:lnTo>
                    <a:pt x="44" y="223"/>
                  </a:lnTo>
                  <a:lnTo>
                    <a:pt x="44" y="225"/>
                  </a:lnTo>
                  <a:lnTo>
                    <a:pt x="44" y="223"/>
                  </a:lnTo>
                  <a:close/>
                  <a:moveTo>
                    <a:pt x="54" y="521"/>
                  </a:moveTo>
                  <a:lnTo>
                    <a:pt x="54" y="523"/>
                  </a:lnTo>
                  <a:lnTo>
                    <a:pt x="54" y="521"/>
                  </a:lnTo>
                  <a:close/>
                  <a:moveTo>
                    <a:pt x="115" y="695"/>
                  </a:moveTo>
                  <a:lnTo>
                    <a:pt x="115" y="693"/>
                  </a:lnTo>
                  <a:lnTo>
                    <a:pt x="115" y="695"/>
                  </a:lnTo>
                  <a:close/>
                  <a:moveTo>
                    <a:pt x="269" y="66"/>
                  </a:moveTo>
                  <a:lnTo>
                    <a:pt x="267" y="66"/>
                  </a:lnTo>
                  <a:lnTo>
                    <a:pt x="269" y="66"/>
                  </a:lnTo>
                  <a:close/>
                  <a:moveTo>
                    <a:pt x="887" y="409"/>
                  </a:moveTo>
                  <a:lnTo>
                    <a:pt x="887" y="411"/>
                  </a:lnTo>
                  <a:lnTo>
                    <a:pt x="887" y="409"/>
                  </a:lnTo>
                  <a:close/>
                  <a:moveTo>
                    <a:pt x="382" y="181"/>
                  </a:moveTo>
                  <a:lnTo>
                    <a:pt x="382" y="179"/>
                  </a:lnTo>
                  <a:lnTo>
                    <a:pt x="382" y="181"/>
                  </a:lnTo>
                  <a:close/>
                  <a:moveTo>
                    <a:pt x="100" y="622"/>
                  </a:moveTo>
                  <a:lnTo>
                    <a:pt x="102" y="622"/>
                  </a:lnTo>
                  <a:lnTo>
                    <a:pt x="100" y="622"/>
                  </a:lnTo>
                  <a:close/>
                  <a:moveTo>
                    <a:pt x="48" y="213"/>
                  </a:moveTo>
                  <a:lnTo>
                    <a:pt x="50" y="213"/>
                  </a:lnTo>
                  <a:lnTo>
                    <a:pt x="48" y="213"/>
                  </a:lnTo>
                  <a:close/>
                  <a:moveTo>
                    <a:pt x="398" y="164"/>
                  </a:moveTo>
                  <a:lnTo>
                    <a:pt x="398" y="165"/>
                  </a:lnTo>
                  <a:lnTo>
                    <a:pt x="398" y="164"/>
                  </a:lnTo>
                  <a:close/>
                  <a:moveTo>
                    <a:pt x="192" y="45"/>
                  </a:moveTo>
                  <a:lnTo>
                    <a:pt x="194" y="45"/>
                  </a:lnTo>
                  <a:lnTo>
                    <a:pt x="192" y="45"/>
                  </a:lnTo>
                  <a:close/>
                  <a:moveTo>
                    <a:pt x="279" y="104"/>
                  </a:moveTo>
                  <a:lnTo>
                    <a:pt x="279" y="106"/>
                  </a:lnTo>
                  <a:lnTo>
                    <a:pt x="279" y="104"/>
                  </a:lnTo>
                  <a:close/>
                  <a:moveTo>
                    <a:pt x="67" y="548"/>
                  </a:moveTo>
                  <a:lnTo>
                    <a:pt x="69" y="548"/>
                  </a:lnTo>
                  <a:lnTo>
                    <a:pt x="67" y="548"/>
                  </a:lnTo>
                  <a:lnTo>
                    <a:pt x="69" y="548"/>
                  </a:lnTo>
                  <a:lnTo>
                    <a:pt x="67" y="548"/>
                  </a:lnTo>
                  <a:close/>
                  <a:moveTo>
                    <a:pt x="56" y="525"/>
                  </a:moveTo>
                  <a:lnTo>
                    <a:pt x="56" y="526"/>
                  </a:lnTo>
                  <a:lnTo>
                    <a:pt x="56" y="525"/>
                  </a:lnTo>
                  <a:close/>
                  <a:moveTo>
                    <a:pt x="413" y="93"/>
                  </a:moveTo>
                  <a:lnTo>
                    <a:pt x="413" y="94"/>
                  </a:lnTo>
                  <a:lnTo>
                    <a:pt x="413" y="93"/>
                  </a:lnTo>
                  <a:close/>
                  <a:moveTo>
                    <a:pt x="313" y="167"/>
                  </a:moveTo>
                  <a:lnTo>
                    <a:pt x="311" y="167"/>
                  </a:lnTo>
                  <a:lnTo>
                    <a:pt x="313" y="167"/>
                  </a:lnTo>
                  <a:close/>
                  <a:moveTo>
                    <a:pt x="41" y="231"/>
                  </a:moveTo>
                  <a:lnTo>
                    <a:pt x="42" y="231"/>
                  </a:lnTo>
                  <a:lnTo>
                    <a:pt x="41" y="231"/>
                  </a:lnTo>
                  <a:close/>
                  <a:moveTo>
                    <a:pt x="409" y="60"/>
                  </a:moveTo>
                  <a:lnTo>
                    <a:pt x="409" y="62"/>
                  </a:lnTo>
                  <a:lnTo>
                    <a:pt x="409" y="60"/>
                  </a:lnTo>
                  <a:close/>
                  <a:moveTo>
                    <a:pt x="60" y="536"/>
                  </a:moveTo>
                  <a:lnTo>
                    <a:pt x="60" y="534"/>
                  </a:lnTo>
                  <a:lnTo>
                    <a:pt x="60" y="536"/>
                  </a:lnTo>
                  <a:close/>
                  <a:moveTo>
                    <a:pt x="409" y="108"/>
                  </a:moveTo>
                  <a:lnTo>
                    <a:pt x="411" y="108"/>
                  </a:lnTo>
                  <a:lnTo>
                    <a:pt x="409" y="108"/>
                  </a:lnTo>
                  <a:close/>
                  <a:moveTo>
                    <a:pt x="321" y="156"/>
                  </a:moveTo>
                  <a:lnTo>
                    <a:pt x="319" y="156"/>
                  </a:lnTo>
                  <a:lnTo>
                    <a:pt x="321" y="156"/>
                  </a:lnTo>
                  <a:close/>
                  <a:moveTo>
                    <a:pt x="25" y="83"/>
                  </a:moveTo>
                  <a:lnTo>
                    <a:pt x="25" y="85"/>
                  </a:lnTo>
                  <a:lnTo>
                    <a:pt x="25" y="83"/>
                  </a:lnTo>
                  <a:close/>
                  <a:moveTo>
                    <a:pt x="19" y="83"/>
                  </a:moveTo>
                  <a:lnTo>
                    <a:pt x="21" y="83"/>
                  </a:lnTo>
                  <a:lnTo>
                    <a:pt x="19" y="83"/>
                  </a:lnTo>
                  <a:close/>
                  <a:moveTo>
                    <a:pt x="52" y="181"/>
                  </a:moveTo>
                  <a:lnTo>
                    <a:pt x="52" y="183"/>
                  </a:lnTo>
                  <a:lnTo>
                    <a:pt x="52" y="181"/>
                  </a:lnTo>
                  <a:close/>
                  <a:moveTo>
                    <a:pt x="54" y="185"/>
                  </a:moveTo>
                  <a:lnTo>
                    <a:pt x="54" y="187"/>
                  </a:lnTo>
                  <a:lnTo>
                    <a:pt x="54" y="185"/>
                  </a:lnTo>
                  <a:close/>
                  <a:moveTo>
                    <a:pt x="309" y="165"/>
                  </a:moveTo>
                  <a:lnTo>
                    <a:pt x="309" y="167"/>
                  </a:lnTo>
                  <a:lnTo>
                    <a:pt x="309" y="165"/>
                  </a:lnTo>
                  <a:close/>
                  <a:moveTo>
                    <a:pt x="140" y="10"/>
                  </a:moveTo>
                  <a:lnTo>
                    <a:pt x="138" y="10"/>
                  </a:lnTo>
                  <a:lnTo>
                    <a:pt x="140" y="10"/>
                  </a:lnTo>
                  <a:close/>
                  <a:moveTo>
                    <a:pt x="409" y="106"/>
                  </a:moveTo>
                  <a:lnTo>
                    <a:pt x="409" y="108"/>
                  </a:lnTo>
                  <a:lnTo>
                    <a:pt x="409" y="106"/>
                  </a:lnTo>
                  <a:close/>
                  <a:moveTo>
                    <a:pt x="897" y="394"/>
                  </a:moveTo>
                  <a:lnTo>
                    <a:pt x="897" y="396"/>
                  </a:lnTo>
                  <a:lnTo>
                    <a:pt x="897" y="394"/>
                  </a:lnTo>
                  <a:close/>
                  <a:moveTo>
                    <a:pt x="492" y="1026"/>
                  </a:moveTo>
                  <a:lnTo>
                    <a:pt x="490" y="1026"/>
                  </a:lnTo>
                  <a:lnTo>
                    <a:pt x="492" y="1026"/>
                  </a:lnTo>
                  <a:close/>
                  <a:moveTo>
                    <a:pt x="50" y="217"/>
                  </a:moveTo>
                  <a:lnTo>
                    <a:pt x="50" y="219"/>
                  </a:lnTo>
                  <a:lnTo>
                    <a:pt x="50" y="217"/>
                  </a:lnTo>
                  <a:close/>
                  <a:moveTo>
                    <a:pt x="430" y="974"/>
                  </a:moveTo>
                  <a:lnTo>
                    <a:pt x="432" y="974"/>
                  </a:lnTo>
                  <a:lnTo>
                    <a:pt x="430" y="974"/>
                  </a:lnTo>
                  <a:lnTo>
                    <a:pt x="432" y="974"/>
                  </a:lnTo>
                  <a:lnTo>
                    <a:pt x="430" y="974"/>
                  </a:lnTo>
                  <a:close/>
                  <a:moveTo>
                    <a:pt x="384" y="181"/>
                  </a:moveTo>
                  <a:lnTo>
                    <a:pt x="386" y="181"/>
                  </a:lnTo>
                  <a:lnTo>
                    <a:pt x="384" y="181"/>
                  </a:lnTo>
                  <a:close/>
                  <a:moveTo>
                    <a:pt x="31" y="133"/>
                  </a:moveTo>
                  <a:lnTo>
                    <a:pt x="31" y="135"/>
                  </a:lnTo>
                  <a:lnTo>
                    <a:pt x="31" y="133"/>
                  </a:lnTo>
                  <a:lnTo>
                    <a:pt x="31" y="135"/>
                  </a:lnTo>
                  <a:lnTo>
                    <a:pt x="31" y="133"/>
                  </a:lnTo>
                  <a:close/>
                  <a:moveTo>
                    <a:pt x="35" y="256"/>
                  </a:moveTo>
                  <a:lnTo>
                    <a:pt x="33" y="256"/>
                  </a:lnTo>
                  <a:lnTo>
                    <a:pt x="35" y="256"/>
                  </a:lnTo>
                  <a:close/>
                  <a:moveTo>
                    <a:pt x="56" y="185"/>
                  </a:moveTo>
                  <a:lnTo>
                    <a:pt x="54" y="185"/>
                  </a:lnTo>
                  <a:lnTo>
                    <a:pt x="54" y="183"/>
                  </a:lnTo>
                  <a:lnTo>
                    <a:pt x="56" y="183"/>
                  </a:lnTo>
                  <a:lnTo>
                    <a:pt x="56" y="185"/>
                  </a:lnTo>
                  <a:close/>
                  <a:moveTo>
                    <a:pt x="52" y="194"/>
                  </a:moveTo>
                  <a:lnTo>
                    <a:pt x="50" y="194"/>
                  </a:lnTo>
                  <a:lnTo>
                    <a:pt x="52" y="194"/>
                  </a:lnTo>
                  <a:close/>
                  <a:moveTo>
                    <a:pt x="304" y="179"/>
                  </a:moveTo>
                  <a:lnTo>
                    <a:pt x="304" y="181"/>
                  </a:lnTo>
                  <a:lnTo>
                    <a:pt x="304" y="179"/>
                  </a:lnTo>
                  <a:close/>
                  <a:moveTo>
                    <a:pt x="419" y="98"/>
                  </a:moveTo>
                  <a:lnTo>
                    <a:pt x="419" y="96"/>
                  </a:lnTo>
                  <a:lnTo>
                    <a:pt x="419" y="98"/>
                  </a:lnTo>
                  <a:close/>
                  <a:moveTo>
                    <a:pt x="413" y="108"/>
                  </a:moveTo>
                  <a:lnTo>
                    <a:pt x="411" y="108"/>
                  </a:lnTo>
                  <a:lnTo>
                    <a:pt x="413" y="108"/>
                  </a:lnTo>
                  <a:close/>
                  <a:moveTo>
                    <a:pt x="319" y="158"/>
                  </a:moveTo>
                  <a:lnTo>
                    <a:pt x="321" y="158"/>
                  </a:lnTo>
                  <a:lnTo>
                    <a:pt x="319" y="158"/>
                  </a:lnTo>
                  <a:close/>
                  <a:moveTo>
                    <a:pt x="392" y="1052"/>
                  </a:moveTo>
                  <a:lnTo>
                    <a:pt x="392" y="1054"/>
                  </a:lnTo>
                  <a:lnTo>
                    <a:pt x="392" y="1052"/>
                  </a:lnTo>
                  <a:lnTo>
                    <a:pt x="392" y="1054"/>
                  </a:lnTo>
                  <a:lnTo>
                    <a:pt x="392" y="1052"/>
                  </a:lnTo>
                  <a:close/>
                  <a:moveTo>
                    <a:pt x="58" y="173"/>
                  </a:moveTo>
                  <a:lnTo>
                    <a:pt x="56" y="173"/>
                  </a:lnTo>
                  <a:lnTo>
                    <a:pt x="58" y="173"/>
                  </a:lnTo>
                  <a:close/>
                  <a:moveTo>
                    <a:pt x="69" y="540"/>
                  </a:moveTo>
                  <a:lnTo>
                    <a:pt x="67" y="540"/>
                  </a:lnTo>
                  <a:lnTo>
                    <a:pt x="69" y="540"/>
                  </a:lnTo>
                  <a:close/>
                  <a:moveTo>
                    <a:pt x="336" y="160"/>
                  </a:moveTo>
                  <a:lnTo>
                    <a:pt x="334" y="160"/>
                  </a:lnTo>
                  <a:lnTo>
                    <a:pt x="336" y="160"/>
                  </a:lnTo>
                  <a:close/>
                  <a:moveTo>
                    <a:pt x="77" y="567"/>
                  </a:moveTo>
                  <a:lnTo>
                    <a:pt x="79" y="567"/>
                  </a:lnTo>
                  <a:lnTo>
                    <a:pt x="77" y="567"/>
                  </a:lnTo>
                  <a:lnTo>
                    <a:pt x="77" y="569"/>
                  </a:lnTo>
                  <a:lnTo>
                    <a:pt x="77" y="567"/>
                  </a:lnTo>
                  <a:close/>
                  <a:moveTo>
                    <a:pt x="317" y="160"/>
                  </a:moveTo>
                  <a:lnTo>
                    <a:pt x="317" y="162"/>
                  </a:lnTo>
                  <a:lnTo>
                    <a:pt x="317" y="160"/>
                  </a:lnTo>
                  <a:close/>
                  <a:moveTo>
                    <a:pt x="463" y="930"/>
                  </a:moveTo>
                  <a:lnTo>
                    <a:pt x="463" y="932"/>
                  </a:lnTo>
                  <a:lnTo>
                    <a:pt x="463" y="930"/>
                  </a:lnTo>
                  <a:close/>
                  <a:moveTo>
                    <a:pt x="432" y="987"/>
                  </a:moveTo>
                  <a:lnTo>
                    <a:pt x="430" y="987"/>
                  </a:lnTo>
                  <a:lnTo>
                    <a:pt x="432" y="987"/>
                  </a:lnTo>
                  <a:close/>
                  <a:moveTo>
                    <a:pt x="48" y="223"/>
                  </a:moveTo>
                  <a:lnTo>
                    <a:pt x="48" y="221"/>
                  </a:lnTo>
                  <a:lnTo>
                    <a:pt x="48" y="223"/>
                  </a:lnTo>
                  <a:close/>
                  <a:moveTo>
                    <a:pt x="42" y="267"/>
                  </a:moveTo>
                  <a:lnTo>
                    <a:pt x="42" y="265"/>
                  </a:lnTo>
                  <a:lnTo>
                    <a:pt x="42" y="267"/>
                  </a:lnTo>
                  <a:close/>
                  <a:moveTo>
                    <a:pt x="340" y="162"/>
                  </a:moveTo>
                  <a:lnTo>
                    <a:pt x="340" y="160"/>
                  </a:lnTo>
                  <a:lnTo>
                    <a:pt x="340" y="162"/>
                  </a:lnTo>
                  <a:close/>
                  <a:moveTo>
                    <a:pt x="48" y="221"/>
                  </a:moveTo>
                  <a:lnTo>
                    <a:pt x="48" y="219"/>
                  </a:lnTo>
                  <a:lnTo>
                    <a:pt x="48" y="221"/>
                  </a:lnTo>
                  <a:lnTo>
                    <a:pt x="48" y="219"/>
                  </a:lnTo>
                  <a:lnTo>
                    <a:pt x="48" y="221"/>
                  </a:lnTo>
                  <a:close/>
                  <a:moveTo>
                    <a:pt x="732" y="688"/>
                  </a:moveTo>
                  <a:lnTo>
                    <a:pt x="730" y="688"/>
                  </a:lnTo>
                  <a:lnTo>
                    <a:pt x="732" y="688"/>
                  </a:lnTo>
                  <a:close/>
                  <a:moveTo>
                    <a:pt x="44" y="171"/>
                  </a:moveTo>
                  <a:lnTo>
                    <a:pt x="46" y="171"/>
                  </a:lnTo>
                  <a:lnTo>
                    <a:pt x="44" y="171"/>
                  </a:lnTo>
                  <a:close/>
                  <a:moveTo>
                    <a:pt x="407" y="1031"/>
                  </a:moveTo>
                  <a:lnTo>
                    <a:pt x="405" y="1031"/>
                  </a:lnTo>
                  <a:lnTo>
                    <a:pt x="407" y="1031"/>
                  </a:lnTo>
                  <a:close/>
                  <a:moveTo>
                    <a:pt x="546" y="753"/>
                  </a:moveTo>
                  <a:lnTo>
                    <a:pt x="546" y="755"/>
                  </a:lnTo>
                  <a:lnTo>
                    <a:pt x="546" y="753"/>
                  </a:lnTo>
                  <a:close/>
                  <a:moveTo>
                    <a:pt x="56" y="526"/>
                  </a:moveTo>
                  <a:lnTo>
                    <a:pt x="56" y="525"/>
                  </a:lnTo>
                  <a:lnTo>
                    <a:pt x="56" y="526"/>
                  </a:lnTo>
                  <a:lnTo>
                    <a:pt x="56" y="525"/>
                  </a:lnTo>
                  <a:lnTo>
                    <a:pt x="56" y="526"/>
                  </a:lnTo>
                  <a:close/>
                  <a:moveTo>
                    <a:pt x="413" y="110"/>
                  </a:moveTo>
                  <a:lnTo>
                    <a:pt x="411" y="110"/>
                  </a:lnTo>
                  <a:lnTo>
                    <a:pt x="413" y="110"/>
                  </a:lnTo>
                  <a:close/>
                  <a:moveTo>
                    <a:pt x="417" y="119"/>
                  </a:moveTo>
                  <a:lnTo>
                    <a:pt x="417" y="121"/>
                  </a:lnTo>
                  <a:lnTo>
                    <a:pt x="417" y="119"/>
                  </a:lnTo>
                  <a:close/>
                  <a:moveTo>
                    <a:pt x="46" y="192"/>
                  </a:moveTo>
                  <a:lnTo>
                    <a:pt x="46" y="194"/>
                  </a:lnTo>
                  <a:lnTo>
                    <a:pt x="46" y="192"/>
                  </a:lnTo>
                  <a:close/>
                  <a:moveTo>
                    <a:pt x="58" y="526"/>
                  </a:moveTo>
                  <a:lnTo>
                    <a:pt x="56" y="526"/>
                  </a:lnTo>
                  <a:lnTo>
                    <a:pt x="58" y="526"/>
                  </a:lnTo>
                  <a:close/>
                  <a:moveTo>
                    <a:pt x="67" y="546"/>
                  </a:moveTo>
                  <a:lnTo>
                    <a:pt x="66" y="546"/>
                  </a:lnTo>
                  <a:lnTo>
                    <a:pt x="67" y="546"/>
                  </a:lnTo>
                  <a:close/>
                  <a:moveTo>
                    <a:pt x="73" y="542"/>
                  </a:moveTo>
                  <a:lnTo>
                    <a:pt x="71" y="542"/>
                  </a:lnTo>
                  <a:lnTo>
                    <a:pt x="73" y="542"/>
                  </a:lnTo>
                  <a:close/>
                  <a:moveTo>
                    <a:pt x="23" y="133"/>
                  </a:moveTo>
                  <a:lnTo>
                    <a:pt x="23" y="135"/>
                  </a:lnTo>
                  <a:lnTo>
                    <a:pt x="23" y="133"/>
                  </a:lnTo>
                  <a:close/>
                  <a:moveTo>
                    <a:pt x="104" y="624"/>
                  </a:moveTo>
                  <a:lnTo>
                    <a:pt x="104" y="626"/>
                  </a:lnTo>
                  <a:lnTo>
                    <a:pt x="104" y="624"/>
                  </a:lnTo>
                  <a:close/>
                  <a:moveTo>
                    <a:pt x="33" y="256"/>
                  </a:moveTo>
                  <a:lnTo>
                    <a:pt x="33" y="258"/>
                  </a:lnTo>
                  <a:lnTo>
                    <a:pt x="33" y="256"/>
                  </a:lnTo>
                  <a:close/>
                  <a:moveTo>
                    <a:pt x="455" y="943"/>
                  </a:moveTo>
                  <a:lnTo>
                    <a:pt x="457" y="943"/>
                  </a:lnTo>
                  <a:lnTo>
                    <a:pt x="455" y="943"/>
                  </a:lnTo>
                  <a:close/>
                  <a:moveTo>
                    <a:pt x="42" y="227"/>
                  </a:moveTo>
                  <a:lnTo>
                    <a:pt x="44" y="227"/>
                  </a:lnTo>
                  <a:lnTo>
                    <a:pt x="42" y="227"/>
                  </a:lnTo>
                  <a:close/>
                  <a:moveTo>
                    <a:pt x="400" y="154"/>
                  </a:moveTo>
                  <a:lnTo>
                    <a:pt x="402" y="154"/>
                  </a:lnTo>
                  <a:lnTo>
                    <a:pt x="400" y="154"/>
                  </a:lnTo>
                  <a:close/>
                  <a:moveTo>
                    <a:pt x="597" y="647"/>
                  </a:moveTo>
                  <a:lnTo>
                    <a:pt x="597" y="649"/>
                  </a:lnTo>
                  <a:lnTo>
                    <a:pt x="597" y="647"/>
                  </a:lnTo>
                  <a:close/>
                  <a:moveTo>
                    <a:pt x="413" y="102"/>
                  </a:moveTo>
                  <a:lnTo>
                    <a:pt x="411" y="102"/>
                  </a:lnTo>
                  <a:lnTo>
                    <a:pt x="413" y="102"/>
                  </a:lnTo>
                  <a:close/>
                  <a:moveTo>
                    <a:pt x="21" y="81"/>
                  </a:moveTo>
                  <a:lnTo>
                    <a:pt x="19" y="81"/>
                  </a:lnTo>
                  <a:lnTo>
                    <a:pt x="21" y="81"/>
                  </a:lnTo>
                  <a:lnTo>
                    <a:pt x="19" y="81"/>
                  </a:lnTo>
                  <a:lnTo>
                    <a:pt x="21" y="81"/>
                  </a:lnTo>
                  <a:close/>
                  <a:moveTo>
                    <a:pt x="413" y="119"/>
                  </a:moveTo>
                  <a:lnTo>
                    <a:pt x="415" y="119"/>
                  </a:lnTo>
                  <a:lnTo>
                    <a:pt x="413" y="119"/>
                  </a:lnTo>
                  <a:close/>
                  <a:moveTo>
                    <a:pt x="48" y="217"/>
                  </a:moveTo>
                  <a:lnTo>
                    <a:pt x="50" y="217"/>
                  </a:lnTo>
                  <a:lnTo>
                    <a:pt x="48" y="217"/>
                  </a:lnTo>
                  <a:close/>
                  <a:moveTo>
                    <a:pt x="411" y="1010"/>
                  </a:moveTo>
                  <a:lnTo>
                    <a:pt x="411" y="1008"/>
                  </a:lnTo>
                  <a:lnTo>
                    <a:pt x="411" y="1010"/>
                  </a:lnTo>
                  <a:close/>
                  <a:moveTo>
                    <a:pt x="48" y="204"/>
                  </a:moveTo>
                  <a:lnTo>
                    <a:pt x="46" y="204"/>
                  </a:lnTo>
                  <a:lnTo>
                    <a:pt x="48" y="204"/>
                  </a:lnTo>
                  <a:close/>
                  <a:moveTo>
                    <a:pt x="60" y="536"/>
                  </a:moveTo>
                  <a:lnTo>
                    <a:pt x="60" y="538"/>
                  </a:lnTo>
                  <a:lnTo>
                    <a:pt x="60" y="536"/>
                  </a:lnTo>
                  <a:close/>
                  <a:moveTo>
                    <a:pt x="417" y="1003"/>
                  </a:moveTo>
                  <a:lnTo>
                    <a:pt x="417" y="1004"/>
                  </a:lnTo>
                  <a:lnTo>
                    <a:pt x="417" y="1003"/>
                  </a:lnTo>
                  <a:close/>
                  <a:moveTo>
                    <a:pt x="411" y="64"/>
                  </a:moveTo>
                  <a:lnTo>
                    <a:pt x="411" y="66"/>
                  </a:lnTo>
                  <a:lnTo>
                    <a:pt x="411" y="64"/>
                  </a:lnTo>
                  <a:close/>
                  <a:moveTo>
                    <a:pt x="392" y="1052"/>
                  </a:moveTo>
                  <a:lnTo>
                    <a:pt x="390" y="1052"/>
                  </a:lnTo>
                  <a:lnTo>
                    <a:pt x="392" y="1052"/>
                  </a:lnTo>
                  <a:lnTo>
                    <a:pt x="390" y="1052"/>
                  </a:lnTo>
                  <a:lnTo>
                    <a:pt x="390" y="1054"/>
                  </a:lnTo>
                  <a:lnTo>
                    <a:pt x="390" y="1052"/>
                  </a:lnTo>
                  <a:lnTo>
                    <a:pt x="392" y="1052"/>
                  </a:lnTo>
                  <a:close/>
                  <a:moveTo>
                    <a:pt x="117" y="695"/>
                  </a:moveTo>
                  <a:lnTo>
                    <a:pt x="115" y="695"/>
                  </a:lnTo>
                  <a:lnTo>
                    <a:pt x="115" y="693"/>
                  </a:lnTo>
                  <a:lnTo>
                    <a:pt x="117" y="693"/>
                  </a:lnTo>
                  <a:lnTo>
                    <a:pt x="117" y="695"/>
                  </a:lnTo>
                  <a:close/>
                  <a:moveTo>
                    <a:pt x="41" y="231"/>
                  </a:moveTo>
                  <a:lnTo>
                    <a:pt x="41" y="233"/>
                  </a:lnTo>
                  <a:lnTo>
                    <a:pt x="41" y="231"/>
                  </a:lnTo>
                  <a:close/>
                  <a:moveTo>
                    <a:pt x="455" y="131"/>
                  </a:moveTo>
                  <a:lnTo>
                    <a:pt x="453" y="131"/>
                  </a:lnTo>
                  <a:lnTo>
                    <a:pt x="455" y="131"/>
                  </a:lnTo>
                  <a:close/>
                  <a:moveTo>
                    <a:pt x="428" y="989"/>
                  </a:moveTo>
                  <a:lnTo>
                    <a:pt x="428" y="987"/>
                  </a:lnTo>
                  <a:lnTo>
                    <a:pt x="428" y="989"/>
                  </a:lnTo>
                  <a:close/>
                  <a:moveTo>
                    <a:pt x="44" y="212"/>
                  </a:moveTo>
                  <a:lnTo>
                    <a:pt x="44" y="210"/>
                  </a:lnTo>
                  <a:lnTo>
                    <a:pt x="44" y="212"/>
                  </a:lnTo>
                  <a:close/>
                  <a:moveTo>
                    <a:pt x="58" y="187"/>
                  </a:moveTo>
                  <a:lnTo>
                    <a:pt x="58" y="189"/>
                  </a:lnTo>
                  <a:lnTo>
                    <a:pt x="58" y="187"/>
                  </a:lnTo>
                  <a:close/>
                  <a:moveTo>
                    <a:pt x="71" y="544"/>
                  </a:moveTo>
                  <a:lnTo>
                    <a:pt x="71" y="546"/>
                  </a:lnTo>
                  <a:lnTo>
                    <a:pt x="71" y="544"/>
                  </a:lnTo>
                  <a:close/>
                  <a:moveTo>
                    <a:pt x="39" y="248"/>
                  </a:moveTo>
                  <a:lnTo>
                    <a:pt x="37" y="248"/>
                  </a:lnTo>
                  <a:lnTo>
                    <a:pt x="39" y="248"/>
                  </a:lnTo>
                  <a:close/>
                  <a:moveTo>
                    <a:pt x="54" y="525"/>
                  </a:moveTo>
                  <a:lnTo>
                    <a:pt x="56" y="525"/>
                  </a:lnTo>
                  <a:lnTo>
                    <a:pt x="54" y="525"/>
                  </a:lnTo>
                  <a:close/>
                  <a:moveTo>
                    <a:pt x="54" y="181"/>
                  </a:moveTo>
                  <a:lnTo>
                    <a:pt x="54" y="179"/>
                  </a:lnTo>
                  <a:lnTo>
                    <a:pt x="54" y="181"/>
                  </a:lnTo>
                  <a:close/>
                  <a:moveTo>
                    <a:pt x="413" y="118"/>
                  </a:moveTo>
                  <a:lnTo>
                    <a:pt x="411" y="118"/>
                  </a:lnTo>
                  <a:lnTo>
                    <a:pt x="413" y="118"/>
                  </a:lnTo>
                  <a:close/>
                  <a:moveTo>
                    <a:pt x="409" y="58"/>
                  </a:moveTo>
                  <a:lnTo>
                    <a:pt x="411" y="58"/>
                  </a:lnTo>
                  <a:lnTo>
                    <a:pt x="409" y="58"/>
                  </a:lnTo>
                  <a:close/>
                  <a:moveTo>
                    <a:pt x="44" y="223"/>
                  </a:moveTo>
                  <a:lnTo>
                    <a:pt x="46" y="223"/>
                  </a:lnTo>
                  <a:lnTo>
                    <a:pt x="44" y="223"/>
                  </a:lnTo>
                  <a:close/>
                  <a:moveTo>
                    <a:pt x="71" y="542"/>
                  </a:moveTo>
                  <a:lnTo>
                    <a:pt x="69" y="542"/>
                  </a:lnTo>
                  <a:lnTo>
                    <a:pt x="71" y="542"/>
                  </a:lnTo>
                  <a:close/>
                  <a:moveTo>
                    <a:pt x="48" y="219"/>
                  </a:moveTo>
                  <a:lnTo>
                    <a:pt x="48" y="221"/>
                  </a:lnTo>
                  <a:lnTo>
                    <a:pt x="48" y="219"/>
                  </a:lnTo>
                  <a:close/>
                  <a:moveTo>
                    <a:pt x="640" y="615"/>
                  </a:moveTo>
                  <a:lnTo>
                    <a:pt x="640" y="613"/>
                  </a:lnTo>
                  <a:lnTo>
                    <a:pt x="640" y="615"/>
                  </a:lnTo>
                  <a:close/>
                  <a:moveTo>
                    <a:pt x="42" y="158"/>
                  </a:moveTo>
                  <a:lnTo>
                    <a:pt x="42" y="160"/>
                  </a:lnTo>
                  <a:lnTo>
                    <a:pt x="42" y="158"/>
                  </a:lnTo>
                  <a:close/>
                  <a:moveTo>
                    <a:pt x="62" y="540"/>
                  </a:moveTo>
                  <a:lnTo>
                    <a:pt x="64" y="538"/>
                  </a:lnTo>
                  <a:lnTo>
                    <a:pt x="64" y="540"/>
                  </a:lnTo>
                  <a:lnTo>
                    <a:pt x="62" y="540"/>
                  </a:lnTo>
                  <a:close/>
                  <a:moveTo>
                    <a:pt x="538" y="816"/>
                  </a:moveTo>
                  <a:lnTo>
                    <a:pt x="538" y="818"/>
                  </a:lnTo>
                  <a:lnTo>
                    <a:pt x="538" y="816"/>
                  </a:lnTo>
                  <a:close/>
                  <a:moveTo>
                    <a:pt x="407" y="1031"/>
                  </a:moveTo>
                  <a:lnTo>
                    <a:pt x="407" y="1033"/>
                  </a:lnTo>
                  <a:lnTo>
                    <a:pt x="407" y="1031"/>
                  </a:lnTo>
                  <a:close/>
                  <a:moveTo>
                    <a:pt x="54" y="187"/>
                  </a:moveTo>
                  <a:lnTo>
                    <a:pt x="54" y="185"/>
                  </a:lnTo>
                  <a:lnTo>
                    <a:pt x="54" y="187"/>
                  </a:lnTo>
                  <a:close/>
                  <a:moveTo>
                    <a:pt x="96" y="23"/>
                  </a:moveTo>
                  <a:lnTo>
                    <a:pt x="94" y="23"/>
                  </a:lnTo>
                  <a:lnTo>
                    <a:pt x="96" y="23"/>
                  </a:lnTo>
                  <a:close/>
                  <a:moveTo>
                    <a:pt x="536" y="836"/>
                  </a:moveTo>
                  <a:lnTo>
                    <a:pt x="536" y="834"/>
                  </a:lnTo>
                  <a:lnTo>
                    <a:pt x="536" y="836"/>
                  </a:lnTo>
                  <a:close/>
                  <a:moveTo>
                    <a:pt x="50" y="190"/>
                  </a:moveTo>
                  <a:lnTo>
                    <a:pt x="52" y="190"/>
                  </a:lnTo>
                  <a:lnTo>
                    <a:pt x="50" y="190"/>
                  </a:lnTo>
                  <a:close/>
                  <a:moveTo>
                    <a:pt x="50" y="215"/>
                  </a:moveTo>
                  <a:lnTo>
                    <a:pt x="48" y="215"/>
                  </a:lnTo>
                  <a:lnTo>
                    <a:pt x="50" y="215"/>
                  </a:lnTo>
                  <a:close/>
                  <a:moveTo>
                    <a:pt x="273" y="87"/>
                  </a:moveTo>
                  <a:lnTo>
                    <a:pt x="271" y="87"/>
                  </a:lnTo>
                  <a:lnTo>
                    <a:pt x="273" y="87"/>
                  </a:lnTo>
                  <a:close/>
                  <a:moveTo>
                    <a:pt x="90" y="296"/>
                  </a:moveTo>
                  <a:lnTo>
                    <a:pt x="89" y="296"/>
                  </a:lnTo>
                  <a:lnTo>
                    <a:pt x="90" y="296"/>
                  </a:lnTo>
                  <a:close/>
                  <a:moveTo>
                    <a:pt x="62" y="538"/>
                  </a:moveTo>
                  <a:lnTo>
                    <a:pt x="60" y="538"/>
                  </a:lnTo>
                  <a:lnTo>
                    <a:pt x="62" y="538"/>
                  </a:lnTo>
                  <a:close/>
                  <a:moveTo>
                    <a:pt x="425" y="1004"/>
                  </a:moveTo>
                  <a:lnTo>
                    <a:pt x="427" y="1004"/>
                  </a:lnTo>
                  <a:lnTo>
                    <a:pt x="425" y="1004"/>
                  </a:lnTo>
                  <a:close/>
                  <a:moveTo>
                    <a:pt x="440" y="970"/>
                  </a:moveTo>
                  <a:lnTo>
                    <a:pt x="438" y="970"/>
                  </a:lnTo>
                  <a:lnTo>
                    <a:pt x="440" y="970"/>
                  </a:lnTo>
                  <a:close/>
                  <a:moveTo>
                    <a:pt x="37" y="156"/>
                  </a:moveTo>
                  <a:lnTo>
                    <a:pt x="39" y="156"/>
                  </a:lnTo>
                  <a:lnTo>
                    <a:pt x="37" y="156"/>
                  </a:lnTo>
                  <a:close/>
                  <a:moveTo>
                    <a:pt x="100" y="609"/>
                  </a:moveTo>
                  <a:lnTo>
                    <a:pt x="98" y="609"/>
                  </a:lnTo>
                  <a:lnTo>
                    <a:pt x="100" y="609"/>
                  </a:lnTo>
                  <a:close/>
                  <a:moveTo>
                    <a:pt x="62" y="540"/>
                  </a:moveTo>
                  <a:lnTo>
                    <a:pt x="64" y="540"/>
                  </a:lnTo>
                  <a:lnTo>
                    <a:pt x="62" y="540"/>
                  </a:lnTo>
                  <a:close/>
                  <a:moveTo>
                    <a:pt x="23" y="135"/>
                  </a:moveTo>
                  <a:lnTo>
                    <a:pt x="23" y="133"/>
                  </a:lnTo>
                  <a:lnTo>
                    <a:pt x="25" y="133"/>
                  </a:lnTo>
                  <a:lnTo>
                    <a:pt x="25" y="135"/>
                  </a:lnTo>
                  <a:lnTo>
                    <a:pt x="23" y="135"/>
                  </a:lnTo>
                  <a:close/>
                  <a:moveTo>
                    <a:pt x="540" y="828"/>
                  </a:moveTo>
                  <a:lnTo>
                    <a:pt x="538" y="828"/>
                  </a:lnTo>
                  <a:lnTo>
                    <a:pt x="540" y="828"/>
                  </a:lnTo>
                  <a:close/>
                  <a:moveTo>
                    <a:pt x="409" y="41"/>
                  </a:moveTo>
                  <a:lnTo>
                    <a:pt x="409" y="43"/>
                  </a:lnTo>
                  <a:lnTo>
                    <a:pt x="409" y="41"/>
                  </a:lnTo>
                  <a:lnTo>
                    <a:pt x="409" y="43"/>
                  </a:lnTo>
                  <a:lnTo>
                    <a:pt x="409" y="41"/>
                  </a:lnTo>
                  <a:close/>
                  <a:moveTo>
                    <a:pt x="79" y="548"/>
                  </a:moveTo>
                  <a:lnTo>
                    <a:pt x="79" y="546"/>
                  </a:lnTo>
                  <a:lnTo>
                    <a:pt x="79" y="548"/>
                  </a:lnTo>
                  <a:close/>
                  <a:moveTo>
                    <a:pt x="413" y="108"/>
                  </a:moveTo>
                  <a:lnTo>
                    <a:pt x="413" y="110"/>
                  </a:lnTo>
                  <a:lnTo>
                    <a:pt x="413" y="108"/>
                  </a:lnTo>
                  <a:close/>
                  <a:moveTo>
                    <a:pt x="885" y="409"/>
                  </a:moveTo>
                  <a:lnTo>
                    <a:pt x="884" y="409"/>
                  </a:lnTo>
                  <a:lnTo>
                    <a:pt x="885" y="409"/>
                  </a:lnTo>
                  <a:close/>
                  <a:moveTo>
                    <a:pt x="35" y="265"/>
                  </a:moveTo>
                  <a:lnTo>
                    <a:pt x="35" y="263"/>
                  </a:lnTo>
                  <a:lnTo>
                    <a:pt x="35" y="265"/>
                  </a:lnTo>
                  <a:close/>
                  <a:moveTo>
                    <a:pt x="54" y="187"/>
                  </a:moveTo>
                  <a:lnTo>
                    <a:pt x="56" y="187"/>
                  </a:lnTo>
                  <a:lnTo>
                    <a:pt x="54" y="187"/>
                  </a:lnTo>
                  <a:close/>
                  <a:moveTo>
                    <a:pt x="283" y="104"/>
                  </a:moveTo>
                  <a:lnTo>
                    <a:pt x="281" y="104"/>
                  </a:lnTo>
                  <a:lnTo>
                    <a:pt x="283" y="104"/>
                  </a:lnTo>
                  <a:close/>
                  <a:moveTo>
                    <a:pt x="83" y="571"/>
                  </a:moveTo>
                  <a:lnTo>
                    <a:pt x="81" y="571"/>
                  </a:lnTo>
                  <a:lnTo>
                    <a:pt x="83" y="571"/>
                  </a:lnTo>
                  <a:close/>
                  <a:moveTo>
                    <a:pt x="46" y="517"/>
                  </a:moveTo>
                  <a:lnTo>
                    <a:pt x="48" y="517"/>
                  </a:lnTo>
                  <a:lnTo>
                    <a:pt x="46" y="517"/>
                  </a:lnTo>
                  <a:close/>
                  <a:moveTo>
                    <a:pt x="87" y="584"/>
                  </a:moveTo>
                  <a:lnTo>
                    <a:pt x="87" y="582"/>
                  </a:lnTo>
                  <a:lnTo>
                    <a:pt x="87" y="584"/>
                  </a:lnTo>
                  <a:close/>
                  <a:moveTo>
                    <a:pt x="29" y="135"/>
                  </a:moveTo>
                  <a:lnTo>
                    <a:pt x="31" y="135"/>
                  </a:lnTo>
                  <a:lnTo>
                    <a:pt x="29" y="135"/>
                  </a:lnTo>
                  <a:close/>
                  <a:moveTo>
                    <a:pt x="430" y="987"/>
                  </a:moveTo>
                  <a:lnTo>
                    <a:pt x="430" y="985"/>
                  </a:lnTo>
                  <a:lnTo>
                    <a:pt x="430" y="987"/>
                  </a:lnTo>
                  <a:close/>
                  <a:moveTo>
                    <a:pt x="58" y="187"/>
                  </a:moveTo>
                  <a:lnTo>
                    <a:pt x="56" y="187"/>
                  </a:lnTo>
                  <a:lnTo>
                    <a:pt x="58" y="187"/>
                  </a:lnTo>
                  <a:close/>
                  <a:moveTo>
                    <a:pt x="273" y="54"/>
                  </a:moveTo>
                  <a:lnTo>
                    <a:pt x="273" y="56"/>
                  </a:lnTo>
                  <a:lnTo>
                    <a:pt x="273" y="54"/>
                  </a:lnTo>
                  <a:close/>
                  <a:moveTo>
                    <a:pt x="279" y="94"/>
                  </a:moveTo>
                  <a:lnTo>
                    <a:pt x="279" y="96"/>
                  </a:lnTo>
                  <a:lnTo>
                    <a:pt x="279" y="94"/>
                  </a:lnTo>
                  <a:close/>
                  <a:moveTo>
                    <a:pt x="48" y="175"/>
                  </a:moveTo>
                  <a:lnTo>
                    <a:pt x="50" y="175"/>
                  </a:lnTo>
                  <a:lnTo>
                    <a:pt x="48" y="175"/>
                  </a:lnTo>
                  <a:close/>
                  <a:moveTo>
                    <a:pt x="66" y="540"/>
                  </a:moveTo>
                  <a:lnTo>
                    <a:pt x="64" y="540"/>
                  </a:lnTo>
                  <a:lnTo>
                    <a:pt x="66" y="540"/>
                  </a:lnTo>
                  <a:close/>
                  <a:moveTo>
                    <a:pt x="73" y="546"/>
                  </a:moveTo>
                  <a:lnTo>
                    <a:pt x="71" y="546"/>
                  </a:lnTo>
                  <a:lnTo>
                    <a:pt x="73" y="546"/>
                  </a:lnTo>
                  <a:close/>
                  <a:moveTo>
                    <a:pt x="31" y="144"/>
                  </a:moveTo>
                  <a:lnTo>
                    <a:pt x="33" y="144"/>
                  </a:lnTo>
                  <a:lnTo>
                    <a:pt x="31" y="144"/>
                  </a:lnTo>
                  <a:close/>
                  <a:moveTo>
                    <a:pt x="411" y="64"/>
                  </a:moveTo>
                  <a:lnTo>
                    <a:pt x="409" y="64"/>
                  </a:lnTo>
                  <a:lnTo>
                    <a:pt x="411" y="64"/>
                  </a:lnTo>
                  <a:close/>
                  <a:moveTo>
                    <a:pt x="352" y="173"/>
                  </a:moveTo>
                  <a:lnTo>
                    <a:pt x="352" y="175"/>
                  </a:lnTo>
                  <a:lnTo>
                    <a:pt x="352" y="173"/>
                  </a:lnTo>
                  <a:close/>
                  <a:moveTo>
                    <a:pt x="44" y="173"/>
                  </a:moveTo>
                  <a:lnTo>
                    <a:pt x="46" y="173"/>
                  </a:lnTo>
                  <a:lnTo>
                    <a:pt x="44" y="173"/>
                  </a:lnTo>
                  <a:lnTo>
                    <a:pt x="46" y="173"/>
                  </a:lnTo>
                  <a:lnTo>
                    <a:pt x="44" y="173"/>
                  </a:lnTo>
                  <a:close/>
                  <a:moveTo>
                    <a:pt x="14" y="79"/>
                  </a:moveTo>
                  <a:lnTo>
                    <a:pt x="12" y="79"/>
                  </a:lnTo>
                  <a:lnTo>
                    <a:pt x="12" y="77"/>
                  </a:lnTo>
                  <a:lnTo>
                    <a:pt x="12" y="79"/>
                  </a:lnTo>
                  <a:lnTo>
                    <a:pt x="14" y="79"/>
                  </a:lnTo>
                  <a:close/>
                  <a:moveTo>
                    <a:pt x="60" y="532"/>
                  </a:moveTo>
                  <a:lnTo>
                    <a:pt x="58" y="532"/>
                  </a:lnTo>
                  <a:lnTo>
                    <a:pt x="60" y="532"/>
                  </a:lnTo>
                  <a:close/>
                  <a:moveTo>
                    <a:pt x="548" y="797"/>
                  </a:moveTo>
                  <a:lnTo>
                    <a:pt x="548" y="799"/>
                  </a:lnTo>
                  <a:lnTo>
                    <a:pt x="548" y="797"/>
                  </a:lnTo>
                  <a:close/>
                  <a:moveTo>
                    <a:pt x="866" y="693"/>
                  </a:moveTo>
                  <a:lnTo>
                    <a:pt x="866" y="692"/>
                  </a:lnTo>
                  <a:lnTo>
                    <a:pt x="866" y="693"/>
                  </a:lnTo>
                  <a:close/>
                  <a:moveTo>
                    <a:pt x="114" y="10"/>
                  </a:moveTo>
                  <a:lnTo>
                    <a:pt x="115" y="10"/>
                  </a:lnTo>
                  <a:lnTo>
                    <a:pt x="114" y="10"/>
                  </a:lnTo>
                  <a:close/>
                  <a:moveTo>
                    <a:pt x="438" y="968"/>
                  </a:moveTo>
                  <a:lnTo>
                    <a:pt x="436" y="968"/>
                  </a:lnTo>
                  <a:lnTo>
                    <a:pt x="438" y="968"/>
                  </a:lnTo>
                  <a:close/>
                  <a:moveTo>
                    <a:pt x="290" y="121"/>
                  </a:moveTo>
                  <a:lnTo>
                    <a:pt x="290" y="119"/>
                  </a:lnTo>
                  <a:lnTo>
                    <a:pt x="290" y="121"/>
                  </a:lnTo>
                  <a:close/>
                  <a:moveTo>
                    <a:pt x="194" y="41"/>
                  </a:moveTo>
                  <a:lnTo>
                    <a:pt x="192" y="41"/>
                  </a:lnTo>
                  <a:lnTo>
                    <a:pt x="192" y="39"/>
                  </a:lnTo>
                  <a:lnTo>
                    <a:pt x="194" y="39"/>
                  </a:lnTo>
                  <a:lnTo>
                    <a:pt x="194" y="41"/>
                  </a:lnTo>
                  <a:close/>
                  <a:moveTo>
                    <a:pt x="281" y="94"/>
                  </a:moveTo>
                  <a:lnTo>
                    <a:pt x="279" y="94"/>
                  </a:lnTo>
                  <a:lnTo>
                    <a:pt x="281" y="94"/>
                  </a:lnTo>
                  <a:close/>
                  <a:moveTo>
                    <a:pt x="317" y="156"/>
                  </a:moveTo>
                  <a:lnTo>
                    <a:pt x="319" y="156"/>
                  </a:lnTo>
                  <a:lnTo>
                    <a:pt x="317" y="156"/>
                  </a:lnTo>
                  <a:close/>
                  <a:moveTo>
                    <a:pt x="415" y="119"/>
                  </a:moveTo>
                  <a:lnTo>
                    <a:pt x="417" y="119"/>
                  </a:lnTo>
                  <a:lnTo>
                    <a:pt x="415" y="119"/>
                  </a:lnTo>
                  <a:lnTo>
                    <a:pt x="415" y="121"/>
                  </a:lnTo>
                  <a:lnTo>
                    <a:pt x="415" y="119"/>
                  </a:lnTo>
                  <a:close/>
                  <a:moveTo>
                    <a:pt x="41" y="265"/>
                  </a:moveTo>
                  <a:lnTo>
                    <a:pt x="41" y="267"/>
                  </a:lnTo>
                  <a:lnTo>
                    <a:pt x="41" y="265"/>
                  </a:lnTo>
                  <a:close/>
                  <a:moveTo>
                    <a:pt x="194" y="39"/>
                  </a:moveTo>
                  <a:lnTo>
                    <a:pt x="192" y="39"/>
                  </a:lnTo>
                  <a:lnTo>
                    <a:pt x="194" y="39"/>
                  </a:lnTo>
                  <a:close/>
                  <a:moveTo>
                    <a:pt x="71" y="544"/>
                  </a:moveTo>
                  <a:lnTo>
                    <a:pt x="69" y="546"/>
                  </a:lnTo>
                  <a:lnTo>
                    <a:pt x="69" y="544"/>
                  </a:lnTo>
                  <a:lnTo>
                    <a:pt x="71" y="544"/>
                  </a:lnTo>
                  <a:close/>
                  <a:moveTo>
                    <a:pt x="536" y="837"/>
                  </a:moveTo>
                  <a:lnTo>
                    <a:pt x="536" y="836"/>
                  </a:lnTo>
                  <a:lnTo>
                    <a:pt x="536" y="837"/>
                  </a:lnTo>
                  <a:close/>
                  <a:moveTo>
                    <a:pt x="54" y="523"/>
                  </a:moveTo>
                  <a:lnTo>
                    <a:pt x="54" y="525"/>
                  </a:lnTo>
                  <a:lnTo>
                    <a:pt x="54" y="523"/>
                  </a:lnTo>
                  <a:close/>
                  <a:moveTo>
                    <a:pt x="110" y="638"/>
                  </a:moveTo>
                  <a:lnTo>
                    <a:pt x="110" y="636"/>
                  </a:lnTo>
                  <a:lnTo>
                    <a:pt x="110" y="638"/>
                  </a:lnTo>
                  <a:close/>
                  <a:moveTo>
                    <a:pt x="413" y="118"/>
                  </a:moveTo>
                  <a:lnTo>
                    <a:pt x="415" y="118"/>
                  </a:lnTo>
                  <a:lnTo>
                    <a:pt x="413" y="118"/>
                  </a:lnTo>
                  <a:close/>
                  <a:moveTo>
                    <a:pt x="379" y="179"/>
                  </a:moveTo>
                  <a:lnTo>
                    <a:pt x="379" y="177"/>
                  </a:lnTo>
                  <a:lnTo>
                    <a:pt x="379" y="179"/>
                  </a:lnTo>
                  <a:close/>
                  <a:moveTo>
                    <a:pt x="48" y="167"/>
                  </a:moveTo>
                  <a:lnTo>
                    <a:pt x="48" y="169"/>
                  </a:lnTo>
                  <a:lnTo>
                    <a:pt x="48" y="167"/>
                  </a:lnTo>
                  <a:close/>
                  <a:moveTo>
                    <a:pt x="73" y="285"/>
                  </a:moveTo>
                  <a:lnTo>
                    <a:pt x="73" y="283"/>
                  </a:lnTo>
                  <a:lnTo>
                    <a:pt x="75" y="283"/>
                  </a:lnTo>
                  <a:lnTo>
                    <a:pt x="75" y="285"/>
                  </a:lnTo>
                  <a:lnTo>
                    <a:pt x="73" y="285"/>
                  </a:lnTo>
                  <a:close/>
                  <a:moveTo>
                    <a:pt x="302" y="169"/>
                  </a:moveTo>
                  <a:lnTo>
                    <a:pt x="300" y="169"/>
                  </a:lnTo>
                  <a:lnTo>
                    <a:pt x="302" y="169"/>
                  </a:lnTo>
                  <a:close/>
                  <a:moveTo>
                    <a:pt x="64" y="546"/>
                  </a:moveTo>
                  <a:lnTo>
                    <a:pt x="66" y="546"/>
                  </a:lnTo>
                  <a:lnTo>
                    <a:pt x="64" y="546"/>
                  </a:lnTo>
                  <a:close/>
                  <a:moveTo>
                    <a:pt x="67" y="546"/>
                  </a:moveTo>
                  <a:lnTo>
                    <a:pt x="67" y="548"/>
                  </a:lnTo>
                  <a:lnTo>
                    <a:pt x="67" y="546"/>
                  </a:lnTo>
                  <a:close/>
                  <a:moveTo>
                    <a:pt x="41" y="269"/>
                  </a:moveTo>
                  <a:lnTo>
                    <a:pt x="41" y="267"/>
                  </a:lnTo>
                  <a:lnTo>
                    <a:pt x="41" y="269"/>
                  </a:lnTo>
                  <a:close/>
                  <a:moveTo>
                    <a:pt x="419" y="1004"/>
                  </a:moveTo>
                  <a:lnTo>
                    <a:pt x="421" y="1004"/>
                  </a:lnTo>
                  <a:lnTo>
                    <a:pt x="421" y="1006"/>
                  </a:lnTo>
                  <a:lnTo>
                    <a:pt x="419" y="1006"/>
                  </a:lnTo>
                  <a:lnTo>
                    <a:pt x="419" y="1004"/>
                  </a:lnTo>
                  <a:lnTo>
                    <a:pt x="421" y="1004"/>
                  </a:lnTo>
                  <a:lnTo>
                    <a:pt x="419" y="1004"/>
                  </a:lnTo>
                  <a:close/>
                  <a:moveTo>
                    <a:pt x="52" y="213"/>
                  </a:moveTo>
                  <a:lnTo>
                    <a:pt x="52" y="215"/>
                  </a:lnTo>
                  <a:lnTo>
                    <a:pt x="52" y="213"/>
                  </a:lnTo>
                  <a:close/>
                  <a:moveTo>
                    <a:pt x="71" y="542"/>
                  </a:moveTo>
                  <a:lnTo>
                    <a:pt x="73" y="542"/>
                  </a:lnTo>
                  <a:lnTo>
                    <a:pt x="71" y="542"/>
                  </a:lnTo>
                  <a:close/>
                  <a:moveTo>
                    <a:pt x="4" y="39"/>
                  </a:moveTo>
                  <a:lnTo>
                    <a:pt x="2" y="39"/>
                  </a:lnTo>
                  <a:lnTo>
                    <a:pt x="4" y="39"/>
                  </a:lnTo>
                  <a:close/>
                  <a:moveTo>
                    <a:pt x="18" y="77"/>
                  </a:moveTo>
                  <a:lnTo>
                    <a:pt x="19" y="77"/>
                  </a:lnTo>
                  <a:lnTo>
                    <a:pt x="18" y="77"/>
                  </a:lnTo>
                  <a:close/>
                  <a:moveTo>
                    <a:pt x="62" y="536"/>
                  </a:moveTo>
                  <a:lnTo>
                    <a:pt x="62" y="538"/>
                  </a:lnTo>
                  <a:lnTo>
                    <a:pt x="60" y="538"/>
                  </a:lnTo>
                  <a:lnTo>
                    <a:pt x="62" y="536"/>
                  </a:lnTo>
                  <a:close/>
                  <a:moveTo>
                    <a:pt x="81" y="567"/>
                  </a:moveTo>
                  <a:lnTo>
                    <a:pt x="79" y="567"/>
                  </a:lnTo>
                  <a:lnTo>
                    <a:pt x="79" y="565"/>
                  </a:lnTo>
                  <a:lnTo>
                    <a:pt x="81" y="565"/>
                  </a:lnTo>
                  <a:lnTo>
                    <a:pt x="81" y="567"/>
                  </a:lnTo>
                  <a:close/>
                  <a:moveTo>
                    <a:pt x="60" y="542"/>
                  </a:moveTo>
                  <a:lnTo>
                    <a:pt x="60" y="544"/>
                  </a:lnTo>
                  <a:lnTo>
                    <a:pt x="60" y="542"/>
                  </a:lnTo>
                  <a:lnTo>
                    <a:pt x="60" y="544"/>
                  </a:lnTo>
                  <a:lnTo>
                    <a:pt x="60" y="542"/>
                  </a:lnTo>
                  <a:close/>
                  <a:moveTo>
                    <a:pt x="46" y="164"/>
                  </a:moveTo>
                  <a:lnTo>
                    <a:pt x="44" y="164"/>
                  </a:lnTo>
                  <a:lnTo>
                    <a:pt x="46" y="164"/>
                  </a:lnTo>
                  <a:close/>
                  <a:moveTo>
                    <a:pt x="386" y="181"/>
                  </a:moveTo>
                  <a:lnTo>
                    <a:pt x="384" y="181"/>
                  </a:lnTo>
                  <a:lnTo>
                    <a:pt x="386" y="181"/>
                  </a:lnTo>
                  <a:close/>
                  <a:moveTo>
                    <a:pt x="309" y="146"/>
                  </a:moveTo>
                  <a:lnTo>
                    <a:pt x="307" y="146"/>
                  </a:lnTo>
                  <a:lnTo>
                    <a:pt x="309" y="146"/>
                  </a:lnTo>
                  <a:close/>
                  <a:moveTo>
                    <a:pt x="19" y="81"/>
                  </a:moveTo>
                  <a:lnTo>
                    <a:pt x="18" y="81"/>
                  </a:lnTo>
                  <a:lnTo>
                    <a:pt x="19" y="81"/>
                  </a:lnTo>
                  <a:close/>
                  <a:moveTo>
                    <a:pt x="56" y="175"/>
                  </a:moveTo>
                  <a:lnTo>
                    <a:pt x="56" y="177"/>
                  </a:lnTo>
                  <a:lnTo>
                    <a:pt x="56" y="175"/>
                  </a:lnTo>
                  <a:close/>
                  <a:moveTo>
                    <a:pt x="517" y="882"/>
                  </a:moveTo>
                  <a:lnTo>
                    <a:pt x="515" y="882"/>
                  </a:lnTo>
                  <a:lnTo>
                    <a:pt x="517" y="882"/>
                  </a:lnTo>
                  <a:lnTo>
                    <a:pt x="517" y="880"/>
                  </a:lnTo>
                  <a:lnTo>
                    <a:pt x="517" y="882"/>
                  </a:lnTo>
                  <a:close/>
                  <a:moveTo>
                    <a:pt x="400" y="154"/>
                  </a:moveTo>
                  <a:lnTo>
                    <a:pt x="402" y="154"/>
                  </a:lnTo>
                  <a:lnTo>
                    <a:pt x="400" y="154"/>
                  </a:lnTo>
                  <a:close/>
                  <a:moveTo>
                    <a:pt x="411" y="58"/>
                  </a:moveTo>
                  <a:lnTo>
                    <a:pt x="411" y="60"/>
                  </a:lnTo>
                  <a:lnTo>
                    <a:pt x="411" y="58"/>
                  </a:lnTo>
                  <a:close/>
                  <a:moveTo>
                    <a:pt x="415" y="1016"/>
                  </a:moveTo>
                  <a:lnTo>
                    <a:pt x="415" y="1014"/>
                  </a:lnTo>
                  <a:lnTo>
                    <a:pt x="415" y="1016"/>
                  </a:lnTo>
                  <a:close/>
                  <a:moveTo>
                    <a:pt x="52" y="517"/>
                  </a:moveTo>
                  <a:lnTo>
                    <a:pt x="54" y="517"/>
                  </a:lnTo>
                  <a:lnTo>
                    <a:pt x="52" y="517"/>
                  </a:lnTo>
                  <a:close/>
                  <a:moveTo>
                    <a:pt x="81" y="571"/>
                  </a:moveTo>
                  <a:lnTo>
                    <a:pt x="83" y="571"/>
                  </a:lnTo>
                  <a:lnTo>
                    <a:pt x="81" y="571"/>
                  </a:lnTo>
                  <a:close/>
                  <a:moveTo>
                    <a:pt x="56" y="523"/>
                  </a:moveTo>
                  <a:lnTo>
                    <a:pt x="54" y="523"/>
                  </a:lnTo>
                  <a:lnTo>
                    <a:pt x="56" y="523"/>
                  </a:lnTo>
                  <a:close/>
                  <a:moveTo>
                    <a:pt x="50" y="517"/>
                  </a:moveTo>
                  <a:lnTo>
                    <a:pt x="50" y="519"/>
                  </a:lnTo>
                  <a:lnTo>
                    <a:pt x="50" y="517"/>
                  </a:lnTo>
                  <a:close/>
                  <a:moveTo>
                    <a:pt x="42" y="213"/>
                  </a:moveTo>
                  <a:lnTo>
                    <a:pt x="44" y="213"/>
                  </a:lnTo>
                  <a:lnTo>
                    <a:pt x="42" y="213"/>
                  </a:lnTo>
                  <a:close/>
                  <a:moveTo>
                    <a:pt x="48" y="223"/>
                  </a:moveTo>
                  <a:lnTo>
                    <a:pt x="46" y="223"/>
                  </a:lnTo>
                  <a:lnTo>
                    <a:pt x="48" y="223"/>
                  </a:lnTo>
                  <a:lnTo>
                    <a:pt x="46" y="223"/>
                  </a:lnTo>
                  <a:lnTo>
                    <a:pt x="48" y="223"/>
                  </a:lnTo>
                  <a:close/>
                  <a:moveTo>
                    <a:pt x="425" y="999"/>
                  </a:moveTo>
                  <a:lnTo>
                    <a:pt x="427" y="999"/>
                  </a:lnTo>
                  <a:lnTo>
                    <a:pt x="425" y="999"/>
                  </a:lnTo>
                  <a:close/>
                  <a:moveTo>
                    <a:pt x="269" y="64"/>
                  </a:moveTo>
                  <a:lnTo>
                    <a:pt x="269" y="66"/>
                  </a:lnTo>
                  <a:lnTo>
                    <a:pt x="269" y="64"/>
                  </a:lnTo>
                  <a:close/>
                  <a:moveTo>
                    <a:pt x="33" y="258"/>
                  </a:moveTo>
                  <a:lnTo>
                    <a:pt x="33" y="260"/>
                  </a:lnTo>
                  <a:lnTo>
                    <a:pt x="33" y="258"/>
                  </a:lnTo>
                  <a:lnTo>
                    <a:pt x="33" y="260"/>
                  </a:lnTo>
                  <a:lnTo>
                    <a:pt x="33" y="258"/>
                  </a:lnTo>
                  <a:close/>
                  <a:moveTo>
                    <a:pt x="66" y="546"/>
                  </a:moveTo>
                  <a:lnTo>
                    <a:pt x="64" y="546"/>
                  </a:lnTo>
                  <a:lnTo>
                    <a:pt x="66" y="546"/>
                  </a:lnTo>
                  <a:close/>
                  <a:moveTo>
                    <a:pt x="421" y="1003"/>
                  </a:moveTo>
                  <a:lnTo>
                    <a:pt x="423" y="1003"/>
                  </a:lnTo>
                  <a:lnTo>
                    <a:pt x="421" y="1003"/>
                  </a:lnTo>
                  <a:close/>
                  <a:moveTo>
                    <a:pt x="882" y="415"/>
                  </a:moveTo>
                  <a:lnTo>
                    <a:pt x="880" y="415"/>
                  </a:lnTo>
                  <a:lnTo>
                    <a:pt x="882" y="415"/>
                  </a:lnTo>
                  <a:close/>
                  <a:moveTo>
                    <a:pt x="81" y="567"/>
                  </a:moveTo>
                  <a:lnTo>
                    <a:pt x="81" y="565"/>
                  </a:lnTo>
                  <a:lnTo>
                    <a:pt x="81" y="567"/>
                  </a:lnTo>
                  <a:close/>
                  <a:moveTo>
                    <a:pt x="44" y="215"/>
                  </a:moveTo>
                  <a:lnTo>
                    <a:pt x="42" y="215"/>
                  </a:lnTo>
                  <a:lnTo>
                    <a:pt x="44" y="215"/>
                  </a:lnTo>
                  <a:close/>
                  <a:moveTo>
                    <a:pt x="425" y="1001"/>
                  </a:moveTo>
                  <a:lnTo>
                    <a:pt x="425" y="999"/>
                  </a:lnTo>
                  <a:lnTo>
                    <a:pt x="425" y="1001"/>
                  </a:lnTo>
                  <a:close/>
                  <a:moveTo>
                    <a:pt x="42" y="231"/>
                  </a:moveTo>
                  <a:lnTo>
                    <a:pt x="42" y="233"/>
                  </a:lnTo>
                  <a:lnTo>
                    <a:pt x="42" y="231"/>
                  </a:lnTo>
                  <a:close/>
                  <a:moveTo>
                    <a:pt x="64" y="542"/>
                  </a:moveTo>
                  <a:lnTo>
                    <a:pt x="62" y="542"/>
                  </a:lnTo>
                  <a:lnTo>
                    <a:pt x="64" y="542"/>
                  </a:lnTo>
                  <a:close/>
                  <a:moveTo>
                    <a:pt x="880" y="417"/>
                  </a:moveTo>
                  <a:lnTo>
                    <a:pt x="880" y="415"/>
                  </a:lnTo>
                  <a:lnTo>
                    <a:pt x="882" y="415"/>
                  </a:lnTo>
                  <a:lnTo>
                    <a:pt x="882" y="417"/>
                  </a:lnTo>
                  <a:lnTo>
                    <a:pt x="880" y="417"/>
                  </a:lnTo>
                  <a:close/>
                  <a:moveTo>
                    <a:pt x="41" y="229"/>
                  </a:moveTo>
                  <a:lnTo>
                    <a:pt x="42" y="229"/>
                  </a:lnTo>
                  <a:lnTo>
                    <a:pt x="41" y="229"/>
                  </a:lnTo>
                  <a:close/>
                  <a:moveTo>
                    <a:pt x="46" y="171"/>
                  </a:moveTo>
                  <a:lnTo>
                    <a:pt x="46" y="173"/>
                  </a:lnTo>
                  <a:lnTo>
                    <a:pt x="46" y="171"/>
                  </a:lnTo>
                  <a:close/>
                  <a:moveTo>
                    <a:pt x="48" y="206"/>
                  </a:moveTo>
                  <a:lnTo>
                    <a:pt x="46" y="206"/>
                  </a:lnTo>
                  <a:lnTo>
                    <a:pt x="48" y="206"/>
                  </a:lnTo>
                  <a:close/>
                  <a:moveTo>
                    <a:pt x="44" y="164"/>
                  </a:moveTo>
                  <a:lnTo>
                    <a:pt x="42" y="164"/>
                  </a:lnTo>
                  <a:lnTo>
                    <a:pt x="44" y="164"/>
                  </a:lnTo>
                  <a:close/>
                  <a:moveTo>
                    <a:pt x="427" y="1020"/>
                  </a:moveTo>
                  <a:lnTo>
                    <a:pt x="425" y="1020"/>
                  </a:lnTo>
                  <a:lnTo>
                    <a:pt x="427" y="1020"/>
                  </a:lnTo>
                  <a:lnTo>
                    <a:pt x="425" y="1020"/>
                  </a:lnTo>
                  <a:lnTo>
                    <a:pt x="427" y="1020"/>
                  </a:lnTo>
                  <a:close/>
                  <a:moveTo>
                    <a:pt x="427" y="993"/>
                  </a:moveTo>
                  <a:lnTo>
                    <a:pt x="427" y="995"/>
                  </a:lnTo>
                  <a:lnTo>
                    <a:pt x="427" y="993"/>
                  </a:lnTo>
                  <a:close/>
                  <a:moveTo>
                    <a:pt x="44" y="165"/>
                  </a:moveTo>
                  <a:lnTo>
                    <a:pt x="46" y="165"/>
                  </a:lnTo>
                  <a:lnTo>
                    <a:pt x="44" y="165"/>
                  </a:lnTo>
                  <a:close/>
                  <a:moveTo>
                    <a:pt x="192" y="43"/>
                  </a:moveTo>
                  <a:lnTo>
                    <a:pt x="192" y="41"/>
                  </a:lnTo>
                  <a:lnTo>
                    <a:pt x="192" y="43"/>
                  </a:lnTo>
                  <a:close/>
                  <a:moveTo>
                    <a:pt x="597" y="649"/>
                  </a:moveTo>
                  <a:lnTo>
                    <a:pt x="599" y="649"/>
                  </a:lnTo>
                  <a:lnTo>
                    <a:pt x="597" y="649"/>
                  </a:lnTo>
                  <a:close/>
                  <a:moveTo>
                    <a:pt x="549" y="749"/>
                  </a:moveTo>
                  <a:lnTo>
                    <a:pt x="549" y="747"/>
                  </a:lnTo>
                  <a:lnTo>
                    <a:pt x="549" y="749"/>
                  </a:lnTo>
                  <a:close/>
                  <a:moveTo>
                    <a:pt x="217" y="56"/>
                  </a:moveTo>
                  <a:lnTo>
                    <a:pt x="217" y="58"/>
                  </a:lnTo>
                  <a:lnTo>
                    <a:pt x="217" y="56"/>
                  </a:lnTo>
                  <a:close/>
                  <a:moveTo>
                    <a:pt x="323" y="165"/>
                  </a:moveTo>
                  <a:lnTo>
                    <a:pt x="321" y="165"/>
                  </a:lnTo>
                  <a:lnTo>
                    <a:pt x="323" y="165"/>
                  </a:lnTo>
                  <a:close/>
                  <a:moveTo>
                    <a:pt x="413" y="91"/>
                  </a:moveTo>
                  <a:lnTo>
                    <a:pt x="413" y="93"/>
                  </a:lnTo>
                  <a:lnTo>
                    <a:pt x="413" y="91"/>
                  </a:lnTo>
                  <a:lnTo>
                    <a:pt x="413" y="93"/>
                  </a:lnTo>
                  <a:lnTo>
                    <a:pt x="413" y="91"/>
                  </a:lnTo>
                  <a:close/>
                  <a:moveTo>
                    <a:pt x="546" y="755"/>
                  </a:moveTo>
                  <a:lnTo>
                    <a:pt x="546" y="753"/>
                  </a:lnTo>
                  <a:lnTo>
                    <a:pt x="546" y="755"/>
                  </a:lnTo>
                  <a:close/>
                  <a:moveTo>
                    <a:pt x="46" y="229"/>
                  </a:moveTo>
                  <a:lnTo>
                    <a:pt x="48" y="229"/>
                  </a:lnTo>
                  <a:lnTo>
                    <a:pt x="46" y="229"/>
                  </a:lnTo>
                  <a:close/>
                  <a:moveTo>
                    <a:pt x="417" y="102"/>
                  </a:moveTo>
                  <a:lnTo>
                    <a:pt x="417" y="100"/>
                  </a:lnTo>
                  <a:lnTo>
                    <a:pt x="417" y="102"/>
                  </a:lnTo>
                  <a:close/>
                  <a:moveTo>
                    <a:pt x="44" y="212"/>
                  </a:moveTo>
                  <a:lnTo>
                    <a:pt x="44" y="210"/>
                  </a:lnTo>
                  <a:lnTo>
                    <a:pt x="44" y="212"/>
                  </a:lnTo>
                  <a:close/>
                  <a:moveTo>
                    <a:pt x="62" y="542"/>
                  </a:moveTo>
                  <a:lnTo>
                    <a:pt x="62" y="540"/>
                  </a:lnTo>
                  <a:lnTo>
                    <a:pt x="62" y="542"/>
                  </a:lnTo>
                  <a:close/>
                  <a:moveTo>
                    <a:pt x="44" y="162"/>
                  </a:moveTo>
                  <a:lnTo>
                    <a:pt x="42" y="162"/>
                  </a:lnTo>
                  <a:lnTo>
                    <a:pt x="44" y="162"/>
                  </a:lnTo>
                  <a:close/>
                  <a:moveTo>
                    <a:pt x="402" y="1037"/>
                  </a:moveTo>
                  <a:lnTo>
                    <a:pt x="402" y="1035"/>
                  </a:lnTo>
                  <a:lnTo>
                    <a:pt x="402" y="1037"/>
                  </a:lnTo>
                  <a:close/>
                  <a:moveTo>
                    <a:pt x="46" y="221"/>
                  </a:moveTo>
                  <a:lnTo>
                    <a:pt x="48" y="221"/>
                  </a:lnTo>
                  <a:lnTo>
                    <a:pt x="46" y="221"/>
                  </a:lnTo>
                  <a:close/>
                  <a:moveTo>
                    <a:pt x="54" y="183"/>
                  </a:moveTo>
                  <a:lnTo>
                    <a:pt x="54" y="185"/>
                  </a:lnTo>
                  <a:lnTo>
                    <a:pt x="54" y="183"/>
                  </a:lnTo>
                  <a:close/>
                  <a:moveTo>
                    <a:pt x="411" y="89"/>
                  </a:moveTo>
                  <a:lnTo>
                    <a:pt x="413" y="89"/>
                  </a:lnTo>
                  <a:lnTo>
                    <a:pt x="411" y="89"/>
                  </a:lnTo>
                  <a:close/>
                  <a:moveTo>
                    <a:pt x="106" y="313"/>
                  </a:moveTo>
                  <a:lnTo>
                    <a:pt x="104" y="313"/>
                  </a:lnTo>
                  <a:lnTo>
                    <a:pt x="106" y="311"/>
                  </a:lnTo>
                  <a:lnTo>
                    <a:pt x="106" y="313"/>
                  </a:lnTo>
                  <a:close/>
                  <a:moveTo>
                    <a:pt x="386" y="181"/>
                  </a:moveTo>
                  <a:lnTo>
                    <a:pt x="384" y="181"/>
                  </a:lnTo>
                  <a:lnTo>
                    <a:pt x="386" y="181"/>
                  </a:lnTo>
                  <a:close/>
                  <a:moveTo>
                    <a:pt x="56" y="526"/>
                  </a:moveTo>
                  <a:lnTo>
                    <a:pt x="56" y="525"/>
                  </a:lnTo>
                  <a:lnTo>
                    <a:pt x="56" y="526"/>
                  </a:lnTo>
                  <a:close/>
                  <a:moveTo>
                    <a:pt x="115" y="665"/>
                  </a:moveTo>
                  <a:lnTo>
                    <a:pt x="114" y="665"/>
                  </a:lnTo>
                  <a:lnTo>
                    <a:pt x="114" y="667"/>
                  </a:lnTo>
                  <a:lnTo>
                    <a:pt x="114" y="665"/>
                  </a:lnTo>
                  <a:lnTo>
                    <a:pt x="115" y="665"/>
                  </a:lnTo>
                  <a:close/>
                  <a:moveTo>
                    <a:pt x="62" y="542"/>
                  </a:moveTo>
                  <a:lnTo>
                    <a:pt x="62" y="540"/>
                  </a:lnTo>
                  <a:lnTo>
                    <a:pt x="62" y="542"/>
                  </a:lnTo>
                  <a:close/>
                  <a:moveTo>
                    <a:pt x="64" y="544"/>
                  </a:moveTo>
                  <a:lnTo>
                    <a:pt x="66" y="544"/>
                  </a:lnTo>
                  <a:lnTo>
                    <a:pt x="64" y="544"/>
                  </a:lnTo>
                  <a:close/>
                  <a:moveTo>
                    <a:pt x="71" y="544"/>
                  </a:moveTo>
                  <a:lnTo>
                    <a:pt x="71" y="542"/>
                  </a:lnTo>
                  <a:lnTo>
                    <a:pt x="71" y="544"/>
                  </a:lnTo>
                  <a:close/>
                  <a:moveTo>
                    <a:pt x="50" y="521"/>
                  </a:moveTo>
                  <a:lnTo>
                    <a:pt x="52" y="521"/>
                  </a:lnTo>
                  <a:lnTo>
                    <a:pt x="50" y="521"/>
                  </a:lnTo>
                  <a:close/>
                  <a:moveTo>
                    <a:pt x="2" y="39"/>
                  </a:moveTo>
                  <a:lnTo>
                    <a:pt x="0" y="39"/>
                  </a:lnTo>
                  <a:lnTo>
                    <a:pt x="2" y="39"/>
                  </a:lnTo>
                  <a:close/>
                  <a:moveTo>
                    <a:pt x="25" y="83"/>
                  </a:moveTo>
                  <a:lnTo>
                    <a:pt x="25" y="85"/>
                  </a:lnTo>
                  <a:lnTo>
                    <a:pt x="25" y="83"/>
                  </a:lnTo>
                  <a:close/>
                  <a:moveTo>
                    <a:pt x="538" y="816"/>
                  </a:moveTo>
                  <a:lnTo>
                    <a:pt x="538" y="818"/>
                  </a:lnTo>
                  <a:lnTo>
                    <a:pt x="538" y="816"/>
                  </a:lnTo>
                  <a:close/>
                  <a:moveTo>
                    <a:pt x="411" y="108"/>
                  </a:moveTo>
                  <a:lnTo>
                    <a:pt x="411" y="110"/>
                  </a:lnTo>
                  <a:lnTo>
                    <a:pt x="411" y="108"/>
                  </a:lnTo>
                  <a:close/>
                  <a:moveTo>
                    <a:pt x="41" y="238"/>
                  </a:moveTo>
                  <a:lnTo>
                    <a:pt x="41" y="237"/>
                  </a:lnTo>
                  <a:lnTo>
                    <a:pt x="41" y="238"/>
                  </a:lnTo>
                  <a:close/>
                  <a:moveTo>
                    <a:pt x="44" y="173"/>
                  </a:moveTo>
                  <a:lnTo>
                    <a:pt x="46" y="173"/>
                  </a:lnTo>
                  <a:lnTo>
                    <a:pt x="44" y="173"/>
                  </a:lnTo>
                  <a:close/>
                  <a:moveTo>
                    <a:pt x="48" y="219"/>
                  </a:moveTo>
                  <a:lnTo>
                    <a:pt x="50" y="219"/>
                  </a:lnTo>
                  <a:lnTo>
                    <a:pt x="48" y="219"/>
                  </a:lnTo>
                  <a:close/>
                  <a:moveTo>
                    <a:pt x="52" y="215"/>
                  </a:moveTo>
                  <a:lnTo>
                    <a:pt x="54" y="215"/>
                  </a:lnTo>
                  <a:lnTo>
                    <a:pt x="52" y="215"/>
                  </a:lnTo>
                  <a:close/>
                  <a:moveTo>
                    <a:pt x="254" y="60"/>
                  </a:moveTo>
                  <a:lnTo>
                    <a:pt x="254" y="58"/>
                  </a:lnTo>
                  <a:lnTo>
                    <a:pt x="254" y="60"/>
                  </a:lnTo>
                  <a:close/>
                  <a:moveTo>
                    <a:pt x="62" y="540"/>
                  </a:moveTo>
                  <a:lnTo>
                    <a:pt x="62" y="538"/>
                  </a:lnTo>
                  <a:lnTo>
                    <a:pt x="62" y="540"/>
                  </a:lnTo>
                  <a:close/>
                  <a:moveTo>
                    <a:pt x="413" y="56"/>
                  </a:moveTo>
                  <a:lnTo>
                    <a:pt x="411" y="56"/>
                  </a:lnTo>
                  <a:lnTo>
                    <a:pt x="413" y="56"/>
                  </a:lnTo>
                  <a:close/>
                  <a:moveTo>
                    <a:pt x="48" y="206"/>
                  </a:moveTo>
                  <a:lnTo>
                    <a:pt x="46" y="206"/>
                  </a:lnTo>
                  <a:lnTo>
                    <a:pt x="46" y="204"/>
                  </a:lnTo>
                  <a:lnTo>
                    <a:pt x="46" y="206"/>
                  </a:lnTo>
                  <a:lnTo>
                    <a:pt x="48" y="206"/>
                  </a:lnTo>
                  <a:close/>
                  <a:moveTo>
                    <a:pt x="115" y="670"/>
                  </a:moveTo>
                  <a:lnTo>
                    <a:pt x="114" y="670"/>
                  </a:lnTo>
                  <a:lnTo>
                    <a:pt x="115" y="670"/>
                  </a:lnTo>
                  <a:close/>
                  <a:moveTo>
                    <a:pt x="66" y="283"/>
                  </a:moveTo>
                  <a:lnTo>
                    <a:pt x="66" y="281"/>
                  </a:lnTo>
                  <a:lnTo>
                    <a:pt x="66" y="283"/>
                  </a:lnTo>
                  <a:close/>
                  <a:moveTo>
                    <a:pt x="77" y="544"/>
                  </a:moveTo>
                  <a:lnTo>
                    <a:pt x="75" y="544"/>
                  </a:lnTo>
                  <a:lnTo>
                    <a:pt x="77" y="544"/>
                  </a:lnTo>
                  <a:close/>
                  <a:moveTo>
                    <a:pt x="41" y="235"/>
                  </a:moveTo>
                  <a:lnTo>
                    <a:pt x="39" y="235"/>
                  </a:lnTo>
                  <a:lnTo>
                    <a:pt x="41" y="235"/>
                  </a:lnTo>
                  <a:close/>
                  <a:moveTo>
                    <a:pt x="71" y="546"/>
                  </a:moveTo>
                  <a:lnTo>
                    <a:pt x="73" y="546"/>
                  </a:lnTo>
                  <a:lnTo>
                    <a:pt x="71" y="546"/>
                  </a:lnTo>
                  <a:close/>
                  <a:moveTo>
                    <a:pt x="403" y="137"/>
                  </a:moveTo>
                  <a:lnTo>
                    <a:pt x="405" y="137"/>
                  </a:lnTo>
                  <a:lnTo>
                    <a:pt x="403" y="137"/>
                  </a:lnTo>
                  <a:close/>
                  <a:moveTo>
                    <a:pt x="56" y="525"/>
                  </a:moveTo>
                  <a:lnTo>
                    <a:pt x="54" y="525"/>
                  </a:lnTo>
                  <a:lnTo>
                    <a:pt x="56" y="525"/>
                  </a:lnTo>
                  <a:close/>
                  <a:moveTo>
                    <a:pt x="50" y="194"/>
                  </a:moveTo>
                  <a:lnTo>
                    <a:pt x="50" y="196"/>
                  </a:lnTo>
                  <a:lnTo>
                    <a:pt x="50" y="194"/>
                  </a:lnTo>
                  <a:close/>
                  <a:moveTo>
                    <a:pt x="269" y="77"/>
                  </a:moveTo>
                  <a:lnTo>
                    <a:pt x="269" y="75"/>
                  </a:lnTo>
                  <a:lnTo>
                    <a:pt x="269" y="77"/>
                  </a:lnTo>
                  <a:close/>
                  <a:moveTo>
                    <a:pt x="71" y="548"/>
                  </a:moveTo>
                  <a:lnTo>
                    <a:pt x="73" y="548"/>
                  </a:lnTo>
                  <a:lnTo>
                    <a:pt x="71" y="548"/>
                  </a:lnTo>
                  <a:close/>
                  <a:moveTo>
                    <a:pt x="56" y="177"/>
                  </a:moveTo>
                  <a:lnTo>
                    <a:pt x="56" y="175"/>
                  </a:lnTo>
                  <a:lnTo>
                    <a:pt x="56" y="177"/>
                  </a:lnTo>
                  <a:close/>
                  <a:moveTo>
                    <a:pt x="377" y="185"/>
                  </a:moveTo>
                  <a:lnTo>
                    <a:pt x="377" y="183"/>
                  </a:lnTo>
                  <a:lnTo>
                    <a:pt x="377" y="185"/>
                  </a:lnTo>
                  <a:close/>
                  <a:moveTo>
                    <a:pt x="405" y="71"/>
                  </a:moveTo>
                  <a:lnTo>
                    <a:pt x="405" y="70"/>
                  </a:lnTo>
                  <a:lnTo>
                    <a:pt x="405" y="71"/>
                  </a:lnTo>
                  <a:close/>
                  <a:moveTo>
                    <a:pt x="377" y="185"/>
                  </a:moveTo>
                  <a:lnTo>
                    <a:pt x="377" y="183"/>
                  </a:lnTo>
                  <a:lnTo>
                    <a:pt x="377" y="185"/>
                  </a:lnTo>
                  <a:close/>
                  <a:moveTo>
                    <a:pt x="726" y="705"/>
                  </a:moveTo>
                  <a:lnTo>
                    <a:pt x="726" y="707"/>
                  </a:lnTo>
                  <a:lnTo>
                    <a:pt x="726" y="705"/>
                  </a:lnTo>
                  <a:close/>
                  <a:moveTo>
                    <a:pt x="417" y="104"/>
                  </a:moveTo>
                  <a:lnTo>
                    <a:pt x="415" y="104"/>
                  </a:lnTo>
                  <a:lnTo>
                    <a:pt x="417" y="104"/>
                  </a:lnTo>
                  <a:close/>
                  <a:moveTo>
                    <a:pt x="315" y="154"/>
                  </a:moveTo>
                  <a:lnTo>
                    <a:pt x="315" y="152"/>
                  </a:lnTo>
                  <a:lnTo>
                    <a:pt x="315" y="154"/>
                  </a:lnTo>
                  <a:close/>
                  <a:moveTo>
                    <a:pt x="54" y="192"/>
                  </a:moveTo>
                  <a:lnTo>
                    <a:pt x="54" y="190"/>
                  </a:lnTo>
                  <a:lnTo>
                    <a:pt x="54" y="192"/>
                  </a:lnTo>
                  <a:close/>
                  <a:moveTo>
                    <a:pt x="71" y="548"/>
                  </a:moveTo>
                  <a:lnTo>
                    <a:pt x="69" y="548"/>
                  </a:lnTo>
                  <a:lnTo>
                    <a:pt x="71" y="548"/>
                  </a:lnTo>
                  <a:close/>
                  <a:moveTo>
                    <a:pt x="594" y="667"/>
                  </a:moveTo>
                  <a:lnTo>
                    <a:pt x="594" y="665"/>
                  </a:lnTo>
                  <a:lnTo>
                    <a:pt x="594" y="667"/>
                  </a:lnTo>
                  <a:close/>
                  <a:moveTo>
                    <a:pt x="62" y="542"/>
                  </a:moveTo>
                  <a:lnTo>
                    <a:pt x="62" y="540"/>
                  </a:lnTo>
                  <a:lnTo>
                    <a:pt x="62" y="542"/>
                  </a:lnTo>
                  <a:close/>
                  <a:moveTo>
                    <a:pt x="427" y="997"/>
                  </a:moveTo>
                  <a:lnTo>
                    <a:pt x="427" y="995"/>
                  </a:lnTo>
                  <a:lnTo>
                    <a:pt x="427" y="997"/>
                  </a:lnTo>
                  <a:close/>
                  <a:moveTo>
                    <a:pt x="417" y="94"/>
                  </a:moveTo>
                  <a:lnTo>
                    <a:pt x="415" y="94"/>
                  </a:lnTo>
                  <a:lnTo>
                    <a:pt x="417" y="94"/>
                  </a:lnTo>
                  <a:close/>
                  <a:moveTo>
                    <a:pt x="31" y="135"/>
                  </a:moveTo>
                  <a:lnTo>
                    <a:pt x="31" y="133"/>
                  </a:lnTo>
                  <a:lnTo>
                    <a:pt x="31" y="135"/>
                  </a:lnTo>
                  <a:close/>
                  <a:moveTo>
                    <a:pt x="682" y="741"/>
                  </a:moveTo>
                  <a:lnTo>
                    <a:pt x="684" y="741"/>
                  </a:lnTo>
                  <a:lnTo>
                    <a:pt x="682" y="741"/>
                  </a:lnTo>
                  <a:close/>
                  <a:moveTo>
                    <a:pt x="75" y="542"/>
                  </a:moveTo>
                  <a:lnTo>
                    <a:pt x="73" y="542"/>
                  </a:lnTo>
                  <a:lnTo>
                    <a:pt x="75" y="542"/>
                  </a:lnTo>
                  <a:close/>
                  <a:moveTo>
                    <a:pt x="108" y="16"/>
                  </a:moveTo>
                  <a:lnTo>
                    <a:pt x="108" y="14"/>
                  </a:lnTo>
                  <a:lnTo>
                    <a:pt x="108" y="16"/>
                  </a:lnTo>
                  <a:close/>
                  <a:moveTo>
                    <a:pt x="58" y="189"/>
                  </a:moveTo>
                  <a:lnTo>
                    <a:pt x="58" y="187"/>
                  </a:lnTo>
                  <a:lnTo>
                    <a:pt x="58" y="189"/>
                  </a:lnTo>
                  <a:close/>
                  <a:moveTo>
                    <a:pt x="319" y="162"/>
                  </a:moveTo>
                  <a:lnTo>
                    <a:pt x="319" y="160"/>
                  </a:lnTo>
                  <a:lnTo>
                    <a:pt x="319" y="162"/>
                  </a:lnTo>
                  <a:close/>
                  <a:moveTo>
                    <a:pt x="58" y="536"/>
                  </a:moveTo>
                  <a:lnTo>
                    <a:pt x="60" y="536"/>
                  </a:lnTo>
                  <a:lnTo>
                    <a:pt x="58" y="536"/>
                  </a:lnTo>
                  <a:close/>
                  <a:moveTo>
                    <a:pt x="379" y="179"/>
                  </a:moveTo>
                  <a:lnTo>
                    <a:pt x="379" y="177"/>
                  </a:lnTo>
                  <a:lnTo>
                    <a:pt x="379" y="179"/>
                  </a:lnTo>
                  <a:close/>
                  <a:moveTo>
                    <a:pt x="50" y="215"/>
                  </a:moveTo>
                  <a:lnTo>
                    <a:pt x="50" y="213"/>
                  </a:lnTo>
                  <a:lnTo>
                    <a:pt x="50" y="215"/>
                  </a:lnTo>
                  <a:close/>
                  <a:moveTo>
                    <a:pt x="432" y="985"/>
                  </a:moveTo>
                  <a:lnTo>
                    <a:pt x="430" y="985"/>
                  </a:lnTo>
                  <a:lnTo>
                    <a:pt x="432" y="985"/>
                  </a:lnTo>
                  <a:lnTo>
                    <a:pt x="430" y="985"/>
                  </a:lnTo>
                  <a:lnTo>
                    <a:pt x="432" y="985"/>
                  </a:lnTo>
                  <a:close/>
                  <a:moveTo>
                    <a:pt x="66" y="542"/>
                  </a:moveTo>
                  <a:lnTo>
                    <a:pt x="64" y="542"/>
                  </a:lnTo>
                  <a:lnTo>
                    <a:pt x="64" y="540"/>
                  </a:lnTo>
                  <a:lnTo>
                    <a:pt x="66" y="540"/>
                  </a:lnTo>
                  <a:lnTo>
                    <a:pt x="66" y="542"/>
                  </a:lnTo>
                  <a:close/>
                  <a:moveTo>
                    <a:pt x="44" y="171"/>
                  </a:moveTo>
                  <a:lnTo>
                    <a:pt x="46" y="171"/>
                  </a:lnTo>
                  <a:lnTo>
                    <a:pt x="44" y="171"/>
                  </a:lnTo>
                  <a:close/>
                  <a:moveTo>
                    <a:pt x="46" y="208"/>
                  </a:moveTo>
                  <a:lnTo>
                    <a:pt x="46" y="206"/>
                  </a:lnTo>
                  <a:lnTo>
                    <a:pt x="46" y="208"/>
                  </a:lnTo>
                  <a:close/>
                  <a:moveTo>
                    <a:pt x="897" y="394"/>
                  </a:moveTo>
                  <a:lnTo>
                    <a:pt x="897" y="396"/>
                  </a:lnTo>
                  <a:lnTo>
                    <a:pt x="897" y="394"/>
                  </a:lnTo>
                  <a:close/>
                  <a:moveTo>
                    <a:pt x="56" y="185"/>
                  </a:moveTo>
                  <a:lnTo>
                    <a:pt x="56" y="187"/>
                  </a:lnTo>
                  <a:lnTo>
                    <a:pt x="56" y="185"/>
                  </a:lnTo>
                  <a:close/>
                  <a:moveTo>
                    <a:pt x="35" y="133"/>
                  </a:moveTo>
                  <a:lnTo>
                    <a:pt x="35" y="135"/>
                  </a:lnTo>
                  <a:lnTo>
                    <a:pt x="35" y="133"/>
                  </a:lnTo>
                  <a:lnTo>
                    <a:pt x="35" y="135"/>
                  </a:lnTo>
                  <a:lnTo>
                    <a:pt x="35" y="133"/>
                  </a:lnTo>
                  <a:close/>
                  <a:moveTo>
                    <a:pt x="427" y="1012"/>
                  </a:moveTo>
                  <a:lnTo>
                    <a:pt x="425" y="1012"/>
                  </a:lnTo>
                  <a:lnTo>
                    <a:pt x="427" y="1012"/>
                  </a:lnTo>
                  <a:close/>
                  <a:moveTo>
                    <a:pt x="67" y="540"/>
                  </a:moveTo>
                  <a:lnTo>
                    <a:pt x="67" y="542"/>
                  </a:lnTo>
                  <a:lnTo>
                    <a:pt x="67" y="540"/>
                  </a:lnTo>
                  <a:close/>
                  <a:moveTo>
                    <a:pt x="46" y="221"/>
                  </a:moveTo>
                  <a:lnTo>
                    <a:pt x="46" y="223"/>
                  </a:lnTo>
                  <a:lnTo>
                    <a:pt x="46" y="221"/>
                  </a:lnTo>
                  <a:close/>
                  <a:moveTo>
                    <a:pt x="50" y="521"/>
                  </a:moveTo>
                  <a:lnTo>
                    <a:pt x="48" y="521"/>
                  </a:lnTo>
                  <a:lnTo>
                    <a:pt x="50" y="521"/>
                  </a:lnTo>
                  <a:lnTo>
                    <a:pt x="48" y="521"/>
                  </a:lnTo>
                  <a:lnTo>
                    <a:pt x="50" y="521"/>
                  </a:lnTo>
                  <a:close/>
                  <a:moveTo>
                    <a:pt x="54" y="189"/>
                  </a:moveTo>
                  <a:lnTo>
                    <a:pt x="56" y="189"/>
                  </a:lnTo>
                  <a:lnTo>
                    <a:pt x="54" y="189"/>
                  </a:lnTo>
                  <a:close/>
                  <a:moveTo>
                    <a:pt x="421" y="1001"/>
                  </a:moveTo>
                  <a:lnTo>
                    <a:pt x="423" y="1001"/>
                  </a:lnTo>
                  <a:lnTo>
                    <a:pt x="421" y="1001"/>
                  </a:lnTo>
                  <a:close/>
                  <a:moveTo>
                    <a:pt x="46" y="164"/>
                  </a:moveTo>
                  <a:lnTo>
                    <a:pt x="46" y="165"/>
                  </a:lnTo>
                  <a:lnTo>
                    <a:pt x="46" y="164"/>
                  </a:lnTo>
                  <a:close/>
                  <a:moveTo>
                    <a:pt x="394" y="1052"/>
                  </a:moveTo>
                  <a:lnTo>
                    <a:pt x="392" y="1052"/>
                  </a:lnTo>
                  <a:lnTo>
                    <a:pt x="394" y="1052"/>
                  </a:lnTo>
                  <a:close/>
                  <a:moveTo>
                    <a:pt x="33" y="260"/>
                  </a:moveTo>
                  <a:lnTo>
                    <a:pt x="35" y="260"/>
                  </a:lnTo>
                  <a:lnTo>
                    <a:pt x="33" y="260"/>
                  </a:lnTo>
                  <a:close/>
                  <a:moveTo>
                    <a:pt x="42" y="158"/>
                  </a:moveTo>
                  <a:lnTo>
                    <a:pt x="41" y="158"/>
                  </a:lnTo>
                  <a:lnTo>
                    <a:pt x="42" y="158"/>
                  </a:lnTo>
                  <a:close/>
                  <a:moveTo>
                    <a:pt x="198" y="52"/>
                  </a:moveTo>
                  <a:lnTo>
                    <a:pt x="196" y="52"/>
                  </a:lnTo>
                  <a:lnTo>
                    <a:pt x="198" y="52"/>
                  </a:lnTo>
                  <a:close/>
                  <a:moveTo>
                    <a:pt x="417" y="102"/>
                  </a:moveTo>
                  <a:lnTo>
                    <a:pt x="417" y="104"/>
                  </a:lnTo>
                  <a:lnTo>
                    <a:pt x="417" y="102"/>
                  </a:lnTo>
                  <a:close/>
                  <a:moveTo>
                    <a:pt x="35" y="263"/>
                  </a:moveTo>
                  <a:lnTo>
                    <a:pt x="33" y="263"/>
                  </a:lnTo>
                  <a:lnTo>
                    <a:pt x="35" y="263"/>
                  </a:lnTo>
                  <a:close/>
                  <a:moveTo>
                    <a:pt x="35" y="256"/>
                  </a:moveTo>
                  <a:lnTo>
                    <a:pt x="33" y="256"/>
                  </a:lnTo>
                  <a:lnTo>
                    <a:pt x="35" y="256"/>
                  </a:lnTo>
                  <a:close/>
                  <a:moveTo>
                    <a:pt x="430" y="989"/>
                  </a:moveTo>
                  <a:lnTo>
                    <a:pt x="430" y="987"/>
                  </a:lnTo>
                  <a:lnTo>
                    <a:pt x="430" y="989"/>
                  </a:lnTo>
                  <a:close/>
                  <a:moveTo>
                    <a:pt x="409" y="37"/>
                  </a:moveTo>
                  <a:lnTo>
                    <a:pt x="411" y="37"/>
                  </a:lnTo>
                  <a:lnTo>
                    <a:pt x="409" y="37"/>
                  </a:lnTo>
                  <a:close/>
                  <a:moveTo>
                    <a:pt x="409" y="1012"/>
                  </a:moveTo>
                  <a:lnTo>
                    <a:pt x="411" y="1012"/>
                  </a:lnTo>
                  <a:lnTo>
                    <a:pt x="409" y="1012"/>
                  </a:lnTo>
                  <a:close/>
                  <a:moveTo>
                    <a:pt x="428" y="1016"/>
                  </a:moveTo>
                  <a:lnTo>
                    <a:pt x="428" y="1018"/>
                  </a:lnTo>
                  <a:lnTo>
                    <a:pt x="428" y="1016"/>
                  </a:lnTo>
                  <a:close/>
                  <a:moveTo>
                    <a:pt x="411" y="35"/>
                  </a:moveTo>
                  <a:lnTo>
                    <a:pt x="411" y="33"/>
                  </a:lnTo>
                  <a:lnTo>
                    <a:pt x="411" y="35"/>
                  </a:lnTo>
                  <a:close/>
                  <a:moveTo>
                    <a:pt x="50" y="177"/>
                  </a:moveTo>
                  <a:lnTo>
                    <a:pt x="50" y="175"/>
                  </a:lnTo>
                  <a:lnTo>
                    <a:pt x="50" y="177"/>
                  </a:lnTo>
                  <a:close/>
                  <a:moveTo>
                    <a:pt x="29" y="133"/>
                  </a:moveTo>
                  <a:lnTo>
                    <a:pt x="31" y="133"/>
                  </a:lnTo>
                  <a:lnTo>
                    <a:pt x="29" y="133"/>
                  </a:lnTo>
                  <a:close/>
                  <a:moveTo>
                    <a:pt x="311" y="167"/>
                  </a:moveTo>
                  <a:lnTo>
                    <a:pt x="309" y="167"/>
                  </a:lnTo>
                  <a:lnTo>
                    <a:pt x="311" y="167"/>
                  </a:lnTo>
                  <a:close/>
                  <a:moveTo>
                    <a:pt x="413" y="102"/>
                  </a:moveTo>
                  <a:lnTo>
                    <a:pt x="413" y="100"/>
                  </a:lnTo>
                  <a:lnTo>
                    <a:pt x="413" y="102"/>
                  </a:lnTo>
                  <a:close/>
                  <a:moveTo>
                    <a:pt x="419" y="121"/>
                  </a:moveTo>
                  <a:lnTo>
                    <a:pt x="421" y="121"/>
                  </a:lnTo>
                  <a:lnTo>
                    <a:pt x="419" y="121"/>
                  </a:lnTo>
                  <a:close/>
                  <a:moveTo>
                    <a:pt x="98" y="27"/>
                  </a:moveTo>
                  <a:lnTo>
                    <a:pt x="96" y="27"/>
                  </a:lnTo>
                  <a:lnTo>
                    <a:pt x="98" y="27"/>
                  </a:lnTo>
                  <a:close/>
                  <a:moveTo>
                    <a:pt x="411" y="98"/>
                  </a:moveTo>
                  <a:lnTo>
                    <a:pt x="413" y="98"/>
                  </a:lnTo>
                  <a:lnTo>
                    <a:pt x="411" y="98"/>
                  </a:lnTo>
                  <a:close/>
                  <a:moveTo>
                    <a:pt x="273" y="62"/>
                  </a:moveTo>
                  <a:lnTo>
                    <a:pt x="273" y="60"/>
                  </a:lnTo>
                  <a:lnTo>
                    <a:pt x="273" y="62"/>
                  </a:lnTo>
                  <a:close/>
                  <a:moveTo>
                    <a:pt x="19" y="83"/>
                  </a:moveTo>
                  <a:lnTo>
                    <a:pt x="18" y="83"/>
                  </a:lnTo>
                  <a:lnTo>
                    <a:pt x="19" y="83"/>
                  </a:lnTo>
                  <a:close/>
                  <a:moveTo>
                    <a:pt x="31" y="254"/>
                  </a:moveTo>
                  <a:lnTo>
                    <a:pt x="31" y="256"/>
                  </a:lnTo>
                  <a:lnTo>
                    <a:pt x="31" y="254"/>
                  </a:lnTo>
                  <a:close/>
                  <a:moveTo>
                    <a:pt x="41" y="267"/>
                  </a:moveTo>
                  <a:lnTo>
                    <a:pt x="41" y="265"/>
                  </a:lnTo>
                  <a:lnTo>
                    <a:pt x="41" y="267"/>
                  </a:lnTo>
                  <a:close/>
                  <a:moveTo>
                    <a:pt x="48" y="194"/>
                  </a:moveTo>
                  <a:lnTo>
                    <a:pt x="46" y="194"/>
                  </a:lnTo>
                  <a:lnTo>
                    <a:pt x="48" y="194"/>
                  </a:lnTo>
                  <a:close/>
                  <a:moveTo>
                    <a:pt x="409" y="68"/>
                  </a:moveTo>
                  <a:lnTo>
                    <a:pt x="407" y="68"/>
                  </a:lnTo>
                  <a:lnTo>
                    <a:pt x="409" y="68"/>
                  </a:lnTo>
                  <a:close/>
                  <a:moveTo>
                    <a:pt x="363" y="173"/>
                  </a:moveTo>
                  <a:lnTo>
                    <a:pt x="363" y="175"/>
                  </a:lnTo>
                  <a:lnTo>
                    <a:pt x="363" y="173"/>
                  </a:lnTo>
                  <a:close/>
                  <a:moveTo>
                    <a:pt x="115" y="669"/>
                  </a:moveTo>
                  <a:lnTo>
                    <a:pt x="114" y="669"/>
                  </a:lnTo>
                  <a:lnTo>
                    <a:pt x="115" y="669"/>
                  </a:lnTo>
                  <a:close/>
                  <a:moveTo>
                    <a:pt x="75" y="544"/>
                  </a:moveTo>
                  <a:lnTo>
                    <a:pt x="75" y="542"/>
                  </a:lnTo>
                  <a:lnTo>
                    <a:pt x="75" y="544"/>
                  </a:lnTo>
                  <a:close/>
                  <a:moveTo>
                    <a:pt x="67" y="540"/>
                  </a:moveTo>
                  <a:lnTo>
                    <a:pt x="69" y="540"/>
                  </a:lnTo>
                  <a:lnTo>
                    <a:pt x="67" y="540"/>
                  </a:lnTo>
                  <a:close/>
                  <a:moveTo>
                    <a:pt x="413" y="93"/>
                  </a:moveTo>
                  <a:lnTo>
                    <a:pt x="411" y="93"/>
                  </a:lnTo>
                  <a:lnTo>
                    <a:pt x="413" y="93"/>
                  </a:lnTo>
                  <a:close/>
                  <a:moveTo>
                    <a:pt x="377" y="179"/>
                  </a:moveTo>
                  <a:lnTo>
                    <a:pt x="379" y="179"/>
                  </a:lnTo>
                  <a:lnTo>
                    <a:pt x="377" y="179"/>
                  </a:lnTo>
                  <a:close/>
                  <a:moveTo>
                    <a:pt x="46" y="212"/>
                  </a:moveTo>
                  <a:lnTo>
                    <a:pt x="44" y="212"/>
                  </a:lnTo>
                  <a:lnTo>
                    <a:pt x="46" y="212"/>
                  </a:lnTo>
                  <a:close/>
                  <a:moveTo>
                    <a:pt x="46" y="164"/>
                  </a:moveTo>
                  <a:lnTo>
                    <a:pt x="46" y="165"/>
                  </a:lnTo>
                  <a:lnTo>
                    <a:pt x="46" y="164"/>
                  </a:lnTo>
                  <a:close/>
                  <a:moveTo>
                    <a:pt x="317" y="154"/>
                  </a:moveTo>
                  <a:lnTo>
                    <a:pt x="317" y="156"/>
                  </a:lnTo>
                  <a:lnTo>
                    <a:pt x="317" y="154"/>
                  </a:lnTo>
                  <a:close/>
                  <a:moveTo>
                    <a:pt x="50" y="192"/>
                  </a:moveTo>
                  <a:lnTo>
                    <a:pt x="52" y="192"/>
                  </a:lnTo>
                  <a:lnTo>
                    <a:pt x="50" y="192"/>
                  </a:lnTo>
                  <a:close/>
                  <a:moveTo>
                    <a:pt x="33" y="144"/>
                  </a:moveTo>
                  <a:lnTo>
                    <a:pt x="35" y="144"/>
                  </a:lnTo>
                  <a:lnTo>
                    <a:pt x="33" y="144"/>
                  </a:lnTo>
                  <a:close/>
                  <a:moveTo>
                    <a:pt x="35" y="263"/>
                  </a:moveTo>
                  <a:lnTo>
                    <a:pt x="35" y="261"/>
                  </a:lnTo>
                  <a:lnTo>
                    <a:pt x="35" y="263"/>
                  </a:lnTo>
                  <a:close/>
                  <a:moveTo>
                    <a:pt x="413" y="100"/>
                  </a:moveTo>
                  <a:lnTo>
                    <a:pt x="411" y="100"/>
                  </a:lnTo>
                  <a:lnTo>
                    <a:pt x="413" y="100"/>
                  </a:lnTo>
                  <a:close/>
                  <a:moveTo>
                    <a:pt x="392" y="173"/>
                  </a:moveTo>
                  <a:lnTo>
                    <a:pt x="392" y="171"/>
                  </a:lnTo>
                  <a:lnTo>
                    <a:pt x="392" y="173"/>
                  </a:lnTo>
                  <a:close/>
                  <a:moveTo>
                    <a:pt x="64" y="534"/>
                  </a:moveTo>
                  <a:lnTo>
                    <a:pt x="62" y="534"/>
                  </a:lnTo>
                  <a:lnTo>
                    <a:pt x="62" y="536"/>
                  </a:lnTo>
                  <a:lnTo>
                    <a:pt x="62" y="534"/>
                  </a:lnTo>
                  <a:lnTo>
                    <a:pt x="64" y="534"/>
                  </a:lnTo>
                  <a:close/>
                  <a:moveTo>
                    <a:pt x="54" y="175"/>
                  </a:moveTo>
                  <a:lnTo>
                    <a:pt x="52" y="175"/>
                  </a:lnTo>
                  <a:lnTo>
                    <a:pt x="54" y="175"/>
                  </a:lnTo>
                  <a:close/>
                  <a:moveTo>
                    <a:pt x="44" y="213"/>
                  </a:moveTo>
                  <a:lnTo>
                    <a:pt x="44" y="215"/>
                  </a:lnTo>
                  <a:lnTo>
                    <a:pt x="44" y="213"/>
                  </a:lnTo>
                  <a:close/>
                  <a:moveTo>
                    <a:pt x="304" y="183"/>
                  </a:moveTo>
                  <a:lnTo>
                    <a:pt x="304" y="185"/>
                  </a:lnTo>
                  <a:lnTo>
                    <a:pt x="304" y="183"/>
                  </a:lnTo>
                  <a:close/>
                  <a:moveTo>
                    <a:pt x="119" y="657"/>
                  </a:moveTo>
                  <a:lnTo>
                    <a:pt x="119" y="655"/>
                  </a:lnTo>
                  <a:lnTo>
                    <a:pt x="119" y="657"/>
                  </a:lnTo>
                  <a:close/>
                  <a:moveTo>
                    <a:pt x="461" y="127"/>
                  </a:moveTo>
                  <a:lnTo>
                    <a:pt x="459" y="127"/>
                  </a:lnTo>
                  <a:lnTo>
                    <a:pt x="461" y="127"/>
                  </a:lnTo>
                  <a:close/>
                  <a:moveTo>
                    <a:pt x="48" y="177"/>
                  </a:moveTo>
                  <a:lnTo>
                    <a:pt x="50" y="177"/>
                  </a:lnTo>
                  <a:lnTo>
                    <a:pt x="48" y="177"/>
                  </a:lnTo>
                  <a:close/>
                  <a:moveTo>
                    <a:pt x="273" y="62"/>
                  </a:moveTo>
                  <a:lnTo>
                    <a:pt x="273" y="60"/>
                  </a:lnTo>
                  <a:lnTo>
                    <a:pt x="273" y="62"/>
                  </a:lnTo>
                  <a:close/>
                  <a:moveTo>
                    <a:pt x="409" y="60"/>
                  </a:moveTo>
                  <a:lnTo>
                    <a:pt x="409" y="62"/>
                  </a:lnTo>
                  <a:lnTo>
                    <a:pt x="409" y="60"/>
                  </a:lnTo>
                  <a:lnTo>
                    <a:pt x="409" y="62"/>
                  </a:lnTo>
                  <a:lnTo>
                    <a:pt x="409" y="60"/>
                  </a:lnTo>
                  <a:close/>
                  <a:moveTo>
                    <a:pt x="50" y="517"/>
                  </a:moveTo>
                  <a:lnTo>
                    <a:pt x="48" y="517"/>
                  </a:lnTo>
                  <a:lnTo>
                    <a:pt x="50" y="517"/>
                  </a:lnTo>
                  <a:close/>
                  <a:moveTo>
                    <a:pt x="536" y="836"/>
                  </a:moveTo>
                  <a:lnTo>
                    <a:pt x="536" y="837"/>
                  </a:lnTo>
                  <a:lnTo>
                    <a:pt x="536" y="836"/>
                  </a:lnTo>
                  <a:close/>
                  <a:moveTo>
                    <a:pt x="411" y="108"/>
                  </a:moveTo>
                  <a:lnTo>
                    <a:pt x="413" y="108"/>
                  </a:lnTo>
                  <a:lnTo>
                    <a:pt x="411" y="108"/>
                  </a:lnTo>
                  <a:close/>
                  <a:moveTo>
                    <a:pt x="35" y="246"/>
                  </a:moveTo>
                  <a:lnTo>
                    <a:pt x="33" y="246"/>
                  </a:lnTo>
                  <a:lnTo>
                    <a:pt x="35" y="246"/>
                  </a:lnTo>
                  <a:close/>
                  <a:moveTo>
                    <a:pt x="307" y="181"/>
                  </a:moveTo>
                  <a:lnTo>
                    <a:pt x="307" y="183"/>
                  </a:lnTo>
                  <a:lnTo>
                    <a:pt x="307" y="181"/>
                  </a:lnTo>
                  <a:close/>
                  <a:moveTo>
                    <a:pt x="46" y="194"/>
                  </a:moveTo>
                  <a:lnTo>
                    <a:pt x="46" y="192"/>
                  </a:lnTo>
                  <a:lnTo>
                    <a:pt x="46" y="194"/>
                  </a:lnTo>
                  <a:close/>
                  <a:moveTo>
                    <a:pt x="64" y="540"/>
                  </a:moveTo>
                  <a:lnTo>
                    <a:pt x="62" y="540"/>
                  </a:lnTo>
                  <a:lnTo>
                    <a:pt x="64" y="540"/>
                  </a:lnTo>
                  <a:close/>
                  <a:moveTo>
                    <a:pt x="300" y="187"/>
                  </a:moveTo>
                  <a:lnTo>
                    <a:pt x="302" y="187"/>
                  </a:lnTo>
                  <a:lnTo>
                    <a:pt x="300" y="187"/>
                  </a:lnTo>
                  <a:close/>
                  <a:moveTo>
                    <a:pt x="309" y="164"/>
                  </a:moveTo>
                  <a:lnTo>
                    <a:pt x="307" y="164"/>
                  </a:lnTo>
                  <a:lnTo>
                    <a:pt x="309" y="164"/>
                  </a:lnTo>
                  <a:close/>
                  <a:moveTo>
                    <a:pt x="67" y="281"/>
                  </a:moveTo>
                  <a:lnTo>
                    <a:pt x="67" y="283"/>
                  </a:lnTo>
                  <a:lnTo>
                    <a:pt x="67" y="281"/>
                  </a:lnTo>
                  <a:close/>
                  <a:moveTo>
                    <a:pt x="311" y="169"/>
                  </a:moveTo>
                  <a:lnTo>
                    <a:pt x="311" y="167"/>
                  </a:lnTo>
                  <a:lnTo>
                    <a:pt x="311" y="169"/>
                  </a:lnTo>
                  <a:close/>
                  <a:moveTo>
                    <a:pt x="277" y="94"/>
                  </a:moveTo>
                  <a:lnTo>
                    <a:pt x="277" y="93"/>
                  </a:lnTo>
                  <a:lnTo>
                    <a:pt x="277" y="94"/>
                  </a:lnTo>
                  <a:close/>
                  <a:moveTo>
                    <a:pt x="361" y="177"/>
                  </a:moveTo>
                  <a:lnTo>
                    <a:pt x="361" y="175"/>
                  </a:lnTo>
                  <a:lnTo>
                    <a:pt x="361" y="177"/>
                  </a:lnTo>
                  <a:close/>
                  <a:moveTo>
                    <a:pt x="271" y="75"/>
                  </a:moveTo>
                  <a:lnTo>
                    <a:pt x="269" y="75"/>
                  </a:lnTo>
                  <a:lnTo>
                    <a:pt x="269" y="73"/>
                  </a:lnTo>
                  <a:lnTo>
                    <a:pt x="271" y="73"/>
                  </a:lnTo>
                  <a:lnTo>
                    <a:pt x="271" y="75"/>
                  </a:lnTo>
                  <a:close/>
                  <a:moveTo>
                    <a:pt x="48" y="206"/>
                  </a:moveTo>
                  <a:lnTo>
                    <a:pt x="46" y="206"/>
                  </a:lnTo>
                  <a:lnTo>
                    <a:pt x="48" y="206"/>
                  </a:lnTo>
                  <a:close/>
                  <a:moveTo>
                    <a:pt x="361" y="177"/>
                  </a:moveTo>
                  <a:lnTo>
                    <a:pt x="361" y="175"/>
                  </a:lnTo>
                  <a:lnTo>
                    <a:pt x="361" y="177"/>
                  </a:lnTo>
                  <a:close/>
                  <a:moveTo>
                    <a:pt x="407" y="66"/>
                  </a:moveTo>
                  <a:lnTo>
                    <a:pt x="409" y="66"/>
                  </a:lnTo>
                  <a:lnTo>
                    <a:pt x="407" y="66"/>
                  </a:lnTo>
                  <a:close/>
                  <a:moveTo>
                    <a:pt x="60" y="540"/>
                  </a:moveTo>
                  <a:lnTo>
                    <a:pt x="60" y="538"/>
                  </a:lnTo>
                  <a:lnTo>
                    <a:pt x="60" y="540"/>
                  </a:lnTo>
                  <a:close/>
                  <a:moveTo>
                    <a:pt x="409" y="66"/>
                  </a:moveTo>
                  <a:lnTo>
                    <a:pt x="409" y="64"/>
                  </a:lnTo>
                  <a:lnTo>
                    <a:pt x="409" y="66"/>
                  </a:lnTo>
                  <a:close/>
                  <a:moveTo>
                    <a:pt x="311" y="162"/>
                  </a:moveTo>
                  <a:lnTo>
                    <a:pt x="309" y="162"/>
                  </a:lnTo>
                  <a:lnTo>
                    <a:pt x="311" y="162"/>
                  </a:lnTo>
                  <a:close/>
                  <a:moveTo>
                    <a:pt x="290" y="125"/>
                  </a:moveTo>
                  <a:lnTo>
                    <a:pt x="290" y="123"/>
                  </a:lnTo>
                  <a:lnTo>
                    <a:pt x="290" y="125"/>
                  </a:lnTo>
                  <a:close/>
                  <a:moveTo>
                    <a:pt x="48" y="221"/>
                  </a:moveTo>
                  <a:lnTo>
                    <a:pt x="46" y="221"/>
                  </a:lnTo>
                  <a:lnTo>
                    <a:pt x="48" y="221"/>
                  </a:lnTo>
                  <a:close/>
                  <a:moveTo>
                    <a:pt x="411" y="106"/>
                  </a:moveTo>
                  <a:lnTo>
                    <a:pt x="411" y="108"/>
                  </a:lnTo>
                  <a:lnTo>
                    <a:pt x="411" y="106"/>
                  </a:lnTo>
                  <a:close/>
                  <a:moveTo>
                    <a:pt x="39" y="146"/>
                  </a:moveTo>
                  <a:lnTo>
                    <a:pt x="39" y="144"/>
                  </a:lnTo>
                  <a:lnTo>
                    <a:pt x="39" y="146"/>
                  </a:lnTo>
                  <a:close/>
                  <a:moveTo>
                    <a:pt x="69" y="544"/>
                  </a:moveTo>
                  <a:lnTo>
                    <a:pt x="71" y="544"/>
                  </a:lnTo>
                  <a:lnTo>
                    <a:pt x="69" y="544"/>
                  </a:lnTo>
                  <a:close/>
                  <a:moveTo>
                    <a:pt x="415" y="137"/>
                  </a:moveTo>
                  <a:lnTo>
                    <a:pt x="413" y="137"/>
                  </a:lnTo>
                  <a:lnTo>
                    <a:pt x="415" y="137"/>
                  </a:lnTo>
                  <a:close/>
                  <a:moveTo>
                    <a:pt x="407" y="160"/>
                  </a:moveTo>
                  <a:lnTo>
                    <a:pt x="405" y="160"/>
                  </a:lnTo>
                  <a:lnTo>
                    <a:pt x="407" y="160"/>
                  </a:lnTo>
                  <a:close/>
                  <a:moveTo>
                    <a:pt x="281" y="102"/>
                  </a:moveTo>
                  <a:lnTo>
                    <a:pt x="281" y="100"/>
                  </a:lnTo>
                  <a:lnTo>
                    <a:pt x="281" y="102"/>
                  </a:lnTo>
                  <a:close/>
                  <a:moveTo>
                    <a:pt x="409" y="58"/>
                  </a:moveTo>
                  <a:lnTo>
                    <a:pt x="409" y="60"/>
                  </a:lnTo>
                  <a:lnTo>
                    <a:pt x="409" y="58"/>
                  </a:lnTo>
                  <a:close/>
                  <a:moveTo>
                    <a:pt x="273" y="62"/>
                  </a:moveTo>
                  <a:lnTo>
                    <a:pt x="271" y="62"/>
                  </a:lnTo>
                  <a:lnTo>
                    <a:pt x="273" y="62"/>
                  </a:lnTo>
                  <a:close/>
                  <a:moveTo>
                    <a:pt x="405" y="79"/>
                  </a:moveTo>
                  <a:lnTo>
                    <a:pt x="407" y="79"/>
                  </a:lnTo>
                  <a:lnTo>
                    <a:pt x="405" y="79"/>
                  </a:lnTo>
                  <a:close/>
                  <a:moveTo>
                    <a:pt x="565" y="774"/>
                  </a:moveTo>
                  <a:lnTo>
                    <a:pt x="565" y="772"/>
                  </a:lnTo>
                  <a:lnTo>
                    <a:pt x="565" y="774"/>
                  </a:lnTo>
                  <a:close/>
                  <a:moveTo>
                    <a:pt x="304" y="185"/>
                  </a:moveTo>
                  <a:lnTo>
                    <a:pt x="304" y="183"/>
                  </a:lnTo>
                  <a:lnTo>
                    <a:pt x="304" y="185"/>
                  </a:lnTo>
                  <a:close/>
                  <a:moveTo>
                    <a:pt x="275" y="89"/>
                  </a:moveTo>
                  <a:lnTo>
                    <a:pt x="273" y="89"/>
                  </a:lnTo>
                  <a:lnTo>
                    <a:pt x="275" y="89"/>
                  </a:lnTo>
                  <a:close/>
                  <a:moveTo>
                    <a:pt x="58" y="534"/>
                  </a:moveTo>
                  <a:lnTo>
                    <a:pt x="60" y="532"/>
                  </a:lnTo>
                  <a:lnTo>
                    <a:pt x="60" y="534"/>
                  </a:lnTo>
                  <a:lnTo>
                    <a:pt x="58" y="534"/>
                  </a:lnTo>
                  <a:close/>
                  <a:moveTo>
                    <a:pt x="438" y="972"/>
                  </a:moveTo>
                  <a:lnTo>
                    <a:pt x="438" y="970"/>
                  </a:lnTo>
                  <a:lnTo>
                    <a:pt x="438" y="972"/>
                  </a:lnTo>
                  <a:close/>
                  <a:moveTo>
                    <a:pt x="392" y="171"/>
                  </a:moveTo>
                  <a:lnTo>
                    <a:pt x="392" y="169"/>
                  </a:lnTo>
                  <a:lnTo>
                    <a:pt x="392" y="171"/>
                  </a:lnTo>
                  <a:close/>
                  <a:moveTo>
                    <a:pt x="597" y="655"/>
                  </a:moveTo>
                  <a:lnTo>
                    <a:pt x="597" y="657"/>
                  </a:lnTo>
                  <a:lnTo>
                    <a:pt x="597" y="655"/>
                  </a:lnTo>
                  <a:close/>
                  <a:moveTo>
                    <a:pt x="50" y="217"/>
                  </a:moveTo>
                  <a:lnTo>
                    <a:pt x="50" y="215"/>
                  </a:lnTo>
                  <a:lnTo>
                    <a:pt x="50" y="217"/>
                  </a:lnTo>
                  <a:close/>
                  <a:moveTo>
                    <a:pt x="419" y="114"/>
                  </a:moveTo>
                  <a:lnTo>
                    <a:pt x="417" y="114"/>
                  </a:lnTo>
                  <a:lnTo>
                    <a:pt x="419" y="114"/>
                  </a:lnTo>
                  <a:close/>
                  <a:moveTo>
                    <a:pt x="597" y="649"/>
                  </a:moveTo>
                  <a:lnTo>
                    <a:pt x="599" y="649"/>
                  </a:lnTo>
                  <a:lnTo>
                    <a:pt x="597" y="649"/>
                  </a:lnTo>
                  <a:close/>
                  <a:moveTo>
                    <a:pt x="407" y="81"/>
                  </a:moveTo>
                  <a:lnTo>
                    <a:pt x="407" y="79"/>
                  </a:lnTo>
                  <a:lnTo>
                    <a:pt x="407" y="81"/>
                  </a:lnTo>
                  <a:close/>
                  <a:moveTo>
                    <a:pt x="402" y="144"/>
                  </a:moveTo>
                  <a:lnTo>
                    <a:pt x="402" y="146"/>
                  </a:lnTo>
                  <a:lnTo>
                    <a:pt x="402" y="144"/>
                  </a:lnTo>
                  <a:close/>
                  <a:moveTo>
                    <a:pt x="402" y="139"/>
                  </a:moveTo>
                  <a:lnTo>
                    <a:pt x="400" y="139"/>
                  </a:lnTo>
                  <a:lnTo>
                    <a:pt x="402" y="139"/>
                  </a:lnTo>
                  <a:close/>
                  <a:moveTo>
                    <a:pt x="44" y="164"/>
                  </a:moveTo>
                  <a:lnTo>
                    <a:pt x="44" y="162"/>
                  </a:lnTo>
                  <a:lnTo>
                    <a:pt x="44" y="164"/>
                  </a:lnTo>
                  <a:close/>
                  <a:moveTo>
                    <a:pt x="392" y="1054"/>
                  </a:moveTo>
                  <a:lnTo>
                    <a:pt x="392" y="1052"/>
                  </a:lnTo>
                  <a:lnTo>
                    <a:pt x="392" y="1054"/>
                  </a:lnTo>
                  <a:close/>
                  <a:moveTo>
                    <a:pt x="44" y="162"/>
                  </a:moveTo>
                  <a:lnTo>
                    <a:pt x="42" y="162"/>
                  </a:lnTo>
                  <a:lnTo>
                    <a:pt x="42" y="160"/>
                  </a:lnTo>
                  <a:lnTo>
                    <a:pt x="42" y="162"/>
                  </a:lnTo>
                  <a:lnTo>
                    <a:pt x="44" y="162"/>
                  </a:lnTo>
                  <a:close/>
                  <a:moveTo>
                    <a:pt x="42" y="235"/>
                  </a:moveTo>
                  <a:lnTo>
                    <a:pt x="41" y="235"/>
                  </a:lnTo>
                  <a:lnTo>
                    <a:pt x="42" y="235"/>
                  </a:lnTo>
                  <a:close/>
                  <a:moveTo>
                    <a:pt x="469" y="123"/>
                  </a:moveTo>
                  <a:lnTo>
                    <a:pt x="471" y="123"/>
                  </a:lnTo>
                  <a:lnTo>
                    <a:pt x="469" y="123"/>
                  </a:lnTo>
                  <a:close/>
                  <a:moveTo>
                    <a:pt x="409" y="1026"/>
                  </a:moveTo>
                  <a:lnTo>
                    <a:pt x="409" y="1024"/>
                  </a:lnTo>
                  <a:lnTo>
                    <a:pt x="409" y="1026"/>
                  </a:lnTo>
                  <a:close/>
                  <a:moveTo>
                    <a:pt x="19" y="81"/>
                  </a:moveTo>
                  <a:lnTo>
                    <a:pt x="18" y="81"/>
                  </a:lnTo>
                  <a:lnTo>
                    <a:pt x="19" y="81"/>
                  </a:lnTo>
                  <a:close/>
                  <a:moveTo>
                    <a:pt x="46" y="217"/>
                  </a:moveTo>
                  <a:lnTo>
                    <a:pt x="48" y="217"/>
                  </a:lnTo>
                  <a:lnTo>
                    <a:pt x="46" y="217"/>
                  </a:lnTo>
                  <a:close/>
                  <a:moveTo>
                    <a:pt x="39" y="269"/>
                  </a:moveTo>
                  <a:lnTo>
                    <a:pt x="37" y="269"/>
                  </a:lnTo>
                  <a:lnTo>
                    <a:pt x="39" y="269"/>
                  </a:lnTo>
                  <a:close/>
                  <a:moveTo>
                    <a:pt x="302" y="169"/>
                  </a:moveTo>
                  <a:lnTo>
                    <a:pt x="302" y="167"/>
                  </a:lnTo>
                  <a:lnTo>
                    <a:pt x="302" y="169"/>
                  </a:lnTo>
                  <a:close/>
                  <a:moveTo>
                    <a:pt x="417" y="108"/>
                  </a:moveTo>
                  <a:lnTo>
                    <a:pt x="419" y="108"/>
                  </a:lnTo>
                  <a:lnTo>
                    <a:pt x="417" y="108"/>
                  </a:lnTo>
                  <a:close/>
                  <a:moveTo>
                    <a:pt x="277" y="93"/>
                  </a:moveTo>
                  <a:lnTo>
                    <a:pt x="275" y="93"/>
                  </a:lnTo>
                  <a:lnTo>
                    <a:pt x="277" y="93"/>
                  </a:lnTo>
                  <a:close/>
                  <a:moveTo>
                    <a:pt x="271" y="87"/>
                  </a:moveTo>
                  <a:lnTo>
                    <a:pt x="273" y="87"/>
                  </a:lnTo>
                  <a:lnTo>
                    <a:pt x="271" y="87"/>
                  </a:lnTo>
                  <a:close/>
                  <a:moveTo>
                    <a:pt x="25" y="100"/>
                  </a:moveTo>
                  <a:lnTo>
                    <a:pt x="23" y="100"/>
                  </a:lnTo>
                  <a:lnTo>
                    <a:pt x="25" y="100"/>
                  </a:lnTo>
                  <a:close/>
                  <a:moveTo>
                    <a:pt x="413" y="1010"/>
                  </a:moveTo>
                  <a:lnTo>
                    <a:pt x="413" y="1008"/>
                  </a:lnTo>
                  <a:lnTo>
                    <a:pt x="413" y="1010"/>
                  </a:lnTo>
                  <a:close/>
                  <a:moveTo>
                    <a:pt x="271" y="56"/>
                  </a:moveTo>
                  <a:lnTo>
                    <a:pt x="271" y="58"/>
                  </a:lnTo>
                  <a:lnTo>
                    <a:pt x="271" y="56"/>
                  </a:lnTo>
                  <a:close/>
                  <a:moveTo>
                    <a:pt x="60" y="540"/>
                  </a:moveTo>
                  <a:lnTo>
                    <a:pt x="62" y="540"/>
                  </a:lnTo>
                  <a:lnTo>
                    <a:pt x="60" y="540"/>
                  </a:lnTo>
                  <a:close/>
                  <a:moveTo>
                    <a:pt x="294" y="141"/>
                  </a:moveTo>
                  <a:lnTo>
                    <a:pt x="294" y="139"/>
                  </a:lnTo>
                  <a:lnTo>
                    <a:pt x="294" y="141"/>
                  </a:lnTo>
                  <a:close/>
                  <a:moveTo>
                    <a:pt x="52" y="519"/>
                  </a:moveTo>
                  <a:lnTo>
                    <a:pt x="54" y="519"/>
                  </a:lnTo>
                  <a:lnTo>
                    <a:pt x="52" y="519"/>
                  </a:lnTo>
                  <a:close/>
                  <a:moveTo>
                    <a:pt x="35" y="144"/>
                  </a:moveTo>
                  <a:lnTo>
                    <a:pt x="33" y="144"/>
                  </a:lnTo>
                  <a:lnTo>
                    <a:pt x="35" y="144"/>
                  </a:lnTo>
                  <a:close/>
                  <a:moveTo>
                    <a:pt x="409" y="1026"/>
                  </a:moveTo>
                  <a:lnTo>
                    <a:pt x="409" y="1024"/>
                  </a:lnTo>
                  <a:lnTo>
                    <a:pt x="409" y="1026"/>
                  </a:lnTo>
                  <a:close/>
                  <a:moveTo>
                    <a:pt x="96" y="27"/>
                  </a:moveTo>
                  <a:lnTo>
                    <a:pt x="98" y="27"/>
                  </a:lnTo>
                  <a:lnTo>
                    <a:pt x="96" y="27"/>
                  </a:lnTo>
                  <a:close/>
                  <a:moveTo>
                    <a:pt x="427" y="1020"/>
                  </a:moveTo>
                  <a:lnTo>
                    <a:pt x="427" y="1018"/>
                  </a:lnTo>
                  <a:lnTo>
                    <a:pt x="427" y="1020"/>
                  </a:lnTo>
                  <a:close/>
                  <a:moveTo>
                    <a:pt x="25" y="93"/>
                  </a:moveTo>
                  <a:lnTo>
                    <a:pt x="23" y="93"/>
                  </a:lnTo>
                  <a:lnTo>
                    <a:pt x="25" y="93"/>
                  </a:lnTo>
                  <a:close/>
                  <a:moveTo>
                    <a:pt x="392" y="1052"/>
                  </a:moveTo>
                  <a:lnTo>
                    <a:pt x="392" y="1054"/>
                  </a:lnTo>
                  <a:lnTo>
                    <a:pt x="392" y="1052"/>
                  </a:lnTo>
                  <a:lnTo>
                    <a:pt x="392" y="1054"/>
                  </a:lnTo>
                  <a:lnTo>
                    <a:pt x="392" y="1052"/>
                  </a:lnTo>
                  <a:close/>
                  <a:moveTo>
                    <a:pt x="411" y="1018"/>
                  </a:moveTo>
                  <a:lnTo>
                    <a:pt x="411" y="1016"/>
                  </a:lnTo>
                  <a:lnTo>
                    <a:pt x="411" y="1018"/>
                  </a:lnTo>
                  <a:close/>
                  <a:moveTo>
                    <a:pt x="427" y="999"/>
                  </a:moveTo>
                  <a:lnTo>
                    <a:pt x="427" y="997"/>
                  </a:lnTo>
                  <a:lnTo>
                    <a:pt x="427" y="999"/>
                  </a:lnTo>
                  <a:close/>
                  <a:moveTo>
                    <a:pt x="597" y="649"/>
                  </a:moveTo>
                  <a:lnTo>
                    <a:pt x="597" y="647"/>
                  </a:lnTo>
                  <a:lnTo>
                    <a:pt x="597" y="649"/>
                  </a:lnTo>
                  <a:close/>
                  <a:moveTo>
                    <a:pt x="427" y="1016"/>
                  </a:moveTo>
                  <a:lnTo>
                    <a:pt x="427" y="1014"/>
                  </a:lnTo>
                  <a:lnTo>
                    <a:pt x="427" y="1016"/>
                  </a:lnTo>
                  <a:close/>
                  <a:moveTo>
                    <a:pt x="425" y="1012"/>
                  </a:moveTo>
                  <a:lnTo>
                    <a:pt x="427" y="1012"/>
                  </a:lnTo>
                  <a:lnTo>
                    <a:pt x="425" y="1012"/>
                  </a:lnTo>
                  <a:close/>
                  <a:moveTo>
                    <a:pt x="444" y="1031"/>
                  </a:moveTo>
                  <a:lnTo>
                    <a:pt x="444" y="1033"/>
                  </a:lnTo>
                  <a:lnTo>
                    <a:pt x="444" y="1031"/>
                  </a:lnTo>
                  <a:close/>
                  <a:moveTo>
                    <a:pt x="390" y="1054"/>
                  </a:moveTo>
                  <a:lnTo>
                    <a:pt x="392" y="1054"/>
                  </a:lnTo>
                  <a:lnTo>
                    <a:pt x="390" y="1054"/>
                  </a:lnTo>
                  <a:close/>
                  <a:moveTo>
                    <a:pt x="354" y="179"/>
                  </a:moveTo>
                  <a:lnTo>
                    <a:pt x="354" y="181"/>
                  </a:lnTo>
                  <a:lnTo>
                    <a:pt x="354" y="179"/>
                  </a:lnTo>
                  <a:close/>
                  <a:moveTo>
                    <a:pt x="442" y="1029"/>
                  </a:moveTo>
                  <a:lnTo>
                    <a:pt x="444" y="1029"/>
                  </a:lnTo>
                  <a:lnTo>
                    <a:pt x="442" y="1029"/>
                  </a:lnTo>
                  <a:close/>
                </a:path>
              </a:pathLst>
            </a:custGeom>
            <a:solidFill>
              <a:srgbClr val="FD685D"/>
            </a:solidFill>
            <a:ln w="3175">
              <a:solidFill>
                <a:sysClr val="window" lastClr="FFFF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black"/>
                </a:solidFill>
                <a:effectLst/>
                <a:uLnTx/>
                <a:uFillTx/>
                <a:ea typeface="宋体" panose="02010600030101010101" pitchFamily="2" charset="-122"/>
              </a:endParaRPr>
            </a:p>
          </p:txBody>
        </p:sp>
        <p:sp>
          <p:nvSpPr>
            <p:cNvPr id="60" name="Freeform 3653">
              <a:extLst>
                <a:ext uri="{FF2B5EF4-FFF2-40B4-BE49-F238E27FC236}">
                  <a16:creationId xmlns:a16="http://schemas.microsoft.com/office/drawing/2014/main" id="{493A0259-D851-9007-7A68-CE1893FB9D1A}"/>
                </a:ext>
              </a:extLst>
            </p:cNvPr>
            <p:cNvSpPr>
              <a:spLocks noEditPoints="1"/>
            </p:cNvSpPr>
            <p:nvPr/>
          </p:nvSpPr>
          <p:spPr bwMode="auto">
            <a:xfrm>
              <a:off x="2297113" y="1501776"/>
              <a:ext cx="701675" cy="1169988"/>
            </a:xfrm>
            <a:custGeom>
              <a:avLst/>
              <a:gdLst>
                <a:gd name="T0" fmla="*/ 417 w 442"/>
                <a:gd name="T1" fmla="*/ 128 h 737"/>
                <a:gd name="T2" fmla="*/ 396 w 442"/>
                <a:gd name="T3" fmla="*/ 161 h 737"/>
                <a:gd name="T4" fmla="*/ 375 w 442"/>
                <a:gd name="T5" fmla="*/ 188 h 737"/>
                <a:gd name="T6" fmla="*/ 388 w 442"/>
                <a:gd name="T7" fmla="*/ 207 h 737"/>
                <a:gd name="T8" fmla="*/ 409 w 442"/>
                <a:gd name="T9" fmla="*/ 223 h 737"/>
                <a:gd name="T10" fmla="*/ 406 w 442"/>
                <a:gd name="T11" fmla="*/ 242 h 737"/>
                <a:gd name="T12" fmla="*/ 390 w 442"/>
                <a:gd name="T13" fmla="*/ 263 h 737"/>
                <a:gd name="T14" fmla="*/ 392 w 442"/>
                <a:gd name="T15" fmla="*/ 286 h 737"/>
                <a:gd name="T16" fmla="*/ 406 w 442"/>
                <a:gd name="T17" fmla="*/ 295 h 737"/>
                <a:gd name="T18" fmla="*/ 398 w 442"/>
                <a:gd name="T19" fmla="*/ 315 h 737"/>
                <a:gd name="T20" fmla="*/ 375 w 442"/>
                <a:gd name="T21" fmla="*/ 332 h 737"/>
                <a:gd name="T22" fmla="*/ 365 w 442"/>
                <a:gd name="T23" fmla="*/ 349 h 737"/>
                <a:gd name="T24" fmla="*/ 365 w 442"/>
                <a:gd name="T25" fmla="*/ 372 h 737"/>
                <a:gd name="T26" fmla="*/ 369 w 442"/>
                <a:gd name="T27" fmla="*/ 393 h 737"/>
                <a:gd name="T28" fmla="*/ 369 w 442"/>
                <a:gd name="T29" fmla="*/ 413 h 737"/>
                <a:gd name="T30" fmla="*/ 377 w 442"/>
                <a:gd name="T31" fmla="*/ 439 h 737"/>
                <a:gd name="T32" fmla="*/ 371 w 442"/>
                <a:gd name="T33" fmla="*/ 453 h 737"/>
                <a:gd name="T34" fmla="*/ 358 w 442"/>
                <a:gd name="T35" fmla="*/ 468 h 737"/>
                <a:gd name="T36" fmla="*/ 358 w 442"/>
                <a:gd name="T37" fmla="*/ 493 h 737"/>
                <a:gd name="T38" fmla="*/ 350 w 442"/>
                <a:gd name="T39" fmla="*/ 516 h 737"/>
                <a:gd name="T40" fmla="*/ 344 w 442"/>
                <a:gd name="T41" fmla="*/ 539 h 737"/>
                <a:gd name="T42" fmla="*/ 356 w 442"/>
                <a:gd name="T43" fmla="*/ 555 h 737"/>
                <a:gd name="T44" fmla="*/ 360 w 442"/>
                <a:gd name="T45" fmla="*/ 580 h 737"/>
                <a:gd name="T46" fmla="*/ 367 w 442"/>
                <a:gd name="T47" fmla="*/ 608 h 737"/>
                <a:gd name="T48" fmla="*/ 361 w 442"/>
                <a:gd name="T49" fmla="*/ 635 h 737"/>
                <a:gd name="T50" fmla="*/ 365 w 442"/>
                <a:gd name="T51" fmla="*/ 654 h 737"/>
                <a:gd name="T52" fmla="*/ 384 w 442"/>
                <a:gd name="T53" fmla="*/ 664 h 737"/>
                <a:gd name="T54" fmla="*/ 411 w 442"/>
                <a:gd name="T55" fmla="*/ 672 h 737"/>
                <a:gd name="T56" fmla="*/ 409 w 442"/>
                <a:gd name="T57" fmla="*/ 691 h 737"/>
                <a:gd name="T58" fmla="*/ 409 w 442"/>
                <a:gd name="T59" fmla="*/ 737 h 737"/>
                <a:gd name="T60" fmla="*/ 384 w 442"/>
                <a:gd name="T61" fmla="*/ 724 h 737"/>
                <a:gd name="T62" fmla="*/ 360 w 442"/>
                <a:gd name="T63" fmla="*/ 708 h 737"/>
                <a:gd name="T64" fmla="*/ 336 w 442"/>
                <a:gd name="T65" fmla="*/ 695 h 737"/>
                <a:gd name="T66" fmla="*/ 312 w 442"/>
                <a:gd name="T67" fmla="*/ 678 h 737"/>
                <a:gd name="T68" fmla="*/ 287 w 442"/>
                <a:gd name="T69" fmla="*/ 662 h 737"/>
                <a:gd name="T70" fmla="*/ 264 w 442"/>
                <a:gd name="T71" fmla="*/ 647 h 737"/>
                <a:gd name="T72" fmla="*/ 239 w 442"/>
                <a:gd name="T73" fmla="*/ 631 h 737"/>
                <a:gd name="T74" fmla="*/ 214 w 442"/>
                <a:gd name="T75" fmla="*/ 614 h 737"/>
                <a:gd name="T76" fmla="*/ 192 w 442"/>
                <a:gd name="T77" fmla="*/ 597 h 737"/>
                <a:gd name="T78" fmla="*/ 171 w 442"/>
                <a:gd name="T79" fmla="*/ 582 h 737"/>
                <a:gd name="T80" fmla="*/ 148 w 442"/>
                <a:gd name="T81" fmla="*/ 564 h 737"/>
                <a:gd name="T82" fmla="*/ 125 w 442"/>
                <a:gd name="T83" fmla="*/ 547 h 737"/>
                <a:gd name="T84" fmla="*/ 104 w 442"/>
                <a:gd name="T85" fmla="*/ 528 h 737"/>
                <a:gd name="T86" fmla="*/ 81 w 442"/>
                <a:gd name="T87" fmla="*/ 510 h 737"/>
                <a:gd name="T88" fmla="*/ 62 w 442"/>
                <a:gd name="T89" fmla="*/ 491 h 737"/>
                <a:gd name="T90" fmla="*/ 37 w 442"/>
                <a:gd name="T91" fmla="*/ 472 h 737"/>
                <a:gd name="T92" fmla="*/ 31 w 442"/>
                <a:gd name="T93" fmla="*/ 378 h 737"/>
                <a:gd name="T94" fmla="*/ 83 w 442"/>
                <a:gd name="T95" fmla="*/ 326 h 737"/>
                <a:gd name="T96" fmla="*/ 118 w 442"/>
                <a:gd name="T97" fmla="*/ 288 h 737"/>
                <a:gd name="T98" fmla="*/ 200 w 442"/>
                <a:gd name="T99" fmla="*/ 203 h 737"/>
                <a:gd name="T100" fmla="*/ 329 w 442"/>
                <a:gd name="T101" fmla="*/ 71 h 737"/>
                <a:gd name="T102" fmla="*/ 400 w 442"/>
                <a:gd name="T103" fmla="*/ 2 h 737"/>
                <a:gd name="T104" fmla="*/ 415 w 442"/>
                <a:gd name="T105" fmla="*/ 15 h 737"/>
                <a:gd name="T106" fmla="*/ 421 w 442"/>
                <a:gd name="T107" fmla="*/ 29 h 737"/>
                <a:gd name="T108" fmla="*/ 419 w 442"/>
                <a:gd name="T109" fmla="*/ 44 h 737"/>
                <a:gd name="T110" fmla="*/ 423 w 442"/>
                <a:gd name="T111" fmla="*/ 55 h 737"/>
                <a:gd name="T112" fmla="*/ 425 w 442"/>
                <a:gd name="T113" fmla="*/ 55 h 737"/>
                <a:gd name="T114" fmla="*/ 427 w 442"/>
                <a:gd name="T115" fmla="*/ 75 h 737"/>
                <a:gd name="T116" fmla="*/ 434 w 442"/>
                <a:gd name="T117" fmla="*/ 90 h 737"/>
                <a:gd name="T118" fmla="*/ 427 w 442"/>
                <a:gd name="T119" fmla="*/ 32 h 737"/>
                <a:gd name="T120" fmla="*/ 442 w 442"/>
                <a:gd name="T121" fmla="*/ 102 h 737"/>
                <a:gd name="T122" fmla="*/ 421 w 442"/>
                <a:gd name="T123" fmla="*/ 27 h 737"/>
                <a:gd name="T124" fmla="*/ 423 w 442"/>
                <a:gd name="T125" fmla="*/ 52 h 7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42" h="737">
                  <a:moveTo>
                    <a:pt x="440" y="102"/>
                  </a:moveTo>
                  <a:lnTo>
                    <a:pt x="440" y="103"/>
                  </a:lnTo>
                  <a:lnTo>
                    <a:pt x="438" y="103"/>
                  </a:lnTo>
                  <a:lnTo>
                    <a:pt x="438" y="105"/>
                  </a:lnTo>
                  <a:lnTo>
                    <a:pt x="436" y="105"/>
                  </a:lnTo>
                  <a:lnTo>
                    <a:pt x="436" y="107"/>
                  </a:lnTo>
                  <a:lnTo>
                    <a:pt x="434" y="109"/>
                  </a:lnTo>
                  <a:lnTo>
                    <a:pt x="432" y="111"/>
                  </a:lnTo>
                  <a:lnTo>
                    <a:pt x="431" y="113"/>
                  </a:lnTo>
                  <a:lnTo>
                    <a:pt x="431" y="115"/>
                  </a:lnTo>
                  <a:lnTo>
                    <a:pt x="429" y="115"/>
                  </a:lnTo>
                  <a:lnTo>
                    <a:pt x="427" y="117"/>
                  </a:lnTo>
                  <a:lnTo>
                    <a:pt x="427" y="119"/>
                  </a:lnTo>
                  <a:lnTo>
                    <a:pt x="425" y="119"/>
                  </a:lnTo>
                  <a:lnTo>
                    <a:pt x="421" y="125"/>
                  </a:lnTo>
                  <a:lnTo>
                    <a:pt x="421" y="127"/>
                  </a:lnTo>
                  <a:lnTo>
                    <a:pt x="419" y="127"/>
                  </a:lnTo>
                  <a:lnTo>
                    <a:pt x="419" y="128"/>
                  </a:lnTo>
                  <a:lnTo>
                    <a:pt x="417" y="128"/>
                  </a:lnTo>
                  <a:lnTo>
                    <a:pt x="417" y="130"/>
                  </a:lnTo>
                  <a:lnTo>
                    <a:pt x="415" y="130"/>
                  </a:lnTo>
                  <a:lnTo>
                    <a:pt x="415" y="132"/>
                  </a:lnTo>
                  <a:lnTo>
                    <a:pt x="411" y="136"/>
                  </a:lnTo>
                  <a:lnTo>
                    <a:pt x="409" y="140"/>
                  </a:lnTo>
                  <a:lnTo>
                    <a:pt x="408" y="140"/>
                  </a:lnTo>
                  <a:lnTo>
                    <a:pt x="408" y="142"/>
                  </a:lnTo>
                  <a:lnTo>
                    <a:pt x="406" y="144"/>
                  </a:lnTo>
                  <a:lnTo>
                    <a:pt x="404" y="146"/>
                  </a:lnTo>
                  <a:lnTo>
                    <a:pt x="402" y="148"/>
                  </a:lnTo>
                  <a:lnTo>
                    <a:pt x="400" y="150"/>
                  </a:lnTo>
                  <a:lnTo>
                    <a:pt x="400" y="151"/>
                  </a:lnTo>
                  <a:lnTo>
                    <a:pt x="398" y="151"/>
                  </a:lnTo>
                  <a:lnTo>
                    <a:pt x="398" y="153"/>
                  </a:lnTo>
                  <a:lnTo>
                    <a:pt x="396" y="155"/>
                  </a:lnTo>
                  <a:lnTo>
                    <a:pt x="394" y="157"/>
                  </a:lnTo>
                  <a:lnTo>
                    <a:pt x="392" y="159"/>
                  </a:lnTo>
                  <a:lnTo>
                    <a:pt x="394" y="161"/>
                  </a:lnTo>
                  <a:lnTo>
                    <a:pt x="396" y="161"/>
                  </a:lnTo>
                  <a:lnTo>
                    <a:pt x="394" y="163"/>
                  </a:lnTo>
                  <a:lnTo>
                    <a:pt x="396" y="163"/>
                  </a:lnTo>
                  <a:lnTo>
                    <a:pt x="394" y="167"/>
                  </a:lnTo>
                  <a:lnTo>
                    <a:pt x="392" y="169"/>
                  </a:lnTo>
                  <a:lnTo>
                    <a:pt x="392" y="171"/>
                  </a:lnTo>
                  <a:lnTo>
                    <a:pt x="390" y="171"/>
                  </a:lnTo>
                  <a:lnTo>
                    <a:pt x="390" y="173"/>
                  </a:lnTo>
                  <a:lnTo>
                    <a:pt x="388" y="173"/>
                  </a:lnTo>
                  <a:lnTo>
                    <a:pt x="386" y="175"/>
                  </a:lnTo>
                  <a:lnTo>
                    <a:pt x="388" y="175"/>
                  </a:lnTo>
                  <a:lnTo>
                    <a:pt x="386" y="176"/>
                  </a:lnTo>
                  <a:lnTo>
                    <a:pt x="386" y="178"/>
                  </a:lnTo>
                  <a:lnTo>
                    <a:pt x="386" y="180"/>
                  </a:lnTo>
                  <a:lnTo>
                    <a:pt x="384" y="180"/>
                  </a:lnTo>
                  <a:lnTo>
                    <a:pt x="384" y="182"/>
                  </a:lnTo>
                  <a:lnTo>
                    <a:pt x="383" y="182"/>
                  </a:lnTo>
                  <a:lnTo>
                    <a:pt x="379" y="184"/>
                  </a:lnTo>
                  <a:lnTo>
                    <a:pt x="377" y="186"/>
                  </a:lnTo>
                  <a:lnTo>
                    <a:pt x="375" y="188"/>
                  </a:lnTo>
                  <a:lnTo>
                    <a:pt x="375" y="190"/>
                  </a:lnTo>
                  <a:lnTo>
                    <a:pt x="373" y="190"/>
                  </a:lnTo>
                  <a:lnTo>
                    <a:pt x="373" y="192"/>
                  </a:lnTo>
                  <a:lnTo>
                    <a:pt x="373" y="194"/>
                  </a:lnTo>
                  <a:lnTo>
                    <a:pt x="373" y="196"/>
                  </a:lnTo>
                  <a:lnTo>
                    <a:pt x="375" y="196"/>
                  </a:lnTo>
                  <a:lnTo>
                    <a:pt x="377" y="196"/>
                  </a:lnTo>
                  <a:lnTo>
                    <a:pt x="377" y="198"/>
                  </a:lnTo>
                  <a:lnTo>
                    <a:pt x="379" y="198"/>
                  </a:lnTo>
                  <a:lnTo>
                    <a:pt x="379" y="199"/>
                  </a:lnTo>
                  <a:lnTo>
                    <a:pt x="381" y="199"/>
                  </a:lnTo>
                  <a:lnTo>
                    <a:pt x="381" y="201"/>
                  </a:lnTo>
                  <a:lnTo>
                    <a:pt x="383" y="201"/>
                  </a:lnTo>
                  <a:lnTo>
                    <a:pt x="383" y="203"/>
                  </a:lnTo>
                  <a:lnTo>
                    <a:pt x="384" y="203"/>
                  </a:lnTo>
                  <a:lnTo>
                    <a:pt x="384" y="205"/>
                  </a:lnTo>
                  <a:lnTo>
                    <a:pt x="386" y="205"/>
                  </a:lnTo>
                  <a:lnTo>
                    <a:pt x="388" y="205"/>
                  </a:lnTo>
                  <a:lnTo>
                    <a:pt x="388" y="207"/>
                  </a:lnTo>
                  <a:lnTo>
                    <a:pt x="390" y="207"/>
                  </a:lnTo>
                  <a:lnTo>
                    <a:pt x="390" y="209"/>
                  </a:lnTo>
                  <a:lnTo>
                    <a:pt x="392" y="209"/>
                  </a:lnTo>
                  <a:lnTo>
                    <a:pt x="392" y="211"/>
                  </a:lnTo>
                  <a:lnTo>
                    <a:pt x="394" y="211"/>
                  </a:lnTo>
                  <a:lnTo>
                    <a:pt x="394" y="213"/>
                  </a:lnTo>
                  <a:lnTo>
                    <a:pt x="396" y="213"/>
                  </a:lnTo>
                  <a:lnTo>
                    <a:pt x="398" y="213"/>
                  </a:lnTo>
                  <a:lnTo>
                    <a:pt x="398" y="215"/>
                  </a:lnTo>
                  <a:lnTo>
                    <a:pt x="400" y="215"/>
                  </a:lnTo>
                  <a:lnTo>
                    <a:pt x="400" y="217"/>
                  </a:lnTo>
                  <a:lnTo>
                    <a:pt x="402" y="217"/>
                  </a:lnTo>
                  <a:lnTo>
                    <a:pt x="402" y="219"/>
                  </a:lnTo>
                  <a:lnTo>
                    <a:pt x="404" y="219"/>
                  </a:lnTo>
                  <a:lnTo>
                    <a:pt x="404" y="221"/>
                  </a:lnTo>
                  <a:lnTo>
                    <a:pt x="406" y="221"/>
                  </a:lnTo>
                  <a:lnTo>
                    <a:pt x="408" y="221"/>
                  </a:lnTo>
                  <a:lnTo>
                    <a:pt x="408" y="223"/>
                  </a:lnTo>
                  <a:lnTo>
                    <a:pt x="409" y="223"/>
                  </a:lnTo>
                  <a:lnTo>
                    <a:pt x="409" y="224"/>
                  </a:lnTo>
                  <a:lnTo>
                    <a:pt x="411" y="224"/>
                  </a:lnTo>
                  <a:lnTo>
                    <a:pt x="411" y="226"/>
                  </a:lnTo>
                  <a:lnTo>
                    <a:pt x="413" y="226"/>
                  </a:lnTo>
                  <a:lnTo>
                    <a:pt x="415" y="228"/>
                  </a:lnTo>
                  <a:lnTo>
                    <a:pt x="415" y="230"/>
                  </a:lnTo>
                  <a:lnTo>
                    <a:pt x="413" y="228"/>
                  </a:lnTo>
                  <a:lnTo>
                    <a:pt x="411" y="226"/>
                  </a:lnTo>
                  <a:lnTo>
                    <a:pt x="409" y="226"/>
                  </a:lnTo>
                  <a:lnTo>
                    <a:pt x="409" y="228"/>
                  </a:lnTo>
                  <a:lnTo>
                    <a:pt x="409" y="230"/>
                  </a:lnTo>
                  <a:lnTo>
                    <a:pt x="409" y="232"/>
                  </a:lnTo>
                  <a:lnTo>
                    <a:pt x="411" y="234"/>
                  </a:lnTo>
                  <a:lnTo>
                    <a:pt x="409" y="234"/>
                  </a:lnTo>
                  <a:lnTo>
                    <a:pt x="409" y="236"/>
                  </a:lnTo>
                  <a:lnTo>
                    <a:pt x="409" y="238"/>
                  </a:lnTo>
                  <a:lnTo>
                    <a:pt x="409" y="240"/>
                  </a:lnTo>
                  <a:lnTo>
                    <a:pt x="408" y="242"/>
                  </a:lnTo>
                  <a:lnTo>
                    <a:pt x="406" y="242"/>
                  </a:lnTo>
                  <a:lnTo>
                    <a:pt x="406" y="244"/>
                  </a:lnTo>
                  <a:lnTo>
                    <a:pt x="406" y="246"/>
                  </a:lnTo>
                  <a:lnTo>
                    <a:pt x="404" y="246"/>
                  </a:lnTo>
                  <a:lnTo>
                    <a:pt x="404" y="247"/>
                  </a:lnTo>
                  <a:lnTo>
                    <a:pt x="404" y="249"/>
                  </a:lnTo>
                  <a:lnTo>
                    <a:pt x="404" y="251"/>
                  </a:lnTo>
                  <a:lnTo>
                    <a:pt x="404" y="253"/>
                  </a:lnTo>
                  <a:lnTo>
                    <a:pt x="404" y="255"/>
                  </a:lnTo>
                  <a:lnTo>
                    <a:pt x="402" y="253"/>
                  </a:lnTo>
                  <a:lnTo>
                    <a:pt x="400" y="255"/>
                  </a:lnTo>
                  <a:lnTo>
                    <a:pt x="400" y="259"/>
                  </a:lnTo>
                  <a:lnTo>
                    <a:pt x="398" y="259"/>
                  </a:lnTo>
                  <a:lnTo>
                    <a:pt x="398" y="257"/>
                  </a:lnTo>
                  <a:lnTo>
                    <a:pt x="396" y="257"/>
                  </a:lnTo>
                  <a:lnTo>
                    <a:pt x="394" y="259"/>
                  </a:lnTo>
                  <a:lnTo>
                    <a:pt x="394" y="261"/>
                  </a:lnTo>
                  <a:lnTo>
                    <a:pt x="392" y="261"/>
                  </a:lnTo>
                  <a:lnTo>
                    <a:pt x="390" y="261"/>
                  </a:lnTo>
                  <a:lnTo>
                    <a:pt x="390" y="263"/>
                  </a:lnTo>
                  <a:lnTo>
                    <a:pt x="394" y="267"/>
                  </a:lnTo>
                  <a:lnTo>
                    <a:pt x="394" y="269"/>
                  </a:lnTo>
                  <a:lnTo>
                    <a:pt x="392" y="271"/>
                  </a:lnTo>
                  <a:lnTo>
                    <a:pt x="390" y="272"/>
                  </a:lnTo>
                  <a:lnTo>
                    <a:pt x="388" y="274"/>
                  </a:lnTo>
                  <a:lnTo>
                    <a:pt x="386" y="274"/>
                  </a:lnTo>
                  <a:lnTo>
                    <a:pt x="384" y="274"/>
                  </a:lnTo>
                  <a:lnTo>
                    <a:pt x="384" y="276"/>
                  </a:lnTo>
                  <a:lnTo>
                    <a:pt x="384" y="278"/>
                  </a:lnTo>
                  <a:lnTo>
                    <a:pt x="383" y="280"/>
                  </a:lnTo>
                  <a:lnTo>
                    <a:pt x="381" y="280"/>
                  </a:lnTo>
                  <a:lnTo>
                    <a:pt x="381" y="282"/>
                  </a:lnTo>
                  <a:lnTo>
                    <a:pt x="381" y="284"/>
                  </a:lnTo>
                  <a:lnTo>
                    <a:pt x="383" y="284"/>
                  </a:lnTo>
                  <a:lnTo>
                    <a:pt x="383" y="286"/>
                  </a:lnTo>
                  <a:lnTo>
                    <a:pt x="384" y="286"/>
                  </a:lnTo>
                  <a:lnTo>
                    <a:pt x="388" y="286"/>
                  </a:lnTo>
                  <a:lnTo>
                    <a:pt x="390" y="286"/>
                  </a:lnTo>
                  <a:lnTo>
                    <a:pt x="392" y="286"/>
                  </a:lnTo>
                  <a:lnTo>
                    <a:pt x="394" y="286"/>
                  </a:lnTo>
                  <a:lnTo>
                    <a:pt x="394" y="288"/>
                  </a:lnTo>
                  <a:lnTo>
                    <a:pt x="396" y="290"/>
                  </a:lnTo>
                  <a:lnTo>
                    <a:pt x="398" y="290"/>
                  </a:lnTo>
                  <a:lnTo>
                    <a:pt x="396" y="292"/>
                  </a:lnTo>
                  <a:lnTo>
                    <a:pt x="394" y="292"/>
                  </a:lnTo>
                  <a:lnTo>
                    <a:pt x="392" y="294"/>
                  </a:lnTo>
                  <a:lnTo>
                    <a:pt x="392" y="295"/>
                  </a:lnTo>
                  <a:lnTo>
                    <a:pt x="392" y="297"/>
                  </a:lnTo>
                  <a:lnTo>
                    <a:pt x="394" y="297"/>
                  </a:lnTo>
                  <a:lnTo>
                    <a:pt x="396" y="297"/>
                  </a:lnTo>
                  <a:lnTo>
                    <a:pt x="396" y="295"/>
                  </a:lnTo>
                  <a:lnTo>
                    <a:pt x="398" y="295"/>
                  </a:lnTo>
                  <a:lnTo>
                    <a:pt x="400" y="295"/>
                  </a:lnTo>
                  <a:lnTo>
                    <a:pt x="402" y="295"/>
                  </a:lnTo>
                  <a:lnTo>
                    <a:pt x="402" y="294"/>
                  </a:lnTo>
                  <a:lnTo>
                    <a:pt x="404" y="294"/>
                  </a:lnTo>
                  <a:lnTo>
                    <a:pt x="404" y="295"/>
                  </a:lnTo>
                  <a:lnTo>
                    <a:pt x="406" y="295"/>
                  </a:lnTo>
                  <a:lnTo>
                    <a:pt x="404" y="297"/>
                  </a:lnTo>
                  <a:lnTo>
                    <a:pt x="404" y="299"/>
                  </a:lnTo>
                  <a:lnTo>
                    <a:pt x="406" y="299"/>
                  </a:lnTo>
                  <a:lnTo>
                    <a:pt x="408" y="299"/>
                  </a:lnTo>
                  <a:lnTo>
                    <a:pt x="408" y="301"/>
                  </a:lnTo>
                  <a:lnTo>
                    <a:pt x="406" y="301"/>
                  </a:lnTo>
                  <a:lnTo>
                    <a:pt x="404" y="301"/>
                  </a:lnTo>
                  <a:lnTo>
                    <a:pt x="402" y="301"/>
                  </a:lnTo>
                  <a:lnTo>
                    <a:pt x="400" y="303"/>
                  </a:lnTo>
                  <a:lnTo>
                    <a:pt x="398" y="303"/>
                  </a:lnTo>
                  <a:lnTo>
                    <a:pt x="398" y="305"/>
                  </a:lnTo>
                  <a:lnTo>
                    <a:pt x="398" y="307"/>
                  </a:lnTo>
                  <a:lnTo>
                    <a:pt x="398" y="309"/>
                  </a:lnTo>
                  <a:lnTo>
                    <a:pt x="400" y="309"/>
                  </a:lnTo>
                  <a:lnTo>
                    <a:pt x="400" y="311"/>
                  </a:lnTo>
                  <a:lnTo>
                    <a:pt x="398" y="311"/>
                  </a:lnTo>
                  <a:lnTo>
                    <a:pt x="398" y="313"/>
                  </a:lnTo>
                  <a:lnTo>
                    <a:pt x="400" y="313"/>
                  </a:lnTo>
                  <a:lnTo>
                    <a:pt x="398" y="315"/>
                  </a:lnTo>
                  <a:lnTo>
                    <a:pt x="398" y="317"/>
                  </a:lnTo>
                  <a:lnTo>
                    <a:pt x="398" y="319"/>
                  </a:lnTo>
                  <a:lnTo>
                    <a:pt x="398" y="320"/>
                  </a:lnTo>
                  <a:lnTo>
                    <a:pt x="398" y="322"/>
                  </a:lnTo>
                  <a:lnTo>
                    <a:pt x="396" y="322"/>
                  </a:lnTo>
                  <a:lnTo>
                    <a:pt x="394" y="324"/>
                  </a:lnTo>
                  <a:lnTo>
                    <a:pt x="392" y="324"/>
                  </a:lnTo>
                  <a:lnTo>
                    <a:pt x="390" y="324"/>
                  </a:lnTo>
                  <a:lnTo>
                    <a:pt x="390" y="326"/>
                  </a:lnTo>
                  <a:lnTo>
                    <a:pt x="390" y="328"/>
                  </a:lnTo>
                  <a:lnTo>
                    <a:pt x="388" y="328"/>
                  </a:lnTo>
                  <a:lnTo>
                    <a:pt x="386" y="328"/>
                  </a:lnTo>
                  <a:lnTo>
                    <a:pt x="384" y="328"/>
                  </a:lnTo>
                  <a:lnTo>
                    <a:pt x="383" y="328"/>
                  </a:lnTo>
                  <a:lnTo>
                    <a:pt x="381" y="328"/>
                  </a:lnTo>
                  <a:lnTo>
                    <a:pt x="379" y="330"/>
                  </a:lnTo>
                  <a:lnTo>
                    <a:pt x="377" y="332"/>
                  </a:lnTo>
                  <a:lnTo>
                    <a:pt x="375" y="330"/>
                  </a:lnTo>
                  <a:lnTo>
                    <a:pt x="375" y="332"/>
                  </a:lnTo>
                  <a:lnTo>
                    <a:pt x="373" y="332"/>
                  </a:lnTo>
                  <a:lnTo>
                    <a:pt x="371" y="332"/>
                  </a:lnTo>
                  <a:lnTo>
                    <a:pt x="371" y="334"/>
                  </a:lnTo>
                  <a:lnTo>
                    <a:pt x="371" y="332"/>
                  </a:lnTo>
                  <a:lnTo>
                    <a:pt x="369" y="334"/>
                  </a:lnTo>
                  <a:lnTo>
                    <a:pt x="369" y="336"/>
                  </a:lnTo>
                  <a:lnTo>
                    <a:pt x="371" y="338"/>
                  </a:lnTo>
                  <a:lnTo>
                    <a:pt x="373" y="338"/>
                  </a:lnTo>
                  <a:lnTo>
                    <a:pt x="375" y="338"/>
                  </a:lnTo>
                  <a:lnTo>
                    <a:pt x="373" y="340"/>
                  </a:lnTo>
                  <a:lnTo>
                    <a:pt x="371" y="342"/>
                  </a:lnTo>
                  <a:lnTo>
                    <a:pt x="373" y="343"/>
                  </a:lnTo>
                  <a:lnTo>
                    <a:pt x="373" y="345"/>
                  </a:lnTo>
                  <a:lnTo>
                    <a:pt x="375" y="345"/>
                  </a:lnTo>
                  <a:lnTo>
                    <a:pt x="373" y="347"/>
                  </a:lnTo>
                  <a:lnTo>
                    <a:pt x="371" y="347"/>
                  </a:lnTo>
                  <a:lnTo>
                    <a:pt x="369" y="349"/>
                  </a:lnTo>
                  <a:lnTo>
                    <a:pt x="367" y="349"/>
                  </a:lnTo>
                  <a:lnTo>
                    <a:pt x="365" y="349"/>
                  </a:lnTo>
                  <a:lnTo>
                    <a:pt x="365" y="351"/>
                  </a:lnTo>
                  <a:lnTo>
                    <a:pt x="365" y="353"/>
                  </a:lnTo>
                  <a:lnTo>
                    <a:pt x="363" y="353"/>
                  </a:lnTo>
                  <a:lnTo>
                    <a:pt x="361" y="353"/>
                  </a:lnTo>
                  <a:lnTo>
                    <a:pt x="360" y="353"/>
                  </a:lnTo>
                  <a:lnTo>
                    <a:pt x="360" y="355"/>
                  </a:lnTo>
                  <a:lnTo>
                    <a:pt x="360" y="357"/>
                  </a:lnTo>
                  <a:lnTo>
                    <a:pt x="361" y="357"/>
                  </a:lnTo>
                  <a:lnTo>
                    <a:pt x="361" y="359"/>
                  </a:lnTo>
                  <a:lnTo>
                    <a:pt x="363" y="359"/>
                  </a:lnTo>
                  <a:lnTo>
                    <a:pt x="363" y="361"/>
                  </a:lnTo>
                  <a:lnTo>
                    <a:pt x="365" y="363"/>
                  </a:lnTo>
                  <a:lnTo>
                    <a:pt x="365" y="365"/>
                  </a:lnTo>
                  <a:lnTo>
                    <a:pt x="365" y="367"/>
                  </a:lnTo>
                  <a:lnTo>
                    <a:pt x="365" y="368"/>
                  </a:lnTo>
                  <a:lnTo>
                    <a:pt x="367" y="368"/>
                  </a:lnTo>
                  <a:lnTo>
                    <a:pt x="367" y="370"/>
                  </a:lnTo>
                  <a:lnTo>
                    <a:pt x="367" y="372"/>
                  </a:lnTo>
                  <a:lnTo>
                    <a:pt x="365" y="372"/>
                  </a:lnTo>
                  <a:lnTo>
                    <a:pt x="365" y="376"/>
                  </a:lnTo>
                  <a:lnTo>
                    <a:pt x="365" y="378"/>
                  </a:lnTo>
                  <a:lnTo>
                    <a:pt x="365" y="380"/>
                  </a:lnTo>
                  <a:lnTo>
                    <a:pt x="367" y="380"/>
                  </a:lnTo>
                  <a:lnTo>
                    <a:pt x="367" y="382"/>
                  </a:lnTo>
                  <a:lnTo>
                    <a:pt x="369" y="384"/>
                  </a:lnTo>
                  <a:lnTo>
                    <a:pt x="367" y="384"/>
                  </a:lnTo>
                  <a:lnTo>
                    <a:pt x="367" y="386"/>
                  </a:lnTo>
                  <a:lnTo>
                    <a:pt x="365" y="384"/>
                  </a:lnTo>
                  <a:lnTo>
                    <a:pt x="361" y="386"/>
                  </a:lnTo>
                  <a:lnTo>
                    <a:pt x="360" y="388"/>
                  </a:lnTo>
                  <a:lnTo>
                    <a:pt x="361" y="388"/>
                  </a:lnTo>
                  <a:lnTo>
                    <a:pt x="361" y="390"/>
                  </a:lnTo>
                  <a:lnTo>
                    <a:pt x="363" y="390"/>
                  </a:lnTo>
                  <a:lnTo>
                    <a:pt x="363" y="391"/>
                  </a:lnTo>
                  <a:lnTo>
                    <a:pt x="365" y="391"/>
                  </a:lnTo>
                  <a:lnTo>
                    <a:pt x="367" y="393"/>
                  </a:lnTo>
                  <a:lnTo>
                    <a:pt x="367" y="391"/>
                  </a:lnTo>
                  <a:lnTo>
                    <a:pt x="369" y="393"/>
                  </a:lnTo>
                  <a:lnTo>
                    <a:pt x="369" y="391"/>
                  </a:lnTo>
                  <a:lnTo>
                    <a:pt x="371" y="391"/>
                  </a:lnTo>
                  <a:lnTo>
                    <a:pt x="373" y="391"/>
                  </a:lnTo>
                  <a:lnTo>
                    <a:pt x="371" y="391"/>
                  </a:lnTo>
                  <a:lnTo>
                    <a:pt x="373" y="391"/>
                  </a:lnTo>
                  <a:lnTo>
                    <a:pt x="373" y="393"/>
                  </a:lnTo>
                  <a:lnTo>
                    <a:pt x="375" y="395"/>
                  </a:lnTo>
                  <a:lnTo>
                    <a:pt x="375" y="397"/>
                  </a:lnTo>
                  <a:lnTo>
                    <a:pt x="375" y="399"/>
                  </a:lnTo>
                  <a:lnTo>
                    <a:pt x="375" y="401"/>
                  </a:lnTo>
                  <a:lnTo>
                    <a:pt x="375" y="403"/>
                  </a:lnTo>
                  <a:lnTo>
                    <a:pt x="373" y="405"/>
                  </a:lnTo>
                  <a:lnTo>
                    <a:pt x="373" y="407"/>
                  </a:lnTo>
                  <a:lnTo>
                    <a:pt x="373" y="409"/>
                  </a:lnTo>
                  <a:lnTo>
                    <a:pt x="373" y="411"/>
                  </a:lnTo>
                  <a:lnTo>
                    <a:pt x="373" y="413"/>
                  </a:lnTo>
                  <a:lnTo>
                    <a:pt x="371" y="414"/>
                  </a:lnTo>
                  <a:lnTo>
                    <a:pt x="371" y="413"/>
                  </a:lnTo>
                  <a:lnTo>
                    <a:pt x="369" y="413"/>
                  </a:lnTo>
                  <a:lnTo>
                    <a:pt x="369" y="414"/>
                  </a:lnTo>
                  <a:lnTo>
                    <a:pt x="369" y="416"/>
                  </a:lnTo>
                  <a:lnTo>
                    <a:pt x="369" y="418"/>
                  </a:lnTo>
                  <a:lnTo>
                    <a:pt x="369" y="420"/>
                  </a:lnTo>
                  <a:lnTo>
                    <a:pt x="371" y="420"/>
                  </a:lnTo>
                  <a:lnTo>
                    <a:pt x="371" y="422"/>
                  </a:lnTo>
                  <a:lnTo>
                    <a:pt x="369" y="422"/>
                  </a:lnTo>
                  <a:lnTo>
                    <a:pt x="369" y="424"/>
                  </a:lnTo>
                  <a:lnTo>
                    <a:pt x="369" y="426"/>
                  </a:lnTo>
                  <a:lnTo>
                    <a:pt x="371" y="428"/>
                  </a:lnTo>
                  <a:lnTo>
                    <a:pt x="371" y="430"/>
                  </a:lnTo>
                  <a:lnTo>
                    <a:pt x="373" y="430"/>
                  </a:lnTo>
                  <a:lnTo>
                    <a:pt x="373" y="434"/>
                  </a:lnTo>
                  <a:lnTo>
                    <a:pt x="373" y="436"/>
                  </a:lnTo>
                  <a:lnTo>
                    <a:pt x="373" y="438"/>
                  </a:lnTo>
                  <a:lnTo>
                    <a:pt x="373" y="439"/>
                  </a:lnTo>
                  <a:lnTo>
                    <a:pt x="375" y="439"/>
                  </a:lnTo>
                  <a:lnTo>
                    <a:pt x="377" y="438"/>
                  </a:lnTo>
                  <a:lnTo>
                    <a:pt x="377" y="439"/>
                  </a:lnTo>
                  <a:lnTo>
                    <a:pt x="379" y="439"/>
                  </a:lnTo>
                  <a:lnTo>
                    <a:pt x="379" y="441"/>
                  </a:lnTo>
                  <a:lnTo>
                    <a:pt x="377" y="441"/>
                  </a:lnTo>
                  <a:lnTo>
                    <a:pt x="377" y="443"/>
                  </a:lnTo>
                  <a:lnTo>
                    <a:pt x="377" y="445"/>
                  </a:lnTo>
                  <a:lnTo>
                    <a:pt x="375" y="445"/>
                  </a:lnTo>
                  <a:lnTo>
                    <a:pt x="373" y="445"/>
                  </a:lnTo>
                  <a:lnTo>
                    <a:pt x="371" y="445"/>
                  </a:lnTo>
                  <a:lnTo>
                    <a:pt x="369" y="445"/>
                  </a:lnTo>
                  <a:lnTo>
                    <a:pt x="369" y="447"/>
                  </a:lnTo>
                  <a:lnTo>
                    <a:pt x="367" y="447"/>
                  </a:lnTo>
                  <a:lnTo>
                    <a:pt x="369" y="449"/>
                  </a:lnTo>
                  <a:lnTo>
                    <a:pt x="371" y="449"/>
                  </a:lnTo>
                  <a:lnTo>
                    <a:pt x="373" y="449"/>
                  </a:lnTo>
                  <a:lnTo>
                    <a:pt x="375" y="449"/>
                  </a:lnTo>
                  <a:lnTo>
                    <a:pt x="373" y="449"/>
                  </a:lnTo>
                  <a:lnTo>
                    <a:pt x="373" y="451"/>
                  </a:lnTo>
                  <a:lnTo>
                    <a:pt x="371" y="451"/>
                  </a:lnTo>
                  <a:lnTo>
                    <a:pt x="371" y="453"/>
                  </a:lnTo>
                  <a:lnTo>
                    <a:pt x="371" y="455"/>
                  </a:lnTo>
                  <a:lnTo>
                    <a:pt x="373" y="455"/>
                  </a:lnTo>
                  <a:lnTo>
                    <a:pt x="375" y="455"/>
                  </a:lnTo>
                  <a:lnTo>
                    <a:pt x="375" y="457"/>
                  </a:lnTo>
                  <a:lnTo>
                    <a:pt x="373" y="457"/>
                  </a:lnTo>
                  <a:lnTo>
                    <a:pt x="373" y="459"/>
                  </a:lnTo>
                  <a:lnTo>
                    <a:pt x="373" y="461"/>
                  </a:lnTo>
                  <a:lnTo>
                    <a:pt x="373" y="462"/>
                  </a:lnTo>
                  <a:lnTo>
                    <a:pt x="373" y="464"/>
                  </a:lnTo>
                  <a:lnTo>
                    <a:pt x="373" y="466"/>
                  </a:lnTo>
                  <a:lnTo>
                    <a:pt x="371" y="464"/>
                  </a:lnTo>
                  <a:lnTo>
                    <a:pt x="369" y="464"/>
                  </a:lnTo>
                  <a:lnTo>
                    <a:pt x="369" y="466"/>
                  </a:lnTo>
                  <a:lnTo>
                    <a:pt x="367" y="468"/>
                  </a:lnTo>
                  <a:lnTo>
                    <a:pt x="365" y="468"/>
                  </a:lnTo>
                  <a:lnTo>
                    <a:pt x="363" y="468"/>
                  </a:lnTo>
                  <a:lnTo>
                    <a:pt x="361" y="468"/>
                  </a:lnTo>
                  <a:lnTo>
                    <a:pt x="360" y="468"/>
                  </a:lnTo>
                  <a:lnTo>
                    <a:pt x="358" y="468"/>
                  </a:lnTo>
                  <a:lnTo>
                    <a:pt x="358" y="470"/>
                  </a:lnTo>
                  <a:lnTo>
                    <a:pt x="358" y="472"/>
                  </a:lnTo>
                  <a:lnTo>
                    <a:pt x="360" y="472"/>
                  </a:lnTo>
                  <a:lnTo>
                    <a:pt x="360" y="474"/>
                  </a:lnTo>
                  <a:lnTo>
                    <a:pt x="360" y="476"/>
                  </a:lnTo>
                  <a:lnTo>
                    <a:pt x="360" y="478"/>
                  </a:lnTo>
                  <a:lnTo>
                    <a:pt x="361" y="478"/>
                  </a:lnTo>
                  <a:lnTo>
                    <a:pt x="361" y="480"/>
                  </a:lnTo>
                  <a:lnTo>
                    <a:pt x="360" y="480"/>
                  </a:lnTo>
                  <a:lnTo>
                    <a:pt x="360" y="482"/>
                  </a:lnTo>
                  <a:lnTo>
                    <a:pt x="360" y="484"/>
                  </a:lnTo>
                  <a:lnTo>
                    <a:pt x="360" y="486"/>
                  </a:lnTo>
                  <a:lnTo>
                    <a:pt x="360" y="487"/>
                  </a:lnTo>
                  <a:lnTo>
                    <a:pt x="361" y="487"/>
                  </a:lnTo>
                  <a:lnTo>
                    <a:pt x="363" y="487"/>
                  </a:lnTo>
                  <a:lnTo>
                    <a:pt x="363" y="489"/>
                  </a:lnTo>
                  <a:lnTo>
                    <a:pt x="361" y="491"/>
                  </a:lnTo>
                  <a:lnTo>
                    <a:pt x="360" y="491"/>
                  </a:lnTo>
                  <a:lnTo>
                    <a:pt x="358" y="493"/>
                  </a:lnTo>
                  <a:lnTo>
                    <a:pt x="358" y="495"/>
                  </a:lnTo>
                  <a:lnTo>
                    <a:pt x="356" y="495"/>
                  </a:lnTo>
                  <a:lnTo>
                    <a:pt x="356" y="497"/>
                  </a:lnTo>
                  <a:lnTo>
                    <a:pt x="354" y="495"/>
                  </a:lnTo>
                  <a:lnTo>
                    <a:pt x="352" y="497"/>
                  </a:lnTo>
                  <a:lnTo>
                    <a:pt x="352" y="499"/>
                  </a:lnTo>
                  <a:lnTo>
                    <a:pt x="354" y="501"/>
                  </a:lnTo>
                  <a:lnTo>
                    <a:pt x="352" y="501"/>
                  </a:lnTo>
                  <a:lnTo>
                    <a:pt x="352" y="503"/>
                  </a:lnTo>
                  <a:lnTo>
                    <a:pt x="352" y="505"/>
                  </a:lnTo>
                  <a:lnTo>
                    <a:pt x="352" y="507"/>
                  </a:lnTo>
                  <a:lnTo>
                    <a:pt x="352" y="509"/>
                  </a:lnTo>
                  <a:lnTo>
                    <a:pt x="352" y="510"/>
                  </a:lnTo>
                  <a:lnTo>
                    <a:pt x="352" y="512"/>
                  </a:lnTo>
                  <a:lnTo>
                    <a:pt x="352" y="514"/>
                  </a:lnTo>
                  <a:lnTo>
                    <a:pt x="350" y="514"/>
                  </a:lnTo>
                  <a:lnTo>
                    <a:pt x="348" y="514"/>
                  </a:lnTo>
                  <a:lnTo>
                    <a:pt x="348" y="516"/>
                  </a:lnTo>
                  <a:lnTo>
                    <a:pt x="350" y="516"/>
                  </a:lnTo>
                  <a:lnTo>
                    <a:pt x="352" y="516"/>
                  </a:lnTo>
                  <a:lnTo>
                    <a:pt x="352" y="518"/>
                  </a:lnTo>
                  <a:lnTo>
                    <a:pt x="352" y="520"/>
                  </a:lnTo>
                  <a:lnTo>
                    <a:pt x="352" y="522"/>
                  </a:lnTo>
                  <a:lnTo>
                    <a:pt x="354" y="522"/>
                  </a:lnTo>
                  <a:lnTo>
                    <a:pt x="354" y="524"/>
                  </a:lnTo>
                  <a:lnTo>
                    <a:pt x="354" y="526"/>
                  </a:lnTo>
                  <a:lnTo>
                    <a:pt x="352" y="526"/>
                  </a:lnTo>
                  <a:lnTo>
                    <a:pt x="350" y="526"/>
                  </a:lnTo>
                  <a:lnTo>
                    <a:pt x="350" y="528"/>
                  </a:lnTo>
                  <a:lnTo>
                    <a:pt x="348" y="528"/>
                  </a:lnTo>
                  <a:lnTo>
                    <a:pt x="348" y="530"/>
                  </a:lnTo>
                  <a:lnTo>
                    <a:pt x="350" y="530"/>
                  </a:lnTo>
                  <a:lnTo>
                    <a:pt x="348" y="530"/>
                  </a:lnTo>
                  <a:lnTo>
                    <a:pt x="346" y="532"/>
                  </a:lnTo>
                  <a:lnTo>
                    <a:pt x="344" y="534"/>
                  </a:lnTo>
                  <a:lnTo>
                    <a:pt x="344" y="535"/>
                  </a:lnTo>
                  <a:lnTo>
                    <a:pt x="344" y="537"/>
                  </a:lnTo>
                  <a:lnTo>
                    <a:pt x="344" y="539"/>
                  </a:lnTo>
                  <a:lnTo>
                    <a:pt x="342" y="539"/>
                  </a:lnTo>
                  <a:lnTo>
                    <a:pt x="342" y="541"/>
                  </a:lnTo>
                  <a:lnTo>
                    <a:pt x="340" y="541"/>
                  </a:lnTo>
                  <a:lnTo>
                    <a:pt x="342" y="543"/>
                  </a:lnTo>
                  <a:lnTo>
                    <a:pt x="342" y="545"/>
                  </a:lnTo>
                  <a:lnTo>
                    <a:pt x="344" y="545"/>
                  </a:lnTo>
                  <a:lnTo>
                    <a:pt x="344" y="547"/>
                  </a:lnTo>
                  <a:lnTo>
                    <a:pt x="346" y="547"/>
                  </a:lnTo>
                  <a:lnTo>
                    <a:pt x="346" y="549"/>
                  </a:lnTo>
                  <a:lnTo>
                    <a:pt x="348" y="549"/>
                  </a:lnTo>
                  <a:lnTo>
                    <a:pt x="348" y="551"/>
                  </a:lnTo>
                  <a:lnTo>
                    <a:pt x="348" y="553"/>
                  </a:lnTo>
                  <a:lnTo>
                    <a:pt x="350" y="555"/>
                  </a:lnTo>
                  <a:lnTo>
                    <a:pt x="350" y="553"/>
                  </a:lnTo>
                  <a:lnTo>
                    <a:pt x="352" y="553"/>
                  </a:lnTo>
                  <a:lnTo>
                    <a:pt x="354" y="551"/>
                  </a:lnTo>
                  <a:lnTo>
                    <a:pt x="354" y="553"/>
                  </a:lnTo>
                  <a:lnTo>
                    <a:pt x="356" y="553"/>
                  </a:lnTo>
                  <a:lnTo>
                    <a:pt x="356" y="555"/>
                  </a:lnTo>
                  <a:lnTo>
                    <a:pt x="356" y="557"/>
                  </a:lnTo>
                  <a:lnTo>
                    <a:pt x="358" y="558"/>
                  </a:lnTo>
                  <a:lnTo>
                    <a:pt x="358" y="560"/>
                  </a:lnTo>
                  <a:lnTo>
                    <a:pt x="358" y="562"/>
                  </a:lnTo>
                  <a:lnTo>
                    <a:pt x="356" y="562"/>
                  </a:lnTo>
                  <a:lnTo>
                    <a:pt x="356" y="564"/>
                  </a:lnTo>
                  <a:lnTo>
                    <a:pt x="358" y="564"/>
                  </a:lnTo>
                  <a:lnTo>
                    <a:pt x="356" y="566"/>
                  </a:lnTo>
                  <a:lnTo>
                    <a:pt x="358" y="566"/>
                  </a:lnTo>
                  <a:lnTo>
                    <a:pt x="358" y="568"/>
                  </a:lnTo>
                  <a:lnTo>
                    <a:pt x="358" y="570"/>
                  </a:lnTo>
                  <a:lnTo>
                    <a:pt x="356" y="570"/>
                  </a:lnTo>
                  <a:lnTo>
                    <a:pt x="356" y="572"/>
                  </a:lnTo>
                  <a:lnTo>
                    <a:pt x="356" y="574"/>
                  </a:lnTo>
                  <a:lnTo>
                    <a:pt x="358" y="574"/>
                  </a:lnTo>
                  <a:lnTo>
                    <a:pt x="358" y="576"/>
                  </a:lnTo>
                  <a:lnTo>
                    <a:pt x="360" y="576"/>
                  </a:lnTo>
                  <a:lnTo>
                    <a:pt x="360" y="578"/>
                  </a:lnTo>
                  <a:lnTo>
                    <a:pt x="360" y="580"/>
                  </a:lnTo>
                  <a:lnTo>
                    <a:pt x="358" y="580"/>
                  </a:lnTo>
                  <a:lnTo>
                    <a:pt x="356" y="582"/>
                  </a:lnTo>
                  <a:lnTo>
                    <a:pt x="356" y="583"/>
                  </a:lnTo>
                  <a:lnTo>
                    <a:pt x="358" y="585"/>
                  </a:lnTo>
                  <a:lnTo>
                    <a:pt x="358" y="587"/>
                  </a:lnTo>
                  <a:lnTo>
                    <a:pt x="358" y="589"/>
                  </a:lnTo>
                  <a:lnTo>
                    <a:pt x="358" y="591"/>
                  </a:lnTo>
                  <a:lnTo>
                    <a:pt x="358" y="593"/>
                  </a:lnTo>
                  <a:lnTo>
                    <a:pt x="360" y="593"/>
                  </a:lnTo>
                  <a:lnTo>
                    <a:pt x="360" y="595"/>
                  </a:lnTo>
                  <a:lnTo>
                    <a:pt x="360" y="597"/>
                  </a:lnTo>
                  <a:lnTo>
                    <a:pt x="360" y="599"/>
                  </a:lnTo>
                  <a:lnTo>
                    <a:pt x="361" y="601"/>
                  </a:lnTo>
                  <a:lnTo>
                    <a:pt x="361" y="603"/>
                  </a:lnTo>
                  <a:lnTo>
                    <a:pt x="363" y="603"/>
                  </a:lnTo>
                  <a:lnTo>
                    <a:pt x="365" y="605"/>
                  </a:lnTo>
                  <a:lnTo>
                    <a:pt x="367" y="605"/>
                  </a:lnTo>
                  <a:lnTo>
                    <a:pt x="369" y="606"/>
                  </a:lnTo>
                  <a:lnTo>
                    <a:pt x="367" y="608"/>
                  </a:lnTo>
                  <a:lnTo>
                    <a:pt x="369" y="608"/>
                  </a:lnTo>
                  <a:lnTo>
                    <a:pt x="369" y="610"/>
                  </a:lnTo>
                  <a:lnTo>
                    <a:pt x="369" y="612"/>
                  </a:lnTo>
                  <a:lnTo>
                    <a:pt x="367" y="614"/>
                  </a:lnTo>
                  <a:lnTo>
                    <a:pt x="369" y="616"/>
                  </a:lnTo>
                  <a:lnTo>
                    <a:pt x="367" y="618"/>
                  </a:lnTo>
                  <a:lnTo>
                    <a:pt x="367" y="620"/>
                  </a:lnTo>
                  <a:lnTo>
                    <a:pt x="365" y="622"/>
                  </a:lnTo>
                  <a:lnTo>
                    <a:pt x="365" y="624"/>
                  </a:lnTo>
                  <a:lnTo>
                    <a:pt x="365" y="626"/>
                  </a:lnTo>
                  <a:lnTo>
                    <a:pt x="363" y="626"/>
                  </a:lnTo>
                  <a:lnTo>
                    <a:pt x="363" y="628"/>
                  </a:lnTo>
                  <a:lnTo>
                    <a:pt x="361" y="628"/>
                  </a:lnTo>
                  <a:lnTo>
                    <a:pt x="361" y="630"/>
                  </a:lnTo>
                  <a:lnTo>
                    <a:pt x="360" y="630"/>
                  </a:lnTo>
                  <a:lnTo>
                    <a:pt x="358" y="631"/>
                  </a:lnTo>
                  <a:lnTo>
                    <a:pt x="358" y="633"/>
                  </a:lnTo>
                  <a:lnTo>
                    <a:pt x="360" y="633"/>
                  </a:lnTo>
                  <a:lnTo>
                    <a:pt x="361" y="635"/>
                  </a:lnTo>
                  <a:lnTo>
                    <a:pt x="360" y="637"/>
                  </a:lnTo>
                  <a:lnTo>
                    <a:pt x="360" y="639"/>
                  </a:lnTo>
                  <a:lnTo>
                    <a:pt x="360" y="641"/>
                  </a:lnTo>
                  <a:lnTo>
                    <a:pt x="358" y="643"/>
                  </a:lnTo>
                  <a:lnTo>
                    <a:pt x="358" y="645"/>
                  </a:lnTo>
                  <a:lnTo>
                    <a:pt x="356" y="645"/>
                  </a:lnTo>
                  <a:lnTo>
                    <a:pt x="356" y="647"/>
                  </a:lnTo>
                  <a:lnTo>
                    <a:pt x="358" y="647"/>
                  </a:lnTo>
                  <a:lnTo>
                    <a:pt x="356" y="649"/>
                  </a:lnTo>
                  <a:lnTo>
                    <a:pt x="354" y="649"/>
                  </a:lnTo>
                  <a:lnTo>
                    <a:pt x="356" y="651"/>
                  </a:lnTo>
                  <a:lnTo>
                    <a:pt x="356" y="653"/>
                  </a:lnTo>
                  <a:lnTo>
                    <a:pt x="356" y="651"/>
                  </a:lnTo>
                  <a:lnTo>
                    <a:pt x="358" y="653"/>
                  </a:lnTo>
                  <a:lnTo>
                    <a:pt x="358" y="654"/>
                  </a:lnTo>
                  <a:lnTo>
                    <a:pt x="360" y="654"/>
                  </a:lnTo>
                  <a:lnTo>
                    <a:pt x="361" y="654"/>
                  </a:lnTo>
                  <a:lnTo>
                    <a:pt x="363" y="654"/>
                  </a:lnTo>
                  <a:lnTo>
                    <a:pt x="365" y="654"/>
                  </a:lnTo>
                  <a:lnTo>
                    <a:pt x="365" y="656"/>
                  </a:lnTo>
                  <a:lnTo>
                    <a:pt x="367" y="658"/>
                  </a:lnTo>
                  <a:lnTo>
                    <a:pt x="369" y="658"/>
                  </a:lnTo>
                  <a:lnTo>
                    <a:pt x="371" y="658"/>
                  </a:lnTo>
                  <a:lnTo>
                    <a:pt x="373" y="658"/>
                  </a:lnTo>
                  <a:lnTo>
                    <a:pt x="373" y="656"/>
                  </a:lnTo>
                  <a:lnTo>
                    <a:pt x="375" y="656"/>
                  </a:lnTo>
                  <a:lnTo>
                    <a:pt x="377" y="656"/>
                  </a:lnTo>
                  <a:lnTo>
                    <a:pt x="377" y="658"/>
                  </a:lnTo>
                  <a:lnTo>
                    <a:pt x="375" y="658"/>
                  </a:lnTo>
                  <a:lnTo>
                    <a:pt x="375" y="660"/>
                  </a:lnTo>
                  <a:lnTo>
                    <a:pt x="377" y="662"/>
                  </a:lnTo>
                  <a:lnTo>
                    <a:pt x="379" y="662"/>
                  </a:lnTo>
                  <a:lnTo>
                    <a:pt x="379" y="660"/>
                  </a:lnTo>
                  <a:lnTo>
                    <a:pt x="381" y="660"/>
                  </a:lnTo>
                  <a:lnTo>
                    <a:pt x="383" y="660"/>
                  </a:lnTo>
                  <a:lnTo>
                    <a:pt x="384" y="660"/>
                  </a:lnTo>
                  <a:lnTo>
                    <a:pt x="384" y="662"/>
                  </a:lnTo>
                  <a:lnTo>
                    <a:pt x="384" y="664"/>
                  </a:lnTo>
                  <a:lnTo>
                    <a:pt x="386" y="664"/>
                  </a:lnTo>
                  <a:lnTo>
                    <a:pt x="386" y="666"/>
                  </a:lnTo>
                  <a:lnTo>
                    <a:pt x="388" y="668"/>
                  </a:lnTo>
                  <a:lnTo>
                    <a:pt x="390" y="668"/>
                  </a:lnTo>
                  <a:lnTo>
                    <a:pt x="390" y="670"/>
                  </a:lnTo>
                  <a:lnTo>
                    <a:pt x="392" y="672"/>
                  </a:lnTo>
                  <a:lnTo>
                    <a:pt x="394" y="674"/>
                  </a:lnTo>
                  <a:lnTo>
                    <a:pt x="396" y="674"/>
                  </a:lnTo>
                  <a:lnTo>
                    <a:pt x="398" y="674"/>
                  </a:lnTo>
                  <a:lnTo>
                    <a:pt x="400" y="672"/>
                  </a:lnTo>
                  <a:lnTo>
                    <a:pt x="402" y="674"/>
                  </a:lnTo>
                  <a:lnTo>
                    <a:pt x="404" y="674"/>
                  </a:lnTo>
                  <a:lnTo>
                    <a:pt x="406" y="674"/>
                  </a:lnTo>
                  <a:lnTo>
                    <a:pt x="406" y="676"/>
                  </a:lnTo>
                  <a:lnTo>
                    <a:pt x="408" y="676"/>
                  </a:lnTo>
                  <a:lnTo>
                    <a:pt x="409" y="678"/>
                  </a:lnTo>
                  <a:lnTo>
                    <a:pt x="409" y="676"/>
                  </a:lnTo>
                  <a:lnTo>
                    <a:pt x="409" y="674"/>
                  </a:lnTo>
                  <a:lnTo>
                    <a:pt x="411" y="672"/>
                  </a:lnTo>
                  <a:lnTo>
                    <a:pt x="413" y="672"/>
                  </a:lnTo>
                  <a:lnTo>
                    <a:pt x="413" y="674"/>
                  </a:lnTo>
                  <a:lnTo>
                    <a:pt x="415" y="674"/>
                  </a:lnTo>
                  <a:lnTo>
                    <a:pt x="417" y="676"/>
                  </a:lnTo>
                  <a:lnTo>
                    <a:pt x="417" y="674"/>
                  </a:lnTo>
                  <a:lnTo>
                    <a:pt x="419" y="676"/>
                  </a:lnTo>
                  <a:lnTo>
                    <a:pt x="419" y="678"/>
                  </a:lnTo>
                  <a:lnTo>
                    <a:pt x="417" y="678"/>
                  </a:lnTo>
                  <a:lnTo>
                    <a:pt x="417" y="679"/>
                  </a:lnTo>
                  <a:lnTo>
                    <a:pt x="417" y="681"/>
                  </a:lnTo>
                  <a:lnTo>
                    <a:pt x="417" y="683"/>
                  </a:lnTo>
                  <a:lnTo>
                    <a:pt x="415" y="683"/>
                  </a:lnTo>
                  <a:lnTo>
                    <a:pt x="417" y="685"/>
                  </a:lnTo>
                  <a:lnTo>
                    <a:pt x="415" y="687"/>
                  </a:lnTo>
                  <a:lnTo>
                    <a:pt x="413" y="687"/>
                  </a:lnTo>
                  <a:lnTo>
                    <a:pt x="411" y="687"/>
                  </a:lnTo>
                  <a:lnTo>
                    <a:pt x="411" y="689"/>
                  </a:lnTo>
                  <a:lnTo>
                    <a:pt x="409" y="689"/>
                  </a:lnTo>
                  <a:lnTo>
                    <a:pt x="409" y="691"/>
                  </a:lnTo>
                  <a:lnTo>
                    <a:pt x="409" y="695"/>
                  </a:lnTo>
                  <a:lnTo>
                    <a:pt x="411" y="697"/>
                  </a:lnTo>
                  <a:lnTo>
                    <a:pt x="409" y="699"/>
                  </a:lnTo>
                  <a:lnTo>
                    <a:pt x="409" y="701"/>
                  </a:lnTo>
                  <a:lnTo>
                    <a:pt x="409" y="704"/>
                  </a:lnTo>
                  <a:lnTo>
                    <a:pt x="411" y="704"/>
                  </a:lnTo>
                  <a:lnTo>
                    <a:pt x="413" y="706"/>
                  </a:lnTo>
                  <a:lnTo>
                    <a:pt x="411" y="710"/>
                  </a:lnTo>
                  <a:lnTo>
                    <a:pt x="409" y="712"/>
                  </a:lnTo>
                  <a:lnTo>
                    <a:pt x="409" y="714"/>
                  </a:lnTo>
                  <a:lnTo>
                    <a:pt x="409" y="716"/>
                  </a:lnTo>
                  <a:lnTo>
                    <a:pt x="409" y="718"/>
                  </a:lnTo>
                  <a:lnTo>
                    <a:pt x="409" y="720"/>
                  </a:lnTo>
                  <a:lnTo>
                    <a:pt x="408" y="722"/>
                  </a:lnTo>
                  <a:lnTo>
                    <a:pt x="408" y="724"/>
                  </a:lnTo>
                  <a:lnTo>
                    <a:pt x="409" y="726"/>
                  </a:lnTo>
                  <a:lnTo>
                    <a:pt x="408" y="727"/>
                  </a:lnTo>
                  <a:lnTo>
                    <a:pt x="411" y="737"/>
                  </a:lnTo>
                  <a:lnTo>
                    <a:pt x="409" y="737"/>
                  </a:lnTo>
                  <a:lnTo>
                    <a:pt x="409" y="735"/>
                  </a:lnTo>
                  <a:lnTo>
                    <a:pt x="408" y="735"/>
                  </a:lnTo>
                  <a:lnTo>
                    <a:pt x="406" y="735"/>
                  </a:lnTo>
                  <a:lnTo>
                    <a:pt x="406" y="733"/>
                  </a:lnTo>
                  <a:lnTo>
                    <a:pt x="404" y="733"/>
                  </a:lnTo>
                  <a:lnTo>
                    <a:pt x="402" y="733"/>
                  </a:lnTo>
                  <a:lnTo>
                    <a:pt x="402" y="731"/>
                  </a:lnTo>
                  <a:lnTo>
                    <a:pt x="400" y="731"/>
                  </a:lnTo>
                  <a:lnTo>
                    <a:pt x="398" y="731"/>
                  </a:lnTo>
                  <a:lnTo>
                    <a:pt x="398" y="729"/>
                  </a:lnTo>
                  <a:lnTo>
                    <a:pt x="396" y="729"/>
                  </a:lnTo>
                  <a:lnTo>
                    <a:pt x="394" y="727"/>
                  </a:lnTo>
                  <a:lnTo>
                    <a:pt x="392" y="727"/>
                  </a:lnTo>
                  <a:lnTo>
                    <a:pt x="392" y="726"/>
                  </a:lnTo>
                  <a:lnTo>
                    <a:pt x="390" y="726"/>
                  </a:lnTo>
                  <a:lnTo>
                    <a:pt x="388" y="726"/>
                  </a:lnTo>
                  <a:lnTo>
                    <a:pt x="388" y="724"/>
                  </a:lnTo>
                  <a:lnTo>
                    <a:pt x="386" y="724"/>
                  </a:lnTo>
                  <a:lnTo>
                    <a:pt x="384" y="724"/>
                  </a:lnTo>
                  <a:lnTo>
                    <a:pt x="384" y="722"/>
                  </a:lnTo>
                  <a:lnTo>
                    <a:pt x="383" y="722"/>
                  </a:lnTo>
                  <a:lnTo>
                    <a:pt x="381" y="720"/>
                  </a:lnTo>
                  <a:lnTo>
                    <a:pt x="379" y="720"/>
                  </a:lnTo>
                  <a:lnTo>
                    <a:pt x="379" y="718"/>
                  </a:lnTo>
                  <a:lnTo>
                    <a:pt x="377" y="718"/>
                  </a:lnTo>
                  <a:lnTo>
                    <a:pt x="375" y="718"/>
                  </a:lnTo>
                  <a:lnTo>
                    <a:pt x="375" y="716"/>
                  </a:lnTo>
                  <a:lnTo>
                    <a:pt x="373" y="716"/>
                  </a:lnTo>
                  <a:lnTo>
                    <a:pt x="371" y="716"/>
                  </a:lnTo>
                  <a:lnTo>
                    <a:pt x="371" y="714"/>
                  </a:lnTo>
                  <a:lnTo>
                    <a:pt x="369" y="714"/>
                  </a:lnTo>
                  <a:lnTo>
                    <a:pt x="367" y="712"/>
                  </a:lnTo>
                  <a:lnTo>
                    <a:pt x="365" y="712"/>
                  </a:lnTo>
                  <a:lnTo>
                    <a:pt x="365" y="710"/>
                  </a:lnTo>
                  <a:lnTo>
                    <a:pt x="363" y="710"/>
                  </a:lnTo>
                  <a:lnTo>
                    <a:pt x="361" y="710"/>
                  </a:lnTo>
                  <a:lnTo>
                    <a:pt x="361" y="708"/>
                  </a:lnTo>
                  <a:lnTo>
                    <a:pt x="360" y="708"/>
                  </a:lnTo>
                  <a:lnTo>
                    <a:pt x="358" y="708"/>
                  </a:lnTo>
                  <a:lnTo>
                    <a:pt x="358" y="706"/>
                  </a:lnTo>
                  <a:lnTo>
                    <a:pt x="356" y="706"/>
                  </a:lnTo>
                  <a:lnTo>
                    <a:pt x="356" y="704"/>
                  </a:lnTo>
                  <a:lnTo>
                    <a:pt x="354" y="704"/>
                  </a:lnTo>
                  <a:lnTo>
                    <a:pt x="352" y="704"/>
                  </a:lnTo>
                  <a:lnTo>
                    <a:pt x="352" y="702"/>
                  </a:lnTo>
                  <a:lnTo>
                    <a:pt x="350" y="702"/>
                  </a:lnTo>
                  <a:lnTo>
                    <a:pt x="348" y="702"/>
                  </a:lnTo>
                  <a:lnTo>
                    <a:pt x="348" y="701"/>
                  </a:lnTo>
                  <a:lnTo>
                    <a:pt x="346" y="701"/>
                  </a:lnTo>
                  <a:lnTo>
                    <a:pt x="346" y="699"/>
                  </a:lnTo>
                  <a:lnTo>
                    <a:pt x="344" y="699"/>
                  </a:lnTo>
                  <a:lnTo>
                    <a:pt x="342" y="699"/>
                  </a:lnTo>
                  <a:lnTo>
                    <a:pt x="342" y="697"/>
                  </a:lnTo>
                  <a:lnTo>
                    <a:pt x="340" y="697"/>
                  </a:lnTo>
                  <a:lnTo>
                    <a:pt x="338" y="697"/>
                  </a:lnTo>
                  <a:lnTo>
                    <a:pt x="338" y="695"/>
                  </a:lnTo>
                  <a:lnTo>
                    <a:pt x="336" y="695"/>
                  </a:lnTo>
                  <a:lnTo>
                    <a:pt x="336" y="693"/>
                  </a:lnTo>
                  <a:lnTo>
                    <a:pt x="335" y="693"/>
                  </a:lnTo>
                  <a:lnTo>
                    <a:pt x="333" y="693"/>
                  </a:lnTo>
                  <a:lnTo>
                    <a:pt x="333" y="691"/>
                  </a:lnTo>
                  <a:lnTo>
                    <a:pt x="331" y="691"/>
                  </a:lnTo>
                  <a:lnTo>
                    <a:pt x="329" y="689"/>
                  </a:lnTo>
                  <a:lnTo>
                    <a:pt x="327" y="689"/>
                  </a:lnTo>
                  <a:lnTo>
                    <a:pt x="327" y="687"/>
                  </a:lnTo>
                  <a:lnTo>
                    <a:pt x="325" y="687"/>
                  </a:lnTo>
                  <a:lnTo>
                    <a:pt x="323" y="687"/>
                  </a:lnTo>
                  <a:lnTo>
                    <a:pt x="323" y="685"/>
                  </a:lnTo>
                  <a:lnTo>
                    <a:pt x="321" y="685"/>
                  </a:lnTo>
                  <a:lnTo>
                    <a:pt x="319" y="683"/>
                  </a:lnTo>
                  <a:lnTo>
                    <a:pt x="317" y="683"/>
                  </a:lnTo>
                  <a:lnTo>
                    <a:pt x="317" y="681"/>
                  </a:lnTo>
                  <a:lnTo>
                    <a:pt x="315" y="681"/>
                  </a:lnTo>
                  <a:lnTo>
                    <a:pt x="313" y="679"/>
                  </a:lnTo>
                  <a:lnTo>
                    <a:pt x="312" y="679"/>
                  </a:lnTo>
                  <a:lnTo>
                    <a:pt x="312" y="678"/>
                  </a:lnTo>
                  <a:lnTo>
                    <a:pt x="310" y="678"/>
                  </a:lnTo>
                  <a:lnTo>
                    <a:pt x="308" y="678"/>
                  </a:lnTo>
                  <a:lnTo>
                    <a:pt x="308" y="676"/>
                  </a:lnTo>
                  <a:lnTo>
                    <a:pt x="306" y="676"/>
                  </a:lnTo>
                  <a:lnTo>
                    <a:pt x="304" y="674"/>
                  </a:lnTo>
                  <a:lnTo>
                    <a:pt x="302" y="674"/>
                  </a:lnTo>
                  <a:lnTo>
                    <a:pt x="302" y="672"/>
                  </a:lnTo>
                  <a:lnTo>
                    <a:pt x="300" y="672"/>
                  </a:lnTo>
                  <a:lnTo>
                    <a:pt x="298" y="670"/>
                  </a:lnTo>
                  <a:lnTo>
                    <a:pt x="296" y="670"/>
                  </a:lnTo>
                  <a:lnTo>
                    <a:pt x="296" y="668"/>
                  </a:lnTo>
                  <a:lnTo>
                    <a:pt x="294" y="668"/>
                  </a:lnTo>
                  <a:lnTo>
                    <a:pt x="292" y="668"/>
                  </a:lnTo>
                  <a:lnTo>
                    <a:pt x="292" y="666"/>
                  </a:lnTo>
                  <a:lnTo>
                    <a:pt x="290" y="666"/>
                  </a:lnTo>
                  <a:lnTo>
                    <a:pt x="290" y="664"/>
                  </a:lnTo>
                  <a:lnTo>
                    <a:pt x="288" y="664"/>
                  </a:lnTo>
                  <a:lnTo>
                    <a:pt x="287" y="664"/>
                  </a:lnTo>
                  <a:lnTo>
                    <a:pt x="287" y="662"/>
                  </a:lnTo>
                  <a:lnTo>
                    <a:pt x="285" y="662"/>
                  </a:lnTo>
                  <a:lnTo>
                    <a:pt x="285" y="660"/>
                  </a:lnTo>
                  <a:lnTo>
                    <a:pt x="283" y="660"/>
                  </a:lnTo>
                  <a:lnTo>
                    <a:pt x="281" y="660"/>
                  </a:lnTo>
                  <a:lnTo>
                    <a:pt x="281" y="658"/>
                  </a:lnTo>
                  <a:lnTo>
                    <a:pt x="279" y="658"/>
                  </a:lnTo>
                  <a:lnTo>
                    <a:pt x="279" y="656"/>
                  </a:lnTo>
                  <a:lnTo>
                    <a:pt x="277" y="656"/>
                  </a:lnTo>
                  <a:lnTo>
                    <a:pt x="275" y="656"/>
                  </a:lnTo>
                  <a:lnTo>
                    <a:pt x="275" y="654"/>
                  </a:lnTo>
                  <a:lnTo>
                    <a:pt x="273" y="654"/>
                  </a:lnTo>
                  <a:lnTo>
                    <a:pt x="273" y="653"/>
                  </a:lnTo>
                  <a:lnTo>
                    <a:pt x="271" y="653"/>
                  </a:lnTo>
                  <a:lnTo>
                    <a:pt x="269" y="653"/>
                  </a:lnTo>
                  <a:lnTo>
                    <a:pt x="269" y="651"/>
                  </a:lnTo>
                  <a:lnTo>
                    <a:pt x="267" y="651"/>
                  </a:lnTo>
                  <a:lnTo>
                    <a:pt x="265" y="649"/>
                  </a:lnTo>
                  <a:lnTo>
                    <a:pt x="264" y="649"/>
                  </a:lnTo>
                  <a:lnTo>
                    <a:pt x="264" y="647"/>
                  </a:lnTo>
                  <a:lnTo>
                    <a:pt x="262" y="647"/>
                  </a:lnTo>
                  <a:lnTo>
                    <a:pt x="260" y="645"/>
                  </a:lnTo>
                  <a:lnTo>
                    <a:pt x="258" y="645"/>
                  </a:lnTo>
                  <a:lnTo>
                    <a:pt x="258" y="643"/>
                  </a:lnTo>
                  <a:lnTo>
                    <a:pt x="256" y="643"/>
                  </a:lnTo>
                  <a:lnTo>
                    <a:pt x="254" y="641"/>
                  </a:lnTo>
                  <a:lnTo>
                    <a:pt x="252" y="641"/>
                  </a:lnTo>
                  <a:lnTo>
                    <a:pt x="252" y="639"/>
                  </a:lnTo>
                  <a:lnTo>
                    <a:pt x="250" y="639"/>
                  </a:lnTo>
                  <a:lnTo>
                    <a:pt x="250" y="637"/>
                  </a:lnTo>
                  <a:lnTo>
                    <a:pt x="248" y="637"/>
                  </a:lnTo>
                  <a:lnTo>
                    <a:pt x="246" y="637"/>
                  </a:lnTo>
                  <a:lnTo>
                    <a:pt x="246" y="635"/>
                  </a:lnTo>
                  <a:lnTo>
                    <a:pt x="244" y="635"/>
                  </a:lnTo>
                  <a:lnTo>
                    <a:pt x="244" y="633"/>
                  </a:lnTo>
                  <a:lnTo>
                    <a:pt x="242" y="633"/>
                  </a:lnTo>
                  <a:lnTo>
                    <a:pt x="240" y="633"/>
                  </a:lnTo>
                  <a:lnTo>
                    <a:pt x="240" y="631"/>
                  </a:lnTo>
                  <a:lnTo>
                    <a:pt x="239" y="631"/>
                  </a:lnTo>
                  <a:lnTo>
                    <a:pt x="239" y="630"/>
                  </a:lnTo>
                  <a:lnTo>
                    <a:pt x="237" y="630"/>
                  </a:lnTo>
                  <a:lnTo>
                    <a:pt x="235" y="628"/>
                  </a:lnTo>
                  <a:lnTo>
                    <a:pt x="233" y="628"/>
                  </a:lnTo>
                  <a:lnTo>
                    <a:pt x="233" y="626"/>
                  </a:lnTo>
                  <a:lnTo>
                    <a:pt x="231" y="626"/>
                  </a:lnTo>
                  <a:lnTo>
                    <a:pt x="229" y="624"/>
                  </a:lnTo>
                  <a:lnTo>
                    <a:pt x="227" y="624"/>
                  </a:lnTo>
                  <a:lnTo>
                    <a:pt x="227" y="622"/>
                  </a:lnTo>
                  <a:lnTo>
                    <a:pt x="225" y="622"/>
                  </a:lnTo>
                  <a:lnTo>
                    <a:pt x="225" y="620"/>
                  </a:lnTo>
                  <a:lnTo>
                    <a:pt x="223" y="620"/>
                  </a:lnTo>
                  <a:lnTo>
                    <a:pt x="221" y="620"/>
                  </a:lnTo>
                  <a:lnTo>
                    <a:pt x="221" y="618"/>
                  </a:lnTo>
                  <a:lnTo>
                    <a:pt x="219" y="618"/>
                  </a:lnTo>
                  <a:lnTo>
                    <a:pt x="219" y="616"/>
                  </a:lnTo>
                  <a:lnTo>
                    <a:pt x="217" y="616"/>
                  </a:lnTo>
                  <a:lnTo>
                    <a:pt x="216" y="614"/>
                  </a:lnTo>
                  <a:lnTo>
                    <a:pt x="214" y="614"/>
                  </a:lnTo>
                  <a:lnTo>
                    <a:pt x="214" y="612"/>
                  </a:lnTo>
                  <a:lnTo>
                    <a:pt x="212" y="612"/>
                  </a:lnTo>
                  <a:lnTo>
                    <a:pt x="212" y="610"/>
                  </a:lnTo>
                  <a:lnTo>
                    <a:pt x="210" y="610"/>
                  </a:lnTo>
                  <a:lnTo>
                    <a:pt x="208" y="610"/>
                  </a:lnTo>
                  <a:lnTo>
                    <a:pt x="208" y="608"/>
                  </a:lnTo>
                  <a:lnTo>
                    <a:pt x="206" y="608"/>
                  </a:lnTo>
                  <a:lnTo>
                    <a:pt x="206" y="606"/>
                  </a:lnTo>
                  <a:lnTo>
                    <a:pt x="204" y="606"/>
                  </a:lnTo>
                  <a:lnTo>
                    <a:pt x="202" y="605"/>
                  </a:lnTo>
                  <a:lnTo>
                    <a:pt x="200" y="605"/>
                  </a:lnTo>
                  <a:lnTo>
                    <a:pt x="200" y="603"/>
                  </a:lnTo>
                  <a:lnTo>
                    <a:pt x="198" y="603"/>
                  </a:lnTo>
                  <a:lnTo>
                    <a:pt x="198" y="601"/>
                  </a:lnTo>
                  <a:lnTo>
                    <a:pt x="196" y="601"/>
                  </a:lnTo>
                  <a:lnTo>
                    <a:pt x="194" y="601"/>
                  </a:lnTo>
                  <a:lnTo>
                    <a:pt x="194" y="599"/>
                  </a:lnTo>
                  <a:lnTo>
                    <a:pt x="192" y="599"/>
                  </a:lnTo>
                  <a:lnTo>
                    <a:pt x="192" y="597"/>
                  </a:lnTo>
                  <a:lnTo>
                    <a:pt x="191" y="597"/>
                  </a:lnTo>
                  <a:lnTo>
                    <a:pt x="191" y="595"/>
                  </a:lnTo>
                  <a:lnTo>
                    <a:pt x="189" y="595"/>
                  </a:lnTo>
                  <a:lnTo>
                    <a:pt x="187" y="595"/>
                  </a:lnTo>
                  <a:lnTo>
                    <a:pt x="187" y="593"/>
                  </a:lnTo>
                  <a:lnTo>
                    <a:pt x="185" y="593"/>
                  </a:lnTo>
                  <a:lnTo>
                    <a:pt x="185" y="591"/>
                  </a:lnTo>
                  <a:lnTo>
                    <a:pt x="183" y="591"/>
                  </a:lnTo>
                  <a:lnTo>
                    <a:pt x="183" y="589"/>
                  </a:lnTo>
                  <a:lnTo>
                    <a:pt x="181" y="589"/>
                  </a:lnTo>
                  <a:lnTo>
                    <a:pt x="179" y="589"/>
                  </a:lnTo>
                  <a:lnTo>
                    <a:pt x="179" y="587"/>
                  </a:lnTo>
                  <a:lnTo>
                    <a:pt x="177" y="587"/>
                  </a:lnTo>
                  <a:lnTo>
                    <a:pt x="177" y="585"/>
                  </a:lnTo>
                  <a:lnTo>
                    <a:pt x="175" y="585"/>
                  </a:lnTo>
                  <a:lnTo>
                    <a:pt x="175" y="583"/>
                  </a:lnTo>
                  <a:lnTo>
                    <a:pt x="173" y="583"/>
                  </a:lnTo>
                  <a:lnTo>
                    <a:pt x="171" y="583"/>
                  </a:lnTo>
                  <a:lnTo>
                    <a:pt x="171" y="582"/>
                  </a:lnTo>
                  <a:lnTo>
                    <a:pt x="169" y="582"/>
                  </a:lnTo>
                  <a:lnTo>
                    <a:pt x="169" y="580"/>
                  </a:lnTo>
                  <a:lnTo>
                    <a:pt x="167" y="580"/>
                  </a:lnTo>
                  <a:lnTo>
                    <a:pt x="167" y="578"/>
                  </a:lnTo>
                  <a:lnTo>
                    <a:pt x="166" y="578"/>
                  </a:lnTo>
                  <a:lnTo>
                    <a:pt x="164" y="576"/>
                  </a:lnTo>
                  <a:lnTo>
                    <a:pt x="162" y="576"/>
                  </a:lnTo>
                  <a:lnTo>
                    <a:pt x="162" y="574"/>
                  </a:lnTo>
                  <a:lnTo>
                    <a:pt x="160" y="574"/>
                  </a:lnTo>
                  <a:lnTo>
                    <a:pt x="160" y="572"/>
                  </a:lnTo>
                  <a:lnTo>
                    <a:pt x="158" y="572"/>
                  </a:lnTo>
                  <a:lnTo>
                    <a:pt x="156" y="570"/>
                  </a:lnTo>
                  <a:lnTo>
                    <a:pt x="154" y="570"/>
                  </a:lnTo>
                  <a:lnTo>
                    <a:pt x="154" y="568"/>
                  </a:lnTo>
                  <a:lnTo>
                    <a:pt x="152" y="568"/>
                  </a:lnTo>
                  <a:lnTo>
                    <a:pt x="152" y="566"/>
                  </a:lnTo>
                  <a:lnTo>
                    <a:pt x="150" y="566"/>
                  </a:lnTo>
                  <a:lnTo>
                    <a:pt x="150" y="564"/>
                  </a:lnTo>
                  <a:lnTo>
                    <a:pt x="148" y="564"/>
                  </a:lnTo>
                  <a:lnTo>
                    <a:pt x="146" y="564"/>
                  </a:lnTo>
                  <a:lnTo>
                    <a:pt x="146" y="562"/>
                  </a:lnTo>
                  <a:lnTo>
                    <a:pt x="144" y="562"/>
                  </a:lnTo>
                  <a:lnTo>
                    <a:pt x="144" y="560"/>
                  </a:lnTo>
                  <a:lnTo>
                    <a:pt x="143" y="560"/>
                  </a:lnTo>
                  <a:lnTo>
                    <a:pt x="143" y="558"/>
                  </a:lnTo>
                  <a:lnTo>
                    <a:pt x="141" y="558"/>
                  </a:lnTo>
                  <a:lnTo>
                    <a:pt x="139" y="557"/>
                  </a:lnTo>
                  <a:lnTo>
                    <a:pt x="137" y="557"/>
                  </a:lnTo>
                  <a:lnTo>
                    <a:pt x="137" y="555"/>
                  </a:lnTo>
                  <a:lnTo>
                    <a:pt x="135" y="555"/>
                  </a:lnTo>
                  <a:lnTo>
                    <a:pt x="135" y="553"/>
                  </a:lnTo>
                  <a:lnTo>
                    <a:pt x="133" y="553"/>
                  </a:lnTo>
                  <a:lnTo>
                    <a:pt x="133" y="551"/>
                  </a:lnTo>
                  <a:lnTo>
                    <a:pt x="131" y="551"/>
                  </a:lnTo>
                  <a:lnTo>
                    <a:pt x="129" y="549"/>
                  </a:lnTo>
                  <a:lnTo>
                    <a:pt x="127" y="549"/>
                  </a:lnTo>
                  <a:lnTo>
                    <a:pt x="127" y="547"/>
                  </a:lnTo>
                  <a:lnTo>
                    <a:pt x="125" y="547"/>
                  </a:lnTo>
                  <a:lnTo>
                    <a:pt x="125" y="545"/>
                  </a:lnTo>
                  <a:lnTo>
                    <a:pt x="123" y="545"/>
                  </a:lnTo>
                  <a:lnTo>
                    <a:pt x="123" y="543"/>
                  </a:lnTo>
                  <a:lnTo>
                    <a:pt x="121" y="543"/>
                  </a:lnTo>
                  <a:lnTo>
                    <a:pt x="119" y="541"/>
                  </a:lnTo>
                  <a:lnTo>
                    <a:pt x="118" y="541"/>
                  </a:lnTo>
                  <a:lnTo>
                    <a:pt x="118" y="539"/>
                  </a:lnTo>
                  <a:lnTo>
                    <a:pt x="116" y="539"/>
                  </a:lnTo>
                  <a:lnTo>
                    <a:pt x="116" y="537"/>
                  </a:lnTo>
                  <a:lnTo>
                    <a:pt x="114" y="537"/>
                  </a:lnTo>
                  <a:lnTo>
                    <a:pt x="114" y="535"/>
                  </a:lnTo>
                  <a:lnTo>
                    <a:pt x="112" y="535"/>
                  </a:lnTo>
                  <a:lnTo>
                    <a:pt x="112" y="534"/>
                  </a:lnTo>
                  <a:lnTo>
                    <a:pt x="110" y="534"/>
                  </a:lnTo>
                  <a:lnTo>
                    <a:pt x="108" y="532"/>
                  </a:lnTo>
                  <a:lnTo>
                    <a:pt x="106" y="532"/>
                  </a:lnTo>
                  <a:lnTo>
                    <a:pt x="106" y="530"/>
                  </a:lnTo>
                  <a:lnTo>
                    <a:pt x="104" y="530"/>
                  </a:lnTo>
                  <a:lnTo>
                    <a:pt x="104" y="528"/>
                  </a:lnTo>
                  <a:lnTo>
                    <a:pt x="102" y="528"/>
                  </a:lnTo>
                  <a:lnTo>
                    <a:pt x="102" y="526"/>
                  </a:lnTo>
                  <a:lnTo>
                    <a:pt x="100" y="526"/>
                  </a:lnTo>
                  <a:lnTo>
                    <a:pt x="98" y="524"/>
                  </a:lnTo>
                  <a:lnTo>
                    <a:pt x="96" y="524"/>
                  </a:lnTo>
                  <a:lnTo>
                    <a:pt x="96" y="522"/>
                  </a:lnTo>
                  <a:lnTo>
                    <a:pt x="95" y="522"/>
                  </a:lnTo>
                  <a:lnTo>
                    <a:pt x="95" y="520"/>
                  </a:lnTo>
                  <a:lnTo>
                    <a:pt x="93" y="520"/>
                  </a:lnTo>
                  <a:lnTo>
                    <a:pt x="93" y="518"/>
                  </a:lnTo>
                  <a:lnTo>
                    <a:pt x="91" y="518"/>
                  </a:lnTo>
                  <a:lnTo>
                    <a:pt x="91" y="516"/>
                  </a:lnTo>
                  <a:lnTo>
                    <a:pt x="89" y="516"/>
                  </a:lnTo>
                  <a:lnTo>
                    <a:pt x="89" y="514"/>
                  </a:lnTo>
                  <a:lnTo>
                    <a:pt x="87" y="514"/>
                  </a:lnTo>
                  <a:lnTo>
                    <a:pt x="85" y="512"/>
                  </a:lnTo>
                  <a:lnTo>
                    <a:pt x="83" y="512"/>
                  </a:lnTo>
                  <a:lnTo>
                    <a:pt x="83" y="510"/>
                  </a:lnTo>
                  <a:lnTo>
                    <a:pt x="81" y="510"/>
                  </a:lnTo>
                  <a:lnTo>
                    <a:pt x="81" y="509"/>
                  </a:lnTo>
                  <a:lnTo>
                    <a:pt x="79" y="509"/>
                  </a:lnTo>
                  <a:lnTo>
                    <a:pt x="79" y="507"/>
                  </a:lnTo>
                  <a:lnTo>
                    <a:pt x="77" y="507"/>
                  </a:lnTo>
                  <a:lnTo>
                    <a:pt x="77" y="505"/>
                  </a:lnTo>
                  <a:lnTo>
                    <a:pt x="75" y="505"/>
                  </a:lnTo>
                  <a:lnTo>
                    <a:pt x="75" y="503"/>
                  </a:lnTo>
                  <a:lnTo>
                    <a:pt x="73" y="503"/>
                  </a:lnTo>
                  <a:lnTo>
                    <a:pt x="71" y="501"/>
                  </a:lnTo>
                  <a:lnTo>
                    <a:pt x="70" y="501"/>
                  </a:lnTo>
                  <a:lnTo>
                    <a:pt x="70" y="499"/>
                  </a:lnTo>
                  <a:lnTo>
                    <a:pt x="68" y="499"/>
                  </a:lnTo>
                  <a:lnTo>
                    <a:pt x="68" y="497"/>
                  </a:lnTo>
                  <a:lnTo>
                    <a:pt x="66" y="497"/>
                  </a:lnTo>
                  <a:lnTo>
                    <a:pt x="66" y="495"/>
                  </a:lnTo>
                  <a:lnTo>
                    <a:pt x="64" y="495"/>
                  </a:lnTo>
                  <a:lnTo>
                    <a:pt x="64" y="493"/>
                  </a:lnTo>
                  <a:lnTo>
                    <a:pt x="62" y="493"/>
                  </a:lnTo>
                  <a:lnTo>
                    <a:pt x="62" y="491"/>
                  </a:lnTo>
                  <a:lnTo>
                    <a:pt x="60" y="491"/>
                  </a:lnTo>
                  <a:lnTo>
                    <a:pt x="58" y="489"/>
                  </a:lnTo>
                  <a:lnTo>
                    <a:pt x="56" y="487"/>
                  </a:lnTo>
                  <a:lnTo>
                    <a:pt x="54" y="487"/>
                  </a:lnTo>
                  <a:lnTo>
                    <a:pt x="54" y="486"/>
                  </a:lnTo>
                  <a:lnTo>
                    <a:pt x="52" y="486"/>
                  </a:lnTo>
                  <a:lnTo>
                    <a:pt x="52" y="484"/>
                  </a:lnTo>
                  <a:lnTo>
                    <a:pt x="50" y="484"/>
                  </a:lnTo>
                  <a:lnTo>
                    <a:pt x="50" y="482"/>
                  </a:lnTo>
                  <a:lnTo>
                    <a:pt x="48" y="482"/>
                  </a:lnTo>
                  <a:lnTo>
                    <a:pt x="48" y="480"/>
                  </a:lnTo>
                  <a:lnTo>
                    <a:pt x="47" y="480"/>
                  </a:lnTo>
                  <a:lnTo>
                    <a:pt x="47" y="478"/>
                  </a:lnTo>
                  <a:lnTo>
                    <a:pt x="45" y="478"/>
                  </a:lnTo>
                  <a:lnTo>
                    <a:pt x="45" y="476"/>
                  </a:lnTo>
                  <a:lnTo>
                    <a:pt x="43" y="476"/>
                  </a:lnTo>
                  <a:lnTo>
                    <a:pt x="41" y="474"/>
                  </a:lnTo>
                  <a:lnTo>
                    <a:pt x="39" y="472"/>
                  </a:lnTo>
                  <a:lnTo>
                    <a:pt x="37" y="472"/>
                  </a:lnTo>
                  <a:lnTo>
                    <a:pt x="37" y="470"/>
                  </a:lnTo>
                  <a:lnTo>
                    <a:pt x="35" y="470"/>
                  </a:lnTo>
                  <a:lnTo>
                    <a:pt x="35" y="468"/>
                  </a:lnTo>
                  <a:lnTo>
                    <a:pt x="33" y="468"/>
                  </a:lnTo>
                  <a:lnTo>
                    <a:pt x="33" y="466"/>
                  </a:lnTo>
                  <a:lnTo>
                    <a:pt x="31" y="466"/>
                  </a:lnTo>
                  <a:lnTo>
                    <a:pt x="31" y="464"/>
                  </a:lnTo>
                  <a:lnTo>
                    <a:pt x="29" y="464"/>
                  </a:lnTo>
                  <a:lnTo>
                    <a:pt x="31" y="459"/>
                  </a:lnTo>
                  <a:lnTo>
                    <a:pt x="45" y="449"/>
                  </a:lnTo>
                  <a:lnTo>
                    <a:pt x="29" y="436"/>
                  </a:lnTo>
                  <a:lnTo>
                    <a:pt x="18" y="438"/>
                  </a:lnTo>
                  <a:lnTo>
                    <a:pt x="18" y="436"/>
                  </a:lnTo>
                  <a:lnTo>
                    <a:pt x="12" y="422"/>
                  </a:lnTo>
                  <a:lnTo>
                    <a:pt x="6" y="424"/>
                  </a:lnTo>
                  <a:lnTo>
                    <a:pt x="0" y="411"/>
                  </a:lnTo>
                  <a:lnTo>
                    <a:pt x="20" y="390"/>
                  </a:lnTo>
                  <a:lnTo>
                    <a:pt x="29" y="380"/>
                  </a:lnTo>
                  <a:lnTo>
                    <a:pt x="31" y="378"/>
                  </a:lnTo>
                  <a:lnTo>
                    <a:pt x="37" y="372"/>
                  </a:lnTo>
                  <a:lnTo>
                    <a:pt x="39" y="370"/>
                  </a:lnTo>
                  <a:lnTo>
                    <a:pt x="41" y="367"/>
                  </a:lnTo>
                  <a:lnTo>
                    <a:pt x="48" y="359"/>
                  </a:lnTo>
                  <a:lnTo>
                    <a:pt x="52" y="355"/>
                  </a:lnTo>
                  <a:lnTo>
                    <a:pt x="54" y="353"/>
                  </a:lnTo>
                  <a:lnTo>
                    <a:pt x="58" y="349"/>
                  </a:lnTo>
                  <a:lnTo>
                    <a:pt x="60" y="347"/>
                  </a:lnTo>
                  <a:lnTo>
                    <a:pt x="62" y="347"/>
                  </a:lnTo>
                  <a:lnTo>
                    <a:pt x="62" y="345"/>
                  </a:lnTo>
                  <a:lnTo>
                    <a:pt x="66" y="342"/>
                  </a:lnTo>
                  <a:lnTo>
                    <a:pt x="68" y="340"/>
                  </a:lnTo>
                  <a:lnTo>
                    <a:pt x="71" y="338"/>
                  </a:lnTo>
                  <a:lnTo>
                    <a:pt x="71" y="336"/>
                  </a:lnTo>
                  <a:lnTo>
                    <a:pt x="75" y="332"/>
                  </a:lnTo>
                  <a:lnTo>
                    <a:pt x="77" y="330"/>
                  </a:lnTo>
                  <a:lnTo>
                    <a:pt x="79" y="328"/>
                  </a:lnTo>
                  <a:lnTo>
                    <a:pt x="81" y="326"/>
                  </a:lnTo>
                  <a:lnTo>
                    <a:pt x="83" y="326"/>
                  </a:lnTo>
                  <a:lnTo>
                    <a:pt x="83" y="324"/>
                  </a:lnTo>
                  <a:lnTo>
                    <a:pt x="87" y="320"/>
                  </a:lnTo>
                  <a:lnTo>
                    <a:pt x="89" y="319"/>
                  </a:lnTo>
                  <a:lnTo>
                    <a:pt x="93" y="315"/>
                  </a:lnTo>
                  <a:lnTo>
                    <a:pt x="95" y="313"/>
                  </a:lnTo>
                  <a:lnTo>
                    <a:pt x="96" y="311"/>
                  </a:lnTo>
                  <a:lnTo>
                    <a:pt x="98" y="309"/>
                  </a:lnTo>
                  <a:lnTo>
                    <a:pt x="100" y="307"/>
                  </a:lnTo>
                  <a:lnTo>
                    <a:pt x="102" y="305"/>
                  </a:lnTo>
                  <a:lnTo>
                    <a:pt x="106" y="301"/>
                  </a:lnTo>
                  <a:lnTo>
                    <a:pt x="106" y="299"/>
                  </a:lnTo>
                  <a:lnTo>
                    <a:pt x="110" y="297"/>
                  </a:lnTo>
                  <a:lnTo>
                    <a:pt x="110" y="295"/>
                  </a:lnTo>
                  <a:lnTo>
                    <a:pt x="112" y="295"/>
                  </a:lnTo>
                  <a:lnTo>
                    <a:pt x="114" y="294"/>
                  </a:lnTo>
                  <a:lnTo>
                    <a:pt x="114" y="292"/>
                  </a:lnTo>
                  <a:lnTo>
                    <a:pt x="116" y="292"/>
                  </a:lnTo>
                  <a:lnTo>
                    <a:pt x="118" y="290"/>
                  </a:lnTo>
                  <a:lnTo>
                    <a:pt x="118" y="288"/>
                  </a:lnTo>
                  <a:lnTo>
                    <a:pt x="119" y="288"/>
                  </a:lnTo>
                  <a:lnTo>
                    <a:pt x="119" y="286"/>
                  </a:lnTo>
                  <a:lnTo>
                    <a:pt x="121" y="286"/>
                  </a:lnTo>
                  <a:lnTo>
                    <a:pt x="129" y="278"/>
                  </a:lnTo>
                  <a:lnTo>
                    <a:pt x="148" y="259"/>
                  </a:lnTo>
                  <a:lnTo>
                    <a:pt x="158" y="247"/>
                  </a:lnTo>
                  <a:lnTo>
                    <a:pt x="166" y="238"/>
                  </a:lnTo>
                  <a:lnTo>
                    <a:pt x="179" y="226"/>
                  </a:lnTo>
                  <a:lnTo>
                    <a:pt x="183" y="223"/>
                  </a:lnTo>
                  <a:lnTo>
                    <a:pt x="183" y="221"/>
                  </a:lnTo>
                  <a:lnTo>
                    <a:pt x="185" y="221"/>
                  </a:lnTo>
                  <a:lnTo>
                    <a:pt x="185" y="219"/>
                  </a:lnTo>
                  <a:lnTo>
                    <a:pt x="187" y="219"/>
                  </a:lnTo>
                  <a:lnTo>
                    <a:pt x="187" y="217"/>
                  </a:lnTo>
                  <a:lnTo>
                    <a:pt x="189" y="217"/>
                  </a:lnTo>
                  <a:lnTo>
                    <a:pt x="189" y="215"/>
                  </a:lnTo>
                  <a:lnTo>
                    <a:pt x="191" y="213"/>
                  </a:lnTo>
                  <a:lnTo>
                    <a:pt x="194" y="211"/>
                  </a:lnTo>
                  <a:lnTo>
                    <a:pt x="200" y="203"/>
                  </a:lnTo>
                  <a:lnTo>
                    <a:pt x="204" y="199"/>
                  </a:lnTo>
                  <a:lnTo>
                    <a:pt x="214" y="190"/>
                  </a:lnTo>
                  <a:lnTo>
                    <a:pt x="225" y="178"/>
                  </a:lnTo>
                  <a:lnTo>
                    <a:pt x="233" y="171"/>
                  </a:lnTo>
                  <a:lnTo>
                    <a:pt x="240" y="163"/>
                  </a:lnTo>
                  <a:lnTo>
                    <a:pt x="242" y="159"/>
                  </a:lnTo>
                  <a:lnTo>
                    <a:pt x="250" y="153"/>
                  </a:lnTo>
                  <a:lnTo>
                    <a:pt x="258" y="144"/>
                  </a:lnTo>
                  <a:lnTo>
                    <a:pt x="265" y="138"/>
                  </a:lnTo>
                  <a:lnTo>
                    <a:pt x="267" y="136"/>
                  </a:lnTo>
                  <a:lnTo>
                    <a:pt x="269" y="132"/>
                  </a:lnTo>
                  <a:lnTo>
                    <a:pt x="281" y="123"/>
                  </a:lnTo>
                  <a:lnTo>
                    <a:pt x="287" y="115"/>
                  </a:lnTo>
                  <a:lnTo>
                    <a:pt x="288" y="113"/>
                  </a:lnTo>
                  <a:lnTo>
                    <a:pt x="298" y="103"/>
                  </a:lnTo>
                  <a:lnTo>
                    <a:pt x="304" y="96"/>
                  </a:lnTo>
                  <a:lnTo>
                    <a:pt x="313" y="88"/>
                  </a:lnTo>
                  <a:lnTo>
                    <a:pt x="323" y="79"/>
                  </a:lnTo>
                  <a:lnTo>
                    <a:pt x="329" y="71"/>
                  </a:lnTo>
                  <a:lnTo>
                    <a:pt x="338" y="63"/>
                  </a:lnTo>
                  <a:lnTo>
                    <a:pt x="346" y="54"/>
                  </a:lnTo>
                  <a:lnTo>
                    <a:pt x="352" y="48"/>
                  </a:lnTo>
                  <a:lnTo>
                    <a:pt x="360" y="42"/>
                  </a:lnTo>
                  <a:lnTo>
                    <a:pt x="365" y="34"/>
                  </a:lnTo>
                  <a:lnTo>
                    <a:pt x="371" y="29"/>
                  </a:lnTo>
                  <a:lnTo>
                    <a:pt x="373" y="27"/>
                  </a:lnTo>
                  <a:lnTo>
                    <a:pt x="379" y="21"/>
                  </a:lnTo>
                  <a:lnTo>
                    <a:pt x="384" y="15"/>
                  </a:lnTo>
                  <a:lnTo>
                    <a:pt x="388" y="11"/>
                  </a:lnTo>
                  <a:lnTo>
                    <a:pt x="394" y="6"/>
                  </a:lnTo>
                  <a:lnTo>
                    <a:pt x="400" y="0"/>
                  </a:lnTo>
                  <a:lnTo>
                    <a:pt x="400" y="2"/>
                  </a:lnTo>
                  <a:lnTo>
                    <a:pt x="402" y="2"/>
                  </a:lnTo>
                  <a:lnTo>
                    <a:pt x="400" y="2"/>
                  </a:lnTo>
                  <a:lnTo>
                    <a:pt x="400" y="4"/>
                  </a:lnTo>
                  <a:lnTo>
                    <a:pt x="400" y="2"/>
                  </a:lnTo>
                  <a:lnTo>
                    <a:pt x="400" y="4"/>
                  </a:lnTo>
                  <a:lnTo>
                    <a:pt x="400" y="2"/>
                  </a:lnTo>
                  <a:lnTo>
                    <a:pt x="402" y="2"/>
                  </a:lnTo>
                  <a:lnTo>
                    <a:pt x="402" y="4"/>
                  </a:lnTo>
                  <a:lnTo>
                    <a:pt x="402" y="2"/>
                  </a:lnTo>
                  <a:lnTo>
                    <a:pt x="402" y="4"/>
                  </a:lnTo>
                  <a:lnTo>
                    <a:pt x="402" y="6"/>
                  </a:lnTo>
                  <a:lnTo>
                    <a:pt x="404" y="6"/>
                  </a:lnTo>
                  <a:lnTo>
                    <a:pt x="404" y="7"/>
                  </a:lnTo>
                  <a:lnTo>
                    <a:pt x="406" y="7"/>
                  </a:lnTo>
                  <a:lnTo>
                    <a:pt x="406" y="9"/>
                  </a:lnTo>
                  <a:lnTo>
                    <a:pt x="404" y="9"/>
                  </a:lnTo>
                  <a:lnTo>
                    <a:pt x="406" y="9"/>
                  </a:lnTo>
                  <a:lnTo>
                    <a:pt x="406" y="11"/>
                  </a:lnTo>
                  <a:lnTo>
                    <a:pt x="408" y="11"/>
                  </a:lnTo>
                  <a:lnTo>
                    <a:pt x="408" y="13"/>
                  </a:lnTo>
                  <a:lnTo>
                    <a:pt x="409" y="13"/>
                  </a:lnTo>
                  <a:lnTo>
                    <a:pt x="411" y="13"/>
                  </a:lnTo>
                  <a:lnTo>
                    <a:pt x="411" y="15"/>
                  </a:lnTo>
                  <a:lnTo>
                    <a:pt x="413" y="15"/>
                  </a:lnTo>
                  <a:lnTo>
                    <a:pt x="415" y="15"/>
                  </a:lnTo>
                  <a:lnTo>
                    <a:pt x="415" y="17"/>
                  </a:lnTo>
                  <a:lnTo>
                    <a:pt x="417" y="19"/>
                  </a:lnTo>
                  <a:lnTo>
                    <a:pt x="417" y="21"/>
                  </a:lnTo>
                  <a:lnTo>
                    <a:pt x="417" y="23"/>
                  </a:lnTo>
                  <a:lnTo>
                    <a:pt x="419" y="23"/>
                  </a:lnTo>
                  <a:lnTo>
                    <a:pt x="419" y="25"/>
                  </a:lnTo>
                  <a:lnTo>
                    <a:pt x="419" y="23"/>
                  </a:lnTo>
                  <a:lnTo>
                    <a:pt x="417" y="23"/>
                  </a:lnTo>
                  <a:lnTo>
                    <a:pt x="417" y="21"/>
                  </a:lnTo>
                  <a:lnTo>
                    <a:pt x="417" y="19"/>
                  </a:lnTo>
                  <a:lnTo>
                    <a:pt x="417" y="21"/>
                  </a:lnTo>
                  <a:lnTo>
                    <a:pt x="417" y="23"/>
                  </a:lnTo>
                  <a:lnTo>
                    <a:pt x="417" y="25"/>
                  </a:lnTo>
                  <a:lnTo>
                    <a:pt x="419" y="25"/>
                  </a:lnTo>
                  <a:lnTo>
                    <a:pt x="419" y="27"/>
                  </a:lnTo>
                  <a:lnTo>
                    <a:pt x="417" y="27"/>
                  </a:lnTo>
                  <a:lnTo>
                    <a:pt x="419" y="27"/>
                  </a:lnTo>
                  <a:lnTo>
                    <a:pt x="421" y="27"/>
                  </a:lnTo>
                  <a:lnTo>
                    <a:pt x="421" y="29"/>
                  </a:lnTo>
                  <a:lnTo>
                    <a:pt x="421" y="31"/>
                  </a:lnTo>
                  <a:lnTo>
                    <a:pt x="421" y="32"/>
                  </a:lnTo>
                  <a:lnTo>
                    <a:pt x="423" y="32"/>
                  </a:lnTo>
                  <a:lnTo>
                    <a:pt x="423" y="34"/>
                  </a:lnTo>
                  <a:lnTo>
                    <a:pt x="423" y="36"/>
                  </a:lnTo>
                  <a:lnTo>
                    <a:pt x="423" y="34"/>
                  </a:lnTo>
                  <a:lnTo>
                    <a:pt x="423" y="36"/>
                  </a:lnTo>
                  <a:lnTo>
                    <a:pt x="423" y="38"/>
                  </a:lnTo>
                  <a:lnTo>
                    <a:pt x="423" y="40"/>
                  </a:lnTo>
                  <a:lnTo>
                    <a:pt x="421" y="40"/>
                  </a:lnTo>
                  <a:lnTo>
                    <a:pt x="423" y="40"/>
                  </a:lnTo>
                  <a:lnTo>
                    <a:pt x="421" y="40"/>
                  </a:lnTo>
                  <a:lnTo>
                    <a:pt x="421" y="42"/>
                  </a:lnTo>
                  <a:lnTo>
                    <a:pt x="423" y="42"/>
                  </a:lnTo>
                  <a:lnTo>
                    <a:pt x="421" y="42"/>
                  </a:lnTo>
                  <a:lnTo>
                    <a:pt x="421" y="44"/>
                  </a:lnTo>
                  <a:lnTo>
                    <a:pt x="419" y="44"/>
                  </a:lnTo>
                  <a:lnTo>
                    <a:pt x="421" y="44"/>
                  </a:lnTo>
                  <a:lnTo>
                    <a:pt x="419" y="44"/>
                  </a:lnTo>
                  <a:lnTo>
                    <a:pt x="421" y="44"/>
                  </a:lnTo>
                  <a:lnTo>
                    <a:pt x="421" y="42"/>
                  </a:lnTo>
                  <a:lnTo>
                    <a:pt x="423" y="42"/>
                  </a:lnTo>
                  <a:lnTo>
                    <a:pt x="423" y="44"/>
                  </a:lnTo>
                  <a:lnTo>
                    <a:pt x="423" y="46"/>
                  </a:lnTo>
                  <a:lnTo>
                    <a:pt x="423" y="48"/>
                  </a:lnTo>
                  <a:lnTo>
                    <a:pt x="423" y="50"/>
                  </a:lnTo>
                  <a:lnTo>
                    <a:pt x="423" y="52"/>
                  </a:lnTo>
                  <a:lnTo>
                    <a:pt x="423" y="50"/>
                  </a:lnTo>
                  <a:lnTo>
                    <a:pt x="423" y="52"/>
                  </a:lnTo>
                  <a:lnTo>
                    <a:pt x="421" y="52"/>
                  </a:lnTo>
                  <a:lnTo>
                    <a:pt x="421" y="50"/>
                  </a:lnTo>
                  <a:lnTo>
                    <a:pt x="421" y="52"/>
                  </a:lnTo>
                  <a:lnTo>
                    <a:pt x="423" y="52"/>
                  </a:lnTo>
                  <a:lnTo>
                    <a:pt x="421" y="52"/>
                  </a:lnTo>
                  <a:lnTo>
                    <a:pt x="421" y="54"/>
                  </a:lnTo>
                  <a:lnTo>
                    <a:pt x="423" y="54"/>
                  </a:lnTo>
                  <a:lnTo>
                    <a:pt x="421" y="55"/>
                  </a:lnTo>
                  <a:lnTo>
                    <a:pt x="423" y="55"/>
                  </a:lnTo>
                  <a:lnTo>
                    <a:pt x="423" y="57"/>
                  </a:lnTo>
                  <a:lnTo>
                    <a:pt x="421" y="57"/>
                  </a:lnTo>
                  <a:lnTo>
                    <a:pt x="423" y="57"/>
                  </a:lnTo>
                  <a:lnTo>
                    <a:pt x="423" y="55"/>
                  </a:lnTo>
                  <a:lnTo>
                    <a:pt x="423" y="57"/>
                  </a:lnTo>
                  <a:lnTo>
                    <a:pt x="425" y="57"/>
                  </a:lnTo>
                  <a:lnTo>
                    <a:pt x="425" y="59"/>
                  </a:lnTo>
                  <a:lnTo>
                    <a:pt x="423" y="59"/>
                  </a:lnTo>
                  <a:lnTo>
                    <a:pt x="425" y="59"/>
                  </a:lnTo>
                  <a:lnTo>
                    <a:pt x="423" y="59"/>
                  </a:lnTo>
                  <a:lnTo>
                    <a:pt x="425" y="59"/>
                  </a:lnTo>
                  <a:lnTo>
                    <a:pt x="425" y="57"/>
                  </a:lnTo>
                  <a:lnTo>
                    <a:pt x="423" y="57"/>
                  </a:lnTo>
                  <a:lnTo>
                    <a:pt x="423" y="55"/>
                  </a:lnTo>
                  <a:lnTo>
                    <a:pt x="425" y="55"/>
                  </a:lnTo>
                  <a:lnTo>
                    <a:pt x="423" y="55"/>
                  </a:lnTo>
                  <a:lnTo>
                    <a:pt x="425" y="55"/>
                  </a:lnTo>
                  <a:lnTo>
                    <a:pt x="425" y="54"/>
                  </a:lnTo>
                  <a:lnTo>
                    <a:pt x="425" y="55"/>
                  </a:lnTo>
                  <a:lnTo>
                    <a:pt x="427" y="55"/>
                  </a:lnTo>
                  <a:lnTo>
                    <a:pt x="425" y="55"/>
                  </a:lnTo>
                  <a:lnTo>
                    <a:pt x="425" y="54"/>
                  </a:lnTo>
                  <a:lnTo>
                    <a:pt x="427" y="54"/>
                  </a:lnTo>
                  <a:lnTo>
                    <a:pt x="425" y="54"/>
                  </a:lnTo>
                  <a:lnTo>
                    <a:pt x="427" y="54"/>
                  </a:lnTo>
                  <a:lnTo>
                    <a:pt x="427" y="55"/>
                  </a:lnTo>
                  <a:lnTo>
                    <a:pt x="427" y="57"/>
                  </a:lnTo>
                  <a:lnTo>
                    <a:pt x="425" y="57"/>
                  </a:lnTo>
                  <a:lnTo>
                    <a:pt x="425" y="59"/>
                  </a:lnTo>
                  <a:lnTo>
                    <a:pt x="425" y="61"/>
                  </a:lnTo>
                  <a:lnTo>
                    <a:pt x="425" y="63"/>
                  </a:lnTo>
                  <a:lnTo>
                    <a:pt x="425" y="65"/>
                  </a:lnTo>
                  <a:lnTo>
                    <a:pt x="425" y="67"/>
                  </a:lnTo>
                  <a:lnTo>
                    <a:pt x="425" y="69"/>
                  </a:lnTo>
                  <a:lnTo>
                    <a:pt x="425" y="71"/>
                  </a:lnTo>
                  <a:lnTo>
                    <a:pt x="427" y="71"/>
                  </a:lnTo>
                  <a:lnTo>
                    <a:pt x="427" y="73"/>
                  </a:lnTo>
                  <a:lnTo>
                    <a:pt x="427" y="75"/>
                  </a:lnTo>
                  <a:lnTo>
                    <a:pt x="427" y="77"/>
                  </a:lnTo>
                  <a:lnTo>
                    <a:pt x="429" y="79"/>
                  </a:lnTo>
                  <a:lnTo>
                    <a:pt x="429" y="80"/>
                  </a:lnTo>
                  <a:lnTo>
                    <a:pt x="431" y="80"/>
                  </a:lnTo>
                  <a:lnTo>
                    <a:pt x="431" y="82"/>
                  </a:lnTo>
                  <a:lnTo>
                    <a:pt x="431" y="80"/>
                  </a:lnTo>
                  <a:lnTo>
                    <a:pt x="429" y="80"/>
                  </a:lnTo>
                  <a:lnTo>
                    <a:pt x="429" y="82"/>
                  </a:lnTo>
                  <a:lnTo>
                    <a:pt x="431" y="82"/>
                  </a:lnTo>
                  <a:lnTo>
                    <a:pt x="431" y="84"/>
                  </a:lnTo>
                  <a:lnTo>
                    <a:pt x="431" y="86"/>
                  </a:lnTo>
                  <a:lnTo>
                    <a:pt x="431" y="84"/>
                  </a:lnTo>
                  <a:lnTo>
                    <a:pt x="431" y="86"/>
                  </a:lnTo>
                  <a:lnTo>
                    <a:pt x="431" y="88"/>
                  </a:lnTo>
                  <a:lnTo>
                    <a:pt x="432" y="88"/>
                  </a:lnTo>
                  <a:lnTo>
                    <a:pt x="432" y="90"/>
                  </a:lnTo>
                  <a:lnTo>
                    <a:pt x="434" y="90"/>
                  </a:lnTo>
                  <a:lnTo>
                    <a:pt x="432" y="90"/>
                  </a:lnTo>
                  <a:lnTo>
                    <a:pt x="434" y="90"/>
                  </a:lnTo>
                  <a:lnTo>
                    <a:pt x="434" y="92"/>
                  </a:lnTo>
                  <a:lnTo>
                    <a:pt x="434" y="94"/>
                  </a:lnTo>
                  <a:lnTo>
                    <a:pt x="434" y="96"/>
                  </a:lnTo>
                  <a:lnTo>
                    <a:pt x="434" y="98"/>
                  </a:lnTo>
                  <a:lnTo>
                    <a:pt x="436" y="98"/>
                  </a:lnTo>
                  <a:lnTo>
                    <a:pt x="438" y="98"/>
                  </a:lnTo>
                  <a:lnTo>
                    <a:pt x="440" y="98"/>
                  </a:lnTo>
                  <a:lnTo>
                    <a:pt x="440" y="100"/>
                  </a:lnTo>
                  <a:lnTo>
                    <a:pt x="440" y="102"/>
                  </a:lnTo>
                  <a:close/>
                  <a:moveTo>
                    <a:pt x="427" y="27"/>
                  </a:moveTo>
                  <a:lnTo>
                    <a:pt x="429" y="27"/>
                  </a:lnTo>
                  <a:lnTo>
                    <a:pt x="429" y="29"/>
                  </a:lnTo>
                  <a:lnTo>
                    <a:pt x="431" y="29"/>
                  </a:lnTo>
                  <a:lnTo>
                    <a:pt x="431" y="31"/>
                  </a:lnTo>
                  <a:lnTo>
                    <a:pt x="431" y="32"/>
                  </a:lnTo>
                  <a:lnTo>
                    <a:pt x="431" y="34"/>
                  </a:lnTo>
                  <a:lnTo>
                    <a:pt x="429" y="34"/>
                  </a:lnTo>
                  <a:lnTo>
                    <a:pt x="429" y="32"/>
                  </a:lnTo>
                  <a:lnTo>
                    <a:pt x="427" y="32"/>
                  </a:lnTo>
                  <a:lnTo>
                    <a:pt x="425" y="32"/>
                  </a:lnTo>
                  <a:lnTo>
                    <a:pt x="425" y="34"/>
                  </a:lnTo>
                  <a:lnTo>
                    <a:pt x="425" y="32"/>
                  </a:lnTo>
                  <a:lnTo>
                    <a:pt x="425" y="31"/>
                  </a:lnTo>
                  <a:lnTo>
                    <a:pt x="423" y="31"/>
                  </a:lnTo>
                  <a:lnTo>
                    <a:pt x="425" y="31"/>
                  </a:lnTo>
                  <a:lnTo>
                    <a:pt x="425" y="29"/>
                  </a:lnTo>
                  <a:lnTo>
                    <a:pt x="423" y="29"/>
                  </a:lnTo>
                  <a:lnTo>
                    <a:pt x="421" y="29"/>
                  </a:lnTo>
                  <a:lnTo>
                    <a:pt x="423" y="29"/>
                  </a:lnTo>
                  <a:lnTo>
                    <a:pt x="425" y="29"/>
                  </a:lnTo>
                  <a:lnTo>
                    <a:pt x="425" y="27"/>
                  </a:lnTo>
                  <a:lnTo>
                    <a:pt x="427" y="27"/>
                  </a:lnTo>
                  <a:close/>
                  <a:moveTo>
                    <a:pt x="440" y="102"/>
                  </a:moveTo>
                  <a:lnTo>
                    <a:pt x="440" y="100"/>
                  </a:lnTo>
                  <a:lnTo>
                    <a:pt x="440" y="98"/>
                  </a:lnTo>
                  <a:lnTo>
                    <a:pt x="440" y="100"/>
                  </a:lnTo>
                  <a:lnTo>
                    <a:pt x="442" y="100"/>
                  </a:lnTo>
                  <a:lnTo>
                    <a:pt x="442" y="102"/>
                  </a:lnTo>
                  <a:lnTo>
                    <a:pt x="440" y="102"/>
                  </a:lnTo>
                  <a:close/>
                  <a:moveTo>
                    <a:pt x="442" y="100"/>
                  </a:moveTo>
                  <a:lnTo>
                    <a:pt x="440" y="100"/>
                  </a:lnTo>
                  <a:lnTo>
                    <a:pt x="442" y="100"/>
                  </a:lnTo>
                  <a:close/>
                  <a:moveTo>
                    <a:pt x="440" y="96"/>
                  </a:moveTo>
                  <a:lnTo>
                    <a:pt x="440" y="98"/>
                  </a:lnTo>
                  <a:lnTo>
                    <a:pt x="440" y="96"/>
                  </a:lnTo>
                  <a:lnTo>
                    <a:pt x="440" y="98"/>
                  </a:lnTo>
                  <a:lnTo>
                    <a:pt x="442" y="98"/>
                  </a:lnTo>
                  <a:lnTo>
                    <a:pt x="440" y="98"/>
                  </a:lnTo>
                  <a:lnTo>
                    <a:pt x="440" y="96"/>
                  </a:lnTo>
                  <a:close/>
                  <a:moveTo>
                    <a:pt x="423" y="55"/>
                  </a:moveTo>
                  <a:lnTo>
                    <a:pt x="423" y="57"/>
                  </a:lnTo>
                  <a:lnTo>
                    <a:pt x="423" y="55"/>
                  </a:lnTo>
                  <a:lnTo>
                    <a:pt x="423" y="57"/>
                  </a:lnTo>
                  <a:lnTo>
                    <a:pt x="423" y="55"/>
                  </a:lnTo>
                  <a:close/>
                  <a:moveTo>
                    <a:pt x="421" y="27"/>
                  </a:moveTo>
                  <a:lnTo>
                    <a:pt x="421" y="29"/>
                  </a:lnTo>
                  <a:lnTo>
                    <a:pt x="421" y="27"/>
                  </a:lnTo>
                  <a:close/>
                  <a:moveTo>
                    <a:pt x="432" y="84"/>
                  </a:moveTo>
                  <a:lnTo>
                    <a:pt x="434" y="84"/>
                  </a:lnTo>
                  <a:lnTo>
                    <a:pt x="432" y="84"/>
                  </a:lnTo>
                  <a:close/>
                  <a:moveTo>
                    <a:pt x="434" y="90"/>
                  </a:moveTo>
                  <a:lnTo>
                    <a:pt x="434" y="92"/>
                  </a:lnTo>
                  <a:lnTo>
                    <a:pt x="434" y="90"/>
                  </a:lnTo>
                  <a:close/>
                  <a:moveTo>
                    <a:pt x="421" y="52"/>
                  </a:moveTo>
                  <a:lnTo>
                    <a:pt x="421" y="54"/>
                  </a:lnTo>
                  <a:lnTo>
                    <a:pt x="421" y="52"/>
                  </a:lnTo>
                  <a:lnTo>
                    <a:pt x="423" y="52"/>
                  </a:lnTo>
                  <a:lnTo>
                    <a:pt x="421" y="52"/>
                  </a:lnTo>
                  <a:lnTo>
                    <a:pt x="423" y="52"/>
                  </a:lnTo>
                  <a:lnTo>
                    <a:pt x="421" y="52"/>
                  </a:lnTo>
                  <a:close/>
                  <a:moveTo>
                    <a:pt x="421" y="27"/>
                  </a:moveTo>
                  <a:lnTo>
                    <a:pt x="419" y="27"/>
                  </a:lnTo>
                  <a:lnTo>
                    <a:pt x="419" y="25"/>
                  </a:lnTo>
                  <a:lnTo>
                    <a:pt x="419" y="27"/>
                  </a:lnTo>
                  <a:lnTo>
                    <a:pt x="421" y="27"/>
                  </a:lnTo>
                  <a:close/>
                  <a:moveTo>
                    <a:pt x="423" y="52"/>
                  </a:moveTo>
                  <a:lnTo>
                    <a:pt x="421" y="52"/>
                  </a:lnTo>
                  <a:lnTo>
                    <a:pt x="423" y="52"/>
                  </a:lnTo>
                  <a:close/>
                </a:path>
              </a:pathLst>
            </a:custGeom>
            <a:solidFill>
              <a:srgbClr val="31859C"/>
            </a:solidFill>
            <a:ln w="3175">
              <a:solidFill>
                <a:sysClr val="window" lastClr="FFFF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black"/>
                </a:solidFill>
                <a:effectLst/>
                <a:uLnTx/>
                <a:uFillTx/>
                <a:ea typeface="宋体" panose="02010600030101010101" pitchFamily="2" charset="-122"/>
              </a:endParaRPr>
            </a:p>
          </p:txBody>
        </p:sp>
        <p:sp>
          <p:nvSpPr>
            <p:cNvPr id="61" name="Freeform 3667">
              <a:extLst>
                <a:ext uri="{FF2B5EF4-FFF2-40B4-BE49-F238E27FC236}">
                  <a16:creationId xmlns:a16="http://schemas.microsoft.com/office/drawing/2014/main" id="{F285EFFD-76B7-FB87-114B-B75C624F60D4}"/>
                </a:ext>
              </a:extLst>
            </p:cNvPr>
            <p:cNvSpPr>
              <a:spLocks noEditPoints="1"/>
            </p:cNvSpPr>
            <p:nvPr/>
          </p:nvSpPr>
          <p:spPr bwMode="auto">
            <a:xfrm>
              <a:off x="2836863" y="1150938"/>
              <a:ext cx="1254125" cy="1865312"/>
            </a:xfrm>
            <a:custGeom>
              <a:avLst/>
              <a:gdLst>
                <a:gd name="T0" fmla="*/ 204 w 790"/>
                <a:gd name="T1" fmla="*/ 338 h 1175"/>
                <a:gd name="T2" fmla="*/ 240 w 790"/>
                <a:gd name="T3" fmla="*/ 338 h 1175"/>
                <a:gd name="T4" fmla="*/ 267 w 790"/>
                <a:gd name="T5" fmla="*/ 351 h 1175"/>
                <a:gd name="T6" fmla="*/ 183 w 790"/>
                <a:gd name="T7" fmla="*/ 355 h 1175"/>
                <a:gd name="T8" fmla="*/ 160 w 790"/>
                <a:gd name="T9" fmla="*/ 376 h 1175"/>
                <a:gd name="T10" fmla="*/ 185 w 790"/>
                <a:gd name="T11" fmla="*/ 369 h 1175"/>
                <a:gd name="T12" fmla="*/ 213 w 790"/>
                <a:gd name="T13" fmla="*/ 367 h 1175"/>
                <a:gd name="T14" fmla="*/ 231 w 790"/>
                <a:gd name="T15" fmla="*/ 380 h 1175"/>
                <a:gd name="T16" fmla="*/ 263 w 790"/>
                <a:gd name="T17" fmla="*/ 378 h 1175"/>
                <a:gd name="T18" fmla="*/ 304 w 790"/>
                <a:gd name="T19" fmla="*/ 348 h 1175"/>
                <a:gd name="T20" fmla="*/ 321 w 790"/>
                <a:gd name="T21" fmla="*/ 430 h 1175"/>
                <a:gd name="T22" fmla="*/ 346 w 790"/>
                <a:gd name="T23" fmla="*/ 407 h 1175"/>
                <a:gd name="T24" fmla="*/ 336 w 790"/>
                <a:gd name="T25" fmla="*/ 449 h 1175"/>
                <a:gd name="T26" fmla="*/ 394 w 790"/>
                <a:gd name="T27" fmla="*/ 626 h 1175"/>
                <a:gd name="T28" fmla="*/ 728 w 790"/>
                <a:gd name="T29" fmla="*/ 1012 h 1175"/>
                <a:gd name="T30" fmla="*/ 621 w 790"/>
                <a:gd name="T31" fmla="*/ 1160 h 1175"/>
                <a:gd name="T32" fmla="*/ 394 w 790"/>
                <a:gd name="T33" fmla="*/ 1100 h 1175"/>
                <a:gd name="T34" fmla="*/ 189 w 790"/>
                <a:gd name="T35" fmla="*/ 1018 h 1175"/>
                <a:gd name="T36" fmla="*/ 44 w 790"/>
                <a:gd name="T37" fmla="*/ 885 h 1175"/>
                <a:gd name="T38" fmla="*/ 14 w 790"/>
                <a:gd name="T39" fmla="*/ 722 h 1175"/>
                <a:gd name="T40" fmla="*/ 35 w 790"/>
                <a:gd name="T41" fmla="*/ 566 h 1175"/>
                <a:gd name="T42" fmla="*/ 50 w 790"/>
                <a:gd name="T43" fmla="*/ 430 h 1175"/>
                <a:gd name="T44" fmla="*/ 154 w 790"/>
                <a:gd name="T45" fmla="*/ 319 h 1175"/>
                <a:gd name="T46" fmla="*/ 619 w 790"/>
                <a:gd name="T47" fmla="*/ 346 h 1175"/>
                <a:gd name="T48" fmla="*/ 653 w 790"/>
                <a:gd name="T49" fmla="*/ 384 h 1175"/>
                <a:gd name="T50" fmla="*/ 486 w 790"/>
                <a:gd name="T51" fmla="*/ 492 h 1175"/>
                <a:gd name="T52" fmla="*/ 603 w 790"/>
                <a:gd name="T53" fmla="*/ 503 h 1175"/>
                <a:gd name="T54" fmla="*/ 528 w 790"/>
                <a:gd name="T55" fmla="*/ 455 h 1175"/>
                <a:gd name="T56" fmla="*/ 534 w 790"/>
                <a:gd name="T57" fmla="*/ 411 h 1175"/>
                <a:gd name="T58" fmla="*/ 517 w 790"/>
                <a:gd name="T59" fmla="*/ 388 h 1175"/>
                <a:gd name="T60" fmla="*/ 586 w 790"/>
                <a:gd name="T61" fmla="*/ 309 h 1175"/>
                <a:gd name="T62" fmla="*/ 565 w 790"/>
                <a:gd name="T63" fmla="*/ 234 h 1175"/>
                <a:gd name="T64" fmla="*/ 519 w 790"/>
                <a:gd name="T65" fmla="*/ 321 h 1175"/>
                <a:gd name="T66" fmla="*/ 413 w 790"/>
                <a:gd name="T67" fmla="*/ 330 h 1175"/>
                <a:gd name="T68" fmla="*/ 432 w 790"/>
                <a:gd name="T69" fmla="*/ 252 h 1175"/>
                <a:gd name="T70" fmla="*/ 478 w 790"/>
                <a:gd name="T71" fmla="*/ 194 h 1175"/>
                <a:gd name="T72" fmla="*/ 709 w 790"/>
                <a:gd name="T73" fmla="*/ 171 h 1175"/>
                <a:gd name="T74" fmla="*/ 682 w 790"/>
                <a:gd name="T75" fmla="*/ 255 h 1175"/>
                <a:gd name="T76" fmla="*/ 688 w 790"/>
                <a:gd name="T77" fmla="*/ 211 h 1175"/>
                <a:gd name="T78" fmla="*/ 630 w 790"/>
                <a:gd name="T79" fmla="*/ 200 h 1175"/>
                <a:gd name="T80" fmla="*/ 653 w 790"/>
                <a:gd name="T81" fmla="*/ 152 h 1175"/>
                <a:gd name="T82" fmla="*/ 672 w 790"/>
                <a:gd name="T83" fmla="*/ 52 h 1175"/>
                <a:gd name="T84" fmla="*/ 640 w 790"/>
                <a:gd name="T85" fmla="*/ 98 h 1175"/>
                <a:gd name="T86" fmla="*/ 603 w 790"/>
                <a:gd name="T87" fmla="*/ 123 h 1175"/>
                <a:gd name="T88" fmla="*/ 567 w 790"/>
                <a:gd name="T89" fmla="*/ 98 h 1175"/>
                <a:gd name="T90" fmla="*/ 603 w 790"/>
                <a:gd name="T91" fmla="*/ 73 h 1175"/>
                <a:gd name="T92" fmla="*/ 745 w 790"/>
                <a:gd name="T93" fmla="*/ 83 h 1175"/>
                <a:gd name="T94" fmla="*/ 755 w 790"/>
                <a:gd name="T95" fmla="*/ 21 h 1175"/>
                <a:gd name="T96" fmla="*/ 623 w 790"/>
                <a:gd name="T97" fmla="*/ 132 h 1175"/>
                <a:gd name="T98" fmla="*/ 707 w 790"/>
                <a:gd name="T99" fmla="*/ 108 h 1175"/>
                <a:gd name="T100" fmla="*/ 601 w 790"/>
                <a:gd name="T101" fmla="*/ 503 h 1175"/>
                <a:gd name="T102" fmla="*/ 678 w 790"/>
                <a:gd name="T103" fmla="*/ 384 h 1175"/>
                <a:gd name="T104" fmla="*/ 576 w 790"/>
                <a:gd name="T105" fmla="*/ 493 h 1175"/>
                <a:gd name="T106" fmla="*/ 139 w 790"/>
                <a:gd name="T107" fmla="*/ 311 h 1175"/>
                <a:gd name="T108" fmla="*/ 190 w 790"/>
                <a:gd name="T109" fmla="*/ 363 h 1175"/>
                <a:gd name="T110" fmla="*/ 695 w 790"/>
                <a:gd name="T111" fmla="*/ 44 h 1175"/>
                <a:gd name="T112" fmla="*/ 141 w 790"/>
                <a:gd name="T113" fmla="*/ 311 h 1175"/>
                <a:gd name="T114" fmla="*/ 734 w 790"/>
                <a:gd name="T115" fmla="*/ 15 h 1175"/>
                <a:gd name="T116" fmla="*/ 202 w 790"/>
                <a:gd name="T117" fmla="*/ 355 h 1175"/>
                <a:gd name="T118" fmla="*/ 346 w 790"/>
                <a:gd name="T119" fmla="*/ 455 h 1175"/>
                <a:gd name="T120" fmla="*/ 160 w 790"/>
                <a:gd name="T121" fmla="*/ 369 h 1175"/>
                <a:gd name="T122" fmla="*/ 202 w 790"/>
                <a:gd name="T123" fmla="*/ 353 h 1175"/>
                <a:gd name="T124" fmla="*/ 309 w 790"/>
                <a:gd name="T125" fmla="*/ 392 h 1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790" h="1175">
                  <a:moveTo>
                    <a:pt x="167" y="309"/>
                  </a:moveTo>
                  <a:lnTo>
                    <a:pt x="167" y="311"/>
                  </a:lnTo>
                  <a:lnTo>
                    <a:pt x="169" y="311"/>
                  </a:lnTo>
                  <a:lnTo>
                    <a:pt x="167" y="311"/>
                  </a:lnTo>
                  <a:lnTo>
                    <a:pt x="169" y="311"/>
                  </a:lnTo>
                  <a:lnTo>
                    <a:pt x="169" y="313"/>
                  </a:lnTo>
                  <a:lnTo>
                    <a:pt x="169" y="311"/>
                  </a:lnTo>
                  <a:lnTo>
                    <a:pt x="169" y="313"/>
                  </a:lnTo>
                  <a:lnTo>
                    <a:pt x="167" y="313"/>
                  </a:lnTo>
                  <a:lnTo>
                    <a:pt x="169" y="313"/>
                  </a:lnTo>
                  <a:lnTo>
                    <a:pt x="167" y="313"/>
                  </a:lnTo>
                  <a:lnTo>
                    <a:pt x="167" y="315"/>
                  </a:lnTo>
                  <a:lnTo>
                    <a:pt x="167" y="313"/>
                  </a:lnTo>
                  <a:lnTo>
                    <a:pt x="167" y="315"/>
                  </a:lnTo>
                  <a:lnTo>
                    <a:pt x="169" y="315"/>
                  </a:lnTo>
                  <a:lnTo>
                    <a:pt x="169" y="317"/>
                  </a:lnTo>
                  <a:lnTo>
                    <a:pt x="167" y="317"/>
                  </a:lnTo>
                  <a:lnTo>
                    <a:pt x="167" y="319"/>
                  </a:lnTo>
                  <a:lnTo>
                    <a:pt x="169" y="319"/>
                  </a:lnTo>
                  <a:lnTo>
                    <a:pt x="167" y="319"/>
                  </a:lnTo>
                  <a:lnTo>
                    <a:pt x="165" y="319"/>
                  </a:lnTo>
                  <a:lnTo>
                    <a:pt x="165" y="321"/>
                  </a:lnTo>
                  <a:lnTo>
                    <a:pt x="167" y="321"/>
                  </a:lnTo>
                  <a:lnTo>
                    <a:pt x="167" y="319"/>
                  </a:lnTo>
                  <a:lnTo>
                    <a:pt x="167" y="321"/>
                  </a:lnTo>
                  <a:lnTo>
                    <a:pt x="165" y="321"/>
                  </a:lnTo>
                  <a:lnTo>
                    <a:pt x="165" y="323"/>
                  </a:lnTo>
                  <a:lnTo>
                    <a:pt x="167" y="323"/>
                  </a:lnTo>
                  <a:lnTo>
                    <a:pt x="169" y="323"/>
                  </a:lnTo>
                  <a:lnTo>
                    <a:pt x="169" y="324"/>
                  </a:lnTo>
                  <a:lnTo>
                    <a:pt x="167" y="324"/>
                  </a:lnTo>
                  <a:lnTo>
                    <a:pt x="167" y="326"/>
                  </a:lnTo>
                  <a:lnTo>
                    <a:pt x="167" y="324"/>
                  </a:lnTo>
                  <a:lnTo>
                    <a:pt x="167" y="326"/>
                  </a:lnTo>
                  <a:lnTo>
                    <a:pt x="169" y="326"/>
                  </a:lnTo>
                  <a:lnTo>
                    <a:pt x="169" y="328"/>
                  </a:lnTo>
                  <a:lnTo>
                    <a:pt x="169" y="326"/>
                  </a:lnTo>
                  <a:lnTo>
                    <a:pt x="171" y="326"/>
                  </a:lnTo>
                  <a:lnTo>
                    <a:pt x="171" y="328"/>
                  </a:lnTo>
                  <a:lnTo>
                    <a:pt x="171" y="326"/>
                  </a:lnTo>
                  <a:lnTo>
                    <a:pt x="173" y="326"/>
                  </a:lnTo>
                  <a:lnTo>
                    <a:pt x="173" y="324"/>
                  </a:lnTo>
                  <a:lnTo>
                    <a:pt x="173" y="326"/>
                  </a:lnTo>
                  <a:lnTo>
                    <a:pt x="173" y="328"/>
                  </a:lnTo>
                  <a:lnTo>
                    <a:pt x="171" y="328"/>
                  </a:lnTo>
                  <a:lnTo>
                    <a:pt x="173" y="328"/>
                  </a:lnTo>
                  <a:lnTo>
                    <a:pt x="171" y="328"/>
                  </a:lnTo>
                  <a:lnTo>
                    <a:pt x="171" y="330"/>
                  </a:lnTo>
                  <a:lnTo>
                    <a:pt x="169" y="330"/>
                  </a:lnTo>
                  <a:lnTo>
                    <a:pt x="167" y="330"/>
                  </a:lnTo>
                  <a:lnTo>
                    <a:pt x="167" y="332"/>
                  </a:lnTo>
                  <a:lnTo>
                    <a:pt x="167" y="334"/>
                  </a:lnTo>
                  <a:lnTo>
                    <a:pt x="167" y="336"/>
                  </a:lnTo>
                  <a:lnTo>
                    <a:pt x="169" y="336"/>
                  </a:lnTo>
                  <a:lnTo>
                    <a:pt x="169" y="338"/>
                  </a:lnTo>
                  <a:lnTo>
                    <a:pt x="167" y="338"/>
                  </a:lnTo>
                  <a:lnTo>
                    <a:pt x="169" y="338"/>
                  </a:lnTo>
                  <a:lnTo>
                    <a:pt x="171" y="338"/>
                  </a:lnTo>
                  <a:lnTo>
                    <a:pt x="173" y="338"/>
                  </a:lnTo>
                  <a:lnTo>
                    <a:pt x="171" y="338"/>
                  </a:lnTo>
                  <a:lnTo>
                    <a:pt x="173" y="338"/>
                  </a:lnTo>
                  <a:lnTo>
                    <a:pt x="173" y="340"/>
                  </a:lnTo>
                  <a:lnTo>
                    <a:pt x="175" y="340"/>
                  </a:lnTo>
                  <a:lnTo>
                    <a:pt x="173" y="340"/>
                  </a:lnTo>
                  <a:lnTo>
                    <a:pt x="175" y="340"/>
                  </a:lnTo>
                  <a:lnTo>
                    <a:pt x="173" y="340"/>
                  </a:lnTo>
                  <a:lnTo>
                    <a:pt x="175" y="340"/>
                  </a:lnTo>
                  <a:lnTo>
                    <a:pt x="173" y="340"/>
                  </a:lnTo>
                  <a:lnTo>
                    <a:pt x="173" y="342"/>
                  </a:lnTo>
                  <a:lnTo>
                    <a:pt x="173" y="340"/>
                  </a:lnTo>
                  <a:lnTo>
                    <a:pt x="175" y="340"/>
                  </a:lnTo>
                  <a:lnTo>
                    <a:pt x="175" y="342"/>
                  </a:lnTo>
                  <a:lnTo>
                    <a:pt x="177" y="342"/>
                  </a:lnTo>
                  <a:lnTo>
                    <a:pt x="175" y="342"/>
                  </a:lnTo>
                  <a:lnTo>
                    <a:pt x="175" y="344"/>
                  </a:lnTo>
                  <a:lnTo>
                    <a:pt x="175" y="342"/>
                  </a:lnTo>
                  <a:lnTo>
                    <a:pt x="175" y="344"/>
                  </a:lnTo>
                  <a:lnTo>
                    <a:pt x="177" y="344"/>
                  </a:lnTo>
                  <a:lnTo>
                    <a:pt x="177" y="342"/>
                  </a:lnTo>
                  <a:lnTo>
                    <a:pt x="175" y="342"/>
                  </a:lnTo>
                  <a:lnTo>
                    <a:pt x="177" y="342"/>
                  </a:lnTo>
                  <a:lnTo>
                    <a:pt x="177" y="344"/>
                  </a:lnTo>
                  <a:lnTo>
                    <a:pt x="177" y="342"/>
                  </a:lnTo>
                  <a:lnTo>
                    <a:pt x="179" y="342"/>
                  </a:lnTo>
                  <a:lnTo>
                    <a:pt x="179" y="344"/>
                  </a:lnTo>
                  <a:lnTo>
                    <a:pt x="179" y="342"/>
                  </a:lnTo>
                  <a:lnTo>
                    <a:pt x="179" y="344"/>
                  </a:lnTo>
                  <a:lnTo>
                    <a:pt x="179" y="342"/>
                  </a:lnTo>
                  <a:lnTo>
                    <a:pt x="181" y="342"/>
                  </a:lnTo>
                  <a:lnTo>
                    <a:pt x="183" y="342"/>
                  </a:lnTo>
                  <a:lnTo>
                    <a:pt x="183" y="344"/>
                  </a:lnTo>
                  <a:lnTo>
                    <a:pt x="181" y="344"/>
                  </a:lnTo>
                  <a:lnTo>
                    <a:pt x="181" y="346"/>
                  </a:lnTo>
                  <a:lnTo>
                    <a:pt x="179" y="346"/>
                  </a:lnTo>
                  <a:lnTo>
                    <a:pt x="181" y="346"/>
                  </a:lnTo>
                  <a:lnTo>
                    <a:pt x="181" y="344"/>
                  </a:lnTo>
                  <a:lnTo>
                    <a:pt x="181" y="346"/>
                  </a:lnTo>
                  <a:lnTo>
                    <a:pt x="181" y="344"/>
                  </a:lnTo>
                  <a:lnTo>
                    <a:pt x="183" y="344"/>
                  </a:lnTo>
                  <a:lnTo>
                    <a:pt x="183" y="342"/>
                  </a:lnTo>
                  <a:lnTo>
                    <a:pt x="185" y="342"/>
                  </a:lnTo>
                  <a:lnTo>
                    <a:pt x="183" y="342"/>
                  </a:lnTo>
                  <a:lnTo>
                    <a:pt x="183" y="340"/>
                  </a:lnTo>
                  <a:lnTo>
                    <a:pt x="185" y="340"/>
                  </a:lnTo>
                  <a:lnTo>
                    <a:pt x="187" y="340"/>
                  </a:lnTo>
                  <a:lnTo>
                    <a:pt x="185" y="340"/>
                  </a:lnTo>
                  <a:lnTo>
                    <a:pt x="187" y="340"/>
                  </a:lnTo>
                  <a:lnTo>
                    <a:pt x="185" y="340"/>
                  </a:lnTo>
                  <a:lnTo>
                    <a:pt x="187" y="340"/>
                  </a:lnTo>
                  <a:lnTo>
                    <a:pt x="187" y="338"/>
                  </a:lnTo>
                  <a:lnTo>
                    <a:pt x="185" y="338"/>
                  </a:lnTo>
                  <a:lnTo>
                    <a:pt x="185" y="340"/>
                  </a:lnTo>
                  <a:lnTo>
                    <a:pt x="185" y="338"/>
                  </a:lnTo>
                  <a:lnTo>
                    <a:pt x="187" y="338"/>
                  </a:lnTo>
                  <a:lnTo>
                    <a:pt x="187" y="336"/>
                  </a:lnTo>
                  <a:lnTo>
                    <a:pt x="189" y="336"/>
                  </a:lnTo>
                  <a:lnTo>
                    <a:pt x="189" y="334"/>
                  </a:lnTo>
                  <a:lnTo>
                    <a:pt x="190" y="334"/>
                  </a:lnTo>
                  <a:lnTo>
                    <a:pt x="189" y="334"/>
                  </a:lnTo>
                  <a:lnTo>
                    <a:pt x="190" y="334"/>
                  </a:lnTo>
                  <a:lnTo>
                    <a:pt x="192" y="334"/>
                  </a:lnTo>
                  <a:lnTo>
                    <a:pt x="194" y="334"/>
                  </a:lnTo>
                  <a:lnTo>
                    <a:pt x="192" y="334"/>
                  </a:lnTo>
                  <a:lnTo>
                    <a:pt x="192" y="336"/>
                  </a:lnTo>
                  <a:lnTo>
                    <a:pt x="194" y="336"/>
                  </a:lnTo>
                  <a:lnTo>
                    <a:pt x="192" y="336"/>
                  </a:lnTo>
                  <a:lnTo>
                    <a:pt x="194" y="336"/>
                  </a:lnTo>
                  <a:lnTo>
                    <a:pt x="194" y="338"/>
                  </a:lnTo>
                  <a:lnTo>
                    <a:pt x="194" y="336"/>
                  </a:lnTo>
                  <a:lnTo>
                    <a:pt x="196" y="336"/>
                  </a:lnTo>
                  <a:lnTo>
                    <a:pt x="196" y="338"/>
                  </a:lnTo>
                  <a:lnTo>
                    <a:pt x="196" y="340"/>
                  </a:lnTo>
                  <a:lnTo>
                    <a:pt x="198" y="340"/>
                  </a:lnTo>
                  <a:lnTo>
                    <a:pt x="200" y="340"/>
                  </a:lnTo>
                  <a:lnTo>
                    <a:pt x="198" y="340"/>
                  </a:lnTo>
                  <a:lnTo>
                    <a:pt x="200" y="340"/>
                  </a:lnTo>
                  <a:lnTo>
                    <a:pt x="202" y="340"/>
                  </a:lnTo>
                  <a:lnTo>
                    <a:pt x="202" y="338"/>
                  </a:lnTo>
                  <a:lnTo>
                    <a:pt x="200" y="338"/>
                  </a:lnTo>
                  <a:lnTo>
                    <a:pt x="198" y="338"/>
                  </a:lnTo>
                  <a:lnTo>
                    <a:pt x="200" y="338"/>
                  </a:lnTo>
                  <a:lnTo>
                    <a:pt x="202" y="338"/>
                  </a:lnTo>
                  <a:lnTo>
                    <a:pt x="204" y="338"/>
                  </a:lnTo>
                  <a:lnTo>
                    <a:pt x="202" y="338"/>
                  </a:lnTo>
                  <a:lnTo>
                    <a:pt x="204" y="338"/>
                  </a:lnTo>
                  <a:lnTo>
                    <a:pt x="204" y="336"/>
                  </a:lnTo>
                  <a:lnTo>
                    <a:pt x="202" y="336"/>
                  </a:lnTo>
                  <a:lnTo>
                    <a:pt x="202" y="338"/>
                  </a:lnTo>
                  <a:lnTo>
                    <a:pt x="200" y="338"/>
                  </a:lnTo>
                  <a:lnTo>
                    <a:pt x="200" y="336"/>
                  </a:lnTo>
                  <a:lnTo>
                    <a:pt x="200" y="338"/>
                  </a:lnTo>
                  <a:lnTo>
                    <a:pt x="200" y="336"/>
                  </a:lnTo>
                  <a:lnTo>
                    <a:pt x="198" y="336"/>
                  </a:lnTo>
                  <a:lnTo>
                    <a:pt x="196" y="336"/>
                  </a:lnTo>
                  <a:lnTo>
                    <a:pt x="198" y="336"/>
                  </a:lnTo>
                  <a:lnTo>
                    <a:pt x="196" y="336"/>
                  </a:lnTo>
                  <a:lnTo>
                    <a:pt x="198" y="336"/>
                  </a:lnTo>
                  <a:lnTo>
                    <a:pt x="198" y="334"/>
                  </a:lnTo>
                  <a:lnTo>
                    <a:pt x="200" y="334"/>
                  </a:lnTo>
                  <a:lnTo>
                    <a:pt x="202" y="334"/>
                  </a:lnTo>
                  <a:lnTo>
                    <a:pt x="202" y="336"/>
                  </a:lnTo>
                  <a:lnTo>
                    <a:pt x="204" y="336"/>
                  </a:lnTo>
                  <a:lnTo>
                    <a:pt x="206" y="336"/>
                  </a:lnTo>
                  <a:lnTo>
                    <a:pt x="206" y="338"/>
                  </a:lnTo>
                  <a:lnTo>
                    <a:pt x="204" y="338"/>
                  </a:lnTo>
                  <a:lnTo>
                    <a:pt x="204" y="340"/>
                  </a:lnTo>
                  <a:lnTo>
                    <a:pt x="204" y="338"/>
                  </a:lnTo>
                  <a:lnTo>
                    <a:pt x="206" y="338"/>
                  </a:lnTo>
                  <a:lnTo>
                    <a:pt x="206" y="340"/>
                  </a:lnTo>
                  <a:lnTo>
                    <a:pt x="204" y="340"/>
                  </a:lnTo>
                  <a:lnTo>
                    <a:pt x="206" y="340"/>
                  </a:lnTo>
                  <a:lnTo>
                    <a:pt x="206" y="342"/>
                  </a:lnTo>
                  <a:lnTo>
                    <a:pt x="206" y="340"/>
                  </a:lnTo>
                  <a:lnTo>
                    <a:pt x="208" y="340"/>
                  </a:lnTo>
                  <a:lnTo>
                    <a:pt x="210" y="340"/>
                  </a:lnTo>
                  <a:lnTo>
                    <a:pt x="210" y="342"/>
                  </a:lnTo>
                  <a:lnTo>
                    <a:pt x="210" y="340"/>
                  </a:lnTo>
                  <a:lnTo>
                    <a:pt x="208" y="340"/>
                  </a:lnTo>
                  <a:lnTo>
                    <a:pt x="208" y="342"/>
                  </a:lnTo>
                  <a:lnTo>
                    <a:pt x="208" y="340"/>
                  </a:lnTo>
                  <a:lnTo>
                    <a:pt x="208" y="342"/>
                  </a:lnTo>
                  <a:lnTo>
                    <a:pt x="210" y="342"/>
                  </a:lnTo>
                  <a:lnTo>
                    <a:pt x="208" y="342"/>
                  </a:lnTo>
                  <a:lnTo>
                    <a:pt x="210" y="342"/>
                  </a:lnTo>
                  <a:lnTo>
                    <a:pt x="212" y="342"/>
                  </a:lnTo>
                  <a:lnTo>
                    <a:pt x="212" y="340"/>
                  </a:lnTo>
                  <a:lnTo>
                    <a:pt x="213" y="340"/>
                  </a:lnTo>
                  <a:lnTo>
                    <a:pt x="215" y="340"/>
                  </a:lnTo>
                  <a:lnTo>
                    <a:pt x="215" y="342"/>
                  </a:lnTo>
                  <a:lnTo>
                    <a:pt x="215" y="340"/>
                  </a:lnTo>
                  <a:lnTo>
                    <a:pt x="217" y="340"/>
                  </a:lnTo>
                  <a:lnTo>
                    <a:pt x="215" y="340"/>
                  </a:lnTo>
                  <a:lnTo>
                    <a:pt x="217" y="340"/>
                  </a:lnTo>
                  <a:lnTo>
                    <a:pt x="219" y="340"/>
                  </a:lnTo>
                  <a:lnTo>
                    <a:pt x="219" y="338"/>
                  </a:lnTo>
                  <a:lnTo>
                    <a:pt x="219" y="340"/>
                  </a:lnTo>
                  <a:lnTo>
                    <a:pt x="221" y="338"/>
                  </a:lnTo>
                  <a:lnTo>
                    <a:pt x="221" y="340"/>
                  </a:lnTo>
                  <a:lnTo>
                    <a:pt x="221" y="338"/>
                  </a:lnTo>
                  <a:lnTo>
                    <a:pt x="219" y="338"/>
                  </a:lnTo>
                  <a:lnTo>
                    <a:pt x="221" y="338"/>
                  </a:lnTo>
                  <a:lnTo>
                    <a:pt x="221" y="340"/>
                  </a:lnTo>
                  <a:lnTo>
                    <a:pt x="223" y="338"/>
                  </a:lnTo>
                  <a:lnTo>
                    <a:pt x="223" y="340"/>
                  </a:lnTo>
                  <a:lnTo>
                    <a:pt x="223" y="338"/>
                  </a:lnTo>
                  <a:lnTo>
                    <a:pt x="223" y="340"/>
                  </a:lnTo>
                  <a:lnTo>
                    <a:pt x="223" y="338"/>
                  </a:lnTo>
                  <a:lnTo>
                    <a:pt x="223" y="340"/>
                  </a:lnTo>
                  <a:lnTo>
                    <a:pt x="225" y="340"/>
                  </a:lnTo>
                  <a:lnTo>
                    <a:pt x="227" y="340"/>
                  </a:lnTo>
                  <a:lnTo>
                    <a:pt x="225" y="340"/>
                  </a:lnTo>
                  <a:lnTo>
                    <a:pt x="225" y="338"/>
                  </a:lnTo>
                  <a:lnTo>
                    <a:pt x="227" y="338"/>
                  </a:lnTo>
                  <a:lnTo>
                    <a:pt x="227" y="336"/>
                  </a:lnTo>
                  <a:lnTo>
                    <a:pt x="227" y="338"/>
                  </a:lnTo>
                  <a:lnTo>
                    <a:pt x="227" y="336"/>
                  </a:lnTo>
                  <a:lnTo>
                    <a:pt x="229" y="336"/>
                  </a:lnTo>
                  <a:lnTo>
                    <a:pt x="231" y="336"/>
                  </a:lnTo>
                  <a:lnTo>
                    <a:pt x="229" y="336"/>
                  </a:lnTo>
                  <a:lnTo>
                    <a:pt x="229" y="338"/>
                  </a:lnTo>
                  <a:lnTo>
                    <a:pt x="229" y="336"/>
                  </a:lnTo>
                  <a:lnTo>
                    <a:pt x="229" y="338"/>
                  </a:lnTo>
                  <a:lnTo>
                    <a:pt x="227" y="338"/>
                  </a:lnTo>
                  <a:lnTo>
                    <a:pt x="229" y="338"/>
                  </a:lnTo>
                  <a:lnTo>
                    <a:pt x="231" y="340"/>
                  </a:lnTo>
                  <a:lnTo>
                    <a:pt x="229" y="340"/>
                  </a:lnTo>
                  <a:lnTo>
                    <a:pt x="231" y="340"/>
                  </a:lnTo>
                  <a:lnTo>
                    <a:pt x="231" y="342"/>
                  </a:lnTo>
                  <a:lnTo>
                    <a:pt x="229" y="342"/>
                  </a:lnTo>
                  <a:lnTo>
                    <a:pt x="229" y="344"/>
                  </a:lnTo>
                  <a:lnTo>
                    <a:pt x="227" y="344"/>
                  </a:lnTo>
                  <a:lnTo>
                    <a:pt x="229" y="344"/>
                  </a:lnTo>
                  <a:lnTo>
                    <a:pt x="229" y="346"/>
                  </a:lnTo>
                  <a:lnTo>
                    <a:pt x="227" y="346"/>
                  </a:lnTo>
                  <a:lnTo>
                    <a:pt x="229" y="346"/>
                  </a:lnTo>
                  <a:lnTo>
                    <a:pt x="229" y="344"/>
                  </a:lnTo>
                  <a:lnTo>
                    <a:pt x="231" y="344"/>
                  </a:lnTo>
                  <a:lnTo>
                    <a:pt x="233" y="344"/>
                  </a:lnTo>
                  <a:lnTo>
                    <a:pt x="233" y="342"/>
                  </a:lnTo>
                  <a:lnTo>
                    <a:pt x="235" y="342"/>
                  </a:lnTo>
                  <a:lnTo>
                    <a:pt x="235" y="340"/>
                  </a:lnTo>
                  <a:lnTo>
                    <a:pt x="235" y="342"/>
                  </a:lnTo>
                  <a:lnTo>
                    <a:pt x="237" y="342"/>
                  </a:lnTo>
                  <a:lnTo>
                    <a:pt x="235" y="342"/>
                  </a:lnTo>
                  <a:lnTo>
                    <a:pt x="237" y="342"/>
                  </a:lnTo>
                  <a:lnTo>
                    <a:pt x="237" y="340"/>
                  </a:lnTo>
                  <a:lnTo>
                    <a:pt x="237" y="342"/>
                  </a:lnTo>
                  <a:lnTo>
                    <a:pt x="237" y="340"/>
                  </a:lnTo>
                  <a:lnTo>
                    <a:pt x="235" y="340"/>
                  </a:lnTo>
                  <a:lnTo>
                    <a:pt x="237" y="340"/>
                  </a:lnTo>
                  <a:lnTo>
                    <a:pt x="237" y="342"/>
                  </a:lnTo>
                  <a:lnTo>
                    <a:pt x="237" y="340"/>
                  </a:lnTo>
                  <a:lnTo>
                    <a:pt x="237" y="342"/>
                  </a:lnTo>
                  <a:lnTo>
                    <a:pt x="238" y="342"/>
                  </a:lnTo>
                  <a:lnTo>
                    <a:pt x="237" y="342"/>
                  </a:lnTo>
                  <a:lnTo>
                    <a:pt x="237" y="340"/>
                  </a:lnTo>
                  <a:lnTo>
                    <a:pt x="237" y="342"/>
                  </a:lnTo>
                  <a:lnTo>
                    <a:pt x="237" y="340"/>
                  </a:lnTo>
                  <a:lnTo>
                    <a:pt x="235" y="340"/>
                  </a:lnTo>
                  <a:lnTo>
                    <a:pt x="237" y="340"/>
                  </a:lnTo>
                  <a:lnTo>
                    <a:pt x="237" y="338"/>
                  </a:lnTo>
                  <a:lnTo>
                    <a:pt x="237" y="340"/>
                  </a:lnTo>
                  <a:lnTo>
                    <a:pt x="237" y="338"/>
                  </a:lnTo>
                  <a:lnTo>
                    <a:pt x="237" y="340"/>
                  </a:lnTo>
                  <a:lnTo>
                    <a:pt x="238" y="340"/>
                  </a:lnTo>
                  <a:lnTo>
                    <a:pt x="238" y="338"/>
                  </a:lnTo>
                  <a:lnTo>
                    <a:pt x="238" y="340"/>
                  </a:lnTo>
                  <a:lnTo>
                    <a:pt x="240" y="340"/>
                  </a:lnTo>
                  <a:lnTo>
                    <a:pt x="240" y="338"/>
                  </a:lnTo>
                  <a:lnTo>
                    <a:pt x="238" y="338"/>
                  </a:lnTo>
                  <a:lnTo>
                    <a:pt x="237" y="338"/>
                  </a:lnTo>
                  <a:lnTo>
                    <a:pt x="238" y="338"/>
                  </a:lnTo>
                  <a:lnTo>
                    <a:pt x="240" y="338"/>
                  </a:lnTo>
                  <a:lnTo>
                    <a:pt x="238" y="338"/>
                  </a:lnTo>
                  <a:lnTo>
                    <a:pt x="240" y="338"/>
                  </a:lnTo>
                  <a:lnTo>
                    <a:pt x="240" y="336"/>
                  </a:lnTo>
                  <a:lnTo>
                    <a:pt x="238" y="338"/>
                  </a:lnTo>
                  <a:lnTo>
                    <a:pt x="238" y="336"/>
                  </a:lnTo>
                  <a:lnTo>
                    <a:pt x="240" y="336"/>
                  </a:lnTo>
                  <a:lnTo>
                    <a:pt x="242" y="336"/>
                  </a:lnTo>
                  <a:lnTo>
                    <a:pt x="240" y="336"/>
                  </a:lnTo>
                  <a:lnTo>
                    <a:pt x="240" y="338"/>
                  </a:lnTo>
                  <a:lnTo>
                    <a:pt x="240" y="336"/>
                  </a:lnTo>
                  <a:lnTo>
                    <a:pt x="242" y="336"/>
                  </a:lnTo>
                  <a:lnTo>
                    <a:pt x="242" y="338"/>
                  </a:lnTo>
                  <a:lnTo>
                    <a:pt x="242" y="336"/>
                  </a:lnTo>
                  <a:lnTo>
                    <a:pt x="242" y="338"/>
                  </a:lnTo>
                  <a:lnTo>
                    <a:pt x="242" y="336"/>
                  </a:lnTo>
                  <a:lnTo>
                    <a:pt x="242" y="338"/>
                  </a:lnTo>
                  <a:lnTo>
                    <a:pt x="240" y="338"/>
                  </a:lnTo>
                  <a:lnTo>
                    <a:pt x="242" y="338"/>
                  </a:lnTo>
                  <a:lnTo>
                    <a:pt x="244" y="338"/>
                  </a:lnTo>
                  <a:lnTo>
                    <a:pt x="244" y="336"/>
                  </a:lnTo>
                  <a:lnTo>
                    <a:pt x="244" y="338"/>
                  </a:lnTo>
                  <a:lnTo>
                    <a:pt x="244" y="336"/>
                  </a:lnTo>
                  <a:lnTo>
                    <a:pt x="244" y="338"/>
                  </a:lnTo>
                  <a:lnTo>
                    <a:pt x="244" y="336"/>
                  </a:lnTo>
                  <a:lnTo>
                    <a:pt x="246" y="336"/>
                  </a:lnTo>
                  <a:lnTo>
                    <a:pt x="246" y="338"/>
                  </a:lnTo>
                  <a:lnTo>
                    <a:pt x="244" y="338"/>
                  </a:lnTo>
                  <a:lnTo>
                    <a:pt x="244" y="340"/>
                  </a:lnTo>
                  <a:lnTo>
                    <a:pt x="244" y="338"/>
                  </a:lnTo>
                  <a:lnTo>
                    <a:pt x="244" y="340"/>
                  </a:lnTo>
                  <a:lnTo>
                    <a:pt x="244" y="338"/>
                  </a:lnTo>
                  <a:lnTo>
                    <a:pt x="244" y="340"/>
                  </a:lnTo>
                  <a:lnTo>
                    <a:pt x="244" y="338"/>
                  </a:lnTo>
                  <a:lnTo>
                    <a:pt x="244" y="340"/>
                  </a:lnTo>
                  <a:lnTo>
                    <a:pt x="246" y="340"/>
                  </a:lnTo>
                  <a:lnTo>
                    <a:pt x="246" y="338"/>
                  </a:lnTo>
                  <a:lnTo>
                    <a:pt x="246" y="340"/>
                  </a:lnTo>
                  <a:lnTo>
                    <a:pt x="246" y="338"/>
                  </a:lnTo>
                  <a:lnTo>
                    <a:pt x="248" y="338"/>
                  </a:lnTo>
                  <a:lnTo>
                    <a:pt x="246" y="338"/>
                  </a:lnTo>
                  <a:lnTo>
                    <a:pt x="248" y="338"/>
                  </a:lnTo>
                  <a:lnTo>
                    <a:pt x="248" y="340"/>
                  </a:lnTo>
                  <a:lnTo>
                    <a:pt x="248" y="338"/>
                  </a:lnTo>
                  <a:lnTo>
                    <a:pt x="250" y="338"/>
                  </a:lnTo>
                  <a:lnTo>
                    <a:pt x="252" y="338"/>
                  </a:lnTo>
                  <a:lnTo>
                    <a:pt x="250" y="338"/>
                  </a:lnTo>
                  <a:lnTo>
                    <a:pt x="250" y="340"/>
                  </a:lnTo>
                  <a:lnTo>
                    <a:pt x="248" y="340"/>
                  </a:lnTo>
                  <a:lnTo>
                    <a:pt x="248" y="342"/>
                  </a:lnTo>
                  <a:lnTo>
                    <a:pt x="250" y="342"/>
                  </a:lnTo>
                  <a:lnTo>
                    <a:pt x="250" y="340"/>
                  </a:lnTo>
                  <a:lnTo>
                    <a:pt x="252" y="340"/>
                  </a:lnTo>
                  <a:lnTo>
                    <a:pt x="250" y="340"/>
                  </a:lnTo>
                  <a:lnTo>
                    <a:pt x="250" y="342"/>
                  </a:lnTo>
                  <a:lnTo>
                    <a:pt x="250" y="340"/>
                  </a:lnTo>
                  <a:lnTo>
                    <a:pt x="250" y="342"/>
                  </a:lnTo>
                  <a:lnTo>
                    <a:pt x="250" y="340"/>
                  </a:lnTo>
                  <a:lnTo>
                    <a:pt x="250" y="342"/>
                  </a:lnTo>
                  <a:lnTo>
                    <a:pt x="252" y="342"/>
                  </a:lnTo>
                  <a:lnTo>
                    <a:pt x="252" y="340"/>
                  </a:lnTo>
                  <a:lnTo>
                    <a:pt x="252" y="342"/>
                  </a:lnTo>
                  <a:lnTo>
                    <a:pt x="250" y="342"/>
                  </a:lnTo>
                  <a:lnTo>
                    <a:pt x="252" y="342"/>
                  </a:lnTo>
                  <a:lnTo>
                    <a:pt x="252" y="340"/>
                  </a:lnTo>
                  <a:lnTo>
                    <a:pt x="254" y="340"/>
                  </a:lnTo>
                  <a:lnTo>
                    <a:pt x="252" y="340"/>
                  </a:lnTo>
                  <a:lnTo>
                    <a:pt x="252" y="342"/>
                  </a:lnTo>
                  <a:lnTo>
                    <a:pt x="254" y="342"/>
                  </a:lnTo>
                  <a:lnTo>
                    <a:pt x="252" y="342"/>
                  </a:lnTo>
                  <a:lnTo>
                    <a:pt x="252" y="344"/>
                  </a:lnTo>
                  <a:lnTo>
                    <a:pt x="252" y="342"/>
                  </a:lnTo>
                  <a:lnTo>
                    <a:pt x="252" y="344"/>
                  </a:lnTo>
                  <a:lnTo>
                    <a:pt x="252" y="346"/>
                  </a:lnTo>
                  <a:lnTo>
                    <a:pt x="254" y="346"/>
                  </a:lnTo>
                  <a:lnTo>
                    <a:pt x="252" y="346"/>
                  </a:lnTo>
                  <a:lnTo>
                    <a:pt x="254" y="346"/>
                  </a:lnTo>
                  <a:lnTo>
                    <a:pt x="252" y="346"/>
                  </a:lnTo>
                  <a:lnTo>
                    <a:pt x="252" y="348"/>
                  </a:lnTo>
                  <a:lnTo>
                    <a:pt x="252" y="346"/>
                  </a:lnTo>
                  <a:lnTo>
                    <a:pt x="254" y="346"/>
                  </a:lnTo>
                  <a:lnTo>
                    <a:pt x="256" y="346"/>
                  </a:lnTo>
                  <a:lnTo>
                    <a:pt x="254" y="346"/>
                  </a:lnTo>
                  <a:lnTo>
                    <a:pt x="256" y="346"/>
                  </a:lnTo>
                  <a:lnTo>
                    <a:pt x="254" y="346"/>
                  </a:lnTo>
                  <a:lnTo>
                    <a:pt x="254" y="348"/>
                  </a:lnTo>
                  <a:lnTo>
                    <a:pt x="254" y="346"/>
                  </a:lnTo>
                  <a:lnTo>
                    <a:pt x="254" y="348"/>
                  </a:lnTo>
                  <a:lnTo>
                    <a:pt x="252" y="348"/>
                  </a:lnTo>
                  <a:lnTo>
                    <a:pt x="252" y="349"/>
                  </a:lnTo>
                  <a:lnTo>
                    <a:pt x="252" y="348"/>
                  </a:lnTo>
                  <a:lnTo>
                    <a:pt x="254" y="348"/>
                  </a:lnTo>
                  <a:lnTo>
                    <a:pt x="254" y="346"/>
                  </a:lnTo>
                  <a:lnTo>
                    <a:pt x="256" y="346"/>
                  </a:lnTo>
                  <a:lnTo>
                    <a:pt x="256" y="348"/>
                  </a:lnTo>
                  <a:lnTo>
                    <a:pt x="256" y="346"/>
                  </a:lnTo>
                  <a:lnTo>
                    <a:pt x="256" y="348"/>
                  </a:lnTo>
                  <a:lnTo>
                    <a:pt x="256" y="349"/>
                  </a:lnTo>
                  <a:lnTo>
                    <a:pt x="258" y="349"/>
                  </a:lnTo>
                  <a:lnTo>
                    <a:pt x="258" y="348"/>
                  </a:lnTo>
                  <a:lnTo>
                    <a:pt x="256" y="348"/>
                  </a:lnTo>
                  <a:lnTo>
                    <a:pt x="258" y="348"/>
                  </a:lnTo>
                  <a:lnTo>
                    <a:pt x="260" y="348"/>
                  </a:lnTo>
                  <a:lnTo>
                    <a:pt x="258" y="348"/>
                  </a:lnTo>
                  <a:lnTo>
                    <a:pt x="258" y="349"/>
                  </a:lnTo>
                  <a:lnTo>
                    <a:pt x="258" y="348"/>
                  </a:lnTo>
                  <a:lnTo>
                    <a:pt x="258" y="349"/>
                  </a:lnTo>
                  <a:lnTo>
                    <a:pt x="256" y="349"/>
                  </a:lnTo>
                  <a:lnTo>
                    <a:pt x="258" y="349"/>
                  </a:lnTo>
                  <a:lnTo>
                    <a:pt x="260" y="349"/>
                  </a:lnTo>
                  <a:lnTo>
                    <a:pt x="258" y="349"/>
                  </a:lnTo>
                  <a:lnTo>
                    <a:pt x="260" y="349"/>
                  </a:lnTo>
                  <a:lnTo>
                    <a:pt x="260" y="348"/>
                  </a:lnTo>
                  <a:lnTo>
                    <a:pt x="261" y="348"/>
                  </a:lnTo>
                  <a:lnTo>
                    <a:pt x="261" y="346"/>
                  </a:lnTo>
                  <a:lnTo>
                    <a:pt x="263" y="346"/>
                  </a:lnTo>
                  <a:lnTo>
                    <a:pt x="263" y="348"/>
                  </a:lnTo>
                  <a:lnTo>
                    <a:pt x="261" y="348"/>
                  </a:lnTo>
                  <a:lnTo>
                    <a:pt x="263" y="348"/>
                  </a:lnTo>
                  <a:lnTo>
                    <a:pt x="263" y="346"/>
                  </a:lnTo>
                  <a:lnTo>
                    <a:pt x="265" y="346"/>
                  </a:lnTo>
                  <a:lnTo>
                    <a:pt x="265" y="344"/>
                  </a:lnTo>
                  <a:lnTo>
                    <a:pt x="265" y="346"/>
                  </a:lnTo>
                  <a:lnTo>
                    <a:pt x="263" y="346"/>
                  </a:lnTo>
                  <a:lnTo>
                    <a:pt x="263" y="348"/>
                  </a:lnTo>
                  <a:lnTo>
                    <a:pt x="263" y="346"/>
                  </a:lnTo>
                  <a:lnTo>
                    <a:pt x="265" y="346"/>
                  </a:lnTo>
                  <a:lnTo>
                    <a:pt x="265" y="344"/>
                  </a:lnTo>
                  <a:lnTo>
                    <a:pt x="263" y="344"/>
                  </a:lnTo>
                  <a:lnTo>
                    <a:pt x="265" y="344"/>
                  </a:lnTo>
                  <a:lnTo>
                    <a:pt x="267" y="344"/>
                  </a:lnTo>
                  <a:lnTo>
                    <a:pt x="265" y="344"/>
                  </a:lnTo>
                  <a:lnTo>
                    <a:pt x="267" y="344"/>
                  </a:lnTo>
                  <a:lnTo>
                    <a:pt x="267" y="342"/>
                  </a:lnTo>
                  <a:lnTo>
                    <a:pt x="267" y="344"/>
                  </a:lnTo>
                  <a:lnTo>
                    <a:pt x="267" y="342"/>
                  </a:lnTo>
                  <a:lnTo>
                    <a:pt x="269" y="342"/>
                  </a:lnTo>
                  <a:lnTo>
                    <a:pt x="269" y="344"/>
                  </a:lnTo>
                  <a:lnTo>
                    <a:pt x="269" y="342"/>
                  </a:lnTo>
                  <a:lnTo>
                    <a:pt x="269" y="344"/>
                  </a:lnTo>
                  <a:lnTo>
                    <a:pt x="267" y="344"/>
                  </a:lnTo>
                  <a:lnTo>
                    <a:pt x="269" y="344"/>
                  </a:lnTo>
                  <a:lnTo>
                    <a:pt x="269" y="346"/>
                  </a:lnTo>
                  <a:lnTo>
                    <a:pt x="269" y="344"/>
                  </a:lnTo>
                  <a:lnTo>
                    <a:pt x="267" y="344"/>
                  </a:lnTo>
                  <a:lnTo>
                    <a:pt x="267" y="346"/>
                  </a:lnTo>
                  <a:lnTo>
                    <a:pt x="269" y="346"/>
                  </a:lnTo>
                  <a:lnTo>
                    <a:pt x="267" y="346"/>
                  </a:lnTo>
                  <a:lnTo>
                    <a:pt x="269" y="346"/>
                  </a:lnTo>
                  <a:lnTo>
                    <a:pt x="269" y="348"/>
                  </a:lnTo>
                  <a:lnTo>
                    <a:pt x="267" y="348"/>
                  </a:lnTo>
                  <a:lnTo>
                    <a:pt x="267" y="346"/>
                  </a:lnTo>
                  <a:lnTo>
                    <a:pt x="267" y="348"/>
                  </a:lnTo>
                  <a:lnTo>
                    <a:pt x="269" y="348"/>
                  </a:lnTo>
                  <a:lnTo>
                    <a:pt x="267" y="348"/>
                  </a:lnTo>
                  <a:lnTo>
                    <a:pt x="267" y="349"/>
                  </a:lnTo>
                  <a:lnTo>
                    <a:pt x="267" y="348"/>
                  </a:lnTo>
                  <a:lnTo>
                    <a:pt x="267" y="349"/>
                  </a:lnTo>
                  <a:lnTo>
                    <a:pt x="269" y="349"/>
                  </a:lnTo>
                  <a:lnTo>
                    <a:pt x="269" y="351"/>
                  </a:lnTo>
                  <a:lnTo>
                    <a:pt x="267" y="351"/>
                  </a:lnTo>
                  <a:lnTo>
                    <a:pt x="267" y="349"/>
                  </a:lnTo>
                  <a:lnTo>
                    <a:pt x="267" y="351"/>
                  </a:lnTo>
                  <a:lnTo>
                    <a:pt x="269" y="351"/>
                  </a:lnTo>
                  <a:lnTo>
                    <a:pt x="267" y="351"/>
                  </a:lnTo>
                  <a:lnTo>
                    <a:pt x="267" y="353"/>
                  </a:lnTo>
                  <a:lnTo>
                    <a:pt x="267" y="351"/>
                  </a:lnTo>
                  <a:lnTo>
                    <a:pt x="267" y="353"/>
                  </a:lnTo>
                  <a:lnTo>
                    <a:pt x="267" y="355"/>
                  </a:lnTo>
                  <a:lnTo>
                    <a:pt x="267" y="353"/>
                  </a:lnTo>
                  <a:lnTo>
                    <a:pt x="269" y="353"/>
                  </a:lnTo>
                  <a:lnTo>
                    <a:pt x="267" y="353"/>
                  </a:lnTo>
                  <a:lnTo>
                    <a:pt x="269" y="353"/>
                  </a:lnTo>
                  <a:lnTo>
                    <a:pt x="269" y="355"/>
                  </a:lnTo>
                  <a:lnTo>
                    <a:pt x="267" y="355"/>
                  </a:lnTo>
                  <a:lnTo>
                    <a:pt x="265" y="355"/>
                  </a:lnTo>
                  <a:lnTo>
                    <a:pt x="265" y="357"/>
                  </a:lnTo>
                  <a:lnTo>
                    <a:pt x="263" y="357"/>
                  </a:lnTo>
                  <a:lnTo>
                    <a:pt x="263" y="355"/>
                  </a:lnTo>
                  <a:lnTo>
                    <a:pt x="263" y="357"/>
                  </a:lnTo>
                  <a:lnTo>
                    <a:pt x="261" y="357"/>
                  </a:lnTo>
                  <a:lnTo>
                    <a:pt x="260" y="357"/>
                  </a:lnTo>
                  <a:lnTo>
                    <a:pt x="258" y="357"/>
                  </a:lnTo>
                  <a:lnTo>
                    <a:pt x="256" y="357"/>
                  </a:lnTo>
                  <a:lnTo>
                    <a:pt x="254" y="357"/>
                  </a:lnTo>
                  <a:lnTo>
                    <a:pt x="252" y="357"/>
                  </a:lnTo>
                  <a:lnTo>
                    <a:pt x="250" y="357"/>
                  </a:lnTo>
                  <a:lnTo>
                    <a:pt x="248" y="357"/>
                  </a:lnTo>
                  <a:lnTo>
                    <a:pt x="246" y="357"/>
                  </a:lnTo>
                  <a:lnTo>
                    <a:pt x="244" y="357"/>
                  </a:lnTo>
                  <a:lnTo>
                    <a:pt x="242" y="357"/>
                  </a:lnTo>
                  <a:lnTo>
                    <a:pt x="244" y="357"/>
                  </a:lnTo>
                  <a:lnTo>
                    <a:pt x="242" y="357"/>
                  </a:lnTo>
                  <a:lnTo>
                    <a:pt x="240" y="357"/>
                  </a:lnTo>
                  <a:lnTo>
                    <a:pt x="238" y="357"/>
                  </a:lnTo>
                  <a:lnTo>
                    <a:pt x="240" y="357"/>
                  </a:lnTo>
                  <a:lnTo>
                    <a:pt x="238" y="357"/>
                  </a:lnTo>
                  <a:lnTo>
                    <a:pt x="237" y="357"/>
                  </a:lnTo>
                  <a:lnTo>
                    <a:pt x="238" y="357"/>
                  </a:lnTo>
                  <a:lnTo>
                    <a:pt x="237" y="357"/>
                  </a:lnTo>
                  <a:lnTo>
                    <a:pt x="235" y="357"/>
                  </a:lnTo>
                  <a:lnTo>
                    <a:pt x="235" y="359"/>
                  </a:lnTo>
                  <a:lnTo>
                    <a:pt x="233" y="359"/>
                  </a:lnTo>
                  <a:lnTo>
                    <a:pt x="233" y="361"/>
                  </a:lnTo>
                  <a:lnTo>
                    <a:pt x="231" y="361"/>
                  </a:lnTo>
                  <a:lnTo>
                    <a:pt x="231" y="359"/>
                  </a:lnTo>
                  <a:lnTo>
                    <a:pt x="229" y="359"/>
                  </a:lnTo>
                  <a:lnTo>
                    <a:pt x="229" y="361"/>
                  </a:lnTo>
                  <a:lnTo>
                    <a:pt x="227" y="361"/>
                  </a:lnTo>
                  <a:lnTo>
                    <a:pt x="225" y="361"/>
                  </a:lnTo>
                  <a:lnTo>
                    <a:pt x="225" y="363"/>
                  </a:lnTo>
                  <a:lnTo>
                    <a:pt x="223" y="363"/>
                  </a:lnTo>
                  <a:lnTo>
                    <a:pt x="225" y="361"/>
                  </a:lnTo>
                  <a:lnTo>
                    <a:pt x="223" y="361"/>
                  </a:lnTo>
                  <a:lnTo>
                    <a:pt x="223" y="363"/>
                  </a:lnTo>
                  <a:lnTo>
                    <a:pt x="221" y="363"/>
                  </a:lnTo>
                  <a:lnTo>
                    <a:pt x="221" y="365"/>
                  </a:lnTo>
                  <a:lnTo>
                    <a:pt x="221" y="363"/>
                  </a:lnTo>
                  <a:lnTo>
                    <a:pt x="221" y="361"/>
                  </a:lnTo>
                  <a:lnTo>
                    <a:pt x="221" y="359"/>
                  </a:lnTo>
                  <a:lnTo>
                    <a:pt x="223" y="359"/>
                  </a:lnTo>
                  <a:lnTo>
                    <a:pt x="225" y="359"/>
                  </a:lnTo>
                  <a:lnTo>
                    <a:pt x="223" y="359"/>
                  </a:lnTo>
                  <a:lnTo>
                    <a:pt x="223" y="357"/>
                  </a:lnTo>
                  <a:lnTo>
                    <a:pt x="221" y="357"/>
                  </a:lnTo>
                  <a:lnTo>
                    <a:pt x="219" y="357"/>
                  </a:lnTo>
                  <a:lnTo>
                    <a:pt x="217" y="357"/>
                  </a:lnTo>
                  <a:lnTo>
                    <a:pt x="215" y="357"/>
                  </a:lnTo>
                  <a:lnTo>
                    <a:pt x="217" y="357"/>
                  </a:lnTo>
                  <a:lnTo>
                    <a:pt x="217" y="355"/>
                  </a:lnTo>
                  <a:lnTo>
                    <a:pt x="215" y="355"/>
                  </a:lnTo>
                  <a:lnTo>
                    <a:pt x="215" y="357"/>
                  </a:lnTo>
                  <a:lnTo>
                    <a:pt x="215" y="355"/>
                  </a:lnTo>
                  <a:lnTo>
                    <a:pt x="215" y="357"/>
                  </a:lnTo>
                  <a:lnTo>
                    <a:pt x="215" y="355"/>
                  </a:lnTo>
                  <a:lnTo>
                    <a:pt x="213" y="355"/>
                  </a:lnTo>
                  <a:lnTo>
                    <a:pt x="212" y="355"/>
                  </a:lnTo>
                  <a:lnTo>
                    <a:pt x="212" y="353"/>
                  </a:lnTo>
                  <a:lnTo>
                    <a:pt x="212" y="355"/>
                  </a:lnTo>
                  <a:lnTo>
                    <a:pt x="210" y="355"/>
                  </a:lnTo>
                  <a:lnTo>
                    <a:pt x="210" y="353"/>
                  </a:lnTo>
                  <a:lnTo>
                    <a:pt x="210" y="355"/>
                  </a:lnTo>
                  <a:lnTo>
                    <a:pt x="208" y="355"/>
                  </a:lnTo>
                  <a:lnTo>
                    <a:pt x="210" y="355"/>
                  </a:lnTo>
                  <a:lnTo>
                    <a:pt x="208" y="355"/>
                  </a:lnTo>
                  <a:lnTo>
                    <a:pt x="208" y="353"/>
                  </a:lnTo>
                  <a:lnTo>
                    <a:pt x="208" y="351"/>
                  </a:lnTo>
                  <a:lnTo>
                    <a:pt x="208" y="353"/>
                  </a:lnTo>
                  <a:lnTo>
                    <a:pt x="206" y="353"/>
                  </a:lnTo>
                  <a:lnTo>
                    <a:pt x="206" y="351"/>
                  </a:lnTo>
                  <a:lnTo>
                    <a:pt x="206" y="353"/>
                  </a:lnTo>
                  <a:lnTo>
                    <a:pt x="204" y="353"/>
                  </a:lnTo>
                  <a:lnTo>
                    <a:pt x="204" y="351"/>
                  </a:lnTo>
                  <a:lnTo>
                    <a:pt x="202" y="351"/>
                  </a:lnTo>
                  <a:lnTo>
                    <a:pt x="204" y="351"/>
                  </a:lnTo>
                  <a:lnTo>
                    <a:pt x="202" y="351"/>
                  </a:lnTo>
                  <a:lnTo>
                    <a:pt x="200" y="351"/>
                  </a:lnTo>
                  <a:lnTo>
                    <a:pt x="200" y="353"/>
                  </a:lnTo>
                  <a:lnTo>
                    <a:pt x="200" y="351"/>
                  </a:lnTo>
                  <a:lnTo>
                    <a:pt x="198" y="351"/>
                  </a:lnTo>
                  <a:lnTo>
                    <a:pt x="198" y="353"/>
                  </a:lnTo>
                  <a:lnTo>
                    <a:pt x="200" y="353"/>
                  </a:lnTo>
                  <a:lnTo>
                    <a:pt x="200" y="355"/>
                  </a:lnTo>
                  <a:lnTo>
                    <a:pt x="198" y="355"/>
                  </a:lnTo>
                  <a:lnTo>
                    <a:pt x="198" y="353"/>
                  </a:lnTo>
                  <a:lnTo>
                    <a:pt x="196" y="353"/>
                  </a:lnTo>
                  <a:lnTo>
                    <a:pt x="196" y="355"/>
                  </a:lnTo>
                  <a:lnTo>
                    <a:pt x="196" y="357"/>
                  </a:lnTo>
                  <a:lnTo>
                    <a:pt x="194" y="357"/>
                  </a:lnTo>
                  <a:lnTo>
                    <a:pt x="194" y="359"/>
                  </a:lnTo>
                  <a:lnTo>
                    <a:pt x="194" y="357"/>
                  </a:lnTo>
                  <a:lnTo>
                    <a:pt x="192" y="357"/>
                  </a:lnTo>
                  <a:lnTo>
                    <a:pt x="190" y="357"/>
                  </a:lnTo>
                  <a:lnTo>
                    <a:pt x="189" y="357"/>
                  </a:lnTo>
                  <a:lnTo>
                    <a:pt x="189" y="359"/>
                  </a:lnTo>
                  <a:lnTo>
                    <a:pt x="189" y="357"/>
                  </a:lnTo>
                  <a:lnTo>
                    <a:pt x="189" y="359"/>
                  </a:lnTo>
                  <a:lnTo>
                    <a:pt x="187" y="359"/>
                  </a:lnTo>
                  <a:lnTo>
                    <a:pt x="189" y="359"/>
                  </a:lnTo>
                  <a:lnTo>
                    <a:pt x="187" y="359"/>
                  </a:lnTo>
                  <a:lnTo>
                    <a:pt x="189" y="359"/>
                  </a:lnTo>
                  <a:lnTo>
                    <a:pt x="187" y="359"/>
                  </a:lnTo>
                  <a:lnTo>
                    <a:pt x="187" y="361"/>
                  </a:lnTo>
                  <a:lnTo>
                    <a:pt x="187" y="359"/>
                  </a:lnTo>
                  <a:lnTo>
                    <a:pt x="187" y="357"/>
                  </a:lnTo>
                  <a:lnTo>
                    <a:pt x="189" y="357"/>
                  </a:lnTo>
                  <a:lnTo>
                    <a:pt x="187" y="357"/>
                  </a:lnTo>
                  <a:lnTo>
                    <a:pt x="187" y="359"/>
                  </a:lnTo>
                  <a:lnTo>
                    <a:pt x="187" y="357"/>
                  </a:lnTo>
                  <a:lnTo>
                    <a:pt x="185" y="357"/>
                  </a:lnTo>
                  <a:lnTo>
                    <a:pt x="185" y="359"/>
                  </a:lnTo>
                  <a:lnTo>
                    <a:pt x="185" y="361"/>
                  </a:lnTo>
                  <a:lnTo>
                    <a:pt x="183" y="361"/>
                  </a:lnTo>
                  <a:lnTo>
                    <a:pt x="183" y="359"/>
                  </a:lnTo>
                  <a:lnTo>
                    <a:pt x="185" y="359"/>
                  </a:lnTo>
                  <a:lnTo>
                    <a:pt x="185" y="357"/>
                  </a:lnTo>
                  <a:lnTo>
                    <a:pt x="183" y="357"/>
                  </a:lnTo>
                  <a:lnTo>
                    <a:pt x="183" y="359"/>
                  </a:lnTo>
                  <a:lnTo>
                    <a:pt x="183" y="361"/>
                  </a:lnTo>
                  <a:lnTo>
                    <a:pt x="181" y="361"/>
                  </a:lnTo>
                  <a:lnTo>
                    <a:pt x="181" y="363"/>
                  </a:lnTo>
                  <a:lnTo>
                    <a:pt x="179" y="363"/>
                  </a:lnTo>
                  <a:lnTo>
                    <a:pt x="181" y="363"/>
                  </a:lnTo>
                  <a:lnTo>
                    <a:pt x="181" y="361"/>
                  </a:lnTo>
                  <a:lnTo>
                    <a:pt x="181" y="359"/>
                  </a:lnTo>
                  <a:lnTo>
                    <a:pt x="183" y="359"/>
                  </a:lnTo>
                  <a:lnTo>
                    <a:pt x="183" y="357"/>
                  </a:lnTo>
                  <a:lnTo>
                    <a:pt x="183" y="355"/>
                  </a:lnTo>
                  <a:lnTo>
                    <a:pt x="181" y="355"/>
                  </a:lnTo>
                  <a:lnTo>
                    <a:pt x="179" y="355"/>
                  </a:lnTo>
                  <a:lnTo>
                    <a:pt x="181" y="355"/>
                  </a:lnTo>
                  <a:lnTo>
                    <a:pt x="181" y="353"/>
                  </a:lnTo>
                  <a:lnTo>
                    <a:pt x="181" y="355"/>
                  </a:lnTo>
                  <a:lnTo>
                    <a:pt x="179" y="355"/>
                  </a:lnTo>
                  <a:lnTo>
                    <a:pt x="177" y="355"/>
                  </a:lnTo>
                  <a:lnTo>
                    <a:pt x="179" y="355"/>
                  </a:lnTo>
                  <a:lnTo>
                    <a:pt x="177" y="355"/>
                  </a:lnTo>
                  <a:lnTo>
                    <a:pt x="179" y="355"/>
                  </a:lnTo>
                  <a:lnTo>
                    <a:pt x="177" y="355"/>
                  </a:lnTo>
                  <a:lnTo>
                    <a:pt x="177" y="357"/>
                  </a:lnTo>
                  <a:lnTo>
                    <a:pt x="177" y="355"/>
                  </a:lnTo>
                  <a:lnTo>
                    <a:pt x="175" y="355"/>
                  </a:lnTo>
                  <a:lnTo>
                    <a:pt x="175" y="357"/>
                  </a:lnTo>
                  <a:lnTo>
                    <a:pt x="177" y="357"/>
                  </a:lnTo>
                  <a:lnTo>
                    <a:pt x="177" y="355"/>
                  </a:lnTo>
                  <a:lnTo>
                    <a:pt x="177" y="357"/>
                  </a:lnTo>
                  <a:lnTo>
                    <a:pt x="175" y="357"/>
                  </a:lnTo>
                  <a:lnTo>
                    <a:pt x="175" y="355"/>
                  </a:lnTo>
                  <a:lnTo>
                    <a:pt x="177" y="357"/>
                  </a:lnTo>
                  <a:lnTo>
                    <a:pt x="177" y="355"/>
                  </a:lnTo>
                  <a:lnTo>
                    <a:pt x="177" y="357"/>
                  </a:lnTo>
                  <a:lnTo>
                    <a:pt x="175" y="357"/>
                  </a:lnTo>
                  <a:lnTo>
                    <a:pt x="173" y="357"/>
                  </a:lnTo>
                  <a:lnTo>
                    <a:pt x="173" y="359"/>
                  </a:lnTo>
                  <a:lnTo>
                    <a:pt x="171" y="359"/>
                  </a:lnTo>
                  <a:lnTo>
                    <a:pt x="171" y="361"/>
                  </a:lnTo>
                  <a:lnTo>
                    <a:pt x="173" y="361"/>
                  </a:lnTo>
                  <a:lnTo>
                    <a:pt x="171" y="361"/>
                  </a:lnTo>
                  <a:lnTo>
                    <a:pt x="169" y="361"/>
                  </a:lnTo>
                  <a:lnTo>
                    <a:pt x="169" y="363"/>
                  </a:lnTo>
                  <a:lnTo>
                    <a:pt x="169" y="365"/>
                  </a:lnTo>
                  <a:lnTo>
                    <a:pt x="167" y="365"/>
                  </a:lnTo>
                  <a:lnTo>
                    <a:pt x="167" y="367"/>
                  </a:lnTo>
                  <a:lnTo>
                    <a:pt x="165" y="367"/>
                  </a:lnTo>
                  <a:lnTo>
                    <a:pt x="167" y="367"/>
                  </a:lnTo>
                  <a:lnTo>
                    <a:pt x="167" y="365"/>
                  </a:lnTo>
                  <a:lnTo>
                    <a:pt x="167" y="363"/>
                  </a:lnTo>
                  <a:lnTo>
                    <a:pt x="169" y="363"/>
                  </a:lnTo>
                  <a:lnTo>
                    <a:pt x="169" y="361"/>
                  </a:lnTo>
                  <a:lnTo>
                    <a:pt x="169" y="363"/>
                  </a:lnTo>
                  <a:lnTo>
                    <a:pt x="167" y="363"/>
                  </a:lnTo>
                  <a:lnTo>
                    <a:pt x="167" y="361"/>
                  </a:lnTo>
                  <a:lnTo>
                    <a:pt x="167" y="363"/>
                  </a:lnTo>
                  <a:lnTo>
                    <a:pt x="167" y="361"/>
                  </a:lnTo>
                  <a:lnTo>
                    <a:pt x="167" y="359"/>
                  </a:lnTo>
                  <a:lnTo>
                    <a:pt x="167" y="361"/>
                  </a:lnTo>
                  <a:lnTo>
                    <a:pt x="167" y="363"/>
                  </a:lnTo>
                  <a:lnTo>
                    <a:pt x="167" y="361"/>
                  </a:lnTo>
                  <a:lnTo>
                    <a:pt x="165" y="361"/>
                  </a:lnTo>
                  <a:lnTo>
                    <a:pt x="167" y="361"/>
                  </a:lnTo>
                  <a:lnTo>
                    <a:pt x="167" y="359"/>
                  </a:lnTo>
                  <a:lnTo>
                    <a:pt x="165" y="359"/>
                  </a:lnTo>
                  <a:lnTo>
                    <a:pt x="165" y="361"/>
                  </a:lnTo>
                  <a:lnTo>
                    <a:pt x="164" y="359"/>
                  </a:lnTo>
                  <a:lnTo>
                    <a:pt x="164" y="361"/>
                  </a:lnTo>
                  <a:lnTo>
                    <a:pt x="162" y="361"/>
                  </a:lnTo>
                  <a:lnTo>
                    <a:pt x="160" y="361"/>
                  </a:lnTo>
                  <a:lnTo>
                    <a:pt x="160" y="363"/>
                  </a:lnTo>
                  <a:lnTo>
                    <a:pt x="160" y="361"/>
                  </a:lnTo>
                  <a:lnTo>
                    <a:pt x="162" y="361"/>
                  </a:lnTo>
                  <a:lnTo>
                    <a:pt x="162" y="363"/>
                  </a:lnTo>
                  <a:lnTo>
                    <a:pt x="160" y="363"/>
                  </a:lnTo>
                  <a:lnTo>
                    <a:pt x="160" y="365"/>
                  </a:lnTo>
                  <a:lnTo>
                    <a:pt x="160" y="363"/>
                  </a:lnTo>
                  <a:lnTo>
                    <a:pt x="160" y="365"/>
                  </a:lnTo>
                  <a:lnTo>
                    <a:pt x="158" y="365"/>
                  </a:lnTo>
                  <a:lnTo>
                    <a:pt x="158" y="367"/>
                  </a:lnTo>
                  <a:lnTo>
                    <a:pt x="156" y="367"/>
                  </a:lnTo>
                  <a:lnTo>
                    <a:pt x="156" y="365"/>
                  </a:lnTo>
                  <a:lnTo>
                    <a:pt x="154" y="365"/>
                  </a:lnTo>
                  <a:lnTo>
                    <a:pt x="156" y="365"/>
                  </a:lnTo>
                  <a:lnTo>
                    <a:pt x="156" y="367"/>
                  </a:lnTo>
                  <a:lnTo>
                    <a:pt x="154" y="367"/>
                  </a:lnTo>
                  <a:lnTo>
                    <a:pt x="154" y="365"/>
                  </a:lnTo>
                  <a:lnTo>
                    <a:pt x="156" y="365"/>
                  </a:lnTo>
                  <a:lnTo>
                    <a:pt x="156" y="363"/>
                  </a:lnTo>
                  <a:lnTo>
                    <a:pt x="156" y="365"/>
                  </a:lnTo>
                  <a:lnTo>
                    <a:pt x="156" y="363"/>
                  </a:lnTo>
                  <a:lnTo>
                    <a:pt x="154" y="363"/>
                  </a:lnTo>
                  <a:lnTo>
                    <a:pt x="154" y="365"/>
                  </a:lnTo>
                  <a:lnTo>
                    <a:pt x="154" y="363"/>
                  </a:lnTo>
                  <a:lnTo>
                    <a:pt x="152" y="363"/>
                  </a:lnTo>
                  <a:lnTo>
                    <a:pt x="154" y="363"/>
                  </a:lnTo>
                  <a:lnTo>
                    <a:pt x="152" y="363"/>
                  </a:lnTo>
                  <a:lnTo>
                    <a:pt x="152" y="365"/>
                  </a:lnTo>
                  <a:lnTo>
                    <a:pt x="152" y="367"/>
                  </a:lnTo>
                  <a:lnTo>
                    <a:pt x="152" y="365"/>
                  </a:lnTo>
                  <a:lnTo>
                    <a:pt x="150" y="365"/>
                  </a:lnTo>
                  <a:lnTo>
                    <a:pt x="152" y="365"/>
                  </a:lnTo>
                  <a:lnTo>
                    <a:pt x="150" y="365"/>
                  </a:lnTo>
                  <a:lnTo>
                    <a:pt x="150" y="367"/>
                  </a:lnTo>
                  <a:lnTo>
                    <a:pt x="150" y="369"/>
                  </a:lnTo>
                  <a:lnTo>
                    <a:pt x="150" y="371"/>
                  </a:lnTo>
                  <a:lnTo>
                    <a:pt x="150" y="372"/>
                  </a:lnTo>
                  <a:lnTo>
                    <a:pt x="152" y="372"/>
                  </a:lnTo>
                  <a:lnTo>
                    <a:pt x="152" y="374"/>
                  </a:lnTo>
                  <a:lnTo>
                    <a:pt x="150" y="374"/>
                  </a:lnTo>
                  <a:lnTo>
                    <a:pt x="152" y="374"/>
                  </a:lnTo>
                  <a:lnTo>
                    <a:pt x="152" y="376"/>
                  </a:lnTo>
                  <a:lnTo>
                    <a:pt x="152" y="374"/>
                  </a:lnTo>
                  <a:lnTo>
                    <a:pt x="152" y="376"/>
                  </a:lnTo>
                  <a:lnTo>
                    <a:pt x="152" y="378"/>
                  </a:lnTo>
                  <a:lnTo>
                    <a:pt x="154" y="378"/>
                  </a:lnTo>
                  <a:lnTo>
                    <a:pt x="152" y="378"/>
                  </a:lnTo>
                  <a:lnTo>
                    <a:pt x="154" y="378"/>
                  </a:lnTo>
                  <a:lnTo>
                    <a:pt x="154" y="380"/>
                  </a:lnTo>
                  <a:lnTo>
                    <a:pt x="154" y="378"/>
                  </a:lnTo>
                  <a:lnTo>
                    <a:pt x="154" y="380"/>
                  </a:lnTo>
                  <a:lnTo>
                    <a:pt x="154" y="378"/>
                  </a:lnTo>
                  <a:lnTo>
                    <a:pt x="154" y="380"/>
                  </a:lnTo>
                  <a:lnTo>
                    <a:pt x="156" y="380"/>
                  </a:lnTo>
                  <a:lnTo>
                    <a:pt x="156" y="378"/>
                  </a:lnTo>
                  <a:lnTo>
                    <a:pt x="154" y="378"/>
                  </a:lnTo>
                  <a:lnTo>
                    <a:pt x="154" y="376"/>
                  </a:lnTo>
                  <a:lnTo>
                    <a:pt x="152" y="376"/>
                  </a:lnTo>
                  <a:lnTo>
                    <a:pt x="152" y="374"/>
                  </a:lnTo>
                  <a:lnTo>
                    <a:pt x="154" y="374"/>
                  </a:lnTo>
                  <a:lnTo>
                    <a:pt x="152" y="374"/>
                  </a:lnTo>
                  <a:lnTo>
                    <a:pt x="152" y="372"/>
                  </a:lnTo>
                  <a:lnTo>
                    <a:pt x="152" y="371"/>
                  </a:lnTo>
                  <a:lnTo>
                    <a:pt x="154" y="371"/>
                  </a:lnTo>
                  <a:lnTo>
                    <a:pt x="154" y="372"/>
                  </a:lnTo>
                  <a:lnTo>
                    <a:pt x="152" y="372"/>
                  </a:lnTo>
                  <a:lnTo>
                    <a:pt x="154" y="372"/>
                  </a:lnTo>
                  <a:lnTo>
                    <a:pt x="154" y="374"/>
                  </a:lnTo>
                  <a:lnTo>
                    <a:pt x="154" y="372"/>
                  </a:lnTo>
                  <a:lnTo>
                    <a:pt x="154" y="371"/>
                  </a:lnTo>
                  <a:lnTo>
                    <a:pt x="152" y="371"/>
                  </a:lnTo>
                  <a:lnTo>
                    <a:pt x="150" y="371"/>
                  </a:lnTo>
                  <a:lnTo>
                    <a:pt x="152" y="371"/>
                  </a:lnTo>
                  <a:lnTo>
                    <a:pt x="152" y="369"/>
                  </a:lnTo>
                  <a:lnTo>
                    <a:pt x="152" y="367"/>
                  </a:lnTo>
                  <a:lnTo>
                    <a:pt x="154" y="367"/>
                  </a:lnTo>
                  <a:lnTo>
                    <a:pt x="156" y="367"/>
                  </a:lnTo>
                  <a:lnTo>
                    <a:pt x="156" y="369"/>
                  </a:lnTo>
                  <a:lnTo>
                    <a:pt x="156" y="371"/>
                  </a:lnTo>
                  <a:lnTo>
                    <a:pt x="156" y="372"/>
                  </a:lnTo>
                  <a:lnTo>
                    <a:pt x="158" y="372"/>
                  </a:lnTo>
                  <a:lnTo>
                    <a:pt x="156" y="372"/>
                  </a:lnTo>
                  <a:lnTo>
                    <a:pt x="158" y="372"/>
                  </a:lnTo>
                  <a:lnTo>
                    <a:pt x="160" y="372"/>
                  </a:lnTo>
                  <a:lnTo>
                    <a:pt x="160" y="374"/>
                  </a:lnTo>
                  <a:lnTo>
                    <a:pt x="160" y="376"/>
                  </a:lnTo>
                  <a:lnTo>
                    <a:pt x="160" y="374"/>
                  </a:lnTo>
                  <a:lnTo>
                    <a:pt x="160" y="372"/>
                  </a:lnTo>
                  <a:lnTo>
                    <a:pt x="162" y="372"/>
                  </a:lnTo>
                  <a:lnTo>
                    <a:pt x="162" y="374"/>
                  </a:lnTo>
                  <a:lnTo>
                    <a:pt x="162" y="372"/>
                  </a:lnTo>
                  <a:lnTo>
                    <a:pt x="162" y="374"/>
                  </a:lnTo>
                  <a:lnTo>
                    <a:pt x="160" y="374"/>
                  </a:lnTo>
                  <a:lnTo>
                    <a:pt x="162" y="374"/>
                  </a:lnTo>
                  <a:lnTo>
                    <a:pt x="162" y="376"/>
                  </a:lnTo>
                  <a:lnTo>
                    <a:pt x="162" y="374"/>
                  </a:lnTo>
                  <a:lnTo>
                    <a:pt x="162" y="376"/>
                  </a:lnTo>
                  <a:lnTo>
                    <a:pt x="164" y="376"/>
                  </a:lnTo>
                  <a:lnTo>
                    <a:pt x="162" y="376"/>
                  </a:lnTo>
                  <a:lnTo>
                    <a:pt x="164" y="376"/>
                  </a:lnTo>
                  <a:lnTo>
                    <a:pt x="162" y="376"/>
                  </a:lnTo>
                  <a:lnTo>
                    <a:pt x="164" y="376"/>
                  </a:lnTo>
                  <a:lnTo>
                    <a:pt x="164" y="378"/>
                  </a:lnTo>
                  <a:lnTo>
                    <a:pt x="162" y="378"/>
                  </a:lnTo>
                  <a:lnTo>
                    <a:pt x="164" y="378"/>
                  </a:lnTo>
                  <a:lnTo>
                    <a:pt x="162" y="378"/>
                  </a:lnTo>
                  <a:lnTo>
                    <a:pt x="164" y="378"/>
                  </a:lnTo>
                  <a:lnTo>
                    <a:pt x="164" y="376"/>
                  </a:lnTo>
                  <a:lnTo>
                    <a:pt x="165" y="376"/>
                  </a:lnTo>
                  <a:lnTo>
                    <a:pt x="164" y="376"/>
                  </a:lnTo>
                  <a:lnTo>
                    <a:pt x="164" y="378"/>
                  </a:lnTo>
                  <a:lnTo>
                    <a:pt x="165" y="378"/>
                  </a:lnTo>
                  <a:lnTo>
                    <a:pt x="164" y="378"/>
                  </a:lnTo>
                  <a:lnTo>
                    <a:pt x="165" y="378"/>
                  </a:lnTo>
                  <a:lnTo>
                    <a:pt x="165" y="380"/>
                  </a:lnTo>
                  <a:lnTo>
                    <a:pt x="167" y="380"/>
                  </a:lnTo>
                  <a:lnTo>
                    <a:pt x="167" y="382"/>
                  </a:lnTo>
                  <a:lnTo>
                    <a:pt x="167" y="380"/>
                  </a:lnTo>
                  <a:lnTo>
                    <a:pt x="167" y="382"/>
                  </a:lnTo>
                  <a:lnTo>
                    <a:pt x="167" y="380"/>
                  </a:lnTo>
                  <a:lnTo>
                    <a:pt x="167" y="382"/>
                  </a:lnTo>
                  <a:lnTo>
                    <a:pt x="167" y="380"/>
                  </a:lnTo>
                  <a:lnTo>
                    <a:pt x="169" y="380"/>
                  </a:lnTo>
                  <a:lnTo>
                    <a:pt x="169" y="378"/>
                  </a:lnTo>
                  <a:lnTo>
                    <a:pt x="169" y="380"/>
                  </a:lnTo>
                  <a:lnTo>
                    <a:pt x="171" y="380"/>
                  </a:lnTo>
                  <a:lnTo>
                    <a:pt x="171" y="378"/>
                  </a:lnTo>
                  <a:lnTo>
                    <a:pt x="171" y="376"/>
                  </a:lnTo>
                  <a:lnTo>
                    <a:pt x="171" y="374"/>
                  </a:lnTo>
                  <a:lnTo>
                    <a:pt x="169" y="374"/>
                  </a:lnTo>
                  <a:lnTo>
                    <a:pt x="169" y="376"/>
                  </a:lnTo>
                  <a:lnTo>
                    <a:pt x="167" y="376"/>
                  </a:lnTo>
                  <a:lnTo>
                    <a:pt x="169" y="376"/>
                  </a:lnTo>
                  <a:lnTo>
                    <a:pt x="169" y="374"/>
                  </a:lnTo>
                  <a:lnTo>
                    <a:pt x="167" y="374"/>
                  </a:lnTo>
                  <a:lnTo>
                    <a:pt x="167" y="376"/>
                  </a:lnTo>
                  <a:lnTo>
                    <a:pt x="167" y="374"/>
                  </a:lnTo>
                  <a:lnTo>
                    <a:pt x="167" y="376"/>
                  </a:lnTo>
                  <a:lnTo>
                    <a:pt x="165" y="376"/>
                  </a:lnTo>
                  <a:lnTo>
                    <a:pt x="164" y="376"/>
                  </a:lnTo>
                  <a:lnTo>
                    <a:pt x="164" y="374"/>
                  </a:lnTo>
                  <a:lnTo>
                    <a:pt x="164" y="376"/>
                  </a:lnTo>
                  <a:lnTo>
                    <a:pt x="164" y="374"/>
                  </a:lnTo>
                  <a:lnTo>
                    <a:pt x="165" y="374"/>
                  </a:lnTo>
                  <a:lnTo>
                    <a:pt x="165" y="372"/>
                  </a:lnTo>
                  <a:lnTo>
                    <a:pt x="165" y="374"/>
                  </a:lnTo>
                  <a:lnTo>
                    <a:pt x="165" y="372"/>
                  </a:lnTo>
                  <a:lnTo>
                    <a:pt x="165" y="371"/>
                  </a:lnTo>
                  <a:lnTo>
                    <a:pt x="167" y="371"/>
                  </a:lnTo>
                  <a:lnTo>
                    <a:pt x="167" y="372"/>
                  </a:lnTo>
                  <a:lnTo>
                    <a:pt x="169" y="372"/>
                  </a:lnTo>
                  <a:lnTo>
                    <a:pt x="169" y="374"/>
                  </a:lnTo>
                  <a:lnTo>
                    <a:pt x="169" y="372"/>
                  </a:lnTo>
                  <a:lnTo>
                    <a:pt x="171" y="372"/>
                  </a:lnTo>
                  <a:lnTo>
                    <a:pt x="169" y="372"/>
                  </a:lnTo>
                  <a:lnTo>
                    <a:pt x="171" y="372"/>
                  </a:lnTo>
                  <a:lnTo>
                    <a:pt x="171" y="371"/>
                  </a:lnTo>
                  <a:lnTo>
                    <a:pt x="173" y="371"/>
                  </a:lnTo>
                  <a:lnTo>
                    <a:pt x="173" y="372"/>
                  </a:lnTo>
                  <a:lnTo>
                    <a:pt x="173" y="371"/>
                  </a:lnTo>
                  <a:lnTo>
                    <a:pt x="173" y="372"/>
                  </a:lnTo>
                  <a:lnTo>
                    <a:pt x="173" y="371"/>
                  </a:lnTo>
                  <a:lnTo>
                    <a:pt x="171" y="371"/>
                  </a:lnTo>
                  <a:lnTo>
                    <a:pt x="173" y="371"/>
                  </a:lnTo>
                  <a:lnTo>
                    <a:pt x="171" y="371"/>
                  </a:lnTo>
                  <a:lnTo>
                    <a:pt x="169" y="371"/>
                  </a:lnTo>
                  <a:lnTo>
                    <a:pt x="169" y="372"/>
                  </a:lnTo>
                  <a:lnTo>
                    <a:pt x="167" y="371"/>
                  </a:lnTo>
                  <a:lnTo>
                    <a:pt x="167" y="369"/>
                  </a:lnTo>
                  <a:lnTo>
                    <a:pt x="167" y="371"/>
                  </a:lnTo>
                  <a:lnTo>
                    <a:pt x="167" y="369"/>
                  </a:lnTo>
                  <a:lnTo>
                    <a:pt x="167" y="367"/>
                  </a:lnTo>
                  <a:lnTo>
                    <a:pt x="167" y="365"/>
                  </a:lnTo>
                  <a:lnTo>
                    <a:pt x="169" y="365"/>
                  </a:lnTo>
                  <a:lnTo>
                    <a:pt x="169" y="367"/>
                  </a:lnTo>
                  <a:lnTo>
                    <a:pt x="169" y="365"/>
                  </a:lnTo>
                  <a:lnTo>
                    <a:pt x="171" y="365"/>
                  </a:lnTo>
                  <a:lnTo>
                    <a:pt x="171" y="363"/>
                  </a:lnTo>
                  <a:lnTo>
                    <a:pt x="169" y="363"/>
                  </a:lnTo>
                  <a:lnTo>
                    <a:pt x="169" y="365"/>
                  </a:lnTo>
                  <a:lnTo>
                    <a:pt x="169" y="363"/>
                  </a:lnTo>
                  <a:lnTo>
                    <a:pt x="171" y="363"/>
                  </a:lnTo>
                  <a:lnTo>
                    <a:pt x="173" y="363"/>
                  </a:lnTo>
                  <a:lnTo>
                    <a:pt x="173" y="365"/>
                  </a:lnTo>
                  <a:lnTo>
                    <a:pt x="175" y="365"/>
                  </a:lnTo>
                  <a:lnTo>
                    <a:pt x="177" y="363"/>
                  </a:lnTo>
                  <a:lnTo>
                    <a:pt x="179" y="363"/>
                  </a:lnTo>
                  <a:lnTo>
                    <a:pt x="179" y="365"/>
                  </a:lnTo>
                  <a:lnTo>
                    <a:pt x="179" y="363"/>
                  </a:lnTo>
                  <a:lnTo>
                    <a:pt x="177" y="363"/>
                  </a:lnTo>
                  <a:lnTo>
                    <a:pt x="177" y="365"/>
                  </a:lnTo>
                  <a:lnTo>
                    <a:pt x="175" y="365"/>
                  </a:lnTo>
                  <a:lnTo>
                    <a:pt x="177" y="365"/>
                  </a:lnTo>
                  <a:lnTo>
                    <a:pt x="177" y="367"/>
                  </a:lnTo>
                  <a:lnTo>
                    <a:pt x="177" y="365"/>
                  </a:lnTo>
                  <a:lnTo>
                    <a:pt x="179" y="365"/>
                  </a:lnTo>
                  <a:lnTo>
                    <a:pt x="181" y="365"/>
                  </a:lnTo>
                  <a:lnTo>
                    <a:pt x="181" y="363"/>
                  </a:lnTo>
                  <a:lnTo>
                    <a:pt x="183" y="363"/>
                  </a:lnTo>
                  <a:lnTo>
                    <a:pt x="183" y="361"/>
                  </a:lnTo>
                  <a:lnTo>
                    <a:pt x="185" y="361"/>
                  </a:lnTo>
                  <a:lnTo>
                    <a:pt x="183" y="361"/>
                  </a:lnTo>
                  <a:lnTo>
                    <a:pt x="183" y="363"/>
                  </a:lnTo>
                  <a:lnTo>
                    <a:pt x="185" y="363"/>
                  </a:lnTo>
                  <a:lnTo>
                    <a:pt x="183" y="363"/>
                  </a:lnTo>
                  <a:lnTo>
                    <a:pt x="181" y="363"/>
                  </a:lnTo>
                  <a:lnTo>
                    <a:pt x="181" y="365"/>
                  </a:lnTo>
                  <a:lnTo>
                    <a:pt x="179" y="365"/>
                  </a:lnTo>
                  <a:lnTo>
                    <a:pt x="179" y="367"/>
                  </a:lnTo>
                  <a:lnTo>
                    <a:pt x="181" y="367"/>
                  </a:lnTo>
                  <a:lnTo>
                    <a:pt x="181" y="365"/>
                  </a:lnTo>
                  <a:lnTo>
                    <a:pt x="183" y="365"/>
                  </a:lnTo>
                  <a:lnTo>
                    <a:pt x="183" y="363"/>
                  </a:lnTo>
                  <a:lnTo>
                    <a:pt x="185" y="363"/>
                  </a:lnTo>
                  <a:lnTo>
                    <a:pt x="187" y="363"/>
                  </a:lnTo>
                  <a:lnTo>
                    <a:pt x="185" y="363"/>
                  </a:lnTo>
                  <a:lnTo>
                    <a:pt x="187" y="363"/>
                  </a:lnTo>
                  <a:lnTo>
                    <a:pt x="187" y="361"/>
                  </a:lnTo>
                  <a:lnTo>
                    <a:pt x="187" y="363"/>
                  </a:lnTo>
                  <a:lnTo>
                    <a:pt x="185" y="363"/>
                  </a:lnTo>
                  <a:lnTo>
                    <a:pt x="185" y="365"/>
                  </a:lnTo>
                  <a:lnTo>
                    <a:pt x="185" y="363"/>
                  </a:lnTo>
                  <a:lnTo>
                    <a:pt x="185" y="365"/>
                  </a:lnTo>
                  <a:lnTo>
                    <a:pt x="183" y="365"/>
                  </a:lnTo>
                  <a:lnTo>
                    <a:pt x="185" y="365"/>
                  </a:lnTo>
                  <a:lnTo>
                    <a:pt x="187" y="365"/>
                  </a:lnTo>
                  <a:lnTo>
                    <a:pt x="187" y="367"/>
                  </a:lnTo>
                  <a:lnTo>
                    <a:pt x="185" y="367"/>
                  </a:lnTo>
                  <a:lnTo>
                    <a:pt x="185" y="369"/>
                  </a:lnTo>
                  <a:lnTo>
                    <a:pt x="183" y="369"/>
                  </a:lnTo>
                  <a:lnTo>
                    <a:pt x="185" y="369"/>
                  </a:lnTo>
                  <a:lnTo>
                    <a:pt x="185" y="367"/>
                  </a:lnTo>
                  <a:lnTo>
                    <a:pt x="187" y="367"/>
                  </a:lnTo>
                  <a:lnTo>
                    <a:pt x="187" y="365"/>
                  </a:lnTo>
                  <a:lnTo>
                    <a:pt x="189" y="365"/>
                  </a:lnTo>
                  <a:lnTo>
                    <a:pt x="190" y="365"/>
                  </a:lnTo>
                  <a:lnTo>
                    <a:pt x="189" y="365"/>
                  </a:lnTo>
                  <a:lnTo>
                    <a:pt x="189" y="367"/>
                  </a:lnTo>
                  <a:lnTo>
                    <a:pt x="187" y="367"/>
                  </a:lnTo>
                  <a:lnTo>
                    <a:pt x="189" y="367"/>
                  </a:lnTo>
                  <a:lnTo>
                    <a:pt x="187" y="367"/>
                  </a:lnTo>
                  <a:lnTo>
                    <a:pt x="189" y="367"/>
                  </a:lnTo>
                  <a:lnTo>
                    <a:pt x="187" y="367"/>
                  </a:lnTo>
                  <a:lnTo>
                    <a:pt x="189" y="367"/>
                  </a:lnTo>
                  <a:lnTo>
                    <a:pt x="190" y="367"/>
                  </a:lnTo>
                  <a:lnTo>
                    <a:pt x="190" y="365"/>
                  </a:lnTo>
                  <a:lnTo>
                    <a:pt x="192" y="365"/>
                  </a:lnTo>
                  <a:lnTo>
                    <a:pt x="194" y="365"/>
                  </a:lnTo>
                  <a:lnTo>
                    <a:pt x="196" y="365"/>
                  </a:lnTo>
                  <a:lnTo>
                    <a:pt x="196" y="363"/>
                  </a:lnTo>
                  <a:lnTo>
                    <a:pt x="196" y="365"/>
                  </a:lnTo>
                  <a:lnTo>
                    <a:pt x="198" y="365"/>
                  </a:lnTo>
                  <a:lnTo>
                    <a:pt x="196" y="365"/>
                  </a:lnTo>
                  <a:lnTo>
                    <a:pt x="194" y="365"/>
                  </a:lnTo>
                  <a:lnTo>
                    <a:pt x="192" y="365"/>
                  </a:lnTo>
                  <a:lnTo>
                    <a:pt x="192" y="367"/>
                  </a:lnTo>
                  <a:lnTo>
                    <a:pt x="194" y="367"/>
                  </a:lnTo>
                  <a:lnTo>
                    <a:pt x="194" y="365"/>
                  </a:lnTo>
                  <a:lnTo>
                    <a:pt x="196" y="365"/>
                  </a:lnTo>
                  <a:lnTo>
                    <a:pt x="196" y="367"/>
                  </a:lnTo>
                  <a:lnTo>
                    <a:pt x="196" y="365"/>
                  </a:lnTo>
                  <a:lnTo>
                    <a:pt x="198" y="365"/>
                  </a:lnTo>
                  <a:lnTo>
                    <a:pt x="196" y="365"/>
                  </a:lnTo>
                  <a:lnTo>
                    <a:pt x="196" y="367"/>
                  </a:lnTo>
                  <a:lnTo>
                    <a:pt x="196" y="365"/>
                  </a:lnTo>
                  <a:lnTo>
                    <a:pt x="196" y="367"/>
                  </a:lnTo>
                  <a:lnTo>
                    <a:pt x="198" y="367"/>
                  </a:lnTo>
                  <a:lnTo>
                    <a:pt x="198" y="365"/>
                  </a:lnTo>
                  <a:lnTo>
                    <a:pt x="196" y="365"/>
                  </a:lnTo>
                  <a:lnTo>
                    <a:pt x="198" y="365"/>
                  </a:lnTo>
                  <a:lnTo>
                    <a:pt x="196" y="365"/>
                  </a:lnTo>
                  <a:lnTo>
                    <a:pt x="198" y="365"/>
                  </a:lnTo>
                  <a:lnTo>
                    <a:pt x="196" y="365"/>
                  </a:lnTo>
                  <a:lnTo>
                    <a:pt x="198" y="365"/>
                  </a:lnTo>
                  <a:lnTo>
                    <a:pt x="200" y="365"/>
                  </a:lnTo>
                  <a:lnTo>
                    <a:pt x="200" y="363"/>
                  </a:lnTo>
                  <a:lnTo>
                    <a:pt x="202" y="363"/>
                  </a:lnTo>
                  <a:lnTo>
                    <a:pt x="202" y="361"/>
                  </a:lnTo>
                  <a:lnTo>
                    <a:pt x="200" y="361"/>
                  </a:lnTo>
                  <a:lnTo>
                    <a:pt x="198" y="361"/>
                  </a:lnTo>
                  <a:lnTo>
                    <a:pt x="200" y="361"/>
                  </a:lnTo>
                  <a:lnTo>
                    <a:pt x="200" y="359"/>
                  </a:lnTo>
                  <a:lnTo>
                    <a:pt x="198" y="359"/>
                  </a:lnTo>
                  <a:lnTo>
                    <a:pt x="198" y="357"/>
                  </a:lnTo>
                  <a:lnTo>
                    <a:pt x="198" y="359"/>
                  </a:lnTo>
                  <a:lnTo>
                    <a:pt x="200" y="359"/>
                  </a:lnTo>
                  <a:lnTo>
                    <a:pt x="200" y="357"/>
                  </a:lnTo>
                  <a:lnTo>
                    <a:pt x="202" y="357"/>
                  </a:lnTo>
                  <a:lnTo>
                    <a:pt x="202" y="359"/>
                  </a:lnTo>
                  <a:lnTo>
                    <a:pt x="200" y="359"/>
                  </a:lnTo>
                  <a:lnTo>
                    <a:pt x="202" y="359"/>
                  </a:lnTo>
                  <a:lnTo>
                    <a:pt x="200" y="359"/>
                  </a:lnTo>
                  <a:lnTo>
                    <a:pt x="202" y="359"/>
                  </a:lnTo>
                  <a:lnTo>
                    <a:pt x="204" y="359"/>
                  </a:lnTo>
                  <a:lnTo>
                    <a:pt x="204" y="361"/>
                  </a:lnTo>
                  <a:lnTo>
                    <a:pt x="204" y="359"/>
                  </a:lnTo>
                  <a:lnTo>
                    <a:pt x="206" y="359"/>
                  </a:lnTo>
                  <a:lnTo>
                    <a:pt x="206" y="361"/>
                  </a:lnTo>
                  <a:lnTo>
                    <a:pt x="204" y="361"/>
                  </a:lnTo>
                  <a:lnTo>
                    <a:pt x="206" y="361"/>
                  </a:lnTo>
                  <a:lnTo>
                    <a:pt x="206" y="359"/>
                  </a:lnTo>
                  <a:lnTo>
                    <a:pt x="208" y="359"/>
                  </a:lnTo>
                  <a:lnTo>
                    <a:pt x="208" y="361"/>
                  </a:lnTo>
                  <a:lnTo>
                    <a:pt x="208" y="363"/>
                  </a:lnTo>
                  <a:lnTo>
                    <a:pt x="210" y="363"/>
                  </a:lnTo>
                  <a:lnTo>
                    <a:pt x="208" y="363"/>
                  </a:lnTo>
                  <a:lnTo>
                    <a:pt x="208" y="365"/>
                  </a:lnTo>
                  <a:lnTo>
                    <a:pt x="206" y="363"/>
                  </a:lnTo>
                  <a:lnTo>
                    <a:pt x="206" y="365"/>
                  </a:lnTo>
                  <a:lnTo>
                    <a:pt x="206" y="367"/>
                  </a:lnTo>
                  <a:lnTo>
                    <a:pt x="204" y="367"/>
                  </a:lnTo>
                  <a:lnTo>
                    <a:pt x="202" y="367"/>
                  </a:lnTo>
                  <a:lnTo>
                    <a:pt x="202" y="369"/>
                  </a:lnTo>
                  <a:lnTo>
                    <a:pt x="202" y="367"/>
                  </a:lnTo>
                  <a:lnTo>
                    <a:pt x="204" y="367"/>
                  </a:lnTo>
                  <a:lnTo>
                    <a:pt x="206" y="367"/>
                  </a:lnTo>
                  <a:lnTo>
                    <a:pt x="208" y="367"/>
                  </a:lnTo>
                  <a:lnTo>
                    <a:pt x="208" y="365"/>
                  </a:lnTo>
                  <a:lnTo>
                    <a:pt x="210" y="365"/>
                  </a:lnTo>
                  <a:lnTo>
                    <a:pt x="210" y="363"/>
                  </a:lnTo>
                  <a:lnTo>
                    <a:pt x="210" y="361"/>
                  </a:lnTo>
                  <a:lnTo>
                    <a:pt x="210" y="363"/>
                  </a:lnTo>
                  <a:lnTo>
                    <a:pt x="210" y="361"/>
                  </a:lnTo>
                  <a:lnTo>
                    <a:pt x="212" y="361"/>
                  </a:lnTo>
                  <a:lnTo>
                    <a:pt x="212" y="363"/>
                  </a:lnTo>
                  <a:lnTo>
                    <a:pt x="210" y="363"/>
                  </a:lnTo>
                  <a:lnTo>
                    <a:pt x="210" y="365"/>
                  </a:lnTo>
                  <a:lnTo>
                    <a:pt x="210" y="367"/>
                  </a:lnTo>
                  <a:lnTo>
                    <a:pt x="208" y="367"/>
                  </a:lnTo>
                  <a:lnTo>
                    <a:pt x="210" y="367"/>
                  </a:lnTo>
                  <a:lnTo>
                    <a:pt x="208" y="367"/>
                  </a:lnTo>
                  <a:lnTo>
                    <a:pt x="208" y="369"/>
                  </a:lnTo>
                  <a:lnTo>
                    <a:pt x="206" y="369"/>
                  </a:lnTo>
                  <a:lnTo>
                    <a:pt x="204" y="369"/>
                  </a:lnTo>
                  <a:lnTo>
                    <a:pt x="206" y="369"/>
                  </a:lnTo>
                  <a:lnTo>
                    <a:pt x="208" y="369"/>
                  </a:lnTo>
                  <a:lnTo>
                    <a:pt x="208" y="367"/>
                  </a:lnTo>
                  <a:lnTo>
                    <a:pt x="210" y="367"/>
                  </a:lnTo>
                  <a:lnTo>
                    <a:pt x="210" y="365"/>
                  </a:lnTo>
                  <a:lnTo>
                    <a:pt x="210" y="363"/>
                  </a:lnTo>
                  <a:lnTo>
                    <a:pt x="212" y="363"/>
                  </a:lnTo>
                  <a:lnTo>
                    <a:pt x="212" y="361"/>
                  </a:lnTo>
                  <a:lnTo>
                    <a:pt x="213" y="361"/>
                  </a:lnTo>
                  <a:lnTo>
                    <a:pt x="213" y="363"/>
                  </a:lnTo>
                  <a:lnTo>
                    <a:pt x="212" y="363"/>
                  </a:lnTo>
                  <a:lnTo>
                    <a:pt x="212" y="365"/>
                  </a:lnTo>
                  <a:lnTo>
                    <a:pt x="212" y="367"/>
                  </a:lnTo>
                  <a:lnTo>
                    <a:pt x="210" y="367"/>
                  </a:lnTo>
                  <a:lnTo>
                    <a:pt x="210" y="369"/>
                  </a:lnTo>
                  <a:lnTo>
                    <a:pt x="210" y="367"/>
                  </a:lnTo>
                  <a:lnTo>
                    <a:pt x="212" y="367"/>
                  </a:lnTo>
                  <a:lnTo>
                    <a:pt x="212" y="365"/>
                  </a:lnTo>
                  <a:lnTo>
                    <a:pt x="213" y="365"/>
                  </a:lnTo>
                  <a:lnTo>
                    <a:pt x="212" y="365"/>
                  </a:lnTo>
                  <a:lnTo>
                    <a:pt x="213" y="365"/>
                  </a:lnTo>
                  <a:lnTo>
                    <a:pt x="213" y="363"/>
                  </a:lnTo>
                  <a:lnTo>
                    <a:pt x="213" y="361"/>
                  </a:lnTo>
                  <a:lnTo>
                    <a:pt x="213" y="363"/>
                  </a:lnTo>
                  <a:lnTo>
                    <a:pt x="213" y="365"/>
                  </a:lnTo>
                  <a:lnTo>
                    <a:pt x="213" y="367"/>
                  </a:lnTo>
                  <a:lnTo>
                    <a:pt x="212" y="367"/>
                  </a:lnTo>
                  <a:lnTo>
                    <a:pt x="212" y="369"/>
                  </a:lnTo>
                  <a:lnTo>
                    <a:pt x="210" y="369"/>
                  </a:lnTo>
                  <a:lnTo>
                    <a:pt x="208" y="369"/>
                  </a:lnTo>
                  <a:lnTo>
                    <a:pt x="208" y="371"/>
                  </a:lnTo>
                  <a:lnTo>
                    <a:pt x="206" y="371"/>
                  </a:lnTo>
                  <a:lnTo>
                    <a:pt x="204" y="371"/>
                  </a:lnTo>
                  <a:lnTo>
                    <a:pt x="206" y="371"/>
                  </a:lnTo>
                  <a:lnTo>
                    <a:pt x="208" y="371"/>
                  </a:lnTo>
                  <a:lnTo>
                    <a:pt x="208" y="369"/>
                  </a:lnTo>
                  <a:lnTo>
                    <a:pt x="210" y="369"/>
                  </a:lnTo>
                  <a:lnTo>
                    <a:pt x="210" y="371"/>
                  </a:lnTo>
                  <a:lnTo>
                    <a:pt x="212" y="371"/>
                  </a:lnTo>
                  <a:lnTo>
                    <a:pt x="212" y="369"/>
                  </a:lnTo>
                  <a:lnTo>
                    <a:pt x="213" y="369"/>
                  </a:lnTo>
                  <a:lnTo>
                    <a:pt x="213" y="367"/>
                  </a:lnTo>
                  <a:lnTo>
                    <a:pt x="213" y="365"/>
                  </a:lnTo>
                  <a:lnTo>
                    <a:pt x="215" y="365"/>
                  </a:lnTo>
                  <a:lnTo>
                    <a:pt x="215" y="363"/>
                  </a:lnTo>
                  <a:lnTo>
                    <a:pt x="215" y="361"/>
                  </a:lnTo>
                  <a:lnTo>
                    <a:pt x="215" y="359"/>
                  </a:lnTo>
                  <a:lnTo>
                    <a:pt x="217" y="359"/>
                  </a:lnTo>
                  <a:lnTo>
                    <a:pt x="217" y="357"/>
                  </a:lnTo>
                  <a:lnTo>
                    <a:pt x="217" y="359"/>
                  </a:lnTo>
                  <a:lnTo>
                    <a:pt x="217" y="361"/>
                  </a:lnTo>
                  <a:lnTo>
                    <a:pt x="215" y="361"/>
                  </a:lnTo>
                  <a:lnTo>
                    <a:pt x="215" y="363"/>
                  </a:lnTo>
                  <a:lnTo>
                    <a:pt x="217" y="363"/>
                  </a:lnTo>
                  <a:lnTo>
                    <a:pt x="217" y="365"/>
                  </a:lnTo>
                  <a:lnTo>
                    <a:pt x="215" y="365"/>
                  </a:lnTo>
                  <a:lnTo>
                    <a:pt x="215" y="367"/>
                  </a:lnTo>
                  <a:lnTo>
                    <a:pt x="213" y="367"/>
                  </a:lnTo>
                  <a:lnTo>
                    <a:pt x="213" y="369"/>
                  </a:lnTo>
                  <a:lnTo>
                    <a:pt x="212" y="371"/>
                  </a:lnTo>
                  <a:lnTo>
                    <a:pt x="212" y="369"/>
                  </a:lnTo>
                  <a:lnTo>
                    <a:pt x="212" y="371"/>
                  </a:lnTo>
                  <a:lnTo>
                    <a:pt x="210" y="371"/>
                  </a:lnTo>
                  <a:lnTo>
                    <a:pt x="210" y="372"/>
                  </a:lnTo>
                  <a:lnTo>
                    <a:pt x="210" y="371"/>
                  </a:lnTo>
                  <a:lnTo>
                    <a:pt x="208" y="371"/>
                  </a:lnTo>
                  <a:lnTo>
                    <a:pt x="208" y="372"/>
                  </a:lnTo>
                  <a:lnTo>
                    <a:pt x="210" y="372"/>
                  </a:lnTo>
                  <a:lnTo>
                    <a:pt x="210" y="371"/>
                  </a:lnTo>
                  <a:lnTo>
                    <a:pt x="212" y="371"/>
                  </a:lnTo>
                  <a:lnTo>
                    <a:pt x="213" y="371"/>
                  </a:lnTo>
                  <a:lnTo>
                    <a:pt x="213" y="369"/>
                  </a:lnTo>
                  <a:lnTo>
                    <a:pt x="215" y="369"/>
                  </a:lnTo>
                  <a:lnTo>
                    <a:pt x="215" y="367"/>
                  </a:lnTo>
                  <a:lnTo>
                    <a:pt x="215" y="365"/>
                  </a:lnTo>
                  <a:lnTo>
                    <a:pt x="217" y="365"/>
                  </a:lnTo>
                  <a:lnTo>
                    <a:pt x="217" y="363"/>
                  </a:lnTo>
                  <a:lnTo>
                    <a:pt x="217" y="361"/>
                  </a:lnTo>
                  <a:lnTo>
                    <a:pt x="217" y="363"/>
                  </a:lnTo>
                  <a:lnTo>
                    <a:pt x="217" y="361"/>
                  </a:lnTo>
                  <a:lnTo>
                    <a:pt x="217" y="359"/>
                  </a:lnTo>
                  <a:lnTo>
                    <a:pt x="219" y="359"/>
                  </a:lnTo>
                  <a:lnTo>
                    <a:pt x="219" y="361"/>
                  </a:lnTo>
                  <a:lnTo>
                    <a:pt x="219" y="359"/>
                  </a:lnTo>
                  <a:lnTo>
                    <a:pt x="219" y="357"/>
                  </a:lnTo>
                  <a:lnTo>
                    <a:pt x="221" y="357"/>
                  </a:lnTo>
                  <a:lnTo>
                    <a:pt x="221" y="359"/>
                  </a:lnTo>
                  <a:lnTo>
                    <a:pt x="221" y="361"/>
                  </a:lnTo>
                  <a:lnTo>
                    <a:pt x="219" y="361"/>
                  </a:lnTo>
                  <a:lnTo>
                    <a:pt x="219" y="363"/>
                  </a:lnTo>
                  <a:lnTo>
                    <a:pt x="219" y="365"/>
                  </a:lnTo>
                  <a:lnTo>
                    <a:pt x="217" y="365"/>
                  </a:lnTo>
                  <a:lnTo>
                    <a:pt x="217" y="367"/>
                  </a:lnTo>
                  <a:lnTo>
                    <a:pt x="215" y="369"/>
                  </a:lnTo>
                  <a:lnTo>
                    <a:pt x="215" y="371"/>
                  </a:lnTo>
                  <a:lnTo>
                    <a:pt x="213" y="371"/>
                  </a:lnTo>
                  <a:lnTo>
                    <a:pt x="213" y="372"/>
                  </a:lnTo>
                  <a:lnTo>
                    <a:pt x="212" y="372"/>
                  </a:lnTo>
                  <a:lnTo>
                    <a:pt x="210" y="372"/>
                  </a:lnTo>
                  <a:lnTo>
                    <a:pt x="212" y="372"/>
                  </a:lnTo>
                  <a:lnTo>
                    <a:pt x="213" y="372"/>
                  </a:lnTo>
                  <a:lnTo>
                    <a:pt x="213" y="371"/>
                  </a:lnTo>
                  <a:lnTo>
                    <a:pt x="215" y="371"/>
                  </a:lnTo>
                  <a:lnTo>
                    <a:pt x="215" y="369"/>
                  </a:lnTo>
                  <a:lnTo>
                    <a:pt x="217" y="369"/>
                  </a:lnTo>
                  <a:lnTo>
                    <a:pt x="217" y="367"/>
                  </a:lnTo>
                  <a:lnTo>
                    <a:pt x="219" y="367"/>
                  </a:lnTo>
                  <a:lnTo>
                    <a:pt x="219" y="365"/>
                  </a:lnTo>
                  <a:lnTo>
                    <a:pt x="219" y="363"/>
                  </a:lnTo>
                  <a:lnTo>
                    <a:pt x="221" y="363"/>
                  </a:lnTo>
                  <a:lnTo>
                    <a:pt x="221" y="365"/>
                  </a:lnTo>
                  <a:lnTo>
                    <a:pt x="219" y="365"/>
                  </a:lnTo>
                  <a:lnTo>
                    <a:pt x="219" y="367"/>
                  </a:lnTo>
                  <a:lnTo>
                    <a:pt x="217" y="367"/>
                  </a:lnTo>
                  <a:lnTo>
                    <a:pt x="217" y="369"/>
                  </a:lnTo>
                  <a:lnTo>
                    <a:pt x="217" y="371"/>
                  </a:lnTo>
                  <a:lnTo>
                    <a:pt x="215" y="371"/>
                  </a:lnTo>
                  <a:lnTo>
                    <a:pt x="215" y="372"/>
                  </a:lnTo>
                  <a:lnTo>
                    <a:pt x="213" y="372"/>
                  </a:lnTo>
                  <a:lnTo>
                    <a:pt x="212" y="372"/>
                  </a:lnTo>
                  <a:lnTo>
                    <a:pt x="212" y="374"/>
                  </a:lnTo>
                  <a:lnTo>
                    <a:pt x="212" y="376"/>
                  </a:lnTo>
                  <a:lnTo>
                    <a:pt x="212" y="374"/>
                  </a:lnTo>
                  <a:lnTo>
                    <a:pt x="213" y="374"/>
                  </a:lnTo>
                  <a:lnTo>
                    <a:pt x="213" y="372"/>
                  </a:lnTo>
                  <a:lnTo>
                    <a:pt x="215" y="372"/>
                  </a:lnTo>
                  <a:lnTo>
                    <a:pt x="215" y="371"/>
                  </a:lnTo>
                  <a:lnTo>
                    <a:pt x="217" y="371"/>
                  </a:lnTo>
                  <a:lnTo>
                    <a:pt x="219" y="371"/>
                  </a:lnTo>
                  <a:lnTo>
                    <a:pt x="219" y="369"/>
                  </a:lnTo>
                  <a:lnTo>
                    <a:pt x="219" y="367"/>
                  </a:lnTo>
                  <a:lnTo>
                    <a:pt x="221" y="367"/>
                  </a:lnTo>
                  <a:lnTo>
                    <a:pt x="221" y="365"/>
                  </a:lnTo>
                  <a:lnTo>
                    <a:pt x="221" y="367"/>
                  </a:lnTo>
                  <a:lnTo>
                    <a:pt x="223" y="367"/>
                  </a:lnTo>
                  <a:lnTo>
                    <a:pt x="221" y="367"/>
                  </a:lnTo>
                  <a:lnTo>
                    <a:pt x="223" y="367"/>
                  </a:lnTo>
                  <a:lnTo>
                    <a:pt x="221" y="367"/>
                  </a:lnTo>
                  <a:lnTo>
                    <a:pt x="221" y="369"/>
                  </a:lnTo>
                  <a:lnTo>
                    <a:pt x="219" y="371"/>
                  </a:lnTo>
                  <a:lnTo>
                    <a:pt x="221" y="372"/>
                  </a:lnTo>
                  <a:lnTo>
                    <a:pt x="221" y="371"/>
                  </a:lnTo>
                  <a:lnTo>
                    <a:pt x="223" y="371"/>
                  </a:lnTo>
                  <a:lnTo>
                    <a:pt x="221" y="371"/>
                  </a:lnTo>
                  <a:lnTo>
                    <a:pt x="221" y="372"/>
                  </a:lnTo>
                  <a:lnTo>
                    <a:pt x="223" y="372"/>
                  </a:lnTo>
                  <a:lnTo>
                    <a:pt x="221" y="372"/>
                  </a:lnTo>
                  <a:lnTo>
                    <a:pt x="223" y="372"/>
                  </a:lnTo>
                  <a:lnTo>
                    <a:pt x="223" y="371"/>
                  </a:lnTo>
                  <a:lnTo>
                    <a:pt x="221" y="371"/>
                  </a:lnTo>
                  <a:lnTo>
                    <a:pt x="223" y="371"/>
                  </a:lnTo>
                  <a:lnTo>
                    <a:pt x="223" y="372"/>
                  </a:lnTo>
                  <a:lnTo>
                    <a:pt x="223" y="371"/>
                  </a:lnTo>
                  <a:lnTo>
                    <a:pt x="223" y="372"/>
                  </a:lnTo>
                  <a:lnTo>
                    <a:pt x="223" y="371"/>
                  </a:lnTo>
                  <a:lnTo>
                    <a:pt x="225" y="371"/>
                  </a:lnTo>
                  <a:lnTo>
                    <a:pt x="225" y="372"/>
                  </a:lnTo>
                  <a:lnTo>
                    <a:pt x="223" y="372"/>
                  </a:lnTo>
                  <a:lnTo>
                    <a:pt x="225" y="372"/>
                  </a:lnTo>
                  <a:lnTo>
                    <a:pt x="225" y="371"/>
                  </a:lnTo>
                  <a:lnTo>
                    <a:pt x="223" y="371"/>
                  </a:lnTo>
                  <a:lnTo>
                    <a:pt x="225" y="371"/>
                  </a:lnTo>
                  <a:lnTo>
                    <a:pt x="227" y="371"/>
                  </a:lnTo>
                  <a:lnTo>
                    <a:pt x="227" y="372"/>
                  </a:lnTo>
                  <a:lnTo>
                    <a:pt x="225" y="372"/>
                  </a:lnTo>
                  <a:lnTo>
                    <a:pt x="227" y="372"/>
                  </a:lnTo>
                  <a:lnTo>
                    <a:pt x="225" y="372"/>
                  </a:lnTo>
                  <a:lnTo>
                    <a:pt x="227" y="372"/>
                  </a:lnTo>
                  <a:lnTo>
                    <a:pt x="227" y="374"/>
                  </a:lnTo>
                  <a:lnTo>
                    <a:pt x="227" y="376"/>
                  </a:lnTo>
                  <a:lnTo>
                    <a:pt x="229" y="376"/>
                  </a:lnTo>
                  <a:lnTo>
                    <a:pt x="227" y="378"/>
                  </a:lnTo>
                  <a:lnTo>
                    <a:pt x="227" y="376"/>
                  </a:lnTo>
                  <a:lnTo>
                    <a:pt x="227" y="378"/>
                  </a:lnTo>
                  <a:lnTo>
                    <a:pt x="229" y="378"/>
                  </a:lnTo>
                  <a:lnTo>
                    <a:pt x="227" y="378"/>
                  </a:lnTo>
                  <a:lnTo>
                    <a:pt x="229" y="378"/>
                  </a:lnTo>
                  <a:lnTo>
                    <a:pt x="229" y="380"/>
                  </a:lnTo>
                  <a:lnTo>
                    <a:pt x="229" y="378"/>
                  </a:lnTo>
                  <a:lnTo>
                    <a:pt x="229" y="380"/>
                  </a:lnTo>
                  <a:lnTo>
                    <a:pt x="231" y="380"/>
                  </a:lnTo>
                  <a:lnTo>
                    <a:pt x="229" y="380"/>
                  </a:lnTo>
                  <a:lnTo>
                    <a:pt x="231" y="380"/>
                  </a:lnTo>
                  <a:lnTo>
                    <a:pt x="229" y="380"/>
                  </a:lnTo>
                  <a:lnTo>
                    <a:pt x="231" y="380"/>
                  </a:lnTo>
                  <a:lnTo>
                    <a:pt x="231" y="378"/>
                  </a:lnTo>
                  <a:lnTo>
                    <a:pt x="231" y="380"/>
                  </a:lnTo>
                  <a:lnTo>
                    <a:pt x="231" y="378"/>
                  </a:lnTo>
                  <a:lnTo>
                    <a:pt x="231" y="380"/>
                  </a:lnTo>
                  <a:lnTo>
                    <a:pt x="231" y="378"/>
                  </a:lnTo>
                  <a:lnTo>
                    <a:pt x="231" y="380"/>
                  </a:lnTo>
                  <a:lnTo>
                    <a:pt x="233" y="380"/>
                  </a:lnTo>
                  <a:lnTo>
                    <a:pt x="231" y="380"/>
                  </a:lnTo>
                  <a:lnTo>
                    <a:pt x="233" y="380"/>
                  </a:lnTo>
                  <a:lnTo>
                    <a:pt x="233" y="382"/>
                  </a:lnTo>
                  <a:lnTo>
                    <a:pt x="233" y="380"/>
                  </a:lnTo>
                  <a:lnTo>
                    <a:pt x="231" y="380"/>
                  </a:lnTo>
                  <a:lnTo>
                    <a:pt x="233" y="380"/>
                  </a:lnTo>
                  <a:lnTo>
                    <a:pt x="233" y="378"/>
                  </a:lnTo>
                  <a:lnTo>
                    <a:pt x="231" y="380"/>
                  </a:lnTo>
                  <a:lnTo>
                    <a:pt x="231" y="378"/>
                  </a:lnTo>
                  <a:lnTo>
                    <a:pt x="231" y="380"/>
                  </a:lnTo>
                  <a:lnTo>
                    <a:pt x="231" y="378"/>
                  </a:lnTo>
                  <a:lnTo>
                    <a:pt x="231" y="380"/>
                  </a:lnTo>
                  <a:lnTo>
                    <a:pt x="231" y="378"/>
                  </a:lnTo>
                  <a:lnTo>
                    <a:pt x="231" y="380"/>
                  </a:lnTo>
                  <a:lnTo>
                    <a:pt x="229" y="380"/>
                  </a:lnTo>
                  <a:lnTo>
                    <a:pt x="231" y="380"/>
                  </a:lnTo>
                  <a:lnTo>
                    <a:pt x="229" y="380"/>
                  </a:lnTo>
                  <a:lnTo>
                    <a:pt x="229" y="378"/>
                  </a:lnTo>
                  <a:lnTo>
                    <a:pt x="227" y="378"/>
                  </a:lnTo>
                  <a:lnTo>
                    <a:pt x="229" y="378"/>
                  </a:lnTo>
                  <a:lnTo>
                    <a:pt x="229" y="376"/>
                  </a:lnTo>
                  <a:lnTo>
                    <a:pt x="229" y="378"/>
                  </a:lnTo>
                  <a:lnTo>
                    <a:pt x="227" y="378"/>
                  </a:lnTo>
                  <a:lnTo>
                    <a:pt x="229" y="378"/>
                  </a:lnTo>
                  <a:lnTo>
                    <a:pt x="229" y="376"/>
                  </a:lnTo>
                  <a:lnTo>
                    <a:pt x="227" y="376"/>
                  </a:lnTo>
                  <a:lnTo>
                    <a:pt x="229" y="376"/>
                  </a:lnTo>
                  <a:lnTo>
                    <a:pt x="227" y="376"/>
                  </a:lnTo>
                  <a:lnTo>
                    <a:pt x="227" y="374"/>
                  </a:lnTo>
                  <a:lnTo>
                    <a:pt x="227" y="372"/>
                  </a:lnTo>
                  <a:lnTo>
                    <a:pt x="225" y="372"/>
                  </a:lnTo>
                  <a:lnTo>
                    <a:pt x="227" y="372"/>
                  </a:lnTo>
                  <a:lnTo>
                    <a:pt x="225" y="372"/>
                  </a:lnTo>
                  <a:lnTo>
                    <a:pt x="227" y="372"/>
                  </a:lnTo>
                  <a:lnTo>
                    <a:pt x="227" y="371"/>
                  </a:lnTo>
                  <a:lnTo>
                    <a:pt x="225" y="371"/>
                  </a:lnTo>
                  <a:lnTo>
                    <a:pt x="227" y="371"/>
                  </a:lnTo>
                  <a:lnTo>
                    <a:pt x="227" y="369"/>
                  </a:lnTo>
                  <a:lnTo>
                    <a:pt x="229" y="369"/>
                  </a:lnTo>
                  <a:lnTo>
                    <a:pt x="231" y="369"/>
                  </a:lnTo>
                  <a:lnTo>
                    <a:pt x="231" y="371"/>
                  </a:lnTo>
                  <a:lnTo>
                    <a:pt x="233" y="371"/>
                  </a:lnTo>
                  <a:lnTo>
                    <a:pt x="231" y="371"/>
                  </a:lnTo>
                  <a:lnTo>
                    <a:pt x="231" y="369"/>
                  </a:lnTo>
                  <a:lnTo>
                    <a:pt x="231" y="367"/>
                  </a:lnTo>
                  <a:lnTo>
                    <a:pt x="233" y="367"/>
                  </a:lnTo>
                  <a:lnTo>
                    <a:pt x="235" y="367"/>
                  </a:lnTo>
                  <a:lnTo>
                    <a:pt x="235" y="365"/>
                  </a:lnTo>
                  <a:lnTo>
                    <a:pt x="237" y="365"/>
                  </a:lnTo>
                  <a:lnTo>
                    <a:pt x="238" y="365"/>
                  </a:lnTo>
                  <a:lnTo>
                    <a:pt x="237" y="365"/>
                  </a:lnTo>
                  <a:lnTo>
                    <a:pt x="238" y="365"/>
                  </a:lnTo>
                  <a:lnTo>
                    <a:pt x="237" y="365"/>
                  </a:lnTo>
                  <a:lnTo>
                    <a:pt x="237" y="363"/>
                  </a:lnTo>
                  <a:lnTo>
                    <a:pt x="238" y="363"/>
                  </a:lnTo>
                  <a:lnTo>
                    <a:pt x="238" y="365"/>
                  </a:lnTo>
                  <a:lnTo>
                    <a:pt x="240" y="365"/>
                  </a:lnTo>
                  <a:lnTo>
                    <a:pt x="242" y="365"/>
                  </a:lnTo>
                  <a:lnTo>
                    <a:pt x="242" y="367"/>
                  </a:lnTo>
                  <a:lnTo>
                    <a:pt x="242" y="365"/>
                  </a:lnTo>
                  <a:lnTo>
                    <a:pt x="244" y="365"/>
                  </a:lnTo>
                  <a:lnTo>
                    <a:pt x="246" y="365"/>
                  </a:lnTo>
                  <a:lnTo>
                    <a:pt x="248" y="365"/>
                  </a:lnTo>
                  <a:lnTo>
                    <a:pt x="248" y="367"/>
                  </a:lnTo>
                  <a:lnTo>
                    <a:pt x="248" y="365"/>
                  </a:lnTo>
                  <a:lnTo>
                    <a:pt x="248" y="367"/>
                  </a:lnTo>
                  <a:lnTo>
                    <a:pt x="250" y="367"/>
                  </a:lnTo>
                  <a:lnTo>
                    <a:pt x="252" y="367"/>
                  </a:lnTo>
                  <a:lnTo>
                    <a:pt x="254" y="367"/>
                  </a:lnTo>
                  <a:lnTo>
                    <a:pt x="256" y="367"/>
                  </a:lnTo>
                  <a:lnTo>
                    <a:pt x="258" y="367"/>
                  </a:lnTo>
                  <a:lnTo>
                    <a:pt x="260" y="367"/>
                  </a:lnTo>
                  <a:lnTo>
                    <a:pt x="260" y="369"/>
                  </a:lnTo>
                  <a:lnTo>
                    <a:pt x="260" y="367"/>
                  </a:lnTo>
                  <a:lnTo>
                    <a:pt x="261" y="369"/>
                  </a:lnTo>
                  <a:lnTo>
                    <a:pt x="263" y="369"/>
                  </a:lnTo>
                  <a:lnTo>
                    <a:pt x="263" y="371"/>
                  </a:lnTo>
                  <a:lnTo>
                    <a:pt x="265" y="371"/>
                  </a:lnTo>
                  <a:lnTo>
                    <a:pt x="267" y="369"/>
                  </a:lnTo>
                  <a:lnTo>
                    <a:pt x="269" y="369"/>
                  </a:lnTo>
                  <a:lnTo>
                    <a:pt x="269" y="367"/>
                  </a:lnTo>
                  <a:lnTo>
                    <a:pt x="271" y="367"/>
                  </a:lnTo>
                  <a:lnTo>
                    <a:pt x="273" y="367"/>
                  </a:lnTo>
                  <a:lnTo>
                    <a:pt x="273" y="369"/>
                  </a:lnTo>
                  <a:lnTo>
                    <a:pt x="273" y="367"/>
                  </a:lnTo>
                  <a:lnTo>
                    <a:pt x="271" y="367"/>
                  </a:lnTo>
                  <a:lnTo>
                    <a:pt x="271" y="369"/>
                  </a:lnTo>
                  <a:lnTo>
                    <a:pt x="271" y="371"/>
                  </a:lnTo>
                  <a:lnTo>
                    <a:pt x="269" y="371"/>
                  </a:lnTo>
                  <a:lnTo>
                    <a:pt x="269" y="369"/>
                  </a:lnTo>
                  <a:lnTo>
                    <a:pt x="269" y="371"/>
                  </a:lnTo>
                  <a:lnTo>
                    <a:pt x="267" y="371"/>
                  </a:lnTo>
                  <a:lnTo>
                    <a:pt x="267" y="372"/>
                  </a:lnTo>
                  <a:lnTo>
                    <a:pt x="265" y="372"/>
                  </a:lnTo>
                  <a:lnTo>
                    <a:pt x="265" y="371"/>
                  </a:lnTo>
                  <a:lnTo>
                    <a:pt x="263" y="371"/>
                  </a:lnTo>
                  <a:lnTo>
                    <a:pt x="261" y="371"/>
                  </a:lnTo>
                  <a:lnTo>
                    <a:pt x="263" y="371"/>
                  </a:lnTo>
                  <a:lnTo>
                    <a:pt x="263" y="372"/>
                  </a:lnTo>
                  <a:lnTo>
                    <a:pt x="261" y="372"/>
                  </a:lnTo>
                  <a:lnTo>
                    <a:pt x="261" y="374"/>
                  </a:lnTo>
                  <a:lnTo>
                    <a:pt x="260" y="374"/>
                  </a:lnTo>
                  <a:lnTo>
                    <a:pt x="260" y="376"/>
                  </a:lnTo>
                  <a:lnTo>
                    <a:pt x="258" y="376"/>
                  </a:lnTo>
                  <a:lnTo>
                    <a:pt x="260" y="376"/>
                  </a:lnTo>
                  <a:lnTo>
                    <a:pt x="260" y="378"/>
                  </a:lnTo>
                  <a:lnTo>
                    <a:pt x="260" y="380"/>
                  </a:lnTo>
                  <a:lnTo>
                    <a:pt x="260" y="378"/>
                  </a:lnTo>
                  <a:lnTo>
                    <a:pt x="260" y="380"/>
                  </a:lnTo>
                  <a:lnTo>
                    <a:pt x="261" y="380"/>
                  </a:lnTo>
                  <a:lnTo>
                    <a:pt x="261" y="382"/>
                  </a:lnTo>
                  <a:lnTo>
                    <a:pt x="260" y="382"/>
                  </a:lnTo>
                  <a:lnTo>
                    <a:pt x="261" y="382"/>
                  </a:lnTo>
                  <a:lnTo>
                    <a:pt x="261" y="384"/>
                  </a:lnTo>
                  <a:lnTo>
                    <a:pt x="263" y="384"/>
                  </a:lnTo>
                  <a:lnTo>
                    <a:pt x="261" y="384"/>
                  </a:lnTo>
                  <a:lnTo>
                    <a:pt x="261" y="386"/>
                  </a:lnTo>
                  <a:lnTo>
                    <a:pt x="263" y="384"/>
                  </a:lnTo>
                  <a:lnTo>
                    <a:pt x="263" y="386"/>
                  </a:lnTo>
                  <a:lnTo>
                    <a:pt x="263" y="388"/>
                  </a:lnTo>
                  <a:lnTo>
                    <a:pt x="263" y="386"/>
                  </a:lnTo>
                  <a:lnTo>
                    <a:pt x="263" y="384"/>
                  </a:lnTo>
                  <a:lnTo>
                    <a:pt x="261" y="384"/>
                  </a:lnTo>
                  <a:lnTo>
                    <a:pt x="261" y="382"/>
                  </a:lnTo>
                  <a:lnTo>
                    <a:pt x="261" y="380"/>
                  </a:lnTo>
                  <a:lnTo>
                    <a:pt x="261" y="382"/>
                  </a:lnTo>
                  <a:lnTo>
                    <a:pt x="263" y="382"/>
                  </a:lnTo>
                  <a:lnTo>
                    <a:pt x="261" y="382"/>
                  </a:lnTo>
                  <a:lnTo>
                    <a:pt x="261" y="380"/>
                  </a:lnTo>
                  <a:lnTo>
                    <a:pt x="261" y="382"/>
                  </a:lnTo>
                  <a:lnTo>
                    <a:pt x="261" y="380"/>
                  </a:lnTo>
                  <a:lnTo>
                    <a:pt x="261" y="378"/>
                  </a:lnTo>
                  <a:lnTo>
                    <a:pt x="261" y="376"/>
                  </a:lnTo>
                  <a:lnTo>
                    <a:pt x="261" y="378"/>
                  </a:lnTo>
                  <a:lnTo>
                    <a:pt x="261" y="376"/>
                  </a:lnTo>
                  <a:lnTo>
                    <a:pt x="261" y="378"/>
                  </a:lnTo>
                  <a:lnTo>
                    <a:pt x="263" y="378"/>
                  </a:lnTo>
                  <a:lnTo>
                    <a:pt x="261" y="376"/>
                  </a:lnTo>
                  <a:lnTo>
                    <a:pt x="263" y="376"/>
                  </a:lnTo>
                  <a:lnTo>
                    <a:pt x="263" y="378"/>
                  </a:lnTo>
                  <a:lnTo>
                    <a:pt x="263" y="376"/>
                  </a:lnTo>
                  <a:lnTo>
                    <a:pt x="263" y="378"/>
                  </a:lnTo>
                  <a:lnTo>
                    <a:pt x="265" y="378"/>
                  </a:lnTo>
                  <a:lnTo>
                    <a:pt x="267" y="378"/>
                  </a:lnTo>
                  <a:lnTo>
                    <a:pt x="269" y="378"/>
                  </a:lnTo>
                  <a:lnTo>
                    <a:pt x="269" y="376"/>
                  </a:lnTo>
                  <a:lnTo>
                    <a:pt x="271" y="376"/>
                  </a:lnTo>
                  <a:lnTo>
                    <a:pt x="273" y="376"/>
                  </a:lnTo>
                  <a:lnTo>
                    <a:pt x="273" y="374"/>
                  </a:lnTo>
                  <a:lnTo>
                    <a:pt x="275" y="374"/>
                  </a:lnTo>
                  <a:lnTo>
                    <a:pt x="277" y="374"/>
                  </a:lnTo>
                  <a:lnTo>
                    <a:pt x="279" y="374"/>
                  </a:lnTo>
                  <a:lnTo>
                    <a:pt x="281" y="374"/>
                  </a:lnTo>
                  <a:lnTo>
                    <a:pt x="283" y="374"/>
                  </a:lnTo>
                  <a:lnTo>
                    <a:pt x="283" y="376"/>
                  </a:lnTo>
                  <a:lnTo>
                    <a:pt x="283" y="374"/>
                  </a:lnTo>
                  <a:lnTo>
                    <a:pt x="283" y="376"/>
                  </a:lnTo>
                  <a:lnTo>
                    <a:pt x="283" y="378"/>
                  </a:lnTo>
                  <a:lnTo>
                    <a:pt x="283" y="376"/>
                  </a:lnTo>
                  <a:lnTo>
                    <a:pt x="281" y="376"/>
                  </a:lnTo>
                  <a:lnTo>
                    <a:pt x="281" y="378"/>
                  </a:lnTo>
                  <a:lnTo>
                    <a:pt x="283" y="378"/>
                  </a:lnTo>
                  <a:lnTo>
                    <a:pt x="281" y="378"/>
                  </a:lnTo>
                  <a:lnTo>
                    <a:pt x="281" y="380"/>
                  </a:lnTo>
                  <a:lnTo>
                    <a:pt x="281" y="378"/>
                  </a:lnTo>
                  <a:lnTo>
                    <a:pt x="283" y="378"/>
                  </a:lnTo>
                  <a:lnTo>
                    <a:pt x="283" y="376"/>
                  </a:lnTo>
                  <a:lnTo>
                    <a:pt x="283" y="374"/>
                  </a:lnTo>
                  <a:lnTo>
                    <a:pt x="283" y="372"/>
                  </a:lnTo>
                  <a:lnTo>
                    <a:pt x="283" y="374"/>
                  </a:lnTo>
                  <a:lnTo>
                    <a:pt x="285" y="374"/>
                  </a:lnTo>
                  <a:lnTo>
                    <a:pt x="283" y="374"/>
                  </a:lnTo>
                  <a:lnTo>
                    <a:pt x="285" y="374"/>
                  </a:lnTo>
                  <a:lnTo>
                    <a:pt x="283" y="374"/>
                  </a:lnTo>
                  <a:lnTo>
                    <a:pt x="285" y="374"/>
                  </a:lnTo>
                  <a:lnTo>
                    <a:pt x="285" y="372"/>
                  </a:lnTo>
                  <a:lnTo>
                    <a:pt x="283" y="372"/>
                  </a:lnTo>
                  <a:lnTo>
                    <a:pt x="285" y="372"/>
                  </a:lnTo>
                  <a:lnTo>
                    <a:pt x="283" y="372"/>
                  </a:lnTo>
                  <a:lnTo>
                    <a:pt x="285" y="372"/>
                  </a:lnTo>
                  <a:lnTo>
                    <a:pt x="283" y="372"/>
                  </a:lnTo>
                  <a:lnTo>
                    <a:pt x="285" y="372"/>
                  </a:lnTo>
                  <a:lnTo>
                    <a:pt x="285" y="371"/>
                  </a:lnTo>
                  <a:lnTo>
                    <a:pt x="285" y="369"/>
                  </a:lnTo>
                  <a:lnTo>
                    <a:pt x="285" y="367"/>
                  </a:lnTo>
                  <a:lnTo>
                    <a:pt x="286" y="367"/>
                  </a:lnTo>
                  <a:lnTo>
                    <a:pt x="286" y="365"/>
                  </a:lnTo>
                  <a:lnTo>
                    <a:pt x="288" y="365"/>
                  </a:lnTo>
                  <a:lnTo>
                    <a:pt x="290" y="365"/>
                  </a:lnTo>
                  <a:lnTo>
                    <a:pt x="292" y="365"/>
                  </a:lnTo>
                  <a:lnTo>
                    <a:pt x="290" y="365"/>
                  </a:lnTo>
                  <a:lnTo>
                    <a:pt x="292" y="365"/>
                  </a:lnTo>
                  <a:lnTo>
                    <a:pt x="294" y="365"/>
                  </a:lnTo>
                  <a:lnTo>
                    <a:pt x="294" y="367"/>
                  </a:lnTo>
                  <a:lnTo>
                    <a:pt x="296" y="367"/>
                  </a:lnTo>
                  <a:lnTo>
                    <a:pt x="298" y="367"/>
                  </a:lnTo>
                  <a:lnTo>
                    <a:pt x="300" y="367"/>
                  </a:lnTo>
                  <a:lnTo>
                    <a:pt x="298" y="367"/>
                  </a:lnTo>
                  <a:lnTo>
                    <a:pt x="300" y="367"/>
                  </a:lnTo>
                  <a:lnTo>
                    <a:pt x="300" y="369"/>
                  </a:lnTo>
                  <a:lnTo>
                    <a:pt x="300" y="367"/>
                  </a:lnTo>
                  <a:lnTo>
                    <a:pt x="302" y="367"/>
                  </a:lnTo>
                  <a:lnTo>
                    <a:pt x="302" y="369"/>
                  </a:lnTo>
                  <a:lnTo>
                    <a:pt x="304" y="369"/>
                  </a:lnTo>
                  <a:lnTo>
                    <a:pt x="306" y="369"/>
                  </a:lnTo>
                  <a:lnTo>
                    <a:pt x="306" y="371"/>
                  </a:lnTo>
                  <a:lnTo>
                    <a:pt x="304" y="371"/>
                  </a:lnTo>
                  <a:lnTo>
                    <a:pt x="304" y="372"/>
                  </a:lnTo>
                  <a:lnTo>
                    <a:pt x="304" y="374"/>
                  </a:lnTo>
                  <a:lnTo>
                    <a:pt x="306" y="374"/>
                  </a:lnTo>
                  <a:lnTo>
                    <a:pt x="306" y="372"/>
                  </a:lnTo>
                  <a:lnTo>
                    <a:pt x="308" y="372"/>
                  </a:lnTo>
                  <a:lnTo>
                    <a:pt x="308" y="371"/>
                  </a:lnTo>
                  <a:lnTo>
                    <a:pt x="309" y="371"/>
                  </a:lnTo>
                  <a:lnTo>
                    <a:pt x="309" y="372"/>
                  </a:lnTo>
                  <a:lnTo>
                    <a:pt x="308" y="372"/>
                  </a:lnTo>
                  <a:lnTo>
                    <a:pt x="308" y="374"/>
                  </a:lnTo>
                  <a:lnTo>
                    <a:pt x="308" y="372"/>
                  </a:lnTo>
                  <a:lnTo>
                    <a:pt x="308" y="374"/>
                  </a:lnTo>
                  <a:lnTo>
                    <a:pt x="308" y="372"/>
                  </a:lnTo>
                  <a:lnTo>
                    <a:pt x="309" y="372"/>
                  </a:lnTo>
                  <a:lnTo>
                    <a:pt x="309" y="374"/>
                  </a:lnTo>
                  <a:lnTo>
                    <a:pt x="309" y="372"/>
                  </a:lnTo>
                  <a:lnTo>
                    <a:pt x="309" y="371"/>
                  </a:lnTo>
                  <a:lnTo>
                    <a:pt x="308" y="371"/>
                  </a:lnTo>
                  <a:lnTo>
                    <a:pt x="306" y="372"/>
                  </a:lnTo>
                  <a:lnTo>
                    <a:pt x="306" y="374"/>
                  </a:lnTo>
                  <a:lnTo>
                    <a:pt x="304" y="374"/>
                  </a:lnTo>
                  <a:lnTo>
                    <a:pt x="304" y="372"/>
                  </a:lnTo>
                  <a:lnTo>
                    <a:pt x="304" y="371"/>
                  </a:lnTo>
                  <a:lnTo>
                    <a:pt x="306" y="371"/>
                  </a:lnTo>
                  <a:lnTo>
                    <a:pt x="306" y="369"/>
                  </a:lnTo>
                  <a:lnTo>
                    <a:pt x="306" y="367"/>
                  </a:lnTo>
                  <a:lnTo>
                    <a:pt x="304" y="367"/>
                  </a:lnTo>
                  <a:lnTo>
                    <a:pt x="306" y="367"/>
                  </a:lnTo>
                  <a:lnTo>
                    <a:pt x="304" y="365"/>
                  </a:lnTo>
                  <a:lnTo>
                    <a:pt x="304" y="367"/>
                  </a:lnTo>
                  <a:lnTo>
                    <a:pt x="302" y="365"/>
                  </a:lnTo>
                  <a:lnTo>
                    <a:pt x="304" y="365"/>
                  </a:lnTo>
                  <a:lnTo>
                    <a:pt x="302" y="365"/>
                  </a:lnTo>
                  <a:lnTo>
                    <a:pt x="300" y="363"/>
                  </a:lnTo>
                  <a:lnTo>
                    <a:pt x="300" y="365"/>
                  </a:lnTo>
                  <a:lnTo>
                    <a:pt x="300" y="363"/>
                  </a:lnTo>
                  <a:lnTo>
                    <a:pt x="300" y="361"/>
                  </a:lnTo>
                  <a:lnTo>
                    <a:pt x="300" y="363"/>
                  </a:lnTo>
                  <a:lnTo>
                    <a:pt x="300" y="361"/>
                  </a:lnTo>
                  <a:lnTo>
                    <a:pt x="298" y="361"/>
                  </a:lnTo>
                  <a:lnTo>
                    <a:pt x="298" y="359"/>
                  </a:lnTo>
                  <a:lnTo>
                    <a:pt x="298" y="361"/>
                  </a:lnTo>
                  <a:lnTo>
                    <a:pt x="298" y="359"/>
                  </a:lnTo>
                  <a:lnTo>
                    <a:pt x="298" y="357"/>
                  </a:lnTo>
                  <a:lnTo>
                    <a:pt x="300" y="355"/>
                  </a:lnTo>
                  <a:lnTo>
                    <a:pt x="300" y="357"/>
                  </a:lnTo>
                  <a:lnTo>
                    <a:pt x="302" y="357"/>
                  </a:lnTo>
                  <a:lnTo>
                    <a:pt x="302" y="359"/>
                  </a:lnTo>
                  <a:lnTo>
                    <a:pt x="302" y="357"/>
                  </a:lnTo>
                  <a:lnTo>
                    <a:pt x="304" y="357"/>
                  </a:lnTo>
                  <a:lnTo>
                    <a:pt x="306" y="357"/>
                  </a:lnTo>
                  <a:lnTo>
                    <a:pt x="304" y="357"/>
                  </a:lnTo>
                  <a:lnTo>
                    <a:pt x="306" y="357"/>
                  </a:lnTo>
                  <a:lnTo>
                    <a:pt x="306" y="355"/>
                  </a:lnTo>
                  <a:lnTo>
                    <a:pt x="304" y="355"/>
                  </a:lnTo>
                  <a:lnTo>
                    <a:pt x="304" y="357"/>
                  </a:lnTo>
                  <a:lnTo>
                    <a:pt x="304" y="355"/>
                  </a:lnTo>
                  <a:lnTo>
                    <a:pt x="302" y="355"/>
                  </a:lnTo>
                  <a:lnTo>
                    <a:pt x="302" y="357"/>
                  </a:lnTo>
                  <a:lnTo>
                    <a:pt x="302" y="355"/>
                  </a:lnTo>
                  <a:lnTo>
                    <a:pt x="300" y="355"/>
                  </a:lnTo>
                  <a:lnTo>
                    <a:pt x="298" y="355"/>
                  </a:lnTo>
                  <a:lnTo>
                    <a:pt x="298" y="353"/>
                  </a:lnTo>
                  <a:lnTo>
                    <a:pt x="300" y="353"/>
                  </a:lnTo>
                  <a:lnTo>
                    <a:pt x="300" y="351"/>
                  </a:lnTo>
                  <a:lnTo>
                    <a:pt x="302" y="351"/>
                  </a:lnTo>
                  <a:lnTo>
                    <a:pt x="300" y="351"/>
                  </a:lnTo>
                  <a:lnTo>
                    <a:pt x="300" y="353"/>
                  </a:lnTo>
                  <a:lnTo>
                    <a:pt x="300" y="351"/>
                  </a:lnTo>
                  <a:lnTo>
                    <a:pt x="300" y="353"/>
                  </a:lnTo>
                  <a:lnTo>
                    <a:pt x="298" y="353"/>
                  </a:lnTo>
                  <a:lnTo>
                    <a:pt x="298" y="355"/>
                  </a:lnTo>
                  <a:lnTo>
                    <a:pt x="298" y="353"/>
                  </a:lnTo>
                  <a:lnTo>
                    <a:pt x="300" y="351"/>
                  </a:lnTo>
                  <a:lnTo>
                    <a:pt x="300" y="349"/>
                  </a:lnTo>
                  <a:lnTo>
                    <a:pt x="302" y="349"/>
                  </a:lnTo>
                  <a:lnTo>
                    <a:pt x="302" y="348"/>
                  </a:lnTo>
                  <a:lnTo>
                    <a:pt x="304" y="348"/>
                  </a:lnTo>
                  <a:lnTo>
                    <a:pt x="306" y="348"/>
                  </a:lnTo>
                  <a:lnTo>
                    <a:pt x="306" y="346"/>
                  </a:lnTo>
                  <a:lnTo>
                    <a:pt x="306" y="348"/>
                  </a:lnTo>
                  <a:lnTo>
                    <a:pt x="306" y="346"/>
                  </a:lnTo>
                  <a:lnTo>
                    <a:pt x="308" y="346"/>
                  </a:lnTo>
                  <a:lnTo>
                    <a:pt x="308" y="348"/>
                  </a:lnTo>
                  <a:lnTo>
                    <a:pt x="308" y="346"/>
                  </a:lnTo>
                  <a:lnTo>
                    <a:pt x="308" y="344"/>
                  </a:lnTo>
                  <a:lnTo>
                    <a:pt x="308" y="346"/>
                  </a:lnTo>
                  <a:lnTo>
                    <a:pt x="309" y="346"/>
                  </a:lnTo>
                  <a:lnTo>
                    <a:pt x="309" y="348"/>
                  </a:lnTo>
                  <a:lnTo>
                    <a:pt x="309" y="349"/>
                  </a:lnTo>
                  <a:lnTo>
                    <a:pt x="309" y="351"/>
                  </a:lnTo>
                  <a:lnTo>
                    <a:pt x="309" y="353"/>
                  </a:lnTo>
                  <a:lnTo>
                    <a:pt x="309" y="351"/>
                  </a:lnTo>
                  <a:lnTo>
                    <a:pt x="309" y="353"/>
                  </a:lnTo>
                  <a:lnTo>
                    <a:pt x="311" y="353"/>
                  </a:lnTo>
                  <a:lnTo>
                    <a:pt x="311" y="355"/>
                  </a:lnTo>
                  <a:lnTo>
                    <a:pt x="311" y="357"/>
                  </a:lnTo>
                  <a:lnTo>
                    <a:pt x="311" y="359"/>
                  </a:lnTo>
                  <a:lnTo>
                    <a:pt x="311" y="361"/>
                  </a:lnTo>
                  <a:lnTo>
                    <a:pt x="311" y="363"/>
                  </a:lnTo>
                  <a:lnTo>
                    <a:pt x="313" y="363"/>
                  </a:lnTo>
                  <a:lnTo>
                    <a:pt x="313" y="365"/>
                  </a:lnTo>
                  <a:lnTo>
                    <a:pt x="313" y="367"/>
                  </a:lnTo>
                  <a:lnTo>
                    <a:pt x="313" y="369"/>
                  </a:lnTo>
                  <a:lnTo>
                    <a:pt x="311" y="369"/>
                  </a:lnTo>
                  <a:lnTo>
                    <a:pt x="311" y="371"/>
                  </a:lnTo>
                  <a:lnTo>
                    <a:pt x="311" y="372"/>
                  </a:lnTo>
                  <a:lnTo>
                    <a:pt x="311" y="374"/>
                  </a:lnTo>
                  <a:lnTo>
                    <a:pt x="311" y="376"/>
                  </a:lnTo>
                  <a:lnTo>
                    <a:pt x="311" y="378"/>
                  </a:lnTo>
                  <a:lnTo>
                    <a:pt x="311" y="380"/>
                  </a:lnTo>
                  <a:lnTo>
                    <a:pt x="311" y="382"/>
                  </a:lnTo>
                  <a:lnTo>
                    <a:pt x="309" y="382"/>
                  </a:lnTo>
                  <a:lnTo>
                    <a:pt x="309" y="384"/>
                  </a:lnTo>
                  <a:lnTo>
                    <a:pt x="309" y="386"/>
                  </a:lnTo>
                  <a:lnTo>
                    <a:pt x="309" y="388"/>
                  </a:lnTo>
                  <a:lnTo>
                    <a:pt x="309" y="390"/>
                  </a:lnTo>
                  <a:lnTo>
                    <a:pt x="309" y="392"/>
                  </a:lnTo>
                  <a:lnTo>
                    <a:pt x="308" y="392"/>
                  </a:lnTo>
                  <a:lnTo>
                    <a:pt x="308" y="394"/>
                  </a:lnTo>
                  <a:lnTo>
                    <a:pt x="308" y="396"/>
                  </a:lnTo>
                  <a:lnTo>
                    <a:pt x="306" y="396"/>
                  </a:lnTo>
                  <a:lnTo>
                    <a:pt x="306" y="397"/>
                  </a:lnTo>
                  <a:lnTo>
                    <a:pt x="306" y="399"/>
                  </a:lnTo>
                  <a:lnTo>
                    <a:pt x="306" y="401"/>
                  </a:lnTo>
                  <a:lnTo>
                    <a:pt x="306" y="403"/>
                  </a:lnTo>
                  <a:lnTo>
                    <a:pt x="304" y="403"/>
                  </a:lnTo>
                  <a:lnTo>
                    <a:pt x="304" y="405"/>
                  </a:lnTo>
                  <a:lnTo>
                    <a:pt x="306" y="405"/>
                  </a:lnTo>
                  <a:lnTo>
                    <a:pt x="304" y="405"/>
                  </a:lnTo>
                  <a:lnTo>
                    <a:pt x="304" y="407"/>
                  </a:lnTo>
                  <a:lnTo>
                    <a:pt x="306" y="407"/>
                  </a:lnTo>
                  <a:lnTo>
                    <a:pt x="306" y="409"/>
                  </a:lnTo>
                  <a:lnTo>
                    <a:pt x="306" y="411"/>
                  </a:lnTo>
                  <a:lnTo>
                    <a:pt x="306" y="413"/>
                  </a:lnTo>
                  <a:lnTo>
                    <a:pt x="306" y="415"/>
                  </a:lnTo>
                  <a:lnTo>
                    <a:pt x="306" y="417"/>
                  </a:lnTo>
                  <a:lnTo>
                    <a:pt x="306" y="419"/>
                  </a:lnTo>
                  <a:lnTo>
                    <a:pt x="306" y="420"/>
                  </a:lnTo>
                  <a:lnTo>
                    <a:pt x="306" y="422"/>
                  </a:lnTo>
                  <a:lnTo>
                    <a:pt x="306" y="424"/>
                  </a:lnTo>
                  <a:lnTo>
                    <a:pt x="308" y="424"/>
                  </a:lnTo>
                  <a:lnTo>
                    <a:pt x="308" y="426"/>
                  </a:lnTo>
                  <a:lnTo>
                    <a:pt x="308" y="428"/>
                  </a:lnTo>
                  <a:lnTo>
                    <a:pt x="308" y="430"/>
                  </a:lnTo>
                  <a:lnTo>
                    <a:pt x="308" y="432"/>
                  </a:lnTo>
                  <a:lnTo>
                    <a:pt x="309" y="432"/>
                  </a:lnTo>
                  <a:lnTo>
                    <a:pt x="311" y="432"/>
                  </a:lnTo>
                  <a:lnTo>
                    <a:pt x="311" y="434"/>
                  </a:lnTo>
                  <a:lnTo>
                    <a:pt x="313" y="434"/>
                  </a:lnTo>
                  <a:lnTo>
                    <a:pt x="311" y="434"/>
                  </a:lnTo>
                  <a:lnTo>
                    <a:pt x="311" y="436"/>
                  </a:lnTo>
                  <a:lnTo>
                    <a:pt x="313" y="436"/>
                  </a:lnTo>
                  <a:lnTo>
                    <a:pt x="311" y="436"/>
                  </a:lnTo>
                  <a:lnTo>
                    <a:pt x="311" y="438"/>
                  </a:lnTo>
                  <a:lnTo>
                    <a:pt x="313" y="438"/>
                  </a:lnTo>
                  <a:lnTo>
                    <a:pt x="313" y="440"/>
                  </a:lnTo>
                  <a:lnTo>
                    <a:pt x="315" y="440"/>
                  </a:lnTo>
                  <a:lnTo>
                    <a:pt x="313" y="440"/>
                  </a:lnTo>
                  <a:lnTo>
                    <a:pt x="315" y="440"/>
                  </a:lnTo>
                  <a:lnTo>
                    <a:pt x="317" y="440"/>
                  </a:lnTo>
                  <a:lnTo>
                    <a:pt x="317" y="438"/>
                  </a:lnTo>
                  <a:lnTo>
                    <a:pt x="317" y="440"/>
                  </a:lnTo>
                  <a:lnTo>
                    <a:pt x="317" y="438"/>
                  </a:lnTo>
                  <a:lnTo>
                    <a:pt x="317" y="440"/>
                  </a:lnTo>
                  <a:lnTo>
                    <a:pt x="317" y="438"/>
                  </a:lnTo>
                  <a:lnTo>
                    <a:pt x="319" y="440"/>
                  </a:lnTo>
                  <a:lnTo>
                    <a:pt x="319" y="438"/>
                  </a:lnTo>
                  <a:lnTo>
                    <a:pt x="319" y="440"/>
                  </a:lnTo>
                  <a:lnTo>
                    <a:pt x="319" y="438"/>
                  </a:lnTo>
                  <a:lnTo>
                    <a:pt x="317" y="438"/>
                  </a:lnTo>
                  <a:lnTo>
                    <a:pt x="319" y="438"/>
                  </a:lnTo>
                  <a:lnTo>
                    <a:pt x="317" y="438"/>
                  </a:lnTo>
                  <a:lnTo>
                    <a:pt x="317" y="436"/>
                  </a:lnTo>
                  <a:lnTo>
                    <a:pt x="315" y="436"/>
                  </a:lnTo>
                  <a:lnTo>
                    <a:pt x="315" y="434"/>
                  </a:lnTo>
                  <a:lnTo>
                    <a:pt x="317" y="434"/>
                  </a:lnTo>
                  <a:lnTo>
                    <a:pt x="317" y="436"/>
                  </a:lnTo>
                  <a:lnTo>
                    <a:pt x="319" y="436"/>
                  </a:lnTo>
                  <a:lnTo>
                    <a:pt x="319" y="438"/>
                  </a:lnTo>
                  <a:lnTo>
                    <a:pt x="321" y="438"/>
                  </a:lnTo>
                  <a:lnTo>
                    <a:pt x="319" y="438"/>
                  </a:lnTo>
                  <a:lnTo>
                    <a:pt x="321" y="438"/>
                  </a:lnTo>
                  <a:lnTo>
                    <a:pt x="321" y="440"/>
                  </a:lnTo>
                  <a:lnTo>
                    <a:pt x="321" y="438"/>
                  </a:lnTo>
                  <a:lnTo>
                    <a:pt x="321" y="440"/>
                  </a:lnTo>
                  <a:lnTo>
                    <a:pt x="323" y="440"/>
                  </a:lnTo>
                  <a:lnTo>
                    <a:pt x="323" y="438"/>
                  </a:lnTo>
                  <a:lnTo>
                    <a:pt x="323" y="436"/>
                  </a:lnTo>
                  <a:lnTo>
                    <a:pt x="325" y="436"/>
                  </a:lnTo>
                  <a:lnTo>
                    <a:pt x="323" y="436"/>
                  </a:lnTo>
                  <a:lnTo>
                    <a:pt x="323" y="434"/>
                  </a:lnTo>
                  <a:lnTo>
                    <a:pt x="323" y="436"/>
                  </a:lnTo>
                  <a:lnTo>
                    <a:pt x="325" y="436"/>
                  </a:lnTo>
                  <a:lnTo>
                    <a:pt x="325" y="434"/>
                  </a:lnTo>
                  <a:lnTo>
                    <a:pt x="323" y="434"/>
                  </a:lnTo>
                  <a:lnTo>
                    <a:pt x="321" y="434"/>
                  </a:lnTo>
                  <a:lnTo>
                    <a:pt x="321" y="432"/>
                  </a:lnTo>
                  <a:lnTo>
                    <a:pt x="321" y="434"/>
                  </a:lnTo>
                  <a:lnTo>
                    <a:pt x="321" y="432"/>
                  </a:lnTo>
                  <a:lnTo>
                    <a:pt x="321" y="434"/>
                  </a:lnTo>
                  <a:lnTo>
                    <a:pt x="321" y="432"/>
                  </a:lnTo>
                  <a:lnTo>
                    <a:pt x="319" y="432"/>
                  </a:lnTo>
                  <a:lnTo>
                    <a:pt x="317" y="432"/>
                  </a:lnTo>
                  <a:lnTo>
                    <a:pt x="317" y="430"/>
                  </a:lnTo>
                  <a:lnTo>
                    <a:pt x="317" y="432"/>
                  </a:lnTo>
                  <a:lnTo>
                    <a:pt x="317" y="430"/>
                  </a:lnTo>
                  <a:lnTo>
                    <a:pt x="317" y="432"/>
                  </a:lnTo>
                  <a:lnTo>
                    <a:pt x="315" y="432"/>
                  </a:lnTo>
                  <a:lnTo>
                    <a:pt x="317" y="432"/>
                  </a:lnTo>
                  <a:lnTo>
                    <a:pt x="315" y="432"/>
                  </a:lnTo>
                  <a:lnTo>
                    <a:pt x="313" y="432"/>
                  </a:lnTo>
                  <a:lnTo>
                    <a:pt x="315" y="432"/>
                  </a:lnTo>
                  <a:lnTo>
                    <a:pt x="315" y="430"/>
                  </a:lnTo>
                  <a:lnTo>
                    <a:pt x="317" y="430"/>
                  </a:lnTo>
                  <a:lnTo>
                    <a:pt x="319" y="430"/>
                  </a:lnTo>
                  <a:lnTo>
                    <a:pt x="319" y="428"/>
                  </a:lnTo>
                  <a:lnTo>
                    <a:pt x="319" y="430"/>
                  </a:lnTo>
                  <a:lnTo>
                    <a:pt x="319" y="428"/>
                  </a:lnTo>
                  <a:lnTo>
                    <a:pt x="319" y="430"/>
                  </a:lnTo>
                  <a:lnTo>
                    <a:pt x="319" y="428"/>
                  </a:lnTo>
                  <a:lnTo>
                    <a:pt x="321" y="428"/>
                  </a:lnTo>
                  <a:lnTo>
                    <a:pt x="321" y="430"/>
                  </a:lnTo>
                  <a:lnTo>
                    <a:pt x="321" y="428"/>
                  </a:lnTo>
                  <a:lnTo>
                    <a:pt x="321" y="430"/>
                  </a:lnTo>
                  <a:lnTo>
                    <a:pt x="319" y="430"/>
                  </a:lnTo>
                  <a:lnTo>
                    <a:pt x="321" y="430"/>
                  </a:lnTo>
                  <a:lnTo>
                    <a:pt x="321" y="432"/>
                  </a:lnTo>
                  <a:lnTo>
                    <a:pt x="323" y="432"/>
                  </a:lnTo>
                  <a:lnTo>
                    <a:pt x="323" y="430"/>
                  </a:lnTo>
                  <a:lnTo>
                    <a:pt x="323" y="432"/>
                  </a:lnTo>
                  <a:lnTo>
                    <a:pt x="325" y="432"/>
                  </a:lnTo>
                  <a:lnTo>
                    <a:pt x="323" y="432"/>
                  </a:lnTo>
                  <a:lnTo>
                    <a:pt x="325" y="432"/>
                  </a:lnTo>
                  <a:lnTo>
                    <a:pt x="325" y="434"/>
                  </a:lnTo>
                  <a:lnTo>
                    <a:pt x="325" y="432"/>
                  </a:lnTo>
                  <a:lnTo>
                    <a:pt x="325" y="430"/>
                  </a:lnTo>
                  <a:lnTo>
                    <a:pt x="323" y="430"/>
                  </a:lnTo>
                  <a:lnTo>
                    <a:pt x="325" y="430"/>
                  </a:lnTo>
                  <a:lnTo>
                    <a:pt x="325" y="428"/>
                  </a:lnTo>
                  <a:lnTo>
                    <a:pt x="327" y="430"/>
                  </a:lnTo>
                  <a:lnTo>
                    <a:pt x="325" y="430"/>
                  </a:lnTo>
                  <a:lnTo>
                    <a:pt x="327" y="430"/>
                  </a:lnTo>
                  <a:lnTo>
                    <a:pt x="327" y="428"/>
                  </a:lnTo>
                  <a:lnTo>
                    <a:pt x="325" y="428"/>
                  </a:lnTo>
                  <a:lnTo>
                    <a:pt x="327" y="428"/>
                  </a:lnTo>
                  <a:lnTo>
                    <a:pt x="327" y="426"/>
                  </a:lnTo>
                  <a:lnTo>
                    <a:pt x="325" y="426"/>
                  </a:lnTo>
                  <a:lnTo>
                    <a:pt x="327" y="426"/>
                  </a:lnTo>
                  <a:lnTo>
                    <a:pt x="325" y="426"/>
                  </a:lnTo>
                  <a:lnTo>
                    <a:pt x="327" y="426"/>
                  </a:lnTo>
                  <a:lnTo>
                    <a:pt x="325" y="426"/>
                  </a:lnTo>
                  <a:lnTo>
                    <a:pt x="325" y="424"/>
                  </a:lnTo>
                  <a:lnTo>
                    <a:pt x="323" y="424"/>
                  </a:lnTo>
                  <a:lnTo>
                    <a:pt x="325" y="424"/>
                  </a:lnTo>
                  <a:lnTo>
                    <a:pt x="325" y="422"/>
                  </a:lnTo>
                  <a:lnTo>
                    <a:pt x="327" y="422"/>
                  </a:lnTo>
                  <a:lnTo>
                    <a:pt x="327" y="420"/>
                  </a:lnTo>
                  <a:lnTo>
                    <a:pt x="329" y="420"/>
                  </a:lnTo>
                  <a:lnTo>
                    <a:pt x="327" y="420"/>
                  </a:lnTo>
                  <a:lnTo>
                    <a:pt x="329" y="420"/>
                  </a:lnTo>
                  <a:lnTo>
                    <a:pt x="329" y="422"/>
                  </a:lnTo>
                  <a:lnTo>
                    <a:pt x="331" y="422"/>
                  </a:lnTo>
                  <a:lnTo>
                    <a:pt x="331" y="420"/>
                  </a:lnTo>
                  <a:lnTo>
                    <a:pt x="333" y="420"/>
                  </a:lnTo>
                  <a:lnTo>
                    <a:pt x="334" y="420"/>
                  </a:lnTo>
                  <a:lnTo>
                    <a:pt x="336" y="420"/>
                  </a:lnTo>
                  <a:lnTo>
                    <a:pt x="336" y="422"/>
                  </a:lnTo>
                  <a:lnTo>
                    <a:pt x="336" y="424"/>
                  </a:lnTo>
                  <a:lnTo>
                    <a:pt x="334" y="424"/>
                  </a:lnTo>
                  <a:lnTo>
                    <a:pt x="334" y="426"/>
                  </a:lnTo>
                  <a:lnTo>
                    <a:pt x="334" y="428"/>
                  </a:lnTo>
                  <a:lnTo>
                    <a:pt x="334" y="426"/>
                  </a:lnTo>
                  <a:lnTo>
                    <a:pt x="336" y="426"/>
                  </a:lnTo>
                  <a:lnTo>
                    <a:pt x="336" y="424"/>
                  </a:lnTo>
                  <a:lnTo>
                    <a:pt x="336" y="426"/>
                  </a:lnTo>
                  <a:lnTo>
                    <a:pt x="336" y="424"/>
                  </a:lnTo>
                  <a:lnTo>
                    <a:pt x="338" y="424"/>
                  </a:lnTo>
                  <a:lnTo>
                    <a:pt x="336" y="424"/>
                  </a:lnTo>
                  <a:lnTo>
                    <a:pt x="338" y="424"/>
                  </a:lnTo>
                  <a:lnTo>
                    <a:pt x="338" y="426"/>
                  </a:lnTo>
                  <a:lnTo>
                    <a:pt x="338" y="424"/>
                  </a:lnTo>
                  <a:lnTo>
                    <a:pt x="338" y="422"/>
                  </a:lnTo>
                  <a:lnTo>
                    <a:pt x="336" y="422"/>
                  </a:lnTo>
                  <a:lnTo>
                    <a:pt x="336" y="420"/>
                  </a:lnTo>
                  <a:lnTo>
                    <a:pt x="334" y="420"/>
                  </a:lnTo>
                  <a:lnTo>
                    <a:pt x="336" y="420"/>
                  </a:lnTo>
                  <a:lnTo>
                    <a:pt x="334" y="420"/>
                  </a:lnTo>
                  <a:lnTo>
                    <a:pt x="334" y="419"/>
                  </a:lnTo>
                  <a:lnTo>
                    <a:pt x="334" y="420"/>
                  </a:lnTo>
                  <a:lnTo>
                    <a:pt x="334" y="419"/>
                  </a:lnTo>
                  <a:lnTo>
                    <a:pt x="333" y="419"/>
                  </a:lnTo>
                  <a:lnTo>
                    <a:pt x="333" y="417"/>
                  </a:lnTo>
                  <a:lnTo>
                    <a:pt x="333" y="419"/>
                  </a:lnTo>
                  <a:lnTo>
                    <a:pt x="333" y="417"/>
                  </a:lnTo>
                  <a:lnTo>
                    <a:pt x="333" y="415"/>
                  </a:lnTo>
                  <a:lnTo>
                    <a:pt x="334" y="415"/>
                  </a:lnTo>
                  <a:lnTo>
                    <a:pt x="334" y="413"/>
                  </a:lnTo>
                  <a:lnTo>
                    <a:pt x="336" y="413"/>
                  </a:lnTo>
                  <a:lnTo>
                    <a:pt x="336" y="415"/>
                  </a:lnTo>
                  <a:lnTo>
                    <a:pt x="334" y="415"/>
                  </a:lnTo>
                  <a:lnTo>
                    <a:pt x="334" y="417"/>
                  </a:lnTo>
                  <a:lnTo>
                    <a:pt x="334" y="419"/>
                  </a:lnTo>
                  <a:lnTo>
                    <a:pt x="334" y="417"/>
                  </a:lnTo>
                  <a:lnTo>
                    <a:pt x="334" y="419"/>
                  </a:lnTo>
                  <a:lnTo>
                    <a:pt x="336" y="419"/>
                  </a:lnTo>
                  <a:lnTo>
                    <a:pt x="334" y="419"/>
                  </a:lnTo>
                  <a:lnTo>
                    <a:pt x="336" y="419"/>
                  </a:lnTo>
                  <a:lnTo>
                    <a:pt x="338" y="417"/>
                  </a:lnTo>
                  <a:lnTo>
                    <a:pt x="338" y="419"/>
                  </a:lnTo>
                  <a:lnTo>
                    <a:pt x="338" y="417"/>
                  </a:lnTo>
                  <a:lnTo>
                    <a:pt x="338" y="419"/>
                  </a:lnTo>
                  <a:lnTo>
                    <a:pt x="338" y="417"/>
                  </a:lnTo>
                  <a:lnTo>
                    <a:pt x="338" y="419"/>
                  </a:lnTo>
                  <a:lnTo>
                    <a:pt x="338" y="417"/>
                  </a:lnTo>
                  <a:lnTo>
                    <a:pt x="338" y="415"/>
                  </a:lnTo>
                  <a:lnTo>
                    <a:pt x="340" y="415"/>
                  </a:lnTo>
                  <a:lnTo>
                    <a:pt x="340" y="413"/>
                  </a:lnTo>
                  <a:lnTo>
                    <a:pt x="342" y="413"/>
                  </a:lnTo>
                  <a:lnTo>
                    <a:pt x="344" y="413"/>
                  </a:lnTo>
                  <a:lnTo>
                    <a:pt x="346" y="413"/>
                  </a:lnTo>
                  <a:lnTo>
                    <a:pt x="348" y="413"/>
                  </a:lnTo>
                  <a:lnTo>
                    <a:pt x="350" y="413"/>
                  </a:lnTo>
                  <a:lnTo>
                    <a:pt x="350" y="411"/>
                  </a:lnTo>
                  <a:lnTo>
                    <a:pt x="350" y="409"/>
                  </a:lnTo>
                  <a:lnTo>
                    <a:pt x="350" y="411"/>
                  </a:lnTo>
                  <a:lnTo>
                    <a:pt x="348" y="411"/>
                  </a:lnTo>
                  <a:lnTo>
                    <a:pt x="346" y="411"/>
                  </a:lnTo>
                  <a:lnTo>
                    <a:pt x="348" y="411"/>
                  </a:lnTo>
                  <a:lnTo>
                    <a:pt x="348" y="413"/>
                  </a:lnTo>
                  <a:lnTo>
                    <a:pt x="346" y="413"/>
                  </a:lnTo>
                  <a:lnTo>
                    <a:pt x="346" y="411"/>
                  </a:lnTo>
                  <a:lnTo>
                    <a:pt x="346" y="409"/>
                  </a:lnTo>
                  <a:lnTo>
                    <a:pt x="348" y="409"/>
                  </a:lnTo>
                  <a:lnTo>
                    <a:pt x="346" y="409"/>
                  </a:lnTo>
                  <a:lnTo>
                    <a:pt x="348" y="409"/>
                  </a:lnTo>
                  <a:lnTo>
                    <a:pt x="346" y="409"/>
                  </a:lnTo>
                  <a:lnTo>
                    <a:pt x="346" y="407"/>
                  </a:lnTo>
                  <a:lnTo>
                    <a:pt x="346" y="409"/>
                  </a:lnTo>
                  <a:lnTo>
                    <a:pt x="344" y="409"/>
                  </a:lnTo>
                  <a:lnTo>
                    <a:pt x="346" y="409"/>
                  </a:lnTo>
                  <a:lnTo>
                    <a:pt x="344" y="409"/>
                  </a:lnTo>
                  <a:lnTo>
                    <a:pt x="344" y="407"/>
                  </a:lnTo>
                  <a:lnTo>
                    <a:pt x="342" y="407"/>
                  </a:lnTo>
                  <a:lnTo>
                    <a:pt x="342" y="409"/>
                  </a:lnTo>
                  <a:lnTo>
                    <a:pt x="340" y="409"/>
                  </a:lnTo>
                  <a:lnTo>
                    <a:pt x="340" y="407"/>
                  </a:lnTo>
                  <a:lnTo>
                    <a:pt x="340" y="409"/>
                  </a:lnTo>
                  <a:lnTo>
                    <a:pt x="340" y="407"/>
                  </a:lnTo>
                  <a:lnTo>
                    <a:pt x="338" y="407"/>
                  </a:lnTo>
                  <a:lnTo>
                    <a:pt x="338" y="409"/>
                  </a:lnTo>
                  <a:lnTo>
                    <a:pt x="340" y="409"/>
                  </a:lnTo>
                  <a:lnTo>
                    <a:pt x="338" y="409"/>
                  </a:lnTo>
                  <a:lnTo>
                    <a:pt x="338" y="407"/>
                  </a:lnTo>
                  <a:lnTo>
                    <a:pt x="340" y="407"/>
                  </a:lnTo>
                  <a:lnTo>
                    <a:pt x="340" y="405"/>
                  </a:lnTo>
                  <a:lnTo>
                    <a:pt x="342" y="405"/>
                  </a:lnTo>
                  <a:lnTo>
                    <a:pt x="342" y="403"/>
                  </a:lnTo>
                  <a:lnTo>
                    <a:pt x="342" y="405"/>
                  </a:lnTo>
                  <a:lnTo>
                    <a:pt x="344" y="405"/>
                  </a:lnTo>
                  <a:lnTo>
                    <a:pt x="346" y="405"/>
                  </a:lnTo>
                  <a:lnTo>
                    <a:pt x="346" y="403"/>
                  </a:lnTo>
                  <a:lnTo>
                    <a:pt x="346" y="405"/>
                  </a:lnTo>
                  <a:lnTo>
                    <a:pt x="344" y="405"/>
                  </a:lnTo>
                  <a:lnTo>
                    <a:pt x="344" y="407"/>
                  </a:lnTo>
                  <a:lnTo>
                    <a:pt x="346" y="407"/>
                  </a:lnTo>
                  <a:lnTo>
                    <a:pt x="348" y="407"/>
                  </a:lnTo>
                  <a:lnTo>
                    <a:pt x="346" y="407"/>
                  </a:lnTo>
                  <a:lnTo>
                    <a:pt x="348" y="407"/>
                  </a:lnTo>
                  <a:lnTo>
                    <a:pt x="346" y="407"/>
                  </a:lnTo>
                  <a:lnTo>
                    <a:pt x="344" y="407"/>
                  </a:lnTo>
                  <a:lnTo>
                    <a:pt x="346" y="407"/>
                  </a:lnTo>
                  <a:lnTo>
                    <a:pt x="346" y="405"/>
                  </a:lnTo>
                  <a:lnTo>
                    <a:pt x="346" y="407"/>
                  </a:lnTo>
                  <a:lnTo>
                    <a:pt x="348" y="407"/>
                  </a:lnTo>
                  <a:lnTo>
                    <a:pt x="348" y="405"/>
                  </a:lnTo>
                  <a:lnTo>
                    <a:pt x="350" y="407"/>
                  </a:lnTo>
                  <a:lnTo>
                    <a:pt x="348" y="407"/>
                  </a:lnTo>
                  <a:lnTo>
                    <a:pt x="350" y="407"/>
                  </a:lnTo>
                  <a:lnTo>
                    <a:pt x="352" y="407"/>
                  </a:lnTo>
                  <a:lnTo>
                    <a:pt x="354" y="407"/>
                  </a:lnTo>
                  <a:lnTo>
                    <a:pt x="354" y="409"/>
                  </a:lnTo>
                  <a:lnTo>
                    <a:pt x="352" y="409"/>
                  </a:lnTo>
                  <a:lnTo>
                    <a:pt x="352" y="411"/>
                  </a:lnTo>
                  <a:lnTo>
                    <a:pt x="352" y="413"/>
                  </a:lnTo>
                  <a:lnTo>
                    <a:pt x="352" y="411"/>
                  </a:lnTo>
                  <a:lnTo>
                    <a:pt x="354" y="411"/>
                  </a:lnTo>
                  <a:lnTo>
                    <a:pt x="352" y="411"/>
                  </a:lnTo>
                  <a:lnTo>
                    <a:pt x="354" y="411"/>
                  </a:lnTo>
                  <a:lnTo>
                    <a:pt x="356" y="411"/>
                  </a:lnTo>
                  <a:lnTo>
                    <a:pt x="354" y="411"/>
                  </a:lnTo>
                  <a:lnTo>
                    <a:pt x="356" y="411"/>
                  </a:lnTo>
                  <a:lnTo>
                    <a:pt x="356" y="413"/>
                  </a:lnTo>
                  <a:lnTo>
                    <a:pt x="354" y="413"/>
                  </a:lnTo>
                  <a:lnTo>
                    <a:pt x="354" y="411"/>
                  </a:lnTo>
                  <a:lnTo>
                    <a:pt x="354" y="413"/>
                  </a:lnTo>
                  <a:lnTo>
                    <a:pt x="356" y="413"/>
                  </a:lnTo>
                  <a:lnTo>
                    <a:pt x="356" y="411"/>
                  </a:lnTo>
                  <a:lnTo>
                    <a:pt x="356" y="409"/>
                  </a:lnTo>
                  <a:lnTo>
                    <a:pt x="354" y="409"/>
                  </a:lnTo>
                  <a:lnTo>
                    <a:pt x="354" y="407"/>
                  </a:lnTo>
                  <a:lnTo>
                    <a:pt x="356" y="407"/>
                  </a:lnTo>
                  <a:lnTo>
                    <a:pt x="356" y="409"/>
                  </a:lnTo>
                  <a:lnTo>
                    <a:pt x="356" y="407"/>
                  </a:lnTo>
                  <a:lnTo>
                    <a:pt x="354" y="407"/>
                  </a:lnTo>
                  <a:lnTo>
                    <a:pt x="354" y="405"/>
                  </a:lnTo>
                  <a:lnTo>
                    <a:pt x="354" y="407"/>
                  </a:lnTo>
                  <a:lnTo>
                    <a:pt x="352" y="407"/>
                  </a:lnTo>
                  <a:lnTo>
                    <a:pt x="352" y="405"/>
                  </a:lnTo>
                  <a:lnTo>
                    <a:pt x="352" y="407"/>
                  </a:lnTo>
                  <a:lnTo>
                    <a:pt x="352" y="405"/>
                  </a:lnTo>
                  <a:lnTo>
                    <a:pt x="354" y="405"/>
                  </a:lnTo>
                  <a:lnTo>
                    <a:pt x="352" y="405"/>
                  </a:lnTo>
                  <a:lnTo>
                    <a:pt x="352" y="403"/>
                  </a:lnTo>
                  <a:lnTo>
                    <a:pt x="354" y="403"/>
                  </a:lnTo>
                  <a:lnTo>
                    <a:pt x="354" y="401"/>
                  </a:lnTo>
                  <a:lnTo>
                    <a:pt x="356" y="401"/>
                  </a:lnTo>
                  <a:lnTo>
                    <a:pt x="357" y="401"/>
                  </a:lnTo>
                  <a:lnTo>
                    <a:pt x="359" y="401"/>
                  </a:lnTo>
                  <a:lnTo>
                    <a:pt x="359" y="403"/>
                  </a:lnTo>
                  <a:lnTo>
                    <a:pt x="357" y="403"/>
                  </a:lnTo>
                  <a:lnTo>
                    <a:pt x="359" y="403"/>
                  </a:lnTo>
                  <a:lnTo>
                    <a:pt x="357" y="403"/>
                  </a:lnTo>
                  <a:lnTo>
                    <a:pt x="356" y="403"/>
                  </a:lnTo>
                  <a:lnTo>
                    <a:pt x="354" y="403"/>
                  </a:lnTo>
                  <a:lnTo>
                    <a:pt x="354" y="405"/>
                  </a:lnTo>
                  <a:lnTo>
                    <a:pt x="356" y="405"/>
                  </a:lnTo>
                  <a:lnTo>
                    <a:pt x="357" y="405"/>
                  </a:lnTo>
                  <a:lnTo>
                    <a:pt x="356" y="405"/>
                  </a:lnTo>
                  <a:lnTo>
                    <a:pt x="357" y="405"/>
                  </a:lnTo>
                  <a:lnTo>
                    <a:pt x="357" y="407"/>
                  </a:lnTo>
                  <a:lnTo>
                    <a:pt x="359" y="407"/>
                  </a:lnTo>
                  <a:lnTo>
                    <a:pt x="359" y="405"/>
                  </a:lnTo>
                  <a:lnTo>
                    <a:pt x="359" y="407"/>
                  </a:lnTo>
                  <a:lnTo>
                    <a:pt x="357" y="407"/>
                  </a:lnTo>
                  <a:lnTo>
                    <a:pt x="359" y="407"/>
                  </a:lnTo>
                  <a:lnTo>
                    <a:pt x="357" y="407"/>
                  </a:lnTo>
                  <a:lnTo>
                    <a:pt x="357" y="409"/>
                  </a:lnTo>
                  <a:lnTo>
                    <a:pt x="357" y="411"/>
                  </a:lnTo>
                  <a:lnTo>
                    <a:pt x="357" y="409"/>
                  </a:lnTo>
                  <a:lnTo>
                    <a:pt x="357" y="411"/>
                  </a:lnTo>
                  <a:lnTo>
                    <a:pt x="357" y="413"/>
                  </a:lnTo>
                  <a:lnTo>
                    <a:pt x="357" y="411"/>
                  </a:lnTo>
                  <a:lnTo>
                    <a:pt x="357" y="413"/>
                  </a:lnTo>
                  <a:lnTo>
                    <a:pt x="356" y="413"/>
                  </a:lnTo>
                  <a:lnTo>
                    <a:pt x="357" y="413"/>
                  </a:lnTo>
                  <a:lnTo>
                    <a:pt x="356" y="413"/>
                  </a:lnTo>
                  <a:lnTo>
                    <a:pt x="357" y="413"/>
                  </a:lnTo>
                  <a:lnTo>
                    <a:pt x="356" y="413"/>
                  </a:lnTo>
                  <a:lnTo>
                    <a:pt x="356" y="415"/>
                  </a:lnTo>
                  <a:lnTo>
                    <a:pt x="356" y="413"/>
                  </a:lnTo>
                  <a:lnTo>
                    <a:pt x="354" y="413"/>
                  </a:lnTo>
                  <a:lnTo>
                    <a:pt x="354" y="415"/>
                  </a:lnTo>
                  <a:lnTo>
                    <a:pt x="356" y="415"/>
                  </a:lnTo>
                  <a:lnTo>
                    <a:pt x="354" y="415"/>
                  </a:lnTo>
                  <a:lnTo>
                    <a:pt x="352" y="415"/>
                  </a:lnTo>
                  <a:lnTo>
                    <a:pt x="352" y="417"/>
                  </a:lnTo>
                  <a:lnTo>
                    <a:pt x="354" y="417"/>
                  </a:lnTo>
                  <a:lnTo>
                    <a:pt x="352" y="417"/>
                  </a:lnTo>
                  <a:lnTo>
                    <a:pt x="352" y="419"/>
                  </a:lnTo>
                  <a:lnTo>
                    <a:pt x="350" y="419"/>
                  </a:lnTo>
                  <a:lnTo>
                    <a:pt x="352" y="419"/>
                  </a:lnTo>
                  <a:lnTo>
                    <a:pt x="350" y="419"/>
                  </a:lnTo>
                  <a:lnTo>
                    <a:pt x="352" y="419"/>
                  </a:lnTo>
                  <a:lnTo>
                    <a:pt x="352" y="420"/>
                  </a:lnTo>
                  <a:lnTo>
                    <a:pt x="350" y="420"/>
                  </a:lnTo>
                  <a:lnTo>
                    <a:pt x="350" y="422"/>
                  </a:lnTo>
                  <a:lnTo>
                    <a:pt x="348" y="422"/>
                  </a:lnTo>
                  <a:lnTo>
                    <a:pt x="348" y="424"/>
                  </a:lnTo>
                  <a:lnTo>
                    <a:pt x="346" y="424"/>
                  </a:lnTo>
                  <a:lnTo>
                    <a:pt x="346" y="426"/>
                  </a:lnTo>
                  <a:lnTo>
                    <a:pt x="344" y="428"/>
                  </a:lnTo>
                  <a:lnTo>
                    <a:pt x="344" y="430"/>
                  </a:lnTo>
                  <a:lnTo>
                    <a:pt x="346" y="430"/>
                  </a:lnTo>
                  <a:lnTo>
                    <a:pt x="348" y="430"/>
                  </a:lnTo>
                  <a:lnTo>
                    <a:pt x="348" y="432"/>
                  </a:lnTo>
                  <a:lnTo>
                    <a:pt x="350" y="432"/>
                  </a:lnTo>
                  <a:lnTo>
                    <a:pt x="350" y="430"/>
                  </a:lnTo>
                  <a:lnTo>
                    <a:pt x="350" y="432"/>
                  </a:lnTo>
                  <a:lnTo>
                    <a:pt x="352" y="432"/>
                  </a:lnTo>
                  <a:lnTo>
                    <a:pt x="352" y="430"/>
                  </a:lnTo>
                  <a:lnTo>
                    <a:pt x="352" y="432"/>
                  </a:lnTo>
                  <a:lnTo>
                    <a:pt x="352" y="434"/>
                  </a:lnTo>
                  <a:lnTo>
                    <a:pt x="350" y="434"/>
                  </a:lnTo>
                  <a:lnTo>
                    <a:pt x="352" y="434"/>
                  </a:lnTo>
                  <a:lnTo>
                    <a:pt x="352" y="436"/>
                  </a:lnTo>
                  <a:lnTo>
                    <a:pt x="350" y="436"/>
                  </a:lnTo>
                  <a:lnTo>
                    <a:pt x="348" y="436"/>
                  </a:lnTo>
                  <a:lnTo>
                    <a:pt x="346" y="436"/>
                  </a:lnTo>
                  <a:lnTo>
                    <a:pt x="346" y="438"/>
                  </a:lnTo>
                  <a:lnTo>
                    <a:pt x="346" y="436"/>
                  </a:lnTo>
                  <a:lnTo>
                    <a:pt x="346" y="438"/>
                  </a:lnTo>
                  <a:lnTo>
                    <a:pt x="346" y="436"/>
                  </a:lnTo>
                  <a:lnTo>
                    <a:pt x="346" y="438"/>
                  </a:lnTo>
                  <a:lnTo>
                    <a:pt x="344" y="438"/>
                  </a:lnTo>
                  <a:lnTo>
                    <a:pt x="344" y="440"/>
                  </a:lnTo>
                  <a:lnTo>
                    <a:pt x="342" y="440"/>
                  </a:lnTo>
                  <a:lnTo>
                    <a:pt x="340" y="440"/>
                  </a:lnTo>
                  <a:lnTo>
                    <a:pt x="340" y="442"/>
                  </a:lnTo>
                  <a:lnTo>
                    <a:pt x="338" y="442"/>
                  </a:lnTo>
                  <a:lnTo>
                    <a:pt x="338" y="444"/>
                  </a:lnTo>
                  <a:lnTo>
                    <a:pt x="336" y="444"/>
                  </a:lnTo>
                  <a:lnTo>
                    <a:pt x="336" y="445"/>
                  </a:lnTo>
                  <a:lnTo>
                    <a:pt x="336" y="444"/>
                  </a:lnTo>
                  <a:lnTo>
                    <a:pt x="336" y="445"/>
                  </a:lnTo>
                  <a:lnTo>
                    <a:pt x="334" y="445"/>
                  </a:lnTo>
                  <a:lnTo>
                    <a:pt x="334" y="444"/>
                  </a:lnTo>
                  <a:lnTo>
                    <a:pt x="334" y="445"/>
                  </a:lnTo>
                  <a:lnTo>
                    <a:pt x="334" y="447"/>
                  </a:lnTo>
                  <a:lnTo>
                    <a:pt x="336" y="447"/>
                  </a:lnTo>
                  <a:lnTo>
                    <a:pt x="336" y="449"/>
                  </a:lnTo>
                  <a:lnTo>
                    <a:pt x="336" y="451"/>
                  </a:lnTo>
                  <a:lnTo>
                    <a:pt x="336" y="449"/>
                  </a:lnTo>
                  <a:lnTo>
                    <a:pt x="334" y="449"/>
                  </a:lnTo>
                  <a:lnTo>
                    <a:pt x="336" y="449"/>
                  </a:lnTo>
                  <a:lnTo>
                    <a:pt x="336" y="451"/>
                  </a:lnTo>
                  <a:lnTo>
                    <a:pt x="338" y="451"/>
                  </a:lnTo>
                  <a:lnTo>
                    <a:pt x="338" y="453"/>
                  </a:lnTo>
                  <a:lnTo>
                    <a:pt x="340" y="453"/>
                  </a:lnTo>
                  <a:lnTo>
                    <a:pt x="340" y="451"/>
                  </a:lnTo>
                  <a:lnTo>
                    <a:pt x="342" y="451"/>
                  </a:lnTo>
                  <a:lnTo>
                    <a:pt x="342" y="453"/>
                  </a:lnTo>
                  <a:lnTo>
                    <a:pt x="342" y="455"/>
                  </a:lnTo>
                  <a:lnTo>
                    <a:pt x="342" y="453"/>
                  </a:lnTo>
                  <a:lnTo>
                    <a:pt x="342" y="451"/>
                  </a:lnTo>
                  <a:lnTo>
                    <a:pt x="344" y="451"/>
                  </a:lnTo>
                  <a:lnTo>
                    <a:pt x="346" y="451"/>
                  </a:lnTo>
                  <a:lnTo>
                    <a:pt x="346" y="453"/>
                  </a:lnTo>
                  <a:lnTo>
                    <a:pt x="344" y="453"/>
                  </a:lnTo>
                  <a:lnTo>
                    <a:pt x="346" y="453"/>
                  </a:lnTo>
                  <a:lnTo>
                    <a:pt x="346" y="455"/>
                  </a:lnTo>
                  <a:lnTo>
                    <a:pt x="346" y="453"/>
                  </a:lnTo>
                  <a:lnTo>
                    <a:pt x="348" y="453"/>
                  </a:lnTo>
                  <a:lnTo>
                    <a:pt x="348" y="455"/>
                  </a:lnTo>
                  <a:lnTo>
                    <a:pt x="348" y="457"/>
                  </a:lnTo>
                  <a:lnTo>
                    <a:pt x="350" y="457"/>
                  </a:lnTo>
                  <a:lnTo>
                    <a:pt x="352" y="457"/>
                  </a:lnTo>
                  <a:lnTo>
                    <a:pt x="354" y="457"/>
                  </a:lnTo>
                  <a:lnTo>
                    <a:pt x="352" y="457"/>
                  </a:lnTo>
                  <a:lnTo>
                    <a:pt x="354" y="457"/>
                  </a:lnTo>
                  <a:lnTo>
                    <a:pt x="356" y="457"/>
                  </a:lnTo>
                  <a:lnTo>
                    <a:pt x="354" y="457"/>
                  </a:lnTo>
                  <a:lnTo>
                    <a:pt x="356" y="457"/>
                  </a:lnTo>
                  <a:lnTo>
                    <a:pt x="356" y="455"/>
                  </a:lnTo>
                  <a:lnTo>
                    <a:pt x="356" y="457"/>
                  </a:lnTo>
                  <a:lnTo>
                    <a:pt x="356" y="455"/>
                  </a:lnTo>
                  <a:lnTo>
                    <a:pt x="357" y="455"/>
                  </a:lnTo>
                  <a:lnTo>
                    <a:pt x="356" y="455"/>
                  </a:lnTo>
                  <a:lnTo>
                    <a:pt x="356" y="453"/>
                  </a:lnTo>
                  <a:lnTo>
                    <a:pt x="357" y="453"/>
                  </a:lnTo>
                  <a:lnTo>
                    <a:pt x="359" y="453"/>
                  </a:lnTo>
                  <a:lnTo>
                    <a:pt x="361" y="453"/>
                  </a:lnTo>
                  <a:lnTo>
                    <a:pt x="359" y="453"/>
                  </a:lnTo>
                  <a:lnTo>
                    <a:pt x="357" y="453"/>
                  </a:lnTo>
                  <a:lnTo>
                    <a:pt x="359" y="453"/>
                  </a:lnTo>
                  <a:lnTo>
                    <a:pt x="361" y="453"/>
                  </a:lnTo>
                  <a:lnTo>
                    <a:pt x="363" y="453"/>
                  </a:lnTo>
                  <a:lnTo>
                    <a:pt x="361" y="453"/>
                  </a:lnTo>
                  <a:lnTo>
                    <a:pt x="363" y="453"/>
                  </a:lnTo>
                  <a:lnTo>
                    <a:pt x="361" y="453"/>
                  </a:lnTo>
                  <a:lnTo>
                    <a:pt x="363" y="453"/>
                  </a:lnTo>
                  <a:lnTo>
                    <a:pt x="363" y="455"/>
                  </a:lnTo>
                  <a:lnTo>
                    <a:pt x="363" y="453"/>
                  </a:lnTo>
                  <a:lnTo>
                    <a:pt x="365" y="453"/>
                  </a:lnTo>
                  <a:lnTo>
                    <a:pt x="363" y="453"/>
                  </a:lnTo>
                  <a:lnTo>
                    <a:pt x="363" y="451"/>
                  </a:lnTo>
                  <a:lnTo>
                    <a:pt x="365" y="451"/>
                  </a:lnTo>
                  <a:lnTo>
                    <a:pt x="365" y="449"/>
                  </a:lnTo>
                  <a:lnTo>
                    <a:pt x="367" y="449"/>
                  </a:lnTo>
                  <a:lnTo>
                    <a:pt x="367" y="447"/>
                  </a:lnTo>
                  <a:lnTo>
                    <a:pt x="369" y="445"/>
                  </a:lnTo>
                  <a:lnTo>
                    <a:pt x="371" y="444"/>
                  </a:lnTo>
                  <a:lnTo>
                    <a:pt x="371" y="442"/>
                  </a:lnTo>
                  <a:lnTo>
                    <a:pt x="371" y="440"/>
                  </a:lnTo>
                  <a:lnTo>
                    <a:pt x="373" y="440"/>
                  </a:lnTo>
                  <a:lnTo>
                    <a:pt x="375" y="440"/>
                  </a:lnTo>
                  <a:lnTo>
                    <a:pt x="375" y="438"/>
                  </a:lnTo>
                  <a:lnTo>
                    <a:pt x="377" y="438"/>
                  </a:lnTo>
                  <a:lnTo>
                    <a:pt x="377" y="440"/>
                  </a:lnTo>
                  <a:lnTo>
                    <a:pt x="379" y="440"/>
                  </a:lnTo>
                  <a:lnTo>
                    <a:pt x="379" y="442"/>
                  </a:lnTo>
                  <a:lnTo>
                    <a:pt x="381" y="442"/>
                  </a:lnTo>
                  <a:lnTo>
                    <a:pt x="381" y="440"/>
                  </a:lnTo>
                  <a:lnTo>
                    <a:pt x="381" y="442"/>
                  </a:lnTo>
                  <a:lnTo>
                    <a:pt x="381" y="440"/>
                  </a:lnTo>
                  <a:lnTo>
                    <a:pt x="381" y="442"/>
                  </a:lnTo>
                  <a:lnTo>
                    <a:pt x="382" y="442"/>
                  </a:lnTo>
                  <a:lnTo>
                    <a:pt x="382" y="444"/>
                  </a:lnTo>
                  <a:lnTo>
                    <a:pt x="382" y="442"/>
                  </a:lnTo>
                  <a:lnTo>
                    <a:pt x="381" y="442"/>
                  </a:lnTo>
                  <a:lnTo>
                    <a:pt x="381" y="444"/>
                  </a:lnTo>
                  <a:lnTo>
                    <a:pt x="382" y="442"/>
                  </a:lnTo>
                  <a:lnTo>
                    <a:pt x="382" y="444"/>
                  </a:lnTo>
                  <a:lnTo>
                    <a:pt x="382" y="442"/>
                  </a:lnTo>
                  <a:lnTo>
                    <a:pt x="382" y="444"/>
                  </a:lnTo>
                  <a:lnTo>
                    <a:pt x="384" y="444"/>
                  </a:lnTo>
                  <a:lnTo>
                    <a:pt x="386" y="444"/>
                  </a:lnTo>
                  <a:lnTo>
                    <a:pt x="388" y="444"/>
                  </a:lnTo>
                  <a:lnTo>
                    <a:pt x="388" y="445"/>
                  </a:lnTo>
                  <a:lnTo>
                    <a:pt x="390" y="445"/>
                  </a:lnTo>
                  <a:lnTo>
                    <a:pt x="390" y="447"/>
                  </a:lnTo>
                  <a:lnTo>
                    <a:pt x="392" y="447"/>
                  </a:lnTo>
                  <a:lnTo>
                    <a:pt x="394" y="447"/>
                  </a:lnTo>
                  <a:lnTo>
                    <a:pt x="394" y="449"/>
                  </a:lnTo>
                  <a:lnTo>
                    <a:pt x="394" y="447"/>
                  </a:lnTo>
                  <a:lnTo>
                    <a:pt x="394" y="449"/>
                  </a:lnTo>
                  <a:lnTo>
                    <a:pt x="394" y="447"/>
                  </a:lnTo>
                  <a:lnTo>
                    <a:pt x="394" y="449"/>
                  </a:lnTo>
                  <a:lnTo>
                    <a:pt x="396" y="449"/>
                  </a:lnTo>
                  <a:lnTo>
                    <a:pt x="398" y="449"/>
                  </a:lnTo>
                  <a:lnTo>
                    <a:pt x="398" y="451"/>
                  </a:lnTo>
                  <a:lnTo>
                    <a:pt x="400" y="451"/>
                  </a:lnTo>
                  <a:lnTo>
                    <a:pt x="400" y="453"/>
                  </a:lnTo>
                  <a:lnTo>
                    <a:pt x="402" y="455"/>
                  </a:lnTo>
                  <a:lnTo>
                    <a:pt x="404" y="455"/>
                  </a:lnTo>
                  <a:lnTo>
                    <a:pt x="404" y="457"/>
                  </a:lnTo>
                  <a:lnTo>
                    <a:pt x="404" y="455"/>
                  </a:lnTo>
                  <a:lnTo>
                    <a:pt x="404" y="457"/>
                  </a:lnTo>
                  <a:lnTo>
                    <a:pt x="406" y="457"/>
                  </a:lnTo>
                  <a:lnTo>
                    <a:pt x="406" y="459"/>
                  </a:lnTo>
                  <a:lnTo>
                    <a:pt x="406" y="461"/>
                  </a:lnTo>
                  <a:lnTo>
                    <a:pt x="407" y="461"/>
                  </a:lnTo>
                  <a:lnTo>
                    <a:pt x="407" y="463"/>
                  </a:lnTo>
                  <a:lnTo>
                    <a:pt x="407" y="465"/>
                  </a:lnTo>
                  <a:lnTo>
                    <a:pt x="409" y="465"/>
                  </a:lnTo>
                  <a:lnTo>
                    <a:pt x="409" y="467"/>
                  </a:lnTo>
                  <a:lnTo>
                    <a:pt x="411" y="467"/>
                  </a:lnTo>
                  <a:lnTo>
                    <a:pt x="411" y="468"/>
                  </a:lnTo>
                  <a:lnTo>
                    <a:pt x="411" y="470"/>
                  </a:lnTo>
                  <a:lnTo>
                    <a:pt x="411" y="472"/>
                  </a:lnTo>
                  <a:lnTo>
                    <a:pt x="411" y="474"/>
                  </a:lnTo>
                  <a:lnTo>
                    <a:pt x="388" y="528"/>
                  </a:lnTo>
                  <a:lnTo>
                    <a:pt x="382" y="543"/>
                  </a:lnTo>
                  <a:lnTo>
                    <a:pt x="381" y="543"/>
                  </a:lnTo>
                  <a:lnTo>
                    <a:pt x="379" y="547"/>
                  </a:lnTo>
                  <a:lnTo>
                    <a:pt x="379" y="549"/>
                  </a:lnTo>
                  <a:lnTo>
                    <a:pt x="377" y="551"/>
                  </a:lnTo>
                  <a:lnTo>
                    <a:pt x="365" y="574"/>
                  </a:lnTo>
                  <a:lnTo>
                    <a:pt x="367" y="576"/>
                  </a:lnTo>
                  <a:lnTo>
                    <a:pt x="369" y="580"/>
                  </a:lnTo>
                  <a:lnTo>
                    <a:pt x="373" y="588"/>
                  </a:lnTo>
                  <a:lnTo>
                    <a:pt x="375" y="589"/>
                  </a:lnTo>
                  <a:lnTo>
                    <a:pt x="377" y="593"/>
                  </a:lnTo>
                  <a:lnTo>
                    <a:pt x="377" y="595"/>
                  </a:lnTo>
                  <a:lnTo>
                    <a:pt x="379" y="597"/>
                  </a:lnTo>
                  <a:lnTo>
                    <a:pt x="379" y="599"/>
                  </a:lnTo>
                  <a:lnTo>
                    <a:pt x="382" y="605"/>
                  </a:lnTo>
                  <a:lnTo>
                    <a:pt x="384" y="607"/>
                  </a:lnTo>
                  <a:lnTo>
                    <a:pt x="384" y="609"/>
                  </a:lnTo>
                  <a:lnTo>
                    <a:pt x="384" y="611"/>
                  </a:lnTo>
                  <a:lnTo>
                    <a:pt x="386" y="611"/>
                  </a:lnTo>
                  <a:lnTo>
                    <a:pt x="386" y="612"/>
                  </a:lnTo>
                  <a:lnTo>
                    <a:pt x="386" y="614"/>
                  </a:lnTo>
                  <a:lnTo>
                    <a:pt x="388" y="614"/>
                  </a:lnTo>
                  <a:lnTo>
                    <a:pt x="388" y="616"/>
                  </a:lnTo>
                  <a:lnTo>
                    <a:pt x="390" y="618"/>
                  </a:lnTo>
                  <a:lnTo>
                    <a:pt x="390" y="620"/>
                  </a:lnTo>
                  <a:lnTo>
                    <a:pt x="394" y="626"/>
                  </a:lnTo>
                  <a:lnTo>
                    <a:pt x="394" y="628"/>
                  </a:lnTo>
                  <a:lnTo>
                    <a:pt x="396" y="628"/>
                  </a:lnTo>
                  <a:lnTo>
                    <a:pt x="398" y="630"/>
                  </a:lnTo>
                  <a:lnTo>
                    <a:pt x="398" y="632"/>
                  </a:lnTo>
                  <a:lnTo>
                    <a:pt x="400" y="632"/>
                  </a:lnTo>
                  <a:lnTo>
                    <a:pt x="402" y="634"/>
                  </a:lnTo>
                  <a:lnTo>
                    <a:pt x="404" y="635"/>
                  </a:lnTo>
                  <a:lnTo>
                    <a:pt x="404" y="637"/>
                  </a:lnTo>
                  <a:lnTo>
                    <a:pt x="406" y="637"/>
                  </a:lnTo>
                  <a:lnTo>
                    <a:pt x="406" y="639"/>
                  </a:lnTo>
                  <a:lnTo>
                    <a:pt x="407" y="641"/>
                  </a:lnTo>
                  <a:lnTo>
                    <a:pt x="409" y="643"/>
                  </a:lnTo>
                  <a:lnTo>
                    <a:pt x="411" y="645"/>
                  </a:lnTo>
                  <a:lnTo>
                    <a:pt x="413" y="649"/>
                  </a:lnTo>
                  <a:lnTo>
                    <a:pt x="415" y="649"/>
                  </a:lnTo>
                  <a:lnTo>
                    <a:pt x="419" y="653"/>
                  </a:lnTo>
                  <a:lnTo>
                    <a:pt x="421" y="655"/>
                  </a:lnTo>
                  <a:lnTo>
                    <a:pt x="421" y="657"/>
                  </a:lnTo>
                  <a:lnTo>
                    <a:pt x="429" y="668"/>
                  </a:lnTo>
                  <a:lnTo>
                    <a:pt x="454" y="710"/>
                  </a:lnTo>
                  <a:lnTo>
                    <a:pt x="465" y="730"/>
                  </a:lnTo>
                  <a:lnTo>
                    <a:pt x="494" y="779"/>
                  </a:lnTo>
                  <a:lnTo>
                    <a:pt x="515" y="787"/>
                  </a:lnTo>
                  <a:lnTo>
                    <a:pt x="517" y="787"/>
                  </a:lnTo>
                  <a:lnTo>
                    <a:pt x="542" y="797"/>
                  </a:lnTo>
                  <a:lnTo>
                    <a:pt x="561" y="829"/>
                  </a:lnTo>
                  <a:lnTo>
                    <a:pt x="569" y="843"/>
                  </a:lnTo>
                  <a:lnTo>
                    <a:pt x="571" y="847"/>
                  </a:lnTo>
                  <a:lnTo>
                    <a:pt x="573" y="851"/>
                  </a:lnTo>
                  <a:lnTo>
                    <a:pt x="576" y="852"/>
                  </a:lnTo>
                  <a:lnTo>
                    <a:pt x="580" y="852"/>
                  </a:lnTo>
                  <a:lnTo>
                    <a:pt x="582" y="854"/>
                  </a:lnTo>
                  <a:lnTo>
                    <a:pt x="584" y="854"/>
                  </a:lnTo>
                  <a:lnTo>
                    <a:pt x="586" y="856"/>
                  </a:lnTo>
                  <a:lnTo>
                    <a:pt x="592" y="858"/>
                  </a:lnTo>
                  <a:lnTo>
                    <a:pt x="594" y="858"/>
                  </a:lnTo>
                  <a:lnTo>
                    <a:pt x="599" y="862"/>
                  </a:lnTo>
                  <a:lnTo>
                    <a:pt x="601" y="862"/>
                  </a:lnTo>
                  <a:lnTo>
                    <a:pt x="609" y="866"/>
                  </a:lnTo>
                  <a:lnTo>
                    <a:pt x="611" y="866"/>
                  </a:lnTo>
                  <a:lnTo>
                    <a:pt x="617" y="868"/>
                  </a:lnTo>
                  <a:lnTo>
                    <a:pt x="623" y="870"/>
                  </a:lnTo>
                  <a:lnTo>
                    <a:pt x="624" y="872"/>
                  </a:lnTo>
                  <a:lnTo>
                    <a:pt x="628" y="874"/>
                  </a:lnTo>
                  <a:lnTo>
                    <a:pt x="630" y="874"/>
                  </a:lnTo>
                  <a:lnTo>
                    <a:pt x="632" y="875"/>
                  </a:lnTo>
                  <a:lnTo>
                    <a:pt x="636" y="875"/>
                  </a:lnTo>
                  <a:lnTo>
                    <a:pt x="636" y="877"/>
                  </a:lnTo>
                  <a:lnTo>
                    <a:pt x="638" y="877"/>
                  </a:lnTo>
                  <a:lnTo>
                    <a:pt x="640" y="877"/>
                  </a:lnTo>
                  <a:lnTo>
                    <a:pt x="642" y="879"/>
                  </a:lnTo>
                  <a:lnTo>
                    <a:pt x="644" y="879"/>
                  </a:lnTo>
                  <a:lnTo>
                    <a:pt x="646" y="879"/>
                  </a:lnTo>
                  <a:lnTo>
                    <a:pt x="647" y="881"/>
                  </a:lnTo>
                  <a:lnTo>
                    <a:pt x="649" y="881"/>
                  </a:lnTo>
                  <a:lnTo>
                    <a:pt x="649" y="883"/>
                  </a:lnTo>
                  <a:lnTo>
                    <a:pt x="651" y="883"/>
                  </a:lnTo>
                  <a:lnTo>
                    <a:pt x="655" y="885"/>
                  </a:lnTo>
                  <a:lnTo>
                    <a:pt x="657" y="885"/>
                  </a:lnTo>
                  <a:lnTo>
                    <a:pt x="659" y="885"/>
                  </a:lnTo>
                  <a:lnTo>
                    <a:pt x="663" y="887"/>
                  </a:lnTo>
                  <a:lnTo>
                    <a:pt x="665" y="889"/>
                  </a:lnTo>
                  <a:lnTo>
                    <a:pt x="667" y="889"/>
                  </a:lnTo>
                  <a:lnTo>
                    <a:pt x="671" y="891"/>
                  </a:lnTo>
                  <a:lnTo>
                    <a:pt x="672" y="891"/>
                  </a:lnTo>
                  <a:lnTo>
                    <a:pt x="674" y="893"/>
                  </a:lnTo>
                  <a:lnTo>
                    <a:pt x="678" y="893"/>
                  </a:lnTo>
                  <a:lnTo>
                    <a:pt x="678" y="895"/>
                  </a:lnTo>
                  <a:lnTo>
                    <a:pt x="680" y="895"/>
                  </a:lnTo>
                  <a:lnTo>
                    <a:pt x="682" y="895"/>
                  </a:lnTo>
                  <a:lnTo>
                    <a:pt x="686" y="897"/>
                  </a:lnTo>
                  <a:lnTo>
                    <a:pt x="690" y="899"/>
                  </a:lnTo>
                  <a:lnTo>
                    <a:pt x="692" y="900"/>
                  </a:lnTo>
                  <a:lnTo>
                    <a:pt x="694" y="900"/>
                  </a:lnTo>
                  <a:lnTo>
                    <a:pt x="695" y="900"/>
                  </a:lnTo>
                  <a:lnTo>
                    <a:pt x="697" y="902"/>
                  </a:lnTo>
                  <a:lnTo>
                    <a:pt x="701" y="904"/>
                  </a:lnTo>
                  <a:lnTo>
                    <a:pt x="703" y="904"/>
                  </a:lnTo>
                  <a:lnTo>
                    <a:pt x="705" y="904"/>
                  </a:lnTo>
                  <a:lnTo>
                    <a:pt x="705" y="906"/>
                  </a:lnTo>
                  <a:lnTo>
                    <a:pt x="707" y="906"/>
                  </a:lnTo>
                  <a:lnTo>
                    <a:pt x="709" y="906"/>
                  </a:lnTo>
                  <a:lnTo>
                    <a:pt x="715" y="910"/>
                  </a:lnTo>
                  <a:lnTo>
                    <a:pt x="719" y="910"/>
                  </a:lnTo>
                  <a:lnTo>
                    <a:pt x="719" y="912"/>
                  </a:lnTo>
                  <a:lnTo>
                    <a:pt x="726" y="914"/>
                  </a:lnTo>
                  <a:lnTo>
                    <a:pt x="730" y="916"/>
                  </a:lnTo>
                  <a:lnTo>
                    <a:pt x="732" y="918"/>
                  </a:lnTo>
                  <a:lnTo>
                    <a:pt x="734" y="918"/>
                  </a:lnTo>
                  <a:lnTo>
                    <a:pt x="736" y="918"/>
                  </a:lnTo>
                  <a:lnTo>
                    <a:pt x="740" y="920"/>
                  </a:lnTo>
                  <a:lnTo>
                    <a:pt x="742" y="922"/>
                  </a:lnTo>
                  <a:lnTo>
                    <a:pt x="742" y="923"/>
                  </a:lnTo>
                  <a:lnTo>
                    <a:pt x="742" y="925"/>
                  </a:lnTo>
                  <a:lnTo>
                    <a:pt x="742" y="927"/>
                  </a:lnTo>
                  <a:lnTo>
                    <a:pt x="742" y="929"/>
                  </a:lnTo>
                  <a:lnTo>
                    <a:pt x="742" y="931"/>
                  </a:lnTo>
                  <a:lnTo>
                    <a:pt x="742" y="933"/>
                  </a:lnTo>
                  <a:lnTo>
                    <a:pt x="740" y="933"/>
                  </a:lnTo>
                  <a:lnTo>
                    <a:pt x="740" y="935"/>
                  </a:lnTo>
                  <a:lnTo>
                    <a:pt x="740" y="937"/>
                  </a:lnTo>
                  <a:lnTo>
                    <a:pt x="740" y="939"/>
                  </a:lnTo>
                  <a:lnTo>
                    <a:pt x="740" y="941"/>
                  </a:lnTo>
                  <a:lnTo>
                    <a:pt x="740" y="943"/>
                  </a:lnTo>
                  <a:lnTo>
                    <a:pt x="740" y="945"/>
                  </a:lnTo>
                  <a:lnTo>
                    <a:pt x="738" y="945"/>
                  </a:lnTo>
                  <a:lnTo>
                    <a:pt x="738" y="947"/>
                  </a:lnTo>
                  <a:lnTo>
                    <a:pt x="738" y="948"/>
                  </a:lnTo>
                  <a:lnTo>
                    <a:pt x="738" y="950"/>
                  </a:lnTo>
                  <a:lnTo>
                    <a:pt x="738" y="952"/>
                  </a:lnTo>
                  <a:lnTo>
                    <a:pt x="738" y="954"/>
                  </a:lnTo>
                  <a:lnTo>
                    <a:pt x="738" y="956"/>
                  </a:lnTo>
                  <a:lnTo>
                    <a:pt x="736" y="956"/>
                  </a:lnTo>
                  <a:lnTo>
                    <a:pt x="736" y="958"/>
                  </a:lnTo>
                  <a:lnTo>
                    <a:pt x="736" y="960"/>
                  </a:lnTo>
                  <a:lnTo>
                    <a:pt x="736" y="962"/>
                  </a:lnTo>
                  <a:lnTo>
                    <a:pt x="736" y="964"/>
                  </a:lnTo>
                  <a:lnTo>
                    <a:pt x="736" y="966"/>
                  </a:lnTo>
                  <a:lnTo>
                    <a:pt x="736" y="968"/>
                  </a:lnTo>
                  <a:lnTo>
                    <a:pt x="734" y="968"/>
                  </a:lnTo>
                  <a:lnTo>
                    <a:pt x="734" y="970"/>
                  </a:lnTo>
                  <a:lnTo>
                    <a:pt x="734" y="971"/>
                  </a:lnTo>
                  <a:lnTo>
                    <a:pt x="734" y="973"/>
                  </a:lnTo>
                  <a:lnTo>
                    <a:pt x="734" y="975"/>
                  </a:lnTo>
                  <a:lnTo>
                    <a:pt x="734" y="977"/>
                  </a:lnTo>
                  <a:lnTo>
                    <a:pt x="734" y="979"/>
                  </a:lnTo>
                  <a:lnTo>
                    <a:pt x="732" y="981"/>
                  </a:lnTo>
                  <a:lnTo>
                    <a:pt x="732" y="983"/>
                  </a:lnTo>
                  <a:lnTo>
                    <a:pt x="732" y="985"/>
                  </a:lnTo>
                  <a:lnTo>
                    <a:pt x="732" y="987"/>
                  </a:lnTo>
                  <a:lnTo>
                    <a:pt x="732" y="989"/>
                  </a:lnTo>
                  <a:lnTo>
                    <a:pt x="732" y="991"/>
                  </a:lnTo>
                  <a:lnTo>
                    <a:pt x="732" y="993"/>
                  </a:lnTo>
                  <a:lnTo>
                    <a:pt x="730" y="993"/>
                  </a:lnTo>
                  <a:lnTo>
                    <a:pt x="730" y="995"/>
                  </a:lnTo>
                  <a:lnTo>
                    <a:pt x="730" y="996"/>
                  </a:lnTo>
                  <a:lnTo>
                    <a:pt x="730" y="998"/>
                  </a:lnTo>
                  <a:lnTo>
                    <a:pt x="730" y="1000"/>
                  </a:lnTo>
                  <a:lnTo>
                    <a:pt x="730" y="1002"/>
                  </a:lnTo>
                  <a:lnTo>
                    <a:pt x="730" y="1004"/>
                  </a:lnTo>
                  <a:lnTo>
                    <a:pt x="728" y="1004"/>
                  </a:lnTo>
                  <a:lnTo>
                    <a:pt x="728" y="1006"/>
                  </a:lnTo>
                  <a:lnTo>
                    <a:pt x="728" y="1008"/>
                  </a:lnTo>
                  <a:lnTo>
                    <a:pt x="728" y="1010"/>
                  </a:lnTo>
                  <a:lnTo>
                    <a:pt x="728" y="1012"/>
                  </a:lnTo>
                  <a:lnTo>
                    <a:pt x="728" y="1014"/>
                  </a:lnTo>
                  <a:lnTo>
                    <a:pt x="728" y="1016"/>
                  </a:lnTo>
                  <a:lnTo>
                    <a:pt x="726" y="1016"/>
                  </a:lnTo>
                  <a:lnTo>
                    <a:pt x="726" y="1018"/>
                  </a:lnTo>
                  <a:lnTo>
                    <a:pt x="726" y="1019"/>
                  </a:lnTo>
                  <a:lnTo>
                    <a:pt x="726" y="1021"/>
                  </a:lnTo>
                  <a:lnTo>
                    <a:pt x="726" y="1023"/>
                  </a:lnTo>
                  <a:lnTo>
                    <a:pt x="726" y="1025"/>
                  </a:lnTo>
                  <a:lnTo>
                    <a:pt x="726" y="1027"/>
                  </a:lnTo>
                  <a:lnTo>
                    <a:pt x="724" y="1027"/>
                  </a:lnTo>
                  <a:lnTo>
                    <a:pt x="724" y="1029"/>
                  </a:lnTo>
                  <a:lnTo>
                    <a:pt x="724" y="1031"/>
                  </a:lnTo>
                  <a:lnTo>
                    <a:pt x="724" y="1033"/>
                  </a:lnTo>
                  <a:lnTo>
                    <a:pt x="724" y="1035"/>
                  </a:lnTo>
                  <a:lnTo>
                    <a:pt x="724" y="1037"/>
                  </a:lnTo>
                  <a:lnTo>
                    <a:pt x="724" y="1039"/>
                  </a:lnTo>
                  <a:lnTo>
                    <a:pt x="724" y="1041"/>
                  </a:lnTo>
                  <a:lnTo>
                    <a:pt x="722" y="1041"/>
                  </a:lnTo>
                  <a:lnTo>
                    <a:pt x="722" y="1043"/>
                  </a:lnTo>
                  <a:lnTo>
                    <a:pt x="722" y="1044"/>
                  </a:lnTo>
                  <a:lnTo>
                    <a:pt x="722" y="1046"/>
                  </a:lnTo>
                  <a:lnTo>
                    <a:pt x="722" y="1048"/>
                  </a:lnTo>
                  <a:lnTo>
                    <a:pt x="722" y="1050"/>
                  </a:lnTo>
                  <a:lnTo>
                    <a:pt x="722" y="1052"/>
                  </a:lnTo>
                  <a:lnTo>
                    <a:pt x="720" y="1052"/>
                  </a:lnTo>
                  <a:lnTo>
                    <a:pt x="720" y="1054"/>
                  </a:lnTo>
                  <a:lnTo>
                    <a:pt x="720" y="1056"/>
                  </a:lnTo>
                  <a:lnTo>
                    <a:pt x="720" y="1058"/>
                  </a:lnTo>
                  <a:lnTo>
                    <a:pt x="720" y="1060"/>
                  </a:lnTo>
                  <a:lnTo>
                    <a:pt x="720" y="1062"/>
                  </a:lnTo>
                  <a:lnTo>
                    <a:pt x="720" y="1064"/>
                  </a:lnTo>
                  <a:lnTo>
                    <a:pt x="719" y="1064"/>
                  </a:lnTo>
                  <a:lnTo>
                    <a:pt x="719" y="1066"/>
                  </a:lnTo>
                  <a:lnTo>
                    <a:pt x="719" y="1067"/>
                  </a:lnTo>
                  <a:lnTo>
                    <a:pt x="719" y="1069"/>
                  </a:lnTo>
                  <a:lnTo>
                    <a:pt x="719" y="1071"/>
                  </a:lnTo>
                  <a:lnTo>
                    <a:pt x="719" y="1073"/>
                  </a:lnTo>
                  <a:lnTo>
                    <a:pt x="719" y="1075"/>
                  </a:lnTo>
                  <a:lnTo>
                    <a:pt x="717" y="1075"/>
                  </a:lnTo>
                  <a:lnTo>
                    <a:pt x="717" y="1077"/>
                  </a:lnTo>
                  <a:lnTo>
                    <a:pt x="717" y="1079"/>
                  </a:lnTo>
                  <a:lnTo>
                    <a:pt x="717" y="1081"/>
                  </a:lnTo>
                  <a:lnTo>
                    <a:pt x="717" y="1083"/>
                  </a:lnTo>
                  <a:lnTo>
                    <a:pt x="717" y="1085"/>
                  </a:lnTo>
                  <a:lnTo>
                    <a:pt x="717" y="1087"/>
                  </a:lnTo>
                  <a:lnTo>
                    <a:pt x="715" y="1089"/>
                  </a:lnTo>
                  <a:lnTo>
                    <a:pt x="715" y="1091"/>
                  </a:lnTo>
                  <a:lnTo>
                    <a:pt x="715" y="1092"/>
                  </a:lnTo>
                  <a:lnTo>
                    <a:pt x="715" y="1094"/>
                  </a:lnTo>
                  <a:lnTo>
                    <a:pt x="715" y="1096"/>
                  </a:lnTo>
                  <a:lnTo>
                    <a:pt x="715" y="1098"/>
                  </a:lnTo>
                  <a:lnTo>
                    <a:pt x="715" y="1100"/>
                  </a:lnTo>
                  <a:lnTo>
                    <a:pt x="713" y="1100"/>
                  </a:lnTo>
                  <a:lnTo>
                    <a:pt x="713" y="1102"/>
                  </a:lnTo>
                  <a:lnTo>
                    <a:pt x="713" y="1104"/>
                  </a:lnTo>
                  <a:lnTo>
                    <a:pt x="713" y="1106"/>
                  </a:lnTo>
                  <a:lnTo>
                    <a:pt x="713" y="1108"/>
                  </a:lnTo>
                  <a:lnTo>
                    <a:pt x="713" y="1110"/>
                  </a:lnTo>
                  <a:lnTo>
                    <a:pt x="713" y="1112"/>
                  </a:lnTo>
                  <a:lnTo>
                    <a:pt x="711" y="1112"/>
                  </a:lnTo>
                  <a:lnTo>
                    <a:pt x="711" y="1114"/>
                  </a:lnTo>
                  <a:lnTo>
                    <a:pt x="711" y="1115"/>
                  </a:lnTo>
                  <a:lnTo>
                    <a:pt x="711" y="1117"/>
                  </a:lnTo>
                  <a:lnTo>
                    <a:pt x="711" y="1119"/>
                  </a:lnTo>
                  <a:lnTo>
                    <a:pt x="711" y="1121"/>
                  </a:lnTo>
                  <a:lnTo>
                    <a:pt x="711" y="1123"/>
                  </a:lnTo>
                  <a:lnTo>
                    <a:pt x="709" y="1123"/>
                  </a:lnTo>
                  <a:lnTo>
                    <a:pt x="709" y="1125"/>
                  </a:lnTo>
                  <a:lnTo>
                    <a:pt x="709" y="1127"/>
                  </a:lnTo>
                  <a:lnTo>
                    <a:pt x="709" y="1129"/>
                  </a:lnTo>
                  <a:lnTo>
                    <a:pt x="709" y="1131"/>
                  </a:lnTo>
                  <a:lnTo>
                    <a:pt x="709" y="1133"/>
                  </a:lnTo>
                  <a:lnTo>
                    <a:pt x="709" y="1135"/>
                  </a:lnTo>
                  <a:lnTo>
                    <a:pt x="707" y="1135"/>
                  </a:lnTo>
                  <a:lnTo>
                    <a:pt x="707" y="1137"/>
                  </a:lnTo>
                  <a:lnTo>
                    <a:pt x="707" y="1138"/>
                  </a:lnTo>
                  <a:lnTo>
                    <a:pt x="707" y="1140"/>
                  </a:lnTo>
                  <a:lnTo>
                    <a:pt x="707" y="1142"/>
                  </a:lnTo>
                  <a:lnTo>
                    <a:pt x="707" y="1144"/>
                  </a:lnTo>
                  <a:lnTo>
                    <a:pt x="707" y="1146"/>
                  </a:lnTo>
                  <a:lnTo>
                    <a:pt x="707" y="1148"/>
                  </a:lnTo>
                  <a:lnTo>
                    <a:pt x="705" y="1148"/>
                  </a:lnTo>
                  <a:lnTo>
                    <a:pt x="705" y="1150"/>
                  </a:lnTo>
                  <a:lnTo>
                    <a:pt x="705" y="1152"/>
                  </a:lnTo>
                  <a:lnTo>
                    <a:pt x="705" y="1154"/>
                  </a:lnTo>
                  <a:lnTo>
                    <a:pt x="705" y="1156"/>
                  </a:lnTo>
                  <a:lnTo>
                    <a:pt x="705" y="1158"/>
                  </a:lnTo>
                  <a:lnTo>
                    <a:pt x="705" y="1160"/>
                  </a:lnTo>
                  <a:lnTo>
                    <a:pt x="703" y="1160"/>
                  </a:lnTo>
                  <a:lnTo>
                    <a:pt x="703" y="1162"/>
                  </a:lnTo>
                  <a:lnTo>
                    <a:pt x="703" y="1163"/>
                  </a:lnTo>
                  <a:lnTo>
                    <a:pt x="703" y="1165"/>
                  </a:lnTo>
                  <a:lnTo>
                    <a:pt x="703" y="1167"/>
                  </a:lnTo>
                  <a:lnTo>
                    <a:pt x="703" y="1169"/>
                  </a:lnTo>
                  <a:lnTo>
                    <a:pt x="703" y="1171"/>
                  </a:lnTo>
                  <a:lnTo>
                    <a:pt x="701" y="1171"/>
                  </a:lnTo>
                  <a:lnTo>
                    <a:pt x="701" y="1173"/>
                  </a:lnTo>
                  <a:lnTo>
                    <a:pt x="701" y="1175"/>
                  </a:lnTo>
                  <a:lnTo>
                    <a:pt x="699" y="1175"/>
                  </a:lnTo>
                  <a:lnTo>
                    <a:pt x="697" y="1175"/>
                  </a:lnTo>
                  <a:lnTo>
                    <a:pt x="697" y="1173"/>
                  </a:lnTo>
                  <a:lnTo>
                    <a:pt x="695" y="1173"/>
                  </a:lnTo>
                  <a:lnTo>
                    <a:pt x="694" y="1173"/>
                  </a:lnTo>
                  <a:lnTo>
                    <a:pt x="692" y="1173"/>
                  </a:lnTo>
                  <a:lnTo>
                    <a:pt x="690" y="1173"/>
                  </a:lnTo>
                  <a:lnTo>
                    <a:pt x="688" y="1173"/>
                  </a:lnTo>
                  <a:lnTo>
                    <a:pt x="686" y="1171"/>
                  </a:lnTo>
                  <a:lnTo>
                    <a:pt x="684" y="1171"/>
                  </a:lnTo>
                  <a:lnTo>
                    <a:pt x="682" y="1171"/>
                  </a:lnTo>
                  <a:lnTo>
                    <a:pt x="680" y="1171"/>
                  </a:lnTo>
                  <a:lnTo>
                    <a:pt x="678" y="1171"/>
                  </a:lnTo>
                  <a:lnTo>
                    <a:pt x="676" y="1171"/>
                  </a:lnTo>
                  <a:lnTo>
                    <a:pt x="674" y="1169"/>
                  </a:lnTo>
                  <a:lnTo>
                    <a:pt x="672" y="1169"/>
                  </a:lnTo>
                  <a:lnTo>
                    <a:pt x="671" y="1169"/>
                  </a:lnTo>
                  <a:lnTo>
                    <a:pt x="669" y="1169"/>
                  </a:lnTo>
                  <a:lnTo>
                    <a:pt x="667" y="1169"/>
                  </a:lnTo>
                  <a:lnTo>
                    <a:pt x="665" y="1169"/>
                  </a:lnTo>
                  <a:lnTo>
                    <a:pt x="665" y="1167"/>
                  </a:lnTo>
                  <a:lnTo>
                    <a:pt x="663" y="1167"/>
                  </a:lnTo>
                  <a:lnTo>
                    <a:pt x="661" y="1167"/>
                  </a:lnTo>
                  <a:lnTo>
                    <a:pt x="659" y="1167"/>
                  </a:lnTo>
                  <a:lnTo>
                    <a:pt x="657" y="1167"/>
                  </a:lnTo>
                  <a:lnTo>
                    <a:pt x="655" y="1167"/>
                  </a:lnTo>
                  <a:lnTo>
                    <a:pt x="653" y="1165"/>
                  </a:lnTo>
                  <a:lnTo>
                    <a:pt x="651" y="1165"/>
                  </a:lnTo>
                  <a:lnTo>
                    <a:pt x="649" y="1165"/>
                  </a:lnTo>
                  <a:lnTo>
                    <a:pt x="647" y="1165"/>
                  </a:lnTo>
                  <a:lnTo>
                    <a:pt x="646" y="1165"/>
                  </a:lnTo>
                  <a:lnTo>
                    <a:pt x="644" y="1165"/>
                  </a:lnTo>
                  <a:lnTo>
                    <a:pt x="644" y="1163"/>
                  </a:lnTo>
                  <a:lnTo>
                    <a:pt x="642" y="1163"/>
                  </a:lnTo>
                  <a:lnTo>
                    <a:pt x="640" y="1163"/>
                  </a:lnTo>
                  <a:lnTo>
                    <a:pt x="638" y="1163"/>
                  </a:lnTo>
                  <a:lnTo>
                    <a:pt x="636" y="1163"/>
                  </a:lnTo>
                  <a:lnTo>
                    <a:pt x="634" y="1163"/>
                  </a:lnTo>
                  <a:lnTo>
                    <a:pt x="634" y="1162"/>
                  </a:lnTo>
                  <a:lnTo>
                    <a:pt x="632" y="1162"/>
                  </a:lnTo>
                  <a:lnTo>
                    <a:pt x="630" y="1162"/>
                  </a:lnTo>
                  <a:lnTo>
                    <a:pt x="628" y="1162"/>
                  </a:lnTo>
                  <a:lnTo>
                    <a:pt x="626" y="1162"/>
                  </a:lnTo>
                  <a:lnTo>
                    <a:pt x="624" y="1162"/>
                  </a:lnTo>
                  <a:lnTo>
                    <a:pt x="624" y="1160"/>
                  </a:lnTo>
                  <a:lnTo>
                    <a:pt x="623" y="1160"/>
                  </a:lnTo>
                  <a:lnTo>
                    <a:pt x="621" y="1160"/>
                  </a:lnTo>
                  <a:lnTo>
                    <a:pt x="619" y="1160"/>
                  </a:lnTo>
                  <a:lnTo>
                    <a:pt x="617" y="1160"/>
                  </a:lnTo>
                  <a:lnTo>
                    <a:pt x="615" y="1160"/>
                  </a:lnTo>
                  <a:lnTo>
                    <a:pt x="615" y="1158"/>
                  </a:lnTo>
                  <a:lnTo>
                    <a:pt x="613" y="1158"/>
                  </a:lnTo>
                  <a:lnTo>
                    <a:pt x="611" y="1158"/>
                  </a:lnTo>
                  <a:lnTo>
                    <a:pt x="609" y="1158"/>
                  </a:lnTo>
                  <a:lnTo>
                    <a:pt x="607" y="1158"/>
                  </a:lnTo>
                  <a:lnTo>
                    <a:pt x="605" y="1158"/>
                  </a:lnTo>
                  <a:lnTo>
                    <a:pt x="605" y="1156"/>
                  </a:lnTo>
                  <a:lnTo>
                    <a:pt x="603" y="1156"/>
                  </a:lnTo>
                  <a:lnTo>
                    <a:pt x="601" y="1156"/>
                  </a:lnTo>
                  <a:lnTo>
                    <a:pt x="599" y="1156"/>
                  </a:lnTo>
                  <a:lnTo>
                    <a:pt x="598" y="1156"/>
                  </a:lnTo>
                  <a:lnTo>
                    <a:pt x="598" y="1154"/>
                  </a:lnTo>
                  <a:lnTo>
                    <a:pt x="596" y="1154"/>
                  </a:lnTo>
                  <a:lnTo>
                    <a:pt x="594" y="1154"/>
                  </a:lnTo>
                  <a:lnTo>
                    <a:pt x="592" y="1154"/>
                  </a:lnTo>
                  <a:lnTo>
                    <a:pt x="590" y="1154"/>
                  </a:lnTo>
                  <a:lnTo>
                    <a:pt x="588" y="1154"/>
                  </a:lnTo>
                  <a:lnTo>
                    <a:pt x="588" y="1152"/>
                  </a:lnTo>
                  <a:lnTo>
                    <a:pt x="586" y="1152"/>
                  </a:lnTo>
                  <a:lnTo>
                    <a:pt x="584" y="1152"/>
                  </a:lnTo>
                  <a:lnTo>
                    <a:pt x="582" y="1152"/>
                  </a:lnTo>
                  <a:lnTo>
                    <a:pt x="580" y="1152"/>
                  </a:lnTo>
                  <a:lnTo>
                    <a:pt x="580" y="1150"/>
                  </a:lnTo>
                  <a:lnTo>
                    <a:pt x="578" y="1150"/>
                  </a:lnTo>
                  <a:lnTo>
                    <a:pt x="576" y="1150"/>
                  </a:lnTo>
                  <a:lnTo>
                    <a:pt x="574" y="1150"/>
                  </a:lnTo>
                  <a:lnTo>
                    <a:pt x="573" y="1150"/>
                  </a:lnTo>
                  <a:lnTo>
                    <a:pt x="571" y="1150"/>
                  </a:lnTo>
                  <a:lnTo>
                    <a:pt x="571" y="1148"/>
                  </a:lnTo>
                  <a:lnTo>
                    <a:pt x="569" y="1148"/>
                  </a:lnTo>
                  <a:lnTo>
                    <a:pt x="567" y="1148"/>
                  </a:lnTo>
                  <a:lnTo>
                    <a:pt x="565" y="1148"/>
                  </a:lnTo>
                  <a:lnTo>
                    <a:pt x="563" y="1148"/>
                  </a:lnTo>
                  <a:lnTo>
                    <a:pt x="563" y="1146"/>
                  </a:lnTo>
                  <a:lnTo>
                    <a:pt x="561" y="1146"/>
                  </a:lnTo>
                  <a:lnTo>
                    <a:pt x="559" y="1146"/>
                  </a:lnTo>
                  <a:lnTo>
                    <a:pt x="557" y="1146"/>
                  </a:lnTo>
                  <a:lnTo>
                    <a:pt x="555" y="1146"/>
                  </a:lnTo>
                  <a:lnTo>
                    <a:pt x="555" y="1144"/>
                  </a:lnTo>
                  <a:lnTo>
                    <a:pt x="553" y="1144"/>
                  </a:lnTo>
                  <a:lnTo>
                    <a:pt x="551" y="1144"/>
                  </a:lnTo>
                  <a:lnTo>
                    <a:pt x="550" y="1144"/>
                  </a:lnTo>
                  <a:lnTo>
                    <a:pt x="548" y="1144"/>
                  </a:lnTo>
                  <a:lnTo>
                    <a:pt x="548" y="1142"/>
                  </a:lnTo>
                  <a:lnTo>
                    <a:pt x="546" y="1142"/>
                  </a:lnTo>
                  <a:lnTo>
                    <a:pt x="544" y="1142"/>
                  </a:lnTo>
                  <a:lnTo>
                    <a:pt x="542" y="1142"/>
                  </a:lnTo>
                  <a:lnTo>
                    <a:pt x="540" y="1142"/>
                  </a:lnTo>
                  <a:lnTo>
                    <a:pt x="540" y="1140"/>
                  </a:lnTo>
                  <a:lnTo>
                    <a:pt x="538" y="1140"/>
                  </a:lnTo>
                  <a:lnTo>
                    <a:pt x="536" y="1140"/>
                  </a:lnTo>
                  <a:lnTo>
                    <a:pt x="534" y="1140"/>
                  </a:lnTo>
                  <a:lnTo>
                    <a:pt x="532" y="1140"/>
                  </a:lnTo>
                  <a:lnTo>
                    <a:pt x="532" y="1138"/>
                  </a:lnTo>
                  <a:lnTo>
                    <a:pt x="530" y="1138"/>
                  </a:lnTo>
                  <a:lnTo>
                    <a:pt x="528" y="1138"/>
                  </a:lnTo>
                  <a:lnTo>
                    <a:pt x="526" y="1138"/>
                  </a:lnTo>
                  <a:lnTo>
                    <a:pt x="525" y="1138"/>
                  </a:lnTo>
                  <a:lnTo>
                    <a:pt x="525" y="1137"/>
                  </a:lnTo>
                  <a:lnTo>
                    <a:pt x="523" y="1137"/>
                  </a:lnTo>
                  <a:lnTo>
                    <a:pt x="521" y="1137"/>
                  </a:lnTo>
                  <a:lnTo>
                    <a:pt x="519" y="1137"/>
                  </a:lnTo>
                  <a:lnTo>
                    <a:pt x="517" y="1137"/>
                  </a:lnTo>
                  <a:lnTo>
                    <a:pt x="517" y="1135"/>
                  </a:lnTo>
                  <a:lnTo>
                    <a:pt x="515" y="1135"/>
                  </a:lnTo>
                  <a:lnTo>
                    <a:pt x="513" y="1135"/>
                  </a:lnTo>
                  <a:lnTo>
                    <a:pt x="511" y="1135"/>
                  </a:lnTo>
                  <a:lnTo>
                    <a:pt x="509" y="1135"/>
                  </a:lnTo>
                  <a:lnTo>
                    <a:pt x="509" y="1133"/>
                  </a:lnTo>
                  <a:lnTo>
                    <a:pt x="507" y="1133"/>
                  </a:lnTo>
                  <a:lnTo>
                    <a:pt x="505" y="1133"/>
                  </a:lnTo>
                  <a:lnTo>
                    <a:pt x="503" y="1133"/>
                  </a:lnTo>
                  <a:lnTo>
                    <a:pt x="502" y="1131"/>
                  </a:lnTo>
                  <a:lnTo>
                    <a:pt x="500" y="1131"/>
                  </a:lnTo>
                  <a:lnTo>
                    <a:pt x="498" y="1131"/>
                  </a:lnTo>
                  <a:lnTo>
                    <a:pt x="496" y="1131"/>
                  </a:lnTo>
                  <a:lnTo>
                    <a:pt x="496" y="1129"/>
                  </a:lnTo>
                  <a:lnTo>
                    <a:pt x="494" y="1129"/>
                  </a:lnTo>
                  <a:lnTo>
                    <a:pt x="492" y="1129"/>
                  </a:lnTo>
                  <a:lnTo>
                    <a:pt x="490" y="1129"/>
                  </a:lnTo>
                  <a:lnTo>
                    <a:pt x="488" y="1129"/>
                  </a:lnTo>
                  <a:lnTo>
                    <a:pt x="488" y="1127"/>
                  </a:lnTo>
                  <a:lnTo>
                    <a:pt x="486" y="1127"/>
                  </a:lnTo>
                  <a:lnTo>
                    <a:pt x="484" y="1127"/>
                  </a:lnTo>
                  <a:lnTo>
                    <a:pt x="482" y="1127"/>
                  </a:lnTo>
                  <a:lnTo>
                    <a:pt x="480" y="1125"/>
                  </a:lnTo>
                  <a:lnTo>
                    <a:pt x="478" y="1125"/>
                  </a:lnTo>
                  <a:lnTo>
                    <a:pt x="477" y="1125"/>
                  </a:lnTo>
                  <a:lnTo>
                    <a:pt x="475" y="1125"/>
                  </a:lnTo>
                  <a:lnTo>
                    <a:pt x="475" y="1123"/>
                  </a:lnTo>
                  <a:lnTo>
                    <a:pt x="473" y="1123"/>
                  </a:lnTo>
                  <a:lnTo>
                    <a:pt x="471" y="1123"/>
                  </a:lnTo>
                  <a:lnTo>
                    <a:pt x="469" y="1123"/>
                  </a:lnTo>
                  <a:lnTo>
                    <a:pt x="467" y="1121"/>
                  </a:lnTo>
                  <a:lnTo>
                    <a:pt x="465" y="1121"/>
                  </a:lnTo>
                  <a:lnTo>
                    <a:pt x="463" y="1121"/>
                  </a:lnTo>
                  <a:lnTo>
                    <a:pt x="461" y="1121"/>
                  </a:lnTo>
                  <a:lnTo>
                    <a:pt x="461" y="1119"/>
                  </a:lnTo>
                  <a:lnTo>
                    <a:pt x="459" y="1119"/>
                  </a:lnTo>
                  <a:lnTo>
                    <a:pt x="457" y="1119"/>
                  </a:lnTo>
                  <a:lnTo>
                    <a:pt x="455" y="1119"/>
                  </a:lnTo>
                  <a:lnTo>
                    <a:pt x="455" y="1117"/>
                  </a:lnTo>
                  <a:lnTo>
                    <a:pt x="454" y="1117"/>
                  </a:lnTo>
                  <a:lnTo>
                    <a:pt x="452" y="1117"/>
                  </a:lnTo>
                  <a:lnTo>
                    <a:pt x="450" y="1117"/>
                  </a:lnTo>
                  <a:lnTo>
                    <a:pt x="448" y="1117"/>
                  </a:lnTo>
                  <a:lnTo>
                    <a:pt x="448" y="1115"/>
                  </a:lnTo>
                  <a:lnTo>
                    <a:pt x="446" y="1115"/>
                  </a:lnTo>
                  <a:lnTo>
                    <a:pt x="444" y="1115"/>
                  </a:lnTo>
                  <a:lnTo>
                    <a:pt x="442" y="1115"/>
                  </a:lnTo>
                  <a:lnTo>
                    <a:pt x="442" y="1114"/>
                  </a:lnTo>
                  <a:lnTo>
                    <a:pt x="440" y="1114"/>
                  </a:lnTo>
                  <a:lnTo>
                    <a:pt x="438" y="1114"/>
                  </a:lnTo>
                  <a:lnTo>
                    <a:pt x="436" y="1114"/>
                  </a:lnTo>
                  <a:lnTo>
                    <a:pt x="436" y="1112"/>
                  </a:lnTo>
                  <a:lnTo>
                    <a:pt x="434" y="1112"/>
                  </a:lnTo>
                  <a:lnTo>
                    <a:pt x="432" y="1112"/>
                  </a:lnTo>
                  <a:lnTo>
                    <a:pt x="430" y="1112"/>
                  </a:lnTo>
                  <a:lnTo>
                    <a:pt x="429" y="1110"/>
                  </a:lnTo>
                  <a:lnTo>
                    <a:pt x="427" y="1110"/>
                  </a:lnTo>
                  <a:lnTo>
                    <a:pt x="425" y="1110"/>
                  </a:lnTo>
                  <a:lnTo>
                    <a:pt x="423" y="1110"/>
                  </a:lnTo>
                  <a:lnTo>
                    <a:pt x="423" y="1108"/>
                  </a:lnTo>
                  <a:lnTo>
                    <a:pt x="421" y="1108"/>
                  </a:lnTo>
                  <a:lnTo>
                    <a:pt x="419" y="1108"/>
                  </a:lnTo>
                  <a:lnTo>
                    <a:pt x="417" y="1108"/>
                  </a:lnTo>
                  <a:lnTo>
                    <a:pt x="417" y="1106"/>
                  </a:lnTo>
                  <a:lnTo>
                    <a:pt x="415" y="1106"/>
                  </a:lnTo>
                  <a:lnTo>
                    <a:pt x="413" y="1106"/>
                  </a:lnTo>
                  <a:lnTo>
                    <a:pt x="411" y="1106"/>
                  </a:lnTo>
                  <a:lnTo>
                    <a:pt x="411" y="1104"/>
                  </a:lnTo>
                  <a:lnTo>
                    <a:pt x="409" y="1104"/>
                  </a:lnTo>
                  <a:lnTo>
                    <a:pt x="407" y="1104"/>
                  </a:lnTo>
                  <a:lnTo>
                    <a:pt x="406" y="1104"/>
                  </a:lnTo>
                  <a:lnTo>
                    <a:pt x="406" y="1102"/>
                  </a:lnTo>
                  <a:lnTo>
                    <a:pt x="404" y="1102"/>
                  </a:lnTo>
                  <a:lnTo>
                    <a:pt x="402" y="1102"/>
                  </a:lnTo>
                  <a:lnTo>
                    <a:pt x="400" y="1102"/>
                  </a:lnTo>
                  <a:lnTo>
                    <a:pt x="400" y="1100"/>
                  </a:lnTo>
                  <a:lnTo>
                    <a:pt x="398" y="1100"/>
                  </a:lnTo>
                  <a:lnTo>
                    <a:pt x="396" y="1100"/>
                  </a:lnTo>
                  <a:lnTo>
                    <a:pt x="394" y="1100"/>
                  </a:lnTo>
                  <a:lnTo>
                    <a:pt x="394" y="1098"/>
                  </a:lnTo>
                  <a:lnTo>
                    <a:pt x="392" y="1098"/>
                  </a:lnTo>
                  <a:lnTo>
                    <a:pt x="390" y="1098"/>
                  </a:lnTo>
                  <a:lnTo>
                    <a:pt x="388" y="1098"/>
                  </a:lnTo>
                  <a:lnTo>
                    <a:pt x="388" y="1096"/>
                  </a:lnTo>
                  <a:lnTo>
                    <a:pt x="386" y="1096"/>
                  </a:lnTo>
                  <a:lnTo>
                    <a:pt x="384" y="1096"/>
                  </a:lnTo>
                  <a:lnTo>
                    <a:pt x="382" y="1096"/>
                  </a:lnTo>
                  <a:lnTo>
                    <a:pt x="382" y="1094"/>
                  </a:lnTo>
                  <a:lnTo>
                    <a:pt x="381" y="1094"/>
                  </a:lnTo>
                  <a:lnTo>
                    <a:pt x="379" y="1094"/>
                  </a:lnTo>
                  <a:lnTo>
                    <a:pt x="377" y="1094"/>
                  </a:lnTo>
                  <a:lnTo>
                    <a:pt x="377" y="1092"/>
                  </a:lnTo>
                  <a:lnTo>
                    <a:pt x="375" y="1092"/>
                  </a:lnTo>
                  <a:lnTo>
                    <a:pt x="373" y="1092"/>
                  </a:lnTo>
                  <a:lnTo>
                    <a:pt x="371" y="1092"/>
                  </a:lnTo>
                  <a:lnTo>
                    <a:pt x="371" y="1091"/>
                  </a:lnTo>
                  <a:lnTo>
                    <a:pt x="369" y="1091"/>
                  </a:lnTo>
                  <a:lnTo>
                    <a:pt x="367" y="1091"/>
                  </a:lnTo>
                  <a:lnTo>
                    <a:pt x="365" y="1091"/>
                  </a:lnTo>
                  <a:lnTo>
                    <a:pt x="365" y="1089"/>
                  </a:lnTo>
                  <a:lnTo>
                    <a:pt x="363" y="1089"/>
                  </a:lnTo>
                  <a:lnTo>
                    <a:pt x="361" y="1089"/>
                  </a:lnTo>
                  <a:lnTo>
                    <a:pt x="359" y="1087"/>
                  </a:lnTo>
                  <a:lnTo>
                    <a:pt x="357" y="1087"/>
                  </a:lnTo>
                  <a:lnTo>
                    <a:pt x="356" y="1087"/>
                  </a:lnTo>
                  <a:lnTo>
                    <a:pt x="356" y="1085"/>
                  </a:lnTo>
                  <a:lnTo>
                    <a:pt x="354" y="1085"/>
                  </a:lnTo>
                  <a:lnTo>
                    <a:pt x="352" y="1085"/>
                  </a:lnTo>
                  <a:lnTo>
                    <a:pt x="350" y="1085"/>
                  </a:lnTo>
                  <a:lnTo>
                    <a:pt x="350" y="1083"/>
                  </a:lnTo>
                  <a:lnTo>
                    <a:pt x="348" y="1083"/>
                  </a:lnTo>
                  <a:lnTo>
                    <a:pt x="346" y="1083"/>
                  </a:lnTo>
                  <a:lnTo>
                    <a:pt x="344" y="1083"/>
                  </a:lnTo>
                  <a:lnTo>
                    <a:pt x="344" y="1081"/>
                  </a:lnTo>
                  <a:lnTo>
                    <a:pt x="342" y="1081"/>
                  </a:lnTo>
                  <a:lnTo>
                    <a:pt x="340" y="1081"/>
                  </a:lnTo>
                  <a:lnTo>
                    <a:pt x="338" y="1081"/>
                  </a:lnTo>
                  <a:lnTo>
                    <a:pt x="338" y="1079"/>
                  </a:lnTo>
                  <a:lnTo>
                    <a:pt x="336" y="1079"/>
                  </a:lnTo>
                  <a:lnTo>
                    <a:pt x="334" y="1079"/>
                  </a:lnTo>
                  <a:lnTo>
                    <a:pt x="334" y="1077"/>
                  </a:lnTo>
                  <a:lnTo>
                    <a:pt x="333" y="1077"/>
                  </a:lnTo>
                  <a:lnTo>
                    <a:pt x="331" y="1077"/>
                  </a:lnTo>
                  <a:lnTo>
                    <a:pt x="329" y="1077"/>
                  </a:lnTo>
                  <a:lnTo>
                    <a:pt x="329" y="1075"/>
                  </a:lnTo>
                  <a:lnTo>
                    <a:pt x="327" y="1075"/>
                  </a:lnTo>
                  <a:lnTo>
                    <a:pt x="325" y="1075"/>
                  </a:lnTo>
                  <a:lnTo>
                    <a:pt x="323" y="1075"/>
                  </a:lnTo>
                  <a:lnTo>
                    <a:pt x="323" y="1073"/>
                  </a:lnTo>
                  <a:lnTo>
                    <a:pt x="321" y="1073"/>
                  </a:lnTo>
                  <a:lnTo>
                    <a:pt x="319" y="1073"/>
                  </a:lnTo>
                  <a:lnTo>
                    <a:pt x="319" y="1071"/>
                  </a:lnTo>
                  <a:lnTo>
                    <a:pt x="317" y="1071"/>
                  </a:lnTo>
                  <a:lnTo>
                    <a:pt x="315" y="1071"/>
                  </a:lnTo>
                  <a:lnTo>
                    <a:pt x="313" y="1071"/>
                  </a:lnTo>
                  <a:lnTo>
                    <a:pt x="313" y="1069"/>
                  </a:lnTo>
                  <a:lnTo>
                    <a:pt x="311" y="1069"/>
                  </a:lnTo>
                  <a:lnTo>
                    <a:pt x="309" y="1069"/>
                  </a:lnTo>
                  <a:lnTo>
                    <a:pt x="308" y="1067"/>
                  </a:lnTo>
                  <a:lnTo>
                    <a:pt x="306" y="1067"/>
                  </a:lnTo>
                  <a:lnTo>
                    <a:pt x="304" y="1067"/>
                  </a:lnTo>
                  <a:lnTo>
                    <a:pt x="304" y="1066"/>
                  </a:lnTo>
                  <a:lnTo>
                    <a:pt x="302" y="1066"/>
                  </a:lnTo>
                  <a:lnTo>
                    <a:pt x="300" y="1066"/>
                  </a:lnTo>
                  <a:lnTo>
                    <a:pt x="298" y="1066"/>
                  </a:lnTo>
                  <a:lnTo>
                    <a:pt x="298" y="1064"/>
                  </a:lnTo>
                  <a:lnTo>
                    <a:pt x="296" y="1064"/>
                  </a:lnTo>
                  <a:lnTo>
                    <a:pt x="294" y="1064"/>
                  </a:lnTo>
                  <a:lnTo>
                    <a:pt x="294" y="1062"/>
                  </a:lnTo>
                  <a:lnTo>
                    <a:pt x="292" y="1062"/>
                  </a:lnTo>
                  <a:lnTo>
                    <a:pt x="290" y="1062"/>
                  </a:lnTo>
                  <a:lnTo>
                    <a:pt x="288" y="1062"/>
                  </a:lnTo>
                  <a:lnTo>
                    <a:pt x="288" y="1060"/>
                  </a:lnTo>
                  <a:lnTo>
                    <a:pt x="286" y="1060"/>
                  </a:lnTo>
                  <a:lnTo>
                    <a:pt x="285" y="1060"/>
                  </a:lnTo>
                  <a:lnTo>
                    <a:pt x="285" y="1058"/>
                  </a:lnTo>
                  <a:lnTo>
                    <a:pt x="283" y="1058"/>
                  </a:lnTo>
                  <a:lnTo>
                    <a:pt x="281" y="1058"/>
                  </a:lnTo>
                  <a:lnTo>
                    <a:pt x="279" y="1058"/>
                  </a:lnTo>
                  <a:lnTo>
                    <a:pt x="279" y="1056"/>
                  </a:lnTo>
                  <a:lnTo>
                    <a:pt x="277" y="1056"/>
                  </a:lnTo>
                  <a:lnTo>
                    <a:pt x="275" y="1056"/>
                  </a:lnTo>
                  <a:lnTo>
                    <a:pt x="275" y="1054"/>
                  </a:lnTo>
                  <a:lnTo>
                    <a:pt x="273" y="1054"/>
                  </a:lnTo>
                  <a:lnTo>
                    <a:pt x="271" y="1054"/>
                  </a:lnTo>
                  <a:lnTo>
                    <a:pt x="269" y="1054"/>
                  </a:lnTo>
                  <a:lnTo>
                    <a:pt x="269" y="1052"/>
                  </a:lnTo>
                  <a:lnTo>
                    <a:pt x="267" y="1052"/>
                  </a:lnTo>
                  <a:lnTo>
                    <a:pt x="265" y="1052"/>
                  </a:lnTo>
                  <a:lnTo>
                    <a:pt x="265" y="1050"/>
                  </a:lnTo>
                  <a:lnTo>
                    <a:pt x="263" y="1050"/>
                  </a:lnTo>
                  <a:lnTo>
                    <a:pt x="261" y="1050"/>
                  </a:lnTo>
                  <a:lnTo>
                    <a:pt x="260" y="1048"/>
                  </a:lnTo>
                  <a:lnTo>
                    <a:pt x="258" y="1048"/>
                  </a:lnTo>
                  <a:lnTo>
                    <a:pt x="256" y="1048"/>
                  </a:lnTo>
                  <a:lnTo>
                    <a:pt x="256" y="1046"/>
                  </a:lnTo>
                  <a:lnTo>
                    <a:pt x="254" y="1046"/>
                  </a:lnTo>
                  <a:lnTo>
                    <a:pt x="252" y="1046"/>
                  </a:lnTo>
                  <a:lnTo>
                    <a:pt x="252" y="1044"/>
                  </a:lnTo>
                  <a:lnTo>
                    <a:pt x="250" y="1044"/>
                  </a:lnTo>
                  <a:lnTo>
                    <a:pt x="248" y="1044"/>
                  </a:lnTo>
                  <a:lnTo>
                    <a:pt x="246" y="1044"/>
                  </a:lnTo>
                  <a:lnTo>
                    <a:pt x="246" y="1043"/>
                  </a:lnTo>
                  <a:lnTo>
                    <a:pt x="244" y="1043"/>
                  </a:lnTo>
                  <a:lnTo>
                    <a:pt x="242" y="1043"/>
                  </a:lnTo>
                  <a:lnTo>
                    <a:pt x="242" y="1041"/>
                  </a:lnTo>
                  <a:lnTo>
                    <a:pt x="240" y="1041"/>
                  </a:lnTo>
                  <a:lnTo>
                    <a:pt x="238" y="1041"/>
                  </a:lnTo>
                  <a:lnTo>
                    <a:pt x="237" y="1039"/>
                  </a:lnTo>
                  <a:lnTo>
                    <a:pt x="235" y="1039"/>
                  </a:lnTo>
                  <a:lnTo>
                    <a:pt x="233" y="1039"/>
                  </a:lnTo>
                  <a:lnTo>
                    <a:pt x="233" y="1037"/>
                  </a:lnTo>
                  <a:lnTo>
                    <a:pt x="231" y="1037"/>
                  </a:lnTo>
                  <a:lnTo>
                    <a:pt x="229" y="1037"/>
                  </a:lnTo>
                  <a:lnTo>
                    <a:pt x="229" y="1035"/>
                  </a:lnTo>
                  <a:lnTo>
                    <a:pt x="227" y="1035"/>
                  </a:lnTo>
                  <a:lnTo>
                    <a:pt x="225" y="1035"/>
                  </a:lnTo>
                  <a:lnTo>
                    <a:pt x="225" y="1033"/>
                  </a:lnTo>
                  <a:lnTo>
                    <a:pt x="223" y="1033"/>
                  </a:lnTo>
                  <a:lnTo>
                    <a:pt x="221" y="1033"/>
                  </a:lnTo>
                  <a:lnTo>
                    <a:pt x="219" y="1031"/>
                  </a:lnTo>
                  <a:lnTo>
                    <a:pt x="217" y="1031"/>
                  </a:lnTo>
                  <a:lnTo>
                    <a:pt x="215" y="1031"/>
                  </a:lnTo>
                  <a:lnTo>
                    <a:pt x="215" y="1029"/>
                  </a:lnTo>
                  <a:lnTo>
                    <a:pt x="213" y="1029"/>
                  </a:lnTo>
                  <a:lnTo>
                    <a:pt x="212" y="1029"/>
                  </a:lnTo>
                  <a:lnTo>
                    <a:pt x="212" y="1027"/>
                  </a:lnTo>
                  <a:lnTo>
                    <a:pt x="210" y="1027"/>
                  </a:lnTo>
                  <a:lnTo>
                    <a:pt x="208" y="1027"/>
                  </a:lnTo>
                  <a:lnTo>
                    <a:pt x="208" y="1025"/>
                  </a:lnTo>
                  <a:lnTo>
                    <a:pt x="206" y="1025"/>
                  </a:lnTo>
                  <a:lnTo>
                    <a:pt x="204" y="1025"/>
                  </a:lnTo>
                  <a:lnTo>
                    <a:pt x="204" y="1023"/>
                  </a:lnTo>
                  <a:lnTo>
                    <a:pt x="202" y="1023"/>
                  </a:lnTo>
                  <a:lnTo>
                    <a:pt x="200" y="1023"/>
                  </a:lnTo>
                  <a:lnTo>
                    <a:pt x="198" y="1023"/>
                  </a:lnTo>
                  <a:lnTo>
                    <a:pt x="198" y="1021"/>
                  </a:lnTo>
                  <a:lnTo>
                    <a:pt x="196" y="1021"/>
                  </a:lnTo>
                  <a:lnTo>
                    <a:pt x="194" y="1021"/>
                  </a:lnTo>
                  <a:lnTo>
                    <a:pt x="194" y="1019"/>
                  </a:lnTo>
                  <a:lnTo>
                    <a:pt x="192" y="1019"/>
                  </a:lnTo>
                  <a:lnTo>
                    <a:pt x="190" y="1019"/>
                  </a:lnTo>
                  <a:lnTo>
                    <a:pt x="190" y="1018"/>
                  </a:lnTo>
                  <a:lnTo>
                    <a:pt x="189" y="1018"/>
                  </a:lnTo>
                  <a:lnTo>
                    <a:pt x="187" y="1018"/>
                  </a:lnTo>
                  <a:lnTo>
                    <a:pt x="187" y="1016"/>
                  </a:lnTo>
                  <a:lnTo>
                    <a:pt x="185" y="1016"/>
                  </a:lnTo>
                  <a:lnTo>
                    <a:pt x="183" y="1016"/>
                  </a:lnTo>
                  <a:lnTo>
                    <a:pt x="183" y="1014"/>
                  </a:lnTo>
                  <a:lnTo>
                    <a:pt x="181" y="1014"/>
                  </a:lnTo>
                  <a:lnTo>
                    <a:pt x="179" y="1014"/>
                  </a:lnTo>
                  <a:lnTo>
                    <a:pt x="177" y="1012"/>
                  </a:lnTo>
                  <a:lnTo>
                    <a:pt x="175" y="1012"/>
                  </a:lnTo>
                  <a:lnTo>
                    <a:pt x="173" y="1010"/>
                  </a:lnTo>
                  <a:lnTo>
                    <a:pt x="171" y="1010"/>
                  </a:lnTo>
                  <a:lnTo>
                    <a:pt x="169" y="1010"/>
                  </a:lnTo>
                  <a:lnTo>
                    <a:pt x="169" y="1008"/>
                  </a:lnTo>
                  <a:lnTo>
                    <a:pt x="167" y="1008"/>
                  </a:lnTo>
                  <a:lnTo>
                    <a:pt x="165" y="1008"/>
                  </a:lnTo>
                  <a:lnTo>
                    <a:pt x="165" y="1006"/>
                  </a:lnTo>
                  <a:lnTo>
                    <a:pt x="164" y="1006"/>
                  </a:lnTo>
                  <a:lnTo>
                    <a:pt x="162" y="1006"/>
                  </a:lnTo>
                  <a:lnTo>
                    <a:pt x="162" y="1004"/>
                  </a:lnTo>
                  <a:lnTo>
                    <a:pt x="160" y="1004"/>
                  </a:lnTo>
                  <a:lnTo>
                    <a:pt x="158" y="1004"/>
                  </a:lnTo>
                  <a:lnTo>
                    <a:pt x="158" y="1002"/>
                  </a:lnTo>
                  <a:lnTo>
                    <a:pt x="156" y="1002"/>
                  </a:lnTo>
                  <a:lnTo>
                    <a:pt x="154" y="1002"/>
                  </a:lnTo>
                  <a:lnTo>
                    <a:pt x="154" y="1000"/>
                  </a:lnTo>
                  <a:lnTo>
                    <a:pt x="152" y="1000"/>
                  </a:lnTo>
                  <a:lnTo>
                    <a:pt x="150" y="1000"/>
                  </a:lnTo>
                  <a:lnTo>
                    <a:pt x="150" y="998"/>
                  </a:lnTo>
                  <a:lnTo>
                    <a:pt x="148" y="998"/>
                  </a:lnTo>
                  <a:lnTo>
                    <a:pt x="146" y="998"/>
                  </a:lnTo>
                  <a:lnTo>
                    <a:pt x="146" y="996"/>
                  </a:lnTo>
                  <a:lnTo>
                    <a:pt x="144" y="996"/>
                  </a:lnTo>
                  <a:lnTo>
                    <a:pt x="142" y="996"/>
                  </a:lnTo>
                  <a:lnTo>
                    <a:pt x="142" y="995"/>
                  </a:lnTo>
                  <a:lnTo>
                    <a:pt x="141" y="995"/>
                  </a:lnTo>
                  <a:lnTo>
                    <a:pt x="139" y="995"/>
                  </a:lnTo>
                  <a:lnTo>
                    <a:pt x="139" y="993"/>
                  </a:lnTo>
                  <a:lnTo>
                    <a:pt x="137" y="993"/>
                  </a:lnTo>
                  <a:lnTo>
                    <a:pt x="135" y="993"/>
                  </a:lnTo>
                  <a:lnTo>
                    <a:pt x="135" y="991"/>
                  </a:lnTo>
                  <a:lnTo>
                    <a:pt x="133" y="991"/>
                  </a:lnTo>
                  <a:lnTo>
                    <a:pt x="131" y="991"/>
                  </a:lnTo>
                  <a:lnTo>
                    <a:pt x="131" y="989"/>
                  </a:lnTo>
                  <a:lnTo>
                    <a:pt x="129" y="989"/>
                  </a:lnTo>
                  <a:lnTo>
                    <a:pt x="127" y="989"/>
                  </a:lnTo>
                  <a:lnTo>
                    <a:pt x="127" y="987"/>
                  </a:lnTo>
                  <a:lnTo>
                    <a:pt x="125" y="987"/>
                  </a:lnTo>
                  <a:lnTo>
                    <a:pt x="123" y="987"/>
                  </a:lnTo>
                  <a:lnTo>
                    <a:pt x="123" y="985"/>
                  </a:lnTo>
                  <a:lnTo>
                    <a:pt x="121" y="985"/>
                  </a:lnTo>
                  <a:lnTo>
                    <a:pt x="119" y="985"/>
                  </a:lnTo>
                  <a:lnTo>
                    <a:pt x="119" y="983"/>
                  </a:lnTo>
                  <a:lnTo>
                    <a:pt x="117" y="983"/>
                  </a:lnTo>
                  <a:lnTo>
                    <a:pt x="116" y="983"/>
                  </a:lnTo>
                  <a:lnTo>
                    <a:pt x="116" y="981"/>
                  </a:lnTo>
                  <a:lnTo>
                    <a:pt x="114" y="981"/>
                  </a:lnTo>
                  <a:lnTo>
                    <a:pt x="112" y="981"/>
                  </a:lnTo>
                  <a:lnTo>
                    <a:pt x="112" y="979"/>
                  </a:lnTo>
                  <a:lnTo>
                    <a:pt x="110" y="979"/>
                  </a:lnTo>
                  <a:lnTo>
                    <a:pt x="108" y="979"/>
                  </a:lnTo>
                  <a:lnTo>
                    <a:pt x="108" y="977"/>
                  </a:lnTo>
                  <a:lnTo>
                    <a:pt x="106" y="977"/>
                  </a:lnTo>
                  <a:lnTo>
                    <a:pt x="104" y="977"/>
                  </a:lnTo>
                  <a:lnTo>
                    <a:pt x="104" y="975"/>
                  </a:lnTo>
                  <a:lnTo>
                    <a:pt x="102" y="975"/>
                  </a:lnTo>
                  <a:lnTo>
                    <a:pt x="100" y="975"/>
                  </a:lnTo>
                  <a:lnTo>
                    <a:pt x="100" y="973"/>
                  </a:lnTo>
                  <a:lnTo>
                    <a:pt x="98" y="973"/>
                  </a:lnTo>
                  <a:lnTo>
                    <a:pt x="98" y="971"/>
                  </a:lnTo>
                  <a:lnTo>
                    <a:pt x="96" y="971"/>
                  </a:lnTo>
                  <a:lnTo>
                    <a:pt x="94" y="971"/>
                  </a:lnTo>
                  <a:lnTo>
                    <a:pt x="94" y="970"/>
                  </a:lnTo>
                  <a:lnTo>
                    <a:pt x="92" y="970"/>
                  </a:lnTo>
                  <a:lnTo>
                    <a:pt x="91" y="970"/>
                  </a:lnTo>
                  <a:lnTo>
                    <a:pt x="91" y="968"/>
                  </a:lnTo>
                  <a:lnTo>
                    <a:pt x="89" y="968"/>
                  </a:lnTo>
                  <a:lnTo>
                    <a:pt x="87" y="968"/>
                  </a:lnTo>
                  <a:lnTo>
                    <a:pt x="87" y="966"/>
                  </a:lnTo>
                  <a:lnTo>
                    <a:pt x="85" y="966"/>
                  </a:lnTo>
                  <a:lnTo>
                    <a:pt x="83" y="966"/>
                  </a:lnTo>
                  <a:lnTo>
                    <a:pt x="83" y="964"/>
                  </a:lnTo>
                  <a:lnTo>
                    <a:pt x="81" y="964"/>
                  </a:lnTo>
                  <a:lnTo>
                    <a:pt x="79" y="964"/>
                  </a:lnTo>
                  <a:lnTo>
                    <a:pt x="79" y="962"/>
                  </a:lnTo>
                  <a:lnTo>
                    <a:pt x="77" y="962"/>
                  </a:lnTo>
                  <a:lnTo>
                    <a:pt x="75" y="962"/>
                  </a:lnTo>
                  <a:lnTo>
                    <a:pt x="75" y="960"/>
                  </a:lnTo>
                  <a:lnTo>
                    <a:pt x="73" y="960"/>
                  </a:lnTo>
                  <a:lnTo>
                    <a:pt x="71" y="958"/>
                  </a:lnTo>
                  <a:lnTo>
                    <a:pt x="68" y="948"/>
                  </a:lnTo>
                  <a:lnTo>
                    <a:pt x="69" y="947"/>
                  </a:lnTo>
                  <a:lnTo>
                    <a:pt x="68" y="945"/>
                  </a:lnTo>
                  <a:lnTo>
                    <a:pt x="68" y="943"/>
                  </a:lnTo>
                  <a:lnTo>
                    <a:pt x="69" y="941"/>
                  </a:lnTo>
                  <a:lnTo>
                    <a:pt x="69" y="939"/>
                  </a:lnTo>
                  <a:lnTo>
                    <a:pt x="69" y="937"/>
                  </a:lnTo>
                  <a:lnTo>
                    <a:pt x="69" y="935"/>
                  </a:lnTo>
                  <a:lnTo>
                    <a:pt x="69" y="933"/>
                  </a:lnTo>
                  <a:lnTo>
                    <a:pt x="71" y="931"/>
                  </a:lnTo>
                  <a:lnTo>
                    <a:pt x="73" y="927"/>
                  </a:lnTo>
                  <a:lnTo>
                    <a:pt x="71" y="925"/>
                  </a:lnTo>
                  <a:lnTo>
                    <a:pt x="69" y="925"/>
                  </a:lnTo>
                  <a:lnTo>
                    <a:pt x="69" y="922"/>
                  </a:lnTo>
                  <a:lnTo>
                    <a:pt x="69" y="920"/>
                  </a:lnTo>
                  <a:lnTo>
                    <a:pt x="71" y="918"/>
                  </a:lnTo>
                  <a:lnTo>
                    <a:pt x="69" y="916"/>
                  </a:lnTo>
                  <a:lnTo>
                    <a:pt x="69" y="912"/>
                  </a:lnTo>
                  <a:lnTo>
                    <a:pt x="69" y="910"/>
                  </a:lnTo>
                  <a:lnTo>
                    <a:pt x="71" y="910"/>
                  </a:lnTo>
                  <a:lnTo>
                    <a:pt x="71" y="908"/>
                  </a:lnTo>
                  <a:lnTo>
                    <a:pt x="73" y="908"/>
                  </a:lnTo>
                  <a:lnTo>
                    <a:pt x="75" y="908"/>
                  </a:lnTo>
                  <a:lnTo>
                    <a:pt x="77" y="906"/>
                  </a:lnTo>
                  <a:lnTo>
                    <a:pt x="75" y="904"/>
                  </a:lnTo>
                  <a:lnTo>
                    <a:pt x="77" y="904"/>
                  </a:lnTo>
                  <a:lnTo>
                    <a:pt x="77" y="902"/>
                  </a:lnTo>
                  <a:lnTo>
                    <a:pt x="77" y="900"/>
                  </a:lnTo>
                  <a:lnTo>
                    <a:pt x="77" y="899"/>
                  </a:lnTo>
                  <a:lnTo>
                    <a:pt x="79" y="899"/>
                  </a:lnTo>
                  <a:lnTo>
                    <a:pt x="79" y="897"/>
                  </a:lnTo>
                  <a:lnTo>
                    <a:pt x="77" y="895"/>
                  </a:lnTo>
                  <a:lnTo>
                    <a:pt x="77" y="897"/>
                  </a:lnTo>
                  <a:lnTo>
                    <a:pt x="75" y="895"/>
                  </a:lnTo>
                  <a:lnTo>
                    <a:pt x="73" y="895"/>
                  </a:lnTo>
                  <a:lnTo>
                    <a:pt x="73" y="893"/>
                  </a:lnTo>
                  <a:lnTo>
                    <a:pt x="71" y="893"/>
                  </a:lnTo>
                  <a:lnTo>
                    <a:pt x="69" y="895"/>
                  </a:lnTo>
                  <a:lnTo>
                    <a:pt x="69" y="897"/>
                  </a:lnTo>
                  <a:lnTo>
                    <a:pt x="69" y="899"/>
                  </a:lnTo>
                  <a:lnTo>
                    <a:pt x="68" y="897"/>
                  </a:lnTo>
                  <a:lnTo>
                    <a:pt x="66" y="897"/>
                  </a:lnTo>
                  <a:lnTo>
                    <a:pt x="66" y="895"/>
                  </a:lnTo>
                  <a:lnTo>
                    <a:pt x="64" y="895"/>
                  </a:lnTo>
                  <a:lnTo>
                    <a:pt x="62" y="895"/>
                  </a:lnTo>
                  <a:lnTo>
                    <a:pt x="60" y="893"/>
                  </a:lnTo>
                  <a:lnTo>
                    <a:pt x="58" y="895"/>
                  </a:lnTo>
                  <a:lnTo>
                    <a:pt x="56" y="895"/>
                  </a:lnTo>
                  <a:lnTo>
                    <a:pt x="54" y="895"/>
                  </a:lnTo>
                  <a:lnTo>
                    <a:pt x="52" y="893"/>
                  </a:lnTo>
                  <a:lnTo>
                    <a:pt x="50" y="891"/>
                  </a:lnTo>
                  <a:lnTo>
                    <a:pt x="50" y="889"/>
                  </a:lnTo>
                  <a:lnTo>
                    <a:pt x="48" y="889"/>
                  </a:lnTo>
                  <a:lnTo>
                    <a:pt x="46" y="887"/>
                  </a:lnTo>
                  <a:lnTo>
                    <a:pt x="46" y="885"/>
                  </a:lnTo>
                  <a:lnTo>
                    <a:pt x="44" y="885"/>
                  </a:lnTo>
                  <a:lnTo>
                    <a:pt x="44" y="883"/>
                  </a:lnTo>
                  <a:lnTo>
                    <a:pt x="44" y="881"/>
                  </a:lnTo>
                  <a:lnTo>
                    <a:pt x="43" y="881"/>
                  </a:lnTo>
                  <a:lnTo>
                    <a:pt x="41" y="881"/>
                  </a:lnTo>
                  <a:lnTo>
                    <a:pt x="39" y="881"/>
                  </a:lnTo>
                  <a:lnTo>
                    <a:pt x="39" y="883"/>
                  </a:lnTo>
                  <a:lnTo>
                    <a:pt x="37" y="883"/>
                  </a:lnTo>
                  <a:lnTo>
                    <a:pt x="35" y="881"/>
                  </a:lnTo>
                  <a:lnTo>
                    <a:pt x="35" y="879"/>
                  </a:lnTo>
                  <a:lnTo>
                    <a:pt x="37" y="879"/>
                  </a:lnTo>
                  <a:lnTo>
                    <a:pt x="37" y="877"/>
                  </a:lnTo>
                  <a:lnTo>
                    <a:pt x="35" y="877"/>
                  </a:lnTo>
                  <a:lnTo>
                    <a:pt x="33" y="877"/>
                  </a:lnTo>
                  <a:lnTo>
                    <a:pt x="33" y="879"/>
                  </a:lnTo>
                  <a:lnTo>
                    <a:pt x="31" y="879"/>
                  </a:lnTo>
                  <a:lnTo>
                    <a:pt x="29" y="879"/>
                  </a:lnTo>
                  <a:lnTo>
                    <a:pt x="27" y="879"/>
                  </a:lnTo>
                  <a:lnTo>
                    <a:pt x="25" y="877"/>
                  </a:lnTo>
                  <a:lnTo>
                    <a:pt x="25" y="875"/>
                  </a:lnTo>
                  <a:lnTo>
                    <a:pt x="23" y="875"/>
                  </a:lnTo>
                  <a:lnTo>
                    <a:pt x="21" y="875"/>
                  </a:lnTo>
                  <a:lnTo>
                    <a:pt x="20" y="875"/>
                  </a:lnTo>
                  <a:lnTo>
                    <a:pt x="18" y="875"/>
                  </a:lnTo>
                  <a:lnTo>
                    <a:pt x="18" y="874"/>
                  </a:lnTo>
                  <a:lnTo>
                    <a:pt x="16" y="872"/>
                  </a:lnTo>
                  <a:lnTo>
                    <a:pt x="16" y="874"/>
                  </a:lnTo>
                  <a:lnTo>
                    <a:pt x="16" y="872"/>
                  </a:lnTo>
                  <a:lnTo>
                    <a:pt x="14" y="870"/>
                  </a:lnTo>
                  <a:lnTo>
                    <a:pt x="16" y="870"/>
                  </a:lnTo>
                  <a:lnTo>
                    <a:pt x="18" y="868"/>
                  </a:lnTo>
                  <a:lnTo>
                    <a:pt x="16" y="868"/>
                  </a:lnTo>
                  <a:lnTo>
                    <a:pt x="16" y="866"/>
                  </a:lnTo>
                  <a:lnTo>
                    <a:pt x="18" y="866"/>
                  </a:lnTo>
                  <a:lnTo>
                    <a:pt x="18" y="864"/>
                  </a:lnTo>
                  <a:lnTo>
                    <a:pt x="20" y="862"/>
                  </a:lnTo>
                  <a:lnTo>
                    <a:pt x="20" y="860"/>
                  </a:lnTo>
                  <a:lnTo>
                    <a:pt x="20" y="858"/>
                  </a:lnTo>
                  <a:lnTo>
                    <a:pt x="21" y="856"/>
                  </a:lnTo>
                  <a:lnTo>
                    <a:pt x="20" y="854"/>
                  </a:lnTo>
                  <a:lnTo>
                    <a:pt x="18" y="854"/>
                  </a:lnTo>
                  <a:lnTo>
                    <a:pt x="18" y="852"/>
                  </a:lnTo>
                  <a:lnTo>
                    <a:pt x="20" y="851"/>
                  </a:lnTo>
                  <a:lnTo>
                    <a:pt x="21" y="851"/>
                  </a:lnTo>
                  <a:lnTo>
                    <a:pt x="21" y="849"/>
                  </a:lnTo>
                  <a:lnTo>
                    <a:pt x="23" y="849"/>
                  </a:lnTo>
                  <a:lnTo>
                    <a:pt x="23" y="847"/>
                  </a:lnTo>
                  <a:lnTo>
                    <a:pt x="25" y="847"/>
                  </a:lnTo>
                  <a:lnTo>
                    <a:pt x="25" y="845"/>
                  </a:lnTo>
                  <a:lnTo>
                    <a:pt x="25" y="843"/>
                  </a:lnTo>
                  <a:lnTo>
                    <a:pt x="27" y="841"/>
                  </a:lnTo>
                  <a:lnTo>
                    <a:pt x="27" y="839"/>
                  </a:lnTo>
                  <a:lnTo>
                    <a:pt x="29" y="837"/>
                  </a:lnTo>
                  <a:lnTo>
                    <a:pt x="27" y="835"/>
                  </a:lnTo>
                  <a:lnTo>
                    <a:pt x="29" y="833"/>
                  </a:lnTo>
                  <a:lnTo>
                    <a:pt x="29" y="831"/>
                  </a:lnTo>
                  <a:lnTo>
                    <a:pt x="29" y="829"/>
                  </a:lnTo>
                  <a:lnTo>
                    <a:pt x="27" y="829"/>
                  </a:lnTo>
                  <a:lnTo>
                    <a:pt x="29" y="827"/>
                  </a:lnTo>
                  <a:lnTo>
                    <a:pt x="27" y="826"/>
                  </a:lnTo>
                  <a:lnTo>
                    <a:pt x="25" y="826"/>
                  </a:lnTo>
                  <a:lnTo>
                    <a:pt x="23" y="824"/>
                  </a:lnTo>
                  <a:lnTo>
                    <a:pt x="21" y="824"/>
                  </a:lnTo>
                  <a:lnTo>
                    <a:pt x="21" y="822"/>
                  </a:lnTo>
                  <a:lnTo>
                    <a:pt x="20" y="820"/>
                  </a:lnTo>
                  <a:lnTo>
                    <a:pt x="20" y="818"/>
                  </a:lnTo>
                  <a:lnTo>
                    <a:pt x="20" y="816"/>
                  </a:lnTo>
                  <a:lnTo>
                    <a:pt x="20" y="814"/>
                  </a:lnTo>
                  <a:lnTo>
                    <a:pt x="18" y="814"/>
                  </a:lnTo>
                  <a:lnTo>
                    <a:pt x="18" y="812"/>
                  </a:lnTo>
                  <a:lnTo>
                    <a:pt x="18" y="810"/>
                  </a:lnTo>
                  <a:lnTo>
                    <a:pt x="18" y="808"/>
                  </a:lnTo>
                  <a:lnTo>
                    <a:pt x="18" y="806"/>
                  </a:lnTo>
                  <a:lnTo>
                    <a:pt x="16" y="804"/>
                  </a:lnTo>
                  <a:lnTo>
                    <a:pt x="16" y="803"/>
                  </a:lnTo>
                  <a:lnTo>
                    <a:pt x="18" y="801"/>
                  </a:lnTo>
                  <a:lnTo>
                    <a:pt x="20" y="801"/>
                  </a:lnTo>
                  <a:lnTo>
                    <a:pt x="20" y="799"/>
                  </a:lnTo>
                  <a:lnTo>
                    <a:pt x="20" y="797"/>
                  </a:lnTo>
                  <a:lnTo>
                    <a:pt x="18" y="797"/>
                  </a:lnTo>
                  <a:lnTo>
                    <a:pt x="18" y="795"/>
                  </a:lnTo>
                  <a:lnTo>
                    <a:pt x="16" y="795"/>
                  </a:lnTo>
                  <a:lnTo>
                    <a:pt x="16" y="793"/>
                  </a:lnTo>
                  <a:lnTo>
                    <a:pt x="16" y="791"/>
                  </a:lnTo>
                  <a:lnTo>
                    <a:pt x="18" y="791"/>
                  </a:lnTo>
                  <a:lnTo>
                    <a:pt x="18" y="789"/>
                  </a:lnTo>
                  <a:lnTo>
                    <a:pt x="18" y="787"/>
                  </a:lnTo>
                  <a:lnTo>
                    <a:pt x="16" y="787"/>
                  </a:lnTo>
                  <a:lnTo>
                    <a:pt x="18" y="785"/>
                  </a:lnTo>
                  <a:lnTo>
                    <a:pt x="16" y="785"/>
                  </a:lnTo>
                  <a:lnTo>
                    <a:pt x="16" y="783"/>
                  </a:lnTo>
                  <a:lnTo>
                    <a:pt x="18" y="783"/>
                  </a:lnTo>
                  <a:lnTo>
                    <a:pt x="18" y="781"/>
                  </a:lnTo>
                  <a:lnTo>
                    <a:pt x="18" y="779"/>
                  </a:lnTo>
                  <a:lnTo>
                    <a:pt x="16" y="778"/>
                  </a:lnTo>
                  <a:lnTo>
                    <a:pt x="16" y="776"/>
                  </a:lnTo>
                  <a:lnTo>
                    <a:pt x="16" y="774"/>
                  </a:lnTo>
                  <a:lnTo>
                    <a:pt x="14" y="774"/>
                  </a:lnTo>
                  <a:lnTo>
                    <a:pt x="14" y="772"/>
                  </a:lnTo>
                  <a:lnTo>
                    <a:pt x="12" y="774"/>
                  </a:lnTo>
                  <a:lnTo>
                    <a:pt x="10" y="774"/>
                  </a:lnTo>
                  <a:lnTo>
                    <a:pt x="10" y="776"/>
                  </a:lnTo>
                  <a:lnTo>
                    <a:pt x="8" y="774"/>
                  </a:lnTo>
                  <a:lnTo>
                    <a:pt x="8" y="772"/>
                  </a:lnTo>
                  <a:lnTo>
                    <a:pt x="8" y="770"/>
                  </a:lnTo>
                  <a:lnTo>
                    <a:pt x="6" y="770"/>
                  </a:lnTo>
                  <a:lnTo>
                    <a:pt x="6" y="768"/>
                  </a:lnTo>
                  <a:lnTo>
                    <a:pt x="4" y="768"/>
                  </a:lnTo>
                  <a:lnTo>
                    <a:pt x="4" y="766"/>
                  </a:lnTo>
                  <a:lnTo>
                    <a:pt x="2" y="766"/>
                  </a:lnTo>
                  <a:lnTo>
                    <a:pt x="2" y="764"/>
                  </a:lnTo>
                  <a:lnTo>
                    <a:pt x="0" y="762"/>
                  </a:lnTo>
                  <a:lnTo>
                    <a:pt x="2" y="762"/>
                  </a:lnTo>
                  <a:lnTo>
                    <a:pt x="2" y="760"/>
                  </a:lnTo>
                  <a:lnTo>
                    <a:pt x="4" y="760"/>
                  </a:lnTo>
                  <a:lnTo>
                    <a:pt x="4" y="758"/>
                  </a:lnTo>
                  <a:lnTo>
                    <a:pt x="4" y="756"/>
                  </a:lnTo>
                  <a:lnTo>
                    <a:pt x="4" y="755"/>
                  </a:lnTo>
                  <a:lnTo>
                    <a:pt x="6" y="753"/>
                  </a:lnTo>
                  <a:lnTo>
                    <a:pt x="8" y="751"/>
                  </a:lnTo>
                  <a:lnTo>
                    <a:pt x="10" y="751"/>
                  </a:lnTo>
                  <a:lnTo>
                    <a:pt x="8" y="751"/>
                  </a:lnTo>
                  <a:lnTo>
                    <a:pt x="8" y="749"/>
                  </a:lnTo>
                  <a:lnTo>
                    <a:pt x="10" y="749"/>
                  </a:lnTo>
                  <a:lnTo>
                    <a:pt x="10" y="747"/>
                  </a:lnTo>
                  <a:lnTo>
                    <a:pt x="12" y="747"/>
                  </a:lnTo>
                  <a:lnTo>
                    <a:pt x="14" y="747"/>
                  </a:lnTo>
                  <a:lnTo>
                    <a:pt x="14" y="745"/>
                  </a:lnTo>
                  <a:lnTo>
                    <a:pt x="14" y="743"/>
                  </a:lnTo>
                  <a:lnTo>
                    <a:pt x="12" y="743"/>
                  </a:lnTo>
                  <a:lnTo>
                    <a:pt x="12" y="741"/>
                  </a:lnTo>
                  <a:lnTo>
                    <a:pt x="12" y="739"/>
                  </a:lnTo>
                  <a:lnTo>
                    <a:pt x="12" y="737"/>
                  </a:lnTo>
                  <a:lnTo>
                    <a:pt x="10" y="737"/>
                  </a:lnTo>
                  <a:lnTo>
                    <a:pt x="8" y="737"/>
                  </a:lnTo>
                  <a:lnTo>
                    <a:pt x="8" y="735"/>
                  </a:lnTo>
                  <a:lnTo>
                    <a:pt x="10" y="735"/>
                  </a:lnTo>
                  <a:lnTo>
                    <a:pt x="12" y="735"/>
                  </a:lnTo>
                  <a:lnTo>
                    <a:pt x="12" y="733"/>
                  </a:lnTo>
                  <a:lnTo>
                    <a:pt x="12" y="731"/>
                  </a:lnTo>
                  <a:lnTo>
                    <a:pt x="12" y="730"/>
                  </a:lnTo>
                  <a:lnTo>
                    <a:pt x="12" y="728"/>
                  </a:lnTo>
                  <a:lnTo>
                    <a:pt x="12" y="726"/>
                  </a:lnTo>
                  <a:lnTo>
                    <a:pt x="12" y="724"/>
                  </a:lnTo>
                  <a:lnTo>
                    <a:pt x="12" y="722"/>
                  </a:lnTo>
                  <a:lnTo>
                    <a:pt x="14" y="722"/>
                  </a:lnTo>
                  <a:lnTo>
                    <a:pt x="12" y="720"/>
                  </a:lnTo>
                  <a:lnTo>
                    <a:pt x="12" y="718"/>
                  </a:lnTo>
                  <a:lnTo>
                    <a:pt x="14" y="716"/>
                  </a:lnTo>
                  <a:lnTo>
                    <a:pt x="16" y="718"/>
                  </a:lnTo>
                  <a:lnTo>
                    <a:pt x="16" y="716"/>
                  </a:lnTo>
                  <a:lnTo>
                    <a:pt x="18" y="716"/>
                  </a:lnTo>
                  <a:lnTo>
                    <a:pt x="18" y="714"/>
                  </a:lnTo>
                  <a:lnTo>
                    <a:pt x="20" y="712"/>
                  </a:lnTo>
                  <a:lnTo>
                    <a:pt x="21" y="712"/>
                  </a:lnTo>
                  <a:lnTo>
                    <a:pt x="23" y="710"/>
                  </a:lnTo>
                  <a:lnTo>
                    <a:pt x="23" y="708"/>
                  </a:lnTo>
                  <a:lnTo>
                    <a:pt x="21" y="708"/>
                  </a:lnTo>
                  <a:lnTo>
                    <a:pt x="20" y="708"/>
                  </a:lnTo>
                  <a:lnTo>
                    <a:pt x="20" y="707"/>
                  </a:lnTo>
                  <a:lnTo>
                    <a:pt x="20" y="705"/>
                  </a:lnTo>
                  <a:lnTo>
                    <a:pt x="20" y="703"/>
                  </a:lnTo>
                  <a:lnTo>
                    <a:pt x="20" y="701"/>
                  </a:lnTo>
                  <a:lnTo>
                    <a:pt x="21" y="701"/>
                  </a:lnTo>
                  <a:lnTo>
                    <a:pt x="21" y="699"/>
                  </a:lnTo>
                  <a:lnTo>
                    <a:pt x="20" y="699"/>
                  </a:lnTo>
                  <a:lnTo>
                    <a:pt x="20" y="697"/>
                  </a:lnTo>
                  <a:lnTo>
                    <a:pt x="20" y="695"/>
                  </a:lnTo>
                  <a:lnTo>
                    <a:pt x="20" y="693"/>
                  </a:lnTo>
                  <a:lnTo>
                    <a:pt x="18" y="693"/>
                  </a:lnTo>
                  <a:lnTo>
                    <a:pt x="18" y="691"/>
                  </a:lnTo>
                  <a:lnTo>
                    <a:pt x="18" y="689"/>
                  </a:lnTo>
                  <a:lnTo>
                    <a:pt x="20" y="689"/>
                  </a:lnTo>
                  <a:lnTo>
                    <a:pt x="21" y="689"/>
                  </a:lnTo>
                  <a:lnTo>
                    <a:pt x="23" y="689"/>
                  </a:lnTo>
                  <a:lnTo>
                    <a:pt x="25" y="689"/>
                  </a:lnTo>
                  <a:lnTo>
                    <a:pt x="27" y="689"/>
                  </a:lnTo>
                  <a:lnTo>
                    <a:pt x="29" y="687"/>
                  </a:lnTo>
                  <a:lnTo>
                    <a:pt x="29" y="685"/>
                  </a:lnTo>
                  <a:lnTo>
                    <a:pt x="31" y="685"/>
                  </a:lnTo>
                  <a:lnTo>
                    <a:pt x="33" y="687"/>
                  </a:lnTo>
                  <a:lnTo>
                    <a:pt x="33" y="685"/>
                  </a:lnTo>
                  <a:lnTo>
                    <a:pt x="33" y="683"/>
                  </a:lnTo>
                  <a:lnTo>
                    <a:pt x="33" y="682"/>
                  </a:lnTo>
                  <a:lnTo>
                    <a:pt x="33" y="680"/>
                  </a:lnTo>
                  <a:lnTo>
                    <a:pt x="33" y="678"/>
                  </a:lnTo>
                  <a:lnTo>
                    <a:pt x="35" y="678"/>
                  </a:lnTo>
                  <a:lnTo>
                    <a:pt x="35" y="676"/>
                  </a:lnTo>
                  <a:lnTo>
                    <a:pt x="33" y="676"/>
                  </a:lnTo>
                  <a:lnTo>
                    <a:pt x="31" y="676"/>
                  </a:lnTo>
                  <a:lnTo>
                    <a:pt x="31" y="674"/>
                  </a:lnTo>
                  <a:lnTo>
                    <a:pt x="31" y="672"/>
                  </a:lnTo>
                  <a:lnTo>
                    <a:pt x="33" y="672"/>
                  </a:lnTo>
                  <a:lnTo>
                    <a:pt x="33" y="670"/>
                  </a:lnTo>
                  <a:lnTo>
                    <a:pt x="35" y="670"/>
                  </a:lnTo>
                  <a:lnTo>
                    <a:pt x="33" y="670"/>
                  </a:lnTo>
                  <a:lnTo>
                    <a:pt x="31" y="670"/>
                  </a:lnTo>
                  <a:lnTo>
                    <a:pt x="29" y="670"/>
                  </a:lnTo>
                  <a:lnTo>
                    <a:pt x="27" y="668"/>
                  </a:lnTo>
                  <a:lnTo>
                    <a:pt x="29" y="668"/>
                  </a:lnTo>
                  <a:lnTo>
                    <a:pt x="29" y="666"/>
                  </a:lnTo>
                  <a:lnTo>
                    <a:pt x="31" y="666"/>
                  </a:lnTo>
                  <a:lnTo>
                    <a:pt x="33" y="666"/>
                  </a:lnTo>
                  <a:lnTo>
                    <a:pt x="35" y="666"/>
                  </a:lnTo>
                  <a:lnTo>
                    <a:pt x="37" y="666"/>
                  </a:lnTo>
                  <a:lnTo>
                    <a:pt x="37" y="664"/>
                  </a:lnTo>
                  <a:lnTo>
                    <a:pt x="37" y="662"/>
                  </a:lnTo>
                  <a:lnTo>
                    <a:pt x="39" y="662"/>
                  </a:lnTo>
                  <a:lnTo>
                    <a:pt x="39" y="660"/>
                  </a:lnTo>
                  <a:lnTo>
                    <a:pt x="37" y="660"/>
                  </a:lnTo>
                  <a:lnTo>
                    <a:pt x="37" y="659"/>
                  </a:lnTo>
                  <a:lnTo>
                    <a:pt x="35" y="660"/>
                  </a:lnTo>
                  <a:lnTo>
                    <a:pt x="33" y="660"/>
                  </a:lnTo>
                  <a:lnTo>
                    <a:pt x="33" y="659"/>
                  </a:lnTo>
                  <a:lnTo>
                    <a:pt x="33" y="657"/>
                  </a:lnTo>
                  <a:lnTo>
                    <a:pt x="33" y="655"/>
                  </a:lnTo>
                  <a:lnTo>
                    <a:pt x="33" y="651"/>
                  </a:lnTo>
                  <a:lnTo>
                    <a:pt x="31" y="651"/>
                  </a:lnTo>
                  <a:lnTo>
                    <a:pt x="31" y="649"/>
                  </a:lnTo>
                  <a:lnTo>
                    <a:pt x="29" y="647"/>
                  </a:lnTo>
                  <a:lnTo>
                    <a:pt x="29" y="645"/>
                  </a:lnTo>
                  <a:lnTo>
                    <a:pt x="29" y="643"/>
                  </a:lnTo>
                  <a:lnTo>
                    <a:pt x="31" y="643"/>
                  </a:lnTo>
                  <a:lnTo>
                    <a:pt x="31" y="641"/>
                  </a:lnTo>
                  <a:lnTo>
                    <a:pt x="29" y="641"/>
                  </a:lnTo>
                  <a:lnTo>
                    <a:pt x="29" y="639"/>
                  </a:lnTo>
                  <a:lnTo>
                    <a:pt x="29" y="637"/>
                  </a:lnTo>
                  <a:lnTo>
                    <a:pt x="29" y="635"/>
                  </a:lnTo>
                  <a:lnTo>
                    <a:pt x="29" y="634"/>
                  </a:lnTo>
                  <a:lnTo>
                    <a:pt x="31" y="634"/>
                  </a:lnTo>
                  <a:lnTo>
                    <a:pt x="31" y="635"/>
                  </a:lnTo>
                  <a:lnTo>
                    <a:pt x="33" y="634"/>
                  </a:lnTo>
                  <a:lnTo>
                    <a:pt x="33" y="632"/>
                  </a:lnTo>
                  <a:lnTo>
                    <a:pt x="33" y="630"/>
                  </a:lnTo>
                  <a:lnTo>
                    <a:pt x="33" y="628"/>
                  </a:lnTo>
                  <a:lnTo>
                    <a:pt x="33" y="626"/>
                  </a:lnTo>
                  <a:lnTo>
                    <a:pt x="35" y="624"/>
                  </a:lnTo>
                  <a:lnTo>
                    <a:pt x="35" y="622"/>
                  </a:lnTo>
                  <a:lnTo>
                    <a:pt x="35" y="620"/>
                  </a:lnTo>
                  <a:lnTo>
                    <a:pt x="35" y="618"/>
                  </a:lnTo>
                  <a:lnTo>
                    <a:pt x="35" y="616"/>
                  </a:lnTo>
                  <a:lnTo>
                    <a:pt x="33" y="614"/>
                  </a:lnTo>
                  <a:lnTo>
                    <a:pt x="33" y="612"/>
                  </a:lnTo>
                  <a:lnTo>
                    <a:pt x="31" y="612"/>
                  </a:lnTo>
                  <a:lnTo>
                    <a:pt x="33" y="612"/>
                  </a:lnTo>
                  <a:lnTo>
                    <a:pt x="31" y="612"/>
                  </a:lnTo>
                  <a:lnTo>
                    <a:pt x="29" y="612"/>
                  </a:lnTo>
                  <a:lnTo>
                    <a:pt x="29" y="614"/>
                  </a:lnTo>
                  <a:lnTo>
                    <a:pt x="27" y="612"/>
                  </a:lnTo>
                  <a:lnTo>
                    <a:pt x="27" y="614"/>
                  </a:lnTo>
                  <a:lnTo>
                    <a:pt x="25" y="612"/>
                  </a:lnTo>
                  <a:lnTo>
                    <a:pt x="23" y="612"/>
                  </a:lnTo>
                  <a:lnTo>
                    <a:pt x="23" y="611"/>
                  </a:lnTo>
                  <a:lnTo>
                    <a:pt x="21" y="611"/>
                  </a:lnTo>
                  <a:lnTo>
                    <a:pt x="21" y="609"/>
                  </a:lnTo>
                  <a:lnTo>
                    <a:pt x="20" y="609"/>
                  </a:lnTo>
                  <a:lnTo>
                    <a:pt x="21" y="607"/>
                  </a:lnTo>
                  <a:lnTo>
                    <a:pt x="25" y="605"/>
                  </a:lnTo>
                  <a:lnTo>
                    <a:pt x="27" y="607"/>
                  </a:lnTo>
                  <a:lnTo>
                    <a:pt x="27" y="605"/>
                  </a:lnTo>
                  <a:lnTo>
                    <a:pt x="29" y="605"/>
                  </a:lnTo>
                  <a:lnTo>
                    <a:pt x="27" y="603"/>
                  </a:lnTo>
                  <a:lnTo>
                    <a:pt x="27" y="601"/>
                  </a:lnTo>
                  <a:lnTo>
                    <a:pt x="25" y="601"/>
                  </a:lnTo>
                  <a:lnTo>
                    <a:pt x="25" y="599"/>
                  </a:lnTo>
                  <a:lnTo>
                    <a:pt x="25" y="597"/>
                  </a:lnTo>
                  <a:lnTo>
                    <a:pt x="25" y="593"/>
                  </a:lnTo>
                  <a:lnTo>
                    <a:pt x="27" y="593"/>
                  </a:lnTo>
                  <a:lnTo>
                    <a:pt x="27" y="591"/>
                  </a:lnTo>
                  <a:lnTo>
                    <a:pt x="27" y="589"/>
                  </a:lnTo>
                  <a:lnTo>
                    <a:pt x="25" y="589"/>
                  </a:lnTo>
                  <a:lnTo>
                    <a:pt x="25" y="588"/>
                  </a:lnTo>
                  <a:lnTo>
                    <a:pt x="25" y="586"/>
                  </a:lnTo>
                  <a:lnTo>
                    <a:pt x="25" y="584"/>
                  </a:lnTo>
                  <a:lnTo>
                    <a:pt x="23" y="582"/>
                  </a:lnTo>
                  <a:lnTo>
                    <a:pt x="23" y="580"/>
                  </a:lnTo>
                  <a:lnTo>
                    <a:pt x="21" y="580"/>
                  </a:lnTo>
                  <a:lnTo>
                    <a:pt x="21" y="578"/>
                  </a:lnTo>
                  <a:lnTo>
                    <a:pt x="20" y="578"/>
                  </a:lnTo>
                  <a:lnTo>
                    <a:pt x="20" y="576"/>
                  </a:lnTo>
                  <a:lnTo>
                    <a:pt x="20" y="574"/>
                  </a:lnTo>
                  <a:lnTo>
                    <a:pt x="21" y="574"/>
                  </a:lnTo>
                  <a:lnTo>
                    <a:pt x="23" y="574"/>
                  </a:lnTo>
                  <a:lnTo>
                    <a:pt x="25" y="574"/>
                  </a:lnTo>
                  <a:lnTo>
                    <a:pt x="25" y="572"/>
                  </a:lnTo>
                  <a:lnTo>
                    <a:pt x="25" y="570"/>
                  </a:lnTo>
                  <a:lnTo>
                    <a:pt x="27" y="570"/>
                  </a:lnTo>
                  <a:lnTo>
                    <a:pt x="29" y="570"/>
                  </a:lnTo>
                  <a:lnTo>
                    <a:pt x="31" y="568"/>
                  </a:lnTo>
                  <a:lnTo>
                    <a:pt x="33" y="568"/>
                  </a:lnTo>
                  <a:lnTo>
                    <a:pt x="35" y="566"/>
                  </a:lnTo>
                  <a:lnTo>
                    <a:pt x="33" y="566"/>
                  </a:lnTo>
                  <a:lnTo>
                    <a:pt x="33" y="564"/>
                  </a:lnTo>
                  <a:lnTo>
                    <a:pt x="31" y="563"/>
                  </a:lnTo>
                  <a:lnTo>
                    <a:pt x="33" y="561"/>
                  </a:lnTo>
                  <a:lnTo>
                    <a:pt x="35" y="559"/>
                  </a:lnTo>
                  <a:lnTo>
                    <a:pt x="33" y="559"/>
                  </a:lnTo>
                  <a:lnTo>
                    <a:pt x="31" y="559"/>
                  </a:lnTo>
                  <a:lnTo>
                    <a:pt x="29" y="557"/>
                  </a:lnTo>
                  <a:lnTo>
                    <a:pt x="29" y="555"/>
                  </a:lnTo>
                  <a:lnTo>
                    <a:pt x="31" y="553"/>
                  </a:lnTo>
                  <a:lnTo>
                    <a:pt x="31" y="555"/>
                  </a:lnTo>
                  <a:lnTo>
                    <a:pt x="31" y="553"/>
                  </a:lnTo>
                  <a:lnTo>
                    <a:pt x="33" y="553"/>
                  </a:lnTo>
                  <a:lnTo>
                    <a:pt x="35" y="553"/>
                  </a:lnTo>
                  <a:lnTo>
                    <a:pt x="35" y="551"/>
                  </a:lnTo>
                  <a:lnTo>
                    <a:pt x="37" y="553"/>
                  </a:lnTo>
                  <a:lnTo>
                    <a:pt x="39" y="551"/>
                  </a:lnTo>
                  <a:lnTo>
                    <a:pt x="41" y="549"/>
                  </a:lnTo>
                  <a:lnTo>
                    <a:pt x="43" y="549"/>
                  </a:lnTo>
                  <a:lnTo>
                    <a:pt x="44" y="549"/>
                  </a:lnTo>
                  <a:lnTo>
                    <a:pt x="46" y="549"/>
                  </a:lnTo>
                  <a:lnTo>
                    <a:pt x="48" y="549"/>
                  </a:lnTo>
                  <a:lnTo>
                    <a:pt x="50" y="549"/>
                  </a:lnTo>
                  <a:lnTo>
                    <a:pt x="50" y="547"/>
                  </a:lnTo>
                  <a:lnTo>
                    <a:pt x="50" y="545"/>
                  </a:lnTo>
                  <a:lnTo>
                    <a:pt x="52" y="545"/>
                  </a:lnTo>
                  <a:lnTo>
                    <a:pt x="54" y="545"/>
                  </a:lnTo>
                  <a:lnTo>
                    <a:pt x="56" y="543"/>
                  </a:lnTo>
                  <a:lnTo>
                    <a:pt x="58" y="543"/>
                  </a:lnTo>
                  <a:lnTo>
                    <a:pt x="58" y="541"/>
                  </a:lnTo>
                  <a:lnTo>
                    <a:pt x="58" y="540"/>
                  </a:lnTo>
                  <a:lnTo>
                    <a:pt x="58" y="538"/>
                  </a:lnTo>
                  <a:lnTo>
                    <a:pt x="58" y="536"/>
                  </a:lnTo>
                  <a:lnTo>
                    <a:pt x="60" y="534"/>
                  </a:lnTo>
                  <a:lnTo>
                    <a:pt x="58" y="534"/>
                  </a:lnTo>
                  <a:lnTo>
                    <a:pt x="58" y="532"/>
                  </a:lnTo>
                  <a:lnTo>
                    <a:pt x="60" y="532"/>
                  </a:lnTo>
                  <a:lnTo>
                    <a:pt x="60" y="530"/>
                  </a:lnTo>
                  <a:lnTo>
                    <a:pt x="58" y="530"/>
                  </a:lnTo>
                  <a:lnTo>
                    <a:pt x="58" y="528"/>
                  </a:lnTo>
                  <a:lnTo>
                    <a:pt x="58" y="526"/>
                  </a:lnTo>
                  <a:lnTo>
                    <a:pt x="58" y="524"/>
                  </a:lnTo>
                  <a:lnTo>
                    <a:pt x="60" y="524"/>
                  </a:lnTo>
                  <a:lnTo>
                    <a:pt x="62" y="522"/>
                  </a:lnTo>
                  <a:lnTo>
                    <a:pt x="64" y="522"/>
                  </a:lnTo>
                  <a:lnTo>
                    <a:pt x="66" y="522"/>
                  </a:lnTo>
                  <a:lnTo>
                    <a:pt x="68" y="522"/>
                  </a:lnTo>
                  <a:lnTo>
                    <a:pt x="68" y="520"/>
                  </a:lnTo>
                  <a:lnTo>
                    <a:pt x="66" y="520"/>
                  </a:lnTo>
                  <a:lnTo>
                    <a:pt x="64" y="520"/>
                  </a:lnTo>
                  <a:lnTo>
                    <a:pt x="64" y="518"/>
                  </a:lnTo>
                  <a:lnTo>
                    <a:pt x="66" y="516"/>
                  </a:lnTo>
                  <a:lnTo>
                    <a:pt x="64" y="516"/>
                  </a:lnTo>
                  <a:lnTo>
                    <a:pt x="64" y="515"/>
                  </a:lnTo>
                  <a:lnTo>
                    <a:pt x="62" y="515"/>
                  </a:lnTo>
                  <a:lnTo>
                    <a:pt x="62" y="516"/>
                  </a:lnTo>
                  <a:lnTo>
                    <a:pt x="60" y="516"/>
                  </a:lnTo>
                  <a:lnTo>
                    <a:pt x="58" y="516"/>
                  </a:lnTo>
                  <a:lnTo>
                    <a:pt x="56" y="516"/>
                  </a:lnTo>
                  <a:lnTo>
                    <a:pt x="56" y="518"/>
                  </a:lnTo>
                  <a:lnTo>
                    <a:pt x="54" y="518"/>
                  </a:lnTo>
                  <a:lnTo>
                    <a:pt x="52" y="518"/>
                  </a:lnTo>
                  <a:lnTo>
                    <a:pt x="52" y="516"/>
                  </a:lnTo>
                  <a:lnTo>
                    <a:pt x="52" y="515"/>
                  </a:lnTo>
                  <a:lnTo>
                    <a:pt x="54" y="513"/>
                  </a:lnTo>
                  <a:lnTo>
                    <a:pt x="56" y="513"/>
                  </a:lnTo>
                  <a:lnTo>
                    <a:pt x="58" y="511"/>
                  </a:lnTo>
                  <a:lnTo>
                    <a:pt x="56" y="511"/>
                  </a:lnTo>
                  <a:lnTo>
                    <a:pt x="54" y="509"/>
                  </a:lnTo>
                  <a:lnTo>
                    <a:pt x="54" y="507"/>
                  </a:lnTo>
                  <a:lnTo>
                    <a:pt x="52" y="507"/>
                  </a:lnTo>
                  <a:lnTo>
                    <a:pt x="50" y="507"/>
                  </a:lnTo>
                  <a:lnTo>
                    <a:pt x="48" y="507"/>
                  </a:lnTo>
                  <a:lnTo>
                    <a:pt x="44" y="507"/>
                  </a:lnTo>
                  <a:lnTo>
                    <a:pt x="43" y="507"/>
                  </a:lnTo>
                  <a:lnTo>
                    <a:pt x="43" y="505"/>
                  </a:lnTo>
                  <a:lnTo>
                    <a:pt x="41" y="505"/>
                  </a:lnTo>
                  <a:lnTo>
                    <a:pt x="41" y="503"/>
                  </a:lnTo>
                  <a:lnTo>
                    <a:pt x="41" y="501"/>
                  </a:lnTo>
                  <a:lnTo>
                    <a:pt x="43" y="501"/>
                  </a:lnTo>
                  <a:lnTo>
                    <a:pt x="44" y="499"/>
                  </a:lnTo>
                  <a:lnTo>
                    <a:pt x="44" y="497"/>
                  </a:lnTo>
                  <a:lnTo>
                    <a:pt x="44" y="495"/>
                  </a:lnTo>
                  <a:lnTo>
                    <a:pt x="46" y="495"/>
                  </a:lnTo>
                  <a:lnTo>
                    <a:pt x="48" y="495"/>
                  </a:lnTo>
                  <a:lnTo>
                    <a:pt x="50" y="493"/>
                  </a:lnTo>
                  <a:lnTo>
                    <a:pt x="52" y="492"/>
                  </a:lnTo>
                  <a:lnTo>
                    <a:pt x="54" y="490"/>
                  </a:lnTo>
                  <a:lnTo>
                    <a:pt x="54" y="488"/>
                  </a:lnTo>
                  <a:lnTo>
                    <a:pt x="50" y="484"/>
                  </a:lnTo>
                  <a:lnTo>
                    <a:pt x="50" y="482"/>
                  </a:lnTo>
                  <a:lnTo>
                    <a:pt x="52" y="482"/>
                  </a:lnTo>
                  <a:lnTo>
                    <a:pt x="54" y="482"/>
                  </a:lnTo>
                  <a:lnTo>
                    <a:pt x="54" y="480"/>
                  </a:lnTo>
                  <a:lnTo>
                    <a:pt x="56" y="478"/>
                  </a:lnTo>
                  <a:lnTo>
                    <a:pt x="58" y="478"/>
                  </a:lnTo>
                  <a:lnTo>
                    <a:pt x="58" y="480"/>
                  </a:lnTo>
                  <a:lnTo>
                    <a:pt x="60" y="480"/>
                  </a:lnTo>
                  <a:lnTo>
                    <a:pt x="60" y="476"/>
                  </a:lnTo>
                  <a:lnTo>
                    <a:pt x="62" y="474"/>
                  </a:lnTo>
                  <a:lnTo>
                    <a:pt x="64" y="476"/>
                  </a:lnTo>
                  <a:lnTo>
                    <a:pt x="64" y="474"/>
                  </a:lnTo>
                  <a:lnTo>
                    <a:pt x="64" y="472"/>
                  </a:lnTo>
                  <a:lnTo>
                    <a:pt x="64" y="470"/>
                  </a:lnTo>
                  <a:lnTo>
                    <a:pt x="64" y="468"/>
                  </a:lnTo>
                  <a:lnTo>
                    <a:pt x="64" y="467"/>
                  </a:lnTo>
                  <a:lnTo>
                    <a:pt x="66" y="467"/>
                  </a:lnTo>
                  <a:lnTo>
                    <a:pt x="66" y="465"/>
                  </a:lnTo>
                  <a:lnTo>
                    <a:pt x="66" y="463"/>
                  </a:lnTo>
                  <a:lnTo>
                    <a:pt x="68" y="463"/>
                  </a:lnTo>
                  <a:lnTo>
                    <a:pt x="69" y="461"/>
                  </a:lnTo>
                  <a:lnTo>
                    <a:pt x="69" y="459"/>
                  </a:lnTo>
                  <a:lnTo>
                    <a:pt x="69" y="457"/>
                  </a:lnTo>
                  <a:lnTo>
                    <a:pt x="69" y="455"/>
                  </a:lnTo>
                  <a:lnTo>
                    <a:pt x="71" y="455"/>
                  </a:lnTo>
                  <a:lnTo>
                    <a:pt x="69" y="453"/>
                  </a:lnTo>
                  <a:lnTo>
                    <a:pt x="69" y="451"/>
                  </a:lnTo>
                  <a:lnTo>
                    <a:pt x="69" y="449"/>
                  </a:lnTo>
                  <a:lnTo>
                    <a:pt x="69" y="447"/>
                  </a:lnTo>
                  <a:lnTo>
                    <a:pt x="71" y="447"/>
                  </a:lnTo>
                  <a:lnTo>
                    <a:pt x="73" y="449"/>
                  </a:lnTo>
                  <a:lnTo>
                    <a:pt x="75" y="451"/>
                  </a:lnTo>
                  <a:lnTo>
                    <a:pt x="75" y="449"/>
                  </a:lnTo>
                  <a:lnTo>
                    <a:pt x="73" y="447"/>
                  </a:lnTo>
                  <a:lnTo>
                    <a:pt x="71" y="447"/>
                  </a:lnTo>
                  <a:lnTo>
                    <a:pt x="71" y="445"/>
                  </a:lnTo>
                  <a:lnTo>
                    <a:pt x="69" y="445"/>
                  </a:lnTo>
                  <a:lnTo>
                    <a:pt x="69" y="444"/>
                  </a:lnTo>
                  <a:lnTo>
                    <a:pt x="68" y="444"/>
                  </a:lnTo>
                  <a:lnTo>
                    <a:pt x="68" y="442"/>
                  </a:lnTo>
                  <a:lnTo>
                    <a:pt x="66" y="442"/>
                  </a:lnTo>
                  <a:lnTo>
                    <a:pt x="64" y="442"/>
                  </a:lnTo>
                  <a:lnTo>
                    <a:pt x="64" y="440"/>
                  </a:lnTo>
                  <a:lnTo>
                    <a:pt x="62" y="440"/>
                  </a:lnTo>
                  <a:lnTo>
                    <a:pt x="62" y="438"/>
                  </a:lnTo>
                  <a:lnTo>
                    <a:pt x="60" y="438"/>
                  </a:lnTo>
                  <a:lnTo>
                    <a:pt x="60" y="436"/>
                  </a:lnTo>
                  <a:lnTo>
                    <a:pt x="58" y="436"/>
                  </a:lnTo>
                  <a:lnTo>
                    <a:pt x="58" y="434"/>
                  </a:lnTo>
                  <a:lnTo>
                    <a:pt x="56" y="434"/>
                  </a:lnTo>
                  <a:lnTo>
                    <a:pt x="54" y="434"/>
                  </a:lnTo>
                  <a:lnTo>
                    <a:pt x="54" y="432"/>
                  </a:lnTo>
                  <a:lnTo>
                    <a:pt x="52" y="432"/>
                  </a:lnTo>
                  <a:lnTo>
                    <a:pt x="52" y="430"/>
                  </a:lnTo>
                  <a:lnTo>
                    <a:pt x="50" y="430"/>
                  </a:lnTo>
                  <a:lnTo>
                    <a:pt x="50" y="428"/>
                  </a:lnTo>
                  <a:lnTo>
                    <a:pt x="48" y="428"/>
                  </a:lnTo>
                  <a:lnTo>
                    <a:pt x="48" y="426"/>
                  </a:lnTo>
                  <a:lnTo>
                    <a:pt x="46" y="426"/>
                  </a:lnTo>
                  <a:lnTo>
                    <a:pt x="44" y="426"/>
                  </a:lnTo>
                  <a:lnTo>
                    <a:pt x="44" y="424"/>
                  </a:lnTo>
                  <a:lnTo>
                    <a:pt x="43" y="424"/>
                  </a:lnTo>
                  <a:lnTo>
                    <a:pt x="43" y="422"/>
                  </a:lnTo>
                  <a:lnTo>
                    <a:pt x="41" y="422"/>
                  </a:lnTo>
                  <a:lnTo>
                    <a:pt x="41" y="420"/>
                  </a:lnTo>
                  <a:lnTo>
                    <a:pt x="39" y="420"/>
                  </a:lnTo>
                  <a:lnTo>
                    <a:pt x="39" y="419"/>
                  </a:lnTo>
                  <a:lnTo>
                    <a:pt x="37" y="419"/>
                  </a:lnTo>
                  <a:lnTo>
                    <a:pt x="37" y="417"/>
                  </a:lnTo>
                  <a:lnTo>
                    <a:pt x="35" y="417"/>
                  </a:lnTo>
                  <a:lnTo>
                    <a:pt x="33" y="417"/>
                  </a:lnTo>
                  <a:lnTo>
                    <a:pt x="33" y="415"/>
                  </a:lnTo>
                  <a:lnTo>
                    <a:pt x="33" y="413"/>
                  </a:lnTo>
                  <a:lnTo>
                    <a:pt x="33" y="411"/>
                  </a:lnTo>
                  <a:lnTo>
                    <a:pt x="35" y="411"/>
                  </a:lnTo>
                  <a:lnTo>
                    <a:pt x="35" y="409"/>
                  </a:lnTo>
                  <a:lnTo>
                    <a:pt x="37" y="407"/>
                  </a:lnTo>
                  <a:lnTo>
                    <a:pt x="39" y="405"/>
                  </a:lnTo>
                  <a:lnTo>
                    <a:pt x="43" y="403"/>
                  </a:lnTo>
                  <a:lnTo>
                    <a:pt x="44" y="403"/>
                  </a:lnTo>
                  <a:lnTo>
                    <a:pt x="44" y="401"/>
                  </a:lnTo>
                  <a:lnTo>
                    <a:pt x="46" y="401"/>
                  </a:lnTo>
                  <a:lnTo>
                    <a:pt x="46" y="399"/>
                  </a:lnTo>
                  <a:lnTo>
                    <a:pt x="46" y="397"/>
                  </a:lnTo>
                  <a:lnTo>
                    <a:pt x="48" y="396"/>
                  </a:lnTo>
                  <a:lnTo>
                    <a:pt x="46" y="396"/>
                  </a:lnTo>
                  <a:lnTo>
                    <a:pt x="48" y="394"/>
                  </a:lnTo>
                  <a:lnTo>
                    <a:pt x="50" y="394"/>
                  </a:lnTo>
                  <a:lnTo>
                    <a:pt x="50" y="392"/>
                  </a:lnTo>
                  <a:lnTo>
                    <a:pt x="52" y="392"/>
                  </a:lnTo>
                  <a:lnTo>
                    <a:pt x="52" y="390"/>
                  </a:lnTo>
                  <a:lnTo>
                    <a:pt x="54" y="388"/>
                  </a:lnTo>
                  <a:lnTo>
                    <a:pt x="56" y="384"/>
                  </a:lnTo>
                  <a:lnTo>
                    <a:pt x="54" y="384"/>
                  </a:lnTo>
                  <a:lnTo>
                    <a:pt x="56" y="382"/>
                  </a:lnTo>
                  <a:lnTo>
                    <a:pt x="54" y="382"/>
                  </a:lnTo>
                  <a:lnTo>
                    <a:pt x="52" y="380"/>
                  </a:lnTo>
                  <a:lnTo>
                    <a:pt x="54" y="378"/>
                  </a:lnTo>
                  <a:lnTo>
                    <a:pt x="56" y="376"/>
                  </a:lnTo>
                  <a:lnTo>
                    <a:pt x="58" y="374"/>
                  </a:lnTo>
                  <a:lnTo>
                    <a:pt x="58" y="372"/>
                  </a:lnTo>
                  <a:lnTo>
                    <a:pt x="60" y="372"/>
                  </a:lnTo>
                  <a:lnTo>
                    <a:pt x="60" y="371"/>
                  </a:lnTo>
                  <a:lnTo>
                    <a:pt x="62" y="369"/>
                  </a:lnTo>
                  <a:lnTo>
                    <a:pt x="64" y="367"/>
                  </a:lnTo>
                  <a:lnTo>
                    <a:pt x="66" y="365"/>
                  </a:lnTo>
                  <a:lnTo>
                    <a:pt x="68" y="363"/>
                  </a:lnTo>
                  <a:lnTo>
                    <a:pt x="68" y="361"/>
                  </a:lnTo>
                  <a:lnTo>
                    <a:pt x="69" y="361"/>
                  </a:lnTo>
                  <a:lnTo>
                    <a:pt x="71" y="357"/>
                  </a:lnTo>
                  <a:lnTo>
                    <a:pt x="75" y="353"/>
                  </a:lnTo>
                  <a:lnTo>
                    <a:pt x="75" y="351"/>
                  </a:lnTo>
                  <a:lnTo>
                    <a:pt x="77" y="351"/>
                  </a:lnTo>
                  <a:lnTo>
                    <a:pt x="77" y="349"/>
                  </a:lnTo>
                  <a:lnTo>
                    <a:pt x="79" y="349"/>
                  </a:lnTo>
                  <a:lnTo>
                    <a:pt x="79" y="348"/>
                  </a:lnTo>
                  <a:lnTo>
                    <a:pt x="81" y="348"/>
                  </a:lnTo>
                  <a:lnTo>
                    <a:pt x="81" y="346"/>
                  </a:lnTo>
                  <a:lnTo>
                    <a:pt x="85" y="340"/>
                  </a:lnTo>
                  <a:lnTo>
                    <a:pt x="87" y="340"/>
                  </a:lnTo>
                  <a:lnTo>
                    <a:pt x="87" y="338"/>
                  </a:lnTo>
                  <a:lnTo>
                    <a:pt x="89" y="336"/>
                  </a:lnTo>
                  <a:lnTo>
                    <a:pt x="91" y="336"/>
                  </a:lnTo>
                  <a:lnTo>
                    <a:pt x="91" y="334"/>
                  </a:lnTo>
                  <a:lnTo>
                    <a:pt x="92" y="332"/>
                  </a:lnTo>
                  <a:lnTo>
                    <a:pt x="94" y="330"/>
                  </a:lnTo>
                  <a:lnTo>
                    <a:pt x="96" y="328"/>
                  </a:lnTo>
                  <a:lnTo>
                    <a:pt x="96" y="326"/>
                  </a:lnTo>
                  <a:lnTo>
                    <a:pt x="98" y="326"/>
                  </a:lnTo>
                  <a:lnTo>
                    <a:pt x="98" y="324"/>
                  </a:lnTo>
                  <a:lnTo>
                    <a:pt x="100" y="324"/>
                  </a:lnTo>
                  <a:lnTo>
                    <a:pt x="100" y="323"/>
                  </a:lnTo>
                  <a:lnTo>
                    <a:pt x="102" y="323"/>
                  </a:lnTo>
                  <a:lnTo>
                    <a:pt x="102" y="321"/>
                  </a:lnTo>
                  <a:lnTo>
                    <a:pt x="102" y="323"/>
                  </a:lnTo>
                  <a:lnTo>
                    <a:pt x="104" y="323"/>
                  </a:lnTo>
                  <a:lnTo>
                    <a:pt x="104" y="324"/>
                  </a:lnTo>
                  <a:lnTo>
                    <a:pt x="104" y="326"/>
                  </a:lnTo>
                  <a:lnTo>
                    <a:pt x="104" y="324"/>
                  </a:lnTo>
                  <a:lnTo>
                    <a:pt x="106" y="324"/>
                  </a:lnTo>
                  <a:lnTo>
                    <a:pt x="106" y="326"/>
                  </a:lnTo>
                  <a:lnTo>
                    <a:pt x="108" y="326"/>
                  </a:lnTo>
                  <a:lnTo>
                    <a:pt x="112" y="324"/>
                  </a:lnTo>
                  <a:lnTo>
                    <a:pt x="112" y="323"/>
                  </a:lnTo>
                  <a:lnTo>
                    <a:pt x="112" y="321"/>
                  </a:lnTo>
                  <a:lnTo>
                    <a:pt x="114" y="321"/>
                  </a:lnTo>
                  <a:lnTo>
                    <a:pt x="114" y="323"/>
                  </a:lnTo>
                  <a:lnTo>
                    <a:pt x="117" y="321"/>
                  </a:lnTo>
                  <a:lnTo>
                    <a:pt x="117" y="319"/>
                  </a:lnTo>
                  <a:lnTo>
                    <a:pt x="119" y="319"/>
                  </a:lnTo>
                  <a:lnTo>
                    <a:pt x="119" y="317"/>
                  </a:lnTo>
                  <a:lnTo>
                    <a:pt x="121" y="317"/>
                  </a:lnTo>
                  <a:lnTo>
                    <a:pt x="121" y="315"/>
                  </a:lnTo>
                  <a:lnTo>
                    <a:pt x="121" y="313"/>
                  </a:lnTo>
                  <a:lnTo>
                    <a:pt x="123" y="313"/>
                  </a:lnTo>
                  <a:lnTo>
                    <a:pt x="125" y="313"/>
                  </a:lnTo>
                  <a:lnTo>
                    <a:pt x="125" y="311"/>
                  </a:lnTo>
                  <a:lnTo>
                    <a:pt x="125" y="313"/>
                  </a:lnTo>
                  <a:lnTo>
                    <a:pt x="127" y="311"/>
                  </a:lnTo>
                  <a:lnTo>
                    <a:pt x="129" y="311"/>
                  </a:lnTo>
                  <a:lnTo>
                    <a:pt x="131" y="311"/>
                  </a:lnTo>
                  <a:lnTo>
                    <a:pt x="133" y="313"/>
                  </a:lnTo>
                  <a:lnTo>
                    <a:pt x="135" y="313"/>
                  </a:lnTo>
                  <a:lnTo>
                    <a:pt x="135" y="315"/>
                  </a:lnTo>
                  <a:lnTo>
                    <a:pt x="135" y="313"/>
                  </a:lnTo>
                  <a:lnTo>
                    <a:pt x="135" y="315"/>
                  </a:lnTo>
                  <a:lnTo>
                    <a:pt x="137" y="315"/>
                  </a:lnTo>
                  <a:lnTo>
                    <a:pt x="137" y="317"/>
                  </a:lnTo>
                  <a:lnTo>
                    <a:pt x="137" y="319"/>
                  </a:lnTo>
                  <a:lnTo>
                    <a:pt x="139" y="319"/>
                  </a:lnTo>
                  <a:lnTo>
                    <a:pt x="139" y="317"/>
                  </a:lnTo>
                  <a:lnTo>
                    <a:pt x="139" y="315"/>
                  </a:lnTo>
                  <a:lnTo>
                    <a:pt x="137" y="315"/>
                  </a:lnTo>
                  <a:lnTo>
                    <a:pt x="139" y="315"/>
                  </a:lnTo>
                  <a:lnTo>
                    <a:pt x="139" y="313"/>
                  </a:lnTo>
                  <a:lnTo>
                    <a:pt x="139" y="311"/>
                  </a:lnTo>
                  <a:lnTo>
                    <a:pt x="139" y="313"/>
                  </a:lnTo>
                  <a:lnTo>
                    <a:pt x="141" y="313"/>
                  </a:lnTo>
                  <a:lnTo>
                    <a:pt x="141" y="315"/>
                  </a:lnTo>
                  <a:lnTo>
                    <a:pt x="139" y="315"/>
                  </a:lnTo>
                  <a:lnTo>
                    <a:pt x="139" y="317"/>
                  </a:lnTo>
                  <a:lnTo>
                    <a:pt x="139" y="315"/>
                  </a:lnTo>
                  <a:lnTo>
                    <a:pt x="141" y="315"/>
                  </a:lnTo>
                  <a:lnTo>
                    <a:pt x="141" y="313"/>
                  </a:lnTo>
                  <a:lnTo>
                    <a:pt x="142" y="313"/>
                  </a:lnTo>
                  <a:lnTo>
                    <a:pt x="144" y="313"/>
                  </a:lnTo>
                  <a:lnTo>
                    <a:pt x="146" y="313"/>
                  </a:lnTo>
                  <a:lnTo>
                    <a:pt x="148" y="313"/>
                  </a:lnTo>
                  <a:lnTo>
                    <a:pt x="148" y="315"/>
                  </a:lnTo>
                  <a:lnTo>
                    <a:pt x="150" y="315"/>
                  </a:lnTo>
                  <a:lnTo>
                    <a:pt x="152" y="315"/>
                  </a:lnTo>
                  <a:lnTo>
                    <a:pt x="152" y="317"/>
                  </a:lnTo>
                  <a:lnTo>
                    <a:pt x="152" y="315"/>
                  </a:lnTo>
                  <a:lnTo>
                    <a:pt x="152" y="317"/>
                  </a:lnTo>
                  <a:lnTo>
                    <a:pt x="154" y="317"/>
                  </a:lnTo>
                  <a:lnTo>
                    <a:pt x="154" y="319"/>
                  </a:lnTo>
                  <a:lnTo>
                    <a:pt x="154" y="317"/>
                  </a:lnTo>
                  <a:lnTo>
                    <a:pt x="154" y="319"/>
                  </a:lnTo>
                  <a:lnTo>
                    <a:pt x="156" y="319"/>
                  </a:lnTo>
                  <a:lnTo>
                    <a:pt x="154" y="319"/>
                  </a:lnTo>
                  <a:lnTo>
                    <a:pt x="156" y="319"/>
                  </a:lnTo>
                  <a:lnTo>
                    <a:pt x="156" y="321"/>
                  </a:lnTo>
                  <a:lnTo>
                    <a:pt x="154" y="321"/>
                  </a:lnTo>
                  <a:lnTo>
                    <a:pt x="156" y="321"/>
                  </a:lnTo>
                  <a:lnTo>
                    <a:pt x="154" y="321"/>
                  </a:lnTo>
                  <a:lnTo>
                    <a:pt x="154" y="323"/>
                  </a:lnTo>
                  <a:lnTo>
                    <a:pt x="156" y="321"/>
                  </a:lnTo>
                  <a:lnTo>
                    <a:pt x="156" y="323"/>
                  </a:lnTo>
                  <a:lnTo>
                    <a:pt x="154" y="323"/>
                  </a:lnTo>
                  <a:lnTo>
                    <a:pt x="156" y="323"/>
                  </a:lnTo>
                  <a:lnTo>
                    <a:pt x="158" y="323"/>
                  </a:lnTo>
                  <a:lnTo>
                    <a:pt x="160" y="323"/>
                  </a:lnTo>
                  <a:lnTo>
                    <a:pt x="160" y="321"/>
                  </a:lnTo>
                  <a:lnTo>
                    <a:pt x="160" y="319"/>
                  </a:lnTo>
                  <a:lnTo>
                    <a:pt x="158" y="319"/>
                  </a:lnTo>
                  <a:lnTo>
                    <a:pt x="158" y="321"/>
                  </a:lnTo>
                  <a:lnTo>
                    <a:pt x="156" y="321"/>
                  </a:lnTo>
                  <a:lnTo>
                    <a:pt x="156" y="319"/>
                  </a:lnTo>
                  <a:lnTo>
                    <a:pt x="158" y="319"/>
                  </a:lnTo>
                  <a:lnTo>
                    <a:pt x="156" y="319"/>
                  </a:lnTo>
                  <a:lnTo>
                    <a:pt x="158" y="319"/>
                  </a:lnTo>
                  <a:lnTo>
                    <a:pt x="158" y="317"/>
                  </a:lnTo>
                  <a:lnTo>
                    <a:pt x="160" y="317"/>
                  </a:lnTo>
                  <a:lnTo>
                    <a:pt x="160" y="319"/>
                  </a:lnTo>
                  <a:lnTo>
                    <a:pt x="162" y="317"/>
                  </a:lnTo>
                  <a:lnTo>
                    <a:pt x="164" y="317"/>
                  </a:lnTo>
                  <a:lnTo>
                    <a:pt x="164" y="315"/>
                  </a:lnTo>
                  <a:lnTo>
                    <a:pt x="165" y="315"/>
                  </a:lnTo>
                  <a:lnTo>
                    <a:pt x="165" y="313"/>
                  </a:lnTo>
                  <a:lnTo>
                    <a:pt x="165" y="311"/>
                  </a:lnTo>
                  <a:lnTo>
                    <a:pt x="165" y="309"/>
                  </a:lnTo>
                  <a:lnTo>
                    <a:pt x="167" y="309"/>
                  </a:lnTo>
                  <a:close/>
                  <a:moveTo>
                    <a:pt x="141" y="313"/>
                  </a:moveTo>
                  <a:lnTo>
                    <a:pt x="139" y="313"/>
                  </a:lnTo>
                  <a:lnTo>
                    <a:pt x="141" y="313"/>
                  </a:lnTo>
                  <a:close/>
                  <a:moveTo>
                    <a:pt x="139" y="315"/>
                  </a:moveTo>
                  <a:lnTo>
                    <a:pt x="141" y="315"/>
                  </a:lnTo>
                  <a:lnTo>
                    <a:pt x="141" y="313"/>
                  </a:lnTo>
                  <a:lnTo>
                    <a:pt x="139" y="313"/>
                  </a:lnTo>
                  <a:lnTo>
                    <a:pt x="139" y="315"/>
                  </a:lnTo>
                  <a:lnTo>
                    <a:pt x="139" y="313"/>
                  </a:lnTo>
                  <a:lnTo>
                    <a:pt x="139" y="315"/>
                  </a:lnTo>
                  <a:lnTo>
                    <a:pt x="139" y="313"/>
                  </a:lnTo>
                  <a:lnTo>
                    <a:pt x="139" y="315"/>
                  </a:lnTo>
                  <a:close/>
                  <a:moveTo>
                    <a:pt x="139" y="317"/>
                  </a:moveTo>
                  <a:lnTo>
                    <a:pt x="139" y="315"/>
                  </a:lnTo>
                  <a:lnTo>
                    <a:pt x="139" y="317"/>
                  </a:lnTo>
                  <a:close/>
                  <a:moveTo>
                    <a:pt x="141" y="317"/>
                  </a:moveTo>
                  <a:lnTo>
                    <a:pt x="139" y="317"/>
                  </a:lnTo>
                  <a:lnTo>
                    <a:pt x="139" y="315"/>
                  </a:lnTo>
                  <a:lnTo>
                    <a:pt x="139" y="317"/>
                  </a:lnTo>
                  <a:lnTo>
                    <a:pt x="141" y="317"/>
                  </a:lnTo>
                  <a:close/>
                  <a:moveTo>
                    <a:pt x="141" y="313"/>
                  </a:moveTo>
                  <a:lnTo>
                    <a:pt x="141" y="315"/>
                  </a:lnTo>
                  <a:lnTo>
                    <a:pt x="141" y="313"/>
                  </a:lnTo>
                  <a:close/>
                  <a:moveTo>
                    <a:pt x="617" y="305"/>
                  </a:moveTo>
                  <a:lnTo>
                    <a:pt x="619" y="305"/>
                  </a:lnTo>
                  <a:lnTo>
                    <a:pt x="619" y="307"/>
                  </a:lnTo>
                  <a:lnTo>
                    <a:pt x="621" y="309"/>
                  </a:lnTo>
                  <a:lnTo>
                    <a:pt x="621" y="311"/>
                  </a:lnTo>
                  <a:lnTo>
                    <a:pt x="623" y="313"/>
                  </a:lnTo>
                  <a:lnTo>
                    <a:pt x="621" y="313"/>
                  </a:lnTo>
                  <a:lnTo>
                    <a:pt x="621" y="311"/>
                  </a:lnTo>
                  <a:lnTo>
                    <a:pt x="621" y="313"/>
                  </a:lnTo>
                  <a:lnTo>
                    <a:pt x="623" y="313"/>
                  </a:lnTo>
                  <a:lnTo>
                    <a:pt x="621" y="313"/>
                  </a:lnTo>
                  <a:lnTo>
                    <a:pt x="623" y="313"/>
                  </a:lnTo>
                  <a:lnTo>
                    <a:pt x="623" y="315"/>
                  </a:lnTo>
                  <a:lnTo>
                    <a:pt x="623" y="317"/>
                  </a:lnTo>
                  <a:lnTo>
                    <a:pt x="623" y="319"/>
                  </a:lnTo>
                  <a:lnTo>
                    <a:pt x="623" y="321"/>
                  </a:lnTo>
                  <a:lnTo>
                    <a:pt x="623" y="323"/>
                  </a:lnTo>
                  <a:lnTo>
                    <a:pt x="621" y="324"/>
                  </a:lnTo>
                  <a:lnTo>
                    <a:pt x="621" y="326"/>
                  </a:lnTo>
                  <a:lnTo>
                    <a:pt x="619" y="326"/>
                  </a:lnTo>
                  <a:lnTo>
                    <a:pt x="619" y="328"/>
                  </a:lnTo>
                  <a:lnTo>
                    <a:pt x="619" y="330"/>
                  </a:lnTo>
                  <a:lnTo>
                    <a:pt x="617" y="330"/>
                  </a:lnTo>
                  <a:lnTo>
                    <a:pt x="617" y="332"/>
                  </a:lnTo>
                  <a:lnTo>
                    <a:pt x="617" y="334"/>
                  </a:lnTo>
                  <a:lnTo>
                    <a:pt x="617" y="336"/>
                  </a:lnTo>
                  <a:lnTo>
                    <a:pt x="615" y="336"/>
                  </a:lnTo>
                  <a:lnTo>
                    <a:pt x="615" y="338"/>
                  </a:lnTo>
                  <a:lnTo>
                    <a:pt x="615" y="340"/>
                  </a:lnTo>
                  <a:lnTo>
                    <a:pt x="615" y="342"/>
                  </a:lnTo>
                  <a:lnTo>
                    <a:pt x="613" y="342"/>
                  </a:lnTo>
                  <a:lnTo>
                    <a:pt x="611" y="342"/>
                  </a:lnTo>
                  <a:lnTo>
                    <a:pt x="609" y="342"/>
                  </a:lnTo>
                  <a:lnTo>
                    <a:pt x="609" y="344"/>
                  </a:lnTo>
                  <a:lnTo>
                    <a:pt x="607" y="344"/>
                  </a:lnTo>
                  <a:lnTo>
                    <a:pt x="607" y="342"/>
                  </a:lnTo>
                  <a:lnTo>
                    <a:pt x="607" y="344"/>
                  </a:lnTo>
                  <a:lnTo>
                    <a:pt x="605" y="344"/>
                  </a:lnTo>
                  <a:lnTo>
                    <a:pt x="605" y="346"/>
                  </a:lnTo>
                  <a:lnTo>
                    <a:pt x="607" y="346"/>
                  </a:lnTo>
                  <a:lnTo>
                    <a:pt x="605" y="346"/>
                  </a:lnTo>
                  <a:lnTo>
                    <a:pt x="605" y="348"/>
                  </a:lnTo>
                  <a:lnTo>
                    <a:pt x="607" y="348"/>
                  </a:lnTo>
                  <a:lnTo>
                    <a:pt x="607" y="346"/>
                  </a:lnTo>
                  <a:lnTo>
                    <a:pt x="607" y="348"/>
                  </a:lnTo>
                  <a:lnTo>
                    <a:pt x="607" y="346"/>
                  </a:lnTo>
                  <a:lnTo>
                    <a:pt x="607" y="348"/>
                  </a:lnTo>
                  <a:lnTo>
                    <a:pt x="605" y="348"/>
                  </a:lnTo>
                  <a:lnTo>
                    <a:pt x="603" y="348"/>
                  </a:lnTo>
                  <a:lnTo>
                    <a:pt x="603" y="349"/>
                  </a:lnTo>
                  <a:lnTo>
                    <a:pt x="601" y="349"/>
                  </a:lnTo>
                  <a:lnTo>
                    <a:pt x="599" y="349"/>
                  </a:lnTo>
                  <a:lnTo>
                    <a:pt x="599" y="351"/>
                  </a:lnTo>
                  <a:lnTo>
                    <a:pt x="599" y="353"/>
                  </a:lnTo>
                  <a:lnTo>
                    <a:pt x="601" y="353"/>
                  </a:lnTo>
                  <a:lnTo>
                    <a:pt x="603" y="353"/>
                  </a:lnTo>
                  <a:lnTo>
                    <a:pt x="605" y="351"/>
                  </a:lnTo>
                  <a:lnTo>
                    <a:pt x="605" y="353"/>
                  </a:lnTo>
                  <a:lnTo>
                    <a:pt x="605" y="351"/>
                  </a:lnTo>
                  <a:lnTo>
                    <a:pt x="607" y="351"/>
                  </a:lnTo>
                  <a:lnTo>
                    <a:pt x="609" y="351"/>
                  </a:lnTo>
                  <a:lnTo>
                    <a:pt x="611" y="351"/>
                  </a:lnTo>
                  <a:lnTo>
                    <a:pt x="613" y="351"/>
                  </a:lnTo>
                  <a:lnTo>
                    <a:pt x="611" y="351"/>
                  </a:lnTo>
                  <a:lnTo>
                    <a:pt x="613" y="351"/>
                  </a:lnTo>
                  <a:lnTo>
                    <a:pt x="613" y="353"/>
                  </a:lnTo>
                  <a:lnTo>
                    <a:pt x="615" y="353"/>
                  </a:lnTo>
                  <a:lnTo>
                    <a:pt x="615" y="351"/>
                  </a:lnTo>
                  <a:lnTo>
                    <a:pt x="617" y="351"/>
                  </a:lnTo>
                  <a:lnTo>
                    <a:pt x="619" y="351"/>
                  </a:lnTo>
                  <a:lnTo>
                    <a:pt x="621" y="351"/>
                  </a:lnTo>
                  <a:lnTo>
                    <a:pt x="619" y="351"/>
                  </a:lnTo>
                  <a:lnTo>
                    <a:pt x="619" y="353"/>
                  </a:lnTo>
                  <a:lnTo>
                    <a:pt x="617" y="353"/>
                  </a:lnTo>
                  <a:lnTo>
                    <a:pt x="615" y="353"/>
                  </a:lnTo>
                  <a:lnTo>
                    <a:pt x="615" y="355"/>
                  </a:lnTo>
                  <a:lnTo>
                    <a:pt x="617" y="355"/>
                  </a:lnTo>
                  <a:lnTo>
                    <a:pt x="617" y="353"/>
                  </a:lnTo>
                  <a:lnTo>
                    <a:pt x="617" y="355"/>
                  </a:lnTo>
                  <a:lnTo>
                    <a:pt x="619" y="353"/>
                  </a:lnTo>
                  <a:lnTo>
                    <a:pt x="621" y="353"/>
                  </a:lnTo>
                  <a:lnTo>
                    <a:pt x="621" y="351"/>
                  </a:lnTo>
                  <a:lnTo>
                    <a:pt x="623" y="351"/>
                  </a:lnTo>
                  <a:lnTo>
                    <a:pt x="621" y="351"/>
                  </a:lnTo>
                  <a:lnTo>
                    <a:pt x="623" y="351"/>
                  </a:lnTo>
                  <a:lnTo>
                    <a:pt x="623" y="349"/>
                  </a:lnTo>
                  <a:lnTo>
                    <a:pt x="621" y="349"/>
                  </a:lnTo>
                  <a:lnTo>
                    <a:pt x="621" y="348"/>
                  </a:lnTo>
                  <a:lnTo>
                    <a:pt x="619" y="348"/>
                  </a:lnTo>
                  <a:lnTo>
                    <a:pt x="619" y="346"/>
                  </a:lnTo>
                  <a:lnTo>
                    <a:pt x="621" y="346"/>
                  </a:lnTo>
                  <a:lnTo>
                    <a:pt x="623" y="344"/>
                  </a:lnTo>
                  <a:lnTo>
                    <a:pt x="624" y="344"/>
                  </a:lnTo>
                  <a:lnTo>
                    <a:pt x="624" y="342"/>
                  </a:lnTo>
                  <a:lnTo>
                    <a:pt x="626" y="340"/>
                  </a:lnTo>
                  <a:lnTo>
                    <a:pt x="626" y="338"/>
                  </a:lnTo>
                  <a:lnTo>
                    <a:pt x="628" y="338"/>
                  </a:lnTo>
                  <a:lnTo>
                    <a:pt x="630" y="338"/>
                  </a:lnTo>
                  <a:lnTo>
                    <a:pt x="630" y="336"/>
                  </a:lnTo>
                  <a:lnTo>
                    <a:pt x="632" y="336"/>
                  </a:lnTo>
                  <a:lnTo>
                    <a:pt x="634" y="336"/>
                  </a:lnTo>
                  <a:lnTo>
                    <a:pt x="636" y="336"/>
                  </a:lnTo>
                  <a:lnTo>
                    <a:pt x="636" y="338"/>
                  </a:lnTo>
                  <a:lnTo>
                    <a:pt x="638" y="338"/>
                  </a:lnTo>
                  <a:lnTo>
                    <a:pt x="638" y="340"/>
                  </a:lnTo>
                  <a:lnTo>
                    <a:pt x="640" y="340"/>
                  </a:lnTo>
                  <a:lnTo>
                    <a:pt x="642" y="342"/>
                  </a:lnTo>
                  <a:lnTo>
                    <a:pt x="644" y="342"/>
                  </a:lnTo>
                  <a:lnTo>
                    <a:pt x="644" y="344"/>
                  </a:lnTo>
                  <a:lnTo>
                    <a:pt x="644" y="346"/>
                  </a:lnTo>
                  <a:lnTo>
                    <a:pt x="646" y="346"/>
                  </a:lnTo>
                  <a:lnTo>
                    <a:pt x="646" y="348"/>
                  </a:lnTo>
                  <a:lnTo>
                    <a:pt x="647" y="348"/>
                  </a:lnTo>
                  <a:lnTo>
                    <a:pt x="649" y="348"/>
                  </a:lnTo>
                  <a:lnTo>
                    <a:pt x="649" y="349"/>
                  </a:lnTo>
                  <a:lnTo>
                    <a:pt x="651" y="351"/>
                  </a:lnTo>
                  <a:lnTo>
                    <a:pt x="651" y="353"/>
                  </a:lnTo>
                  <a:lnTo>
                    <a:pt x="653" y="353"/>
                  </a:lnTo>
                  <a:lnTo>
                    <a:pt x="653" y="355"/>
                  </a:lnTo>
                  <a:lnTo>
                    <a:pt x="655" y="355"/>
                  </a:lnTo>
                  <a:lnTo>
                    <a:pt x="655" y="357"/>
                  </a:lnTo>
                  <a:lnTo>
                    <a:pt x="657" y="357"/>
                  </a:lnTo>
                  <a:lnTo>
                    <a:pt x="657" y="359"/>
                  </a:lnTo>
                  <a:lnTo>
                    <a:pt x="657" y="361"/>
                  </a:lnTo>
                  <a:lnTo>
                    <a:pt x="659" y="361"/>
                  </a:lnTo>
                  <a:lnTo>
                    <a:pt x="659" y="363"/>
                  </a:lnTo>
                  <a:lnTo>
                    <a:pt x="661" y="363"/>
                  </a:lnTo>
                  <a:lnTo>
                    <a:pt x="661" y="365"/>
                  </a:lnTo>
                  <a:lnTo>
                    <a:pt x="659" y="365"/>
                  </a:lnTo>
                  <a:lnTo>
                    <a:pt x="661" y="365"/>
                  </a:lnTo>
                  <a:lnTo>
                    <a:pt x="659" y="365"/>
                  </a:lnTo>
                  <a:lnTo>
                    <a:pt x="659" y="367"/>
                  </a:lnTo>
                  <a:lnTo>
                    <a:pt x="659" y="369"/>
                  </a:lnTo>
                  <a:lnTo>
                    <a:pt x="659" y="371"/>
                  </a:lnTo>
                  <a:lnTo>
                    <a:pt x="657" y="371"/>
                  </a:lnTo>
                  <a:lnTo>
                    <a:pt x="657" y="372"/>
                  </a:lnTo>
                  <a:lnTo>
                    <a:pt x="655" y="372"/>
                  </a:lnTo>
                  <a:lnTo>
                    <a:pt x="653" y="374"/>
                  </a:lnTo>
                  <a:lnTo>
                    <a:pt x="651" y="374"/>
                  </a:lnTo>
                  <a:lnTo>
                    <a:pt x="651" y="376"/>
                  </a:lnTo>
                  <a:lnTo>
                    <a:pt x="651" y="374"/>
                  </a:lnTo>
                  <a:lnTo>
                    <a:pt x="653" y="374"/>
                  </a:lnTo>
                  <a:lnTo>
                    <a:pt x="653" y="376"/>
                  </a:lnTo>
                  <a:lnTo>
                    <a:pt x="651" y="376"/>
                  </a:lnTo>
                  <a:lnTo>
                    <a:pt x="651" y="378"/>
                  </a:lnTo>
                  <a:lnTo>
                    <a:pt x="649" y="378"/>
                  </a:lnTo>
                  <a:lnTo>
                    <a:pt x="649" y="380"/>
                  </a:lnTo>
                  <a:lnTo>
                    <a:pt x="647" y="380"/>
                  </a:lnTo>
                  <a:lnTo>
                    <a:pt x="649" y="380"/>
                  </a:lnTo>
                  <a:lnTo>
                    <a:pt x="649" y="378"/>
                  </a:lnTo>
                  <a:lnTo>
                    <a:pt x="647" y="378"/>
                  </a:lnTo>
                  <a:lnTo>
                    <a:pt x="647" y="380"/>
                  </a:lnTo>
                  <a:lnTo>
                    <a:pt x="646" y="380"/>
                  </a:lnTo>
                  <a:lnTo>
                    <a:pt x="644" y="380"/>
                  </a:lnTo>
                  <a:lnTo>
                    <a:pt x="642" y="380"/>
                  </a:lnTo>
                  <a:lnTo>
                    <a:pt x="642" y="382"/>
                  </a:lnTo>
                  <a:lnTo>
                    <a:pt x="642" y="380"/>
                  </a:lnTo>
                  <a:lnTo>
                    <a:pt x="640" y="380"/>
                  </a:lnTo>
                  <a:lnTo>
                    <a:pt x="642" y="380"/>
                  </a:lnTo>
                  <a:lnTo>
                    <a:pt x="640" y="380"/>
                  </a:lnTo>
                  <a:lnTo>
                    <a:pt x="640" y="382"/>
                  </a:lnTo>
                  <a:lnTo>
                    <a:pt x="638" y="382"/>
                  </a:lnTo>
                  <a:lnTo>
                    <a:pt x="638" y="384"/>
                  </a:lnTo>
                  <a:lnTo>
                    <a:pt x="638" y="386"/>
                  </a:lnTo>
                  <a:lnTo>
                    <a:pt x="636" y="386"/>
                  </a:lnTo>
                  <a:lnTo>
                    <a:pt x="638" y="386"/>
                  </a:lnTo>
                  <a:lnTo>
                    <a:pt x="638" y="384"/>
                  </a:lnTo>
                  <a:lnTo>
                    <a:pt x="638" y="386"/>
                  </a:lnTo>
                  <a:lnTo>
                    <a:pt x="638" y="384"/>
                  </a:lnTo>
                  <a:lnTo>
                    <a:pt x="640" y="384"/>
                  </a:lnTo>
                  <a:lnTo>
                    <a:pt x="638" y="384"/>
                  </a:lnTo>
                  <a:lnTo>
                    <a:pt x="640" y="384"/>
                  </a:lnTo>
                  <a:lnTo>
                    <a:pt x="640" y="382"/>
                  </a:lnTo>
                  <a:lnTo>
                    <a:pt x="642" y="382"/>
                  </a:lnTo>
                  <a:lnTo>
                    <a:pt x="642" y="384"/>
                  </a:lnTo>
                  <a:lnTo>
                    <a:pt x="644" y="384"/>
                  </a:lnTo>
                  <a:lnTo>
                    <a:pt x="646" y="384"/>
                  </a:lnTo>
                  <a:lnTo>
                    <a:pt x="646" y="382"/>
                  </a:lnTo>
                  <a:lnTo>
                    <a:pt x="644" y="382"/>
                  </a:lnTo>
                  <a:lnTo>
                    <a:pt x="646" y="382"/>
                  </a:lnTo>
                  <a:lnTo>
                    <a:pt x="647" y="382"/>
                  </a:lnTo>
                  <a:lnTo>
                    <a:pt x="647" y="384"/>
                  </a:lnTo>
                  <a:lnTo>
                    <a:pt x="646" y="384"/>
                  </a:lnTo>
                  <a:lnTo>
                    <a:pt x="646" y="386"/>
                  </a:lnTo>
                  <a:lnTo>
                    <a:pt x="644" y="386"/>
                  </a:lnTo>
                  <a:lnTo>
                    <a:pt x="644" y="384"/>
                  </a:lnTo>
                  <a:lnTo>
                    <a:pt x="644" y="386"/>
                  </a:lnTo>
                  <a:lnTo>
                    <a:pt x="644" y="388"/>
                  </a:lnTo>
                  <a:lnTo>
                    <a:pt x="642" y="388"/>
                  </a:lnTo>
                  <a:lnTo>
                    <a:pt x="644" y="388"/>
                  </a:lnTo>
                  <a:lnTo>
                    <a:pt x="644" y="390"/>
                  </a:lnTo>
                  <a:lnTo>
                    <a:pt x="642" y="390"/>
                  </a:lnTo>
                  <a:lnTo>
                    <a:pt x="642" y="392"/>
                  </a:lnTo>
                  <a:lnTo>
                    <a:pt x="642" y="390"/>
                  </a:lnTo>
                  <a:lnTo>
                    <a:pt x="644" y="390"/>
                  </a:lnTo>
                  <a:lnTo>
                    <a:pt x="646" y="390"/>
                  </a:lnTo>
                  <a:lnTo>
                    <a:pt x="646" y="392"/>
                  </a:lnTo>
                  <a:lnTo>
                    <a:pt x="646" y="390"/>
                  </a:lnTo>
                  <a:lnTo>
                    <a:pt x="644" y="390"/>
                  </a:lnTo>
                  <a:lnTo>
                    <a:pt x="644" y="388"/>
                  </a:lnTo>
                  <a:lnTo>
                    <a:pt x="644" y="386"/>
                  </a:lnTo>
                  <a:lnTo>
                    <a:pt x="646" y="386"/>
                  </a:lnTo>
                  <a:lnTo>
                    <a:pt x="646" y="388"/>
                  </a:lnTo>
                  <a:lnTo>
                    <a:pt x="646" y="386"/>
                  </a:lnTo>
                  <a:lnTo>
                    <a:pt x="646" y="388"/>
                  </a:lnTo>
                  <a:lnTo>
                    <a:pt x="646" y="386"/>
                  </a:lnTo>
                  <a:lnTo>
                    <a:pt x="647" y="386"/>
                  </a:lnTo>
                  <a:lnTo>
                    <a:pt x="649" y="386"/>
                  </a:lnTo>
                  <a:lnTo>
                    <a:pt x="649" y="384"/>
                  </a:lnTo>
                  <a:lnTo>
                    <a:pt x="651" y="384"/>
                  </a:lnTo>
                  <a:lnTo>
                    <a:pt x="649" y="384"/>
                  </a:lnTo>
                  <a:lnTo>
                    <a:pt x="647" y="384"/>
                  </a:lnTo>
                  <a:lnTo>
                    <a:pt x="647" y="382"/>
                  </a:lnTo>
                  <a:lnTo>
                    <a:pt x="649" y="382"/>
                  </a:lnTo>
                  <a:lnTo>
                    <a:pt x="649" y="380"/>
                  </a:lnTo>
                  <a:lnTo>
                    <a:pt x="649" y="382"/>
                  </a:lnTo>
                  <a:lnTo>
                    <a:pt x="649" y="380"/>
                  </a:lnTo>
                  <a:lnTo>
                    <a:pt x="651" y="380"/>
                  </a:lnTo>
                  <a:lnTo>
                    <a:pt x="649" y="380"/>
                  </a:lnTo>
                  <a:lnTo>
                    <a:pt x="651" y="380"/>
                  </a:lnTo>
                  <a:lnTo>
                    <a:pt x="653" y="378"/>
                  </a:lnTo>
                  <a:lnTo>
                    <a:pt x="653" y="380"/>
                  </a:lnTo>
                  <a:lnTo>
                    <a:pt x="653" y="378"/>
                  </a:lnTo>
                  <a:lnTo>
                    <a:pt x="655" y="378"/>
                  </a:lnTo>
                  <a:lnTo>
                    <a:pt x="657" y="378"/>
                  </a:lnTo>
                  <a:lnTo>
                    <a:pt x="655" y="380"/>
                  </a:lnTo>
                  <a:lnTo>
                    <a:pt x="653" y="380"/>
                  </a:lnTo>
                  <a:lnTo>
                    <a:pt x="653" y="382"/>
                  </a:lnTo>
                  <a:lnTo>
                    <a:pt x="651" y="382"/>
                  </a:lnTo>
                  <a:lnTo>
                    <a:pt x="653" y="382"/>
                  </a:lnTo>
                  <a:lnTo>
                    <a:pt x="653" y="384"/>
                  </a:lnTo>
                  <a:lnTo>
                    <a:pt x="651" y="384"/>
                  </a:lnTo>
                  <a:lnTo>
                    <a:pt x="651" y="386"/>
                  </a:lnTo>
                  <a:lnTo>
                    <a:pt x="651" y="384"/>
                  </a:lnTo>
                  <a:lnTo>
                    <a:pt x="653" y="384"/>
                  </a:lnTo>
                  <a:lnTo>
                    <a:pt x="653" y="386"/>
                  </a:lnTo>
                  <a:lnTo>
                    <a:pt x="655" y="386"/>
                  </a:lnTo>
                  <a:lnTo>
                    <a:pt x="653" y="386"/>
                  </a:lnTo>
                  <a:lnTo>
                    <a:pt x="655" y="386"/>
                  </a:lnTo>
                  <a:lnTo>
                    <a:pt x="653" y="386"/>
                  </a:lnTo>
                  <a:lnTo>
                    <a:pt x="655" y="386"/>
                  </a:lnTo>
                  <a:lnTo>
                    <a:pt x="655" y="388"/>
                  </a:lnTo>
                  <a:lnTo>
                    <a:pt x="655" y="390"/>
                  </a:lnTo>
                  <a:lnTo>
                    <a:pt x="657" y="390"/>
                  </a:lnTo>
                  <a:lnTo>
                    <a:pt x="655" y="390"/>
                  </a:lnTo>
                  <a:lnTo>
                    <a:pt x="657" y="390"/>
                  </a:lnTo>
                  <a:lnTo>
                    <a:pt x="655" y="390"/>
                  </a:lnTo>
                  <a:lnTo>
                    <a:pt x="657" y="390"/>
                  </a:lnTo>
                  <a:lnTo>
                    <a:pt x="657" y="388"/>
                  </a:lnTo>
                  <a:lnTo>
                    <a:pt x="657" y="386"/>
                  </a:lnTo>
                  <a:lnTo>
                    <a:pt x="657" y="384"/>
                  </a:lnTo>
                  <a:lnTo>
                    <a:pt x="657" y="382"/>
                  </a:lnTo>
                  <a:lnTo>
                    <a:pt x="659" y="382"/>
                  </a:lnTo>
                  <a:lnTo>
                    <a:pt x="661" y="382"/>
                  </a:lnTo>
                  <a:lnTo>
                    <a:pt x="661" y="380"/>
                  </a:lnTo>
                  <a:lnTo>
                    <a:pt x="661" y="378"/>
                  </a:lnTo>
                  <a:lnTo>
                    <a:pt x="663" y="380"/>
                  </a:lnTo>
                  <a:lnTo>
                    <a:pt x="665" y="380"/>
                  </a:lnTo>
                  <a:lnTo>
                    <a:pt x="663" y="380"/>
                  </a:lnTo>
                  <a:lnTo>
                    <a:pt x="663" y="378"/>
                  </a:lnTo>
                  <a:lnTo>
                    <a:pt x="665" y="378"/>
                  </a:lnTo>
                  <a:lnTo>
                    <a:pt x="665" y="376"/>
                  </a:lnTo>
                  <a:lnTo>
                    <a:pt x="667" y="376"/>
                  </a:lnTo>
                  <a:lnTo>
                    <a:pt x="667" y="374"/>
                  </a:lnTo>
                  <a:lnTo>
                    <a:pt x="669" y="374"/>
                  </a:lnTo>
                  <a:lnTo>
                    <a:pt x="669" y="376"/>
                  </a:lnTo>
                  <a:lnTo>
                    <a:pt x="669" y="378"/>
                  </a:lnTo>
                  <a:lnTo>
                    <a:pt x="671" y="378"/>
                  </a:lnTo>
                  <a:lnTo>
                    <a:pt x="671" y="376"/>
                  </a:lnTo>
                  <a:lnTo>
                    <a:pt x="671" y="378"/>
                  </a:lnTo>
                  <a:lnTo>
                    <a:pt x="669" y="378"/>
                  </a:lnTo>
                  <a:lnTo>
                    <a:pt x="671" y="378"/>
                  </a:lnTo>
                  <a:lnTo>
                    <a:pt x="669" y="378"/>
                  </a:lnTo>
                  <a:lnTo>
                    <a:pt x="669" y="380"/>
                  </a:lnTo>
                  <a:lnTo>
                    <a:pt x="667" y="380"/>
                  </a:lnTo>
                  <a:lnTo>
                    <a:pt x="667" y="378"/>
                  </a:lnTo>
                  <a:lnTo>
                    <a:pt x="667" y="380"/>
                  </a:lnTo>
                  <a:lnTo>
                    <a:pt x="669" y="380"/>
                  </a:lnTo>
                  <a:lnTo>
                    <a:pt x="669" y="382"/>
                  </a:lnTo>
                  <a:lnTo>
                    <a:pt x="671" y="382"/>
                  </a:lnTo>
                  <a:lnTo>
                    <a:pt x="671" y="384"/>
                  </a:lnTo>
                  <a:lnTo>
                    <a:pt x="671" y="386"/>
                  </a:lnTo>
                  <a:lnTo>
                    <a:pt x="672" y="386"/>
                  </a:lnTo>
                  <a:lnTo>
                    <a:pt x="671" y="384"/>
                  </a:lnTo>
                  <a:lnTo>
                    <a:pt x="671" y="382"/>
                  </a:lnTo>
                  <a:lnTo>
                    <a:pt x="669" y="382"/>
                  </a:lnTo>
                  <a:lnTo>
                    <a:pt x="669" y="380"/>
                  </a:lnTo>
                  <a:lnTo>
                    <a:pt x="671" y="380"/>
                  </a:lnTo>
                  <a:lnTo>
                    <a:pt x="671" y="378"/>
                  </a:lnTo>
                  <a:lnTo>
                    <a:pt x="671" y="380"/>
                  </a:lnTo>
                  <a:lnTo>
                    <a:pt x="672" y="378"/>
                  </a:lnTo>
                  <a:lnTo>
                    <a:pt x="674" y="378"/>
                  </a:lnTo>
                  <a:lnTo>
                    <a:pt x="674" y="380"/>
                  </a:lnTo>
                  <a:lnTo>
                    <a:pt x="674" y="382"/>
                  </a:lnTo>
                  <a:lnTo>
                    <a:pt x="676" y="382"/>
                  </a:lnTo>
                  <a:lnTo>
                    <a:pt x="676" y="384"/>
                  </a:lnTo>
                  <a:lnTo>
                    <a:pt x="676" y="386"/>
                  </a:lnTo>
                  <a:lnTo>
                    <a:pt x="676" y="388"/>
                  </a:lnTo>
                  <a:lnTo>
                    <a:pt x="676" y="386"/>
                  </a:lnTo>
                  <a:lnTo>
                    <a:pt x="678" y="386"/>
                  </a:lnTo>
                  <a:lnTo>
                    <a:pt x="680" y="386"/>
                  </a:lnTo>
                  <a:lnTo>
                    <a:pt x="680" y="388"/>
                  </a:lnTo>
                  <a:lnTo>
                    <a:pt x="678" y="390"/>
                  </a:lnTo>
                  <a:lnTo>
                    <a:pt x="678" y="392"/>
                  </a:lnTo>
                  <a:lnTo>
                    <a:pt x="678" y="394"/>
                  </a:lnTo>
                  <a:lnTo>
                    <a:pt x="676" y="397"/>
                  </a:lnTo>
                  <a:lnTo>
                    <a:pt x="676" y="399"/>
                  </a:lnTo>
                  <a:lnTo>
                    <a:pt x="676" y="401"/>
                  </a:lnTo>
                  <a:lnTo>
                    <a:pt x="674" y="405"/>
                  </a:lnTo>
                  <a:lnTo>
                    <a:pt x="674" y="407"/>
                  </a:lnTo>
                  <a:lnTo>
                    <a:pt x="672" y="409"/>
                  </a:lnTo>
                  <a:lnTo>
                    <a:pt x="672" y="411"/>
                  </a:lnTo>
                  <a:lnTo>
                    <a:pt x="672" y="413"/>
                  </a:lnTo>
                  <a:lnTo>
                    <a:pt x="672" y="415"/>
                  </a:lnTo>
                  <a:lnTo>
                    <a:pt x="671" y="419"/>
                  </a:lnTo>
                  <a:lnTo>
                    <a:pt x="671" y="420"/>
                  </a:lnTo>
                  <a:lnTo>
                    <a:pt x="669" y="422"/>
                  </a:lnTo>
                  <a:lnTo>
                    <a:pt x="669" y="426"/>
                  </a:lnTo>
                  <a:lnTo>
                    <a:pt x="667" y="432"/>
                  </a:lnTo>
                  <a:lnTo>
                    <a:pt x="667" y="434"/>
                  </a:lnTo>
                  <a:lnTo>
                    <a:pt x="665" y="438"/>
                  </a:lnTo>
                  <a:lnTo>
                    <a:pt x="663" y="444"/>
                  </a:lnTo>
                  <a:lnTo>
                    <a:pt x="663" y="445"/>
                  </a:lnTo>
                  <a:lnTo>
                    <a:pt x="663" y="447"/>
                  </a:lnTo>
                  <a:lnTo>
                    <a:pt x="661" y="449"/>
                  </a:lnTo>
                  <a:lnTo>
                    <a:pt x="661" y="451"/>
                  </a:lnTo>
                  <a:lnTo>
                    <a:pt x="659" y="455"/>
                  </a:lnTo>
                  <a:lnTo>
                    <a:pt x="659" y="457"/>
                  </a:lnTo>
                  <a:lnTo>
                    <a:pt x="657" y="463"/>
                  </a:lnTo>
                  <a:lnTo>
                    <a:pt x="657" y="465"/>
                  </a:lnTo>
                  <a:lnTo>
                    <a:pt x="657" y="468"/>
                  </a:lnTo>
                  <a:lnTo>
                    <a:pt x="655" y="472"/>
                  </a:lnTo>
                  <a:lnTo>
                    <a:pt x="655" y="474"/>
                  </a:lnTo>
                  <a:lnTo>
                    <a:pt x="653" y="474"/>
                  </a:lnTo>
                  <a:lnTo>
                    <a:pt x="653" y="478"/>
                  </a:lnTo>
                  <a:lnTo>
                    <a:pt x="653" y="480"/>
                  </a:lnTo>
                  <a:lnTo>
                    <a:pt x="653" y="482"/>
                  </a:lnTo>
                  <a:lnTo>
                    <a:pt x="651" y="484"/>
                  </a:lnTo>
                  <a:lnTo>
                    <a:pt x="651" y="488"/>
                  </a:lnTo>
                  <a:lnTo>
                    <a:pt x="647" y="495"/>
                  </a:lnTo>
                  <a:lnTo>
                    <a:pt x="647" y="497"/>
                  </a:lnTo>
                  <a:lnTo>
                    <a:pt x="647" y="499"/>
                  </a:lnTo>
                  <a:lnTo>
                    <a:pt x="646" y="501"/>
                  </a:lnTo>
                  <a:lnTo>
                    <a:pt x="646" y="503"/>
                  </a:lnTo>
                  <a:lnTo>
                    <a:pt x="646" y="505"/>
                  </a:lnTo>
                  <a:lnTo>
                    <a:pt x="642" y="515"/>
                  </a:lnTo>
                  <a:lnTo>
                    <a:pt x="642" y="516"/>
                  </a:lnTo>
                  <a:lnTo>
                    <a:pt x="642" y="518"/>
                  </a:lnTo>
                  <a:lnTo>
                    <a:pt x="642" y="520"/>
                  </a:lnTo>
                  <a:lnTo>
                    <a:pt x="640" y="520"/>
                  </a:lnTo>
                  <a:lnTo>
                    <a:pt x="640" y="524"/>
                  </a:lnTo>
                  <a:lnTo>
                    <a:pt x="640" y="526"/>
                  </a:lnTo>
                  <a:lnTo>
                    <a:pt x="638" y="528"/>
                  </a:lnTo>
                  <a:lnTo>
                    <a:pt x="638" y="530"/>
                  </a:lnTo>
                  <a:lnTo>
                    <a:pt x="638" y="532"/>
                  </a:lnTo>
                  <a:lnTo>
                    <a:pt x="594" y="518"/>
                  </a:lnTo>
                  <a:lnTo>
                    <a:pt x="584" y="516"/>
                  </a:lnTo>
                  <a:lnTo>
                    <a:pt x="580" y="524"/>
                  </a:lnTo>
                  <a:lnTo>
                    <a:pt x="578" y="524"/>
                  </a:lnTo>
                  <a:lnTo>
                    <a:pt x="574" y="522"/>
                  </a:lnTo>
                  <a:lnTo>
                    <a:pt x="576" y="518"/>
                  </a:lnTo>
                  <a:lnTo>
                    <a:pt x="578" y="513"/>
                  </a:lnTo>
                  <a:lnTo>
                    <a:pt x="576" y="513"/>
                  </a:lnTo>
                  <a:lnTo>
                    <a:pt x="574" y="513"/>
                  </a:lnTo>
                  <a:lnTo>
                    <a:pt x="557" y="507"/>
                  </a:lnTo>
                  <a:lnTo>
                    <a:pt x="544" y="501"/>
                  </a:lnTo>
                  <a:lnTo>
                    <a:pt x="507" y="488"/>
                  </a:lnTo>
                  <a:lnTo>
                    <a:pt x="494" y="482"/>
                  </a:lnTo>
                  <a:lnTo>
                    <a:pt x="494" y="484"/>
                  </a:lnTo>
                  <a:lnTo>
                    <a:pt x="494" y="490"/>
                  </a:lnTo>
                  <a:lnTo>
                    <a:pt x="496" y="497"/>
                  </a:lnTo>
                  <a:lnTo>
                    <a:pt x="500" y="503"/>
                  </a:lnTo>
                  <a:lnTo>
                    <a:pt x="488" y="499"/>
                  </a:lnTo>
                  <a:lnTo>
                    <a:pt x="486" y="499"/>
                  </a:lnTo>
                  <a:lnTo>
                    <a:pt x="486" y="497"/>
                  </a:lnTo>
                  <a:lnTo>
                    <a:pt x="486" y="495"/>
                  </a:lnTo>
                  <a:lnTo>
                    <a:pt x="486" y="493"/>
                  </a:lnTo>
                  <a:lnTo>
                    <a:pt x="484" y="493"/>
                  </a:lnTo>
                  <a:lnTo>
                    <a:pt x="484" y="492"/>
                  </a:lnTo>
                  <a:lnTo>
                    <a:pt x="486" y="492"/>
                  </a:lnTo>
                  <a:lnTo>
                    <a:pt x="486" y="490"/>
                  </a:lnTo>
                  <a:lnTo>
                    <a:pt x="486" y="488"/>
                  </a:lnTo>
                  <a:lnTo>
                    <a:pt x="486" y="486"/>
                  </a:lnTo>
                  <a:lnTo>
                    <a:pt x="486" y="484"/>
                  </a:lnTo>
                  <a:lnTo>
                    <a:pt x="488" y="484"/>
                  </a:lnTo>
                  <a:lnTo>
                    <a:pt x="486" y="484"/>
                  </a:lnTo>
                  <a:lnTo>
                    <a:pt x="486" y="482"/>
                  </a:lnTo>
                  <a:lnTo>
                    <a:pt x="486" y="480"/>
                  </a:lnTo>
                  <a:lnTo>
                    <a:pt x="488" y="480"/>
                  </a:lnTo>
                  <a:lnTo>
                    <a:pt x="488" y="478"/>
                  </a:lnTo>
                  <a:lnTo>
                    <a:pt x="490" y="476"/>
                  </a:lnTo>
                  <a:lnTo>
                    <a:pt x="490" y="478"/>
                  </a:lnTo>
                  <a:lnTo>
                    <a:pt x="490" y="476"/>
                  </a:lnTo>
                  <a:lnTo>
                    <a:pt x="492" y="476"/>
                  </a:lnTo>
                  <a:lnTo>
                    <a:pt x="494" y="476"/>
                  </a:lnTo>
                  <a:lnTo>
                    <a:pt x="496" y="476"/>
                  </a:lnTo>
                  <a:lnTo>
                    <a:pt x="498" y="476"/>
                  </a:lnTo>
                  <a:lnTo>
                    <a:pt x="500" y="476"/>
                  </a:lnTo>
                  <a:lnTo>
                    <a:pt x="502" y="476"/>
                  </a:lnTo>
                  <a:lnTo>
                    <a:pt x="503" y="476"/>
                  </a:lnTo>
                  <a:lnTo>
                    <a:pt x="505" y="476"/>
                  </a:lnTo>
                  <a:lnTo>
                    <a:pt x="507" y="476"/>
                  </a:lnTo>
                  <a:lnTo>
                    <a:pt x="509" y="476"/>
                  </a:lnTo>
                  <a:lnTo>
                    <a:pt x="511" y="476"/>
                  </a:lnTo>
                  <a:lnTo>
                    <a:pt x="513" y="476"/>
                  </a:lnTo>
                  <a:lnTo>
                    <a:pt x="513" y="478"/>
                  </a:lnTo>
                  <a:lnTo>
                    <a:pt x="515" y="478"/>
                  </a:lnTo>
                  <a:lnTo>
                    <a:pt x="517" y="476"/>
                  </a:lnTo>
                  <a:lnTo>
                    <a:pt x="519" y="476"/>
                  </a:lnTo>
                  <a:lnTo>
                    <a:pt x="519" y="478"/>
                  </a:lnTo>
                  <a:lnTo>
                    <a:pt x="521" y="478"/>
                  </a:lnTo>
                  <a:lnTo>
                    <a:pt x="523" y="478"/>
                  </a:lnTo>
                  <a:lnTo>
                    <a:pt x="525" y="478"/>
                  </a:lnTo>
                  <a:lnTo>
                    <a:pt x="526" y="478"/>
                  </a:lnTo>
                  <a:lnTo>
                    <a:pt x="528" y="478"/>
                  </a:lnTo>
                  <a:lnTo>
                    <a:pt x="528" y="480"/>
                  </a:lnTo>
                  <a:lnTo>
                    <a:pt x="530" y="480"/>
                  </a:lnTo>
                  <a:lnTo>
                    <a:pt x="532" y="480"/>
                  </a:lnTo>
                  <a:lnTo>
                    <a:pt x="534" y="480"/>
                  </a:lnTo>
                  <a:lnTo>
                    <a:pt x="536" y="480"/>
                  </a:lnTo>
                  <a:lnTo>
                    <a:pt x="538" y="480"/>
                  </a:lnTo>
                  <a:lnTo>
                    <a:pt x="540" y="480"/>
                  </a:lnTo>
                  <a:lnTo>
                    <a:pt x="540" y="482"/>
                  </a:lnTo>
                  <a:lnTo>
                    <a:pt x="540" y="480"/>
                  </a:lnTo>
                  <a:lnTo>
                    <a:pt x="540" y="482"/>
                  </a:lnTo>
                  <a:lnTo>
                    <a:pt x="540" y="480"/>
                  </a:lnTo>
                  <a:lnTo>
                    <a:pt x="540" y="482"/>
                  </a:lnTo>
                  <a:lnTo>
                    <a:pt x="542" y="482"/>
                  </a:lnTo>
                  <a:lnTo>
                    <a:pt x="544" y="482"/>
                  </a:lnTo>
                  <a:lnTo>
                    <a:pt x="546" y="482"/>
                  </a:lnTo>
                  <a:lnTo>
                    <a:pt x="548" y="482"/>
                  </a:lnTo>
                  <a:lnTo>
                    <a:pt x="548" y="484"/>
                  </a:lnTo>
                  <a:lnTo>
                    <a:pt x="550" y="484"/>
                  </a:lnTo>
                  <a:lnTo>
                    <a:pt x="550" y="482"/>
                  </a:lnTo>
                  <a:lnTo>
                    <a:pt x="551" y="482"/>
                  </a:lnTo>
                  <a:lnTo>
                    <a:pt x="551" y="484"/>
                  </a:lnTo>
                  <a:lnTo>
                    <a:pt x="553" y="484"/>
                  </a:lnTo>
                  <a:lnTo>
                    <a:pt x="555" y="484"/>
                  </a:lnTo>
                  <a:lnTo>
                    <a:pt x="557" y="486"/>
                  </a:lnTo>
                  <a:lnTo>
                    <a:pt x="559" y="486"/>
                  </a:lnTo>
                  <a:lnTo>
                    <a:pt x="559" y="488"/>
                  </a:lnTo>
                  <a:lnTo>
                    <a:pt x="561" y="488"/>
                  </a:lnTo>
                  <a:lnTo>
                    <a:pt x="561" y="490"/>
                  </a:lnTo>
                  <a:lnTo>
                    <a:pt x="561" y="488"/>
                  </a:lnTo>
                  <a:lnTo>
                    <a:pt x="561" y="490"/>
                  </a:lnTo>
                  <a:lnTo>
                    <a:pt x="563" y="490"/>
                  </a:lnTo>
                  <a:lnTo>
                    <a:pt x="565" y="490"/>
                  </a:lnTo>
                  <a:lnTo>
                    <a:pt x="565" y="492"/>
                  </a:lnTo>
                  <a:lnTo>
                    <a:pt x="567" y="492"/>
                  </a:lnTo>
                  <a:lnTo>
                    <a:pt x="569" y="492"/>
                  </a:lnTo>
                  <a:lnTo>
                    <a:pt x="569" y="493"/>
                  </a:lnTo>
                  <a:lnTo>
                    <a:pt x="571" y="493"/>
                  </a:lnTo>
                  <a:lnTo>
                    <a:pt x="571" y="492"/>
                  </a:lnTo>
                  <a:lnTo>
                    <a:pt x="571" y="493"/>
                  </a:lnTo>
                  <a:lnTo>
                    <a:pt x="573" y="493"/>
                  </a:lnTo>
                  <a:lnTo>
                    <a:pt x="574" y="493"/>
                  </a:lnTo>
                  <a:lnTo>
                    <a:pt x="574" y="495"/>
                  </a:lnTo>
                  <a:lnTo>
                    <a:pt x="576" y="495"/>
                  </a:lnTo>
                  <a:lnTo>
                    <a:pt x="576" y="497"/>
                  </a:lnTo>
                  <a:lnTo>
                    <a:pt x="578" y="497"/>
                  </a:lnTo>
                  <a:lnTo>
                    <a:pt x="578" y="499"/>
                  </a:lnTo>
                  <a:lnTo>
                    <a:pt x="580" y="499"/>
                  </a:lnTo>
                  <a:lnTo>
                    <a:pt x="580" y="497"/>
                  </a:lnTo>
                  <a:lnTo>
                    <a:pt x="580" y="499"/>
                  </a:lnTo>
                  <a:lnTo>
                    <a:pt x="582" y="499"/>
                  </a:lnTo>
                  <a:lnTo>
                    <a:pt x="582" y="501"/>
                  </a:lnTo>
                  <a:lnTo>
                    <a:pt x="584" y="501"/>
                  </a:lnTo>
                  <a:lnTo>
                    <a:pt x="586" y="501"/>
                  </a:lnTo>
                  <a:lnTo>
                    <a:pt x="586" y="503"/>
                  </a:lnTo>
                  <a:lnTo>
                    <a:pt x="588" y="503"/>
                  </a:lnTo>
                  <a:lnTo>
                    <a:pt x="588" y="501"/>
                  </a:lnTo>
                  <a:lnTo>
                    <a:pt x="590" y="503"/>
                  </a:lnTo>
                  <a:lnTo>
                    <a:pt x="590" y="501"/>
                  </a:lnTo>
                  <a:lnTo>
                    <a:pt x="590" y="503"/>
                  </a:lnTo>
                  <a:lnTo>
                    <a:pt x="592" y="503"/>
                  </a:lnTo>
                  <a:lnTo>
                    <a:pt x="590" y="503"/>
                  </a:lnTo>
                  <a:lnTo>
                    <a:pt x="590" y="501"/>
                  </a:lnTo>
                  <a:lnTo>
                    <a:pt x="590" y="503"/>
                  </a:lnTo>
                  <a:lnTo>
                    <a:pt x="592" y="503"/>
                  </a:lnTo>
                  <a:lnTo>
                    <a:pt x="594" y="503"/>
                  </a:lnTo>
                  <a:lnTo>
                    <a:pt x="592" y="503"/>
                  </a:lnTo>
                  <a:lnTo>
                    <a:pt x="594" y="503"/>
                  </a:lnTo>
                  <a:lnTo>
                    <a:pt x="592" y="503"/>
                  </a:lnTo>
                  <a:lnTo>
                    <a:pt x="592" y="501"/>
                  </a:lnTo>
                  <a:lnTo>
                    <a:pt x="592" y="503"/>
                  </a:lnTo>
                  <a:lnTo>
                    <a:pt x="594" y="503"/>
                  </a:lnTo>
                  <a:lnTo>
                    <a:pt x="594" y="505"/>
                  </a:lnTo>
                  <a:lnTo>
                    <a:pt x="596" y="505"/>
                  </a:lnTo>
                  <a:lnTo>
                    <a:pt x="598" y="505"/>
                  </a:lnTo>
                  <a:lnTo>
                    <a:pt x="596" y="505"/>
                  </a:lnTo>
                  <a:lnTo>
                    <a:pt x="598" y="505"/>
                  </a:lnTo>
                  <a:lnTo>
                    <a:pt x="596" y="505"/>
                  </a:lnTo>
                  <a:lnTo>
                    <a:pt x="596" y="503"/>
                  </a:lnTo>
                  <a:lnTo>
                    <a:pt x="594" y="503"/>
                  </a:lnTo>
                  <a:lnTo>
                    <a:pt x="596" y="503"/>
                  </a:lnTo>
                  <a:lnTo>
                    <a:pt x="596" y="505"/>
                  </a:lnTo>
                  <a:lnTo>
                    <a:pt x="594" y="505"/>
                  </a:lnTo>
                  <a:lnTo>
                    <a:pt x="594" y="503"/>
                  </a:lnTo>
                  <a:lnTo>
                    <a:pt x="592" y="503"/>
                  </a:lnTo>
                  <a:lnTo>
                    <a:pt x="592" y="501"/>
                  </a:lnTo>
                  <a:lnTo>
                    <a:pt x="594" y="501"/>
                  </a:lnTo>
                  <a:lnTo>
                    <a:pt x="594" y="503"/>
                  </a:lnTo>
                  <a:lnTo>
                    <a:pt x="594" y="501"/>
                  </a:lnTo>
                  <a:lnTo>
                    <a:pt x="594" y="503"/>
                  </a:lnTo>
                  <a:lnTo>
                    <a:pt x="594" y="501"/>
                  </a:lnTo>
                  <a:lnTo>
                    <a:pt x="596" y="501"/>
                  </a:lnTo>
                  <a:lnTo>
                    <a:pt x="598" y="501"/>
                  </a:lnTo>
                  <a:lnTo>
                    <a:pt x="598" y="503"/>
                  </a:lnTo>
                  <a:lnTo>
                    <a:pt x="598" y="501"/>
                  </a:lnTo>
                  <a:lnTo>
                    <a:pt x="596" y="501"/>
                  </a:lnTo>
                  <a:lnTo>
                    <a:pt x="596" y="499"/>
                  </a:lnTo>
                  <a:lnTo>
                    <a:pt x="594" y="499"/>
                  </a:lnTo>
                  <a:lnTo>
                    <a:pt x="596" y="499"/>
                  </a:lnTo>
                  <a:lnTo>
                    <a:pt x="596" y="501"/>
                  </a:lnTo>
                  <a:lnTo>
                    <a:pt x="598" y="501"/>
                  </a:lnTo>
                  <a:lnTo>
                    <a:pt x="598" y="503"/>
                  </a:lnTo>
                  <a:lnTo>
                    <a:pt x="599" y="503"/>
                  </a:lnTo>
                  <a:lnTo>
                    <a:pt x="601" y="503"/>
                  </a:lnTo>
                  <a:lnTo>
                    <a:pt x="599" y="503"/>
                  </a:lnTo>
                  <a:lnTo>
                    <a:pt x="601" y="503"/>
                  </a:lnTo>
                  <a:lnTo>
                    <a:pt x="601" y="505"/>
                  </a:lnTo>
                  <a:lnTo>
                    <a:pt x="601" y="503"/>
                  </a:lnTo>
                  <a:lnTo>
                    <a:pt x="603" y="503"/>
                  </a:lnTo>
                  <a:lnTo>
                    <a:pt x="603" y="505"/>
                  </a:lnTo>
                  <a:lnTo>
                    <a:pt x="603" y="503"/>
                  </a:lnTo>
                  <a:lnTo>
                    <a:pt x="603" y="505"/>
                  </a:lnTo>
                  <a:lnTo>
                    <a:pt x="605" y="505"/>
                  </a:lnTo>
                  <a:lnTo>
                    <a:pt x="607" y="505"/>
                  </a:lnTo>
                  <a:lnTo>
                    <a:pt x="605" y="505"/>
                  </a:lnTo>
                  <a:lnTo>
                    <a:pt x="607" y="505"/>
                  </a:lnTo>
                  <a:lnTo>
                    <a:pt x="609" y="505"/>
                  </a:lnTo>
                  <a:lnTo>
                    <a:pt x="609" y="503"/>
                  </a:lnTo>
                  <a:lnTo>
                    <a:pt x="611" y="503"/>
                  </a:lnTo>
                  <a:lnTo>
                    <a:pt x="611" y="501"/>
                  </a:lnTo>
                  <a:lnTo>
                    <a:pt x="609" y="501"/>
                  </a:lnTo>
                  <a:lnTo>
                    <a:pt x="609" y="499"/>
                  </a:lnTo>
                  <a:lnTo>
                    <a:pt x="611" y="499"/>
                  </a:lnTo>
                  <a:lnTo>
                    <a:pt x="611" y="497"/>
                  </a:lnTo>
                  <a:lnTo>
                    <a:pt x="611" y="499"/>
                  </a:lnTo>
                  <a:lnTo>
                    <a:pt x="609" y="499"/>
                  </a:lnTo>
                  <a:lnTo>
                    <a:pt x="609" y="501"/>
                  </a:lnTo>
                  <a:lnTo>
                    <a:pt x="609" y="499"/>
                  </a:lnTo>
                  <a:lnTo>
                    <a:pt x="609" y="501"/>
                  </a:lnTo>
                  <a:lnTo>
                    <a:pt x="609" y="499"/>
                  </a:lnTo>
                  <a:lnTo>
                    <a:pt x="607" y="499"/>
                  </a:lnTo>
                  <a:lnTo>
                    <a:pt x="607" y="501"/>
                  </a:lnTo>
                  <a:lnTo>
                    <a:pt x="607" y="499"/>
                  </a:lnTo>
                  <a:lnTo>
                    <a:pt x="605" y="499"/>
                  </a:lnTo>
                  <a:lnTo>
                    <a:pt x="603" y="499"/>
                  </a:lnTo>
                  <a:lnTo>
                    <a:pt x="605" y="499"/>
                  </a:lnTo>
                  <a:lnTo>
                    <a:pt x="603" y="499"/>
                  </a:lnTo>
                  <a:lnTo>
                    <a:pt x="603" y="497"/>
                  </a:lnTo>
                  <a:lnTo>
                    <a:pt x="601" y="497"/>
                  </a:lnTo>
                  <a:lnTo>
                    <a:pt x="601" y="495"/>
                  </a:lnTo>
                  <a:lnTo>
                    <a:pt x="603" y="495"/>
                  </a:lnTo>
                  <a:lnTo>
                    <a:pt x="601" y="495"/>
                  </a:lnTo>
                  <a:lnTo>
                    <a:pt x="601" y="493"/>
                  </a:lnTo>
                  <a:lnTo>
                    <a:pt x="601" y="492"/>
                  </a:lnTo>
                  <a:lnTo>
                    <a:pt x="601" y="493"/>
                  </a:lnTo>
                  <a:lnTo>
                    <a:pt x="601" y="492"/>
                  </a:lnTo>
                  <a:lnTo>
                    <a:pt x="601" y="493"/>
                  </a:lnTo>
                  <a:lnTo>
                    <a:pt x="601" y="492"/>
                  </a:lnTo>
                  <a:lnTo>
                    <a:pt x="601" y="490"/>
                  </a:lnTo>
                  <a:lnTo>
                    <a:pt x="601" y="488"/>
                  </a:lnTo>
                  <a:lnTo>
                    <a:pt x="599" y="488"/>
                  </a:lnTo>
                  <a:lnTo>
                    <a:pt x="599" y="486"/>
                  </a:lnTo>
                  <a:lnTo>
                    <a:pt x="598" y="486"/>
                  </a:lnTo>
                  <a:lnTo>
                    <a:pt x="596" y="486"/>
                  </a:lnTo>
                  <a:lnTo>
                    <a:pt x="598" y="486"/>
                  </a:lnTo>
                  <a:lnTo>
                    <a:pt x="598" y="484"/>
                  </a:lnTo>
                  <a:lnTo>
                    <a:pt x="596" y="484"/>
                  </a:lnTo>
                  <a:lnTo>
                    <a:pt x="596" y="486"/>
                  </a:lnTo>
                  <a:lnTo>
                    <a:pt x="594" y="486"/>
                  </a:lnTo>
                  <a:lnTo>
                    <a:pt x="594" y="484"/>
                  </a:lnTo>
                  <a:lnTo>
                    <a:pt x="594" y="486"/>
                  </a:lnTo>
                  <a:lnTo>
                    <a:pt x="594" y="484"/>
                  </a:lnTo>
                  <a:lnTo>
                    <a:pt x="592" y="484"/>
                  </a:lnTo>
                  <a:lnTo>
                    <a:pt x="592" y="482"/>
                  </a:lnTo>
                  <a:lnTo>
                    <a:pt x="590" y="480"/>
                  </a:lnTo>
                  <a:lnTo>
                    <a:pt x="588" y="480"/>
                  </a:lnTo>
                  <a:lnTo>
                    <a:pt x="588" y="482"/>
                  </a:lnTo>
                  <a:lnTo>
                    <a:pt x="588" y="480"/>
                  </a:lnTo>
                  <a:lnTo>
                    <a:pt x="588" y="478"/>
                  </a:lnTo>
                  <a:lnTo>
                    <a:pt x="586" y="478"/>
                  </a:lnTo>
                  <a:lnTo>
                    <a:pt x="586" y="476"/>
                  </a:lnTo>
                  <a:lnTo>
                    <a:pt x="584" y="476"/>
                  </a:lnTo>
                  <a:lnTo>
                    <a:pt x="586" y="476"/>
                  </a:lnTo>
                  <a:lnTo>
                    <a:pt x="584" y="476"/>
                  </a:lnTo>
                  <a:lnTo>
                    <a:pt x="584" y="474"/>
                  </a:lnTo>
                  <a:lnTo>
                    <a:pt x="584" y="472"/>
                  </a:lnTo>
                  <a:lnTo>
                    <a:pt x="584" y="474"/>
                  </a:lnTo>
                  <a:lnTo>
                    <a:pt x="582" y="474"/>
                  </a:lnTo>
                  <a:lnTo>
                    <a:pt x="584" y="474"/>
                  </a:lnTo>
                  <a:lnTo>
                    <a:pt x="582" y="472"/>
                  </a:lnTo>
                  <a:lnTo>
                    <a:pt x="584" y="472"/>
                  </a:lnTo>
                  <a:lnTo>
                    <a:pt x="582" y="472"/>
                  </a:lnTo>
                  <a:lnTo>
                    <a:pt x="580" y="472"/>
                  </a:lnTo>
                  <a:lnTo>
                    <a:pt x="580" y="470"/>
                  </a:lnTo>
                  <a:lnTo>
                    <a:pt x="578" y="470"/>
                  </a:lnTo>
                  <a:lnTo>
                    <a:pt x="580" y="470"/>
                  </a:lnTo>
                  <a:lnTo>
                    <a:pt x="580" y="468"/>
                  </a:lnTo>
                  <a:lnTo>
                    <a:pt x="578" y="468"/>
                  </a:lnTo>
                  <a:lnTo>
                    <a:pt x="580" y="468"/>
                  </a:lnTo>
                  <a:lnTo>
                    <a:pt x="580" y="470"/>
                  </a:lnTo>
                  <a:lnTo>
                    <a:pt x="578" y="470"/>
                  </a:lnTo>
                  <a:lnTo>
                    <a:pt x="576" y="470"/>
                  </a:lnTo>
                  <a:lnTo>
                    <a:pt x="576" y="468"/>
                  </a:lnTo>
                  <a:lnTo>
                    <a:pt x="574" y="468"/>
                  </a:lnTo>
                  <a:lnTo>
                    <a:pt x="574" y="467"/>
                  </a:lnTo>
                  <a:lnTo>
                    <a:pt x="573" y="467"/>
                  </a:lnTo>
                  <a:lnTo>
                    <a:pt x="573" y="465"/>
                  </a:lnTo>
                  <a:lnTo>
                    <a:pt x="571" y="465"/>
                  </a:lnTo>
                  <a:lnTo>
                    <a:pt x="569" y="465"/>
                  </a:lnTo>
                  <a:lnTo>
                    <a:pt x="567" y="465"/>
                  </a:lnTo>
                  <a:lnTo>
                    <a:pt x="565" y="465"/>
                  </a:lnTo>
                  <a:lnTo>
                    <a:pt x="563" y="465"/>
                  </a:lnTo>
                  <a:lnTo>
                    <a:pt x="563" y="463"/>
                  </a:lnTo>
                  <a:lnTo>
                    <a:pt x="561" y="463"/>
                  </a:lnTo>
                  <a:lnTo>
                    <a:pt x="559" y="465"/>
                  </a:lnTo>
                  <a:lnTo>
                    <a:pt x="559" y="463"/>
                  </a:lnTo>
                  <a:lnTo>
                    <a:pt x="559" y="465"/>
                  </a:lnTo>
                  <a:lnTo>
                    <a:pt x="559" y="463"/>
                  </a:lnTo>
                  <a:lnTo>
                    <a:pt x="559" y="465"/>
                  </a:lnTo>
                  <a:lnTo>
                    <a:pt x="557" y="465"/>
                  </a:lnTo>
                  <a:lnTo>
                    <a:pt x="555" y="465"/>
                  </a:lnTo>
                  <a:lnTo>
                    <a:pt x="553" y="465"/>
                  </a:lnTo>
                  <a:lnTo>
                    <a:pt x="555" y="465"/>
                  </a:lnTo>
                  <a:lnTo>
                    <a:pt x="553" y="465"/>
                  </a:lnTo>
                  <a:lnTo>
                    <a:pt x="553" y="463"/>
                  </a:lnTo>
                  <a:lnTo>
                    <a:pt x="553" y="465"/>
                  </a:lnTo>
                  <a:lnTo>
                    <a:pt x="553" y="463"/>
                  </a:lnTo>
                  <a:lnTo>
                    <a:pt x="551" y="463"/>
                  </a:lnTo>
                  <a:lnTo>
                    <a:pt x="553" y="463"/>
                  </a:lnTo>
                  <a:lnTo>
                    <a:pt x="551" y="463"/>
                  </a:lnTo>
                  <a:lnTo>
                    <a:pt x="550" y="463"/>
                  </a:lnTo>
                  <a:lnTo>
                    <a:pt x="548" y="463"/>
                  </a:lnTo>
                  <a:lnTo>
                    <a:pt x="550" y="463"/>
                  </a:lnTo>
                  <a:lnTo>
                    <a:pt x="548" y="463"/>
                  </a:lnTo>
                  <a:lnTo>
                    <a:pt x="550" y="463"/>
                  </a:lnTo>
                  <a:lnTo>
                    <a:pt x="548" y="463"/>
                  </a:lnTo>
                  <a:lnTo>
                    <a:pt x="546" y="463"/>
                  </a:lnTo>
                  <a:lnTo>
                    <a:pt x="546" y="461"/>
                  </a:lnTo>
                  <a:lnTo>
                    <a:pt x="544" y="461"/>
                  </a:lnTo>
                  <a:lnTo>
                    <a:pt x="544" y="463"/>
                  </a:lnTo>
                  <a:lnTo>
                    <a:pt x="544" y="461"/>
                  </a:lnTo>
                  <a:lnTo>
                    <a:pt x="542" y="461"/>
                  </a:lnTo>
                  <a:lnTo>
                    <a:pt x="540" y="461"/>
                  </a:lnTo>
                  <a:lnTo>
                    <a:pt x="540" y="459"/>
                  </a:lnTo>
                  <a:lnTo>
                    <a:pt x="538" y="459"/>
                  </a:lnTo>
                  <a:lnTo>
                    <a:pt x="538" y="461"/>
                  </a:lnTo>
                  <a:lnTo>
                    <a:pt x="536" y="461"/>
                  </a:lnTo>
                  <a:lnTo>
                    <a:pt x="538" y="461"/>
                  </a:lnTo>
                  <a:lnTo>
                    <a:pt x="536" y="461"/>
                  </a:lnTo>
                  <a:lnTo>
                    <a:pt x="536" y="459"/>
                  </a:lnTo>
                  <a:lnTo>
                    <a:pt x="534" y="459"/>
                  </a:lnTo>
                  <a:lnTo>
                    <a:pt x="536" y="459"/>
                  </a:lnTo>
                  <a:lnTo>
                    <a:pt x="534" y="459"/>
                  </a:lnTo>
                  <a:lnTo>
                    <a:pt x="534" y="457"/>
                  </a:lnTo>
                  <a:lnTo>
                    <a:pt x="534" y="459"/>
                  </a:lnTo>
                  <a:lnTo>
                    <a:pt x="534" y="457"/>
                  </a:lnTo>
                  <a:lnTo>
                    <a:pt x="532" y="457"/>
                  </a:lnTo>
                  <a:lnTo>
                    <a:pt x="530" y="457"/>
                  </a:lnTo>
                  <a:lnTo>
                    <a:pt x="528" y="457"/>
                  </a:lnTo>
                  <a:lnTo>
                    <a:pt x="530" y="457"/>
                  </a:lnTo>
                  <a:lnTo>
                    <a:pt x="528" y="457"/>
                  </a:lnTo>
                  <a:lnTo>
                    <a:pt x="526" y="457"/>
                  </a:lnTo>
                  <a:lnTo>
                    <a:pt x="528" y="457"/>
                  </a:lnTo>
                  <a:lnTo>
                    <a:pt x="526" y="457"/>
                  </a:lnTo>
                  <a:lnTo>
                    <a:pt x="526" y="455"/>
                  </a:lnTo>
                  <a:lnTo>
                    <a:pt x="528" y="455"/>
                  </a:lnTo>
                  <a:lnTo>
                    <a:pt x="526" y="455"/>
                  </a:lnTo>
                  <a:lnTo>
                    <a:pt x="525" y="455"/>
                  </a:lnTo>
                  <a:lnTo>
                    <a:pt x="525" y="453"/>
                  </a:lnTo>
                  <a:lnTo>
                    <a:pt x="526" y="453"/>
                  </a:lnTo>
                  <a:lnTo>
                    <a:pt x="525" y="453"/>
                  </a:lnTo>
                  <a:lnTo>
                    <a:pt x="525" y="451"/>
                  </a:lnTo>
                  <a:lnTo>
                    <a:pt x="523" y="451"/>
                  </a:lnTo>
                  <a:lnTo>
                    <a:pt x="521" y="451"/>
                  </a:lnTo>
                  <a:lnTo>
                    <a:pt x="519" y="451"/>
                  </a:lnTo>
                  <a:lnTo>
                    <a:pt x="519" y="449"/>
                  </a:lnTo>
                  <a:lnTo>
                    <a:pt x="517" y="449"/>
                  </a:lnTo>
                  <a:lnTo>
                    <a:pt x="517" y="451"/>
                  </a:lnTo>
                  <a:lnTo>
                    <a:pt x="517" y="449"/>
                  </a:lnTo>
                  <a:lnTo>
                    <a:pt x="515" y="449"/>
                  </a:lnTo>
                  <a:lnTo>
                    <a:pt x="513" y="449"/>
                  </a:lnTo>
                  <a:lnTo>
                    <a:pt x="511" y="449"/>
                  </a:lnTo>
                  <a:lnTo>
                    <a:pt x="511" y="447"/>
                  </a:lnTo>
                  <a:lnTo>
                    <a:pt x="509" y="447"/>
                  </a:lnTo>
                  <a:lnTo>
                    <a:pt x="509" y="445"/>
                  </a:lnTo>
                  <a:lnTo>
                    <a:pt x="507" y="445"/>
                  </a:lnTo>
                  <a:lnTo>
                    <a:pt x="505" y="445"/>
                  </a:lnTo>
                  <a:lnTo>
                    <a:pt x="503" y="445"/>
                  </a:lnTo>
                  <a:lnTo>
                    <a:pt x="503" y="444"/>
                  </a:lnTo>
                  <a:lnTo>
                    <a:pt x="502" y="444"/>
                  </a:lnTo>
                  <a:lnTo>
                    <a:pt x="502" y="445"/>
                  </a:lnTo>
                  <a:lnTo>
                    <a:pt x="503" y="445"/>
                  </a:lnTo>
                  <a:lnTo>
                    <a:pt x="502" y="445"/>
                  </a:lnTo>
                  <a:lnTo>
                    <a:pt x="502" y="444"/>
                  </a:lnTo>
                  <a:lnTo>
                    <a:pt x="503" y="444"/>
                  </a:lnTo>
                  <a:lnTo>
                    <a:pt x="502" y="444"/>
                  </a:lnTo>
                  <a:lnTo>
                    <a:pt x="503" y="444"/>
                  </a:lnTo>
                  <a:lnTo>
                    <a:pt x="502" y="444"/>
                  </a:lnTo>
                  <a:lnTo>
                    <a:pt x="502" y="442"/>
                  </a:lnTo>
                  <a:lnTo>
                    <a:pt x="500" y="442"/>
                  </a:lnTo>
                  <a:lnTo>
                    <a:pt x="502" y="442"/>
                  </a:lnTo>
                  <a:lnTo>
                    <a:pt x="502" y="444"/>
                  </a:lnTo>
                  <a:lnTo>
                    <a:pt x="500" y="444"/>
                  </a:lnTo>
                  <a:lnTo>
                    <a:pt x="498" y="444"/>
                  </a:lnTo>
                  <a:lnTo>
                    <a:pt x="498" y="442"/>
                  </a:lnTo>
                  <a:lnTo>
                    <a:pt x="500" y="442"/>
                  </a:lnTo>
                  <a:lnTo>
                    <a:pt x="498" y="442"/>
                  </a:lnTo>
                  <a:lnTo>
                    <a:pt x="498" y="440"/>
                  </a:lnTo>
                  <a:lnTo>
                    <a:pt x="498" y="438"/>
                  </a:lnTo>
                  <a:lnTo>
                    <a:pt x="500" y="438"/>
                  </a:lnTo>
                  <a:lnTo>
                    <a:pt x="500" y="436"/>
                  </a:lnTo>
                  <a:lnTo>
                    <a:pt x="498" y="436"/>
                  </a:lnTo>
                  <a:lnTo>
                    <a:pt x="498" y="434"/>
                  </a:lnTo>
                  <a:lnTo>
                    <a:pt x="500" y="434"/>
                  </a:lnTo>
                  <a:lnTo>
                    <a:pt x="498" y="434"/>
                  </a:lnTo>
                  <a:lnTo>
                    <a:pt x="498" y="432"/>
                  </a:lnTo>
                  <a:lnTo>
                    <a:pt x="496" y="432"/>
                  </a:lnTo>
                  <a:lnTo>
                    <a:pt x="496" y="430"/>
                  </a:lnTo>
                  <a:lnTo>
                    <a:pt x="496" y="428"/>
                  </a:lnTo>
                  <a:lnTo>
                    <a:pt x="494" y="428"/>
                  </a:lnTo>
                  <a:lnTo>
                    <a:pt x="494" y="426"/>
                  </a:lnTo>
                  <a:lnTo>
                    <a:pt x="494" y="424"/>
                  </a:lnTo>
                  <a:lnTo>
                    <a:pt x="494" y="422"/>
                  </a:lnTo>
                  <a:lnTo>
                    <a:pt x="492" y="422"/>
                  </a:lnTo>
                  <a:lnTo>
                    <a:pt x="492" y="420"/>
                  </a:lnTo>
                  <a:lnTo>
                    <a:pt x="492" y="419"/>
                  </a:lnTo>
                  <a:lnTo>
                    <a:pt x="492" y="417"/>
                  </a:lnTo>
                  <a:lnTo>
                    <a:pt x="492" y="415"/>
                  </a:lnTo>
                  <a:lnTo>
                    <a:pt x="494" y="415"/>
                  </a:lnTo>
                  <a:lnTo>
                    <a:pt x="494" y="413"/>
                  </a:lnTo>
                  <a:lnTo>
                    <a:pt x="496" y="413"/>
                  </a:lnTo>
                  <a:lnTo>
                    <a:pt x="498" y="413"/>
                  </a:lnTo>
                  <a:lnTo>
                    <a:pt x="498" y="411"/>
                  </a:lnTo>
                  <a:lnTo>
                    <a:pt x="500" y="411"/>
                  </a:lnTo>
                  <a:lnTo>
                    <a:pt x="502" y="411"/>
                  </a:lnTo>
                  <a:lnTo>
                    <a:pt x="503" y="411"/>
                  </a:lnTo>
                  <a:lnTo>
                    <a:pt x="505" y="411"/>
                  </a:lnTo>
                  <a:lnTo>
                    <a:pt x="505" y="409"/>
                  </a:lnTo>
                  <a:lnTo>
                    <a:pt x="507" y="409"/>
                  </a:lnTo>
                  <a:lnTo>
                    <a:pt x="507" y="411"/>
                  </a:lnTo>
                  <a:lnTo>
                    <a:pt x="507" y="409"/>
                  </a:lnTo>
                  <a:lnTo>
                    <a:pt x="509" y="409"/>
                  </a:lnTo>
                  <a:lnTo>
                    <a:pt x="511" y="411"/>
                  </a:lnTo>
                  <a:lnTo>
                    <a:pt x="513" y="411"/>
                  </a:lnTo>
                  <a:lnTo>
                    <a:pt x="515" y="411"/>
                  </a:lnTo>
                  <a:lnTo>
                    <a:pt x="517" y="411"/>
                  </a:lnTo>
                  <a:lnTo>
                    <a:pt x="515" y="411"/>
                  </a:lnTo>
                  <a:lnTo>
                    <a:pt x="517" y="411"/>
                  </a:lnTo>
                  <a:lnTo>
                    <a:pt x="519" y="411"/>
                  </a:lnTo>
                  <a:lnTo>
                    <a:pt x="521" y="411"/>
                  </a:lnTo>
                  <a:lnTo>
                    <a:pt x="521" y="413"/>
                  </a:lnTo>
                  <a:lnTo>
                    <a:pt x="521" y="411"/>
                  </a:lnTo>
                  <a:lnTo>
                    <a:pt x="523" y="411"/>
                  </a:lnTo>
                  <a:lnTo>
                    <a:pt x="525" y="411"/>
                  </a:lnTo>
                  <a:lnTo>
                    <a:pt x="525" y="413"/>
                  </a:lnTo>
                  <a:lnTo>
                    <a:pt x="526" y="413"/>
                  </a:lnTo>
                  <a:lnTo>
                    <a:pt x="528" y="413"/>
                  </a:lnTo>
                  <a:lnTo>
                    <a:pt x="528" y="411"/>
                  </a:lnTo>
                  <a:lnTo>
                    <a:pt x="530" y="413"/>
                  </a:lnTo>
                  <a:lnTo>
                    <a:pt x="532" y="413"/>
                  </a:lnTo>
                  <a:lnTo>
                    <a:pt x="534" y="413"/>
                  </a:lnTo>
                  <a:lnTo>
                    <a:pt x="534" y="415"/>
                  </a:lnTo>
                  <a:lnTo>
                    <a:pt x="532" y="415"/>
                  </a:lnTo>
                  <a:lnTo>
                    <a:pt x="530" y="415"/>
                  </a:lnTo>
                  <a:lnTo>
                    <a:pt x="528" y="415"/>
                  </a:lnTo>
                  <a:lnTo>
                    <a:pt x="528" y="417"/>
                  </a:lnTo>
                  <a:lnTo>
                    <a:pt x="530" y="417"/>
                  </a:lnTo>
                  <a:lnTo>
                    <a:pt x="530" y="419"/>
                  </a:lnTo>
                  <a:lnTo>
                    <a:pt x="532" y="419"/>
                  </a:lnTo>
                  <a:lnTo>
                    <a:pt x="532" y="420"/>
                  </a:lnTo>
                  <a:lnTo>
                    <a:pt x="532" y="422"/>
                  </a:lnTo>
                  <a:lnTo>
                    <a:pt x="532" y="424"/>
                  </a:lnTo>
                  <a:lnTo>
                    <a:pt x="534" y="424"/>
                  </a:lnTo>
                  <a:lnTo>
                    <a:pt x="536" y="424"/>
                  </a:lnTo>
                  <a:lnTo>
                    <a:pt x="536" y="426"/>
                  </a:lnTo>
                  <a:lnTo>
                    <a:pt x="538" y="426"/>
                  </a:lnTo>
                  <a:lnTo>
                    <a:pt x="540" y="426"/>
                  </a:lnTo>
                  <a:lnTo>
                    <a:pt x="538" y="426"/>
                  </a:lnTo>
                  <a:lnTo>
                    <a:pt x="538" y="424"/>
                  </a:lnTo>
                  <a:lnTo>
                    <a:pt x="540" y="424"/>
                  </a:lnTo>
                  <a:lnTo>
                    <a:pt x="540" y="426"/>
                  </a:lnTo>
                  <a:lnTo>
                    <a:pt x="540" y="428"/>
                  </a:lnTo>
                  <a:lnTo>
                    <a:pt x="540" y="426"/>
                  </a:lnTo>
                  <a:lnTo>
                    <a:pt x="540" y="424"/>
                  </a:lnTo>
                  <a:lnTo>
                    <a:pt x="538" y="424"/>
                  </a:lnTo>
                  <a:lnTo>
                    <a:pt x="538" y="426"/>
                  </a:lnTo>
                  <a:lnTo>
                    <a:pt x="536" y="426"/>
                  </a:lnTo>
                  <a:lnTo>
                    <a:pt x="538" y="424"/>
                  </a:lnTo>
                  <a:lnTo>
                    <a:pt x="536" y="424"/>
                  </a:lnTo>
                  <a:lnTo>
                    <a:pt x="534" y="424"/>
                  </a:lnTo>
                  <a:lnTo>
                    <a:pt x="536" y="424"/>
                  </a:lnTo>
                  <a:lnTo>
                    <a:pt x="536" y="422"/>
                  </a:lnTo>
                  <a:lnTo>
                    <a:pt x="534" y="422"/>
                  </a:lnTo>
                  <a:lnTo>
                    <a:pt x="532" y="422"/>
                  </a:lnTo>
                  <a:lnTo>
                    <a:pt x="532" y="420"/>
                  </a:lnTo>
                  <a:lnTo>
                    <a:pt x="532" y="419"/>
                  </a:lnTo>
                  <a:lnTo>
                    <a:pt x="534" y="419"/>
                  </a:lnTo>
                  <a:lnTo>
                    <a:pt x="534" y="417"/>
                  </a:lnTo>
                  <a:lnTo>
                    <a:pt x="534" y="419"/>
                  </a:lnTo>
                  <a:lnTo>
                    <a:pt x="534" y="417"/>
                  </a:lnTo>
                  <a:lnTo>
                    <a:pt x="532" y="417"/>
                  </a:lnTo>
                  <a:lnTo>
                    <a:pt x="534" y="417"/>
                  </a:lnTo>
                  <a:lnTo>
                    <a:pt x="534" y="415"/>
                  </a:lnTo>
                  <a:lnTo>
                    <a:pt x="534" y="413"/>
                  </a:lnTo>
                  <a:lnTo>
                    <a:pt x="532" y="413"/>
                  </a:lnTo>
                  <a:lnTo>
                    <a:pt x="530" y="413"/>
                  </a:lnTo>
                  <a:lnTo>
                    <a:pt x="530" y="411"/>
                  </a:lnTo>
                  <a:lnTo>
                    <a:pt x="528" y="411"/>
                  </a:lnTo>
                  <a:lnTo>
                    <a:pt x="530" y="411"/>
                  </a:lnTo>
                  <a:lnTo>
                    <a:pt x="532" y="411"/>
                  </a:lnTo>
                  <a:lnTo>
                    <a:pt x="534" y="411"/>
                  </a:lnTo>
                  <a:lnTo>
                    <a:pt x="534" y="409"/>
                  </a:lnTo>
                  <a:lnTo>
                    <a:pt x="536" y="409"/>
                  </a:lnTo>
                  <a:lnTo>
                    <a:pt x="536" y="411"/>
                  </a:lnTo>
                  <a:lnTo>
                    <a:pt x="538" y="411"/>
                  </a:lnTo>
                  <a:lnTo>
                    <a:pt x="538" y="409"/>
                  </a:lnTo>
                  <a:lnTo>
                    <a:pt x="538" y="411"/>
                  </a:lnTo>
                  <a:lnTo>
                    <a:pt x="540" y="411"/>
                  </a:lnTo>
                  <a:lnTo>
                    <a:pt x="542" y="411"/>
                  </a:lnTo>
                  <a:lnTo>
                    <a:pt x="542" y="409"/>
                  </a:lnTo>
                  <a:lnTo>
                    <a:pt x="542" y="411"/>
                  </a:lnTo>
                  <a:lnTo>
                    <a:pt x="544" y="411"/>
                  </a:lnTo>
                  <a:lnTo>
                    <a:pt x="546" y="411"/>
                  </a:lnTo>
                  <a:lnTo>
                    <a:pt x="544" y="411"/>
                  </a:lnTo>
                  <a:lnTo>
                    <a:pt x="542" y="411"/>
                  </a:lnTo>
                  <a:lnTo>
                    <a:pt x="544" y="411"/>
                  </a:lnTo>
                  <a:lnTo>
                    <a:pt x="542" y="411"/>
                  </a:lnTo>
                  <a:lnTo>
                    <a:pt x="544" y="411"/>
                  </a:lnTo>
                  <a:lnTo>
                    <a:pt x="546" y="413"/>
                  </a:lnTo>
                  <a:lnTo>
                    <a:pt x="548" y="413"/>
                  </a:lnTo>
                  <a:lnTo>
                    <a:pt x="550" y="413"/>
                  </a:lnTo>
                  <a:lnTo>
                    <a:pt x="551" y="413"/>
                  </a:lnTo>
                  <a:lnTo>
                    <a:pt x="551" y="411"/>
                  </a:lnTo>
                  <a:lnTo>
                    <a:pt x="550" y="411"/>
                  </a:lnTo>
                  <a:lnTo>
                    <a:pt x="548" y="411"/>
                  </a:lnTo>
                  <a:lnTo>
                    <a:pt x="548" y="409"/>
                  </a:lnTo>
                  <a:lnTo>
                    <a:pt x="546" y="409"/>
                  </a:lnTo>
                  <a:lnTo>
                    <a:pt x="546" y="407"/>
                  </a:lnTo>
                  <a:lnTo>
                    <a:pt x="544" y="407"/>
                  </a:lnTo>
                  <a:lnTo>
                    <a:pt x="546" y="407"/>
                  </a:lnTo>
                  <a:lnTo>
                    <a:pt x="548" y="407"/>
                  </a:lnTo>
                  <a:lnTo>
                    <a:pt x="550" y="407"/>
                  </a:lnTo>
                  <a:lnTo>
                    <a:pt x="551" y="407"/>
                  </a:lnTo>
                  <a:lnTo>
                    <a:pt x="553" y="407"/>
                  </a:lnTo>
                  <a:lnTo>
                    <a:pt x="553" y="405"/>
                  </a:lnTo>
                  <a:lnTo>
                    <a:pt x="555" y="405"/>
                  </a:lnTo>
                  <a:lnTo>
                    <a:pt x="553" y="405"/>
                  </a:lnTo>
                  <a:lnTo>
                    <a:pt x="553" y="407"/>
                  </a:lnTo>
                  <a:lnTo>
                    <a:pt x="555" y="407"/>
                  </a:lnTo>
                  <a:lnTo>
                    <a:pt x="553" y="407"/>
                  </a:lnTo>
                  <a:lnTo>
                    <a:pt x="555" y="407"/>
                  </a:lnTo>
                  <a:lnTo>
                    <a:pt x="557" y="407"/>
                  </a:lnTo>
                  <a:lnTo>
                    <a:pt x="557" y="409"/>
                  </a:lnTo>
                  <a:lnTo>
                    <a:pt x="559" y="409"/>
                  </a:lnTo>
                  <a:lnTo>
                    <a:pt x="559" y="411"/>
                  </a:lnTo>
                  <a:lnTo>
                    <a:pt x="561" y="411"/>
                  </a:lnTo>
                  <a:lnTo>
                    <a:pt x="563" y="411"/>
                  </a:lnTo>
                  <a:lnTo>
                    <a:pt x="561" y="411"/>
                  </a:lnTo>
                  <a:lnTo>
                    <a:pt x="563" y="411"/>
                  </a:lnTo>
                  <a:lnTo>
                    <a:pt x="565" y="411"/>
                  </a:lnTo>
                  <a:lnTo>
                    <a:pt x="565" y="409"/>
                  </a:lnTo>
                  <a:lnTo>
                    <a:pt x="567" y="409"/>
                  </a:lnTo>
                  <a:lnTo>
                    <a:pt x="565" y="409"/>
                  </a:lnTo>
                  <a:lnTo>
                    <a:pt x="563" y="409"/>
                  </a:lnTo>
                  <a:lnTo>
                    <a:pt x="561" y="409"/>
                  </a:lnTo>
                  <a:lnTo>
                    <a:pt x="559" y="409"/>
                  </a:lnTo>
                  <a:lnTo>
                    <a:pt x="561" y="409"/>
                  </a:lnTo>
                  <a:lnTo>
                    <a:pt x="559" y="409"/>
                  </a:lnTo>
                  <a:lnTo>
                    <a:pt x="559" y="407"/>
                  </a:lnTo>
                  <a:lnTo>
                    <a:pt x="557" y="407"/>
                  </a:lnTo>
                  <a:lnTo>
                    <a:pt x="559" y="407"/>
                  </a:lnTo>
                  <a:lnTo>
                    <a:pt x="561" y="405"/>
                  </a:lnTo>
                  <a:lnTo>
                    <a:pt x="559" y="405"/>
                  </a:lnTo>
                  <a:lnTo>
                    <a:pt x="559" y="403"/>
                  </a:lnTo>
                  <a:lnTo>
                    <a:pt x="557" y="403"/>
                  </a:lnTo>
                  <a:lnTo>
                    <a:pt x="555" y="403"/>
                  </a:lnTo>
                  <a:lnTo>
                    <a:pt x="553" y="403"/>
                  </a:lnTo>
                  <a:lnTo>
                    <a:pt x="551" y="403"/>
                  </a:lnTo>
                  <a:lnTo>
                    <a:pt x="550" y="403"/>
                  </a:lnTo>
                  <a:lnTo>
                    <a:pt x="548" y="403"/>
                  </a:lnTo>
                  <a:lnTo>
                    <a:pt x="546" y="403"/>
                  </a:lnTo>
                  <a:lnTo>
                    <a:pt x="544" y="403"/>
                  </a:lnTo>
                  <a:lnTo>
                    <a:pt x="544" y="401"/>
                  </a:lnTo>
                  <a:lnTo>
                    <a:pt x="542" y="401"/>
                  </a:lnTo>
                  <a:lnTo>
                    <a:pt x="540" y="401"/>
                  </a:lnTo>
                  <a:lnTo>
                    <a:pt x="538" y="401"/>
                  </a:lnTo>
                  <a:lnTo>
                    <a:pt x="536" y="401"/>
                  </a:lnTo>
                  <a:lnTo>
                    <a:pt x="534" y="401"/>
                  </a:lnTo>
                  <a:lnTo>
                    <a:pt x="532" y="401"/>
                  </a:lnTo>
                  <a:lnTo>
                    <a:pt x="530" y="401"/>
                  </a:lnTo>
                  <a:lnTo>
                    <a:pt x="530" y="399"/>
                  </a:lnTo>
                  <a:lnTo>
                    <a:pt x="528" y="399"/>
                  </a:lnTo>
                  <a:lnTo>
                    <a:pt x="526" y="399"/>
                  </a:lnTo>
                  <a:lnTo>
                    <a:pt x="526" y="401"/>
                  </a:lnTo>
                  <a:lnTo>
                    <a:pt x="526" y="399"/>
                  </a:lnTo>
                  <a:lnTo>
                    <a:pt x="526" y="401"/>
                  </a:lnTo>
                  <a:lnTo>
                    <a:pt x="525" y="401"/>
                  </a:lnTo>
                  <a:lnTo>
                    <a:pt x="525" y="399"/>
                  </a:lnTo>
                  <a:lnTo>
                    <a:pt x="523" y="399"/>
                  </a:lnTo>
                  <a:lnTo>
                    <a:pt x="523" y="401"/>
                  </a:lnTo>
                  <a:lnTo>
                    <a:pt x="521" y="401"/>
                  </a:lnTo>
                  <a:lnTo>
                    <a:pt x="521" y="399"/>
                  </a:lnTo>
                  <a:lnTo>
                    <a:pt x="521" y="397"/>
                  </a:lnTo>
                  <a:lnTo>
                    <a:pt x="523" y="397"/>
                  </a:lnTo>
                  <a:lnTo>
                    <a:pt x="523" y="396"/>
                  </a:lnTo>
                  <a:lnTo>
                    <a:pt x="525" y="396"/>
                  </a:lnTo>
                  <a:lnTo>
                    <a:pt x="523" y="396"/>
                  </a:lnTo>
                  <a:lnTo>
                    <a:pt x="525" y="396"/>
                  </a:lnTo>
                  <a:lnTo>
                    <a:pt x="523" y="396"/>
                  </a:lnTo>
                  <a:lnTo>
                    <a:pt x="521" y="396"/>
                  </a:lnTo>
                  <a:lnTo>
                    <a:pt x="523" y="396"/>
                  </a:lnTo>
                  <a:lnTo>
                    <a:pt x="523" y="394"/>
                  </a:lnTo>
                  <a:lnTo>
                    <a:pt x="521" y="394"/>
                  </a:lnTo>
                  <a:lnTo>
                    <a:pt x="523" y="394"/>
                  </a:lnTo>
                  <a:lnTo>
                    <a:pt x="521" y="394"/>
                  </a:lnTo>
                  <a:lnTo>
                    <a:pt x="521" y="392"/>
                  </a:lnTo>
                  <a:lnTo>
                    <a:pt x="521" y="394"/>
                  </a:lnTo>
                  <a:lnTo>
                    <a:pt x="519" y="394"/>
                  </a:lnTo>
                  <a:lnTo>
                    <a:pt x="521" y="394"/>
                  </a:lnTo>
                  <a:lnTo>
                    <a:pt x="519" y="394"/>
                  </a:lnTo>
                  <a:lnTo>
                    <a:pt x="519" y="396"/>
                  </a:lnTo>
                  <a:lnTo>
                    <a:pt x="521" y="396"/>
                  </a:lnTo>
                  <a:lnTo>
                    <a:pt x="521" y="397"/>
                  </a:lnTo>
                  <a:lnTo>
                    <a:pt x="519" y="397"/>
                  </a:lnTo>
                  <a:lnTo>
                    <a:pt x="519" y="399"/>
                  </a:lnTo>
                  <a:lnTo>
                    <a:pt x="517" y="399"/>
                  </a:lnTo>
                  <a:lnTo>
                    <a:pt x="517" y="397"/>
                  </a:lnTo>
                  <a:lnTo>
                    <a:pt x="515" y="397"/>
                  </a:lnTo>
                  <a:lnTo>
                    <a:pt x="515" y="396"/>
                  </a:lnTo>
                  <a:lnTo>
                    <a:pt x="517" y="396"/>
                  </a:lnTo>
                  <a:lnTo>
                    <a:pt x="515" y="396"/>
                  </a:lnTo>
                  <a:lnTo>
                    <a:pt x="515" y="397"/>
                  </a:lnTo>
                  <a:lnTo>
                    <a:pt x="513" y="397"/>
                  </a:lnTo>
                  <a:lnTo>
                    <a:pt x="513" y="396"/>
                  </a:lnTo>
                  <a:lnTo>
                    <a:pt x="511" y="396"/>
                  </a:lnTo>
                  <a:lnTo>
                    <a:pt x="509" y="396"/>
                  </a:lnTo>
                  <a:lnTo>
                    <a:pt x="507" y="396"/>
                  </a:lnTo>
                  <a:lnTo>
                    <a:pt x="507" y="394"/>
                  </a:lnTo>
                  <a:lnTo>
                    <a:pt x="505" y="394"/>
                  </a:lnTo>
                  <a:lnTo>
                    <a:pt x="505" y="392"/>
                  </a:lnTo>
                  <a:lnTo>
                    <a:pt x="505" y="390"/>
                  </a:lnTo>
                  <a:lnTo>
                    <a:pt x="507" y="390"/>
                  </a:lnTo>
                  <a:lnTo>
                    <a:pt x="507" y="388"/>
                  </a:lnTo>
                  <a:lnTo>
                    <a:pt x="509" y="388"/>
                  </a:lnTo>
                  <a:lnTo>
                    <a:pt x="509" y="386"/>
                  </a:lnTo>
                  <a:lnTo>
                    <a:pt x="511" y="386"/>
                  </a:lnTo>
                  <a:lnTo>
                    <a:pt x="513" y="386"/>
                  </a:lnTo>
                  <a:lnTo>
                    <a:pt x="515" y="386"/>
                  </a:lnTo>
                  <a:lnTo>
                    <a:pt x="515" y="388"/>
                  </a:lnTo>
                  <a:lnTo>
                    <a:pt x="517" y="388"/>
                  </a:lnTo>
                  <a:lnTo>
                    <a:pt x="517" y="390"/>
                  </a:lnTo>
                  <a:lnTo>
                    <a:pt x="519" y="390"/>
                  </a:lnTo>
                  <a:lnTo>
                    <a:pt x="519" y="388"/>
                  </a:lnTo>
                  <a:lnTo>
                    <a:pt x="517" y="388"/>
                  </a:lnTo>
                  <a:lnTo>
                    <a:pt x="519" y="388"/>
                  </a:lnTo>
                  <a:lnTo>
                    <a:pt x="517" y="388"/>
                  </a:lnTo>
                  <a:lnTo>
                    <a:pt x="519" y="388"/>
                  </a:lnTo>
                  <a:lnTo>
                    <a:pt x="517" y="388"/>
                  </a:lnTo>
                  <a:lnTo>
                    <a:pt x="519" y="388"/>
                  </a:lnTo>
                  <a:lnTo>
                    <a:pt x="521" y="388"/>
                  </a:lnTo>
                  <a:lnTo>
                    <a:pt x="521" y="386"/>
                  </a:lnTo>
                  <a:lnTo>
                    <a:pt x="519" y="386"/>
                  </a:lnTo>
                  <a:lnTo>
                    <a:pt x="519" y="384"/>
                  </a:lnTo>
                  <a:lnTo>
                    <a:pt x="519" y="382"/>
                  </a:lnTo>
                  <a:lnTo>
                    <a:pt x="517" y="382"/>
                  </a:lnTo>
                  <a:lnTo>
                    <a:pt x="517" y="384"/>
                  </a:lnTo>
                  <a:lnTo>
                    <a:pt x="517" y="382"/>
                  </a:lnTo>
                  <a:lnTo>
                    <a:pt x="519" y="382"/>
                  </a:lnTo>
                  <a:lnTo>
                    <a:pt x="521" y="382"/>
                  </a:lnTo>
                  <a:lnTo>
                    <a:pt x="523" y="382"/>
                  </a:lnTo>
                  <a:lnTo>
                    <a:pt x="521" y="382"/>
                  </a:lnTo>
                  <a:lnTo>
                    <a:pt x="521" y="380"/>
                  </a:lnTo>
                  <a:lnTo>
                    <a:pt x="519" y="380"/>
                  </a:lnTo>
                  <a:lnTo>
                    <a:pt x="517" y="380"/>
                  </a:lnTo>
                  <a:lnTo>
                    <a:pt x="517" y="378"/>
                  </a:lnTo>
                  <a:lnTo>
                    <a:pt x="517" y="380"/>
                  </a:lnTo>
                  <a:lnTo>
                    <a:pt x="515" y="380"/>
                  </a:lnTo>
                  <a:lnTo>
                    <a:pt x="513" y="380"/>
                  </a:lnTo>
                  <a:lnTo>
                    <a:pt x="513" y="382"/>
                  </a:lnTo>
                  <a:lnTo>
                    <a:pt x="511" y="382"/>
                  </a:lnTo>
                  <a:lnTo>
                    <a:pt x="509" y="382"/>
                  </a:lnTo>
                  <a:lnTo>
                    <a:pt x="509" y="380"/>
                  </a:lnTo>
                  <a:lnTo>
                    <a:pt x="507" y="380"/>
                  </a:lnTo>
                  <a:lnTo>
                    <a:pt x="507" y="382"/>
                  </a:lnTo>
                  <a:lnTo>
                    <a:pt x="507" y="380"/>
                  </a:lnTo>
                  <a:lnTo>
                    <a:pt x="509" y="380"/>
                  </a:lnTo>
                  <a:lnTo>
                    <a:pt x="509" y="378"/>
                  </a:lnTo>
                  <a:lnTo>
                    <a:pt x="507" y="376"/>
                  </a:lnTo>
                  <a:lnTo>
                    <a:pt x="509" y="376"/>
                  </a:lnTo>
                  <a:lnTo>
                    <a:pt x="507" y="376"/>
                  </a:lnTo>
                  <a:lnTo>
                    <a:pt x="507" y="374"/>
                  </a:lnTo>
                  <a:lnTo>
                    <a:pt x="505" y="374"/>
                  </a:lnTo>
                  <a:lnTo>
                    <a:pt x="505" y="376"/>
                  </a:lnTo>
                  <a:lnTo>
                    <a:pt x="505" y="374"/>
                  </a:lnTo>
                  <a:lnTo>
                    <a:pt x="503" y="374"/>
                  </a:lnTo>
                  <a:lnTo>
                    <a:pt x="503" y="372"/>
                  </a:lnTo>
                  <a:lnTo>
                    <a:pt x="502" y="372"/>
                  </a:lnTo>
                  <a:lnTo>
                    <a:pt x="502" y="374"/>
                  </a:lnTo>
                  <a:lnTo>
                    <a:pt x="500" y="374"/>
                  </a:lnTo>
                  <a:lnTo>
                    <a:pt x="500" y="376"/>
                  </a:lnTo>
                  <a:lnTo>
                    <a:pt x="500" y="378"/>
                  </a:lnTo>
                  <a:lnTo>
                    <a:pt x="500" y="376"/>
                  </a:lnTo>
                  <a:lnTo>
                    <a:pt x="498" y="374"/>
                  </a:lnTo>
                  <a:lnTo>
                    <a:pt x="498" y="372"/>
                  </a:lnTo>
                  <a:lnTo>
                    <a:pt x="498" y="371"/>
                  </a:lnTo>
                  <a:lnTo>
                    <a:pt x="498" y="369"/>
                  </a:lnTo>
                  <a:lnTo>
                    <a:pt x="500" y="369"/>
                  </a:lnTo>
                  <a:lnTo>
                    <a:pt x="500" y="367"/>
                  </a:lnTo>
                  <a:lnTo>
                    <a:pt x="500" y="365"/>
                  </a:lnTo>
                  <a:lnTo>
                    <a:pt x="500" y="363"/>
                  </a:lnTo>
                  <a:lnTo>
                    <a:pt x="502" y="363"/>
                  </a:lnTo>
                  <a:lnTo>
                    <a:pt x="502" y="361"/>
                  </a:lnTo>
                  <a:lnTo>
                    <a:pt x="502" y="359"/>
                  </a:lnTo>
                  <a:lnTo>
                    <a:pt x="503" y="359"/>
                  </a:lnTo>
                  <a:lnTo>
                    <a:pt x="503" y="357"/>
                  </a:lnTo>
                  <a:lnTo>
                    <a:pt x="505" y="357"/>
                  </a:lnTo>
                  <a:lnTo>
                    <a:pt x="505" y="355"/>
                  </a:lnTo>
                  <a:lnTo>
                    <a:pt x="507" y="355"/>
                  </a:lnTo>
                  <a:lnTo>
                    <a:pt x="509" y="353"/>
                  </a:lnTo>
                  <a:lnTo>
                    <a:pt x="511" y="353"/>
                  </a:lnTo>
                  <a:lnTo>
                    <a:pt x="513" y="353"/>
                  </a:lnTo>
                  <a:lnTo>
                    <a:pt x="513" y="351"/>
                  </a:lnTo>
                  <a:lnTo>
                    <a:pt x="515" y="351"/>
                  </a:lnTo>
                  <a:lnTo>
                    <a:pt x="517" y="349"/>
                  </a:lnTo>
                  <a:lnTo>
                    <a:pt x="517" y="348"/>
                  </a:lnTo>
                  <a:lnTo>
                    <a:pt x="519" y="348"/>
                  </a:lnTo>
                  <a:lnTo>
                    <a:pt x="519" y="346"/>
                  </a:lnTo>
                  <a:lnTo>
                    <a:pt x="521" y="346"/>
                  </a:lnTo>
                  <a:lnTo>
                    <a:pt x="523" y="346"/>
                  </a:lnTo>
                  <a:lnTo>
                    <a:pt x="523" y="348"/>
                  </a:lnTo>
                  <a:lnTo>
                    <a:pt x="523" y="346"/>
                  </a:lnTo>
                  <a:lnTo>
                    <a:pt x="525" y="346"/>
                  </a:lnTo>
                  <a:lnTo>
                    <a:pt x="526" y="346"/>
                  </a:lnTo>
                  <a:lnTo>
                    <a:pt x="528" y="348"/>
                  </a:lnTo>
                  <a:lnTo>
                    <a:pt x="530" y="348"/>
                  </a:lnTo>
                  <a:lnTo>
                    <a:pt x="530" y="346"/>
                  </a:lnTo>
                  <a:lnTo>
                    <a:pt x="530" y="344"/>
                  </a:lnTo>
                  <a:lnTo>
                    <a:pt x="532" y="344"/>
                  </a:lnTo>
                  <a:lnTo>
                    <a:pt x="532" y="342"/>
                  </a:lnTo>
                  <a:lnTo>
                    <a:pt x="530" y="342"/>
                  </a:lnTo>
                  <a:lnTo>
                    <a:pt x="532" y="342"/>
                  </a:lnTo>
                  <a:lnTo>
                    <a:pt x="530" y="342"/>
                  </a:lnTo>
                  <a:lnTo>
                    <a:pt x="532" y="342"/>
                  </a:lnTo>
                  <a:lnTo>
                    <a:pt x="532" y="340"/>
                  </a:lnTo>
                  <a:lnTo>
                    <a:pt x="530" y="340"/>
                  </a:lnTo>
                  <a:lnTo>
                    <a:pt x="530" y="338"/>
                  </a:lnTo>
                  <a:lnTo>
                    <a:pt x="528" y="338"/>
                  </a:lnTo>
                  <a:lnTo>
                    <a:pt x="526" y="338"/>
                  </a:lnTo>
                  <a:lnTo>
                    <a:pt x="526" y="336"/>
                  </a:lnTo>
                  <a:lnTo>
                    <a:pt x="526" y="334"/>
                  </a:lnTo>
                  <a:lnTo>
                    <a:pt x="526" y="332"/>
                  </a:lnTo>
                  <a:lnTo>
                    <a:pt x="526" y="330"/>
                  </a:lnTo>
                  <a:lnTo>
                    <a:pt x="528" y="330"/>
                  </a:lnTo>
                  <a:lnTo>
                    <a:pt x="528" y="328"/>
                  </a:lnTo>
                  <a:lnTo>
                    <a:pt x="530" y="328"/>
                  </a:lnTo>
                  <a:lnTo>
                    <a:pt x="530" y="326"/>
                  </a:lnTo>
                  <a:lnTo>
                    <a:pt x="532" y="326"/>
                  </a:lnTo>
                  <a:lnTo>
                    <a:pt x="534" y="326"/>
                  </a:lnTo>
                  <a:lnTo>
                    <a:pt x="534" y="324"/>
                  </a:lnTo>
                  <a:lnTo>
                    <a:pt x="536" y="324"/>
                  </a:lnTo>
                  <a:lnTo>
                    <a:pt x="538" y="324"/>
                  </a:lnTo>
                  <a:lnTo>
                    <a:pt x="538" y="323"/>
                  </a:lnTo>
                  <a:lnTo>
                    <a:pt x="540" y="323"/>
                  </a:lnTo>
                  <a:lnTo>
                    <a:pt x="542" y="323"/>
                  </a:lnTo>
                  <a:lnTo>
                    <a:pt x="544" y="323"/>
                  </a:lnTo>
                  <a:lnTo>
                    <a:pt x="544" y="321"/>
                  </a:lnTo>
                  <a:lnTo>
                    <a:pt x="546" y="321"/>
                  </a:lnTo>
                  <a:lnTo>
                    <a:pt x="548" y="321"/>
                  </a:lnTo>
                  <a:lnTo>
                    <a:pt x="550" y="321"/>
                  </a:lnTo>
                  <a:lnTo>
                    <a:pt x="550" y="319"/>
                  </a:lnTo>
                  <a:lnTo>
                    <a:pt x="551" y="319"/>
                  </a:lnTo>
                  <a:lnTo>
                    <a:pt x="553" y="319"/>
                  </a:lnTo>
                  <a:lnTo>
                    <a:pt x="553" y="317"/>
                  </a:lnTo>
                  <a:lnTo>
                    <a:pt x="555" y="317"/>
                  </a:lnTo>
                  <a:lnTo>
                    <a:pt x="555" y="315"/>
                  </a:lnTo>
                  <a:lnTo>
                    <a:pt x="557" y="315"/>
                  </a:lnTo>
                  <a:lnTo>
                    <a:pt x="557" y="313"/>
                  </a:lnTo>
                  <a:lnTo>
                    <a:pt x="559" y="313"/>
                  </a:lnTo>
                  <a:lnTo>
                    <a:pt x="561" y="313"/>
                  </a:lnTo>
                  <a:lnTo>
                    <a:pt x="563" y="313"/>
                  </a:lnTo>
                  <a:lnTo>
                    <a:pt x="565" y="313"/>
                  </a:lnTo>
                  <a:lnTo>
                    <a:pt x="567" y="313"/>
                  </a:lnTo>
                  <a:lnTo>
                    <a:pt x="569" y="313"/>
                  </a:lnTo>
                  <a:lnTo>
                    <a:pt x="571" y="313"/>
                  </a:lnTo>
                  <a:lnTo>
                    <a:pt x="573" y="313"/>
                  </a:lnTo>
                  <a:lnTo>
                    <a:pt x="573" y="311"/>
                  </a:lnTo>
                  <a:lnTo>
                    <a:pt x="574" y="311"/>
                  </a:lnTo>
                  <a:lnTo>
                    <a:pt x="576" y="311"/>
                  </a:lnTo>
                  <a:lnTo>
                    <a:pt x="574" y="311"/>
                  </a:lnTo>
                  <a:lnTo>
                    <a:pt x="576" y="311"/>
                  </a:lnTo>
                  <a:lnTo>
                    <a:pt x="574" y="311"/>
                  </a:lnTo>
                  <a:lnTo>
                    <a:pt x="574" y="313"/>
                  </a:lnTo>
                  <a:lnTo>
                    <a:pt x="574" y="311"/>
                  </a:lnTo>
                  <a:lnTo>
                    <a:pt x="576" y="311"/>
                  </a:lnTo>
                  <a:lnTo>
                    <a:pt x="578" y="311"/>
                  </a:lnTo>
                  <a:lnTo>
                    <a:pt x="580" y="311"/>
                  </a:lnTo>
                  <a:lnTo>
                    <a:pt x="580" y="309"/>
                  </a:lnTo>
                  <a:lnTo>
                    <a:pt x="582" y="309"/>
                  </a:lnTo>
                  <a:lnTo>
                    <a:pt x="584" y="309"/>
                  </a:lnTo>
                  <a:lnTo>
                    <a:pt x="586" y="311"/>
                  </a:lnTo>
                  <a:lnTo>
                    <a:pt x="586" y="309"/>
                  </a:lnTo>
                  <a:lnTo>
                    <a:pt x="588" y="309"/>
                  </a:lnTo>
                  <a:lnTo>
                    <a:pt x="590" y="309"/>
                  </a:lnTo>
                  <a:lnTo>
                    <a:pt x="592" y="309"/>
                  </a:lnTo>
                  <a:lnTo>
                    <a:pt x="594" y="309"/>
                  </a:lnTo>
                  <a:lnTo>
                    <a:pt x="596" y="309"/>
                  </a:lnTo>
                  <a:lnTo>
                    <a:pt x="598" y="309"/>
                  </a:lnTo>
                  <a:lnTo>
                    <a:pt x="599" y="309"/>
                  </a:lnTo>
                  <a:lnTo>
                    <a:pt x="599" y="307"/>
                  </a:lnTo>
                  <a:lnTo>
                    <a:pt x="601" y="307"/>
                  </a:lnTo>
                  <a:lnTo>
                    <a:pt x="603" y="307"/>
                  </a:lnTo>
                  <a:lnTo>
                    <a:pt x="605" y="307"/>
                  </a:lnTo>
                  <a:lnTo>
                    <a:pt x="607" y="307"/>
                  </a:lnTo>
                  <a:lnTo>
                    <a:pt x="609" y="307"/>
                  </a:lnTo>
                  <a:lnTo>
                    <a:pt x="611" y="307"/>
                  </a:lnTo>
                  <a:lnTo>
                    <a:pt x="611" y="305"/>
                  </a:lnTo>
                  <a:lnTo>
                    <a:pt x="613" y="305"/>
                  </a:lnTo>
                  <a:lnTo>
                    <a:pt x="615" y="305"/>
                  </a:lnTo>
                  <a:lnTo>
                    <a:pt x="617" y="305"/>
                  </a:lnTo>
                  <a:close/>
                  <a:moveTo>
                    <a:pt x="482" y="177"/>
                  </a:moveTo>
                  <a:lnTo>
                    <a:pt x="484" y="177"/>
                  </a:lnTo>
                  <a:lnTo>
                    <a:pt x="486" y="177"/>
                  </a:lnTo>
                  <a:lnTo>
                    <a:pt x="488" y="177"/>
                  </a:lnTo>
                  <a:lnTo>
                    <a:pt x="490" y="177"/>
                  </a:lnTo>
                  <a:lnTo>
                    <a:pt x="490" y="179"/>
                  </a:lnTo>
                  <a:lnTo>
                    <a:pt x="492" y="179"/>
                  </a:lnTo>
                  <a:lnTo>
                    <a:pt x="492" y="180"/>
                  </a:lnTo>
                  <a:lnTo>
                    <a:pt x="494" y="180"/>
                  </a:lnTo>
                  <a:lnTo>
                    <a:pt x="494" y="179"/>
                  </a:lnTo>
                  <a:lnTo>
                    <a:pt x="492" y="179"/>
                  </a:lnTo>
                  <a:lnTo>
                    <a:pt x="494" y="179"/>
                  </a:lnTo>
                  <a:lnTo>
                    <a:pt x="496" y="179"/>
                  </a:lnTo>
                  <a:lnTo>
                    <a:pt x="496" y="180"/>
                  </a:lnTo>
                  <a:lnTo>
                    <a:pt x="498" y="180"/>
                  </a:lnTo>
                  <a:lnTo>
                    <a:pt x="500" y="180"/>
                  </a:lnTo>
                  <a:lnTo>
                    <a:pt x="502" y="180"/>
                  </a:lnTo>
                  <a:lnTo>
                    <a:pt x="502" y="182"/>
                  </a:lnTo>
                  <a:lnTo>
                    <a:pt x="503" y="182"/>
                  </a:lnTo>
                  <a:lnTo>
                    <a:pt x="505" y="182"/>
                  </a:lnTo>
                  <a:lnTo>
                    <a:pt x="507" y="182"/>
                  </a:lnTo>
                  <a:lnTo>
                    <a:pt x="507" y="184"/>
                  </a:lnTo>
                  <a:lnTo>
                    <a:pt x="509" y="184"/>
                  </a:lnTo>
                  <a:lnTo>
                    <a:pt x="511" y="184"/>
                  </a:lnTo>
                  <a:lnTo>
                    <a:pt x="513" y="184"/>
                  </a:lnTo>
                  <a:lnTo>
                    <a:pt x="513" y="186"/>
                  </a:lnTo>
                  <a:lnTo>
                    <a:pt x="515" y="186"/>
                  </a:lnTo>
                  <a:lnTo>
                    <a:pt x="517" y="186"/>
                  </a:lnTo>
                  <a:lnTo>
                    <a:pt x="517" y="188"/>
                  </a:lnTo>
                  <a:lnTo>
                    <a:pt x="519" y="188"/>
                  </a:lnTo>
                  <a:lnTo>
                    <a:pt x="521" y="188"/>
                  </a:lnTo>
                  <a:lnTo>
                    <a:pt x="523" y="188"/>
                  </a:lnTo>
                  <a:lnTo>
                    <a:pt x="525" y="188"/>
                  </a:lnTo>
                  <a:lnTo>
                    <a:pt x="526" y="188"/>
                  </a:lnTo>
                  <a:lnTo>
                    <a:pt x="528" y="188"/>
                  </a:lnTo>
                  <a:lnTo>
                    <a:pt x="530" y="188"/>
                  </a:lnTo>
                  <a:lnTo>
                    <a:pt x="530" y="190"/>
                  </a:lnTo>
                  <a:lnTo>
                    <a:pt x="530" y="192"/>
                  </a:lnTo>
                  <a:lnTo>
                    <a:pt x="530" y="190"/>
                  </a:lnTo>
                  <a:lnTo>
                    <a:pt x="530" y="188"/>
                  </a:lnTo>
                  <a:lnTo>
                    <a:pt x="532" y="188"/>
                  </a:lnTo>
                  <a:lnTo>
                    <a:pt x="534" y="188"/>
                  </a:lnTo>
                  <a:lnTo>
                    <a:pt x="534" y="190"/>
                  </a:lnTo>
                  <a:lnTo>
                    <a:pt x="536" y="190"/>
                  </a:lnTo>
                  <a:lnTo>
                    <a:pt x="536" y="192"/>
                  </a:lnTo>
                  <a:lnTo>
                    <a:pt x="538" y="192"/>
                  </a:lnTo>
                  <a:lnTo>
                    <a:pt x="540" y="192"/>
                  </a:lnTo>
                  <a:lnTo>
                    <a:pt x="540" y="194"/>
                  </a:lnTo>
                  <a:lnTo>
                    <a:pt x="542" y="196"/>
                  </a:lnTo>
                  <a:lnTo>
                    <a:pt x="540" y="196"/>
                  </a:lnTo>
                  <a:lnTo>
                    <a:pt x="540" y="198"/>
                  </a:lnTo>
                  <a:lnTo>
                    <a:pt x="542" y="200"/>
                  </a:lnTo>
                  <a:lnTo>
                    <a:pt x="542" y="202"/>
                  </a:lnTo>
                  <a:lnTo>
                    <a:pt x="540" y="202"/>
                  </a:lnTo>
                  <a:lnTo>
                    <a:pt x="542" y="202"/>
                  </a:lnTo>
                  <a:lnTo>
                    <a:pt x="540" y="202"/>
                  </a:lnTo>
                  <a:lnTo>
                    <a:pt x="542" y="202"/>
                  </a:lnTo>
                  <a:lnTo>
                    <a:pt x="542" y="204"/>
                  </a:lnTo>
                  <a:lnTo>
                    <a:pt x="542" y="205"/>
                  </a:lnTo>
                  <a:lnTo>
                    <a:pt x="544" y="205"/>
                  </a:lnTo>
                  <a:lnTo>
                    <a:pt x="544" y="207"/>
                  </a:lnTo>
                  <a:lnTo>
                    <a:pt x="546" y="207"/>
                  </a:lnTo>
                  <a:lnTo>
                    <a:pt x="546" y="209"/>
                  </a:lnTo>
                  <a:lnTo>
                    <a:pt x="546" y="211"/>
                  </a:lnTo>
                  <a:lnTo>
                    <a:pt x="548" y="211"/>
                  </a:lnTo>
                  <a:lnTo>
                    <a:pt x="548" y="213"/>
                  </a:lnTo>
                  <a:lnTo>
                    <a:pt x="548" y="215"/>
                  </a:lnTo>
                  <a:lnTo>
                    <a:pt x="550" y="215"/>
                  </a:lnTo>
                  <a:lnTo>
                    <a:pt x="550" y="217"/>
                  </a:lnTo>
                  <a:lnTo>
                    <a:pt x="551" y="217"/>
                  </a:lnTo>
                  <a:lnTo>
                    <a:pt x="551" y="219"/>
                  </a:lnTo>
                  <a:lnTo>
                    <a:pt x="553" y="219"/>
                  </a:lnTo>
                  <a:lnTo>
                    <a:pt x="553" y="221"/>
                  </a:lnTo>
                  <a:lnTo>
                    <a:pt x="555" y="221"/>
                  </a:lnTo>
                  <a:lnTo>
                    <a:pt x="555" y="223"/>
                  </a:lnTo>
                  <a:lnTo>
                    <a:pt x="555" y="225"/>
                  </a:lnTo>
                  <a:lnTo>
                    <a:pt x="553" y="225"/>
                  </a:lnTo>
                  <a:lnTo>
                    <a:pt x="553" y="227"/>
                  </a:lnTo>
                  <a:lnTo>
                    <a:pt x="551" y="227"/>
                  </a:lnTo>
                  <a:lnTo>
                    <a:pt x="553" y="227"/>
                  </a:lnTo>
                  <a:lnTo>
                    <a:pt x="555" y="227"/>
                  </a:lnTo>
                  <a:lnTo>
                    <a:pt x="555" y="225"/>
                  </a:lnTo>
                  <a:lnTo>
                    <a:pt x="557" y="225"/>
                  </a:lnTo>
                  <a:lnTo>
                    <a:pt x="557" y="223"/>
                  </a:lnTo>
                  <a:lnTo>
                    <a:pt x="559" y="223"/>
                  </a:lnTo>
                  <a:lnTo>
                    <a:pt x="559" y="225"/>
                  </a:lnTo>
                  <a:lnTo>
                    <a:pt x="561" y="225"/>
                  </a:lnTo>
                  <a:lnTo>
                    <a:pt x="561" y="227"/>
                  </a:lnTo>
                  <a:lnTo>
                    <a:pt x="563" y="227"/>
                  </a:lnTo>
                  <a:lnTo>
                    <a:pt x="563" y="228"/>
                  </a:lnTo>
                  <a:lnTo>
                    <a:pt x="563" y="230"/>
                  </a:lnTo>
                  <a:lnTo>
                    <a:pt x="561" y="230"/>
                  </a:lnTo>
                  <a:lnTo>
                    <a:pt x="563" y="230"/>
                  </a:lnTo>
                  <a:lnTo>
                    <a:pt x="561" y="230"/>
                  </a:lnTo>
                  <a:lnTo>
                    <a:pt x="561" y="232"/>
                  </a:lnTo>
                  <a:lnTo>
                    <a:pt x="561" y="234"/>
                  </a:lnTo>
                  <a:lnTo>
                    <a:pt x="559" y="234"/>
                  </a:lnTo>
                  <a:lnTo>
                    <a:pt x="559" y="236"/>
                  </a:lnTo>
                  <a:lnTo>
                    <a:pt x="557" y="236"/>
                  </a:lnTo>
                  <a:lnTo>
                    <a:pt x="557" y="238"/>
                  </a:lnTo>
                  <a:lnTo>
                    <a:pt x="555" y="238"/>
                  </a:lnTo>
                  <a:lnTo>
                    <a:pt x="555" y="240"/>
                  </a:lnTo>
                  <a:lnTo>
                    <a:pt x="557" y="238"/>
                  </a:lnTo>
                  <a:lnTo>
                    <a:pt x="557" y="240"/>
                  </a:lnTo>
                  <a:lnTo>
                    <a:pt x="557" y="238"/>
                  </a:lnTo>
                  <a:lnTo>
                    <a:pt x="557" y="240"/>
                  </a:lnTo>
                  <a:lnTo>
                    <a:pt x="557" y="238"/>
                  </a:lnTo>
                  <a:lnTo>
                    <a:pt x="557" y="240"/>
                  </a:lnTo>
                  <a:lnTo>
                    <a:pt x="557" y="242"/>
                  </a:lnTo>
                  <a:lnTo>
                    <a:pt x="557" y="240"/>
                  </a:lnTo>
                  <a:lnTo>
                    <a:pt x="555" y="240"/>
                  </a:lnTo>
                  <a:lnTo>
                    <a:pt x="557" y="240"/>
                  </a:lnTo>
                  <a:lnTo>
                    <a:pt x="557" y="242"/>
                  </a:lnTo>
                  <a:lnTo>
                    <a:pt x="557" y="240"/>
                  </a:lnTo>
                  <a:lnTo>
                    <a:pt x="559" y="240"/>
                  </a:lnTo>
                  <a:lnTo>
                    <a:pt x="557" y="240"/>
                  </a:lnTo>
                  <a:lnTo>
                    <a:pt x="559" y="240"/>
                  </a:lnTo>
                  <a:lnTo>
                    <a:pt x="557" y="240"/>
                  </a:lnTo>
                  <a:lnTo>
                    <a:pt x="557" y="238"/>
                  </a:lnTo>
                  <a:lnTo>
                    <a:pt x="559" y="238"/>
                  </a:lnTo>
                  <a:lnTo>
                    <a:pt x="559" y="240"/>
                  </a:lnTo>
                  <a:lnTo>
                    <a:pt x="561" y="240"/>
                  </a:lnTo>
                  <a:lnTo>
                    <a:pt x="561" y="238"/>
                  </a:lnTo>
                  <a:lnTo>
                    <a:pt x="563" y="238"/>
                  </a:lnTo>
                  <a:lnTo>
                    <a:pt x="563" y="236"/>
                  </a:lnTo>
                  <a:lnTo>
                    <a:pt x="565" y="236"/>
                  </a:lnTo>
                  <a:lnTo>
                    <a:pt x="565" y="234"/>
                  </a:lnTo>
                  <a:lnTo>
                    <a:pt x="567" y="234"/>
                  </a:lnTo>
                  <a:lnTo>
                    <a:pt x="567" y="232"/>
                  </a:lnTo>
                  <a:lnTo>
                    <a:pt x="565" y="232"/>
                  </a:lnTo>
                  <a:lnTo>
                    <a:pt x="565" y="230"/>
                  </a:lnTo>
                  <a:lnTo>
                    <a:pt x="567" y="230"/>
                  </a:lnTo>
                  <a:lnTo>
                    <a:pt x="567" y="232"/>
                  </a:lnTo>
                  <a:lnTo>
                    <a:pt x="567" y="230"/>
                  </a:lnTo>
                  <a:lnTo>
                    <a:pt x="565" y="230"/>
                  </a:lnTo>
                  <a:lnTo>
                    <a:pt x="567" y="230"/>
                  </a:lnTo>
                  <a:lnTo>
                    <a:pt x="569" y="230"/>
                  </a:lnTo>
                  <a:lnTo>
                    <a:pt x="569" y="228"/>
                  </a:lnTo>
                  <a:lnTo>
                    <a:pt x="569" y="230"/>
                  </a:lnTo>
                  <a:lnTo>
                    <a:pt x="569" y="228"/>
                  </a:lnTo>
                  <a:lnTo>
                    <a:pt x="571" y="228"/>
                  </a:lnTo>
                  <a:lnTo>
                    <a:pt x="571" y="230"/>
                  </a:lnTo>
                  <a:lnTo>
                    <a:pt x="571" y="228"/>
                  </a:lnTo>
                  <a:lnTo>
                    <a:pt x="573" y="228"/>
                  </a:lnTo>
                  <a:lnTo>
                    <a:pt x="574" y="230"/>
                  </a:lnTo>
                  <a:lnTo>
                    <a:pt x="576" y="230"/>
                  </a:lnTo>
                  <a:lnTo>
                    <a:pt x="578" y="230"/>
                  </a:lnTo>
                  <a:lnTo>
                    <a:pt x="580" y="230"/>
                  </a:lnTo>
                  <a:lnTo>
                    <a:pt x="582" y="230"/>
                  </a:lnTo>
                  <a:lnTo>
                    <a:pt x="582" y="232"/>
                  </a:lnTo>
                  <a:lnTo>
                    <a:pt x="584" y="232"/>
                  </a:lnTo>
                  <a:lnTo>
                    <a:pt x="584" y="234"/>
                  </a:lnTo>
                  <a:lnTo>
                    <a:pt x="586" y="234"/>
                  </a:lnTo>
                  <a:lnTo>
                    <a:pt x="588" y="234"/>
                  </a:lnTo>
                  <a:lnTo>
                    <a:pt x="588" y="236"/>
                  </a:lnTo>
                  <a:lnTo>
                    <a:pt x="590" y="236"/>
                  </a:lnTo>
                  <a:lnTo>
                    <a:pt x="590" y="238"/>
                  </a:lnTo>
                  <a:lnTo>
                    <a:pt x="590" y="240"/>
                  </a:lnTo>
                  <a:lnTo>
                    <a:pt x="592" y="240"/>
                  </a:lnTo>
                  <a:lnTo>
                    <a:pt x="592" y="242"/>
                  </a:lnTo>
                  <a:lnTo>
                    <a:pt x="592" y="244"/>
                  </a:lnTo>
                  <a:lnTo>
                    <a:pt x="594" y="244"/>
                  </a:lnTo>
                  <a:lnTo>
                    <a:pt x="592" y="244"/>
                  </a:lnTo>
                  <a:lnTo>
                    <a:pt x="594" y="244"/>
                  </a:lnTo>
                  <a:lnTo>
                    <a:pt x="594" y="246"/>
                  </a:lnTo>
                  <a:lnTo>
                    <a:pt x="594" y="248"/>
                  </a:lnTo>
                  <a:lnTo>
                    <a:pt x="594" y="250"/>
                  </a:lnTo>
                  <a:lnTo>
                    <a:pt x="596" y="250"/>
                  </a:lnTo>
                  <a:lnTo>
                    <a:pt x="596" y="252"/>
                  </a:lnTo>
                  <a:lnTo>
                    <a:pt x="596" y="253"/>
                  </a:lnTo>
                  <a:lnTo>
                    <a:pt x="596" y="255"/>
                  </a:lnTo>
                  <a:lnTo>
                    <a:pt x="598" y="255"/>
                  </a:lnTo>
                  <a:lnTo>
                    <a:pt x="598" y="257"/>
                  </a:lnTo>
                  <a:lnTo>
                    <a:pt x="598" y="259"/>
                  </a:lnTo>
                  <a:lnTo>
                    <a:pt x="598" y="261"/>
                  </a:lnTo>
                  <a:lnTo>
                    <a:pt x="598" y="263"/>
                  </a:lnTo>
                  <a:lnTo>
                    <a:pt x="599" y="263"/>
                  </a:lnTo>
                  <a:lnTo>
                    <a:pt x="599" y="265"/>
                  </a:lnTo>
                  <a:lnTo>
                    <a:pt x="598" y="265"/>
                  </a:lnTo>
                  <a:lnTo>
                    <a:pt x="599" y="265"/>
                  </a:lnTo>
                  <a:lnTo>
                    <a:pt x="599" y="267"/>
                  </a:lnTo>
                  <a:lnTo>
                    <a:pt x="599" y="269"/>
                  </a:lnTo>
                  <a:lnTo>
                    <a:pt x="599" y="271"/>
                  </a:lnTo>
                  <a:lnTo>
                    <a:pt x="601" y="271"/>
                  </a:lnTo>
                  <a:lnTo>
                    <a:pt x="601" y="273"/>
                  </a:lnTo>
                  <a:lnTo>
                    <a:pt x="601" y="275"/>
                  </a:lnTo>
                  <a:lnTo>
                    <a:pt x="601" y="276"/>
                  </a:lnTo>
                  <a:lnTo>
                    <a:pt x="603" y="276"/>
                  </a:lnTo>
                  <a:lnTo>
                    <a:pt x="603" y="278"/>
                  </a:lnTo>
                  <a:lnTo>
                    <a:pt x="603" y="280"/>
                  </a:lnTo>
                  <a:lnTo>
                    <a:pt x="605" y="280"/>
                  </a:lnTo>
                  <a:lnTo>
                    <a:pt x="605" y="282"/>
                  </a:lnTo>
                  <a:lnTo>
                    <a:pt x="605" y="284"/>
                  </a:lnTo>
                  <a:lnTo>
                    <a:pt x="605" y="286"/>
                  </a:lnTo>
                  <a:lnTo>
                    <a:pt x="605" y="288"/>
                  </a:lnTo>
                  <a:lnTo>
                    <a:pt x="607" y="288"/>
                  </a:lnTo>
                  <a:lnTo>
                    <a:pt x="607" y="290"/>
                  </a:lnTo>
                  <a:lnTo>
                    <a:pt x="607" y="292"/>
                  </a:lnTo>
                  <a:lnTo>
                    <a:pt x="607" y="294"/>
                  </a:lnTo>
                  <a:lnTo>
                    <a:pt x="605" y="294"/>
                  </a:lnTo>
                  <a:lnTo>
                    <a:pt x="605" y="296"/>
                  </a:lnTo>
                  <a:lnTo>
                    <a:pt x="605" y="294"/>
                  </a:lnTo>
                  <a:lnTo>
                    <a:pt x="605" y="296"/>
                  </a:lnTo>
                  <a:lnTo>
                    <a:pt x="605" y="294"/>
                  </a:lnTo>
                  <a:lnTo>
                    <a:pt x="605" y="296"/>
                  </a:lnTo>
                  <a:lnTo>
                    <a:pt x="603" y="296"/>
                  </a:lnTo>
                  <a:lnTo>
                    <a:pt x="603" y="298"/>
                  </a:lnTo>
                  <a:lnTo>
                    <a:pt x="601" y="298"/>
                  </a:lnTo>
                  <a:lnTo>
                    <a:pt x="601" y="296"/>
                  </a:lnTo>
                  <a:lnTo>
                    <a:pt x="601" y="298"/>
                  </a:lnTo>
                  <a:lnTo>
                    <a:pt x="601" y="296"/>
                  </a:lnTo>
                  <a:lnTo>
                    <a:pt x="601" y="298"/>
                  </a:lnTo>
                  <a:lnTo>
                    <a:pt x="599" y="298"/>
                  </a:lnTo>
                  <a:lnTo>
                    <a:pt x="598" y="298"/>
                  </a:lnTo>
                  <a:lnTo>
                    <a:pt x="596" y="298"/>
                  </a:lnTo>
                  <a:lnTo>
                    <a:pt x="596" y="300"/>
                  </a:lnTo>
                  <a:lnTo>
                    <a:pt x="594" y="300"/>
                  </a:lnTo>
                  <a:lnTo>
                    <a:pt x="592" y="300"/>
                  </a:lnTo>
                  <a:lnTo>
                    <a:pt x="590" y="300"/>
                  </a:lnTo>
                  <a:lnTo>
                    <a:pt x="588" y="300"/>
                  </a:lnTo>
                  <a:lnTo>
                    <a:pt x="586" y="300"/>
                  </a:lnTo>
                  <a:lnTo>
                    <a:pt x="584" y="300"/>
                  </a:lnTo>
                  <a:lnTo>
                    <a:pt x="582" y="300"/>
                  </a:lnTo>
                  <a:lnTo>
                    <a:pt x="580" y="300"/>
                  </a:lnTo>
                  <a:lnTo>
                    <a:pt x="580" y="301"/>
                  </a:lnTo>
                  <a:lnTo>
                    <a:pt x="578" y="301"/>
                  </a:lnTo>
                  <a:lnTo>
                    <a:pt x="576" y="301"/>
                  </a:lnTo>
                  <a:lnTo>
                    <a:pt x="574" y="301"/>
                  </a:lnTo>
                  <a:lnTo>
                    <a:pt x="573" y="301"/>
                  </a:lnTo>
                  <a:lnTo>
                    <a:pt x="573" y="303"/>
                  </a:lnTo>
                  <a:lnTo>
                    <a:pt x="571" y="303"/>
                  </a:lnTo>
                  <a:lnTo>
                    <a:pt x="569" y="303"/>
                  </a:lnTo>
                  <a:lnTo>
                    <a:pt x="567" y="303"/>
                  </a:lnTo>
                  <a:lnTo>
                    <a:pt x="565" y="305"/>
                  </a:lnTo>
                  <a:lnTo>
                    <a:pt x="563" y="305"/>
                  </a:lnTo>
                  <a:lnTo>
                    <a:pt x="561" y="305"/>
                  </a:lnTo>
                  <a:lnTo>
                    <a:pt x="559" y="305"/>
                  </a:lnTo>
                  <a:lnTo>
                    <a:pt x="557" y="305"/>
                  </a:lnTo>
                  <a:lnTo>
                    <a:pt x="557" y="307"/>
                  </a:lnTo>
                  <a:lnTo>
                    <a:pt x="557" y="305"/>
                  </a:lnTo>
                  <a:lnTo>
                    <a:pt x="557" y="307"/>
                  </a:lnTo>
                  <a:lnTo>
                    <a:pt x="555" y="307"/>
                  </a:lnTo>
                  <a:lnTo>
                    <a:pt x="553" y="307"/>
                  </a:lnTo>
                  <a:lnTo>
                    <a:pt x="551" y="307"/>
                  </a:lnTo>
                  <a:lnTo>
                    <a:pt x="551" y="309"/>
                  </a:lnTo>
                  <a:lnTo>
                    <a:pt x="550" y="309"/>
                  </a:lnTo>
                  <a:lnTo>
                    <a:pt x="548" y="309"/>
                  </a:lnTo>
                  <a:lnTo>
                    <a:pt x="548" y="311"/>
                  </a:lnTo>
                  <a:lnTo>
                    <a:pt x="546" y="311"/>
                  </a:lnTo>
                  <a:lnTo>
                    <a:pt x="546" y="309"/>
                  </a:lnTo>
                  <a:lnTo>
                    <a:pt x="544" y="309"/>
                  </a:lnTo>
                  <a:lnTo>
                    <a:pt x="544" y="311"/>
                  </a:lnTo>
                  <a:lnTo>
                    <a:pt x="544" y="309"/>
                  </a:lnTo>
                  <a:lnTo>
                    <a:pt x="544" y="311"/>
                  </a:lnTo>
                  <a:lnTo>
                    <a:pt x="542" y="311"/>
                  </a:lnTo>
                  <a:lnTo>
                    <a:pt x="540" y="311"/>
                  </a:lnTo>
                  <a:lnTo>
                    <a:pt x="538" y="311"/>
                  </a:lnTo>
                  <a:lnTo>
                    <a:pt x="538" y="313"/>
                  </a:lnTo>
                  <a:lnTo>
                    <a:pt x="536" y="313"/>
                  </a:lnTo>
                  <a:lnTo>
                    <a:pt x="534" y="313"/>
                  </a:lnTo>
                  <a:lnTo>
                    <a:pt x="532" y="313"/>
                  </a:lnTo>
                  <a:lnTo>
                    <a:pt x="530" y="313"/>
                  </a:lnTo>
                  <a:lnTo>
                    <a:pt x="528" y="313"/>
                  </a:lnTo>
                  <a:lnTo>
                    <a:pt x="528" y="315"/>
                  </a:lnTo>
                  <a:lnTo>
                    <a:pt x="526" y="315"/>
                  </a:lnTo>
                  <a:lnTo>
                    <a:pt x="525" y="315"/>
                  </a:lnTo>
                  <a:lnTo>
                    <a:pt x="523" y="315"/>
                  </a:lnTo>
                  <a:lnTo>
                    <a:pt x="523" y="317"/>
                  </a:lnTo>
                  <a:lnTo>
                    <a:pt x="521" y="317"/>
                  </a:lnTo>
                  <a:lnTo>
                    <a:pt x="521" y="319"/>
                  </a:lnTo>
                  <a:lnTo>
                    <a:pt x="519" y="319"/>
                  </a:lnTo>
                  <a:lnTo>
                    <a:pt x="519" y="321"/>
                  </a:lnTo>
                  <a:lnTo>
                    <a:pt x="517" y="321"/>
                  </a:lnTo>
                  <a:lnTo>
                    <a:pt x="517" y="323"/>
                  </a:lnTo>
                  <a:lnTo>
                    <a:pt x="517" y="324"/>
                  </a:lnTo>
                  <a:lnTo>
                    <a:pt x="515" y="324"/>
                  </a:lnTo>
                  <a:lnTo>
                    <a:pt x="515" y="326"/>
                  </a:lnTo>
                  <a:lnTo>
                    <a:pt x="513" y="326"/>
                  </a:lnTo>
                  <a:lnTo>
                    <a:pt x="513" y="328"/>
                  </a:lnTo>
                  <a:lnTo>
                    <a:pt x="513" y="330"/>
                  </a:lnTo>
                  <a:lnTo>
                    <a:pt x="511" y="330"/>
                  </a:lnTo>
                  <a:lnTo>
                    <a:pt x="509" y="330"/>
                  </a:lnTo>
                  <a:lnTo>
                    <a:pt x="507" y="330"/>
                  </a:lnTo>
                  <a:lnTo>
                    <a:pt x="505" y="330"/>
                  </a:lnTo>
                  <a:lnTo>
                    <a:pt x="505" y="332"/>
                  </a:lnTo>
                  <a:lnTo>
                    <a:pt x="503" y="332"/>
                  </a:lnTo>
                  <a:lnTo>
                    <a:pt x="502" y="332"/>
                  </a:lnTo>
                  <a:lnTo>
                    <a:pt x="502" y="334"/>
                  </a:lnTo>
                  <a:lnTo>
                    <a:pt x="500" y="334"/>
                  </a:lnTo>
                  <a:lnTo>
                    <a:pt x="500" y="332"/>
                  </a:lnTo>
                  <a:lnTo>
                    <a:pt x="498" y="332"/>
                  </a:lnTo>
                  <a:lnTo>
                    <a:pt x="496" y="332"/>
                  </a:lnTo>
                  <a:lnTo>
                    <a:pt x="496" y="330"/>
                  </a:lnTo>
                  <a:lnTo>
                    <a:pt x="494" y="330"/>
                  </a:lnTo>
                  <a:lnTo>
                    <a:pt x="494" y="328"/>
                  </a:lnTo>
                  <a:lnTo>
                    <a:pt x="496" y="328"/>
                  </a:lnTo>
                  <a:lnTo>
                    <a:pt x="494" y="328"/>
                  </a:lnTo>
                  <a:lnTo>
                    <a:pt x="494" y="326"/>
                  </a:lnTo>
                  <a:lnTo>
                    <a:pt x="494" y="328"/>
                  </a:lnTo>
                  <a:lnTo>
                    <a:pt x="492" y="328"/>
                  </a:lnTo>
                  <a:lnTo>
                    <a:pt x="492" y="330"/>
                  </a:lnTo>
                  <a:lnTo>
                    <a:pt x="494" y="330"/>
                  </a:lnTo>
                  <a:lnTo>
                    <a:pt x="494" y="332"/>
                  </a:lnTo>
                  <a:lnTo>
                    <a:pt x="492" y="332"/>
                  </a:lnTo>
                  <a:lnTo>
                    <a:pt x="492" y="334"/>
                  </a:lnTo>
                  <a:lnTo>
                    <a:pt x="492" y="336"/>
                  </a:lnTo>
                  <a:lnTo>
                    <a:pt x="490" y="336"/>
                  </a:lnTo>
                  <a:lnTo>
                    <a:pt x="490" y="338"/>
                  </a:lnTo>
                  <a:lnTo>
                    <a:pt x="488" y="338"/>
                  </a:lnTo>
                  <a:lnTo>
                    <a:pt x="488" y="340"/>
                  </a:lnTo>
                  <a:lnTo>
                    <a:pt x="486" y="340"/>
                  </a:lnTo>
                  <a:lnTo>
                    <a:pt x="486" y="342"/>
                  </a:lnTo>
                  <a:lnTo>
                    <a:pt x="484" y="342"/>
                  </a:lnTo>
                  <a:lnTo>
                    <a:pt x="482" y="342"/>
                  </a:lnTo>
                  <a:lnTo>
                    <a:pt x="482" y="344"/>
                  </a:lnTo>
                  <a:lnTo>
                    <a:pt x="480" y="344"/>
                  </a:lnTo>
                  <a:lnTo>
                    <a:pt x="480" y="346"/>
                  </a:lnTo>
                  <a:lnTo>
                    <a:pt x="480" y="348"/>
                  </a:lnTo>
                  <a:lnTo>
                    <a:pt x="480" y="349"/>
                  </a:lnTo>
                  <a:lnTo>
                    <a:pt x="478" y="349"/>
                  </a:lnTo>
                  <a:lnTo>
                    <a:pt x="478" y="351"/>
                  </a:lnTo>
                  <a:lnTo>
                    <a:pt x="478" y="353"/>
                  </a:lnTo>
                  <a:lnTo>
                    <a:pt x="477" y="353"/>
                  </a:lnTo>
                  <a:lnTo>
                    <a:pt x="477" y="355"/>
                  </a:lnTo>
                  <a:lnTo>
                    <a:pt x="475" y="355"/>
                  </a:lnTo>
                  <a:lnTo>
                    <a:pt x="475" y="357"/>
                  </a:lnTo>
                  <a:lnTo>
                    <a:pt x="477" y="357"/>
                  </a:lnTo>
                  <a:lnTo>
                    <a:pt x="477" y="359"/>
                  </a:lnTo>
                  <a:lnTo>
                    <a:pt x="475" y="359"/>
                  </a:lnTo>
                  <a:lnTo>
                    <a:pt x="475" y="361"/>
                  </a:lnTo>
                  <a:lnTo>
                    <a:pt x="473" y="361"/>
                  </a:lnTo>
                  <a:lnTo>
                    <a:pt x="473" y="363"/>
                  </a:lnTo>
                  <a:lnTo>
                    <a:pt x="471" y="363"/>
                  </a:lnTo>
                  <a:lnTo>
                    <a:pt x="471" y="365"/>
                  </a:lnTo>
                  <a:lnTo>
                    <a:pt x="469" y="365"/>
                  </a:lnTo>
                  <a:lnTo>
                    <a:pt x="469" y="367"/>
                  </a:lnTo>
                  <a:lnTo>
                    <a:pt x="467" y="367"/>
                  </a:lnTo>
                  <a:lnTo>
                    <a:pt x="465" y="367"/>
                  </a:lnTo>
                  <a:lnTo>
                    <a:pt x="465" y="369"/>
                  </a:lnTo>
                  <a:lnTo>
                    <a:pt x="463" y="369"/>
                  </a:lnTo>
                  <a:lnTo>
                    <a:pt x="461" y="369"/>
                  </a:lnTo>
                  <a:lnTo>
                    <a:pt x="459" y="369"/>
                  </a:lnTo>
                  <a:lnTo>
                    <a:pt x="457" y="369"/>
                  </a:lnTo>
                  <a:lnTo>
                    <a:pt x="455" y="369"/>
                  </a:lnTo>
                  <a:lnTo>
                    <a:pt x="454" y="369"/>
                  </a:lnTo>
                  <a:lnTo>
                    <a:pt x="452" y="369"/>
                  </a:lnTo>
                  <a:lnTo>
                    <a:pt x="450" y="369"/>
                  </a:lnTo>
                  <a:lnTo>
                    <a:pt x="450" y="367"/>
                  </a:lnTo>
                  <a:lnTo>
                    <a:pt x="448" y="367"/>
                  </a:lnTo>
                  <a:lnTo>
                    <a:pt x="448" y="365"/>
                  </a:lnTo>
                  <a:lnTo>
                    <a:pt x="446" y="365"/>
                  </a:lnTo>
                  <a:lnTo>
                    <a:pt x="446" y="363"/>
                  </a:lnTo>
                  <a:lnTo>
                    <a:pt x="446" y="365"/>
                  </a:lnTo>
                  <a:lnTo>
                    <a:pt x="448" y="365"/>
                  </a:lnTo>
                  <a:lnTo>
                    <a:pt x="448" y="363"/>
                  </a:lnTo>
                  <a:lnTo>
                    <a:pt x="448" y="361"/>
                  </a:lnTo>
                  <a:lnTo>
                    <a:pt x="448" y="359"/>
                  </a:lnTo>
                  <a:lnTo>
                    <a:pt x="448" y="361"/>
                  </a:lnTo>
                  <a:lnTo>
                    <a:pt x="446" y="361"/>
                  </a:lnTo>
                  <a:lnTo>
                    <a:pt x="446" y="359"/>
                  </a:lnTo>
                  <a:lnTo>
                    <a:pt x="446" y="357"/>
                  </a:lnTo>
                  <a:lnTo>
                    <a:pt x="444" y="357"/>
                  </a:lnTo>
                  <a:lnTo>
                    <a:pt x="444" y="359"/>
                  </a:lnTo>
                  <a:lnTo>
                    <a:pt x="444" y="361"/>
                  </a:lnTo>
                  <a:lnTo>
                    <a:pt x="446" y="361"/>
                  </a:lnTo>
                  <a:lnTo>
                    <a:pt x="446" y="359"/>
                  </a:lnTo>
                  <a:lnTo>
                    <a:pt x="446" y="361"/>
                  </a:lnTo>
                  <a:lnTo>
                    <a:pt x="448" y="361"/>
                  </a:lnTo>
                  <a:lnTo>
                    <a:pt x="446" y="361"/>
                  </a:lnTo>
                  <a:lnTo>
                    <a:pt x="444" y="361"/>
                  </a:lnTo>
                  <a:lnTo>
                    <a:pt x="442" y="361"/>
                  </a:lnTo>
                  <a:lnTo>
                    <a:pt x="440" y="361"/>
                  </a:lnTo>
                  <a:lnTo>
                    <a:pt x="440" y="363"/>
                  </a:lnTo>
                  <a:lnTo>
                    <a:pt x="438" y="363"/>
                  </a:lnTo>
                  <a:lnTo>
                    <a:pt x="438" y="365"/>
                  </a:lnTo>
                  <a:lnTo>
                    <a:pt x="436" y="365"/>
                  </a:lnTo>
                  <a:lnTo>
                    <a:pt x="436" y="367"/>
                  </a:lnTo>
                  <a:lnTo>
                    <a:pt x="434" y="367"/>
                  </a:lnTo>
                  <a:lnTo>
                    <a:pt x="432" y="367"/>
                  </a:lnTo>
                  <a:lnTo>
                    <a:pt x="430" y="367"/>
                  </a:lnTo>
                  <a:lnTo>
                    <a:pt x="429" y="367"/>
                  </a:lnTo>
                  <a:lnTo>
                    <a:pt x="427" y="367"/>
                  </a:lnTo>
                  <a:lnTo>
                    <a:pt x="425" y="367"/>
                  </a:lnTo>
                  <a:lnTo>
                    <a:pt x="423" y="367"/>
                  </a:lnTo>
                  <a:lnTo>
                    <a:pt x="421" y="367"/>
                  </a:lnTo>
                  <a:lnTo>
                    <a:pt x="421" y="369"/>
                  </a:lnTo>
                  <a:lnTo>
                    <a:pt x="419" y="369"/>
                  </a:lnTo>
                  <a:lnTo>
                    <a:pt x="417" y="371"/>
                  </a:lnTo>
                  <a:lnTo>
                    <a:pt x="415" y="371"/>
                  </a:lnTo>
                  <a:lnTo>
                    <a:pt x="413" y="371"/>
                  </a:lnTo>
                  <a:lnTo>
                    <a:pt x="413" y="369"/>
                  </a:lnTo>
                  <a:lnTo>
                    <a:pt x="411" y="369"/>
                  </a:lnTo>
                  <a:lnTo>
                    <a:pt x="409" y="369"/>
                  </a:lnTo>
                  <a:lnTo>
                    <a:pt x="409" y="367"/>
                  </a:lnTo>
                  <a:lnTo>
                    <a:pt x="409" y="365"/>
                  </a:lnTo>
                  <a:lnTo>
                    <a:pt x="409" y="363"/>
                  </a:lnTo>
                  <a:lnTo>
                    <a:pt x="409" y="361"/>
                  </a:lnTo>
                  <a:lnTo>
                    <a:pt x="409" y="359"/>
                  </a:lnTo>
                  <a:lnTo>
                    <a:pt x="409" y="357"/>
                  </a:lnTo>
                  <a:lnTo>
                    <a:pt x="409" y="355"/>
                  </a:lnTo>
                  <a:lnTo>
                    <a:pt x="409" y="353"/>
                  </a:lnTo>
                  <a:lnTo>
                    <a:pt x="409" y="351"/>
                  </a:lnTo>
                  <a:lnTo>
                    <a:pt x="411" y="351"/>
                  </a:lnTo>
                  <a:lnTo>
                    <a:pt x="411" y="349"/>
                  </a:lnTo>
                  <a:lnTo>
                    <a:pt x="411" y="348"/>
                  </a:lnTo>
                  <a:lnTo>
                    <a:pt x="411" y="346"/>
                  </a:lnTo>
                  <a:lnTo>
                    <a:pt x="411" y="344"/>
                  </a:lnTo>
                  <a:lnTo>
                    <a:pt x="413" y="344"/>
                  </a:lnTo>
                  <a:lnTo>
                    <a:pt x="413" y="342"/>
                  </a:lnTo>
                  <a:lnTo>
                    <a:pt x="413" y="340"/>
                  </a:lnTo>
                  <a:lnTo>
                    <a:pt x="413" y="338"/>
                  </a:lnTo>
                  <a:lnTo>
                    <a:pt x="411" y="338"/>
                  </a:lnTo>
                  <a:lnTo>
                    <a:pt x="411" y="336"/>
                  </a:lnTo>
                  <a:lnTo>
                    <a:pt x="411" y="334"/>
                  </a:lnTo>
                  <a:lnTo>
                    <a:pt x="413" y="334"/>
                  </a:lnTo>
                  <a:lnTo>
                    <a:pt x="413" y="332"/>
                  </a:lnTo>
                  <a:lnTo>
                    <a:pt x="413" y="330"/>
                  </a:lnTo>
                  <a:lnTo>
                    <a:pt x="413" y="328"/>
                  </a:lnTo>
                  <a:lnTo>
                    <a:pt x="413" y="326"/>
                  </a:lnTo>
                  <a:lnTo>
                    <a:pt x="411" y="326"/>
                  </a:lnTo>
                  <a:lnTo>
                    <a:pt x="411" y="324"/>
                  </a:lnTo>
                  <a:lnTo>
                    <a:pt x="411" y="323"/>
                  </a:lnTo>
                  <a:lnTo>
                    <a:pt x="411" y="321"/>
                  </a:lnTo>
                  <a:lnTo>
                    <a:pt x="409" y="321"/>
                  </a:lnTo>
                  <a:lnTo>
                    <a:pt x="409" y="319"/>
                  </a:lnTo>
                  <a:lnTo>
                    <a:pt x="407" y="319"/>
                  </a:lnTo>
                  <a:lnTo>
                    <a:pt x="407" y="317"/>
                  </a:lnTo>
                  <a:lnTo>
                    <a:pt x="406" y="317"/>
                  </a:lnTo>
                  <a:lnTo>
                    <a:pt x="406" y="315"/>
                  </a:lnTo>
                  <a:lnTo>
                    <a:pt x="406" y="313"/>
                  </a:lnTo>
                  <a:lnTo>
                    <a:pt x="404" y="313"/>
                  </a:lnTo>
                  <a:lnTo>
                    <a:pt x="404" y="311"/>
                  </a:lnTo>
                  <a:lnTo>
                    <a:pt x="404" y="309"/>
                  </a:lnTo>
                  <a:lnTo>
                    <a:pt x="404" y="307"/>
                  </a:lnTo>
                  <a:lnTo>
                    <a:pt x="402" y="307"/>
                  </a:lnTo>
                  <a:lnTo>
                    <a:pt x="402" y="305"/>
                  </a:lnTo>
                  <a:lnTo>
                    <a:pt x="402" y="303"/>
                  </a:lnTo>
                  <a:lnTo>
                    <a:pt x="400" y="303"/>
                  </a:lnTo>
                  <a:lnTo>
                    <a:pt x="400" y="301"/>
                  </a:lnTo>
                  <a:lnTo>
                    <a:pt x="400" y="300"/>
                  </a:lnTo>
                  <a:lnTo>
                    <a:pt x="400" y="301"/>
                  </a:lnTo>
                  <a:lnTo>
                    <a:pt x="400" y="300"/>
                  </a:lnTo>
                  <a:lnTo>
                    <a:pt x="402" y="300"/>
                  </a:lnTo>
                  <a:lnTo>
                    <a:pt x="402" y="301"/>
                  </a:lnTo>
                  <a:lnTo>
                    <a:pt x="402" y="300"/>
                  </a:lnTo>
                  <a:lnTo>
                    <a:pt x="402" y="301"/>
                  </a:lnTo>
                  <a:lnTo>
                    <a:pt x="404" y="301"/>
                  </a:lnTo>
                  <a:lnTo>
                    <a:pt x="406" y="301"/>
                  </a:lnTo>
                  <a:lnTo>
                    <a:pt x="404" y="301"/>
                  </a:lnTo>
                  <a:lnTo>
                    <a:pt x="404" y="303"/>
                  </a:lnTo>
                  <a:lnTo>
                    <a:pt x="406" y="303"/>
                  </a:lnTo>
                  <a:lnTo>
                    <a:pt x="406" y="301"/>
                  </a:lnTo>
                  <a:lnTo>
                    <a:pt x="404" y="301"/>
                  </a:lnTo>
                  <a:lnTo>
                    <a:pt x="404" y="300"/>
                  </a:lnTo>
                  <a:lnTo>
                    <a:pt x="402" y="300"/>
                  </a:lnTo>
                  <a:lnTo>
                    <a:pt x="400" y="300"/>
                  </a:lnTo>
                  <a:lnTo>
                    <a:pt x="400" y="298"/>
                  </a:lnTo>
                  <a:lnTo>
                    <a:pt x="398" y="298"/>
                  </a:lnTo>
                  <a:lnTo>
                    <a:pt x="396" y="298"/>
                  </a:lnTo>
                  <a:lnTo>
                    <a:pt x="394" y="296"/>
                  </a:lnTo>
                  <a:lnTo>
                    <a:pt x="392" y="296"/>
                  </a:lnTo>
                  <a:lnTo>
                    <a:pt x="390" y="296"/>
                  </a:lnTo>
                  <a:lnTo>
                    <a:pt x="390" y="294"/>
                  </a:lnTo>
                  <a:lnTo>
                    <a:pt x="388" y="294"/>
                  </a:lnTo>
                  <a:lnTo>
                    <a:pt x="388" y="292"/>
                  </a:lnTo>
                  <a:lnTo>
                    <a:pt x="390" y="292"/>
                  </a:lnTo>
                  <a:lnTo>
                    <a:pt x="388" y="292"/>
                  </a:lnTo>
                  <a:lnTo>
                    <a:pt x="388" y="294"/>
                  </a:lnTo>
                  <a:lnTo>
                    <a:pt x="390" y="294"/>
                  </a:lnTo>
                  <a:lnTo>
                    <a:pt x="392" y="294"/>
                  </a:lnTo>
                  <a:lnTo>
                    <a:pt x="394" y="294"/>
                  </a:lnTo>
                  <a:lnTo>
                    <a:pt x="394" y="292"/>
                  </a:lnTo>
                  <a:lnTo>
                    <a:pt x="396" y="292"/>
                  </a:lnTo>
                  <a:lnTo>
                    <a:pt x="394" y="292"/>
                  </a:lnTo>
                  <a:lnTo>
                    <a:pt x="396" y="292"/>
                  </a:lnTo>
                  <a:lnTo>
                    <a:pt x="396" y="290"/>
                  </a:lnTo>
                  <a:lnTo>
                    <a:pt x="398" y="290"/>
                  </a:lnTo>
                  <a:lnTo>
                    <a:pt x="398" y="288"/>
                  </a:lnTo>
                  <a:lnTo>
                    <a:pt x="396" y="288"/>
                  </a:lnTo>
                  <a:lnTo>
                    <a:pt x="398" y="288"/>
                  </a:lnTo>
                  <a:lnTo>
                    <a:pt x="396" y="286"/>
                  </a:lnTo>
                  <a:lnTo>
                    <a:pt x="396" y="288"/>
                  </a:lnTo>
                  <a:lnTo>
                    <a:pt x="396" y="286"/>
                  </a:lnTo>
                  <a:lnTo>
                    <a:pt x="398" y="286"/>
                  </a:lnTo>
                  <a:lnTo>
                    <a:pt x="398" y="284"/>
                  </a:lnTo>
                  <a:lnTo>
                    <a:pt x="400" y="284"/>
                  </a:lnTo>
                  <a:lnTo>
                    <a:pt x="402" y="284"/>
                  </a:lnTo>
                  <a:lnTo>
                    <a:pt x="400" y="284"/>
                  </a:lnTo>
                  <a:lnTo>
                    <a:pt x="400" y="286"/>
                  </a:lnTo>
                  <a:lnTo>
                    <a:pt x="402" y="286"/>
                  </a:lnTo>
                  <a:lnTo>
                    <a:pt x="402" y="284"/>
                  </a:lnTo>
                  <a:lnTo>
                    <a:pt x="400" y="284"/>
                  </a:lnTo>
                  <a:lnTo>
                    <a:pt x="402" y="284"/>
                  </a:lnTo>
                  <a:lnTo>
                    <a:pt x="402" y="282"/>
                  </a:lnTo>
                  <a:lnTo>
                    <a:pt x="402" y="280"/>
                  </a:lnTo>
                  <a:lnTo>
                    <a:pt x="404" y="280"/>
                  </a:lnTo>
                  <a:lnTo>
                    <a:pt x="406" y="280"/>
                  </a:lnTo>
                  <a:lnTo>
                    <a:pt x="406" y="282"/>
                  </a:lnTo>
                  <a:lnTo>
                    <a:pt x="406" y="280"/>
                  </a:lnTo>
                  <a:lnTo>
                    <a:pt x="407" y="280"/>
                  </a:lnTo>
                  <a:lnTo>
                    <a:pt x="407" y="278"/>
                  </a:lnTo>
                  <a:lnTo>
                    <a:pt x="406" y="280"/>
                  </a:lnTo>
                  <a:lnTo>
                    <a:pt x="406" y="278"/>
                  </a:lnTo>
                  <a:lnTo>
                    <a:pt x="407" y="278"/>
                  </a:lnTo>
                  <a:lnTo>
                    <a:pt x="407" y="276"/>
                  </a:lnTo>
                  <a:lnTo>
                    <a:pt x="409" y="276"/>
                  </a:lnTo>
                  <a:lnTo>
                    <a:pt x="411" y="276"/>
                  </a:lnTo>
                  <a:lnTo>
                    <a:pt x="409" y="276"/>
                  </a:lnTo>
                  <a:lnTo>
                    <a:pt x="411" y="276"/>
                  </a:lnTo>
                  <a:lnTo>
                    <a:pt x="411" y="275"/>
                  </a:lnTo>
                  <a:lnTo>
                    <a:pt x="413" y="275"/>
                  </a:lnTo>
                  <a:lnTo>
                    <a:pt x="411" y="275"/>
                  </a:lnTo>
                  <a:lnTo>
                    <a:pt x="413" y="275"/>
                  </a:lnTo>
                  <a:lnTo>
                    <a:pt x="413" y="273"/>
                  </a:lnTo>
                  <a:lnTo>
                    <a:pt x="413" y="275"/>
                  </a:lnTo>
                  <a:lnTo>
                    <a:pt x="411" y="275"/>
                  </a:lnTo>
                  <a:lnTo>
                    <a:pt x="413" y="275"/>
                  </a:lnTo>
                  <a:lnTo>
                    <a:pt x="413" y="273"/>
                  </a:lnTo>
                  <a:lnTo>
                    <a:pt x="415" y="273"/>
                  </a:lnTo>
                  <a:lnTo>
                    <a:pt x="415" y="275"/>
                  </a:lnTo>
                  <a:lnTo>
                    <a:pt x="415" y="273"/>
                  </a:lnTo>
                  <a:lnTo>
                    <a:pt x="415" y="271"/>
                  </a:lnTo>
                  <a:lnTo>
                    <a:pt x="417" y="271"/>
                  </a:lnTo>
                  <a:lnTo>
                    <a:pt x="419" y="271"/>
                  </a:lnTo>
                  <a:lnTo>
                    <a:pt x="421" y="271"/>
                  </a:lnTo>
                  <a:lnTo>
                    <a:pt x="421" y="269"/>
                  </a:lnTo>
                  <a:lnTo>
                    <a:pt x="423" y="269"/>
                  </a:lnTo>
                  <a:lnTo>
                    <a:pt x="421" y="269"/>
                  </a:lnTo>
                  <a:lnTo>
                    <a:pt x="421" y="271"/>
                  </a:lnTo>
                  <a:lnTo>
                    <a:pt x="423" y="271"/>
                  </a:lnTo>
                  <a:lnTo>
                    <a:pt x="421" y="271"/>
                  </a:lnTo>
                  <a:lnTo>
                    <a:pt x="423" y="271"/>
                  </a:lnTo>
                  <a:lnTo>
                    <a:pt x="423" y="269"/>
                  </a:lnTo>
                  <a:lnTo>
                    <a:pt x="423" y="271"/>
                  </a:lnTo>
                  <a:lnTo>
                    <a:pt x="425" y="271"/>
                  </a:lnTo>
                  <a:lnTo>
                    <a:pt x="425" y="269"/>
                  </a:lnTo>
                  <a:lnTo>
                    <a:pt x="425" y="271"/>
                  </a:lnTo>
                  <a:lnTo>
                    <a:pt x="425" y="269"/>
                  </a:lnTo>
                  <a:lnTo>
                    <a:pt x="425" y="267"/>
                  </a:lnTo>
                  <a:lnTo>
                    <a:pt x="423" y="267"/>
                  </a:lnTo>
                  <a:lnTo>
                    <a:pt x="423" y="265"/>
                  </a:lnTo>
                  <a:lnTo>
                    <a:pt x="425" y="265"/>
                  </a:lnTo>
                  <a:lnTo>
                    <a:pt x="427" y="265"/>
                  </a:lnTo>
                  <a:lnTo>
                    <a:pt x="425" y="265"/>
                  </a:lnTo>
                  <a:lnTo>
                    <a:pt x="425" y="263"/>
                  </a:lnTo>
                  <a:lnTo>
                    <a:pt x="427" y="263"/>
                  </a:lnTo>
                  <a:lnTo>
                    <a:pt x="427" y="265"/>
                  </a:lnTo>
                  <a:lnTo>
                    <a:pt x="427" y="263"/>
                  </a:lnTo>
                  <a:lnTo>
                    <a:pt x="429" y="263"/>
                  </a:lnTo>
                  <a:lnTo>
                    <a:pt x="427" y="261"/>
                  </a:lnTo>
                  <a:lnTo>
                    <a:pt x="427" y="263"/>
                  </a:lnTo>
                  <a:lnTo>
                    <a:pt x="427" y="261"/>
                  </a:lnTo>
                  <a:lnTo>
                    <a:pt x="429" y="261"/>
                  </a:lnTo>
                  <a:lnTo>
                    <a:pt x="429" y="259"/>
                  </a:lnTo>
                  <a:lnTo>
                    <a:pt x="430" y="259"/>
                  </a:lnTo>
                  <a:lnTo>
                    <a:pt x="430" y="257"/>
                  </a:lnTo>
                  <a:lnTo>
                    <a:pt x="430" y="255"/>
                  </a:lnTo>
                  <a:lnTo>
                    <a:pt x="430" y="253"/>
                  </a:lnTo>
                  <a:lnTo>
                    <a:pt x="430" y="252"/>
                  </a:lnTo>
                  <a:lnTo>
                    <a:pt x="432" y="252"/>
                  </a:lnTo>
                  <a:lnTo>
                    <a:pt x="432" y="253"/>
                  </a:lnTo>
                  <a:lnTo>
                    <a:pt x="432" y="252"/>
                  </a:lnTo>
                  <a:lnTo>
                    <a:pt x="432" y="253"/>
                  </a:lnTo>
                  <a:lnTo>
                    <a:pt x="434" y="253"/>
                  </a:lnTo>
                  <a:lnTo>
                    <a:pt x="436" y="253"/>
                  </a:lnTo>
                  <a:lnTo>
                    <a:pt x="434" y="253"/>
                  </a:lnTo>
                  <a:lnTo>
                    <a:pt x="434" y="255"/>
                  </a:lnTo>
                  <a:lnTo>
                    <a:pt x="436" y="255"/>
                  </a:lnTo>
                  <a:lnTo>
                    <a:pt x="436" y="253"/>
                  </a:lnTo>
                  <a:lnTo>
                    <a:pt x="436" y="255"/>
                  </a:lnTo>
                  <a:lnTo>
                    <a:pt x="438" y="255"/>
                  </a:lnTo>
                  <a:lnTo>
                    <a:pt x="440" y="255"/>
                  </a:lnTo>
                  <a:lnTo>
                    <a:pt x="442" y="255"/>
                  </a:lnTo>
                  <a:lnTo>
                    <a:pt x="440" y="255"/>
                  </a:lnTo>
                  <a:lnTo>
                    <a:pt x="442" y="255"/>
                  </a:lnTo>
                  <a:lnTo>
                    <a:pt x="444" y="255"/>
                  </a:lnTo>
                  <a:lnTo>
                    <a:pt x="442" y="255"/>
                  </a:lnTo>
                  <a:lnTo>
                    <a:pt x="444" y="255"/>
                  </a:lnTo>
                  <a:lnTo>
                    <a:pt x="444" y="253"/>
                  </a:lnTo>
                  <a:lnTo>
                    <a:pt x="442" y="253"/>
                  </a:lnTo>
                  <a:lnTo>
                    <a:pt x="444" y="253"/>
                  </a:lnTo>
                  <a:lnTo>
                    <a:pt x="444" y="252"/>
                  </a:lnTo>
                  <a:lnTo>
                    <a:pt x="444" y="253"/>
                  </a:lnTo>
                  <a:lnTo>
                    <a:pt x="446" y="253"/>
                  </a:lnTo>
                  <a:lnTo>
                    <a:pt x="444" y="253"/>
                  </a:lnTo>
                  <a:lnTo>
                    <a:pt x="446" y="253"/>
                  </a:lnTo>
                  <a:lnTo>
                    <a:pt x="444" y="253"/>
                  </a:lnTo>
                  <a:lnTo>
                    <a:pt x="444" y="252"/>
                  </a:lnTo>
                  <a:lnTo>
                    <a:pt x="444" y="250"/>
                  </a:lnTo>
                  <a:lnTo>
                    <a:pt x="444" y="252"/>
                  </a:lnTo>
                  <a:lnTo>
                    <a:pt x="444" y="250"/>
                  </a:lnTo>
                  <a:lnTo>
                    <a:pt x="442" y="250"/>
                  </a:lnTo>
                  <a:lnTo>
                    <a:pt x="442" y="248"/>
                  </a:lnTo>
                  <a:lnTo>
                    <a:pt x="444" y="248"/>
                  </a:lnTo>
                  <a:lnTo>
                    <a:pt x="442" y="248"/>
                  </a:lnTo>
                  <a:lnTo>
                    <a:pt x="440" y="248"/>
                  </a:lnTo>
                  <a:lnTo>
                    <a:pt x="440" y="246"/>
                  </a:lnTo>
                  <a:lnTo>
                    <a:pt x="440" y="244"/>
                  </a:lnTo>
                  <a:lnTo>
                    <a:pt x="442" y="242"/>
                  </a:lnTo>
                  <a:lnTo>
                    <a:pt x="444" y="242"/>
                  </a:lnTo>
                  <a:lnTo>
                    <a:pt x="444" y="240"/>
                  </a:lnTo>
                  <a:lnTo>
                    <a:pt x="446" y="240"/>
                  </a:lnTo>
                  <a:lnTo>
                    <a:pt x="444" y="242"/>
                  </a:lnTo>
                  <a:lnTo>
                    <a:pt x="446" y="242"/>
                  </a:lnTo>
                  <a:lnTo>
                    <a:pt x="446" y="240"/>
                  </a:lnTo>
                  <a:lnTo>
                    <a:pt x="448" y="240"/>
                  </a:lnTo>
                  <a:lnTo>
                    <a:pt x="446" y="240"/>
                  </a:lnTo>
                  <a:lnTo>
                    <a:pt x="448" y="240"/>
                  </a:lnTo>
                  <a:lnTo>
                    <a:pt x="448" y="238"/>
                  </a:lnTo>
                  <a:lnTo>
                    <a:pt x="450" y="238"/>
                  </a:lnTo>
                  <a:lnTo>
                    <a:pt x="452" y="238"/>
                  </a:lnTo>
                  <a:lnTo>
                    <a:pt x="452" y="236"/>
                  </a:lnTo>
                  <a:lnTo>
                    <a:pt x="454" y="236"/>
                  </a:lnTo>
                  <a:lnTo>
                    <a:pt x="452" y="236"/>
                  </a:lnTo>
                  <a:lnTo>
                    <a:pt x="452" y="234"/>
                  </a:lnTo>
                  <a:lnTo>
                    <a:pt x="454" y="234"/>
                  </a:lnTo>
                  <a:lnTo>
                    <a:pt x="454" y="232"/>
                  </a:lnTo>
                  <a:lnTo>
                    <a:pt x="455" y="232"/>
                  </a:lnTo>
                  <a:lnTo>
                    <a:pt x="455" y="230"/>
                  </a:lnTo>
                  <a:lnTo>
                    <a:pt x="457" y="230"/>
                  </a:lnTo>
                  <a:lnTo>
                    <a:pt x="455" y="230"/>
                  </a:lnTo>
                  <a:lnTo>
                    <a:pt x="455" y="232"/>
                  </a:lnTo>
                  <a:lnTo>
                    <a:pt x="457" y="230"/>
                  </a:lnTo>
                  <a:lnTo>
                    <a:pt x="457" y="232"/>
                  </a:lnTo>
                  <a:lnTo>
                    <a:pt x="457" y="230"/>
                  </a:lnTo>
                  <a:lnTo>
                    <a:pt x="457" y="232"/>
                  </a:lnTo>
                  <a:lnTo>
                    <a:pt x="457" y="230"/>
                  </a:lnTo>
                  <a:lnTo>
                    <a:pt x="459" y="228"/>
                  </a:lnTo>
                  <a:lnTo>
                    <a:pt x="459" y="227"/>
                  </a:lnTo>
                  <a:lnTo>
                    <a:pt x="461" y="227"/>
                  </a:lnTo>
                  <a:lnTo>
                    <a:pt x="459" y="227"/>
                  </a:lnTo>
                  <a:lnTo>
                    <a:pt x="459" y="228"/>
                  </a:lnTo>
                  <a:lnTo>
                    <a:pt x="461" y="228"/>
                  </a:lnTo>
                  <a:lnTo>
                    <a:pt x="461" y="227"/>
                  </a:lnTo>
                  <a:lnTo>
                    <a:pt x="461" y="228"/>
                  </a:lnTo>
                  <a:lnTo>
                    <a:pt x="463" y="228"/>
                  </a:lnTo>
                  <a:lnTo>
                    <a:pt x="463" y="227"/>
                  </a:lnTo>
                  <a:lnTo>
                    <a:pt x="461" y="227"/>
                  </a:lnTo>
                  <a:lnTo>
                    <a:pt x="463" y="227"/>
                  </a:lnTo>
                  <a:lnTo>
                    <a:pt x="465" y="227"/>
                  </a:lnTo>
                  <a:lnTo>
                    <a:pt x="465" y="228"/>
                  </a:lnTo>
                  <a:lnTo>
                    <a:pt x="465" y="227"/>
                  </a:lnTo>
                  <a:lnTo>
                    <a:pt x="465" y="225"/>
                  </a:lnTo>
                  <a:lnTo>
                    <a:pt x="465" y="227"/>
                  </a:lnTo>
                  <a:lnTo>
                    <a:pt x="467" y="227"/>
                  </a:lnTo>
                  <a:lnTo>
                    <a:pt x="467" y="225"/>
                  </a:lnTo>
                  <a:lnTo>
                    <a:pt x="469" y="225"/>
                  </a:lnTo>
                  <a:lnTo>
                    <a:pt x="469" y="223"/>
                  </a:lnTo>
                  <a:lnTo>
                    <a:pt x="471" y="223"/>
                  </a:lnTo>
                  <a:lnTo>
                    <a:pt x="469" y="223"/>
                  </a:lnTo>
                  <a:lnTo>
                    <a:pt x="471" y="223"/>
                  </a:lnTo>
                  <a:lnTo>
                    <a:pt x="469" y="223"/>
                  </a:lnTo>
                  <a:lnTo>
                    <a:pt x="471" y="223"/>
                  </a:lnTo>
                  <a:lnTo>
                    <a:pt x="471" y="221"/>
                  </a:lnTo>
                  <a:lnTo>
                    <a:pt x="471" y="223"/>
                  </a:lnTo>
                  <a:lnTo>
                    <a:pt x="471" y="221"/>
                  </a:lnTo>
                  <a:lnTo>
                    <a:pt x="471" y="219"/>
                  </a:lnTo>
                  <a:lnTo>
                    <a:pt x="473" y="219"/>
                  </a:lnTo>
                  <a:lnTo>
                    <a:pt x="475" y="219"/>
                  </a:lnTo>
                  <a:lnTo>
                    <a:pt x="475" y="217"/>
                  </a:lnTo>
                  <a:lnTo>
                    <a:pt x="475" y="219"/>
                  </a:lnTo>
                  <a:lnTo>
                    <a:pt x="477" y="219"/>
                  </a:lnTo>
                  <a:lnTo>
                    <a:pt x="477" y="217"/>
                  </a:lnTo>
                  <a:lnTo>
                    <a:pt x="477" y="215"/>
                  </a:lnTo>
                  <a:lnTo>
                    <a:pt x="478" y="215"/>
                  </a:lnTo>
                  <a:lnTo>
                    <a:pt x="478" y="217"/>
                  </a:lnTo>
                  <a:lnTo>
                    <a:pt x="478" y="215"/>
                  </a:lnTo>
                  <a:lnTo>
                    <a:pt x="478" y="213"/>
                  </a:lnTo>
                  <a:lnTo>
                    <a:pt x="480" y="213"/>
                  </a:lnTo>
                  <a:lnTo>
                    <a:pt x="478" y="213"/>
                  </a:lnTo>
                  <a:lnTo>
                    <a:pt x="480" y="213"/>
                  </a:lnTo>
                  <a:lnTo>
                    <a:pt x="478" y="213"/>
                  </a:lnTo>
                  <a:lnTo>
                    <a:pt x="480" y="213"/>
                  </a:lnTo>
                  <a:lnTo>
                    <a:pt x="480" y="211"/>
                  </a:lnTo>
                  <a:lnTo>
                    <a:pt x="478" y="211"/>
                  </a:lnTo>
                  <a:lnTo>
                    <a:pt x="480" y="211"/>
                  </a:lnTo>
                  <a:lnTo>
                    <a:pt x="478" y="211"/>
                  </a:lnTo>
                  <a:lnTo>
                    <a:pt x="478" y="209"/>
                  </a:lnTo>
                  <a:lnTo>
                    <a:pt x="477" y="209"/>
                  </a:lnTo>
                  <a:lnTo>
                    <a:pt x="477" y="207"/>
                  </a:lnTo>
                  <a:lnTo>
                    <a:pt x="477" y="205"/>
                  </a:lnTo>
                  <a:lnTo>
                    <a:pt x="477" y="204"/>
                  </a:lnTo>
                  <a:lnTo>
                    <a:pt x="478" y="204"/>
                  </a:lnTo>
                  <a:lnTo>
                    <a:pt x="477" y="204"/>
                  </a:lnTo>
                  <a:lnTo>
                    <a:pt x="478" y="204"/>
                  </a:lnTo>
                  <a:lnTo>
                    <a:pt x="478" y="202"/>
                  </a:lnTo>
                  <a:lnTo>
                    <a:pt x="477" y="202"/>
                  </a:lnTo>
                  <a:lnTo>
                    <a:pt x="478" y="202"/>
                  </a:lnTo>
                  <a:lnTo>
                    <a:pt x="477" y="202"/>
                  </a:lnTo>
                  <a:lnTo>
                    <a:pt x="478" y="202"/>
                  </a:lnTo>
                  <a:lnTo>
                    <a:pt x="477" y="202"/>
                  </a:lnTo>
                  <a:lnTo>
                    <a:pt x="478" y="200"/>
                  </a:lnTo>
                  <a:lnTo>
                    <a:pt x="477" y="200"/>
                  </a:lnTo>
                  <a:lnTo>
                    <a:pt x="478" y="200"/>
                  </a:lnTo>
                  <a:lnTo>
                    <a:pt x="477" y="200"/>
                  </a:lnTo>
                  <a:lnTo>
                    <a:pt x="477" y="198"/>
                  </a:lnTo>
                  <a:lnTo>
                    <a:pt x="478" y="198"/>
                  </a:lnTo>
                  <a:lnTo>
                    <a:pt x="478" y="200"/>
                  </a:lnTo>
                  <a:lnTo>
                    <a:pt x="478" y="198"/>
                  </a:lnTo>
                  <a:lnTo>
                    <a:pt x="477" y="198"/>
                  </a:lnTo>
                  <a:lnTo>
                    <a:pt x="478" y="198"/>
                  </a:lnTo>
                  <a:lnTo>
                    <a:pt x="477" y="198"/>
                  </a:lnTo>
                  <a:lnTo>
                    <a:pt x="477" y="196"/>
                  </a:lnTo>
                  <a:lnTo>
                    <a:pt x="478" y="196"/>
                  </a:lnTo>
                  <a:lnTo>
                    <a:pt x="477" y="196"/>
                  </a:lnTo>
                  <a:lnTo>
                    <a:pt x="478" y="196"/>
                  </a:lnTo>
                  <a:lnTo>
                    <a:pt x="478" y="194"/>
                  </a:lnTo>
                  <a:lnTo>
                    <a:pt x="478" y="192"/>
                  </a:lnTo>
                  <a:lnTo>
                    <a:pt x="478" y="194"/>
                  </a:lnTo>
                  <a:lnTo>
                    <a:pt x="478" y="192"/>
                  </a:lnTo>
                  <a:lnTo>
                    <a:pt x="478" y="190"/>
                  </a:lnTo>
                  <a:lnTo>
                    <a:pt x="478" y="192"/>
                  </a:lnTo>
                  <a:lnTo>
                    <a:pt x="480" y="192"/>
                  </a:lnTo>
                  <a:lnTo>
                    <a:pt x="480" y="190"/>
                  </a:lnTo>
                  <a:lnTo>
                    <a:pt x="478" y="190"/>
                  </a:lnTo>
                  <a:lnTo>
                    <a:pt x="480" y="190"/>
                  </a:lnTo>
                  <a:lnTo>
                    <a:pt x="480" y="188"/>
                  </a:lnTo>
                  <a:lnTo>
                    <a:pt x="480" y="186"/>
                  </a:lnTo>
                  <a:lnTo>
                    <a:pt x="482" y="186"/>
                  </a:lnTo>
                  <a:lnTo>
                    <a:pt x="482" y="184"/>
                  </a:lnTo>
                  <a:lnTo>
                    <a:pt x="482" y="186"/>
                  </a:lnTo>
                  <a:lnTo>
                    <a:pt x="482" y="184"/>
                  </a:lnTo>
                  <a:lnTo>
                    <a:pt x="482" y="186"/>
                  </a:lnTo>
                  <a:lnTo>
                    <a:pt x="482" y="184"/>
                  </a:lnTo>
                  <a:lnTo>
                    <a:pt x="480" y="184"/>
                  </a:lnTo>
                  <a:lnTo>
                    <a:pt x="482" y="184"/>
                  </a:lnTo>
                  <a:lnTo>
                    <a:pt x="482" y="182"/>
                  </a:lnTo>
                  <a:lnTo>
                    <a:pt x="482" y="180"/>
                  </a:lnTo>
                  <a:lnTo>
                    <a:pt x="480" y="180"/>
                  </a:lnTo>
                  <a:lnTo>
                    <a:pt x="480" y="179"/>
                  </a:lnTo>
                  <a:lnTo>
                    <a:pt x="480" y="180"/>
                  </a:lnTo>
                  <a:lnTo>
                    <a:pt x="482" y="180"/>
                  </a:lnTo>
                  <a:lnTo>
                    <a:pt x="482" y="179"/>
                  </a:lnTo>
                  <a:lnTo>
                    <a:pt x="484" y="179"/>
                  </a:lnTo>
                  <a:lnTo>
                    <a:pt x="482" y="179"/>
                  </a:lnTo>
                  <a:lnTo>
                    <a:pt x="484" y="179"/>
                  </a:lnTo>
                  <a:lnTo>
                    <a:pt x="482" y="179"/>
                  </a:lnTo>
                  <a:lnTo>
                    <a:pt x="482" y="177"/>
                  </a:lnTo>
                  <a:lnTo>
                    <a:pt x="482" y="179"/>
                  </a:lnTo>
                  <a:lnTo>
                    <a:pt x="482" y="177"/>
                  </a:lnTo>
                  <a:lnTo>
                    <a:pt x="482" y="179"/>
                  </a:lnTo>
                  <a:lnTo>
                    <a:pt x="482" y="177"/>
                  </a:lnTo>
                  <a:lnTo>
                    <a:pt x="482" y="179"/>
                  </a:lnTo>
                  <a:lnTo>
                    <a:pt x="480" y="179"/>
                  </a:lnTo>
                  <a:lnTo>
                    <a:pt x="480" y="177"/>
                  </a:lnTo>
                  <a:lnTo>
                    <a:pt x="480" y="179"/>
                  </a:lnTo>
                  <a:lnTo>
                    <a:pt x="480" y="177"/>
                  </a:lnTo>
                  <a:lnTo>
                    <a:pt x="482" y="177"/>
                  </a:lnTo>
                  <a:lnTo>
                    <a:pt x="480" y="177"/>
                  </a:lnTo>
                  <a:lnTo>
                    <a:pt x="482" y="177"/>
                  </a:lnTo>
                  <a:lnTo>
                    <a:pt x="480" y="177"/>
                  </a:lnTo>
                  <a:lnTo>
                    <a:pt x="482" y="177"/>
                  </a:lnTo>
                  <a:close/>
                  <a:moveTo>
                    <a:pt x="680" y="119"/>
                  </a:moveTo>
                  <a:lnTo>
                    <a:pt x="682" y="119"/>
                  </a:lnTo>
                  <a:lnTo>
                    <a:pt x="682" y="121"/>
                  </a:lnTo>
                  <a:lnTo>
                    <a:pt x="684" y="121"/>
                  </a:lnTo>
                  <a:lnTo>
                    <a:pt x="682" y="121"/>
                  </a:lnTo>
                  <a:lnTo>
                    <a:pt x="684" y="121"/>
                  </a:lnTo>
                  <a:lnTo>
                    <a:pt x="684" y="123"/>
                  </a:lnTo>
                  <a:lnTo>
                    <a:pt x="686" y="123"/>
                  </a:lnTo>
                  <a:lnTo>
                    <a:pt x="686" y="121"/>
                  </a:lnTo>
                  <a:lnTo>
                    <a:pt x="686" y="123"/>
                  </a:lnTo>
                  <a:lnTo>
                    <a:pt x="688" y="123"/>
                  </a:lnTo>
                  <a:lnTo>
                    <a:pt x="688" y="125"/>
                  </a:lnTo>
                  <a:lnTo>
                    <a:pt x="690" y="125"/>
                  </a:lnTo>
                  <a:lnTo>
                    <a:pt x="690" y="127"/>
                  </a:lnTo>
                  <a:lnTo>
                    <a:pt x="690" y="129"/>
                  </a:lnTo>
                  <a:lnTo>
                    <a:pt x="690" y="131"/>
                  </a:lnTo>
                  <a:lnTo>
                    <a:pt x="688" y="131"/>
                  </a:lnTo>
                  <a:lnTo>
                    <a:pt x="688" y="132"/>
                  </a:lnTo>
                  <a:lnTo>
                    <a:pt x="686" y="132"/>
                  </a:lnTo>
                  <a:lnTo>
                    <a:pt x="688" y="132"/>
                  </a:lnTo>
                  <a:lnTo>
                    <a:pt x="688" y="134"/>
                  </a:lnTo>
                  <a:lnTo>
                    <a:pt x="686" y="134"/>
                  </a:lnTo>
                  <a:lnTo>
                    <a:pt x="686" y="136"/>
                  </a:lnTo>
                  <a:lnTo>
                    <a:pt x="688" y="136"/>
                  </a:lnTo>
                  <a:lnTo>
                    <a:pt x="686" y="136"/>
                  </a:lnTo>
                  <a:lnTo>
                    <a:pt x="686" y="138"/>
                  </a:lnTo>
                  <a:lnTo>
                    <a:pt x="688" y="138"/>
                  </a:lnTo>
                  <a:lnTo>
                    <a:pt x="688" y="140"/>
                  </a:lnTo>
                  <a:lnTo>
                    <a:pt x="686" y="140"/>
                  </a:lnTo>
                  <a:lnTo>
                    <a:pt x="686" y="142"/>
                  </a:lnTo>
                  <a:lnTo>
                    <a:pt x="686" y="144"/>
                  </a:lnTo>
                  <a:lnTo>
                    <a:pt x="688" y="144"/>
                  </a:lnTo>
                  <a:lnTo>
                    <a:pt x="688" y="142"/>
                  </a:lnTo>
                  <a:lnTo>
                    <a:pt x="688" y="144"/>
                  </a:lnTo>
                  <a:lnTo>
                    <a:pt x="690" y="144"/>
                  </a:lnTo>
                  <a:lnTo>
                    <a:pt x="692" y="144"/>
                  </a:lnTo>
                  <a:lnTo>
                    <a:pt x="694" y="144"/>
                  </a:lnTo>
                  <a:lnTo>
                    <a:pt x="694" y="142"/>
                  </a:lnTo>
                  <a:lnTo>
                    <a:pt x="694" y="144"/>
                  </a:lnTo>
                  <a:lnTo>
                    <a:pt x="695" y="144"/>
                  </a:lnTo>
                  <a:lnTo>
                    <a:pt x="695" y="142"/>
                  </a:lnTo>
                  <a:lnTo>
                    <a:pt x="695" y="144"/>
                  </a:lnTo>
                  <a:lnTo>
                    <a:pt x="695" y="142"/>
                  </a:lnTo>
                  <a:lnTo>
                    <a:pt x="697" y="142"/>
                  </a:lnTo>
                  <a:lnTo>
                    <a:pt x="699" y="142"/>
                  </a:lnTo>
                  <a:lnTo>
                    <a:pt x="699" y="144"/>
                  </a:lnTo>
                  <a:lnTo>
                    <a:pt x="701" y="144"/>
                  </a:lnTo>
                  <a:lnTo>
                    <a:pt x="703" y="144"/>
                  </a:lnTo>
                  <a:lnTo>
                    <a:pt x="703" y="146"/>
                  </a:lnTo>
                  <a:lnTo>
                    <a:pt x="703" y="148"/>
                  </a:lnTo>
                  <a:lnTo>
                    <a:pt x="705" y="148"/>
                  </a:lnTo>
                  <a:lnTo>
                    <a:pt x="703" y="148"/>
                  </a:lnTo>
                  <a:lnTo>
                    <a:pt x="703" y="150"/>
                  </a:lnTo>
                  <a:lnTo>
                    <a:pt x="705" y="150"/>
                  </a:lnTo>
                  <a:lnTo>
                    <a:pt x="707" y="150"/>
                  </a:lnTo>
                  <a:lnTo>
                    <a:pt x="707" y="152"/>
                  </a:lnTo>
                  <a:lnTo>
                    <a:pt x="709" y="152"/>
                  </a:lnTo>
                  <a:lnTo>
                    <a:pt x="707" y="152"/>
                  </a:lnTo>
                  <a:lnTo>
                    <a:pt x="705" y="152"/>
                  </a:lnTo>
                  <a:lnTo>
                    <a:pt x="705" y="150"/>
                  </a:lnTo>
                  <a:lnTo>
                    <a:pt x="703" y="150"/>
                  </a:lnTo>
                  <a:lnTo>
                    <a:pt x="703" y="152"/>
                  </a:lnTo>
                  <a:lnTo>
                    <a:pt x="701" y="152"/>
                  </a:lnTo>
                  <a:lnTo>
                    <a:pt x="699" y="152"/>
                  </a:lnTo>
                  <a:lnTo>
                    <a:pt x="697" y="152"/>
                  </a:lnTo>
                  <a:lnTo>
                    <a:pt x="695" y="152"/>
                  </a:lnTo>
                  <a:lnTo>
                    <a:pt x="697" y="152"/>
                  </a:lnTo>
                  <a:lnTo>
                    <a:pt x="699" y="152"/>
                  </a:lnTo>
                  <a:lnTo>
                    <a:pt x="701" y="152"/>
                  </a:lnTo>
                  <a:lnTo>
                    <a:pt x="703" y="152"/>
                  </a:lnTo>
                  <a:lnTo>
                    <a:pt x="703" y="150"/>
                  </a:lnTo>
                  <a:lnTo>
                    <a:pt x="705" y="150"/>
                  </a:lnTo>
                  <a:lnTo>
                    <a:pt x="705" y="152"/>
                  </a:lnTo>
                  <a:lnTo>
                    <a:pt x="707" y="152"/>
                  </a:lnTo>
                  <a:lnTo>
                    <a:pt x="707" y="154"/>
                  </a:lnTo>
                  <a:lnTo>
                    <a:pt x="707" y="152"/>
                  </a:lnTo>
                  <a:lnTo>
                    <a:pt x="707" y="154"/>
                  </a:lnTo>
                  <a:lnTo>
                    <a:pt x="705" y="154"/>
                  </a:lnTo>
                  <a:lnTo>
                    <a:pt x="705" y="156"/>
                  </a:lnTo>
                  <a:lnTo>
                    <a:pt x="707" y="156"/>
                  </a:lnTo>
                  <a:lnTo>
                    <a:pt x="705" y="156"/>
                  </a:lnTo>
                  <a:lnTo>
                    <a:pt x="705" y="157"/>
                  </a:lnTo>
                  <a:lnTo>
                    <a:pt x="705" y="159"/>
                  </a:lnTo>
                  <a:lnTo>
                    <a:pt x="707" y="159"/>
                  </a:lnTo>
                  <a:lnTo>
                    <a:pt x="705" y="159"/>
                  </a:lnTo>
                  <a:lnTo>
                    <a:pt x="705" y="161"/>
                  </a:lnTo>
                  <a:lnTo>
                    <a:pt x="707" y="161"/>
                  </a:lnTo>
                  <a:lnTo>
                    <a:pt x="709" y="161"/>
                  </a:lnTo>
                  <a:lnTo>
                    <a:pt x="709" y="163"/>
                  </a:lnTo>
                  <a:lnTo>
                    <a:pt x="709" y="161"/>
                  </a:lnTo>
                  <a:lnTo>
                    <a:pt x="709" y="163"/>
                  </a:lnTo>
                  <a:lnTo>
                    <a:pt x="711" y="163"/>
                  </a:lnTo>
                  <a:lnTo>
                    <a:pt x="711" y="165"/>
                  </a:lnTo>
                  <a:lnTo>
                    <a:pt x="711" y="167"/>
                  </a:lnTo>
                  <a:lnTo>
                    <a:pt x="713" y="167"/>
                  </a:lnTo>
                  <a:lnTo>
                    <a:pt x="711" y="167"/>
                  </a:lnTo>
                  <a:lnTo>
                    <a:pt x="713" y="169"/>
                  </a:lnTo>
                  <a:lnTo>
                    <a:pt x="713" y="171"/>
                  </a:lnTo>
                  <a:lnTo>
                    <a:pt x="711" y="171"/>
                  </a:lnTo>
                  <a:lnTo>
                    <a:pt x="709" y="171"/>
                  </a:lnTo>
                  <a:lnTo>
                    <a:pt x="707" y="171"/>
                  </a:lnTo>
                  <a:lnTo>
                    <a:pt x="705" y="171"/>
                  </a:lnTo>
                  <a:lnTo>
                    <a:pt x="705" y="173"/>
                  </a:lnTo>
                  <a:lnTo>
                    <a:pt x="705" y="175"/>
                  </a:lnTo>
                  <a:lnTo>
                    <a:pt x="703" y="175"/>
                  </a:lnTo>
                  <a:lnTo>
                    <a:pt x="705" y="175"/>
                  </a:lnTo>
                  <a:lnTo>
                    <a:pt x="707" y="175"/>
                  </a:lnTo>
                  <a:lnTo>
                    <a:pt x="707" y="177"/>
                  </a:lnTo>
                  <a:lnTo>
                    <a:pt x="709" y="177"/>
                  </a:lnTo>
                  <a:lnTo>
                    <a:pt x="709" y="175"/>
                  </a:lnTo>
                  <a:lnTo>
                    <a:pt x="711" y="175"/>
                  </a:lnTo>
                  <a:lnTo>
                    <a:pt x="711" y="177"/>
                  </a:lnTo>
                  <a:lnTo>
                    <a:pt x="713" y="177"/>
                  </a:lnTo>
                  <a:lnTo>
                    <a:pt x="711" y="177"/>
                  </a:lnTo>
                  <a:lnTo>
                    <a:pt x="713" y="177"/>
                  </a:lnTo>
                  <a:lnTo>
                    <a:pt x="715" y="177"/>
                  </a:lnTo>
                  <a:lnTo>
                    <a:pt x="715" y="179"/>
                  </a:lnTo>
                  <a:lnTo>
                    <a:pt x="715" y="177"/>
                  </a:lnTo>
                  <a:lnTo>
                    <a:pt x="713" y="177"/>
                  </a:lnTo>
                  <a:lnTo>
                    <a:pt x="713" y="179"/>
                  </a:lnTo>
                  <a:lnTo>
                    <a:pt x="715" y="179"/>
                  </a:lnTo>
                  <a:lnTo>
                    <a:pt x="715" y="180"/>
                  </a:lnTo>
                  <a:lnTo>
                    <a:pt x="715" y="182"/>
                  </a:lnTo>
                  <a:lnTo>
                    <a:pt x="713" y="182"/>
                  </a:lnTo>
                  <a:lnTo>
                    <a:pt x="715" y="182"/>
                  </a:lnTo>
                  <a:lnTo>
                    <a:pt x="715" y="184"/>
                  </a:lnTo>
                  <a:lnTo>
                    <a:pt x="715" y="186"/>
                  </a:lnTo>
                  <a:lnTo>
                    <a:pt x="713" y="186"/>
                  </a:lnTo>
                  <a:lnTo>
                    <a:pt x="713" y="188"/>
                  </a:lnTo>
                  <a:lnTo>
                    <a:pt x="713" y="190"/>
                  </a:lnTo>
                  <a:lnTo>
                    <a:pt x="711" y="190"/>
                  </a:lnTo>
                  <a:lnTo>
                    <a:pt x="713" y="190"/>
                  </a:lnTo>
                  <a:lnTo>
                    <a:pt x="711" y="190"/>
                  </a:lnTo>
                  <a:lnTo>
                    <a:pt x="713" y="190"/>
                  </a:lnTo>
                  <a:lnTo>
                    <a:pt x="713" y="192"/>
                  </a:lnTo>
                  <a:lnTo>
                    <a:pt x="713" y="194"/>
                  </a:lnTo>
                  <a:lnTo>
                    <a:pt x="713" y="192"/>
                  </a:lnTo>
                  <a:lnTo>
                    <a:pt x="711" y="192"/>
                  </a:lnTo>
                  <a:lnTo>
                    <a:pt x="711" y="194"/>
                  </a:lnTo>
                  <a:lnTo>
                    <a:pt x="713" y="194"/>
                  </a:lnTo>
                  <a:lnTo>
                    <a:pt x="713" y="192"/>
                  </a:lnTo>
                  <a:lnTo>
                    <a:pt x="713" y="194"/>
                  </a:lnTo>
                  <a:lnTo>
                    <a:pt x="711" y="194"/>
                  </a:lnTo>
                  <a:lnTo>
                    <a:pt x="713" y="194"/>
                  </a:lnTo>
                  <a:lnTo>
                    <a:pt x="713" y="196"/>
                  </a:lnTo>
                  <a:lnTo>
                    <a:pt x="713" y="198"/>
                  </a:lnTo>
                  <a:lnTo>
                    <a:pt x="713" y="196"/>
                  </a:lnTo>
                  <a:lnTo>
                    <a:pt x="713" y="198"/>
                  </a:lnTo>
                  <a:lnTo>
                    <a:pt x="713" y="196"/>
                  </a:lnTo>
                  <a:lnTo>
                    <a:pt x="713" y="198"/>
                  </a:lnTo>
                  <a:lnTo>
                    <a:pt x="713" y="196"/>
                  </a:lnTo>
                  <a:lnTo>
                    <a:pt x="715" y="196"/>
                  </a:lnTo>
                  <a:lnTo>
                    <a:pt x="715" y="198"/>
                  </a:lnTo>
                  <a:lnTo>
                    <a:pt x="715" y="196"/>
                  </a:lnTo>
                  <a:lnTo>
                    <a:pt x="715" y="198"/>
                  </a:lnTo>
                  <a:lnTo>
                    <a:pt x="717" y="198"/>
                  </a:lnTo>
                  <a:lnTo>
                    <a:pt x="717" y="196"/>
                  </a:lnTo>
                  <a:lnTo>
                    <a:pt x="719" y="196"/>
                  </a:lnTo>
                  <a:lnTo>
                    <a:pt x="720" y="196"/>
                  </a:lnTo>
                  <a:lnTo>
                    <a:pt x="722" y="196"/>
                  </a:lnTo>
                  <a:lnTo>
                    <a:pt x="722" y="198"/>
                  </a:lnTo>
                  <a:lnTo>
                    <a:pt x="724" y="198"/>
                  </a:lnTo>
                  <a:lnTo>
                    <a:pt x="724" y="196"/>
                  </a:lnTo>
                  <a:lnTo>
                    <a:pt x="724" y="198"/>
                  </a:lnTo>
                  <a:lnTo>
                    <a:pt x="726" y="198"/>
                  </a:lnTo>
                  <a:lnTo>
                    <a:pt x="726" y="200"/>
                  </a:lnTo>
                  <a:lnTo>
                    <a:pt x="724" y="200"/>
                  </a:lnTo>
                  <a:lnTo>
                    <a:pt x="726" y="200"/>
                  </a:lnTo>
                  <a:lnTo>
                    <a:pt x="728" y="200"/>
                  </a:lnTo>
                  <a:lnTo>
                    <a:pt x="730" y="200"/>
                  </a:lnTo>
                  <a:lnTo>
                    <a:pt x="732" y="200"/>
                  </a:lnTo>
                  <a:lnTo>
                    <a:pt x="732" y="202"/>
                  </a:lnTo>
                  <a:lnTo>
                    <a:pt x="732" y="200"/>
                  </a:lnTo>
                  <a:lnTo>
                    <a:pt x="732" y="202"/>
                  </a:lnTo>
                  <a:lnTo>
                    <a:pt x="734" y="202"/>
                  </a:lnTo>
                  <a:lnTo>
                    <a:pt x="734" y="204"/>
                  </a:lnTo>
                  <a:lnTo>
                    <a:pt x="734" y="205"/>
                  </a:lnTo>
                  <a:lnTo>
                    <a:pt x="732" y="207"/>
                  </a:lnTo>
                  <a:lnTo>
                    <a:pt x="732" y="209"/>
                  </a:lnTo>
                  <a:lnTo>
                    <a:pt x="732" y="211"/>
                  </a:lnTo>
                  <a:lnTo>
                    <a:pt x="730" y="211"/>
                  </a:lnTo>
                  <a:lnTo>
                    <a:pt x="730" y="213"/>
                  </a:lnTo>
                  <a:lnTo>
                    <a:pt x="730" y="215"/>
                  </a:lnTo>
                  <a:lnTo>
                    <a:pt x="730" y="217"/>
                  </a:lnTo>
                  <a:lnTo>
                    <a:pt x="728" y="219"/>
                  </a:lnTo>
                  <a:lnTo>
                    <a:pt x="728" y="221"/>
                  </a:lnTo>
                  <a:lnTo>
                    <a:pt x="728" y="223"/>
                  </a:lnTo>
                  <a:lnTo>
                    <a:pt x="728" y="225"/>
                  </a:lnTo>
                  <a:lnTo>
                    <a:pt x="726" y="225"/>
                  </a:lnTo>
                  <a:lnTo>
                    <a:pt x="726" y="227"/>
                  </a:lnTo>
                  <a:lnTo>
                    <a:pt x="726" y="230"/>
                  </a:lnTo>
                  <a:lnTo>
                    <a:pt x="724" y="234"/>
                  </a:lnTo>
                  <a:lnTo>
                    <a:pt x="724" y="236"/>
                  </a:lnTo>
                  <a:lnTo>
                    <a:pt x="724" y="238"/>
                  </a:lnTo>
                  <a:lnTo>
                    <a:pt x="722" y="238"/>
                  </a:lnTo>
                  <a:lnTo>
                    <a:pt x="722" y="240"/>
                  </a:lnTo>
                  <a:lnTo>
                    <a:pt x="722" y="242"/>
                  </a:lnTo>
                  <a:lnTo>
                    <a:pt x="720" y="242"/>
                  </a:lnTo>
                  <a:lnTo>
                    <a:pt x="719" y="242"/>
                  </a:lnTo>
                  <a:lnTo>
                    <a:pt x="719" y="244"/>
                  </a:lnTo>
                  <a:lnTo>
                    <a:pt x="719" y="242"/>
                  </a:lnTo>
                  <a:lnTo>
                    <a:pt x="717" y="242"/>
                  </a:lnTo>
                  <a:lnTo>
                    <a:pt x="719" y="242"/>
                  </a:lnTo>
                  <a:lnTo>
                    <a:pt x="717" y="242"/>
                  </a:lnTo>
                  <a:lnTo>
                    <a:pt x="717" y="244"/>
                  </a:lnTo>
                  <a:lnTo>
                    <a:pt x="717" y="242"/>
                  </a:lnTo>
                  <a:lnTo>
                    <a:pt x="717" y="244"/>
                  </a:lnTo>
                  <a:lnTo>
                    <a:pt x="717" y="242"/>
                  </a:lnTo>
                  <a:lnTo>
                    <a:pt x="715" y="242"/>
                  </a:lnTo>
                  <a:lnTo>
                    <a:pt x="713" y="242"/>
                  </a:lnTo>
                  <a:lnTo>
                    <a:pt x="713" y="244"/>
                  </a:lnTo>
                  <a:lnTo>
                    <a:pt x="715" y="244"/>
                  </a:lnTo>
                  <a:lnTo>
                    <a:pt x="713" y="244"/>
                  </a:lnTo>
                  <a:lnTo>
                    <a:pt x="711" y="244"/>
                  </a:lnTo>
                  <a:lnTo>
                    <a:pt x="709" y="244"/>
                  </a:lnTo>
                  <a:lnTo>
                    <a:pt x="709" y="242"/>
                  </a:lnTo>
                  <a:lnTo>
                    <a:pt x="709" y="244"/>
                  </a:lnTo>
                  <a:lnTo>
                    <a:pt x="707" y="244"/>
                  </a:lnTo>
                  <a:lnTo>
                    <a:pt x="707" y="246"/>
                  </a:lnTo>
                  <a:lnTo>
                    <a:pt x="709" y="246"/>
                  </a:lnTo>
                  <a:lnTo>
                    <a:pt x="707" y="246"/>
                  </a:lnTo>
                  <a:lnTo>
                    <a:pt x="709" y="246"/>
                  </a:lnTo>
                  <a:lnTo>
                    <a:pt x="709" y="248"/>
                  </a:lnTo>
                  <a:lnTo>
                    <a:pt x="707" y="248"/>
                  </a:lnTo>
                  <a:lnTo>
                    <a:pt x="709" y="248"/>
                  </a:lnTo>
                  <a:lnTo>
                    <a:pt x="707" y="248"/>
                  </a:lnTo>
                  <a:lnTo>
                    <a:pt x="705" y="248"/>
                  </a:lnTo>
                  <a:lnTo>
                    <a:pt x="705" y="250"/>
                  </a:lnTo>
                  <a:lnTo>
                    <a:pt x="703" y="250"/>
                  </a:lnTo>
                  <a:lnTo>
                    <a:pt x="701" y="250"/>
                  </a:lnTo>
                  <a:lnTo>
                    <a:pt x="701" y="252"/>
                  </a:lnTo>
                  <a:lnTo>
                    <a:pt x="701" y="250"/>
                  </a:lnTo>
                  <a:lnTo>
                    <a:pt x="699" y="252"/>
                  </a:lnTo>
                  <a:lnTo>
                    <a:pt x="697" y="252"/>
                  </a:lnTo>
                  <a:lnTo>
                    <a:pt x="697" y="253"/>
                  </a:lnTo>
                  <a:lnTo>
                    <a:pt x="695" y="253"/>
                  </a:lnTo>
                  <a:lnTo>
                    <a:pt x="695" y="252"/>
                  </a:lnTo>
                  <a:lnTo>
                    <a:pt x="694" y="253"/>
                  </a:lnTo>
                  <a:lnTo>
                    <a:pt x="692" y="253"/>
                  </a:lnTo>
                  <a:lnTo>
                    <a:pt x="690" y="253"/>
                  </a:lnTo>
                  <a:lnTo>
                    <a:pt x="690" y="255"/>
                  </a:lnTo>
                  <a:lnTo>
                    <a:pt x="688" y="255"/>
                  </a:lnTo>
                  <a:lnTo>
                    <a:pt x="686" y="255"/>
                  </a:lnTo>
                  <a:lnTo>
                    <a:pt x="684" y="255"/>
                  </a:lnTo>
                  <a:lnTo>
                    <a:pt x="682" y="255"/>
                  </a:lnTo>
                  <a:lnTo>
                    <a:pt x="680" y="255"/>
                  </a:lnTo>
                  <a:lnTo>
                    <a:pt x="678" y="255"/>
                  </a:lnTo>
                  <a:lnTo>
                    <a:pt x="676" y="255"/>
                  </a:lnTo>
                  <a:lnTo>
                    <a:pt x="674" y="255"/>
                  </a:lnTo>
                  <a:lnTo>
                    <a:pt x="674" y="257"/>
                  </a:lnTo>
                  <a:lnTo>
                    <a:pt x="672" y="257"/>
                  </a:lnTo>
                  <a:lnTo>
                    <a:pt x="672" y="255"/>
                  </a:lnTo>
                  <a:lnTo>
                    <a:pt x="671" y="255"/>
                  </a:lnTo>
                  <a:lnTo>
                    <a:pt x="669" y="255"/>
                  </a:lnTo>
                  <a:lnTo>
                    <a:pt x="667" y="255"/>
                  </a:lnTo>
                  <a:lnTo>
                    <a:pt x="665" y="255"/>
                  </a:lnTo>
                  <a:lnTo>
                    <a:pt x="665" y="253"/>
                  </a:lnTo>
                  <a:lnTo>
                    <a:pt x="663" y="253"/>
                  </a:lnTo>
                  <a:lnTo>
                    <a:pt x="661" y="253"/>
                  </a:lnTo>
                  <a:lnTo>
                    <a:pt x="659" y="253"/>
                  </a:lnTo>
                  <a:lnTo>
                    <a:pt x="659" y="252"/>
                  </a:lnTo>
                  <a:lnTo>
                    <a:pt x="657" y="252"/>
                  </a:lnTo>
                  <a:lnTo>
                    <a:pt x="657" y="250"/>
                  </a:lnTo>
                  <a:lnTo>
                    <a:pt x="655" y="250"/>
                  </a:lnTo>
                  <a:lnTo>
                    <a:pt x="655" y="248"/>
                  </a:lnTo>
                  <a:lnTo>
                    <a:pt x="653" y="248"/>
                  </a:lnTo>
                  <a:lnTo>
                    <a:pt x="653" y="246"/>
                  </a:lnTo>
                  <a:lnTo>
                    <a:pt x="651" y="246"/>
                  </a:lnTo>
                  <a:lnTo>
                    <a:pt x="651" y="244"/>
                  </a:lnTo>
                  <a:lnTo>
                    <a:pt x="651" y="242"/>
                  </a:lnTo>
                  <a:lnTo>
                    <a:pt x="649" y="242"/>
                  </a:lnTo>
                  <a:lnTo>
                    <a:pt x="649" y="240"/>
                  </a:lnTo>
                  <a:lnTo>
                    <a:pt x="649" y="238"/>
                  </a:lnTo>
                  <a:lnTo>
                    <a:pt x="647" y="238"/>
                  </a:lnTo>
                  <a:lnTo>
                    <a:pt x="647" y="236"/>
                  </a:lnTo>
                  <a:lnTo>
                    <a:pt x="647" y="234"/>
                  </a:lnTo>
                  <a:lnTo>
                    <a:pt x="647" y="232"/>
                  </a:lnTo>
                  <a:lnTo>
                    <a:pt x="646" y="232"/>
                  </a:lnTo>
                  <a:lnTo>
                    <a:pt x="646" y="230"/>
                  </a:lnTo>
                  <a:lnTo>
                    <a:pt x="647" y="230"/>
                  </a:lnTo>
                  <a:lnTo>
                    <a:pt x="647" y="228"/>
                  </a:lnTo>
                  <a:lnTo>
                    <a:pt x="649" y="228"/>
                  </a:lnTo>
                  <a:lnTo>
                    <a:pt x="649" y="227"/>
                  </a:lnTo>
                  <a:lnTo>
                    <a:pt x="651" y="227"/>
                  </a:lnTo>
                  <a:lnTo>
                    <a:pt x="653" y="227"/>
                  </a:lnTo>
                  <a:lnTo>
                    <a:pt x="653" y="225"/>
                  </a:lnTo>
                  <a:lnTo>
                    <a:pt x="655" y="225"/>
                  </a:lnTo>
                  <a:lnTo>
                    <a:pt x="655" y="227"/>
                  </a:lnTo>
                  <a:lnTo>
                    <a:pt x="655" y="225"/>
                  </a:lnTo>
                  <a:lnTo>
                    <a:pt x="655" y="227"/>
                  </a:lnTo>
                  <a:lnTo>
                    <a:pt x="655" y="225"/>
                  </a:lnTo>
                  <a:lnTo>
                    <a:pt x="657" y="225"/>
                  </a:lnTo>
                  <a:lnTo>
                    <a:pt x="659" y="225"/>
                  </a:lnTo>
                  <a:lnTo>
                    <a:pt x="661" y="225"/>
                  </a:lnTo>
                  <a:lnTo>
                    <a:pt x="663" y="225"/>
                  </a:lnTo>
                  <a:lnTo>
                    <a:pt x="665" y="225"/>
                  </a:lnTo>
                  <a:lnTo>
                    <a:pt x="665" y="227"/>
                  </a:lnTo>
                  <a:lnTo>
                    <a:pt x="667" y="227"/>
                  </a:lnTo>
                  <a:lnTo>
                    <a:pt x="667" y="225"/>
                  </a:lnTo>
                  <a:lnTo>
                    <a:pt x="667" y="227"/>
                  </a:lnTo>
                  <a:lnTo>
                    <a:pt x="667" y="225"/>
                  </a:lnTo>
                  <a:lnTo>
                    <a:pt x="669" y="225"/>
                  </a:lnTo>
                  <a:lnTo>
                    <a:pt x="669" y="227"/>
                  </a:lnTo>
                  <a:lnTo>
                    <a:pt x="671" y="227"/>
                  </a:lnTo>
                  <a:lnTo>
                    <a:pt x="669" y="227"/>
                  </a:lnTo>
                  <a:lnTo>
                    <a:pt x="669" y="225"/>
                  </a:lnTo>
                  <a:lnTo>
                    <a:pt x="671" y="225"/>
                  </a:lnTo>
                  <a:lnTo>
                    <a:pt x="671" y="223"/>
                  </a:lnTo>
                  <a:lnTo>
                    <a:pt x="671" y="225"/>
                  </a:lnTo>
                  <a:lnTo>
                    <a:pt x="671" y="223"/>
                  </a:lnTo>
                  <a:lnTo>
                    <a:pt x="672" y="223"/>
                  </a:lnTo>
                  <a:lnTo>
                    <a:pt x="671" y="223"/>
                  </a:lnTo>
                  <a:lnTo>
                    <a:pt x="672" y="223"/>
                  </a:lnTo>
                  <a:lnTo>
                    <a:pt x="672" y="221"/>
                  </a:lnTo>
                  <a:lnTo>
                    <a:pt x="674" y="221"/>
                  </a:lnTo>
                  <a:lnTo>
                    <a:pt x="676" y="221"/>
                  </a:lnTo>
                  <a:lnTo>
                    <a:pt x="678" y="221"/>
                  </a:lnTo>
                  <a:lnTo>
                    <a:pt x="680" y="221"/>
                  </a:lnTo>
                  <a:lnTo>
                    <a:pt x="682" y="221"/>
                  </a:lnTo>
                  <a:lnTo>
                    <a:pt x="684" y="221"/>
                  </a:lnTo>
                  <a:lnTo>
                    <a:pt x="684" y="223"/>
                  </a:lnTo>
                  <a:lnTo>
                    <a:pt x="686" y="223"/>
                  </a:lnTo>
                  <a:lnTo>
                    <a:pt x="688" y="223"/>
                  </a:lnTo>
                  <a:lnTo>
                    <a:pt x="690" y="223"/>
                  </a:lnTo>
                  <a:lnTo>
                    <a:pt x="692" y="223"/>
                  </a:lnTo>
                  <a:lnTo>
                    <a:pt x="692" y="225"/>
                  </a:lnTo>
                  <a:lnTo>
                    <a:pt x="694" y="225"/>
                  </a:lnTo>
                  <a:lnTo>
                    <a:pt x="694" y="227"/>
                  </a:lnTo>
                  <a:lnTo>
                    <a:pt x="695" y="227"/>
                  </a:lnTo>
                  <a:lnTo>
                    <a:pt x="695" y="225"/>
                  </a:lnTo>
                  <a:lnTo>
                    <a:pt x="695" y="227"/>
                  </a:lnTo>
                  <a:lnTo>
                    <a:pt x="697" y="227"/>
                  </a:lnTo>
                  <a:lnTo>
                    <a:pt x="695" y="227"/>
                  </a:lnTo>
                  <a:lnTo>
                    <a:pt x="697" y="227"/>
                  </a:lnTo>
                  <a:lnTo>
                    <a:pt x="695" y="225"/>
                  </a:lnTo>
                  <a:lnTo>
                    <a:pt x="697" y="225"/>
                  </a:lnTo>
                  <a:lnTo>
                    <a:pt x="699" y="225"/>
                  </a:lnTo>
                  <a:lnTo>
                    <a:pt x="699" y="223"/>
                  </a:lnTo>
                  <a:lnTo>
                    <a:pt x="699" y="225"/>
                  </a:lnTo>
                  <a:lnTo>
                    <a:pt x="699" y="223"/>
                  </a:lnTo>
                  <a:lnTo>
                    <a:pt x="701" y="223"/>
                  </a:lnTo>
                  <a:lnTo>
                    <a:pt x="703" y="223"/>
                  </a:lnTo>
                  <a:lnTo>
                    <a:pt x="703" y="221"/>
                  </a:lnTo>
                  <a:lnTo>
                    <a:pt x="705" y="221"/>
                  </a:lnTo>
                  <a:lnTo>
                    <a:pt x="705" y="219"/>
                  </a:lnTo>
                  <a:lnTo>
                    <a:pt x="707" y="219"/>
                  </a:lnTo>
                  <a:lnTo>
                    <a:pt x="709" y="219"/>
                  </a:lnTo>
                  <a:lnTo>
                    <a:pt x="709" y="217"/>
                  </a:lnTo>
                  <a:lnTo>
                    <a:pt x="711" y="217"/>
                  </a:lnTo>
                  <a:lnTo>
                    <a:pt x="711" y="215"/>
                  </a:lnTo>
                  <a:lnTo>
                    <a:pt x="713" y="215"/>
                  </a:lnTo>
                  <a:lnTo>
                    <a:pt x="711" y="215"/>
                  </a:lnTo>
                  <a:lnTo>
                    <a:pt x="711" y="213"/>
                  </a:lnTo>
                  <a:lnTo>
                    <a:pt x="711" y="211"/>
                  </a:lnTo>
                  <a:lnTo>
                    <a:pt x="709" y="211"/>
                  </a:lnTo>
                  <a:lnTo>
                    <a:pt x="709" y="213"/>
                  </a:lnTo>
                  <a:lnTo>
                    <a:pt x="709" y="211"/>
                  </a:lnTo>
                  <a:lnTo>
                    <a:pt x="709" y="213"/>
                  </a:lnTo>
                  <a:lnTo>
                    <a:pt x="709" y="211"/>
                  </a:lnTo>
                  <a:lnTo>
                    <a:pt x="709" y="213"/>
                  </a:lnTo>
                  <a:lnTo>
                    <a:pt x="709" y="211"/>
                  </a:lnTo>
                  <a:lnTo>
                    <a:pt x="707" y="211"/>
                  </a:lnTo>
                  <a:lnTo>
                    <a:pt x="707" y="213"/>
                  </a:lnTo>
                  <a:lnTo>
                    <a:pt x="707" y="215"/>
                  </a:lnTo>
                  <a:lnTo>
                    <a:pt x="705" y="215"/>
                  </a:lnTo>
                  <a:lnTo>
                    <a:pt x="705" y="217"/>
                  </a:lnTo>
                  <a:lnTo>
                    <a:pt x="703" y="217"/>
                  </a:lnTo>
                  <a:lnTo>
                    <a:pt x="701" y="217"/>
                  </a:lnTo>
                  <a:lnTo>
                    <a:pt x="701" y="215"/>
                  </a:lnTo>
                  <a:lnTo>
                    <a:pt x="699" y="215"/>
                  </a:lnTo>
                  <a:lnTo>
                    <a:pt x="699" y="217"/>
                  </a:lnTo>
                  <a:lnTo>
                    <a:pt x="701" y="217"/>
                  </a:lnTo>
                  <a:lnTo>
                    <a:pt x="699" y="217"/>
                  </a:lnTo>
                  <a:lnTo>
                    <a:pt x="697" y="217"/>
                  </a:lnTo>
                  <a:lnTo>
                    <a:pt x="699" y="217"/>
                  </a:lnTo>
                  <a:lnTo>
                    <a:pt x="699" y="215"/>
                  </a:lnTo>
                  <a:lnTo>
                    <a:pt x="699" y="213"/>
                  </a:lnTo>
                  <a:lnTo>
                    <a:pt x="697" y="213"/>
                  </a:lnTo>
                  <a:lnTo>
                    <a:pt x="697" y="215"/>
                  </a:lnTo>
                  <a:lnTo>
                    <a:pt x="695" y="215"/>
                  </a:lnTo>
                  <a:lnTo>
                    <a:pt x="697" y="215"/>
                  </a:lnTo>
                  <a:lnTo>
                    <a:pt x="695" y="215"/>
                  </a:lnTo>
                  <a:lnTo>
                    <a:pt x="695" y="217"/>
                  </a:lnTo>
                  <a:lnTo>
                    <a:pt x="695" y="215"/>
                  </a:lnTo>
                  <a:lnTo>
                    <a:pt x="694" y="215"/>
                  </a:lnTo>
                  <a:lnTo>
                    <a:pt x="692" y="215"/>
                  </a:lnTo>
                  <a:lnTo>
                    <a:pt x="690" y="215"/>
                  </a:lnTo>
                  <a:lnTo>
                    <a:pt x="688" y="215"/>
                  </a:lnTo>
                  <a:lnTo>
                    <a:pt x="688" y="213"/>
                  </a:lnTo>
                  <a:lnTo>
                    <a:pt x="688" y="211"/>
                  </a:lnTo>
                  <a:lnTo>
                    <a:pt x="688" y="213"/>
                  </a:lnTo>
                  <a:lnTo>
                    <a:pt x="688" y="211"/>
                  </a:lnTo>
                  <a:lnTo>
                    <a:pt x="690" y="211"/>
                  </a:lnTo>
                  <a:lnTo>
                    <a:pt x="690" y="209"/>
                  </a:lnTo>
                  <a:lnTo>
                    <a:pt x="690" y="207"/>
                  </a:lnTo>
                  <a:lnTo>
                    <a:pt x="688" y="209"/>
                  </a:lnTo>
                  <a:lnTo>
                    <a:pt x="688" y="211"/>
                  </a:lnTo>
                  <a:lnTo>
                    <a:pt x="686" y="211"/>
                  </a:lnTo>
                  <a:lnTo>
                    <a:pt x="686" y="209"/>
                  </a:lnTo>
                  <a:lnTo>
                    <a:pt x="686" y="207"/>
                  </a:lnTo>
                  <a:lnTo>
                    <a:pt x="688" y="207"/>
                  </a:lnTo>
                  <a:lnTo>
                    <a:pt x="688" y="205"/>
                  </a:lnTo>
                  <a:lnTo>
                    <a:pt x="688" y="204"/>
                  </a:lnTo>
                  <a:lnTo>
                    <a:pt x="686" y="204"/>
                  </a:lnTo>
                  <a:lnTo>
                    <a:pt x="686" y="205"/>
                  </a:lnTo>
                  <a:lnTo>
                    <a:pt x="684" y="205"/>
                  </a:lnTo>
                  <a:lnTo>
                    <a:pt x="684" y="207"/>
                  </a:lnTo>
                  <a:lnTo>
                    <a:pt x="684" y="209"/>
                  </a:lnTo>
                  <a:lnTo>
                    <a:pt x="684" y="211"/>
                  </a:lnTo>
                  <a:lnTo>
                    <a:pt x="684" y="213"/>
                  </a:lnTo>
                  <a:lnTo>
                    <a:pt x="684" y="211"/>
                  </a:lnTo>
                  <a:lnTo>
                    <a:pt x="682" y="211"/>
                  </a:lnTo>
                  <a:lnTo>
                    <a:pt x="682" y="213"/>
                  </a:lnTo>
                  <a:lnTo>
                    <a:pt x="680" y="213"/>
                  </a:lnTo>
                  <a:lnTo>
                    <a:pt x="678" y="213"/>
                  </a:lnTo>
                  <a:lnTo>
                    <a:pt x="676" y="213"/>
                  </a:lnTo>
                  <a:lnTo>
                    <a:pt x="676" y="211"/>
                  </a:lnTo>
                  <a:lnTo>
                    <a:pt x="676" y="209"/>
                  </a:lnTo>
                  <a:lnTo>
                    <a:pt x="676" y="211"/>
                  </a:lnTo>
                  <a:lnTo>
                    <a:pt x="674" y="211"/>
                  </a:lnTo>
                  <a:lnTo>
                    <a:pt x="674" y="213"/>
                  </a:lnTo>
                  <a:lnTo>
                    <a:pt x="672" y="213"/>
                  </a:lnTo>
                  <a:lnTo>
                    <a:pt x="671" y="213"/>
                  </a:lnTo>
                  <a:lnTo>
                    <a:pt x="671" y="211"/>
                  </a:lnTo>
                  <a:lnTo>
                    <a:pt x="669" y="211"/>
                  </a:lnTo>
                  <a:lnTo>
                    <a:pt x="667" y="211"/>
                  </a:lnTo>
                  <a:lnTo>
                    <a:pt x="665" y="211"/>
                  </a:lnTo>
                  <a:lnTo>
                    <a:pt x="663" y="211"/>
                  </a:lnTo>
                  <a:lnTo>
                    <a:pt x="663" y="209"/>
                  </a:lnTo>
                  <a:lnTo>
                    <a:pt x="663" y="207"/>
                  </a:lnTo>
                  <a:lnTo>
                    <a:pt x="665" y="205"/>
                  </a:lnTo>
                  <a:lnTo>
                    <a:pt x="667" y="205"/>
                  </a:lnTo>
                  <a:lnTo>
                    <a:pt x="669" y="205"/>
                  </a:lnTo>
                  <a:lnTo>
                    <a:pt x="669" y="204"/>
                  </a:lnTo>
                  <a:lnTo>
                    <a:pt x="669" y="205"/>
                  </a:lnTo>
                  <a:lnTo>
                    <a:pt x="669" y="204"/>
                  </a:lnTo>
                  <a:lnTo>
                    <a:pt x="671" y="204"/>
                  </a:lnTo>
                  <a:lnTo>
                    <a:pt x="669" y="204"/>
                  </a:lnTo>
                  <a:lnTo>
                    <a:pt x="667" y="204"/>
                  </a:lnTo>
                  <a:lnTo>
                    <a:pt x="665" y="204"/>
                  </a:lnTo>
                  <a:lnTo>
                    <a:pt x="665" y="202"/>
                  </a:lnTo>
                  <a:lnTo>
                    <a:pt x="667" y="202"/>
                  </a:lnTo>
                  <a:lnTo>
                    <a:pt x="667" y="200"/>
                  </a:lnTo>
                  <a:lnTo>
                    <a:pt x="669" y="200"/>
                  </a:lnTo>
                  <a:lnTo>
                    <a:pt x="669" y="198"/>
                  </a:lnTo>
                  <a:lnTo>
                    <a:pt x="669" y="196"/>
                  </a:lnTo>
                  <a:lnTo>
                    <a:pt x="671" y="196"/>
                  </a:lnTo>
                  <a:lnTo>
                    <a:pt x="671" y="194"/>
                  </a:lnTo>
                  <a:lnTo>
                    <a:pt x="672" y="194"/>
                  </a:lnTo>
                  <a:lnTo>
                    <a:pt x="674" y="194"/>
                  </a:lnTo>
                  <a:lnTo>
                    <a:pt x="676" y="194"/>
                  </a:lnTo>
                  <a:lnTo>
                    <a:pt x="676" y="192"/>
                  </a:lnTo>
                  <a:lnTo>
                    <a:pt x="678" y="192"/>
                  </a:lnTo>
                  <a:lnTo>
                    <a:pt x="680" y="192"/>
                  </a:lnTo>
                  <a:lnTo>
                    <a:pt x="678" y="192"/>
                  </a:lnTo>
                  <a:lnTo>
                    <a:pt x="678" y="190"/>
                  </a:lnTo>
                  <a:lnTo>
                    <a:pt x="676" y="190"/>
                  </a:lnTo>
                  <a:lnTo>
                    <a:pt x="676" y="192"/>
                  </a:lnTo>
                  <a:lnTo>
                    <a:pt x="676" y="190"/>
                  </a:lnTo>
                  <a:lnTo>
                    <a:pt x="676" y="192"/>
                  </a:lnTo>
                  <a:lnTo>
                    <a:pt x="674" y="192"/>
                  </a:lnTo>
                  <a:lnTo>
                    <a:pt x="672" y="192"/>
                  </a:lnTo>
                  <a:lnTo>
                    <a:pt x="671" y="192"/>
                  </a:lnTo>
                  <a:lnTo>
                    <a:pt x="671" y="190"/>
                  </a:lnTo>
                  <a:lnTo>
                    <a:pt x="671" y="188"/>
                  </a:lnTo>
                  <a:lnTo>
                    <a:pt x="671" y="186"/>
                  </a:lnTo>
                  <a:lnTo>
                    <a:pt x="671" y="184"/>
                  </a:lnTo>
                  <a:lnTo>
                    <a:pt x="671" y="186"/>
                  </a:lnTo>
                  <a:lnTo>
                    <a:pt x="669" y="186"/>
                  </a:lnTo>
                  <a:lnTo>
                    <a:pt x="671" y="186"/>
                  </a:lnTo>
                  <a:lnTo>
                    <a:pt x="669" y="186"/>
                  </a:lnTo>
                  <a:lnTo>
                    <a:pt x="669" y="188"/>
                  </a:lnTo>
                  <a:lnTo>
                    <a:pt x="669" y="190"/>
                  </a:lnTo>
                  <a:lnTo>
                    <a:pt x="669" y="192"/>
                  </a:lnTo>
                  <a:lnTo>
                    <a:pt x="667" y="192"/>
                  </a:lnTo>
                  <a:lnTo>
                    <a:pt x="667" y="194"/>
                  </a:lnTo>
                  <a:lnTo>
                    <a:pt x="665" y="196"/>
                  </a:lnTo>
                  <a:lnTo>
                    <a:pt x="665" y="198"/>
                  </a:lnTo>
                  <a:lnTo>
                    <a:pt x="663" y="198"/>
                  </a:lnTo>
                  <a:lnTo>
                    <a:pt x="663" y="200"/>
                  </a:lnTo>
                  <a:lnTo>
                    <a:pt x="661" y="200"/>
                  </a:lnTo>
                  <a:lnTo>
                    <a:pt x="661" y="198"/>
                  </a:lnTo>
                  <a:lnTo>
                    <a:pt x="661" y="196"/>
                  </a:lnTo>
                  <a:lnTo>
                    <a:pt x="661" y="194"/>
                  </a:lnTo>
                  <a:lnTo>
                    <a:pt x="659" y="194"/>
                  </a:lnTo>
                  <a:lnTo>
                    <a:pt x="659" y="192"/>
                  </a:lnTo>
                  <a:lnTo>
                    <a:pt x="657" y="192"/>
                  </a:lnTo>
                  <a:lnTo>
                    <a:pt x="657" y="194"/>
                  </a:lnTo>
                  <a:lnTo>
                    <a:pt x="659" y="194"/>
                  </a:lnTo>
                  <a:lnTo>
                    <a:pt x="659" y="196"/>
                  </a:lnTo>
                  <a:lnTo>
                    <a:pt x="659" y="198"/>
                  </a:lnTo>
                  <a:lnTo>
                    <a:pt x="659" y="200"/>
                  </a:lnTo>
                  <a:lnTo>
                    <a:pt x="659" y="202"/>
                  </a:lnTo>
                  <a:lnTo>
                    <a:pt x="659" y="204"/>
                  </a:lnTo>
                  <a:lnTo>
                    <a:pt x="657" y="204"/>
                  </a:lnTo>
                  <a:lnTo>
                    <a:pt x="657" y="205"/>
                  </a:lnTo>
                  <a:lnTo>
                    <a:pt x="655" y="205"/>
                  </a:lnTo>
                  <a:lnTo>
                    <a:pt x="655" y="207"/>
                  </a:lnTo>
                  <a:lnTo>
                    <a:pt x="653" y="207"/>
                  </a:lnTo>
                  <a:lnTo>
                    <a:pt x="651" y="207"/>
                  </a:lnTo>
                  <a:lnTo>
                    <a:pt x="649" y="207"/>
                  </a:lnTo>
                  <a:lnTo>
                    <a:pt x="649" y="209"/>
                  </a:lnTo>
                  <a:lnTo>
                    <a:pt x="647" y="209"/>
                  </a:lnTo>
                  <a:lnTo>
                    <a:pt x="646" y="209"/>
                  </a:lnTo>
                  <a:lnTo>
                    <a:pt x="644" y="209"/>
                  </a:lnTo>
                  <a:lnTo>
                    <a:pt x="644" y="207"/>
                  </a:lnTo>
                  <a:lnTo>
                    <a:pt x="642" y="207"/>
                  </a:lnTo>
                  <a:lnTo>
                    <a:pt x="642" y="205"/>
                  </a:lnTo>
                  <a:lnTo>
                    <a:pt x="644" y="204"/>
                  </a:lnTo>
                  <a:lnTo>
                    <a:pt x="644" y="202"/>
                  </a:lnTo>
                  <a:lnTo>
                    <a:pt x="646" y="200"/>
                  </a:lnTo>
                  <a:lnTo>
                    <a:pt x="646" y="198"/>
                  </a:lnTo>
                  <a:lnTo>
                    <a:pt x="646" y="196"/>
                  </a:lnTo>
                  <a:lnTo>
                    <a:pt x="644" y="198"/>
                  </a:lnTo>
                  <a:lnTo>
                    <a:pt x="644" y="200"/>
                  </a:lnTo>
                  <a:lnTo>
                    <a:pt x="642" y="200"/>
                  </a:lnTo>
                  <a:lnTo>
                    <a:pt x="640" y="200"/>
                  </a:lnTo>
                  <a:lnTo>
                    <a:pt x="640" y="198"/>
                  </a:lnTo>
                  <a:lnTo>
                    <a:pt x="640" y="196"/>
                  </a:lnTo>
                  <a:lnTo>
                    <a:pt x="638" y="196"/>
                  </a:lnTo>
                  <a:lnTo>
                    <a:pt x="638" y="198"/>
                  </a:lnTo>
                  <a:lnTo>
                    <a:pt x="640" y="198"/>
                  </a:lnTo>
                  <a:lnTo>
                    <a:pt x="638" y="198"/>
                  </a:lnTo>
                  <a:lnTo>
                    <a:pt x="638" y="200"/>
                  </a:lnTo>
                  <a:lnTo>
                    <a:pt x="638" y="202"/>
                  </a:lnTo>
                  <a:lnTo>
                    <a:pt x="638" y="204"/>
                  </a:lnTo>
                  <a:lnTo>
                    <a:pt x="636" y="204"/>
                  </a:lnTo>
                  <a:lnTo>
                    <a:pt x="636" y="205"/>
                  </a:lnTo>
                  <a:lnTo>
                    <a:pt x="634" y="205"/>
                  </a:lnTo>
                  <a:lnTo>
                    <a:pt x="632" y="205"/>
                  </a:lnTo>
                  <a:lnTo>
                    <a:pt x="634" y="204"/>
                  </a:lnTo>
                  <a:lnTo>
                    <a:pt x="632" y="204"/>
                  </a:lnTo>
                  <a:lnTo>
                    <a:pt x="632" y="202"/>
                  </a:lnTo>
                  <a:lnTo>
                    <a:pt x="630" y="202"/>
                  </a:lnTo>
                  <a:lnTo>
                    <a:pt x="630" y="200"/>
                  </a:lnTo>
                  <a:lnTo>
                    <a:pt x="628" y="198"/>
                  </a:lnTo>
                  <a:lnTo>
                    <a:pt x="628" y="196"/>
                  </a:lnTo>
                  <a:lnTo>
                    <a:pt x="630" y="196"/>
                  </a:lnTo>
                  <a:lnTo>
                    <a:pt x="632" y="196"/>
                  </a:lnTo>
                  <a:lnTo>
                    <a:pt x="632" y="194"/>
                  </a:lnTo>
                  <a:lnTo>
                    <a:pt x="630" y="194"/>
                  </a:lnTo>
                  <a:lnTo>
                    <a:pt x="628" y="194"/>
                  </a:lnTo>
                  <a:lnTo>
                    <a:pt x="628" y="192"/>
                  </a:lnTo>
                  <a:lnTo>
                    <a:pt x="630" y="192"/>
                  </a:lnTo>
                  <a:lnTo>
                    <a:pt x="630" y="190"/>
                  </a:lnTo>
                  <a:lnTo>
                    <a:pt x="630" y="188"/>
                  </a:lnTo>
                  <a:lnTo>
                    <a:pt x="632" y="188"/>
                  </a:lnTo>
                  <a:lnTo>
                    <a:pt x="630" y="188"/>
                  </a:lnTo>
                  <a:lnTo>
                    <a:pt x="628" y="188"/>
                  </a:lnTo>
                  <a:lnTo>
                    <a:pt x="626" y="188"/>
                  </a:lnTo>
                  <a:lnTo>
                    <a:pt x="624" y="188"/>
                  </a:lnTo>
                  <a:lnTo>
                    <a:pt x="624" y="190"/>
                  </a:lnTo>
                  <a:lnTo>
                    <a:pt x="623" y="190"/>
                  </a:lnTo>
                  <a:lnTo>
                    <a:pt x="621" y="190"/>
                  </a:lnTo>
                  <a:lnTo>
                    <a:pt x="621" y="188"/>
                  </a:lnTo>
                  <a:lnTo>
                    <a:pt x="621" y="186"/>
                  </a:lnTo>
                  <a:lnTo>
                    <a:pt x="619" y="186"/>
                  </a:lnTo>
                  <a:lnTo>
                    <a:pt x="621" y="186"/>
                  </a:lnTo>
                  <a:lnTo>
                    <a:pt x="619" y="186"/>
                  </a:lnTo>
                  <a:lnTo>
                    <a:pt x="617" y="186"/>
                  </a:lnTo>
                  <a:lnTo>
                    <a:pt x="617" y="184"/>
                  </a:lnTo>
                  <a:lnTo>
                    <a:pt x="615" y="184"/>
                  </a:lnTo>
                  <a:lnTo>
                    <a:pt x="615" y="182"/>
                  </a:lnTo>
                  <a:lnTo>
                    <a:pt x="613" y="182"/>
                  </a:lnTo>
                  <a:lnTo>
                    <a:pt x="613" y="180"/>
                  </a:lnTo>
                  <a:lnTo>
                    <a:pt x="611" y="180"/>
                  </a:lnTo>
                  <a:lnTo>
                    <a:pt x="611" y="179"/>
                  </a:lnTo>
                  <a:lnTo>
                    <a:pt x="611" y="177"/>
                  </a:lnTo>
                  <a:lnTo>
                    <a:pt x="613" y="177"/>
                  </a:lnTo>
                  <a:lnTo>
                    <a:pt x="613" y="175"/>
                  </a:lnTo>
                  <a:lnTo>
                    <a:pt x="615" y="175"/>
                  </a:lnTo>
                  <a:lnTo>
                    <a:pt x="615" y="173"/>
                  </a:lnTo>
                  <a:lnTo>
                    <a:pt x="615" y="171"/>
                  </a:lnTo>
                  <a:lnTo>
                    <a:pt x="617" y="171"/>
                  </a:lnTo>
                  <a:lnTo>
                    <a:pt x="619" y="171"/>
                  </a:lnTo>
                  <a:lnTo>
                    <a:pt x="619" y="169"/>
                  </a:lnTo>
                  <a:lnTo>
                    <a:pt x="621" y="169"/>
                  </a:lnTo>
                  <a:lnTo>
                    <a:pt x="621" y="167"/>
                  </a:lnTo>
                  <a:lnTo>
                    <a:pt x="623" y="167"/>
                  </a:lnTo>
                  <a:lnTo>
                    <a:pt x="624" y="167"/>
                  </a:lnTo>
                  <a:lnTo>
                    <a:pt x="626" y="167"/>
                  </a:lnTo>
                  <a:lnTo>
                    <a:pt x="628" y="167"/>
                  </a:lnTo>
                  <a:lnTo>
                    <a:pt x="628" y="169"/>
                  </a:lnTo>
                  <a:lnTo>
                    <a:pt x="630" y="169"/>
                  </a:lnTo>
                  <a:lnTo>
                    <a:pt x="632" y="169"/>
                  </a:lnTo>
                  <a:lnTo>
                    <a:pt x="632" y="171"/>
                  </a:lnTo>
                  <a:lnTo>
                    <a:pt x="634" y="171"/>
                  </a:lnTo>
                  <a:lnTo>
                    <a:pt x="636" y="171"/>
                  </a:lnTo>
                  <a:lnTo>
                    <a:pt x="638" y="171"/>
                  </a:lnTo>
                  <a:lnTo>
                    <a:pt x="638" y="173"/>
                  </a:lnTo>
                  <a:lnTo>
                    <a:pt x="640" y="173"/>
                  </a:lnTo>
                  <a:lnTo>
                    <a:pt x="642" y="173"/>
                  </a:lnTo>
                  <a:lnTo>
                    <a:pt x="644" y="173"/>
                  </a:lnTo>
                  <a:lnTo>
                    <a:pt x="644" y="171"/>
                  </a:lnTo>
                  <a:lnTo>
                    <a:pt x="646" y="171"/>
                  </a:lnTo>
                  <a:lnTo>
                    <a:pt x="647" y="171"/>
                  </a:lnTo>
                  <a:lnTo>
                    <a:pt x="649" y="171"/>
                  </a:lnTo>
                  <a:lnTo>
                    <a:pt x="649" y="169"/>
                  </a:lnTo>
                  <a:lnTo>
                    <a:pt x="649" y="171"/>
                  </a:lnTo>
                  <a:lnTo>
                    <a:pt x="651" y="171"/>
                  </a:lnTo>
                  <a:lnTo>
                    <a:pt x="651" y="169"/>
                  </a:lnTo>
                  <a:lnTo>
                    <a:pt x="653" y="169"/>
                  </a:lnTo>
                  <a:lnTo>
                    <a:pt x="653" y="171"/>
                  </a:lnTo>
                  <a:lnTo>
                    <a:pt x="655" y="171"/>
                  </a:lnTo>
                  <a:lnTo>
                    <a:pt x="655" y="169"/>
                  </a:lnTo>
                  <a:lnTo>
                    <a:pt x="657" y="169"/>
                  </a:lnTo>
                  <a:lnTo>
                    <a:pt x="657" y="167"/>
                  </a:lnTo>
                  <a:lnTo>
                    <a:pt x="659" y="167"/>
                  </a:lnTo>
                  <a:lnTo>
                    <a:pt x="661" y="167"/>
                  </a:lnTo>
                  <a:lnTo>
                    <a:pt x="661" y="165"/>
                  </a:lnTo>
                  <a:lnTo>
                    <a:pt x="659" y="165"/>
                  </a:lnTo>
                  <a:lnTo>
                    <a:pt x="657" y="165"/>
                  </a:lnTo>
                  <a:lnTo>
                    <a:pt x="657" y="167"/>
                  </a:lnTo>
                  <a:lnTo>
                    <a:pt x="655" y="167"/>
                  </a:lnTo>
                  <a:lnTo>
                    <a:pt x="653" y="167"/>
                  </a:lnTo>
                  <a:lnTo>
                    <a:pt x="651" y="167"/>
                  </a:lnTo>
                  <a:lnTo>
                    <a:pt x="651" y="165"/>
                  </a:lnTo>
                  <a:lnTo>
                    <a:pt x="649" y="165"/>
                  </a:lnTo>
                  <a:lnTo>
                    <a:pt x="649" y="167"/>
                  </a:lnTo>
                  <a:lnTo>
                    <a:pt x="649" y="165"/>
                  </a:lnTo>
                  <a:lnTo>
                    <a:pt x="649" y="167"/>
                  </a:lnTo>
                  <a:lnTo>
                    <a:pt x="647" y="167"/>
                  </a:lnTo>
                  <a:lnTo>
                    <a:pt x="646" y="167"/>
                  </a:lnTo>
                  <a:lnTo>
                    <a:pt x="644" y="167"/>
                  </a:lnTo>
                  <a:lnTo>
                    <a:pt x="642" y="167"/>
                  </a:lnTo>
                  <a:lnTo>
                    <a:pt x="640" y="167"/>
                  </a:lnTo>
                  <a:lnTo>
                    <a:pt x="638" y="167"/>
                  </a:lnTo>
                  <a:lnTo>
                    <a:pt x="636" y="167"/>
                  </a:lnTo>
                  <a:lnTo>
                    <a:pt x="636" y="165"/>
                  </a:lnTo>
                  <a:lnTo>
                    <a:pt x="634" y="165"/>
                  </a:lnTo>
                  <a:lnTo>
                    <a:pt x="632" y="165"/>
                  </a:lnTo>
                  <a:lnTo>
                    <a:pt x="632" y="163"/>
                  </a:lnTo>
                  <a:lnTo>
                    <a:pt x="630" y="163"/>
                  </a:lnTo>
                  <a:lnTo>
                    <a:pt x="628" y="163"/>
                  </a:lnTo>
                  <a:lnTo>
                    <a:pt x="628" y="161"/>
                  </a:lnTo>
                  <a:lnTo>
                    <a:pt x="626" y="161"/>
                  </a:lnTo>
                  <a:lnTo>
                    <a:pt x="626" y="159"/>
                  </a:lnTo>
                  <a:lnTo>
                    <a:pt x="626" y="157"/>
                  </a:lnTo>
                  <a:lnTo>
                    <a:pt x="628" y="157"/>
                  </a:lnTo>
                  <a:lnTo>
                    <a:pt x="628" y="156"/>
                  </a:lnTo>
                  <a:lnTo>
                    <a:pt x="630" y="156"/>
                  </a:lnTo>
                  <a:lnTo>
                    <a:pt x="630" y="154"/>
                  </a:lnTo>
                  <a:lnTo>
                    <a:pt x="632" y="154"/>
                  </a:lnTo>
                  <a:lnTo>
                    <a:pt x="632" y="152"/>
                  </a:lnTo>
                  <a:lnTo>
                    <a:pt x="634" y="152"/>
                  </a:lnTo>
                  <a:lnTo>
                    <a:pt x="636" y="150"/>
                  </a:lnTo>
                  <a:lnTo>
                    <a:pt x="638" y="150"/>
                  </a:lnTo>
                  <a:lnTo>
                    <a:pt x="638" y="152"/>
                  </a:lnTo>
                  <a:lnTo>
                    <a:pt x="640" y="152"/>
                  </a:lnTo>
                  <a:lnTo>
                    <a:pt x="642" y="152"/>
                  </a:lnTo>
                  <a:lnTo>
                    <a:pt x="644" y="152"/>
                  </a:lnTo>
                  <a:lnTo>
                    <a:pt x="644" y="154"/>
                  </a:lnTo>
                  <a:lnTo>
                    <a:pt x="646" y="154"/>
                  </a:lnTo>
                  <a:lnTo>
                    <a:pt x="647" y="154"/>
                  </a:lnTo>
                  <a:lnTo>
                    <a:pt x="649" y="154"/>
                  </a:lnTo>
                  <a:lnTo>
                    <a:pt x="651" y="154"/>
                  </a:lnTo>
                  <a:lnTo>
                    <a:pt x="653" y="154"/>
                  </a:lnTo>
                  <a:lnTo>
                    <a:pt x="655" y="154"/>
                  </a:lnTo>
                  <a:lnTo>
                    <a:pt x="655" y="156"/>
                  </a:lnTo>
                  <a:lnTo>
                    <a:pt x="657" y="156"/>
                  </a:lnTo>
                  <a:lnTo>
                    <a:pt x="659" y="156"/>
                  </a:lnTo>
                  <a:lnTo>
                    <a:pt x="661" y="156"/>
                  </a:lnTo>
                  <a:lnTo>
                    <a:pt x="663" y="156"/>
                  </a:lnTo>
                  <a:lnTo>
                    <a:pt x="663" y="157"/>
                  </a:lnTo>
                  <a:lnTo>
                    <a:pt x="665" y="157"/>
                  </a:lnTo>
                  <a:lnTo>
                    <a:pt x="667" y="157"/>
                  </a:lnTo>
                  <a:lnTo>
                    <a:pt x="669" y="157"/>
                  </a:lnTo>
                  <a:lnTo>
                    <a:pt x="669" y="156"/>
                  </a:lnTo>
                  <a:lnTo>
                    <a:pt x="667" y="156"/>
                  </a:lnTo>
                  <a:lnTo>
                    <a:pt x="665" y="156"/>
                  </a:lnTo>
                  <a:lnTo>
                    <a:pt x="665" y="154"/>
                  </a:lnTo>
                  <a:lnTo>
                    <a:pt x="665" y="156"/>
                  </a:lnTo>
                  <a:lnTo>
                    <a:pt x="663" y="156"/>
                  </a:lnTo>
                  <a:lnTo>
                    <a:pt x="663" y="154"/>
                  </a:lnTo>
                  <a:lnTo>
                    <a:pt x="661" y="154"/>
                  </a:lnTo>
                  <a:lnTo>
                    <a:pt x="659" y="154"/>
                  </a:lnTo>
                  <a:lnTo>
                    <a:pt x="657" y="154"/>
                  </a:lnTo>
                  <a:lnTo>
                    <a:pt x="657" y="152"/>
                  </a:lnTo>
                  <a:lnTo>
                    <a:pt x="655" y="152"/>
                  </a:lnTo>
                  <a:lnTo>
                    <a:pt x="653" y="152"/>
                  </a:lnTo>
                  <a:lnTo>
                    <a:pt x="651" y="152"/>
                  </a:lnTo>
                  <a:lnTo>
                    <a:pt x="649" y="152"/>
                  </a:lnTo>
                  <a:lnTo>
                    <a:pt x="649" y="150"/>
                  </a:lnTo>
                  <a:lnTo>
                    <a:pt x="647" y="150"/>
                  </a:lnTo>
                  <a:lnTo>
                    <a:pt x="646" y="150"/>
                  </a:lnTo>
                  <a:lnTo>
                    <a:pt x="646" y="148"/>
                  </a:lnTo>
                  <a:lnTo>
                    <a:pt x="644" y="148"/>
                  </a:lnTo>
                  <a:lnTo>
                    <a:pt x="642" y="148"/>
                  </a:lnTo>
                  <a:lnTo>
                    <a:pt x="642" y="146"/>
                  </a:lnTo>
                  <a:lnTo>
                    <a:pt x="640" y="146"/>
                  </a:lnTo>
                  <a:lnTo>
                    <a:pt x="640" y="144"/>
                  </a:lnTo>
                  <a:lnTo>
                    <a:pt x="642" y="144"/>
                  </a:lnTo>
                  <a:lnTo>
                    <a:pt x="642" y="142"/>
                  </a:lnTo>
                  <a:lnTo>
                    <a:pt x="644" y="142"/>
                  </a:lnTo>
                  <a:lnTo>
                    <a:pt x="646" y="142"/>
                  </a:lnTo>
                  <a:lnTo>
                    <a:pt x="647" y="142"/>
                  </a:lnTo>
                  <a:lnTo>
                    <a:pt x="647" y="140"/>
                  </a:lnTo>
                  <a:lnTo>
                    <a:pt x="646" y="140"/>
                  </a:lnTo>
                  <a:lnTo>
                    <a:pt x="647" y="140"/>
                  </a:lnTo>
                  <a:lnTo>
                    <a:pt x="647" y="138"/>
                  </a:lnTo>
                  <a:lnTo>
                    <a:pt x="646" y="138"/>
                  </a:lnTo>
                  <a:lnTo>
                    <a:pt x="644" y="138"/>
                  </a:lnTo>
                  <a:lnTo>
                    <a:pt x="646" y="136"/>
                  </a:lnTo>
                  <a:lnTo>
                    <a:pt x="646" y="134"/>
                  </a:lnTo>
                  <a:lnTo>
                    <a:pt x="647" y="134"/>
                  </a:lnTo>
                  <a:lnTo>
                    <a:pt x="647" y="132"/>
                  </a:lnTo>
                  <a:lnTo>
                    <a:pt x="649" y="132"/>
                  </a:lnTo>
                  <a:lnTo>
                    <a:pt x="651" y="132"/>
                  </a:lnTo>
                  <a:lnTo>
                    <a:pt x="651" y="131"/>
                  </a:lnTo>
                  <a:lnTo>
                    <a:pt x="653" y="131"/>
                  </a:lnTo>
                  <a:lnTo>
                    <a:pt x="655" y="131"/>
                  </a:lnTo>
                  <a:lnTo>
                    <a:pt x="657" y="131"/>
                  </a:lnTo>
                  <a:lnTo>
                    <a:pt x="657" y="132"/>
                  </a:lnTo>
                  <a:lnTo>
                    <a:pt x="659" y="132"/>
                  </a:lnTo>
                  <a:lnTo>
                    <a:pt x="661" y="132"/>
                  </a:lnTo>
                  <a:lnTo>
                    <a:pt x="661" y="134"/>
                  </a:lnTo>
                  <a:lnTo>
                    <a:pt x="663" y="134"/>
                  </a:lnTo>
                  <a:lnTo>
                    <a:pt x="665" y="134"/>
                  </a:lnTo>
                  <a:lnTo>
                    <a:pt x="667" y="134"/>
                  </a:lnTo>
                  <a:lnTo>
                    <a:pt x="667" y="136"/>
                  </a:lnTo>
                  <a:lnTo>
                    <a:pt x="669" y="136"/>
                  </a:lnTo>
                  <a:lnTo>
                    <a:pt x="669" y="138"/>
                  </a:lnTo>
                  <a:lnTo>
                    <a:pt x="671" y="138"/>
                  </a:lnTo>
                  <a:lnTo>
                    <a:pt x="671" y="140"/>
                  </a:lnTo>
                  <a:lnTo>
                    <a:pt x="672" y="140"/>
                  </a:lnTo>
                  <a:lnTo>
                    <a:pt x="674" y="140"/>
                  </a:lnTo>
                  <a:lnTo>
                    <a:pt x="676" y="140"/>
                  </a:lnTo>
                  <a:lnTo>
                    <a:pt x="676" y="142"/>
                  </a:lnTo>
                  <a:lnTo>
                    <a:pt x="676" y="140"/>
                  </a:lnTo>
                  <a:lnTo>
                    <a:pt x="676" y="142"/>
                  </a:lnTo>
                  <a:lnTo>
                    <a:pt x="676" y="140"/>
                  </a:lnTo>
                  <a:lnTo>
                    <a:pt x="674" y="140"/>
                  </a:lnTo>
                  <a:lnTo>
                    <a:pt x="672" y="140"/>
                  </a:lnTo>
                  <a:lnTo>
                    <a:pt x="672" y="138"/>
                  </a:lnTo>
                  <a:lnTo>
                    <a:pt x="672" y="136"/>
                  </a:lnTo>
                  <a:lnTo>
                    <a:pt x="671" y="136"/>
                  </a:lnTo>
                  <a:lnTo>
                    <a:pt x="672" y="136"/>
                  </a:lnTo>
                  <a:lnTo>
                    <a:pt x="671" y="136"/>
                  </a:lnTo>
                  <a:lnTo>
                    <a:pt x="671" y="134"/>
                  </a:lnTo>
                  <a:lnTo>
                    <a:pt x="669" y="134"/>
                  </a:lnTo>
                  <a:lnTo>
                    <a:pt x="667" y="134"/>
                  </a:lnTo>
                  <a:lnTo>
                    <a:pt x="667" y="132"/>
                  </a:lnTo>
                  <a:lnTo>
                    <a:pt x="665" y="132"/>
                  </a:lnTo>
                  <a:lnTo>
                    <a:pt x="663" y="132"/>
                  </a:lnTo>
                  <a:lnTo>
                    <a:pt x="663" y="131"/>
                  </a:lnTo>
                  <a:lnTo>
                    <a:pt x="661" y="131"/>
                  </a:lnTo>
                  <a:lnTo>
                    <a:pt x="661" y="129"/>
                  </a:lnTo>
                  <a:lnTo>
                    <a:pt x="661" y="127"/>
                  </a:lnTo>
                  <a:lnTo>
                    <a:pt x="663" y="127"/>
                  </a:lnTo>
                  <a:lnTo>
                    <a:pt x="663" y="125"/>
                  </a:lnTo>
                  <a:lnTo>
                    <a:pt x="663" y="123"/>
                  </a:lnTo>
                  <a:lnTo>
                    <a:pt x="665" y="123"/>
                  </a:lnTo>
                  <a:lnTo>
                    <a:pt x="667" y="123"/>
                  </a:lnTo>
                  <a:lnTo>
                    <a:pt x="667" y="121"/>
                  </a:lnTo>
                  <a:lnTo>
                    <a:pt x="669" y="121"/>
                  </a:lnTo>
                  <a:lnTo>
                    <a:pt x="671" y="121"/>
                  </a:lnTo>
                  <a:lnTo>
                    <a:pt x="671" y="119"/>
                  </a:lnTo>
                  <a:lnTo>
                    <a:pt x="672" y="119"/>
                  </a:lnTo>
                  <a:lnTo>
                    <a:pt x="671" y="119"/>
                  </a:lnTo>
                  <a:lnTo>
                    <a:pt x="671" y="121"/>
                  </a:lnTo>
                  <a:lnTo>
                    <a:pt x="672" y="121"/>
                  </a:lnTo>
                  <a:lnTo>
                    <a:pt x="674" y="121"/>
                  </a:lnTo>
                  <a:lnTo>
                    <a:pt x="676" y="121"/>
                  </a:lnTo>
                  <a:lnTo>
                    <a:pt x="678" y="121"/>
                  </a:lnTo>
                  <a:lnTo>
                    <a:pt x="676" y="121"/>
                  </a:lnTo>
                  <a:lnTo>
                    <a:pt x="678" y="121"/>
                  </a:lnTo>
                  <a:lnTo>
                    <a:pt x="680" y="121"/>
                  </a:lnTo>
                  <a:lnTo>
                    <a:pt x="680" y="119"/>
                  </a:lnTo>
                  <a:close/>
                  <a:moveTo>
                    <a:pt x="649" y="48"/>
                  </a:moveTo>
                  <a:lnTo>
                    <a:pt x="649" y="50"/>
                  </a:lnTo>
                  <a:lnTo>
                    <a:pt x="649" y="48"/>
                  </a:lnTo>
                  <a:lnTo>
                    <a:pt x="649" y="50"/>
                  </a:lnTo>
                  <a:lnTo>
                    <a:pt x="649" y="48"/>
                  </a:lnTo>
                  <a:lnTo>
                    <a:pt x="651" y="48"/>
                  </a:lnTo>
                  <a:lnTo>
                    <a:pt x="649" y="48"/>
                  </a:lnTo>
                  <a:lnTo>
                    <a:pt x="651" y="48"/>
                  </a:lnTo>
                  <a:lnTo>
                    <a:pt x="651" y="50"/>
                  </a:lnTo>
                  <a:lnTo>
                    <a:pt x="653" y="50"/>
                  </a:lnTo>
                  <a:lnTo>
                    <a:pt x="655" y="50"/>
                  </a:lnTo>
                  <a:lnTo>
                    <a:pt x="655" y="52"/>
                  </a:lnTo>
                  <a:lnTo>
                    <a:pt x="657" y="52"/>
                  </a:lnTo>
                  <a:lnTo>
                    <a:pt x="659" y="52"/>
                  </a:lnTo>
                  <a:lnTo>
                    <a:pt x="661" y="52"/>
                  </a:lnTo>
                  <a:lnTo>
                    <a:pt x="663" y="52"/>
                  </a:lnTo>
                  <a:lnTo>
                    <a:pt x="661" y="52"/>
                  </a:lnTo>
                  <a:lnTo>
                    <a:pt x="661" y="54"/>
                  </a:lnTo>
                  <a:lnTo>
                    <a:pt x="659" y="54"/>
                  </a:lnTo>
                  <a:lnTo>
                    <a:pt x="661" y="54"/>
                  </a:lnTo>
                  <a:lnTo>
                    <a:pt x="663" y="54"/>
                  </a:lnTo>
                  <a:lnTo>
                    <a:pt x="663" y="56"/>
                  </a:lnTo>
                  <a:lnTo>
                    <a:pt x="663" y="58"/>
                  </a:lnTo>
                  <a:lnTo>
                    <a:pt x="665" y="58"/>
                  </a:lnTo>
                  <a:lnTo>
                    <a:pt x="667" y="58"/>
                  </a:lnTo>
                  <a:lnTo>
                    <a:pt x="665" y="58"/>
                  </a:lnTo>
                  <a:lnTo>
                    <a:pt x="667" y="58"/>
                  </a:lnTo>
                  <a:lnTo>
                    <a:pt x="665" y="58"/>
                  </a:lnTo>
                  <a:lnTo>
                    <a:pt x="665" y="60"/>
                  </a:lnTo>
                  <a:lnTo>
                    <a:pt x="667" y="60"/>
                  </a:lnTo>
                  <a:lnTo>
                    <a:pt x="667" y="61"/>
                  </a:lnTo>
                  <a:lnTo>
                    <a:pt x="669" y="61"/>
                  </a:lnTo>
                  <a:lnTo>
                    <a:pt x="671" y="61"/>
                  </a:lnTo>
                  <a:lnTo>
                    <a:pt x="671" y="60"/>
                  </a:lnTo>
                  <a:lnTo>
                    <a:pt x="671" y="58"/>
                  </a:lnTo>
                  <a:lnTo>
                    <a:pt x="671" y="60"/>
                  </a:lnTo>
                  <a:lnTo>
                    <a:pt x="671" y="58"/>
                  </a:lnTo>
                  <a:lnTo>
                    <a:pt x="671" y="60"/>
                  </a:lnTo>
                  <a:lnTo>
                    <a:pt x="672" y="60"/>
                  </a:lnTo>
                  <a:lnTo>
                    <a:pt x="672" y="61"/>
                  </a:lnTo>
                  <a:lnTo>
                    <a:pt x="674" y="61"/>
                  </a:lnTo>
                  <a:lnTo>
                    <a:pt x="674" y="60"/>
                  </a:lnTo>
                  <a:lnTo>
                    <a:pt x="676" y="60"/>
                  </a:lnTo>
                  <a:lnTo>
                    <a:pt x="678" y="60"/>
                  </a:lnTo>
                  <a:lnTo>
                    <a:pt x="678" y="58"/>
                  </a:lnTo>
                  <a:lnTo>
                    <a:pt x="676" y="58"/>
                  </a:lnTo>
                  <a:lnTo>
                    <a:pt x="674" y="58"/>
                  </a:lnTo>
                  <a:lnTo>
                    <a:pt x="676" y="58"/>
                  </a:lnTo>
                  <a:lnTo>
                    <a:pt x="676" y="56"/>
                  </a:lnTo>
                  <a:lnTo>
                    <a:pt x="674" y="56"/>
                  </a:lnTo>
                  <a:lnTo>
                    <a:pt x="672" y="56"/>
                  </a:lnTo>
                  <a:lnTo>
                    <a:pt x="674" y="56"/>
                  </a:lnTo>
                  <a:lnTo>
                    <a:pt x="674" y="54"/>
                  </a:lnTo>
                  <a:lnTo>
                    <a:pt x="672" y="54"/>
                  </a:lnTo>
                  <a:lnTo>
                    <a:pt x="674" y="54"/>
                  </a:lnTo>
                  <a:lnTo>
                    <a:pt x="672" y="54"/>
                  </a:lnTo>
                  <a:lnTo>
                    <a:pt x="672" y="52"/>
                  </a:lnTo>
                  <a:lnTo>
                    <a:pt x="674" y="52"/>
                  </a:lnTo>
                  <a:lnTo>
                    <a:pt x="674" y="50"/>
                  </a:lnTo>
                  <a:lnTo>
                    <a:pt x="674" y="52"/>
                  </a:lnTo>
                  <a:lnTo>
                    <a:pt x="676" y="52"/>
                  </a:lnTo>
                  <a:lnTo>
                    <a:pt x="678" y="52"/>
                  </a:lnTo>
                  <a:lnTo>
                    <a:pt x="676" y="52"/>
                  </a:lnTo>
                  <a:lnTo>
                    <a:pt x="678" y="52"/>
                  </a:lnTo>
                  <a:lnTo>
                    <a:pt x="678" y="50"/>
                  </a:lnTo>
                  <a:lnTo>
                    <a:pt x="680" y="50"/>
                  </a:lnTo>
                  <a:lnTo>
                    <a:pt x="678" y="50"/>
                  </a:lnTo>
                  <a:lnTo>
                    <a:pt x="678" y="48"/>
                  </a:lnTo>
                  <a:lnTo>
                    <a:pt x="678" y="50"/>
                  </a:lnTo>
                  <a:lnTo>
                    <a:pt x="680" y="50"/>
                  </a:lnTo>
                  <a:lnTo>
                    <a:pt x="682" y="50"/>
                  </a:lnTo>
                  <a:lnTo>
                    <a:pt x="684" y="50"/>
                  </a:lnTo>
                  <a:lnTo>
                    <a:pt x="684" y="52"/>
                  </a:lnTo>
                  <a:lnTo>
                    <a:pt x="686" y="52"/>
                  </a:lnTo>
                  <a:lnTo>
                    <a:pt x="686" y="50"/>
                  </a:lnTo>
                  <a:lnTo>
                    <a:pt x="686" y="52"/>
                  </a:lnTo>
                  <a:lnTo>
                    <a:pt x="684" y="52"/>
                  </a:lnTo>
                  <a:lnTo>
                    <a:pt x="686" y="52"/>
                  </a:lnTo>
                  <a:lnTo>
                    <a:pt x="686" y="54"/>
                  </a:lnTo>
                  <a:lnTo>
                    <a:pt x="688" y="54"/>
                  </a:lnTo>
                  <a:lnTo>
                    <a:pt x="688" y="56"/>
                  </a:lnTo>
                  <a:lnTo>
                    <a:pt x="686" y="56"/>
                  </a:lnTo>
                  <a:lnTo>
                    <a:pt x="686" y="58"/>
                  </a:lnTo>
                  <a:lnTo>
                    <a:pt x="688" y="58"/>
                  </a:lnTo>
                  <a:lnTo>
                    <a:pt x="688" y="60"/>
                  </a:lnTo>
                  <a:lnTo>
                    <a:pt x="690" y="60"/>
                  </a:lnTo>
                  <a:lnTo>
                    <a:pt x="688" y="60"/>
                  </a:lnTo>
                  <a:lnTo>
                    <a:pt x="690" y="60"/>
                  </a:lnTo>
                  <a:lnTo>
                    <a:pt x="690" y="61"/>
                  </a:lnTo>
                  <a:lnTo>
                    <a:pt x="690" y="63"/>
                  </a:lnTo>
                  <a:lnTo>
                    <a:pt x="692" y="65"/>
                  </a:lnTo>
                  <a:lnTo>
                    <a:pt x="692" y="67"/>
                  </a:lnTo>
                  <a:lnTo>
                    <a:pt x="692" y="69"/>
                  </a:lnTo>
                  <a:lnTo>
                    <a:pt x="690" y="69"/>
                  </a:lnTo>
                  <a:lnTo>
                    <a:pt x="690" y="71"/>
                  </a:lnTo>
                  <a:lnTo>
                    <a:pt x="688" y="71"/>
                  </a:lnTo>
                  <a:lnTo>
                    <a:pt x="686" y="71"/>
                  </a:lnTo>
                  <a:lnTo>
                    <a:pt x="684" y="71"/>
                  </a:lnTo>
                  <a:lnTo>
                    <a:pt x="684" y="73"/>
                  </a:lnTo>
                  <a:lnTo>
                    <a:pt x="682" y="73"/>
                  </a:lnTo>
                  <a:lnTo>
                    <a:pt x="682" y="71"/>
                  </a:lnTo>
                  <a:lnTo>
                    <a:pt x="682" y="73"/>
                  </a:lnTo>
                  <a:lnTo>
                    <a:pt x="680" y="73"/>
                  </a:lnTo>
                  <a:lnTo>
                    <a:pt x="678" y="73"/>
                  </a:lnTo>
                  <a:lnTo>
                    <a:pt x="678" y="71"/>
                  </a:lnTo>
                  <a:lnTo>
                    <a:pt x="676" y="71"/>
                  </a:lnTo>
                  <a:lnTo>
                    <a:pt x="678" y="71"/>
                  </a:lnTo>
                  <a:lnTo>
                    <a:pt x="678" y="73"/>
                  </a:lnTo>
                  <a:lnTo>
                    <a:pt x="676" y="73"/>
                  </a:lnTo>
                  <a:lnTo>
                    <a:pt x="678" y="73"/>
                  </a:lnTo>
                  <a:lnTo>
                    <a:pt x="678" y="75"/>
                  </a:lnTo>
                  <a:lnTo>
                    <a:pt x="676" y="75"/>
                  </a:lnTo>
                  <a:lnTo>
                    <a:pt x="674" y="75"/>
                  </a:lnTo>
                  <a:lnTo>
                    <a:pt x="674" y="73"/>
                  </a:lnTo>
                  <a:lnTo>
                    <a:pt x="674" y="75"/>
                  </a:lnTo>
                  <a:lnTo>
                    <a:pt x="674" y="77"/>
                  </a:lnTo>
                  <a:lnTo>
                    <a:pt x="676" y="77"/>
                  </a:lnTo>
                  <a:lnTo>
                    <a:pt x="674" y="77"/>
                  </a:lnTo>
                  <a:lnTo>
                    <a:pt x="674" y="79"/>
                  </a:lnTo>
                  <a:lnTo>
                    <a:pt x="674" y="81"/>
                  </a:lnTo>
                  <a:lnTo>
                    <a:pt x="674" y="83"/>
                  </a:lnTo>
                  <a:lnTo>
                    <a:pt x="676" y="83"/>
                  </a:lnTo>
                  <a:lnTo>
                    <a:pt x="676" y="84"/>
                  </a:lnTo>
                  <a:lnTo>
                    <a:pt x="676" y="86"/>
                  </a:lnTo>
                  <a:lnTo>
                    <a:pt x="678" y="86"/>
                  </a:lnTo>
                  <a:lnTo>
                    <a:pt x="678" y="88"/>
                  </a:lnTo>
                  <a:lnTo>
                    <a:pt x="678" y="90"/>
                  </a:lnTo>
                  <a:lnTo>
                    <a:pt x="676" y="90"/>
                  </a:lnTo>
                  <a:lnTo>
                    <a:pt x="674" y="90"/>
                  </a:lnTo>
                  <a:lnTo>
                    <a:pt x="672" y="90"/>
                  </a:lnTo>
                  <a:lnTo>
                    <a:pt x="672" y="88"/>
                  </a:lnTo>
                  <a:lnTo>
                    <a:pt x="672" y="86"/>
                  </a:lnTo>
                  <a:lnTo>
                    <a:pt x="671" y="86"/>
                  </a:lnTo>
                  <a:lnTo>
                    <a:pt x="671" y="88"/>
                  </a:lnTo>
                  <a:lnTo>
                    <a:pt x="671" y="90"/>
                  </a:lnTo>
                  <a:lnTo>
                    <a:pt x="671" y="92"/>
                  </a:lnTo>
                  <a:lnTo>
                    <a:pt x="672" y="94"/>
                  </a:lnTo>
                  <a:lnTo>
                    <a:pt x="672" y="96"/>
                  </a:lnTo>
                  <a:lnTo>
                    <a:pt x="672" y="98"/>
                  </a:lnTo>
                  <a:lnTo>
                    <a:pt x="671" y="98"/>
                  </a:lnTo>
                  <a:lnTo>
                    <a:pt x="672" y="98"/>
                  </a:lnTo>
                  <a:lnTo>
                    <a:pt x="672" y="100"/>
                  </a:lnTo>
                  <a:lnTo>
                    <a:pt x="671" y="100"/>
                  </a:lnTo>
                  <a:lnTo>
                    <a:pt x="671" y="102"/>
                  </a:lnTo>
                  <a:lnTo>
                    <a:pt x="671" y="104"/>
                  </a:lnTo>
                  <a:lnTo>
                    <a:pt x="669" y="104"/>
                  </a:lnTo>
                  <a:lnTo>
                    <a:pt x="669" y="106"/>
                  </a:lnTo>
                  <a:lnTo>
                    <a:pt x="667" y="106"/>
                  </a:lnTo>
                  <a:lnTo>
                    <a:pt x="667" y="108"/>
                  </a:lnTo>
                  <a:lnTo>
                    <a:pt x="665" y="108"/>
                  </a:lnTo>
                  <a:lnTo>
                    <a:pt x="663" y="108"/>
                  </a:lnTo>
                  <a:lnTo>
                    <a:pt x="661" y="108"/>
                  </a:lnTo>
                  <a:lnTo>
                    <a:pt x="659" y="108"/>
                  </a:lnTo>
                  <a:lnTo>
                    <a:pt x="657" y="108"/>
                  </a:lnTo>
                  <a:lnTo>
                    <a:pt x="657" y="106"/>
                  </a:lnTo>
                  <a:lnTo>
                    <a:pt x="655" y="106"/>
                  </a:lnTo>
                  <a:lnTo>
                    <a:pt x="655" y="108"/>
                  </a:lnTo>
                  <a:lnTo>
                    <a:pt x="655" y="106"/>
                  </a:lnTo>
                  <a:lnTo>
                    <a:pt x="655" y="108"/>
                  </a:lnTo>
                  <a:lnTo>
                    <a:pt x="655" y="106"/>
                  </a:lnTo>
                  <a:lnTo>
                    <a:pt x="653" y="106"/>
                  </a:lnTo>
                  <a:lnTo>
                    <a:pt x="651" y="106"/>
                  </a:lnTo>
                  <a:lnTo>
                    <a:pt x="651" y="108"/>
                  </a:lnTo>
                  <a:lnTo>
                    <a:pt x="651" y="109"/>
                  </a:lnTo>
                  <a:lnTo>
                    <a:pt x="651" y="111"/>
                  </a:lnTo>
                  <a:lnTo>
                    <a:pt x="649" y="111"/>
                  </a:lnTo>
                  <a:lnTo>
                    <a:pt x="649" y="113"/>
                  </a:lnTo>
                  <a:lnTo>
                    <a:pt x="649" y="115"/>
                  </a:lnTo>
                  <a:lnTo>
                    <a:pt x="649" y="117"/>
                  </a:lnTo>
                  <a:lnTo>
                    <a:pt x="647" y="117"/>
                  </a:lnTo>
                  <a:lnTo>
                    <a:pt x="647" y="119"/>
                  </a:lnTo>
                  <a:lnTo>
                    <a:pt x="646" y="119"/>
                  </a:lnTo>
                  <a:lnTo>
                    <a:pt x="644" y="119"/>
                  </a:lnTo>
                  <a:lnTo>
                    <a:pt x="644" y="121"/>
                  </a:lnTo>
                  <a:lnTo>
                    <a:pt x="644" y="119"/>
                  </a:lnTo>
                  <a:lnTo>
                    <a:pt x="642" y="119"/>
                  </a:lnTo>
                  <a:lnTo>
                    <a:pt x="642" y="121"/>
                  </a:lnTo>
                  <a:lnTo>
                    <a:pt x="640" y="121"/>
                  </a:lnTo>
                  <a:lnTo>
                    <a:pt x="640" y="119"/>
                  </a:lnTo>
                  <a:lnTo>
                    <a:pt x="638" y="119"/>
                  </a:lnTo>
                  <a:lnTo>
                    <a:pt x="638" y="117"/>
                  </a:lnTo>
                  <a:lnTo>
                    <a:pt x="638" y="115"/>
                  </a:lnTo>
                  <a:lnTo>
                    <a:pt x="636" y="115"/>
                  </a:lnTo>
                  <a:lnTo>
                    <a:pt x="636" y="113"/>
                  </a:lnTo>
                  <a:lnTo>
                    <a:pt x="636" y="111"/>
                  </a:lnTo>
                  <a:lnTo>
                    <a:pt x="636" y="109"/>
                  </a:lnTo>
                  <a:lnTo>
                    <a:pt x="636" y="108"/>
                  </a:lnTo>
                  <a:lnTo>
                    <a:pt x="634" y="108"/>
                  </a:lnTo>
                  <a:lnTo>
                    <a:pt x="636" y="108"/>
                  </a:lnTo>
                  <a:lnTo>
                    <a:pt x="636" y="106"/>
                  </a:lnTo>
                  <a:lnTo>
                    <a:pt x="636" y="104"/>
                  </a:lnTo>
                  <a:lnTo>
                    <a:pt x="638" y="104"/>
                  </a:lnTo>
                  <a:lnTo>
                    <a:pt x="636" y="104"/>
                  </a:lnTo>
                  <a:lnTo>
                    <a:pt x="638" y="104"/>
                  </a:lnTo>
                  <a:lnTo>
                    <a:pt x="636" y="104"/>
                  </a:lnTo>
                  <a:lnTo>
                    <a:pt x="638" y="104"/>
                  </a:lnTo>
                  <a:lnTo>
                    <a:pt x="638" y="102"/>
                  </a:lnTo>
                  <a:lnTo>
                    <a:pt x="640" y="102"/>
                  </a:lnTo>
                  <a:lnTo>
                    <a:pt x="640" y="100"/>
                  </a:lnTo>
                  <a:lnTo>
                    <a:pt x="640" y="98"/>
                  </a:lnTo>
                  <a:lnTo>
                    <a:pt x="642" y="98"/>
                  </a:lnTo>
                  <a:lnTo>
                    <a:pt x="640" y="98"/>
                  </a:lnTo>
                  <a:lnTo>
                    <a:pt x="642" y="98"/>
                  </a:lnTo>
                  <a:lnTo>
                    <a:pt x="642" y="96"/>
                  </a:lnTo>
                  <a:lnTo>
                    <a:pt x="642" y="94"/>
                  </a:lnTo>
                  <a:lnTo>
                    <a:pt x="644" y="94"/>
                  </a:lnTo>
                  <a:lnTo>
                    <a:pt x="644" y="92"/>
                  </a:lnTo>
                  <a:lnTo>
                    <a:pt x="646" y="92"/>
                  </a:lnTo>
                  <a:lnTo>
                    <a:pt x="646" y="90"/>
                  </a:lnTo>
                  <a:lnTo>
                    <a:pt x="647" y="90"/>
                  </a:lnTo>
                  <a:lnTo>
                    <a:pt x="647" y="88"/>
                  </a:lnTo>
                  <a:lnTo>
                    <a:pt x="647" y="90"/>
                  </a:lnTo>
                  <a:lnTo>
                    <a:pt x="647" y="88"/>
                  </a:lnTo>
                  <a:lnTo>
                    <a:pt x="649" y="88"/>
                  </a:lnTo>
                  <a:lnTo>
                    <a:pt x="649" y="86"/>
                  </a:lnTo>
                  <a:lnTo>
                    <a:pt x="647" y="86"/>
                  </a:lnTo>
                  <a:lnTo>
                    <a:pt x="649" y="86"/>
                  </a:lnTo>
                  <a:lnTo>
                    <a:pt x="649" y="84"/>
                  </a:lnTo>
                  <a:lnTo>
                    <a:pt x="647" y="84"/>
                  </a:lnTo>
                  <a:lnTo>
                    <a:pt x="647" y="86"/>
                  </a:lnTo>
                  <a:lnTo>
                    <a:pt x="646" y="86"/>
                  </a:lnTo>
                  <a:lnTo>
                    <a:pt x="646" y="88"/>
                  </a:lnTo>
                  <a:lnTo>
                    <a:pt x="644" y="88"/>
                  </a:lnTo>
                  <a:lnTo>
                    <a:pt x="644" y="86"/>
                  </a:lnTo>
                  <a:lnTo>
                    <a:pt x="644" y="88"/>
                  </a:lnTo>
                  <a:lnTo>
                    <a:pt x="644" y="86"/>
                  </a:lnTo>
                  <a:lnTo>
                    <a:pt x="642" y="86"/>
                  </a:lnTo>
                  <a:lnTo>
                    <a:pt x="642" y="84"/>
                  </a:lnTo>
                  <a:lnTo>
                    <a:pt x="640" y="84"/>
                  </a:lnTo>
                  <a:lnTo>
                    <a:pt x="640" y="86"/>
                  </a:lnTo>
                  <a:lnTo>
                    <a:pt x="640" y="88"/>
                  </a:lnTo>
                  <a:lnTo>
                    <a:pt x="638" y="90"/>
                  </a:lnTo>
                  <a:lnTo>
                    <a:pt x="638" y="88"/>
                  </a:lnTo>
                  <a:lnTo>
                    <a:pt x="638" y="86"/>
                  </a:lnTo>
                  <a:lnTo>
                    <a:pt x="638" y="88"/>
                  </a:lnTo>
                  <a:lnTo>
                    <a:pt x="636" y="88"/>
                  </a:lnTo>
                  <a:lnTo>
                    <a:pt x="638" y="88"/>
                  </a:lnTo>
                  <a:lnTo>
                    <a:pt x="636" y="88"/>
                  </a:lnTo>
                  <a:lnTo>
                    <a:pt x="636" y="90"/>
                  </a:lnTo>
                  <a:lnTo>
                    <a:pt x="636" y="92"/>
                  </a:lnTo>
                  <a:lnTo>
                    <a:pt x="638" y="92"/>
                  </a:lnTo>
                  <a:lnTo>
                    <a:pt x="636" y="92"/>
                  </a:lnTo>
                  <a:lnTo>
                    <a:pt x="636" y="94"/>
                  </a:lnTo>
                  <a:lnTo>
                    <a:pt x="636" y="96"/>
                  </a:lnTo>
                  <a:lnTo>
                    <a:pt x="636" y="98"/>
                  </a:lnTo>
                  <a:lnTo>
                    <a:pt x="634" y="98"/>
                  </a:lnTo>
                  <a:lnTo>
                    <a:pt x="632" y="98"/>
                  </a:lnTo>
                  <a:lnTo>
                    <a:pt x="632" y="100"/>
                  </a:lnTo>
                  <a:lnTo>
                    <a:pt x="630" y="100"/>
                  </a:lnTo>
                  <a:lnTo>
                    <a:pt x="630" y="98"/>
                  </a:lnTo>
                  <a:lnTo>
                    <a:pt x="628" y="98"/>
                  </a:lnTo>
                  <a:lnTo>
                    <a:pt x="628" y="96"/>
                  </a:lnTo>
                  <a:lnTo>
                    <a:pt x="628" y="94"/>
                  </a:lnTo>
                  <a:lnTo>
                    <a:pt x="628" y="96"/>
                  </a:lnTo>
                  <a:lnTo>
                    <a:pt x="626" y="96"/>
                  </a:lnTo>
                  <a:lnTo>
                    <a:pt x="624" y="96"/>
                  </a:lnTo>
                  <a:lnTo>
                    <a:pt x="624" y="98"/>
                  </a:lnTo>
                  <a:lnTo>
                    <a:pt x="624" y="100"/>
                  </a:lnTo>
                  <a:lnTo>
                    <a:pt x="626" y="100"/>
                  </a:lnTo>
                  <a:lnTo>
                    <a:pt x="626" y="102"/>
                  </a:lnTo>
                  <a:lnTo>
                    <a:pt x="628" y="102"/>
                  </a:lnTo>
                  <a:lnTo>
                    <a:pt x="628" y="104"/>
                  </a:lnTo>
                  <a:lnTo>
                    <a:pt x="626" y="104"/>
                  </a:lnTo>
                  <a:lnTo>
                    <a:pt x="626" y="106"/>
                  </a:lnTo>
                  <a:lnTo>
                    <a:pt x="626" y="108"/>
                  </a:lnTo>
                  <a:lnTo>
                    <a:pt x="626" y="109"/>
                  </a:lnTo>
                  <a:lnTo>
                    <a:pt x="626" y="108"/>
                  </a:lnTo>
                  <a:lnTo>
                    <a:pt x="626" y="109"/>
                  </a:lnTo>
                  <a:lnTo>
                    <a:pt x="624" y="109"/>
                  </a:lnTo>
                  <a:lnTo>
                    <a:pt x="624" y="111"/>
                  </a:lnTo>
                  <a:lnTo>
                    <a:pt x="623" y="111"/>
                  </a:lnTo>
                  <a:lnTo>
                    <a:pt x="621" y="111"/>
                  </a:lnTo>
                  <a:lnTo>
                    <a:pt x="619" y="111"/>
                  </a:lnTo>
                  <a:lnTo>
                    <a:pt x="619" y="109"/>
                  </a:lnTo>
                  <a:lnTo>
                    <a:pt x="619" y="111"/>
                  </a:lnTo>
                  <a:lnTo>
                    <a:pt x="619" y="109"/>
                  </a:lnTo>
                  <a:lnTo>
                    <a:pt x="619" y="111"/>
                  </a:lnTo>
                  <a:lnTo>
                    <a:pt x="619" y="113"/>
                  </a:lnTo>
                  <a:lnTo>
                    <a:pt x="617" y="113"/>
                  </a:lnTo>
                  <a:lnTo>
                    <a:pt x="619" y="113"/>
                  </a:lnTo>
                  <a:lnTo>
                    <a:pt x="617" y="113"/>
                  </a:lnTo>
                  <a:lnTo>
                    <a:pt x="619" y="113"/>
                  </a:lnTo>
                  <a:lnTo>
                    <a:pt x="617" y="113"/>
                  </a:lnTo>
                  <a:lnTo>
                    <a:pt x="619" y="115"/>
                  </a:lnTo>
                  <a:lnTo>
                    <a:pt x="617" y="115"/>
                  </a:lnTo>
                  <a:lnTo>
                    <a:pt x="619" y="115"/>
                  </a:lnTo>
                  <a:lnTo>
                    <a:pt x="617" y="115"/>
                  </a:lnTo>
                  <a:lnTo>
                    <a:pt x="617" y="117"/>
                  </a:lnTo>
                  <a:lnTo>
                    <a:pt x="615" y="117"/>
                  </a:lnTo>
                  <a:lnTo>
                    <a:pt x="615" y="119"/>
                  </a:lnTo>
                  <a:lnTo>
                    <a:pt x="615" y="117"/>
                  </a:lnTo>
                  <a:lnTo>
                    <a:pt x="615" y="119"/>
                  </a:lnTo>
                  <a:lnTo>
                    <a:pt x="613" y="119"/>
                  </a:lnTo>
                  <a:lnTo>
                    <a:pt x="613" y="121"/>
                  </a:lnTo>
                  <a:lnTo>
                    <a:pt x="613" y="119"/>
                  </a:lnTo>
                  <a:lnTo>
                    <a:pt x="611" y="119"/>
                  </a:lnTo>
                  <a:lnTo>
                    <a:pt x="613" y="119"/>
                  </a:lnTo>
                  <a:lnTo>
                    <a:pt x="611" y="119"/>
                  </a:lnTo>
                  <a:lnTo>
                    <a:pt x="611" y="117"/>
                  </a:lnTo>
                  <a:lnTo>
                    <a:pt x="611" y="115"/>
                  </a:lnTo>
                  <a:lnTo>
                    <a:pt x="611" y="113"/>
                  </a:lnTo>
                  <a:lnTo>
                    <a:pt x="613" y="113"/>
                  </a:lnTo>
                  <a:lnTo>
                    <a:pt x="613" y="111"/>
                  </a:lnTo>
                  <a:lnTo>
                    <a:pt x="611" y="111"/>
                  </a:lnTo>
                  <a:lnTo>
                    <a:pt x="613" y="111"/>
                  </a:lnTo>
                  <a:lnTo>
                    <a:pt x="611" y="111"/>
                  </a:lnTo>
                  <a:lnTo>
                    <a:pt x="613" y="111"/>
                  </a:lnTo>
                  <a:lnTo>
                    <a:pt x="611" y="111"/>
                  </a:lnTo>
                  <a:lnTo>
                    <a:pt x="613" y="111"/>
                  </a:lnTo>
                  <a:lnTo>
                    <a:pt x="613" y="109"/>
                  </a:lnTo>
                  <a:lnTo>
                    <a:pt x="611" y="109"/>
                  </a:lnTo>
                  <a:lnTo>
                    <a:pt x="611" y="108"/>
                  </a:lnTo>
                  <a:lnTo>
                    <a:pt x="613" y="108"/>
                  </a:lnTo>
                  <a:lnTo>
                    <a:pt x="613" y="106"/>
                  </a:lnTo>
                  <a:lnTo>
                    <a:pt x="613" y="104"/>
                  </a:lnTo>
                  <a:lnTo>
                    <a:pt x="615" y="104"/>
                  </a:lnTo>
                  <a:lnTo>
                    <a:pt x="613" y="102"/>
                  </a:lnTo>
                  <a:lnTo>
                    <a:pt x="613" y="104"/>
                  </a:lnTo>
                  <a:lnTo>
                    <a:pt x="611" y="104"/>
                  </a:lnTo>
                  <a:lnTo>
                    <a:pt x="611" y="102"/>
                  </a:lnTo>
                  <a:lnTo>
                    <a:pt x="609" y="102"/>
                  </a:lnTo>
                  <a:lnTo>
                    <a:pt x="611" y="102"/>
                  </a:lnTo>
                  <a:lnTo>
                    <a:pt x="611" y="104"/>
                  </a:lnTo>
                  <a:lnTo>
                    <a:pt x="611" y="106"/>
                  </a:lnTo>
                  <a:lnTo>
                    <a:pt x="609" y="106"/>
                  </a:lnTo>
                  <a:lnTo>
                    <a:pt x="609" y="108"/>
                  </a:lnTo>
                  <a:lnTo>
                    <a:pt x="609" y="109"/>
                  </a:lnTo>
                  <a:lnTo>
                    <a:pt x="609" y="111"/>
                  </a:lnTo>
                  <a:lnTo>
                    <a:pt x="607" y="111"/>
                  </a:lnTo>
                  <a:lnTo>
                    <a:pt x="607" y="113"/>
                  </a:lnTo>
                  <a:lnTo>
                    <a:pt x="607" y="111"/>
                  </a:lnTo>
                  <a:lnTo>
                    <a:pt x="605" y="111"/>
                  </a:lnTo>
                  <a:lnTo>
                    <a:pt x="605" y="113"/>
                  </a:lnTo>
                  <a:lnTo>
                    <a:pt x="607" y="113"/>
                  </a:lnTo>
                  <a:lnTo>
                    <a:pt x="607" y="115"/>
                  </a:lnTo>
                  <a:lnTo>
                    <a:pt x="605" y="115"/>
                  </a:lnTo>
                  <a:lnTo>
                    <a:pt x="605" y="113"/>
                  </a:lnTo>
                  <a:lnTo>
                    <a:pt x="603" y="113"/>
                  </a:lnTo>
                  <a:lnTo>
                    <a:pt x="603" y="115"/>
                  </a:lnTo>
                  <a:lnTo>
                    <a:pt x="605" y="115"/>
                  </a:lnTo>
                  <a:lnTo>
                    <a:pt x="605" y="117"/>
                  </a:lnTo>
                  <a:lnTo>
                    <a:pt x="605" y="119"/>
                  </a:lnTo>
                  <a:lnTo>
                    <a:pt x="605" y="121"/>
                  </a:lnTo>
                  <a:lnTo>
                    <a:pt x="605" y="123"/>
                  </a:lnTo>
                  <a:lnTo>
                    <a:pt x="603" y="123"/>
                  </a:lnTo>
                  <a:lnTo>
                    <a:pt x="603" y="125"/>
                  </a:lnTo>
                  <a:lnTo>
                    <a:pt x="603" y="123"/>
                  </a:lnTo>
                  <a:lnTo>
                    <a:pt x="603" y="121"/>
                  </a:lnTo>
                  <a:lnTo>
                    <a:pt x="601" y="121"/>
                  </a:lnTo>
                  <a:lnTo>
                    <a:pt x="603" y="121"/>
                  </a:lnTo>
                  <a:lnTo>
                    <a:pt x="601" y="121"/>
                  </a:lnTo>
                  <a:lnTo>
                    <a:pt x="601" y="123"/>
                  </a:lnTo>
                  <a:lnTo>
                    <a:pt x="599" y="123"/>
                  </a:lnTo>
                  <a:lnTo>
                    <a:pt x="599" y="125"/>
                  </a:lnTo>
                  <a:lnTo>
                    <a:pt x="601" y="125"/>
                  </a:lnTo>
                  <a:lnTo>
                    <a:pt x="601" y="127"/>
                  </a:lnTo>
                  <a:lnTo>
                    <a:pt x="599" y="127"/>
                  </a:lnTo>
                  <a:lnTo>
                    <a:pt x="599" y="125"/>
                  </a:lnTo>
                  <a:lnTo>
                    <a:pt x="599" y="127"/>
                  </a:lnTo>
                  <a:lnTo>
                    <a:pt x="598" y="127"/>
                  </a:lnTo>
                  <a:lnTo>
                    <a:pt x="598" y="129"/>
                  </a:lnTo>
                  <a:lnTo>
                    <a:pt x="596" y="129"/>
                  </a:lnTo>
                  <a:lnTo>
                    <a:pt x="594" y="129"/>
                  </a:lnTo>
                  <a:lnTo>
                    <a:pt x="592" y="129"/>
                  </a:lnTo>
                  <a:lnTo>
                    <a:pt x="592" y="127"/>
                  </a:lnTo>
                  <a:lnTo>
                    <a:pt x="592" y="125"/>
                  </a:lnTo>
                  <a:lnTo>
                    <a:pt x="594" y="125"/>
                  </a:lnTo>
                  <a:lnTo>
                    <a:pt x="594" y="123"/>
                  </a:lnTo>
                  <a:lnTo>
                    <a:pt x="592" y="123"/>
                  </a:lnTo>
                  <a:lnTo>
                    <a:pt x="594" y="123"/>
                  </a:lnTo>
                  <a:lnTo>
                    <a:pt x="592" y="123"/>
                  </a:lnTo>
                  <a:lnTo>
                    <a:pt x="592" y="125"/>
                  </a:lnTo>
                  <a:lnTo>
                    <a:pt x="590" y="125"/>
                  </a:lnTo>
                  <a:lnTo>
                    <a:pt x="590" y="127"/>
                  </a:lnTo>
                  <a:lnTo>
                    <a:pt x="588" y="129"/>
                  </a:lnTo>
                  <a:lnTo>
                    <a:pt x="588" y="127"/>
                  </a:lnTo>
                  <a:lnTo>
                    <a:pt x="586" y="127"/>
                  </a:lnTo>
                  <a:lnTo>
                    <a:pt x="586" y="125"/>
                  </a:lnTo>
                  <a:lnTo>
                    <a:pt x="588" y="123"/>
                  </a:lnTo>
                  <a:lnTo>
                    <a:pt x="588" y="121"/>
                  </a:lnTo>
                  <a:lnTo>
                    <a:pt x="590" y="121"/>
                  </a:lnTo>
                  <a:lnTo>
                    <a:pt x="590" y="119"/>
                  </a:lnTo>
                  <a:lnTo>
                    <a:pt x="592" y="119"/>
                  </a:lnTo>
                  <a:lnTo>
                    <a:pt x="592" y="117"/>
                  </a:lnTo>
                  <a:lnTo>
                    <a:pt x="590" y="117"/>
                  </a:lnTo>
                  <a:lnTo>
                    <a:pt x="592" y="117"/>
                  </a:lnTo>
                  <a:lnTo>
                    <a:pt x="590" y="117"/>
                  </a:lnTo>
                  <a:lnTo>
                    <a:pt x="592" y="117"/>
                  </a:lnTo>
                  <a:lnTo>
                    <a:pt x="592" y="115"/>
                  </a:lnTo>
                  <a:lnTo>
                    <a:pt x="590" y="115"/>
                  </a:lnTo>
                  <a:lnTo>
                    <a:pt x="590" y="117"/>
                  </a:lnTo>
                  <a:lnTo>
                    <a:pt x="588" y="117"/>
                  </a:lnTo>
                  <a:lnTo>
                    <a:pt x="588" y="115"/>
                  </a:lnTo>
                  <a:lnTo>
                    <a:pt x="588" y="113"/>
                  </a:lnTo>
                  <a:lnTo>
                    <a:pt x="588" y="111"/>
                  </a:lnTo>
                  <a:lnTo>
                    <a:pt x="590" y="111"/>
                  </a:lnTo>
                  <a:lnTo>
                    <a:pt x="590" y="109"/>
                  </a:lnTo>
                  <a:lnTo>
                    <a:pt x="592" y="109"/>
                  </a:lnTo>
                  <a:lnTo>
                    <a:pt x="592" y="108"/>
                  </a:lnTo>
                  <a:lnTo>
                    <a:pt x="592" y="109"/>
                  </a:lnTo>
                  <a:lnTo>
                    <a:pt x="590" y="109"/>
                  </a:lnTo>
                  <a:lnTo>
                    <a:pt x="590" y="108"/>
                  </a:lnTo>
                  <a:lnTo>
                    <a:pt x="592" y="108"/>
                  </a:lnTo>
                  <a:lnTo>
                    <a:pt x="592" y="106"/>
                  </a:lnTo>
                  <a:lnTo>
                    <a:pt x="594" y="106"/>
                  </a:lnTo>
                  <a:lnTo>
                    <a:pt x="592" y="106"/>
                  </a:lnTo>
                  <a:lnTo>
                    <a:pt x="592" y="104"/>
                  </a:lnTo>
                  <a:lnTo>
                    <a:pt x="594" y="104"/>
                  </a:lnTo>
                  <a:lnTo>
                    <a:pt x="592" y="104"/>
                  </a:lnTo>
                  <a:lnTo>
                    <a:pt x="592" y="106"/>
                  </a:lnTo>
                  <a:lnTo>
                    <a:pt x="592" y="104"/>
                  </a:lnTo>
                  <a:lnTo>
                    <a:pt x="590" y="104"/>
                  </a:lnTo>
                  <a:lnTo>
                    <a:pt x="592" y="104"/>
                  </a:lnTo>
                  <a:lnTo>
                    <a:pt x="592" y="102"/>
                  </a:lnTo>
                  <a:lnTo>
                    <a:pt x="590" y="102"/>
                  </a:lnTo>
                  <a:lnTo>
                    <a:pt x="590" y="104"/>
                  </a:lnTo>
                  <a:lnTo>
                    <a:pt x="590" y="102"/>
                  </a:lnTo>
                  <a:lnTo>
                    <a:pt x="590" y="104"/>
                  </a:lnTo>
                  <a:lnTo>
                    <a:pt x="588" y="104"/>
                  </a:lnTo>
                  <a:lnTo>
                    <a:pt x="590" y="104"/>
                  </a:lnTo>
                  <a:lnTo>
                    <a:pt x="588" y="104"/>
                  </a:lnTo>
                  <a:lnTo>
                    <a:pt x="588" y="106"/>
                  </a:lnTo>
                  <a:lnTo>
                    <a:pt x="586" y="106"/>
                  </a:lnTo>
                  <a:lnTo>
                    <a:pt x="586" y="108"/>
                  </a:lnTo>
                  <a:lnTo>
                    <a:pt x="584" y="108"/>
                  </a:lnTo>
                  <a:lnTo>
                    <a:pt x="584" y="109"/>
                  </a:lnTo>
                  <a:lnTo>
                    <a:pt x="586" y="109"/>
                  </a:lnTo>
                  <a:lnTo>
                    <a:pt x="584" y="111"/>
                  </a:lnTo>
                  <a:lnTo>
                    <a:pt x="586" y="111"/>
                  </a:lnTo>
                  <a:lnTo>
                    <a:pt x="584" y="111"/>
                  </a:lnTo>
                  <a:lnTo>
                    <a:pt x="584" y="113"/>
                  </a:lnTo>
                  <a:lnTo>
                    <a:pt x="584" y="115"/>
                  </a:lnTo>
                  <a:lnTo>
                    <a:pt x="582" y="115"/>
                  </a:lnTo>
                  <a:lnTo>
                    <a:pt x="582" y="113"/>
                  </a:lnTo>
                  <a:lnTo>
                    <a:pt x="584" y="113"/>
                  </a:lnTo>
                  <a:lnTo>
                    <a:pt x="584" y="111"/>
                  </a:lnTo>
                  <a:lnTo>
                    <a:pt x="584" y="113"/>
                  </a:lnTo>
                  <a:lnTo>
                    <a:pt x="582" y="113"/>
                  </a:lnTo>
                  <a:lnTo>
                    <a:pt x="582" y="111"/>
                  </a:lnTo>
                  <a:lnTo>
                    <a:pt x="582" y="113"/>
                  </a:lnTo>
                  <a:lnTo>
                    <a:pt x="582" y="111"/>
                  </a:lnTo>
                  <a:lnTo>
                    <a:pt x="582" y="113"/>
                  </a:lnTo>
                  <a:lnTo>
                    <a:pt x="580" y="113"/>
                  </a:lnTo>
                  <a:lnTo>
                    <a:pt x="580" y="111"/>
                  </a:lnTo>
                  <a:lnTo>
                    <a:pt x="580" y="113"/>
                  </a:lnTo>
                  <a:lnTo>
                    <a:pt x="580" y="111"/>
                  </a:lnTo>
                  <a:lnTo>
                    <a:pt x="580" y="113"/>
                  </a:lnTo>
                  <a:lnTo>
                    <a:pt x="578" y="113"/>
                  </a:lnTo>
                  <a:lnTo>
                    <a:pt x="578" y="115"/>
                  </a:lnTo>
                  <a:lnTo>
                    <a:pt x="576" y="115"/>
                  </a:lnTo>
                  <a:lnTo>
                    <a:pt x="576" y="113"/>
                  </a:lnTo>
                  <a:lnTo>
                    <a:pt x="576" y="111"/>
                  </a:lnTo>
                  <a:lnTo>
                    <a:pt x="576" y="109"/>
                  </a:lnTo>
                  <a:lnTo>
                    <a:pt x="576" y="108"/>
                  </a:lnTo>
                  <a:lnTo>
                    <a:pt x="574" y="108"/>
                  </a:lnTo>
                  <a:lnTo>
                    <a:pt x="574" y="106"/>
                  </a:lnTo>
                  <a:lnTo>
                    <a:pt x="573" y="106"/>
                  </a:lnTo>
                  <a:lnTo>
                    <a:pt x="574" y="106"/>
                  </a:lnTo>
                  <a:lnTo>
                    <a:pt x="574" y="104"/>
                  </a:lnTo>
                  <a:lnTo>
                    <a:pt x="573" y="104"/>
                  </a:lnTo>
                  <a:lnTo>
                    <a:pt x="571" y="104"/>
                  </a:lnTo>
                  <a:lnTo>
                    <a:pt x="571" y="102"/>
                  </a:lnTo>
                  <a:lnTo>
                    <a:pt x="571" y="104"/>
                  </a:lnTo>
                  <a:lnTo>
                    <a:pt x="569" y="104"/>
                  </a:lnTo>
                  <a:lnTo>
                    <a:pt x="569" y="106"/>
                  </a:lnTo>
                  <a:lnTo>
                    <a:pt x="567" y="106"/>
                  </a:lnTo>
                  <a:lnTo>
                    <a:pt x="569" y="106"/>
                  </a:lnTo>
                  <a:lnTo>
                    <a:pt x="567" y="106"/>
                  </a:lnTo>
                  <a:lnTo>
                    <a:pt x="565" y="106"/>
                  </a:lnTo>
                  <a:lnTo>
                    <a:pt x="565" y="108"/>
                  </a:lnTo>
                  <a:lnTo>
                    <a:pt x="565" y="106"/>
                  </a:lnTo>
                  <a:lnTo>
                    <a:pt x="565" y="108"/>
                  </a:lnTo>
                  <a:lnTo>
                    <a:pt x="563" y="108"/>
                  </a:lnTo>
                  <a:lnTo>
                    <a:pt x="561" y="108"/>
                  </a:lnTo>
                  <a:lnTo>
                    <a:pt x="561" y="106"/>
                  </a:lnTo>
                  <a:lnTo>
                    <a:pt x="561" y="104"/>
                  </a:lnTo>
                  <a:lnTo>
                    <a:pt x="559" y="104"/>
                  </a:lnTo>
                  <a:lnTo>
                    <a:pt x="561" y="104"/>
                  </a:lnTo>
                  <a:lnTo>
                    <a:pt x="559" y="104"/>
                  </a:lnTo>
                  <a:lnTo>
                    <a:pt x="559" y="102"/>
                  </a:lnTo>
                  <a:lnTo>
                    <a:pt x="561" y="102"/>
                  </a:lnTo>
                  <a:lnTo>
                    <a:pt x="563" y="102"/>
                  </a:lnTo>
                  <a:lnTo>
                    <a:pt x="561" y="102"/>
                  </a:lnTo>
                  <a:lnTo>
                    <a:pt x="563" y="102"/>
                  </a:lnTo>
                  <a:lnTo>
                    <a:pt x="563" y="100"/>
                  </a:lnTo>
                  <a:lnTo>
                    <a:pt x="561" y="100"/>
                  </a:lnTo>
                  <a:lnTo>
                    <a:pt x="563" y="100"/>
                  </a:lnTo>
                  <a:lnTo>
                    <a:pt x="565" y="100"/>
                  </a:lnTo>
                  <a:lnTo>
                    <a:pt x="565" y="98"/>
                  </a:lnTo>
                  <a:lnTo>
                    <a:pt x="565" y="100"/>
                  </a:lnTo>
                  <a:lnTo>
                    <a:pt x="565" y="98"/>
                  </a:lnTo>
                  <a:lnTo>
                    <a:pt x="567" y="98"/>
                  </a:lnTo>
                  <a:lnTo>
                    <a:pt x="567" y="96"/>
                  </a:lnTo>
                  <a:lnTo>
                    <a:pt x="567" y="98"/>
                  </a:lnTo>
                  <a:lnTo>
                    <a:pt x="567" y="96"/>
                  </a:lnTo>
                  <a:lnTo>
                    <a:pt x="565" y="96"/>
                  </a:lnTo>
                  <a:lnTo>
                    <a:pt x="567" y="96"/>
                  </a:lnTo>
                  <a:lnTo>
                    <a:pt x="567" y="94"/>
                  </a:lnTo>
                  <a:lnTo>
                    <a:pt x="565" y="94"/>
                  </a:lnTo>
                  <a:lnTo>
                    <a:pt x="567" y="94"/>
                  </a:lnTo>
                  <a:lnTo>
                    <a:pt x="567" y="96"/>
                  </a:lnTo>
                  <a:lnTo>
                    <a:pt x="565" y="96"/>
                  </a:lnTo>
                  <a:lnTo>
                    <a:pt x="565" y="94"/>
                  </a:lnTo>
                  <a:lnTo>
                    <a:pt x="565" y="96"/>
                  </a:lnTo>
                  <a:lnTo>
                    <a:pt x="565" y="94"/>
                  </a:lnTo>
                  <a:lnTo>
                    <a:pt x="563" y="94"/>
                  </a:lnTo>
                  <a:lnTo>
                    <a:pt x="565" y="94"/>
                  </a:lnTo>
                  <a:lnTo>
                    <a:pt x="567" y="94"/>
                  </a:lnTo>
                  <a:lnTo>
                    <a:pt x="567" y="92"/>
                  </a:lnTo>
                  <a:lnTo>
                    <a:pt x="567" y="94"/>
                  </a:lnTo>
                  <a:lnTo>
                    <a:pt x="567" y="92"/>
                  </a:lnTo>
                  <a:lnTo>
                    <a:pt x="567" y="90"/>
                  </a:lnTo>
                  <a:lnTo>
                    <a:pt x="567" y="92"/>
                  </a:lnTo>
                  <a:lnTo>
                    <a:pt x="567" y="90"/>
                  </a:lnTo>
                  <a:lnTo>
                    <a:pt x="567" y="92"/>
                  </a:lnTo>
                  <a:lnTo>
                    <a:pt x="567" y="90"/>
                  </a:lnTo>
                  <a:lnTo>
                    <a:pt x="567" y="92"/>
                  </a:lnTo>
                  <a:lnTo>
                    <a:pt x="565" y="92"/>
                  </a:lnTo>
                  <a:lnTo>
                    <a:pt x="563" y="92"/>
                  </a:lnTo>
                  <a:lnTo>
                    <a:pt x="565" y="92"/>
                  </a:lnTo>
                  <a:lnTo>
                    <a:pt x="563" y="92"/>
                  </a:lnTo>
                  <a:lnTo>
                    <a:pt x="563" y="90"/>
                  </a:lnTo>
                  <a:lnTo>
                    <a:pt x="563" y="92"/>
                  </a:lnTo>
                  <a:lnTo>
                    <a:pt x="561" y="92"/>
                  </a:lnTo>
                  <a:lnTo>
                    <a:pt x="561" y="94"/>
                  </a:lnTo>
                  <a:lnTo>
                    <a:pt x="561" y="92"/>
                  </a:lnTo>
                  <a:lnTo>
                    <a:pt x="561" y="94"/>
                  </a:lnTo>
                  <a:lnTo>
                    <a:pt x="559" y="94"/>
                  </a:lnTo>
                  <a:lnTo>
                    <a:pt x="559" y="92"/>
                  </a:lnTo>
                  <a:lnTo>
                    <a:pt x="559" y="94"/>
                  </a:lnTo>
                  <a:lnTo>
                    <a:pt x="559" y="92"/>
                  </a:lnTo>
                  <a:lnTo>
                    <a:pt x="561" y="92"/>
                  </a:lnTo>
                  <a:lnTo>
                    <a:pt x="559" y="92"/>
                  </a:lnTo>
                  <a:lnTo>
                    <a:pt x="561" y="92"/>
                  </a:lnTo>
                  <a:lnTo>
                    <a:pt x="559" y="92"/>
                  </a:lnTo>
                  <a:lnTo>
                    <a:pt x="561" y="92"/>
                  </a:lnTo>
                  <a:lnTo>
                    <a:pt x="561" y="90"/>
                  </a:lnTo>
                  <a:lnTo>
                    <a:pt x="563" y="90"/>
                  </a:lnTo>
                  <a:lnTo>
                    <a:pt x="563" y="88"/>
                  </a:lnTo>
                  <a:lnTo>
                    <a:pt x="563" y="90"/>
                  </a:lnTo>
                  <a:lnTo>
                    <a:pt x="565" y="88"/>
                  </a:lnTo>
                  <a:lnTo>
                    <a:pt x="563" y="88"/>
                  </a:lnTo>
                  <a:lnTo>
                    <a:pt x="565" y="88"/>
                  </a:lnTo>
                  <a:lnTo>
                    <a:pt x="563" y="88"/>
                  </a:lnTo>
                  <a:lnTo>
                    <a:pt x="565" y="88"/>
                  </a:lnTo>
                  <a:lnTo>
                    <a:pt x="563" y="88"/>
                  </a:lnTo>
                  <a:lnTo>
                    <a:pt x="565" y="88"/>
                  </a:lnTo>
                  <a:lnTo>
                    <a:pt x="565" y="86"/>
                  </a:lnTo>
                  <a:lnTo>
                    <a:pt x="565" y="88"/>
                  </a:lnTo>
                  <a:lnTo>
                    <a:pt x="565" y="86"/>
                  </a:lnTo>
                  <a:lnTo>
                    <a:pt x="567" y="86"/>
                  </a:lnTo>
                  <a:lnTo>
                    <a:pt x="567" y="88"/>
                  </a:lnTo>
                  <a:lnTo>
                    <a:pt x="567" y="86"/>
                  </a:lnTo>
                  <a:lnTo>
                    <a:pt x="569" y="86"/>
                  </a:lnTo>
                  <a:lnTo>
                    <a:pt x="569" y="88"/>
                  </a:lnTo>
                  <a:lnTo>
                    <a:pt x="569" y="86"/>
                  </a:lnTo>
                  <a:lnTo>
                    <a:pt x="571" y="86"/>
                  </a:lnTo>
                  <a:lnTo>
                    <a:pt x="571" y="84"/>
                  </a:lnTo>
                  <a:lnTo>
                    <a:pt x="569" y="84"/>
                  </a:lnTo>
                  <a:lnTo>
                    <a:pt x="571" y="84"/>
                  </a:lnTo>
                  <a:lnTo>
                    <a:pt x="569" y="84"/>
                  </a:lnTo>
                  <a:lnTo>
                    <a:pt x="571" y="84"/>
                  </a:lnTo>
                  <a:lnTo>
                    <a:pt x="571" y="83"/>
                  </a:lnTo>
                  <a:lnTo>
                    <a:pt x="573" y="83"/>
                  </a:lnTo>
                  <a:lnTo>
                    <a:pt x="571" y="83"/>
                  </a:lnTo>
                  <a:lnTo>
                    <a:pt x="573" y="83"/>
                  </a:lnTo>
                  <a:lnTo>
                    <a:pt x="573" y="81"/>
                  </a:lnTo>
                  <a:lnTo>
                    <a:pt x="573" y="83"/>
                  </a:lnTo>
                  <a:lnTo>
                    <a:pt x="573" y="81"/>
                  </a:lnTo>
                  <a:lnTo>
                    <a:pt x="573" y="83"/>
                  </a:lnTo>
                  <a:lnTo>
                    <a:pt x="573" y="81"/>
                  </a:lnTo>
                  <a:lnTo>
                    <a:pt x="574" y="81"/>
                  </a:lnTo>
                  <a:lnTo>
                    <a:pt x="573" y="81"/>
                  </a:lnTo>
                  <a:lnTo>
                    <a:pt x="574" y="81"/>
                  </a:lnTo>
                  <a:lnTo>
                    <a:pt x="574" y="83"/>
                  </a:lnTo>
                  <a:lnTo>
                    <a:pt x="574" y="81"/>
                  </a:lnTo>
                  <a:lnTo>
                    <a:pt x="576" y="81"/>
                  </a:lnTo>
                  <a:lnTo>
                    <a:pt x="578" y="81"/>
                  </a:lnTo>
                  <a:lnTo>
                    <a:pt x="580" y="81"/>
                  </a:lnTo>
                  <a:lnTo>
                    <a:pt x="582" y="81"/>
                  </a:lnTo>
                  <a:lnTo>
                    <a:pt x="584" y="81"/>
                  </a:lnTo>
                  <a:lnTo>
                    <a:pt x="584" y="83"/>
                  </a:lnTo>
                  <a:lnTo>
                    <a:pt x="586" y="83"/>
                  </a:lnTo>
                  <a:lnTo>
                    <a:pt x="586" y="84"/>
                  </a:lnTo>
                  <a:lnTo>
                    <a:pt x="586" y="83"/>
                  </a:lnTo>
                  <a:lnTo>
                    <a:pt x="586" y="84"/>
                  </a:lnTo>
                  <a:lnTo>
                    <a:pt x="586" y="83"/>
                  </a:lnTo>
                  <a:lnTo>
                    <a:pt x="586" y="84"/>
                  </a:lnTo>
                  <a:lnTo>
                    <a:pt x="586" y="83"/>
                  </a:lnTo>
                  <a:lnTo>
                    <a:pt x="586" y="84"/>
                  </a:lnTo>
                  <a:lnTo>
                    <a:pt x="588" y="84"/>
                  </a:lnTo>
                  <a:lnTo>
                    <a:pt x="588" y="83"/>
                  </a:lnTo>
                  <a:lnTo>
                    <a:pt x="588" y="84"/>
                  </a:lnTo>
                  <a:lnTo>
                    <a:pt x="588" y="83"/>
                  </a:lnTo>
                  <a:lnTo>
                    <a:pt x="588" y="84"/>
                  </a:lnTo>
                  <a:lnTo>
                    <a:pt x="590" y="84"/>
                  </a:lnTo>
                  <a:lnTo>
                    <a:pt x="590" y="83"/>
                  </a:lnTo>
                  <a:lnTo>
                    <a:pt x="590" y="84"/>
                  </a:lnTo>
                  <a:lnTo>
                    <a:pt x="590" y="83"/>
                  </a:lnTo>
                  <a:lnTo>
                    <a:pt x="592" y="83"/>
                  </a:lnTo>
                  <a:lnTo>
                    <a:pt x="590" y="83"/>
                  </a:lnTo>
                  <a:lnTo>
                    <a:pt x="592" y="83"/>
                  </a:lnTo>
                  <a:lnTo>
                    <a:pt x="592" y="81"/>
                  </a:lnTo>
                  <a:lnTo>
                    <a:pt x="594" y="81"/>
                  </a:lnTo>
                  <a:lnTo>
                    <a:pt x="594" y="79"/>
                  </a:lnTo>
                  <a:lnTo>
                    <a:pt x="594" y="81"/>
                  </a:lnTo>
                  <a:lnTo>
                    <a:pt x="594" y="79"/>
                  </a:lnTo>
                  <a:lnTo>
                    <a:pt x="594" y="77"/>
                  </a:lnTo>
                  <a:lnTo>
                    <a:pt x="596" y="79"/>
                  </a:lnTo>
                  <a:lnTo>
                    <a:pt x="596" y="77"/>
                  </a:lnTo>
                  <a:lnTo>
                    <a:pt x="598" y="77"/>
                  </a:lnTo>
                  <a:lnTo>
                    <a:pt x="598" y="75"/>
                  </a:lnTo>
                  <a:lnTo>
                    <a:pt x="598" y="77"/>
                  </a:lnTo>
                  <a:lnTo>
                    <a:pt x="598" y="75"/>
                  </a:lnTo>
                  <a:lnTo>
                    <a:pt x="598" y="77"/>
                  </a:lnTo>
                  <a:lnTo>
                    <a:pt x="598" y="75"/>
                  </a:lnTo>
                  <a:lnTo>
                    <a:pt x="599" y="75"/>
                  </a:lnTo>
                  <a:lnTo>
                    <a:pt x="598" y="75"/>
                  </a:lnTo>
                  <a:lnTo>
                    <a:pt x="599" y="75"/>
                  </a:lnTo>
                  <a:lnTo>
                    <a:pt x="598" y="75"/>
                  </a:lnTo>
                  <a:lnTo>
                    <a:pt x="599" y="75"/>
                  </a:lnTo>
                  <a:lnTo>
                    <a:pt x="599" y="73"/>
                  </a:lnTo>
                  <a:lnTo>
                    <a:pt x="599" y="75"/>
                  </a:lnTo>
                  <a:lnTo>
                    <a:pt x="599" y="73"/>
                  </a:lnTo>
                  <a:lnTo>
                    <a:pt x="599" y="71"/>
                  </a:lnTo>
                  <a:lnTo>
                    <a:pt x="601" y="73"/>
                  </a:lnTo>
                  <a:lnTo>
                    <a:pt x="599" y="73"/>
                  </a:lnTo>
                  <a:lnTo>
                    <a:pt x="601" y="73"/>
                  </a:lnTo>
                  <a:lnTo>
                    <a:pt x="601" y="71"/>
                  </a:lnTo>
                  <a:lnTo>
                    <a:pt x="601" y="73"/>
                  </a:lnTo>
                  <a:lnTo>
                    <a:pt x="601" y="75"/>
                  </a:lnTo>
                  <a:lnTo>
                    <a:pt x="601" y="73"/>
                  </a:lnTo>
                  <a:lnTo>
                    <a:pt x="603" y="73"/>
                  </a:lnTo>
                  <a:lnTo>
                    <a:pt x="603" y="75"/>
                  </a:lnTo>
                  <a:lnTo>
                    <a:pt x="603" y="73"/>
                  </a:lnTo>
                  <a:lnTo>
                    <a:pt x="605" y="73"/>
                  </a:lnTo>
                  <a:lnTo>
                    <a:pt x="603" y="73"/>
                  </a:lnTo>
                  <a:lnTo>
                    <a:pt x="605" y="73"/>
                  </a:lnTo>
                  <a:lnTo>
                    <a:pt x="605" y="75"/>
                  </a:lnTo>
                  <a:lnTo>
                    <a:pt x="605" y="73"/>
                  </a:lnTo>
                  <a:lnTo>
                    <a:pt x="607" y="73"/>
                  </a:lnTo>
                  <a:lnTo>
                    <a:pt x="607" y="71"/>
                  </a:lnTo>
                  <a:lnTo>
                    <a:pt x="609" y="71"/>
                  </a:lnTo>
                  <a:lnTo>
                    <a:pt x="609" y="73"/>
                  </a:lnTo>
                  <a:lnTo>
                    <a:pt x="609" y="71"/>
                  </a:lnTo>
                  <a:lnTo>
                    <a:pt x="609" y="73"/>
                  </a:lnTo>
                  <a:lnTo>
                    <a:pt x="611" y="73"/>
                  </a:lnTo>
                  <a:lnTo>
                    <a:pt x="611" y="71"/>
                  </a:lnTo>
                  <a:lnTo>
                    <a:pt x="611" y="73"/>
                  </a:lnTo>
                  <a:lnTo>
                    <a:pt x="611" y="71"/>
                  </a:lnTo>
                  <a:lnTo>
                    <a:pt x="613" y="71"/>
                  </a:lnTo>
                  <a:lnTo>
                    <a:pt x="611" y="71"/>
                  </a:lnTo>
                  <a:lnTo>
                    <a:pt x="613" y="71"/>
                  </a:lnTo>
                  <a:lnTo>
                    <a:pt x="615" y="71"/>
                  </a:lnTo>
                  <a:lnTo>
                    <a:pt x="613" y="71"/>
                  </a:lnTo>
                  <a:lnTo>
                    <a:pt x="615" y="71"/>
                  </a:lnTo>
                  <a:lnTo>
                    <a:pt x="615" y="69"/>
                  </a:lnTo>
                  <a:lnTo>
                    <a:pt x="615" y="67"/>
                  </a:lnTo>
                  <a:lnTo>
                    <a:pt x="615" y="65"/>
                  </a:lnTo>
                  <a:lnTo>
                    <a:pt x="617" y="65"/>
                  </a:lnTo>
                  <a:lnTo>
                    <a:pt x="617" y="67"/>
                  </a:lnTo>
                  <a:lnTo>
                    <a:pt x="619" y="67"/>
                  </a:lnTo>
                  <a:lnTo>
                    <a:pt x="619" y="65"/>
                  </a:lnTo>
                  <a:lnTo>
                    <a:pt x="619" y="67"/>
                  </a:lnTo>
                  <a:lnTo>
                    <a:pt x="619" y="65"/>
                  </a:lnTo>
                  <a:lnTo>
                    <a:pt x="621" y="65"/>
                  </a:lnTo>
                  <a:lnTo>
                    <a:pt x="621" y="63"/>
                  </a:lnTo>
                  <a:lnTo>
                    <a:pt x="623" y="63"/>
                  </a:lnTo>
                  <a:lnTo>
                    <a:pt x="623" y="61"/>
                  </a:lnTo>
                  <a:lnTo>
                    <a:pt x="624" y="61"/>
                  </a:lnTo>
                  <a:lnTo>
                    <a:pt x="626" y="61"/>
                  </a:lnTo>
                  <a:lnTo>
                    <a:pt x="626" y="60"/>
                  </a:lnTo>
                  <a:lnTo>
                    <a:pt x="628" y="60"/>
                  </a:lnTo>
                  <a:lnTo>
                    <a:pt x="630" y="58"/>
                  </a:lnTo>
                  <a:lnTo>
                    <a:pt x="632" y="58"/>
                  </a:lnTo>
                  <a:lnTo>
                    <a:pt x="632" y="56"/>
                  </a:lnTo>
                  <a:lnTo>
                    <a:pt x="634" y="56"/>
                  </a:lnTo>
                  <a:lnTo>
                    <a:pt x="636" y="56"/>
                  </a:lnTo>
                  <a:lnTo>
                    <a:pt x="638" y="56"/>
                  </a:lnTo>
                  <a:lnTo>
                    <a:pt x="638" y="54"/>
                  </a:lnTo>
                  <a:lnTo>
                    <a:pt x="640" y="54"/>
                  </a:lnTo>
                  <a:lnTo>
                    <a:pt x="640" y="52"/>
                  </a:lnTo>
                  <a:lnTo>
                    <a:pt x="640" y="54"/>
                  </a:lnTo>
                  <a:lnTo>
                    <a:pt x="640" y="52"/>
                  </a:lnTo>
                  <a:lnTo>
                    <a:pt x="640" y="50"/>
                  </a:lnTo>
                  <a:lnTo>
                    <a:pt x="642" y="50"/>
                  </a:lnTo>
                  <a:lnTo>
                    <a:pt x="642" y="48"/>
                  </a:lnTo>
                  <a:lnTo>
                    <a:pt x="644" y="48"/>
                  </a:lnTo>
                  <a:lnTo>
                    <a:pt x="646" y="48"/>
                  </a:lnTo>
                  <a:lnTo>
                    <a:pt x="646" y="50"/>
                  </a:lnTo>
                  <a:lnTo>
                    <a:pt x="647" y="50"/>
                  </a:lnTo>
                  <a:lnTo>
                    <a:pt x="649" y="50"/>
                  </a:lnTo>
                  <a:lnTo>
                    <a:pt x="649" y="48"/>
                  </a:lnTo>
                  <a:close/>
                  <a:moveTo>
                    <a:pt x="753" y="42"/>
                  </a:moveTo>
                  <a:lnTo>
                    <a:pt x="753" y="44"/>
                  </a:lnTo>
                  <a:lnTo>
                    <a:pt x="755" y="44"/>
                  </a:lnTo>
                  <a:lnTo>
                    <a:pt x="755" y="42"/>
                  </a:lnTo>
                  <a:lnTo>
                    <a:pt x="757" y="42"/>
                  </a:lnTo>
                  <a:lnTo>
                    <a:pt x="759" y="42"/>
                  </a:lnTo>
                  <a:lnTo>
                    <a:pt x="761" y="42"/>
                  </a:lnTo>
                  <a:lnTo>
                    <a:pt x="763" y="42"/>
                  </a:lnTo>
                  <a:lnTo>
                    <a:pt x="765" y="42"/>
                  </a:lnTo>
                  <a:lnTo>
                    <a:pt x="765" y="44"/>
                  </a:lnTo>
                  <a:lnTo>
                    <a:pt x="767" y="44"/>
                  </a:lnTo>
                  <a:lnTo>
                    <a:pt x="767" y="42"/>
                  </a:lnTo>
                  <a:lnTo>
                    <a:pt x="768" y="42"/>
                  </a:lnTo>
                  <a:lnTo>
                    <a:pt x="770" y="42"/>
                  </a:lnTo>
                  <a:lnTo>
                    <a:pt x="772" y="42"/>
                  </a:lnTo>
                  <a:lnTo>
                    <a:pt x="772" y="44"/>
                  </a:lnTo>
                  <a:lnTo>
                    <a:pt x="774" y="44"/>
                  </a:lnTo>
                  <a:lnTo>
                    <a:pt x="776" y="44"/>
                  </a:lnTo>
                  <a:lnTo>
                    <a:pt x="778" y="44"/>
                  </a:lnTo>
                  <a:lnTo>
                    <a:pt x="778" y="46"/>
                  </a:lnTo>
                  <a:lnTo>
                    <a:pt x="780" y="46"/>
                  </a:lnTo>
                  <a:lnTo>
                    <a:pt x="778" y="46"/>
                  </a:lnTo>
                  <a:lnTo>
                    <a:pt x="778" y="50"/>
                  </a:lnTo>
                  <a:lnTo>
                    <a:pt x="778" y="52"/>
                  </a:lnTo>
                  <a:lnTo>
                    <a:pt x="776" y="54"/>
                  </a:lnTo>
                  <a:lnTo>
                    <a:pt x="776" y="56"/>
                  </a:lnTo>
                  <a:lnTo>
                    <a:pt x="774" y="56"/>
                  </a:lnTo>
                  <a:lnTo>
                    <a:pt x="774" y="58"/>
                  </a:lnTo>
                  <a:lnTo>
                    <a:pt x="774" y="56"/>
                  </a:lnTo>
                  <a:lnTo>
                    <a:pt x="774" y="58"/>
                  </a:lnTo>
                  <a:lnTo>
                    <a:pt x="774" y="56"/>
                  </a:lnTo>
                  <a:lnTo>
                    <a:pt x="772" y="56"/>
                  </a:lnTo>
                  <a:lnTo>
                    <a:pt x="772" y="58"/>
                  </a:lnTo>
                  <a:lnTo>
                    <a:pt x="770" y="58"/>
                  </a:lnTo>
                  <a:lnTo>
                    <a:pt x="770" y="56"/>
                  </a:lnTo>
                  <a:lnTo>
                    <a:pt x="768" y="56"/>
                  </a:lnTo>
                  <a:lnTo>
                    <a:pt x="768" y="58"/>
                  </a:lnTo>
                  <a:lnTo>
                    <a:pt x="767" y="58"/>
                  </a:lnTo>
                  <a:lnTo>
                    <a:pt x="767" y="56"/>
                  </a:lnTo>
                  <a:lnTo>
                    <a:pt x="767" y="58"/>
                  </a:lnTo>
                  <a:lnTo>
                    <a:pt x="765" y="58"/>
                  </a:lnTo>
                  <a:lnTo>
                    <a:pt x="765" y="56"/>
                  </a:lnTo>
                  <a:lnTo>
                    <a:pt x="763" y="56"/>
                  </a:lnTo>
                  <a:lnTo>
                    <a:pt x="761" y="56"/>
                  </a:lnTo>
                  <a:lnTo>
                    <a:pt x="761" y="58"/>
                  </a:lnTo>
                  <a:lnTo>
                    <a:pt x="761" y="60"/>
                  </a:lnTo>
                  <a:lnTo>
                    <a:pt x="759" y="60"/>
                  </a:lnTo>
                  <a:lnTo>
                    <a:pt x="761" y="60"/>
                  </a:lnTo>
                  <a:lnTo>
                    <a:pt x="763" y="60"/>
                  </a:lnTo>
                  <a:lnTo>
                    <a:pt x="763" y="61"/>
                  </a:lnTo>
                  <a:lnTo>
                    <a:pt x="761" y="61"/>
                  </a:lnTo>
                  <a:lnTo>
                    <a:pt x="761" y="63"/>
                  </a:lnTo>
                  <a:lnTo>
                    <a:pt x="763" y="63"/>
                  </a:lnTo>
                  <a:lnTo>
                    <a:pt x="765" y="63"/>
                  </a:lnTo>
                  <a:lnTo>
                    <a:pt x="767" y="63"/>
                  </a:lnTo>
                  <a:lnTo>
                    <a:pt x="768" y="63"/>
                  </a:lnTo>
                  <a:lnTo>
                    <a:pt x="768" y="65"/>
                  </a:lnTo>
                  <a:lnTo>
                    <a:pt x="768" y="63"/>
                  </a:lnTo>
                  <a:lnTo>
                    <a:pt x="770" y="65"/>
                  </a:lnTo>
                  <a:lnTo>
                    <a:pt x="770" y="67"/>
                  </a:lnTo>
                  <a:lnTo>
                    <a:pt x="768" y="67"/>
                  </a:lnTo>
                  <a:lnTo>
                    <a:pt x="768" y="69"/>
                  </a:lnTo>
                  <a:lnTo>
                    <a:pt x="770" y="69"/>
                  </a:lnTo>
                  <a:lnTo>
                    <a:pt x="768" y="69"/>
                  </a:lnTo>
                  <a:lnTo>
                    <a:pt x="768" y="71"/>
                  </a:lnTo>
                  <a:lnTo>
                    <a:pt x="768" y="73"/>
                  </a:lnTo>
                  <a:lnTo>
                    <a:pt x="768" y="75"/>
                  </a:lnTo>
                  <a:lnTo>
                    <a:pt x="767" y="75"/>
                  </a:lnTo>
                  <a:lnTo>
                    <a:pt x="767" y="77"/>
                  </a:lnTo>
                  <a:lnTo>
                    <a:pt x="767" y="79"/>
                  </a:lnTo>
                  <a:lnTo>
                    <a:pt x="765" y="79"/>
                  </a:lnTo>
                  <a:lnTo>
                    <a:pt x="765" y="81"/>
                  </a:lnTo>
                  <a:lnTo>
                    <a:pt x="763" y="81"/>
                  </a:lnTo>
                  <a:lnTo>
                    <a:pt x="761" y="81"/>
                  </a:lnTo>
                  <a:lnTo>
                    <a:pt x="761" y="83"/>
                  </a:lnTo>
                  <a:lnTo>
                    <a:pt x="759" y="83"/>
                  </a:lnTo>
                  <a:lnTo>
                    <a:pt x="761" y="83"/>
                  </a:lnTo>
                  <a:lnTo>
                    <a:pt x="759" y="83"/>
                  </a:lnTo>
                  <a:lnTo>
                    <a:pt x="757" y="83"/>
                  </a:lnTo>
                  <a:lnTo>
                    <a:pt x="755" y="83"/>
                  </a:lnTo>
                  <a:lnTo>
                    <a:pt x="755" y="84"/>
                  </a:lnTo>
                  <a:lnTo>
                    <a:pt x="753" y="84"/>
                  </a:lnTo>
                  <a:lnTo>
                    <a:pt x="751" y="84"/>
                  </a:lnTo>
                  <a:lnTo>
                    <a:pt x="751" y="83"/>
                  </a:lnTo>
                  <a:lnTo>
                    <a:pt x="749" y="83"/>
                  </a:lnTo>
                  <a:lnTo>
                    <a:pt x="749" y="81"/>
                  </a:lnTo>
                  <a:lnTo>
                    <a:pt x="747" y="81"/>
                  </a:lnTo>
                  <a:lnTo>
                    <a:pt x="747" y="83"/>
                  </a:lnTo>
                  <a:lnTo>
                    <a:pt x="745" y="83"/>
                  </a:lnTo>
                  <a:lnTo>
                    <a:pt x="743" y="83"/>
                  </a:lnTo>
                  <a:lnTo>
                    <a:pt x="742" y="84"/>
                  </a:lnTo>
                  <a:lnTo>
                    <a:pt x="742" y="83"/>
                  </a:lnTo>
                  <a:lnTo>
                    <a:pt x="742" y="84"/>
                  </a:lnTo>
                  <a:lnTo>
                    <a:pt x="742" y="83"/>
                  </a:lnTo>
                  <a:lnTo>
                    <a:pt x="742" y="84"/>
                  </a:lnTo>
                  <a:lnTo>
                    <a:pt x="740" y="84"/>
                  </a:lnTo>
                  <a:lnTo>
                    <a:pt x="740" y="83"/>
                  </a:lnTo>
                  <a:lnTo>
                    <a:pt x="740" y="84"/>
                  </a:lnTo>
                  <a:lnTo>
                    <a:pt x="738" y="84"/>
                  </a:lnTo>
                  <a:lnTo>
                    <a:pt x="736" y="84"/>
                  </a:lnTo>
                  <a:lnTo>
                    <a:pt x="736" y="83"/>
                  </a:lnTo>
                  <a:lnTo>
                    <a:pt x="734" y="83"/>
                  </a:lnTo>
                  <a:lnTo>
                    <a:pt x="732" y="81"/>
                  </a:lnTo>
                  <a:lnTo>
                    <a:pt x="732" y="79"/>
                  </a:lnTo>
                  <a:lnTo>
                    <a:pt x="732" y="77"/>
                  </a:lnTo>
                  <a:lnTo>
                    <a:pt x="732" y="75"/>
                  </a:lnTo>
                  <a:lnTo>
                    <a:pt x="730" y="75"/>
                  </a:lnTo>
                  <a:lnTo>
                    <a:pt x="732" y="75"/>
                  </a:lnTo>
                  <a:lnTo>
                    <a:pt x="732" y="73"/>
                  </a:lnTo>
                  <a:lnTo>
                    <a:pt x="730" y="73"/>
                  </a:lnTo>
                  <a:lnTo>
                    <a:pt x="730" y="75"/>
                  </a:lnTo>
                  <a:lnTo>
                    <a:pt x="728" y="75"/>
                  </a:lnTo>
                  <a:lnTo>
                    <a:pt x="728" y="73"/>
                  </a:lnTo>
                  <a:lnTo>
                    <a:pt x="728" y="71"/>
                  </a:lnTo>
                  <a:lnTo>
                    <a:pt x="726" y="71"/>
                  </a:lnTo>
                  <a:lnTo>
                    <a:pt x="728" y="71"/>
                  </a:lnTo>
                  <a:lnTo>
                    <a:pt x="728" y="69"/>
                  </a:lnTo>
                  <a:lnTo>
                    <a:pt x="728" y="67"/>
                  </a:lnTo>
                  <a:lnTo>
                    <a:pt x="726" y="67"/>
                  </a:lnTo>
                  <a:lnTo>
                    <a:pt x="724" y="67"/>
                  </a:lnTo>
                  <a:lnTo>
                    <a:pt x="726" y="67"/>
                  </a:lnTo>
                  <a:lnTo>
                    <a:pt x="724" y="67"/>
                  </a:lnTo>
                  <a:lnTo>
                    <a:pt x="726" y="65"/>
                  </a:lnTo>
                  <a:lnTo>
                    <a:pt x="726" y="63"/>
                  </a:lnTo>
                  <a:lnTo>
                    <a:pt x="726" y="65"/>
                  </a:lnTo>
                  <a:lnTo>
                    <a:pt x="726" y="63"/>
                  </a:lnTo>
                  <a:lnTo>
                    <a:pt x="726" y="61"/>
                  </a:lnTo>
                  <a:lnTo>
                    <a:pt x="728" y="63"/>
                  </a:lnTo>
                  <a:lnTo>
                    <a:pt x="728" y="61"/>
                  </a:lnTo>
                  <a:lnTo>
                    <a:pt x="728" y="60"/>
                  </a:lnTo>
                  <a:lnTo>
                    <a:pt x="726" y="60"/>
                  </a:lnTo>
                  <a:lnTo>
                    <a:pt x="726" y="58"/>
                  </a:lnTo>
                  <a:lnTo>
                    <a:pt x="728" y="58"/>
                  </a:lnTo>
                  <a:lnTo>
                    <a:pt x="728" y="56"/>
                  </a:lnTo>
                  <a:lnTo>
                    <a:pt x="730" y="56"/>
                  </a:lnTo>
                  <a:lnTo>
                    <a:pt x="728" y="56"/>
                  </a:lnTo>
                  <a:lnTo>
                    <a:pt x="730" y="56"/>
                  </a:lnTo>
                  <a:lnTo>
                    <a:pt x="730" y="54"/>
                  </a:lnTo>
                  <a:lnTo>
                    <a:pt x="728" y="54"/>
                  </a:lnTo>
                  <a:lnTo>
                    <a:pt x="728" y="52"/>
                  </a:lnTo>
                  <a:lnTo>
                    <a:pt x="728" y="50"/>
                  </a:lnTo>
                  <a:lnTo>
                    <a:pt x="730" y="50"/>
                  </a:lnTo>
                  <a:lnTo>
                    <a:pt x="730" y="48"/>
                  </a:lnTo>
                  <a:lnTo>
                    <a:pt x="730" y="46"/>
                  </a:lnTo>
                  <a:lnTo>
                    <a:pt x="732" y="46"/>
                  </a:lnTo>
                  <a:lnTo>
                    <a:pt x="732" y="44"/>
                  </a:lnTo>
                  <a:lnTo>
                    <a:pt x="734" y="44"/>
                  </a:lnTo>
                  <a:lnTo>
                    <a:pt x="736" y="44"/>
                  </a:lnTo>
                  <a:lnTo>
                    <a:pt x="734" y="44"/>
                  </a:lnTo>
                  <a:lnTo>
                    <a:pt x="734" y="46"/>
                  </a:lnTo>
                  <a:lnTo>
                    <a:pt x="736" y="46"/>
                  </a:lnTo>
                  <a:lnTo>
                    <a:pt x="736" y="44"/>
                  </a:lnTo>
                  <a:lnTo>
                    <a:pt x="736" y="46"/>
                  </a:lnTo>
                  <a:lnTo>
                    <a:pt x="738" y="46"/>
                  </a:lnTo>
                  <a:lnTo>
                    <a:pt x="736" y="46"/>
                  </a:lnTo>
                  <a:lnTo>
                    <a:pt x="736" y="44"/>
                  </a:lnTo>
                  <a:lnTo>
                    <a:pt x="738" y="44"/>
                  </a:lnTo>
                  <a:lnTo>
                    <a:pt x="740" y="44"/>
                  </a:lnTo>
                  <a:lnTo>
                    <a:pt x="742" y="44"/>
                  </a:lnTo>
                  <a:lnTo>
                    <a:pt x="742" y="42"/>
                  </a:lnTo>
                  <a:lnTo>
                    <a:pt x="743" y="42"/>
                  </a:lnTo>
                  <a:lnTo>
                    <a:pt x="745" y="42"/>
                  </a:lnTo>
                  <a:lnTo>
                    <a:pt x="743" y="42"/>
                  </a:lnTo>
                  <a:lnTo>
                    <a:pt x="745" y="42"/>
                  </a:lnTo>
                  <a:lnTo>
                    <a:pt x="745" y="44"/>
                  </a:lnTo>
                  <a:lnTo>
                    <a:pt x="745" y="42"/>
                  </a:lnTo>
                  <a:lnTo>
                    <a:pt x="747" y="42"/>
                  </a:lnTo>
                  <a:lnTo>
                    <a:pt x="749" y="42"/>
                  </a:lnTo>
                  <a:lnTo>
                    <a:pt x="751" y="42"/>
                  </a:lnTo>
                  <a:lnTo>
                    <a:pt x="753" y="42"/>
                  </a:lnTo>
                  <a:close/>
                  <a:moveTo>
                    <a:pt x="780" y="2"/>
                  </a:moveTo>
                  <a:lnTo>
                    <a:pt x="780" y="4"/>
                  </a:lnTo>
                  <a:lnTo>
                    <a:pt x="782" y="4"/>
                  </a:lnTo>
                  <a:lnTo>
                    <a:pt x="784" y="4"/>
                  </a:lnTo>
                  <a:lnTo>
                    <a:pt x="782" y="4"/>
                  </a:lnTo>
                  <a:lnTo>
                    <a:pt x="784" y="4"/>
                  </a:lnTo>
                  <a:lnTo>
                    <a:pt x="784" y="6"/>
                  </a:lnTo>
                  <a:lnTo>
                    <a:pt x="786" y="6"/>
                  </a:lnTo>
                  <a:lnTo>
                    <a:pt x="786" y="8"/>
                  </a:lnTo>
                  <a:lnTo>
                    <a:pt x="786" y="10"/>
                  </a:lnTo>
                  <a:lnTo>
                    <a:pt x="786" y="8"/>
                  </a:lnTo>
                  <a:lnTo>
                    <a:pt x="788" y="8"/>
                  </a:lnTo>
                  <a:lnTo>
                    <a:pt x="788" y="10"/>
                  </a:lnTo>
                  <a:lnTo>
                    <a:pt x="788" y="12"/>
                  </a:lnTo>
                  <a:lnTo>
                    <a:pt x="790" y="12"/>
                  </a:lnTo>
                  <a:lnTo>
                    <a:pt x="788" y="12"/>
                  </a:lnTo>
                  <a:lnTo>
                    <a:pt x="788" y="13"/>
                  </a:lnTo>
                  <a:lnTo>
                    <a:pt x="790" y="13"/>
                  </a:lnTo>
                  <a:lnTo>
                    <a:pt x="788" y="13"/>
                  </a:lnTo>
                  <a:lnTo>
                    <a:pt x="788" y="15"/>
                  </a:lnTo>
                  <a:lnTo>
                    <a:pt x="788" y="17"/>
                  </a:lnTo>
                  <a:lnTo>
                    <a:pt x="788" y="19"/>
                  </a:lnTo>
                  <a:lnTo>
                    <a:pt x="786" y="19"/>
                  </a:lnTo>
                  <a:lnTo>
                    <a:pt x="786" y="21"/>
                  </a:lnTo>
                  <a:lnTo>
                    <a:pt x="786" y="23"/>
                  </a:lnTo>
                  <a:lnTo>
                    <a:pt x="786" y="25"/>
                  </a:lnTo>
                  <a:lnTo>
                    <a:pt x="784" y="27"/>
                  </a:lnTo>
                  <a:lnTo>
                    <a:pt x="784" y="29"/>
                  </a:lnTo>
                  <a:lnTo>
                    <a:pt x="784" y="33"/>
                  </a:lnTo>
                  <a:lnTo>
                    <a:pt x="782" y="33"/>
                  </a:lnTo>
                  <a:lnTo>
                    <a:pt x="782" y="35"/>
                  </a:lnTo>
                  <a:lnTo>
                    <a:pt x="782" y="33"/>
                  </a:lnTo>
                  <a:lnTo>
                    <a:pt x="780" y="33"/>
                  </a:lnTo>
                  <a:lnTo>
                    <a:pt x="778" y="33"/>
                  </a:lnTo>
                  <a:lnTo>
                    <a:pt x="776" y="33"/>
                  </a:lnTo>
                  <a:lnTo>
                    <a:pt x="776" y="35"/>
                  </a:lnTo>
                  <a:lnTo>
                    <a:pt x="774" y="33"/>
                  </a:lnTo>
                  <a:lnTo>
                    <a:pt x="772" y="31"/>
                  </a:lnTo>
                  <a:lnTo>
                    <a:pt x="770" y="31"/>
                  </a:lnTo>
                  <a:lnTo>
                    <a:pt x="770" y="29"/>
                  </a:lnTo>
                  <a:lnTo>
                    <a:pt x="770" y="27"/>
                  </a:lnTo>
                  <a:lnTo>
                    <a:pt x="770" y="25"/>
                  </a:lnTo>
                  <a:lnTo>
                    <a:pt x="768" y="25"/>
                  </a:lnTo>
                  <a:lnTo>
                    <a:pt x="768" y="23"/>
                  </a:lnTo>
                  <a:lnTo>
                    <a:pt x="767" y="23"/>
                  </a:lnTo>
                  <a:lnTo>
                    <a:pt x="767" y="25"/>
                  </a:lnTo>
                  <a:lnTo>
                    <a:pt x="767" y="27"/>
                  </a:lnTo>
                  <a:lnTo>
                    <a:pt x="765" y="27"/>
                  </a:lnTo>
                  <a:lnTo>
                    <a:pt x="763" y="27"/>
                  </a:lnTo>
                  <a:lnTo>
                    <a:pt x="763" y="29"/>
                  </a:lnTo>
                  <a:lnTo>
                    <a:pt x="763" y="31"/>
                  </a:lnTo>
                  <a:lnTo>
                    <a:pt x="763" y="29"/>
                  </a:lnTo>
                  <a:lnTo>
                    <a:pt x="761" y="29"/>
                  </a:lnTo>
                  <a:lnTo>
                    <a:pt x="759" y="29"/>
                  </a:lnTo>
                  <a:lnTo>
                    <a:pt x="757" y="29"/>
                  </a:lnTo>
                  <a:lnTo>
                    <a:pt x="757" y="27"/>
                  </a:lnTo>
                  <a:lnTo>
                    <a:pt x="757" y="25"/>
                  </a:lnTo>
                  <a:lnTo>
                    <a:pt x="759" y="25"/>
                  </a:lnTo>
                  <a:lnTo>
                    <a:pt x="759" y="23"/>
                  </a:lnTo>
                  <a:lnTo>
                    <a:pt x="757" y="23"/>
                  </a:lnTo>
                  <a:lnTo>
                    <a:pt x="759" y="23"/>
                  </a:lnTo>
                  <a:lnTo>
                    <a:pt x="757" y="23"/>
                  </a:lnTo>
                  <a:lnTo>
                    <a:pt x="757" y="21"/>
                  </a:lnTo>
                  <a:lnTo>
                    <a:pt x="755" y="21"/>
                  </a:lnTo>
                  <a:lnTo>
                    <a:pt x="753" y="21"/>
                  </a:lnTo>
                  <a:lnTo>
                    <a:pt x="751" y="21"/>
                  </a:lnTo>
                  <a:lnTo>
                    <a:pt x="749" y="21"/>
                  </a:lnTo>
                  <a:lnTo>
                    <a:pt x="747" y="21"/>
                  </a:lnTo>
                  <a:lnTo>
                    <a:pt x="747" y="23"/>
                  </a:lnTo>
                  <a:lnTo>
                    <a:pt x="747" y="21"/>
                  </a:lnTo>
                  <a:lnTo>
                    <a:pt x="745" y="21"/>
                  </a:lnTo>
                  <a:lnTo>
                    <a:pt x="745" y="23"/>
                  </a:lnTo>
                  <a:lnTo>
                    <a:pt x="743" y="23"/>
                  </a:lnTo>
                  <a:lnTo>
                    <a:pt x="742" y="23"/>
                  </a:lnTo>
                  <a:lnTo>
                    <a:pt x="740" y="23"/>
                  </a:lnTo>
                  <a:lnTo>
                    <a:pt x="740" y="21"/>
                  </a:lnTo>
                  <a:lnTo>
                    <a:pt x="740" y="19"/>
                  </a:lnTo>
                  <a:lnTo>
                    <a:pt x="742" y="19"/>
                  </a:lnTo>
                  <a:lnTo>
                    <a:pt x="740" y="19"/>
                  </a:lnTo>
                  <a:lnTo>
                    <a:pt x="742" y="19"/>
                  </a:lnTo>
                  <a:lnTo>
                    <a:pt x="740" y="19"/>
                  </a:lnTo>
                  <a:lnTo>
                    <a:pt x="740" y="17"/>
                  </a:lnTo>
                  <a:lnTo>
                    <a:pt x="740" y="19"/>
                  </a:lnTo>
                  <a:lnTo>
                    <a:pt x="740" y="17"/>
                  </a:lnTo>
                  <a:lnTo>
                    <a:pt x="742" y="17"/>
                  </a:lnTo>
                  <a:lnTo>
                    <a:pt x="740" y="17"/>
                  </a:lnTo>
                  <a:lnTo>
                    <a:pt x="742" y="17"/>
                  </a:lnTo>
                  <a:lnTo>
                    <a:pt x="742" y="15"/>
                  </a:lnTo>
                  <a:lnTo>
                    <a:pt x="742" y="17"/>
                  </a:lnTo>
                  <a:lnTo>
                    <a:pt x="743" y="17"/>
                  </a:lnTo>
                  <a:lnTo>
                    <a:pt x="743" y="15"/>
                  </a:lnTo>
                  <a:lnTo>
                    <a:pt x="743" y="13"/>
                  </a:lnTo>
                  <a:lnTo>
                    <a:pt x="743" y="15"/>
                  </a:lnTo>
                  <a:lnTo>
                    <a:pt x="743" y="13"/>
                  </a:lnTo>
                  <a:lnTo>
                    <a:pt x="745" y="13"/>
                  </a:lnTo>
                  <a:lnTo>
                    <a:pt x="747" y="13"/>
                  </a:lnTo>
                  <a:lnTo>
                    <a:pt x="749" y="13"/>
                  </a:lnTo>
                  <a:lnTo>
                    <a:pt x="749" y="12"/>
                  </a:lnTo>
                  <a:lnTo>
                    <a:pt x="751" y="12"/>
                  </a:lnTo>
                  <a:lnTo>
                    <a:pt x="753" y="12"/>
                  </a:lnTo>
                  <a:lnTo>
                    <a:pt x="755" y="12"/>
                  </a:lnTo>
                  <a:lnTo>
                    <a:pt x="755" y="10"/>
                  </a:lnTo>
                  <a:lnTo>
                    <a:pt x="757" y="10"/>
                  </a:lnTo>
                  <a:lnTo>
                    <a:pt x="759" y="10"/>
                  </a:lnTo>
                  <a:lnTo>
                    <a:pt x="761" y="10"/>
                  </a:lnTo>
                  <a:lnTo>
                    <a:pt x="763" y="10"/>
                  </a:lnTo>
                  <a:lnTo>
                    <a:pt x="763" y="12"/>
                  </a:lnTo>
                  <a:lnTo>
                    <a:pt x="765" y="12"/>
                  </a:lnTo>
                  <a:lnTo>
                    <a:pt x="767" y="12"/>
                  </a:lnTo>
                  <a:lnTo>
                    <a:pt x="767" y="10"/>
                  </a:lnTo>
                  <a:lnTo>
                    <a:pt x="768" y="10"/>
                  </a:lnTo>
                  <a:lnTo>
                    <a:pt x="770" y="10"/>
                  </a:lnTo>
                  <a:lnTo>
                    <a:pt x="770" y="8"/>
                  </a:lnTo>
                  <a:lnTo>
                    <a:pt x="772" y="8"/>
                  </a:lnTo>
                  <a:lnTo>
                    <a:pt x="772" y="6"/>
                  </a:lnTo>
                  <a:lnTo>
                    <a:pt x="774" y="6"/>
                  </a:lnTo>
                  <a:lnTo>
                    <a:pt x="774" y="4"/>
                  </a:lnTo>
                  <a:lnTo>
                    <a:pt x="776" y="4"/>
                  </a:lnTo>
                  <a:lnTo>
                    <a:pt x="778" y="4"/>
                  </a:lnTo>
                  <a:lnTo>
                    <a:pt x="778" y="6"/>
                  </a:lnTo>
                  <a:lnTo>
                    <a:pt x="778" y="4"/>
                  </a:lnTo>
                  <a:lnTo>
                    <a:pt x="780" y="4"/>
                  </a:lnTo>
                  <a:lnTo>
                    <a:pt x="780" y="2"/>
                  </a:lnTo>
                  <a:close/>
                  <a:moveTo>
                    <a:pt x="632" y="127"/>
                  </a:moveTo>
                  <a:lnTo>
                    <a:pt x="634" y="127"/>
                  </a:lnTo>
                  <a:lnTo>
                    <a:pt x="634" y="129"/>
                  </a:lnTo>
                  <a:lnTo>
                    <a:pt x="636" y="129"/>
                  </a:lnTo>
                  <a:lnTo>
                    <a:pt x="636" y="131"/>
                  </a:lnTo>
                  <a:lnTo>
                    <a:pt x="634" y="131"/>
                  </a:lnTo>
                  <a:lnTo>
                    <a:pt x="634" y="132"/>
                  </a:lnTo>
                  <a:lnTo>
                    <a:pt x="632" y="132"/>
                  </a:lnTo>
                  <a:lnTo>
                    <a:pt x="632" y="134"/>
                  </a:lnTo>
                  <a:lnTo>
                    <a:pt x="630" y="134"/>
                  </a:lnTo>
                  <a:lnTo>
                    <a:pt x="630" y="136"/>
                  </a:lnTo>
                  <a:lnTo>
                    <a:pt x="628" y="136"/>
                  </a:lnTo>
                  <a:lnTo>
                    <a:pt x="628" y="138"/>
                  </a:lnTo>
                  <a:lnTo>
                    <a:pt x="626" y="138"/>
                  </a:lnTo>
                  <a:lnTo>
                    <a:pt x="626" y="140"/>
                  </a:lnTo>
                  <a:lnTo>
                    <a:pt x="624" y="140"/>
                  </a:lnTo>
                  <a:lnTo>
                    <a:pt x="624" y="142"/>
                  </a:lnTo>
                  <a:lnTo>
                    <a:pt x="623" y="142"/>
                  </a:lnTo>
                  <a:lnTo>
                    <a:pt x="623" y="144"/>
                  </a:lnTo>
                  <a:lnTo>
                    <a:pt x="621" y="144"/>
                  </a:lnTo>
                  <a:lnTo>
                    <a:pt x="621" y="146"/>
                  </a:lnTo>
                  <a:lnTo>
                    <a:pt x="619" y="146"/>
                  </a:lnTo>
                  <a:lnTo>
                    <a:pt x="621" y="146"/>
                  </a:lnTo>
                  <a:lnTo>
                    <a:pt x="621" y="148"/>
                  </a:lnTo>
                  <a:lnTo>
                    <a:pt x="619" y="148"/>
                  </a:lnTo>
                  <a:lnTo>
                    <a:pt x="617" y="148"/>
                  </a:lnTo>
                  <a:lnTo>
                    <a:pt x="619" y="148"/>
                  </a:lnTo>
                  <a:lnTo>
                    <a:pt x="617" y="148"/>
                  </a:lnTo>
                  <a:lnTo>
                    <a:pt x="617" y="150"/>
                  </a:lnTo>
                  <a:lnTo>
                    <a:pt x="615" y="150"/>
                  </a:lnTo>
                  <a:lnTo>
                    <a:pt x="615" y="152"/>
                  </a:lnTo>
                  <a:lnTo>
                    <a:pt x="613" y="152"/>
                  </a:lnTo>
                  <a:lnTo>
                    <a:pt x="611" y="152"/>
                  </a:lnTo>
                  <a:lnTo>
                    <a:pt x="613" y="152"/>
                  </a:lnTo>
                  <a:lnTo>
                    <a:pt x="613" y="154"/>
                  </a:lnTo>
                  <a:lnTo>
                    <a:pt x="611" y="154"/>
                  </a:lnTo>
                  <a:lnTo>
                    <a:pt x="613" y="154"/>
                  </a:lnTo>
                  <a:lnTo>
                    <a:pt x="611" y="154"/>
                  </a:lnTo>
                  <a:lnTo>
                    <a:pt x="609" y="154"/>
                  </a:lnTo>
                  <a:lnTo>
                    <a:pt x="609" y="156"/>
                  </a:lnTo>
                  <a:lnTo>
                    <a:pt x="607" y="156"/>
                  </a:lnTo>
                  <a:lnTo>
                    <a:pt x="605" y="156"/>
                  </a:lnTo>
                  <a:lnTo>
                    <a:pt x="605" y="157"/>
                  </a:lnTo>
                  <a:lnTo>
                    <a:pt x="603" y="157"/>
                  </a:lnTo>
                  <a:lnTo>
                    <a:pt x="603" y="156"/>
                  </a:lnTo>
                  <a:lnTo>
                    <a:pt x="603" y="154"/>
                  </a:lnTo>
                  <a:lnTo>
                    <a:pt x="601" y="154"/>
                  </a:lnTo>
                  <a:lnTo>
                    <a:pt x="603" y="154"/>
                  </a:lnTo>
                  <a:lnTo>
                    <a:pt x="601" y="154"/>
                  </a:lnTo>
                  <a:lnTo>
                    <a:pt x="599" y="154"/>
                  </a:lnTo>
                  <a:lnTo>
                    <a:pt x="599" y="152"/>
                  </a:lnTo>
                  <a:lnTo>
                    <a:pt x="601" y="152"/>
                  </a:lnTo>
                  <a:lnTo>
                    <a:pt x="601" y="150"/>
                  </a:lnTo>
                  <a:lnTo>
                    <a:pt x="599" y="152"/>
                  </a:lnTo>
                  <a:lnTo>
                    <a:pt x="601" y="152"/>
                  </a:lnTo>
                  <a:lnTo>
                    <a:pt x="599" y="152"/>
                  </a:lnTo>
                  <a:lnTo>
                    <a:pt x="599" y="150"/>
                  </a:lnTo>
                  <a:lnTo>
                    <a:pt x="598" y="150"/>
                  </a:lnTo>
                  <a:lnTo>
                    <a:pt x="598" y="148"/>
                  </a:lnTo>
                  <a:lnTo>
                    <a:pt x="596" y="148"/>
                  </a:lnTo>
                  <a:lnTo>
                    <a:pt x="596" y="146"/>
                  </a:lnTo>
                  <a:lnTo>
                    <a:pt x="596" y="144"/>
                  </a:lnTo>
                  <a:lnTo>
                    <a:pt x="598" y="144"/>
                  </a:lnTo>
                  <a:lnTo>
                    <a:pt x="598" y="142"/>
                  </a:lnTo>
                  <a:lnTo>
                    <a:pt x="599" y="142"/>
                  </a:lnTo>
                  <a:lnTo>
                    <a:pt x="601" y="142"/>
                  </a:lnTo>
                  <a:lnTo>
                    <a:pt x="601" y="140"/>
                  </a:lnTo>
                  <a:lnTo>
                    <a:pt x="603" y="140"/>
                  </a:lnTo>
                  <a:lnTo>
                    <a:pt x="605" y="140"/>
                  </a:lnTo>
                  <a:lnTo>
                    <a:pt x="605" y="138"/>
                  </a:lnTo>
                  <a:lnTo>
                    <a:pt x="605" y="140"/>
                  </a:lnTo>
                  <a:lnTo>
                    <a:pt x="605" y="138"/>
                  </a:lnTo>
                  <a:lnTo>
                    <a:pt x="607" y="138"/>
                  </a:lnTo>
                  <a:lnTo>
                    <a:pt x="607" y="136"/>
                  </a:lnTo>
                  <a:lnTo>
                    <a:pt x="609" y="136"/>
                  </a:lnTo>
                  <a:lnTo>
                    <a:pt x="611" y="136"/>
                  </a:lnTo>
                  <a:lnTo>
                    <a:pt x="611" y="134"/>
                  </a:lnTo>
                  <a:lnTo>
                    <a:pt x="613" y="134"/>
                  </a:lnTo>
                  <a:lnTo>
                    <a:pt x="613" y="132"/>
                  </a:lnTo>
                  <a:lnTo>
                    <a:pt x="615" y="132"/>
                  </a:lnTo>
                  <a:lnTo>
                    <a:pt x="617" y="132"/>
                  </a:lnTo>
                  <a:lnTo>
                    <a:pt x="619" y="132"/>
                  </a:lnTo>
                  <a:lnTo>
                    <a:pt x="619" y="131"/>
                  </a:lnTo>
                  <a:lnTo>
                    <a:pt x="621" y="131"/>
                  </a:lnTo>
                  <a:lnTo>
                    <a:pt x="621" y="132"/>
                  </a:lnTo>
                  <a:lnTo>
                    <a:pt x="623" y="132"/>
                  </a:lnTo>
                  <a:lnTo>
                    <a:pt x="623" y="131"/>
                  </a:lnTo>
                  <a:lnTo>
                    <a:pt x="624" y="131"/>
                  </a:lnTo>
                  <a:lnTo>
                    <a:pt x="624" y="129"/>
                  </a:lnTo>
                  <a:lnTo>
                    <a:pt x="626" y="129"/>
                  </a:lnTo>
                  <a:lnTo>
                    <a:pt x="628" y="129"/>
                  </a:lnTo>
                  <a:lnTo>
                    <a:pt x="628" y="127"/>
                  </a:lnTo>
                  <a:lnTo>
                    <a:pt x="630" y="127"/>
                  </a:lnTo>
                  <a:lnTo>
                    <a:pt x="632" y="127"/>
                  </a:lnTo>
                  <a:close/>
                  <a:moveTo>
                    <a:pt x="722" y="29"/>
                  </a:moveTo>
                  <a:lnTo>
                    <a:pt x="722" y="31"/>
                  </a:lnTo>
                  <a:lnTo>
                    <a:pt x="720" y="31"/>
                  </a:lnTo>
                  <a:lnTo>
                    <a:pt x="720" y="33"/>
                  </a:lnTo>
                  <a:lnTo>
                    <a:pt x="722" y="33"/>
                  </a:lnTo>
                  <a:lnTo>
                    <a:pt x="720" y="33"/>
                  </a:lnTo>
                  <a:lnTo>
                    <a:pt x="720" y="35"/>
                  </a:lnTo>
                  <a:lnTo>
                    <a:pt x="722" y="35"/>
                  </a:lnTo>
                  <a:lnTo>
                    <a:pt x="722" y="33"/>
                  </a:lnTo>
                  <a:lnTo>
                    <a:pt x="722" y="35"/>
                  </a:lnTo>
                  <a:lnTo>
                    <a:pt x="720" y="35"/>
                  </a:lnTo>
                  <a:lnTo>
                    <a:pt x="720" y="33"/>
                  </a:lnTo>
                  <a:lnTo>
                    <a:pt x="720" y="35"/>
                  </a:lnTo>
                  <a:lnTo>
                    <a:pt x="722" y="35"/>
                  </a:lnTo>
                  <a:lnTo>
                    <a:pt x="720" y="35"/>
                  </a:lnTo>
                  <a:lnTo>
                    <a:pt x="722" y="35"/>
                  </a:lnTo>
                  <a:lnTo>
                    <a:pt x="720" y="35"/>
                  </a:lnTo>
                  <a:lnTo>
                    <a:pt x="722" y="35"/>
                  </a:lnTo>
                  <a:lnTo>
                    <a:pt x="722" y="37"/>
                  </a:lnTo>
                  <a:lnTo>
                    <a:pt x="722" y="35"/>
                  </a:lnTo>
                  <a:lnTo>
                    <a:pt x="722" y="37"/>
                  </a:lnTo>
                  <a:lnTo>
                    <a:pt x="722" y="35"/>
                  </a:lnTo>
                  <a:lnTo>
                    <a:pt x="722" y="37"/>
                  </a:lnTo>
                  <a:lnTo>
                    <a:pt x="722" y="35"/>
                  </a:lnTo>
                  <a:lnTo>
                    <a:pt x="724" y="35"/>
                  </a:lnTo>
                  <a:lnTo>
                    <a:pt x="724" y="37"/>
                  </a:lnTo>
                  <a:lnTo>
                    <a:pt x="722" y="37"/>
                  </a:lnTo>
                  <a:lnTo>
                    <a:pt x="722" y="38"/>
                  </a:lnTo>
                  <a:lnTo>
                    <a:pt x="722" y="37"/>
                  </a:lnTo>
                  <a:lnTo>
                    <a:pt x="722" y="38"/>
                  </a:lnTo>
                  <a:lnTo>
                    <a:pt x="724" y="38"/>
                  </a:lnTo>
                  <a:lnTo>
                    <a:pt x="724" y="40"/>
                  </a:lnTo>
                  <a:lnTo>
                    <a:pt x="722" y="40"/>
                  </a:lnTo>
                  <a:lnTo>
                    <a:pt x="724" y="40"/>
                  </a:lnTo>
                  <a:lnTo>
                    <a:pt x="724" y="42"/>
                  </a:lnTo>
                  <a:lnTo>
                    <a:pt x="726" y="42"/>
                  </a:lnTo>
                  <a:lnTo>
                    <a:pt x="726" y="44"/>
                  </a:lnTo>
                  <a:lnTo>
                    <a:pt x="726" y="46"/>
                  </a:lnTo>
                  <a:lnTo>
                    <a:pt x="726" y="48"/>
                  </a:lnTo>
                  <a:lnTo>
                    <a:pt x="726" y="50"/>
                  </a:lnTo>
                  <a:lnTo>
                    <a:pt x="724" y="50"/>
                  </a:lnTo>
                  <a:lnTo>
                    <a:pt x="722" y="50"/>
                  </a:lnTo>
                  <a:lnTo>
                    <a:pt x="722" y="52"/>
                  </a:lnTo>
                  <a:lnTo>
                    <a:pt x="720" y="52"/>
                  </a:lnTo>
                  <a:lnTo>
                    <a:pt x="719" y="52"/>
                  </a:lnTo>
                  <a:lnTo>
                    <a:pt x="717" y="52"/>
                  </a:lnTo>
                  <a:lnTo>
                    <a:pt x="715" y="52"/>
                  </a:lnTo>
                  <a:lnTo>
                    <a:pt x="715" y="50"/>
                  </a:lnTo>
                  <a:lnTo>
                    <a:pt x="713" y="48"/>
                  </a:lnTo>
                  <a:lnTo>
                    <a:pt x="713" y="46"/>
                  </a:lnTo>
                  <a:lnTo>
                    <a:pt x="713" y="44"/>
                  </a:lnTo>
                  <a:lnTo>
                    <a:pt x="713" y="42"/>
                  </a:lnTo>
                  <a:lnTo>
                    <a:pt x="711" y="42"/>
                  </a:lnTo>
                  <a:lnTo>
                    <a:pt x="711" y="40"/>
                  </a:lnTo>
                  <a:lnTo>
                    <a:pt x="711" y="38"/>
                  </a:lnTo>
                  <a:lnTo>
                    <a:pt x="711" y="37"/>
                  </a:lnTo>
                  <a:lnTo>
                    <a:pt x="711" y="35"/>
                  </a:lnTo>
                  <a:lnTo>
                    <a:pt x="711" y="33"/>
                  </a:lnTo>
                  <a:lnTo>
                    <a:pt x="709" y="33"/>
                  </a:lnTo>
                  <a:lnTo>
                    <a:pt x="711" y="33"/>
                  </a:lnTo>
                  <a:lnTo>
                    <a:pt x="709" y="33"/>
                  </a:lnTo>
                  <a:lnTo>
                    <a:pt x="711" y="33"/>
                  </a:lnTo>
                  <a:lnTo>
                    <a:pt x="711" y="35"/>
                  </a:lnTo>
                  <a:lnTo>
                    <a:pt x="713" y="35"/>
                  </a:lnTo>
                  <a:lnTo>
                    <a:pt x="713" y="33"/>
                  </a:lnTo>
                  <a:lnTo>
                    <a:pt x="715" y="33"/>
                  </a:lnTo>
                  <a:lnTo>
                    <a:pt x="713" y="33"/>
                  </a:lnTo>
                  <a:lnTo>
                    <a:pt x="715" y="33"/>
                  </a:lnTo>
                  <a:lnTo>
                    <a:pt x="715" y="31"/>
                  </a:lnTo>
                  <a:lnTo>
                    <a:pt x="715" y="33"/>
                  </a:lnTo>
                  <a:lnTo>
                    <a:pt x="715" y="31"/>
                  </a:lnTo>
                  <a:lnTo>
                    <a:pt x="717" y="31"/>
                  </a:lnTo>
                  <a:lnTo>
                    <a:pt x="719" y="31"/>
                  </a:lnTo>
                  <a:lnTo>
                    <a:pt x="720" y="31"/>
                  </a:lnTo>
                  <a:lnTo>
                    <a:pt x="720" y="29"/>
                  </a:lnTo>
                  <a:lnTo>
                    <a:pt x="722" y="29"/>
                  </a:lnTo>
                  <a:close/>
                  <a:moveTo>
                    <a:pt x="678" y="349"/>
                  </a:moveTo>
                  <a:lnTo>
                    <a:pt x="678" y="351"/>
                  </a:lnTo>
                  <a:lnTo>
                    <a:pt x="680" y="351"/>
                  </a:lnTo>
                  <a:lnTo>
                    <a:pt x="680" y="349"/>
                  </a:lnTo>
                  <a:lnTo>
                    <a:pt x="680" y="351"/>
                  </a:lnTo>
                  <a:lnTo>
                    <a:pt x="682" y="351"/>
                  </a:lnTo>
                  <a:lnTo>
                    <a:pt x="682" y="353"/>
                  </a:lnTo>
                  <a:lnTo>
                    <a:pt x="684" y="353"/>
                  </a:lnTo>
                  <a:lnTo>
                    <a:pt x="686" y="353"/>
                  </a:lnTo>
                  <a:lnTo>
                    <a:pt x="686" y="355"/>
                  </a:lnTo>
                  <a:lnTo>
                    <a:pt x="688" y="355"/>
                  </a:lnTo>
                  <a:lnTo>
                    <a:pt x="688" y="357"/>
                  </a:lnTo>
                  <a:lnTo>
                    <a:pt x="688" y="359"/>
                  </a:lnTo>
                  <a:lnTo>
                    <a:pt x="688" y="361"/>
                  </a:lnTo>
                  <a:lnTo>
                    <a:pt x="688" y="363"/>
                  </a:lnTo>
                  <a:lnTo>
                    <a:pt x="686" y="363"/>
                  </a:lnTo>
                  <a:lnTo>
                    <a:pt x="684" y="371"/>
                  </a:lnTo>
                  <a:lnTo>
                    <a:pt x="684" y="369"/>
                  </a:lnTo>
                  <a:lnTo>
                    <a:pt x="682" y="369"/>
                  </a:lnTo>
                  <a:lnTo>
                    <a:pt x="682" y="367"/>
                  </a:lnTo>
                  <a:lnTo>
                    <a:pt x="680" y="367"/>
                  </a:lnTo>
                  <a:lnTo>
                    <a:pt x="680" y="369"/>
                  </a:lnTo>
                  <a:lnTo>
                    <a:pt x="680" y="367"/>
                  </a:lnTo>
                  <a:lnTo>
                    <a:pt x="680" y="369"/>
                  </a:lnTo>
                  <a:lnTo>
                    <a:pt x="678" y="369"/>
                  </a:lnTo>
                  <a:lnTo>
                    <a:pt x="678" y="367"/>
                  </a:lnTo>
                  <a:lnTo>
                    <a:pt x="680" y="367"/>
                  </a:lnTo>
                  <a:lnTo>
                    <a:pt x="680" y="365"/>
                  </a:lnTo>
                  <a:lnTo>
                    <a:pt x="680" y="363"/>
                  </a:lnTo>
                  <a:lnTo>
                    <a:pt x="678" y="363"/>
                  </a:lnTo>
                  <a:lnTo>
                    <a:pt x="678" y="361"/>
                  </a:lnTo>
                  <a:lnTo>
                    <a:pt x="678" y="363"/>
                  </a:lnTo>
                  <a:lnTo>
                    <a:pt x="678" y="361"/>
                  </a:lnTo>
                  <a:lnTo>
                    <a:pt x="676" y="361"/>
                  </a:lnTo>
                  <a:lnTo>
                    <a:pt x="674" y="359"/>
                  </a:lnTo>
                  <a:lnTo>
                    <a:pt x="674" y="357"/>
                  </a:lnTo>
                  <a:lnTo>
                    <a:pt x="674" y="355"/>
                  </a:lnTo>
                  <a:lnTo>
                    <a:pt x="674" y="353"/>
                  </a:lnTo>
                  <a:lnTo>
                    <a:pt x="672" y="353"/>
                  </a:lnTo>
                  <a:lnTo>
                    <a:pt x="674" y="353"/>
                  </a:lnTo>
                  <a:lnTo>
                    <a:pt x="674" y="351"/>
                  </a:lnTo>
                  <a:lnTo>
                    <a:pt x="672" y="351"/>
                  </a:lnTo>
                  <a:lnTo>
                    <a:pt x="674" y="351"/>
                  </a:lnTo>
                  <a:lnTo>
                    <a:pt x="674" y="349"/>
                  </a:lnTo>
                  <a:lnTo>
                    <a:pt x="676" y="349"/>
                  </a:lnTo>
                  <a:lnTo>
                    <a:pt x="678" y="349"/>
                  </a:lnTo>
                  <a:close/>
                  <a:moveTo>
                    <a:pt x="694" y="100"/>
                  </a:moveTo>
                  <a:lnTo>
                    <a:pt x="695" y="100"/>
                  </a:lnTo>
                  <a:lnTo>
                    <a:pt x="697" y="100"/>
                  </a:lnTo>
                  <a:lnTo>
                    <a:pt x="695" y="100"/>
                  </a:lnTo>
                  <a:lnTo>
                    <a:pt x="695" y="102"/>
                  </a:lnTo>
                  <a:lnTo>
                    <a:pt x="697" y="102"/>
                  </a:lnTo>
                  <a:lnTo>
                    <a:pt x="697" y="100"/>
                  </a:lnTo>
                  <a:lnTo>
                    <a:pt x="699" y="102"/>
                  </a:lnTo>
                  <a:lnTo>
                    <a:pt x="701" y="102"/>
                  </a:lnTo>
                  <a:lnTo>
                    <a:pt x="703" y="102"/>
                  </a:lnTo>
                  <a:lnTo>
                    <a:pt x="703" y="104"/>
                  </a:lnTo>
                  <a:lnTo>
                    <a:pt x="705" y="104"/>
                  </a:lnTo>
                  <a:lnTo>
                    <a:pt x="705" y="106"/>
                  </a:lnTo>
                  <a:lnTo>
                    <a:pt x="705" y="108"/>
                  </a:lnTo>
                  <a:lnTo>
                    <a:pt x="707" y="108"/>
                  </a:lnTo>
                  <a:lnTo>
                    <a:pt x="707" y="109"/>
                  </a:lnTo>
                  <a:lnTo>
                    <a:pt x="707" y="111"/>
                  </a:lnTo>
                  <a:lnTo>
                    <a:pt x="705" y="111"/>
                  </a:lnTo>
                  <a:lnTo>
                    <a:pt x="703" y="111"/>
                  </a:lnTo>
                  <a:lnTo>
                    <a:pt x="703" y="113"/>
                  </a:lnTo>
                  <a:lnTo>
                    <a:pt x="701" y="113"/>
                  </a:lnTo>
                  <a:lnTo>
                    <a:pt x="699" y="113"/>
                  </a:lnTo>
                  <a:lnTo>
                    <a:pt x="699" y="111"/>
                  </a:lnTo>
                  <a:lnTo>
                    <a:pt x="697" y="111"/>
                  </a:lnTo>
                  <a:lnTo>
                    <a:pt x="695" y="111"/>
                  </a:lnTo>
                  <a:lnTo>
                    <a:pt x="697" y="111"/>
                  </a:lnTo>
                  <a:lnTo>
                    <a:pt x="697" y="113"/>
                  </a:lnTo>
                  <a:lnTo>
                    <a:pt x="695" y="113"/>
                  </a:lnTo>
                  <a:lnTo>
                    <a:pt x="695" y="111"/>
                  </a:lnTo>
                  <a:lnTo>
                    <a:pt x="695" y="109"/>
                  </a:lnTo>
                  <a:lnTo>
                    <a:pt x="694" y="109"/>
                  </a:lnTo>
                  <a:lnTo>
                    <a:pt x="692" y="109"/>
                  </a:lnTo>
                  <a:lnTo>
                    <a:pt x="692" y="108"/>
                  </a:lnTo>
                  <a:lnTo>
                    <a:pt x="690" y="108"/>
                  </a:lnTo>
                  <a:lnTo>
                    <a:pt x="688" y="108"/>
                  </a:lnTo>
                  <a:lnTo>
                    <a:pt x="688" y="106"/>
                  </a:lnTo>
                  <a:lnTo>
                    <a:pt x="686" y="106"/>
                  </a:lnTo>
                  <a:lnTo>
                    <a:pt x="686" y="104"/>
                  </a:lnTo>
                  <a:lnTo>
                    <a:pt x="688" y="104"/>
                  </a:lnTo>
                  <a:lnTo>
                    <a:pt x="688" y="102"/>
                  </a:lnTo>
                  <a:lnTo>
                    <a:pt x="690" y="102"/>
                  </a:lnTo>
                  <a:lnTo>
                    <a:pt x="690" y="100"/>
                  </a:lnTo>
                  <a:lnTo>
                    <a:pt x="692" y="100"/>
                  </a:lnTo>
                  <a:lnTo>
                    <a:pt x="694" y="100"/>
                  </a:lnTo>
                  <a:lnTo>
                    <a:pt x="692" y="100"/>
                  </a:lnTo>
                  <a:lnTo>
                    <a:pt x="694" y="100"/>
                  </a:lnTo>
                  <a:close/>
                  <a:moveTo>
                    <a:pt x="751" y="144"/>
                  </a:moveTo>
                  <a:lnTo>
                    <a:pt x="749" y="148"/>
                  </a:lnTo>
                  <a:lnTo>
                    <a:pt x="749" y="152"/>
                  </a:lnTo>
                  <a:lnTo>
                    <a:pt x="747" y="154"/>
                  </a:lnTo>
                  <a:lnTo>
                    <a:pt x="747" y="156"/>
                  </a:lnTo>
                  <a:lnTo>
                    <a:pt x="747" y="157"/>
                  </a:lnTo>
                  <a:lnTo>
                    <a:pt x="745" y="159"/>
                  </a:lnTo>
                  <a:lnTo>
                    <a:pt x="745" y="161"/>
                  </a:lnTo>
                  <a:lnTo>
                    <a:pt x="743" y="161"/>
                  </a:lnTo>
                  <a:lnTo>
                    <a:pt x="743" y="159"/>
                  </a:lnTo>
                  <a:lnTo>
                    <a:pt x="743" y="157"/>
                  </a:lnTo>
                  <a:lnTo>
                    <a:pt x="743" y="159"/>
                  </a:lnTo>
                  <a:lnTo>
                    <a:pt x="743" y="157"/>
                  </a:lnTo>
                  <a:lnTo>
                    <a:pt x="743" y="156"/>
                  </a:lnTo>
                  <a:lnTo>
                    <a:pt x="742" y="156"/>
                  </a:lnTo>
                  <a:lnTo>
                    <a:pt x="742" y="154"/>
                  </a:lnTo>
                  <a:lnTo>
                    <a:pt x="740" y="154"/>
                  </a:lnTo>
                  <a:lnTo>
                    <a:pt x="740" y="152"/>
                  </a:lnTo>
                  <a:lnTo>
                    <a:pt x="742" y="152"/>
                  </a:lnTo>
                  <a:lnTo>
                    <a:pt x="740" y="152"/>
                  </a:lnTo>
                  <a:lnTo>
                    <a:pt x="742" y="152"/>
                  </a:lnTo>
                  <a:lnTo>
                    <a:pt x="742" y="150"/>
                  </a:lnTo>
                  <a:lnTo>
                    <a:pt x="740" y="150"/>
                  </a:lnTo>
                  <a:lnTo>
                    <a:pt x="742" y="150"/>
                  </a:lnTo>
                  <a:lnTo>
                    <a:pt x="742" y="148"/>
                  </a:lnTo>
                  <a:lnTo>
                    <a:pt x="742" y="146"/>
                  </a:lnTo>
                  <a:lnTo>
                    <a:pt x="743" y="146"/>
                  </a:lnTo>
                  <a:lnTo>
                    <a:pt x="742" y="146"/>
                  </a:lnTo>
                  <a:lnTo>
                    <a:pt x="743" y="146"/>
                  </a:lnTo>
                  <a:lnTo>
                    <a:pt x="742" y="146"/>
                  </a:lnTo>
                  <a:lnTo>
                    <a:pt x="743" y="146"/>
                  </a:lnTo>
                  <a:lnTo>
                    <a:pt x="745" y="146"/>
                  </a:lnTo>
                  <a:lnTo>
                    <a:pt x="747" y="146"/>
                  </a:lnTo>
                  <a:lnTo>
                    <a:pt x="747" y="144"/>
                  </a:lnTo>
                  <a:lnTo>
                    <a:pt x="749" y="144"/>
                  </a:lnTo>
                  <a:lnTo>
                    <a:pt x="751" y="144"/>
                  </a:lnTo>
                  <a:close/>
                  <a:moveTo>
                    <a:pt x="680" y="369"/>
                  </a:moveTo>
                  <a:lnTo>
                    <a:pt x="682" y="369"/>
                  </a:lnTo>
                  <a:lnTo>
                    <a:pt x="682" y="371"/>
                  </a:lnTo>
                  <a:lnTo>
                    <a:pt x="682" y="372"/>
                  </a:lnTo>
                  <a:lnTo>
                    <a:pt x="684" y="372"/>
                  </a:lnTo>
                  <a:lnTo>
                    <a:pt x="684" y="374"/>
                  </a:lnTo>
                  <a:lnTo>
                    <a:pt x="682" y="378"/>
                  </a:lnTo>
                  <a:lnTo>
                    <a:pt x="682" y="380"/>
                  </a:lnTo>
                  <a:lnTo>
                    <a:pt x="682" y="382"/>
                  </a:lnTo>
                  <a:lnTo>
                    <a:pt x="680" y="382"/>
                  </a:lnTo>
                  <a:lnTo>
                    <a:pt x="680" y="380"/>
                  </a:lnTo>
                  <a:lnTo>
                    <a:pt x="680" y="378"/>
                  </a:lnTo>
                  <a:lnTo>
                    <a:pt x="682" y="378"/>
                  </a:lnTo>
                  <a:lnTo>
                    <a:pt x="680" y="376"/>
                  </a:lnTo>
                  <a:lnTo>
                    <a:pt x="680" y="374"/>
                  </a:lnTo>
                  <a:lnTo>
                    <a:pt x="680" y="372"/>
                  </a:lnTo>
                  <a:lnTo>
                    <a:pt x="678" y="372"/>
                  </a:lnTo>
                  <a:lnTo>
                    <a:pt x="680" y="372"/>
                  </a:lnTo>
                  <a:lnTo>
                    <a:pt x="678" y="372"/>
                  </a:lnTo>
                  <a:lnTo>
                    <a:pt x="678" y="374"/>
                  </a:lnTo>
                  <a:lnTo>
                    <a:pt x="678" y="372"/>
                  </a:lnTo>
                  <a:lnTo>
                    <a:pt x="678" y="374"/>
                  </a:lnTo>
                  <a:lnTo>
                    <a:pt x="676" y="372"/>
                  </a:lnTo>
                  <a:lnTo>
                    <a:pt x="676" y="374"/>
                  </a:lnTo>
                  <a:lnTo>
                    <a:pt x="676" y="372"/>
                  </a:lnTo>
                  <a:lnTo>
                    <a:pt x="676" y="371"/>
                  </a:lnTo>
                  <a:lnTo>
                    <a:pt x="678" y="372"/>
                  </a:lnTo>
                  <a:lnTo>
                    <a:pt x="678" y="371"/>
                  </a:lnTo>
                  <a:lnTo>
                    <a:pt x="678" y="372"/>
                  </a:lnTo>
                  <a:lnTo>
                    <a:pt x="678" y="371"/>
                  </a:lnTo>
                  <a:lnTo>
                    <a:pt x="678" y="372"/>
                  </a:lnTo>
                  <a:lnTo>
                    <a:pt x="678" y="371"/>
                  </a:lnTo>
                  <a:lnTo>
                    <a:pt x="678" y="369"/>
                  </a:lnTo>
                  <a:lnTo>
                    <a:pt x="680" y="369"/>
                  </a:lnTo>
                  <a:close/>
                  <a:moveTo>
                    <a:pt x="582" y="115"/>
                  </a:moveTo>
                  <a:lnTo>
                    <a:pt x="582" y="117"/>
                  </a:lnTo>
                  <a:lnTo>
                    <a:pt x="584" y="117"/>
                  </a:lnTo>
                  <a:lnTo>
                    <a:pt x="584" y="119"/>
                  </a:lnTo>
                  <a:lnTo>
                    <a:pt x="582" y="119"/>
                  </a:lnTo>
                  <a:lnTo>
                    <a:pt x="582" y="121"/>
                  </a:lnTo>
                  <a:lnTo>
                    <a:pt x="580" y="121"/>
                  </a:lnTo>
                  <a:lnTo>
                    <a:pt x="580" y="123"/>
                  </a:lnTo>
                  <a:lnTo>
                    <a:pt x="578" y="123"/>
                  </a:lnTo>
                  <a:lnTo>
                    <a:pt x="578" y="125"/>
                  </a:lnTo>
                  <a:lnTo>
                    <a:pt x="578" y="127"/>
                  </a:lnTo>
                  <a:lnTo>
                    <a:pt x="576" y="127"/>
                  </a:lnTo>
                  <a:lnTo>
                    <a:pt x="574" y="127"/>
                  </a:lnTo>
                  <a:lnTo>
                    <a:pt x="573" y="125"/>
                  </a:lnTo>
                  <a:lnTo>
                    <a:pt x="573" y="123"/>
                  </a:lnTo>
                  <a:lnTo>
                    <a:pt x="574" y="123"/>
                  </a:lnTo>
                  <a:lnTo>
                    <a:pt x="576" y="123"/>
                  </a:lnTo>
                  <a:lnTo>
                    <a:pt x="578" y="123"/>
                  </a:lnTo>
                  <a:lnTo>
                    <a:pt x="576" y="123"/>
                  </a:lnTo>
                  <a:lnTo>
                    <a:pt x="578" y="123"/>
                  </a:lnTo>
                  <a:lnTo>
                    <a:pt x="578" y="121"/>
                  </a:lnTo>
                  <a:lnTo>
                    <a:pt x="580" y="121"/>
                  </a:lnTo>
                  <a:lnTo>
                    <a:pt x="580" y="119"/>
                  </a:lnTo>
                  <a:lnTo>
                    <a:pt x="580" y="117"/>
                  </a:lnTo>
                  <a:lnTo>
                    <a:pt x="582" y="117"/>
                  </a:lnTo>
                  <a:lnTo>
                    <a:pt x="582" y="115"/>
                  </a:lnTo>
                  <a:close/>
                  <a:moveTo>
                    <a:pt x="596" y="495"/>
                  </a:moveTo>
                  <a:lnTo>
                    <a:pt x="598" y="495"/>
                  </a:lnTo>
                  <a:lnTo>
                    <a:pt x="598" y="497"/>
                  </a:lnTo>
                  <a:lnTo>
                    <a:pt x="598" y="495"/>
                  </a:lnTo>
                  <a:lnTo>
                    <a:pt x="598" y="497"/>
                  </a:lnTo>
                  <a:lnTo>
                    <a:pt x="599" y="497"/>
                  </a:lnTo>
                  <a:lnTo>
                    <a:pt x="599" y="499"/>
                  </a:lnTo>
                  <a:lnTo>
                    <a:pt x="601" y="499"/>
                  </a:lnTo>
                  <a:lnTo>
                    <a:pt x="601" y="501"/>
                  </a:lnTo>
                  <a:lnTo>
                    <a:pt x="603" y="501"/>
                  </a:lnTo>
                  <a:lnTo>
                    <a:pt x="601" y="501"/>
                  </a:lnTo>
                  <a:lnTo>
                    <a:pt x="603" y="501"/>
                  </a:lnTo>
                  <a:lnTo>
                    <a:pt x="603" y="503"/>
                  </a:lnTo>
                  <a:lnTo>
                    <a:pt x="605" y="503"/>
                  </a:lnTo>
                  <a:lnTo>
                    <a:pt x="607" y="503"/>
                  </a:lnTo>
                  <a:lnTo>
                    <a:pt x="605" y="503"/>
                  </a:lnTo>
                  <a:lnTo>
                    <a:pt x="603" y="503"/>
                  </a:lnTo>
                  <a:lnTo>
                    <a:pt x="601" y="503"/>
                  </a:lnTo>
                  <a:lnTo>
                    <a:pt x="599" y="503"/>
                  </a:lnTo>
                  <a:lnTo>
                    <a:pt x="599" y="501"/>
                  </a:lnTo>
                  <a:lnTo>
                    <a:pt x="599" y="503"/>
                  </a:lnTo>
                  <a:lnTo>
                    <a:pt x="599" y="501"/>
                  </a:lnTo>
                  <a:lnTo>
                    <a:pt x="598" y="501"/>
                  </a:lnTo>
                  <a:lnTo>
                    <a:pt x="598" y="499"/>
                  </a:lnTo>
                  <a:lnTo>
                    <a:pt x="596" y="499"/>
                  </a:lnTo>
                  <a:lnTo>
                    <a:pt x="596" y="497"/>
                  </a:lnTo>
                  <a:lnTo>
                    <a:pt x="596" y="495"/>
                  </a:lnTo>
                  <a:close/>
                  <a:moveTo>
                    <a:pt x="308" y="340"/>
                  </a:moveTo>
                  <a:lnTo>
                    <a:pt x="308" y="342"/>
                  </a:lnTo>
                  <a:lnTo>
                    <a:pt x="308" y="344"/>
                  </a:lnTo>
                  <a:lnTo>
                    <a:pt x="308" y="342"/>
                  </a:lnTo>
                  <a:lnTo>
                    <a:pt x="308" y="344"/>
                  </a:lnTo>
                  <a:lnTo>
                    <a:pt x="306" y="344"/>
                  </a:lnTo>
                  <a:lnTo>
                    <a:pt x="304" y="344"/>
                  </a:lnTo>
                  <a:lnTo>
                    <a:pt x="304" y="342"/>
                  </a:lnTo>
                  <a:lnTo>
                    <a:pt x="306" y="342"/>
                  </a:lnTo>
                  <a:lnTo>
                    <a:pt x="304" y="342"/>
                  </a:lnTo>
                  <a:lnTo>
                    <a:pt x="306" y="342"/>
                  </a:lnTo>
                  <a:lnTo>
                    <a:pt x="306" y="340"/>
                  </a:lnTo>
                  <a:lnTo>
                    <a:pt x="306" y="342"/>
                  </a:lnTo>
                  <a:lnTo>
                    <a:pt x="304" y="342"/>
                  </a:lnTo>
                  <a:lnTo>
                    <a:pt x="304" y="344"/>
                  </a:lnTo>
                  <a:lnTo>
                    <a:pt x="302" y="344"/>
                  </a:lnTo>
                  <a:lnTo>
                    <a:pt x="300" y="344"/>
                  </a:lnTo>
                  <a:lnTo>
                    <a:pt x="300" y="346"/>
                  </a:lnTo>
                  <a:lnTo>
                    <a:pt x="300" y="344"/>
                  </a:lnTo>
                  <a:lnTo>
                    <a:pt x="302" y="344"/>
                  </a:lnTo>
                  <a:lnTo>
                    <a:pt x="302" y="342"/>
                  </a:lnTo>
                  <a:lnTo>
                    <a:pt x="304" y="342"/>
                  </a:lnTo>
                  <a:lnTo>
                    <a:pt x="304" y="340"/>
                  </a:lnTo>
                  <a:lnTo>
                    <a:pt x="306" y="340"/>
                  </a:lnTo>
                  <a:lnTo>
                    <a:pt x="306" y="338"/>
                  </a:lnTo>
                  <a:lnTo>
                    <a:pt x="308" y="338"/>
                  </a:lnTo>
                  <a:lnTo>
                    <a:pt x="308" y="340"/>
                  </a:lnTo>
                  <a:close/>
                  <a:moveTo>
                    <a:pt x="505" y="447"/>
                  </a:moveTo>
                  <a:lnTo>
                    <a:pt x="507" y="447"/>
                  </a:lnTo>
                  <a:lnTo>
                    <a:pt x="507" y="449"/>
                  </a:lnTo>
                  <a:lnTo>
                    <a:pt x="505" y="449"/>
                  </a:lnTo>
                  <a:lnTo>
                    <a:pt x="507" y="449"/>
                  </a:lnTo>
                  <a:lnTo>
                    <a:pt x="509" y="449"/>
                  </a:lnTo>
                  <a:lnTo>
                    <a:pt x="509" y="451"/>
                  </a:lnTo>
                  <a:lnTo>
                    <a:pt x="511" y="451"/>
                  </a:lnTo>
                  <a:lnTo>
                    <a:pt x="511" y="453"/>
                  </a:lnTo>
                  <a:lnTo>
                    <a:pt x="511" y="451"/>
                  </a:lnTo>
                  <a:lnTo>
                    <a:pt x="509" y="451"/>
                  </a:lnTo>
                  <a:lnTo>
                    <a:pt x="507" y="451"/>
                  </a:lnTo>
                  <a:lnTo>
                    <a:pt x="505" y="451"/>
                  </a:lnTo>
                  <a:lnTo>
                    <a:pt x="505" y="449"/>
                  </a:lnTo>
                  <a:lnTo>
                    <a:pt x="503" y="449"/>
                  </a:lnTo>
                  <a:lnTo>
                    <a:pt x="505" y="449"/>
                  </a:lnTo>
                  <a:lnTo>
                    <a:pt x="503" y="449"/>
                  </a:lnTo>
                  <a:lnTo>
                    <a:pt x="505" y="449"/>
                  </a:lnTo>
                  <a:lnTo>
                    <a:pt x="503" y="449"/>
                  </a:lnTo>
                  <a:lnTo>
                    <a:pt x="503" y="447"/>
                  </a:lnTo>
                  <a:lnTo>
                    <a:pt x="505" y="447"/>
                  </a:lnTo>
                  <a:close/>
                  <a:moveTo>
                    <a:pt x="559" y="106"/>
                  </a:moveTo>
                  <a:lnTo>
                    <a:pt x="561" y="106"/>
                  </a:lnTo>
                  <a:lnTo>
                    <a:pt x="561" y="108"/>
                  </a:lnTo>
                  <a:lnTo>
                    <a:pt x="563" y="108"/>
                  </a:lnTo>
                  <a:lnTo>
                    <a:pt x="563" y="109"/>
                  </a:lnTo>
                  <a:lnTo>
                    <a:pt x="563" y="108"/>
                  </a:lnTo>
                  <a:lnTo>
                    <a:pt x="563" y="109"/>
                  </a:lnTo>
                  <a:lnTo>
                    <a:pt x="563" y="111"/>
                  </a:lnTo>
                  <a:lnTo>
                    <a:pt x="561" y="111"/>
                  </a:lnTo>
                  <a:lnTo>
                    <a:pt x="561" y="109"/>
                  </a:lnTo>
                  <a:lnTo>
                    <a:pt x="559" y="109"/>
                  </a:lnTo>
                  <a:lnTo>
                    <a:pt x="561" y="109"/>
                  </a:lnTo>
                  <a:lnTo>
                    <a:pt x="559" y="109"/>
                  </a:lnTo>
                  <a:lnTo>
                    <a:pt x="561" y="109"/>
                  </a:lnTo>
                  <a:lnTo>
                    <a:pt x="561" y="108"/>
                  </a:lnTo>
                  <a:lnTo>
                    <a:pt x="559" y="108"/>
                  </a:lnTo>
                  <a:lnTo>
                    <a:pt x="557" y="108"/>
                  </a:lnTo>
                  <a:lnTo>
                    <a:pt x="557" y="106"/>
                  </a:lnTo>
                  <a:lnTo>
                    <a:pt x="559" y="106"/>
                  </a:lnTo>
                  <a:close/>
                  <a:moveTo>
                    <a:pt x="467" y="217"/>
                  </a:moveTo>
                  <a:lnTo>
                    <a:pt x="467" y="219"/>
                  </a:lnTo>
                  <a:lnTo>
                    <a:pt x="467" y="221"/>
                  </a:lnTo>
                  <a:lnTo>
                    <a:pt x="469" y="221"/>
                  </a:lnTo>
                  <a:lnTo>
                    <a:pt x="467" y="221"/>
                  </a:lnTo>
                  <a:lnTo>
                    <a:pt x="469" y="221"/>
                  </a:lnTo>
                  <a:lnTo>
                    <a:pt x="469" y="223"/>
                  </a:lnTo>
                  <a:lnTo>
                    <a:pt x="467" y="223"/>
                  </a:lnTo>
                  <a:lnTo>
                    <a:pt x="465" y="223"/>
                  </a:lnTo>
                  <a:lnTo>
                    <a:pt x="463" y="223"/>
                  </a:lnTo>
                  <a:lnTo>
                    <a:pt x="463" y="221"/>
                  </a:lnTo>
                  <a:lnTo>
                    <a:pt x="465" y="221"/>
                  </a:lnTo>
                  <a:lnTo>
                    <a:pt x="465" y="219"/>
                  </a:lnTo>
                  <a:lnTo>
                    <a:pt x="467" y="219"/>
                  </a:lnTo>
                  <a:lnTo>
                    <a:pt x="467" y="217"/>
                  </a:lnTo>
                  <a:close/>
                  <a:moveTo>
                    <a:pt x="513" y="453"/>
                  </a:moveTo>
                  <a:lnTo>
                    <a:pt x="515" y="453"/>
                  </a:lnTo>
                  <a:lnTo>
                    <a:pt x="517" y="453"/>
                  </a:lnTo>
                  <a:lnTo>
                    <a:pt x="517" y="455"/>
                  </a:lnTo>
                  <a:lnTo>
                    <a:pt x="519" y="455"/>
                  </a:lnTo>
                  <a:lnTo>
                    <a:pt x="517" y="455"/>
                  </a:lnTo>
                  <a:lnTo>
                    <a:pt x="519" y="455"/>
                  </a:lnTo>
                  <a:lnTo>
                    <a:pt x="517" y="455"/>
                  </a:lnTo>
                  <a:lnTo>
                    <a:pt x="519" y="455"/>
                  </a:lnTo>
                  <a:lnTo>
                    <a:pt x="519" y="457"/>
                  </a:lnTo>
                  <a:lnTo>
                    <a:pt x="521" y="457"/>
                  </a:lnTo>
                  <a:lnTo>
                    <a:pt x="519" y="457"/>
                  </a:lnTo>
                  <a:lnTo>
                    <a:pt x="521" y="457"/>
                  </a:lnTo>
                  <a:lnTo>
                    <a:pt x="519" y="457"/>
                  </a:lnTo>
                  <a:lnTo>
                    <a:pt x="521" y="457"/>
                  </a:lnTo>
                  <a:lnTo>
                    <a:pt x="521" y="459"/>
                  </a:lnTo>
                  <a:lnTo>
                    <a:pt x="519" y="459"/>
                  </a:lnTo>
                  <a:lnTo>
                    <a:pt x="521" y="459"/>
                  </a:lnTo>
                  <a:lnTo>
                    <a:pt x="519" y="459"/>
                  </a:lnTo>
                  <a:lnTo>
                    <a:pt x="521" y="459"/>
                  </a:lnTo>
                  <a:lnTo>
                    <a:pt x="519" y="459"/>
                  </a:lnTo>
                  <a:lnTo>
                    <a:pt x="519" y="457"/>
                  </a:lnTo>
                  <a:lnTo>
                    <a:pt x="517" y="457"/>
                  </a:lnTo>
                  <a:lnTo>
                    <a:pt x="519" y="457"/>
                  </a:lnTo>
                  <a:lnTo>
                    <a:pt x="519" y="455"/>
                  </a:lnTo>
                  <a:lnTo>
                    <a:pt x="519" y="457"/>
                  </a:lnTo>
                  <a:lnTo>
                    <a:pt x="517" y="457"/>
                  </a:lnTo>
                  <a:lnTo>
                    <a:pt x="517" y="455"/>
                  </a:lnTo>
                  <a:lnTo>
                    <a:pt x="515" y="455"/>
                  </a:lnTo>
                  <a:lnTo>
                    <a:pt x="517" y="455"/>
                  </a:lnTo>
                  <a:lnTo>
                    <a:pt x="515" y="455"/>
                  </a:lnTo>
                  <a:lnTo>
                    <a:pt x="517" y="455"/>
                  </a:lnTo>
                  <a:lnTo>
                    <a:pt x="515" y="455"/>
                  </a:lnTo>
                  <a:lnTo>
                    <a:pt x="513" y="453"/>
                  </a:lnTo>
                  <a:lnTo>
                    <a:pt x="515" y="453"/>
                  </a:lnTo>
                  <a:lnTo>
                    <a:pt x="513" y="453"/>
                  </a:lnTo>
                  <a:close/>
                  <a:moveTo>
                    <a:pt x="676" y="378"/>
                  </a:moveTo>
                  <a:lnTo>
                    <a:pt x="676" y="380"/>
                  </a:lnTo>
                  <a:lnTo>
                    <a:pt x="676" y="378"/>
                  </a:lnTo>
                  <a:lnTo>
                    <a:pt x="678" y="378"/>
                  </a:lnTo>
                  <a:lnTo>
                    <a:pt x="678" y="380"/>
                  </a:lnTo>
                  <a:lnTo>
                    <a:pt x="678" y="382"/>
                  </a:lnTo>
                  <a:lnTo>
                    <a:pt x="678" y="384"/>
                  </a:lnTo>
                  <a:lnTo>
                    <a:pt x="680" y="382"/>
                  </a:lnTo>
                  <a:lnTo>
                    <a:pt x="680" y="384"/>
                  </a:lnTo>
                  <a:lnTo>
                    <a:pt x="680" y="382"/>
                  </a:lnTo>
                  <a:lnTo>
                    <a:pt x="680" y="384"/>
                  </a:lnTo>
                  <a:lnTo>
                    <a:pt x="680" y="386"/>
                  </a:lnTo>
                  <a:lnTo>
                    <a:pt x="680" y="384"/>
                  </a:lnTo>
                  <a:lnTo>
                    <a:pt x="680" y="386"/>
                  </a:lnTo>
                  <a:lnTo>
                    <a:pt x="680" y="384"/>
                  </a:lnTo>
                  <a:lnTo>
                    <a:pt x="680" y="386"/>
                  </a:lnTo>
                  <a:lnTo>
                    <a:pt x="678" y="386"/>
                  </a:lnTo>
                  <a:lnTo>
                    <a:pt x="678" y="384"/>
                  </a:lnTo>
                  <a:lnTo>
                    <a:pt x="678" y="382"/>
                  </a:lnTo>
                  <a:lnTo>
                    <a:pt x="676" y="382"/>
                  </a:lnTo>
                  <a:lnTo>
                    <a:pt x="676" y="380"/>
                  </a:lnTo>
                  <a:lnTo>
                    <a:pt x="674" y="380"/>
                  </a:lnTo>
                  <a:lnTo>
                    <a:pt x="674" y="378"/>
                  </a:lnTo>
                  <a:lnTo>
                    <a:pt x="676" y="378"/>
                  </a:lnTo>
                  <a:close/>
                  <a:moveTo>
                    <a:pt x="709" y="86"/>
                  </a:moveTo>
                  <a:lnTo>
                    <a:pt x="711" y="86"/>
                  </a:lnTo>
                  <a:lnTo>
                    <a:pt x="711" y="88"/>
                  </a:lnTo>
                  <a:lnTo>
                    <a:pt x="711" y="90"/>
                  </a:lnTo>
                  <a:lnTo>
                    <a:pt x="709" y="90"/>
                  </a:lnTo>
                  <a:lnTo>
                    <a:pt x="707" y="90"/>
                  </a:lnTo>
                  <a:lnTo>
                    <a:pt x="707" y="88"/>
                  </a:lnTo>
                  <a:lnTo>
                    <a:pt x="707" y="86"/>
                  </a:lnTo>
                  <a:lnTo>
                    <a:pt x="709" y="86"/>
                  </a:lnTo>
                  <a:close/>
                  <a:moveTo>
                    <a:pt x="173" y="323"/>
                  </a:moveTo>
                  <a:lnTo>
                    <a:pt x="173" y="324"/>
                  </a:lnTo>
                  <a:lnTo>
                    <a:pt x="171" y="324"/>
                  </a:lnTo>
                  <a:lnTo>
                    <a:pt x="173" y="324"/>
                  </a:lnTo>
                  <a:lnTo>
                    <a:pt x="171" y="324"/>
                  </a:lnTo>
                  <a:lnTo>
                    <a:pt x="171" y="323"/>
                  </a:lnTo>
                  <a:lnTo>
                    <a:pt x="171" y="324"/>
                  </a:lnTo>
                  <a:lnTo>
                    <a:pt x="171" y="326"/>
                  </a:lnTo>
                  <a:lnTo>
                    <a:pt x="171" y="324"/>
                  </a:lnTo>
                  <a:lnTo>
                    <a:pt x="169" y="324"/>
                  </a:lnTo>
                  <a:lnTo>
                    <a:pt x="169" y="323"/>
                  </a:lnTo>
                  <a:lnTo>
                    <a:pt x="171" y="323"/>
                  </a:lnTo>
                  <a:lnTo>
                    <a:pt x="173" y="323"/>
                  </a:lnTo>
                  <a:close/>
                  <a:moveTo>
                    <a:pt x="229" y="361"/>
                  </a:moveTo>
                  <a:lnTo>
                    <a:pt x="229" y="363"/>
                  </a:lnTo>
                  <a:lnTo>
                    <a:pt x="229" y="361"/>
                  </a:lnTo>
                  <a:lnTo>
                    <a:pt x="229" y="363"/>
                  </a:lnTo>
                  <a:lnTo>
                    <a:pt x="227" y="363"/>
                  </a:lnTo>
                  <a:lnTo>
                    <a:pt x="229" y="363"/>
                  </a:lnTo>
                  <a:lnTo>
                    <a:pt x="227" y="363"/>
                  </a:lnTo>
                  <a:lnTo>
                    <a:pt x="229" y="363"/>
                  </a:lnTo>
                  <a:lnTo>
                    <a:pt x="227" y="363"/>
                  </a:lnTo>
                  <a:lnTo>
                    <a:pt x="227" y="365"/>
                  </a:lnTo>
                  <a:lnTo>
                    <a:pt x="229" y="365"/>
                  </a:lnTo>
                  <a:lnTo>
                    <a:pt x="229" y="363"/>
                  </a:lnTo>
                  <a:lnTo>
                    <a:pt x="229" y="365"/>
                  </a:lnTo>
                  <a:lnTo>
                    <a:pt x="227" y="365"/>
                  </a:lnTo>
                  <a:lnTo>
                    <a:pt x="229" y="365"/>
                  </a:lnTo>
                  <a:lnTo>
                    <a:pt x="227" y="365"/>
                  </a:lnTo>
                  <a:lnTo>
                    <a:pt x="225" y="365"/>
                  </a:lnTo>
                  <a:lnTo>
                    <a:pt x="227" y="365"/>
                  </a:lnTo>
                  <a:lnTo>
                    <a:pt x="225" y="365"/>
                  </a:lnTo>
                  <a:lnTo>
                    <a:pt x="227" y="365"/>
                  </a:lnTo>
                  <a:lnTo>
                    <a:pt x="225" y="365"/>
                  </a:lnTo>
                  <a:lnTo>
                    <a:pt x="227" y="365"/>
                  </a:lnTo>
                  <a:lnTo>
                    <a:pt x="225" y="365"/>
                  </a:lnTo>
                  <a:lnTo>
                    <a:pt x="227" y="365"/>
                  </a:lnTo>
                  <a:lnTo>
                    <a:pt x="225" y="365"/>
                  </a:lnTo>
                  <a:lnTo>
                    <a:pt x="225" y="367"/>
                  </a:lnTo>
                  <a:lnTo>
                    <a:pt x="225" y="365"/>
                  </a:lnTo>
                  <a:lnTo>
                    <a:pt x="225" y="363"/>
                  </a:lnTo>
                  <a:lnTo>
                    <a:pt x="225" y="365"/>
                  </a:lnTo>
                  <a:lnTo>
                    <a:pt x="225" y="363"/>
                  </a:lnTo>
                  <a:lnTo>
                    <a:pt x="227" y="363"/>
                  </a:lnTo>
                  <a:lnTo>
                    <a:pt x="225" y="363"/>
                  </a:lnTo>
                  <a:lnTo>
                    <a:pt x="227" y="363"/>
                  </a:lnTo>
                  <a:lnTo>
                    <a:pt x="227" y="361"/>
                  </a:lnTo>
                  <a:lnTo>
                    <a:pt x="229" y="361"/>
                  </a:lnTo>
                  <a:close/>
                  <a:moveTo>
                    <a:pt x="559" y="96"/>
                  </a:moveTo>
                  <a:lnTo>
                    <a:pt x="559" y="98"/>
                  </a:lnTo>
                  <a:lnTo>
                    <a:pt x="559" y="96"/>
                  </a:lnTo>
                  <a:lnTo>
                    <a:pt x="559" y="98"/>
                  </a:lnTo>
                  <a:lnTo>
                    <a:pt x="559" y="96"/>
                  </a:lnTo>
                  <a:lnTo>
                    <a:pt x="559" y="98"/>
                  </a:lnTo>
                  <a:lnTo>
                    <a:pt x="561" y="98"/>
                  </a:lnTo>
                  <a:lnTo>
                    <a:pt x="561" y="96"/>
                  </a:lnTo>
                  <a:lnTo>
                    <a:pt x="561" y="98"/>
                  </a:lnTo>
                  <a:lnTo>
                    <a:pt x="561" y="96"/>
                  </a:lnTo>
                  <a:lnTo>
                    <a:pt x="559" y="96"/>
                  </a:lnTo>
                  <a:lnTo>
                    <a:pt x="561" y="96"/>
                  </a:lnTo>
                  <a:lnTo>
                    <a:pt x="561" y="98"/>
                  </a:lnTo>
                  <a:lnTo>
                    <a:pt x="563" y="98"/>
                  </a:lnTo>
                  <a:lnTo>
                    <a:pt x="561" y="98"/>
                  </a:lnTo>
                  <a:lnTo>
                    <a:pt x="561" y="100"/>
                  </a:lnTo>
                  <a:lnTo>
                    <a:pt x="561" y="98"/>
                  </a:lnTo>
                  <a:lnTo>
                    <a:pt x="559" y="98"/>
                  </a:lnTo>
                  <a:lnTo>
                    <a:pt x="557" y="98"/>
                  </a:lnTo>
                  <a:lnTo>
                    <a:pt x="557" y="100"/>
                  </a:lnTo>
                  <a:lnTo>
                    <a:pt x="557" y="98"/>
                  </a:lnTo>
                  <a:lnTo>
                    <a:pt x="557" y="100"/>
                  </a:lnTo>
                  <a:lnTo>
                    <a:pt x="557" y="98"/>
                  </a:lnTo>
                  <a:lnTo>
                    <a:pt x="557" y="100"/>
                  </a:lnTo>
                  <a:lnTo>
                    <a:pt x="557" y="98"/>
                  </a:lnTo>
                  <a:lnTo>
                    <a:pt x="557" y="96"/>
                  </a:lnTo>
                  <a:lnTo>
                    <a:pt x="557" y="98"/>
                  </a:lnTo>
                  <a:lnTo>
                    <a:pt x="559" y="98"/>
                  </a:lnTo>
                  <a:lnTo>
                    <a:pt x="557" y="96"/>
                  </a:lnTo>
                  <a:lnTo>
                    <a:pt x="559" y="96"/>
                  </a:lnTo>
                  <a:lnTo>
                    <a:pt x="557" y="96"/>
                  </a:lnTo>
                  <a:lnTo>
                    <a:pt x="559" y="96"/>
                  </a:lnTo>
                  <a:close/>
                  <a:moveTo>
                    <a:pt x="530" y="457"/>
                  </a:moveTo>
                  <a:lnTo>
                    <a:pt x="530" y="459"/>
                  </a:lnTo>
                  <a:lnTo>
                    <a:pt x="532" y="459"/>
                  </a:lnTo>
                  <a:lnTo>
                    <a:pt x="530" y="459"/>
                  </a:lnTo>
                  <a:lnTo>
                    <a:pt x="530" y="461"/>
                  </a:lnTo>
                  <a:lnTo>
                    <a:pt x="528" y="461"/>
                  </a:lnTo>
                  <a:lnTo>
                    <a:pt x="528" y="459"/>
                  </a:lnTo>
                  <a:lnTo>
                    <a:pt x="526" y="459"/>
                  </a:lnTo>
                  <a:lnTo>
                    <a:pt x="526" y="457"/>
                  </a:lnTo>
                  <a:lnTo>
                    <a:pt x="526" y="459"/>
                  </a:lnTo>
                  <a:lnTo>
                    <a:pt x="526" y="457"/>
                  </a:lnTo>
                  <a:lnTo>
                    <a:pt x="526" y="459"/>
                  </a:lnTo>
                  <a:lnTo>
                    <a:pt x="528" y="459"/>
                  </a:lnTo>
                  <a:lnTo>
                    <a:pt x="528" y="457"/>
                  </a:lnTo>
                  <a:lnTo>
                    <a:pt x="528" y="459"/>
                  </a:lnTo>
                  <a:lnTo>
                    <a:pt x="530" y="459"/>
                  </a:lnTo>
                  <a:lnTo>
                    <a:pt x="530" y="457"/>
                  </a:lnTo>
                  <a:close/>
                  <a:moveTo>
                    <a:pt x="148" y="300"/>
                  </a:moveTo>
                  <a:lnTo>
                    <a:pt x="148" y="301"/>
                  </a:lnTo>
                  <a:lnTo>
                    <a:pt x="146" y="301"/>
                  </a:lnTo>
                  <a:lnTo>
                    <a:pt x="146" y="303"/>
                  </a:lnTo>
                  <a:lnTo>
                    <a:pt x="144" y="303"/>
                  </a:lnTo>
                  <a:lnTo>
                    <a:pt x="144" y="301"/>
                  </a:lnTo>
                  <a:lnTo>
                    <a:pt x="144" y="300"/>
                  </a:lnTo>
                  <a:lnTo>
                    <a:pt x="146" y="300"/>
                  </a:lnTo>
                  <a:lnTo>
                    <a:pt x="148" y="300"/>
                  </a:lnTo>
                  <a:close/>
                  <a:moveTo>
                    <a:pt x="740" y="179"/>
                  </a:moveTo>
                  <a:lnTo>
                    <a:pt x="742" y="179"/>
                  </a:lnTo>
                  <a:lnTo>
                    <a:pt x="740" y="180"/>
                  </a:lnTo>
                  <a:lnTo>
                    <a:pt x="740" y="182"/>
                  </a:lnTo>
                  <a:lnTo>
                    <a:pt x="738" y="182"/>
                  </a:lnTo>
                  <a:lnTo>
                    <a:pt x="738" y="180"/>
                  </a:lnTo>
                  <a:lnTo>
                    <a:pt x="738" y="179"/>
                  </a:lnTo>
                  <a:lnTo>
                    <a:pt x="740" y="179"/>
                  </a:lnTo>
                  <a:close/>
                  <a:moveTo>
                    <a:pt x="117" y="315"/>
                  </a:moveTo>
                  <a:lnTo>
                    <a:pt x="117" y="317"/>
                  </a:lnTo>
                  <a:lnTo>
                    <a:pt x="117" y="319"/>
                  </a:lnTo>
                  <a:lnTo>
                    <a:pt x="117" y="317"/>
                  </a:lnTo>
                  <a:lnTo>
                    <a:pt x="117" y="319"/>
                  </a:lnTo>
                  <a:lnTo>
                    <a:pt x="117" y="317"/>
                  </a:lnTo>
                  <a:lnTo>
                    <a:pt x="117" y="315"/>
                  </a:lnTo>
                  <a:lnTo>
                    <a:pt x="116" y="315"/>
                  </a:lnTo>
                  <a:lnTo>
                    <a:pt x="116" y="313"/>
                  </a:lnTo>
                  <a:lnTo>
                    <a:pt x="117" y="313"/>
                  </a:lnTo>
                  <a:lnTo>
                    <a:pt x="117" y="315"/>
                  </a:lnTo>
                  <a:lnTo>
                    <a:pt x="117" y="313"/>
                  </a:lnTo>
                  <a:lnTo>
                    <a:pt x="117" y="311"/>
                  </a:lnTo>
                  <a:lnTo>
                    <a:pt x="117" y="313"/>
                  </a:lnTo>
                  <a:lnTo>
                    <a:pt x="117" y="315"/>
                  </a:lnTo>
                  <a:close/>
                  <a:moveTo>
                    <a:pt x="576" y="493"/>
                  </a:moveTo>
                  <a:lnTo>
                    <a:pt x="578" y="493"/>
                  </a:lnTo>
                  <a:lnTo>
                    <a:pt x="578" y="492"/>
                  </a:lnTo>
                  <a:lnTo>
                    <a:pt x="578" y="493"/>
                  </a:lnTo>
                  <a:lnTo>
                    <a:pt x="580" y="493"/>
                  </a:lnTo>
                  <a:lnTo>
                    <a:pt x="580" y="495"/>
                  </a:lnTo>
                  <a:lnTo>
                    <a:pt x="580" y="493"/>
                  </a:lnTo>
                  <a:lnTo>
                    <a:pt x="580" y="495"/>
                  </a:lnTo>
                  <a:lnTo>
                    <a:pt x="582" y="495"/>
                  </a:lnTo>
                  <a:lnTo>
                    <a:pt x="580" y="495"/>
                  </a:lnTo>
                  <a:lnTo>
                    <a:pt x="582" y="495"/>
                  </a:lnTo>
                  <a:lnTo>
                    <a:pt x="580" y="495"/>
                  </a:lnTo>
                  <a:lnTo>
                    <a:pt x="578" y="495"/>
                  </a:lnTo>
                  <a:lnTo>
                    <a:pt x="578" y="493"/>
                  </a:lnTo>
                  <a:lnTo>
                    <a:pt x="576" y="493"/>
                  </a:lnTo>
                  <a:lnTo>
                    <a:pt x="576" y="492"/>
                  </a:lnTo>
                  <a:lnTo>
                    <a:pt x="576" y="493"/>
                  </a:lnTo>
                  <a:close/>
                  <a:moveTo>
                    <a:pt x="711" y="173"/>
                  </a:moveTo>
                  <a:lnTo>
                    <a:pt x="713" y="173"/>
                  </a:lnTo>
                  <a:lnTo>
                    <a:pt x="715" y="173"/>
                  </a:lnTo>
                  <a:lnTo>
                    <a:pt x="713" y="173"/>
                  </a:lnTo>
                  <a:lnTo>
                    <a:pt x="713" y="175"/>
                  </a:lnTo>
                  <a:lnTo>
                    <a:pt x="711" y="175"/>
                  </a:lnTo>
                  <a:lnTo>
                    <a:pt x="709" y="175"/>
                  </a:lnTo>
                  <a:lnTo>
                    <a:pt x="709" y="173"/>
                  </a:lnTo>
                  <a:lnTo>
                    <a:pt x="711" y="173"/>
                  </a:lnTo>
                  <a:close/>
                  <a:moveTo>
                    <a:pt x="139" y="301"/>
                  </a:moveTo>
                  <a:lnTo>
                    <a:pt x="139" y="303"/>
                  </a:lnTo>
                  <a:lnTo>
                    <a:pt x="139" y="305"/>
                  </a:lnTo>
                  <a:lnTo>
                    <a:pt x="139" y="307"/>
                  </a:lnTo>
                  <a:lnTo>
                    <a:pt x="139" y="305"/>
                  </a:lnTo>
                  <a:lnTo>
                    <a:pt x="139" y="303"/>
                  </a:lnTo>
                  <a:lnTo>
                    <a:pt x="137" y="303"/>
                  </a:lnTo>
                  <a:lnTo>
                    <a:pt x="137" y="301"/>
                  </a:lnTo>
                  <a:lnTo>
                    <a:pt x="139" y="301"/>
                  </a:lnTo>
                  <a:close/>
                  <a:moveTo>
                    <a:pt x="715" y="90"/>
                  </a:moveTo>
                  <a:lnTo>
                    <a:pt x="715" y="92"/>
                  </a:lnTo>
                  <a:lnTo>
                    <a:pt x="713" y="92"/>
                  </a:lnTo>
                  <a:lnTo>
                    <a:pt x="713" y="90"/>
                  </a:lnTo>
                  <a:lnTo>
                    <a:pt x="715" y="90"/>
                  </a:lnTo>
                  <a:close/>
                  <a:moveTo>
                    <a:pt x="144" y="307"/>
                  </a:moveTo>
                  <a:lnTo>
                    <a:pt x="146" y="307"/>
                  </a:lnTo>
                  <a:lnTo>
                    <a:pt x="146" y="309"/>
                  </a:lnTo>
                  <a:lnTo>
                    <a:pt x="146" y="307"/>
                  </a:lnTo>
                  <a:lnTo>
                    <a:pt x="144" y="307"/>
                  </a:lnTo>
                  <a:lnTo>
                    <a:pt x="146" y="307"/>
                  </a:lnTo>
                  <a:lnTo>
                    <a:pt x="146" y="309"/>
                  </a:lnTo>
                  <a:lnTo>
                    <a:pt x="146" y="311"/>
                  </a:lnTo>
                  <a:lnTo>
                    <a:pt x="144" y="311"/>
                  </a:lnTo>
                  <a:lnTo>
                    <a:pt x="144" y="309"/>
                  </a:lnTo>
                  <a:lnTo>
                    <a:pt x="142" y="309"/>
                  </a:lnTo>
                  <a:lnTo>
                    <a:pt x="142" y="307"/>
                  </a:lnTo>
                  <a:lnTo>
                    <a:pt x="144" y="307"/>
                  </a:lnTo>
                  <a:lnTo>
                    <a:pt x="144" y="309"/>
                  </a:lnTo>
                  <a:lnTo>
                    <a:pt x="144" y="307"/>
                  </a:lnTo>
                  <a:close/>
                  <a:moveTo>
                    <a:pt x="605" y="69"/>
                  </a:moveTo>
                  <a:lnTo>
                    <a:pt x="605" y="71"/>
                  </a:lnTo>
                  <a:lnTo>
                    <a:pt x="605" y="69"/>
                  </a:lnTo>
                  <a:lnTo>
                    <a:pt x="607" y="69"/>
                  </a:lnTo>
                  <a:lnTo>
                    <a:pt x="607" y="71"/>
                  </a:lnTo>
                  <a:lnTo>
                    <a:pt x="605" y="71"/>
                  </a:lnTo>
                  <a:lnTo>
                    <a:pt x="605" y="73"/>
                  </a:lnTo>
                  <a:lnTo>
                    <a:pt x="605" y="71"/>
                  </a:lnTo>
                  <a:lnTo>
                    <a:pt x="605" y="73"/>
                  </a:lnTo>
                  <a:lnTo>
                    <a:pt x="605" y="71"/>
                  </a:lnTo>
                  <a:lnTo>
                    <a:pt x="605" y="73"/>
                  </a:lnTo>
                  <a:lnTo>
                    <a:pt x="605" y="71"/>
                  </a:lnTo>
                  <a:lnTo>
                    <a:pt x="603" y="71"/>
                  </a:lnTo>
                  <a:lnTo>
                    <a:pt x="601" y="71"/>
                  </a:lnTo>
                  <a:lnTo>
                    <a:pt x="601" y="69"/>
                  </a:lnTo>
                  <a:lnTo>
                    <a:pt x="603" y="69"/>
                  </a:lnTo>
                  <a:lnTo>
                    <a:pt x="603" y="71"/>
                  </a:lnTo>
                  <a:lnTo>
                    <a:pt x="603" y="69"/>
                  </a:lnTo>
                  <a:lnTo>
                    <a:pt x="603" y="71"/>
                  </a:lnTo>
                  <a:lnTo>
                    <a:pt x="603" y="69"/>
                  </a:lnTo>
                  <a:lnTo>
                    <a:pt x="605" y="69"/>
                  </a:lnTo>
                  <a:close/>
                  <a:moveTo>
                    <a:pt x="346" y="399"/>
                  </a:moveTo>
                  <a:lnTo>
                    <a:pt x="348" y="399"/>
                  </a:lnTo>
                  <a:lnTo>
                    <a:pt x="350" y="399"/>
                  </a:lnTo>
                  <a:lnTo>
                    <a:pt x="348" y="399"/>
                  </a:lnTo>
                  <a:lnTo>
                    <a:pt x="348" y="401"/>
                  </a:lnTo>
                  <a:lnTo>
                    <a:pt x="348" y="399"/>
                  </a:lnTo>
                  <a:lnTo>
                    <a:pt x="348" y="401"/>
                  </a:lnTo>
                  <a:lnTo>
                    <a:pt x="348" y="399"/>
                  </a:lnTo>
                  <a:lnTo>
                    <a:pt x="346" y="399"/>
                  </a:lnTo>
                  <a:lnTo>
                    <a:pt x="346" y="401"/>
                  </a:lnTo>
                  <a:lnTo>
                    <a:pt x="346" y="399"/>
                  </a:lnTo>
                  <a:lnTo>
                    <a:pt x="346" y="401"/>
                  </a:lnTo>
                  <a:lnTo>
                    <a:pt x="346" y="399"/>
                  </a:lnTo>
                  <a:lnTo>
                    <a:pt x="346" y="401"/>
                  </a:lnTo>
                  <a:lnTo>
                    <a:pt x="346" y="399"/>
                  </a:lnTo>
                  <a:lnTo>
                    <a:pt x="346" y="401"/>
                  </a:lnTo>
                  <a:lnTo>
                    <a:pt x="346" y="399"/>
                  </a:lnTo>
                  <a:close/>
                  <a:moveTo>
                    <a:pt x="167" y="376"/>
                  </a:moveTo>
                  <a:lnTo>
                    <a:pt x="169" y="376"/>
                  </a:lnTo>
                  <a:lnTo>
                    <a:pt x="169" y="378"/>
                  </a:lnTo>
                  <a:lnTo>
                    <a:pt x="169" y="380"/>
                  </a:lnTo>
                  <a:lnTo>
                    <a:pt x="169" y="378"/>
                  </a:lnTo>
                  <a:lnTo>
                    <a:pt x="167" y="378"/>
                  </a:lnTo>
                  <a:lnTo>
                    <a:pt x="169" y="378"/>
                  </a:lnTo>
                  <a:lnTo>
                    <a:pt x="167" y="378"/>
                  </a:lnTo>
                  <a:lnTo>
                    <a:pt x="167" y="380"/>
                  </a:lnTo>
                  <a:lnTo>
                    <a:pt x="167" y="378"/>
                  </a:lnTo>
                  <a:lnTo>
                    <a:pt x="165" y="378"/>
                  </a:lnTo>
                  <a:lnTo>
                    <a:pt x="167" y="378"/>
                  </a:lnTo>
                  <a:lnTo>
                    <a:pt x="167" y="376"/>
                  </a:lnTo>
                  <a:close/>
                  <a:moveTo>
                    <a:pt x="141" y="307"/>
                  </a:moveTo>
                  <a:lnTo>
                    <a:pt x="141" y="309"/>
                  </a:lnTo>
                  <a:lnTo>
                    <a:pt x="142" y="309"/>
                  </a:lnTo>
                  <a:lnTo>
                    <a:pt x="141" y="309"/>
                  </a:lnTo>
                  <a:lnTo>
                    <a:pt x="142" y="309"/>
                  </a:lnTo>
                  <a:lnTo>
                    <a:pt x="141" y="309"/>
                  </a:lnTo>
                  <a:lnTo>
                    <a:pt x="141" y="307"/>
                  </a:lnTo>
                  <a:lnTo>
                    <a:pt x="142" y="307"/>
                  </a:lnTo>
                  <a:lnTo>
                    <a:pt x="142" y="309"/>
                  </a:lnTo>
                  <a:lnTo>
                    <a:pt x="141" y="309"/>
                  </a:lnTo>
                  <a:lnTo>
                    <a:pt x="142" y="309"/>
                  </a:lnTo>
                  <a:lnTo>
                    <a:pt x="141" y="309"/>
                  </a:lnTo>
                  <a:lnTo>
                    <a:pt x="141" y="311"/>
                  </a:lnTo>
                  <a:lnTo>
                    <a:pt x="141" y="309"/>
                  </a:lnTo>
                  <a:lnTo>
                    <a:pt x="139" y="309"/>
                  </a:lnTo>
                  <a:lnTo>
                    <a:pt x="139" y="307"/>
                  </a:lnTo>
                  <a:lnTo>
                    <a:pt x="141" y="307"/>
                  </a:lnTo>
                  <a:close/>
                  <a:moveTo>
                    <a:pt x="167" y="369"/>
                  </a:moveTo>
                  <a:lnTo>
                    <a:pt x="167" y="371"/>
                  </a:lnTo>
                  <a:lnTo>
                    <a:pt x="165" y="371"/>
                  </a:lnTo>
                  <a:lnTo>
                    <a:pt x="165" y="369"/>
                  </a:lnTo>
                  <a:lnTo>
                    <a:pt x="164" y="369"/>
                  </a:lnTo>
                  <a:lnTo>
                    <a:pt x="165" y="369"/>
                  </a:lnTo>
                  <a:lnTo>
                    <a:pt x="165" y="367"/>
                  </a:lnTo>
                  <a:lnTo>
                    <a:pt x="164" y="367"/>
                  </a:lnTo>
                  <a:lnTo>
                    <a:pt x="165" y="367"/>
                  </a:lnTo>
                  <a:lnTo>
                    <a:pt x="165" y="369"/>
                  </a:lnTo>
                  <a:lnTo>
                    <a:pt x="165" y="367"/>
                  </a:lnTo>
                  <a:lnTo>
                    <a:pt x="165" y="365"/>
                  </a:lnTo>
                  <a:lnTo>
                    <a:pt x="165" y="367"/>
                  </a:lnTo>
                  <a:lnTo>
                    <a:pt x="167" y="367"/>
                  </a:lnTo>
                  <a:lnTo>
                    <a:pt x="167" y="369"/>
                  </a:lnTo>
                  <a:close/>
                  <a:moveTo>
                    <a:pt x="139" y="313"/>
                  </a:moveTo>
                  <a:lnTo>
                    <a:pt x="139" y="315"/>
                  </a:lnTo>
                  <a:lnTo>
                    <a:pt x="137" y="315"/>
                  </a:lnTo>
                  <a:lnTo>
                    <a:pt x="137" y="313"/>
                  </a:lnTo>
                  <a:lnTo>
                    <a:pt x="137" y="311"/>
                  </a:lnTo>
                  <a:lnTo>
                    <a:pt x="139" y="311"/>
                  </a:lnTo>
                  <a:lnTo>
                    <a:pt x="137" y="311"/>
                  </a:lnTo>
                  <a:lnTo>
                    <a:pt x="139" y="311"/>
                  </a:lnTo>
                  <a:lnTo>
                    <a:pt x="139" y="313"/>
                  </a:lnTo>
                  <a:close/>
                  <a:moveTo>
                    <a:pt x="116" y="315"/>
                  </a:moveTo>
                  <a:lnTo>
                    <a:pt x="116" y="317"/>
                  </a:lnTo>
                  <a:lnTo>
                    <a:pt x="116" y="315"/>
                  </a:lnTo>
                  <a:lnTo>
                    <a:pt x="116" y="313"/>
                  </a:lnTo>
                  <a:lnTo>
                    <a:pt x="116" y="315"/>
                  </a:lnTo>
                  <a:close/>
                  <a:moveTo>
                    <a:pt x="586" y="497"/>
                  </a:moveTo>
                  <a:lnTo>
                    <a:pt x="588" y="497"/>
                  </a:lnTo>
                  <a:lnTo>
                    <a:pt x="588" y="499"/>
                  </a:lnTo>
                  <a:lnTo>
                    <a:pt x="586" y="499"/>
                  </a:lnTo>
                  <a:lnTo>
                    <a:pt x="588" y="499"/>
                  </a:lnTo>
                  <a:lnTo>
                    <a:pt x="586" y="499"/>
                  </a:lnTo>
                  <a:lnTo>
                    <a:pt x="586" y="497"/>
                  </a:lnTo>
                  <a:lnTo>
                    <a:pt x="584" y="497"/>
                  </a:lnTo>
                  <a:lnTo>
                    <a:pt x="586" y="497"/>
                  </a:lnTo>
                  <a:close/>
                  <a:moveTo>
                    <a:pt x="473" y="200"/>
                  </a:moveTo>
                  <a:lnTo>
                    <a:pt x="473" y="202"/>
                  </a:lnTo>
                  <a:lnTo>
                    <a:pt x="473" y="204"/>
                  </a:lnTo>
                  <a:lnTo>
                    <a:pt x="471" y="204"/>
                  </a:lnTo>
                  <a:lnTo>
                    <a:pt x="471" y="202"/>
                  </a:lnTo>
                  <a:lnTo>
                    <a:pt x="473" y="202"/>
                  </a:lnTo>
                  <a:lnTo>
                    <a:pt x="473" y="200"/>
                  </a:lnTo>
                  <a:close/>
                  <a:moveTo>
                    <a:pt x="523" y="457"/>
                  </a:moveTo>
                  <a:lnTo>
                    <a:pt x="523" y="455"/>
                  </a:lnTo>
                  <a:lnTo>
                    <a:pt x="523" y="457"/>
                  </a:lnTo>
                  <a:lnTo>
                    <a:pt x="525" y="457"/>
                  </a:lnTo>
                  <a:lnTo>
                    <a:pt x="525" y="459"/>
                  </a:lnTo>
                  <a:lnTo>
                    <a:pt x="525" y="457"/>
                  </a:lnTo>
                  <a:lnTo>
                    <a:pt x="523" y="457"/>
                  </a:lnTo>
                  <a:lnTo>
                    <a:pt x="523" y="459"/>
                  </a:lnTo>
                  <a:lnTo>
                    <a:pt x="523" y="457"/>
                  </a:lnTo>
                  <a:lnTo>
                    <a:pt x="521" y="457"/>
                  </a:lnTo>
                  <a:lnTo>
                    <a:pt x="523" y="457"/>
                  </a:lnTo>
                  <a:lnTo>
                    <a:pt x="521" y="457"/>
                  </a:lnTo>
                  <a:lnTo>
                    <a:pt x="521" y="455"/>
                  </a:lnTo>
                  <a:lnTo>
                    <a:pt x="523" y="455"/>
                  </a:lnTo>
                  <a:lnTo>
                    <a:pt x="523" y="457"/>
                  </a:lnTo>
                  <a:lnTo>
                    <a:pt x="523" y="455"/>
                  </a:lnTo>
                  <a:lnTo>
                    <a:pt x="523" y="457"/>
                  </a:lnTo>
                  <a:close/>
                  <a:moveTo>
                    <a:pt x="463" y="211"/>
                  </a:moveTo>
                  <a:lnTo>
                    <a:pt x="465" y="213"/>
                  </a:lnTo>
                  <a:lnTo>
                    <a:pt x="463" y="213"/>
                  </a:lnTo>
                  <a:lnTo>
                    <a:pt x="465" y="213"/>
                  </a:lnTo>
                  <a:lnTo>
                    <a:pt x="463" y="213"/>
                  </a:lnTo>
                  <a:lnTo>
                    <a:pt x="463" y="211"/>
                  </a:lnTo>
                  <a:close/>
                  <a:moveTo>
                    <a:pt x="121" y="315"/>
                  </a:moveTo>
                  <a:lnTo>
                    <a:pt x="119" y="315"/>
                  </a:lnTo>
                  <a:lnTo>
                    <a:pt x="119" y="317"/>
                  </a:lnTo>
                  <a:lnTo>
                    <a:pt x="119" y="315"/>
                  </a:lnTo>
                  <a:lnTo>
                    <a:pt x="119" y="313"/>
                  </a:lnTo>
                  <a:lnTo>
                    <a:pt x="121" y="313"/>
                  </a:lnTo>
                  <a:lnTo>
                    <a:pt x="121" y="315"/>
                  </a:lnTo>
                  <a:close/>
                  <a:moveTo>
                    <a:pt x="114" y="321"/>
                  </a:moveTo>
                  <a:lnTo>
                    <a:pt x="114" y="319"/>
                  </a:lnTo>
                  <a:lnTo>
                    <a:pt x="116" y="319"/>
                  </a:lnTo>
                  <a:lnTo>
                    <a:pt x="116" y="321"/>
                  </a:lnTo>
                  <a:lnTo>
                    <a:pt x="114" y="321"/>
                  </a:lnTo>
                  <a:close/>
                  <a:moveTo>
                    <a:pt x="175" y="330"/>
                  </a:moveTo>
                  <a:lnTo>
                    <a:pt x="175" y="332"/>
                  </a:lnTo>
                  <a:lnTo>
                    <a:pt x="173" y="332"/>
                  </a:lnTo>
                  <a:lnTo>
                    <a:pt x="173" y="330"/>
                  </a:lnTo>
                  <a:lnTo>
                    <a:pt x="175" y="330"/>
                  </a:lnTo>
                  <a:close/>
                  <a:moveTo>
                    <a:pt x="194" y="363"/>
                  </a:moveTo>
                  <a:lnTo>
                    <a:pt x="194" y="365"/>
                  </a:lnTo>
                  <a:lnTo>
                    <a:pt x="192" y="365"/>
                  </a:lnTo>
                  <a:lnTo>
                    <a:pt x="190" y="365"/>
                  </a:lnTo>
                  <a:lnTo>
                    <a:pt x="192" y="365"/>
                  </a:lnTo>
                  <a:lnTo>
                    <a:pt x="192" y="363"/>
                  </a:lnTo>
                  <a:lnTo>
                    <a:pt x="194" y="363"/>
                  </a:lnTo>
                  <a:lnTo>
                    <a:pt x="194" y="361"/>
                  </a:lnTo>
                  <a:lnTo>
                    <a:pt x="194" y="363"/>
                  </a:lnTo>
                  <a:close/>
                  <a:moveTo>
                    <a:pt x="119" y="313"/>
                  </a:moveTo>
                  <a:lnTo>
                    <a:pt x="119" y="311"/>
                  </a:lnTo>
                  <a:lnTo>
                    <a:pt x="119" y="313"/>
                  </a:lnTo>
                  <a:close/>
                  <a:moveTo>
                    <a:pt x="160" y="303"/>
                  </a:moveTo>
                  <a:lnTo>
                    <a:pt x="160" y="305"/>
                  </a:lnTo>
                  <a:lnTo>
                    <a:pt x="162" y="305"/>
                  </a:lnTo>
                  <a:lnTo>
                    <a:pt x="162" y="307"/>
                  </a:lnTo>
                  <a:lnTo>
                    <a:pt x="162" y="305"/>
                  </a:lnTo>
                  <a:lnTo>
                    <a:pt x="160" y="305"/>
                  </a:lnTo>
                  <a:lnTo>
                    <a:pt x="158" y="305"/>
                  </a:lnTo>
                  <a:lnTo>
                    <a:pt x="158" y="303"/>
                  </a:lnTo>
                  <a:lnTo>
                    <a:pt x="160" y="303"/>
                  </a:lnTo>
                  <a:close/>
                  <a:moveTo>
                    <a:pt x="331" y="417"/>
                  </a:moveTo>
                  <a:lnTo>
                    <a:pt x="331" y="419"/>
                  </a:lnTo>
                  <a:lnTo>
                    <a:pt x="331" y="417"/>
                  </a:lnTo>
                  <a:lnTo>
                    <a:pt x="331" y="419"/>
                  </a:lnTo>
                  <a:lnTo>
                    <a:pt x="329" y="419"/>
                  </a:lnTo>
                  <a:lnTo>
                    <a:pt x="331" y="419"/>
                  </a:lnTo>
                  <a:lnTo>
                    <a:pt x="331" y="420"/>
                  </a:lnTo>
                  <a:lnTo>
                    <a:pt x="331" y="419"/>
                  </a:lnTo>
                  <a:lnTo>
                    <a:pt x="331" y="420"/>
                  </a:lnTo>
                  <a:lnTo>
                    <a:pt x="329" y="420"/>
                  </a:lnTo>
                  <a:lnTo>
                    <a:pt x="329" y="419"/>
                  </a:lnTo>
                  <a:lnTo>
                    <a:pt x="329" y="420"/>
                  </a:lnTo>
                  <a:lnTo>
                    <a:pt x="329" y="419"/>
                  </a:lnTo>
                  <a:lnTo>
                    <a:pt x="329" y="417"/>
                  </a:lnTo>
                  <a:lnTo>
                    <a:pt x="331" y="417"/>
                  </a:lnTo>
                  <a:close/>
                  <a:moveTo>
                    <a:pt x="513" y="457"/>
                  </a:moveTo>
                  <a:lnTo>
                    <a:pt x="515" y="457"/>
                  </a:lnTo>
                  <a:lnTo>
                    <a:pt x="515" y="459"/>
                  </a:lnTo>
                  <a:lnTo>
                    <a:pt x="513" y="459"/>
                  </a:lnTo>
                  <a:lnTo>
                    <a:pt x="513" y="457"/>
                  </a:lnTo>
                  <a:close/>
                  <a:moveTo>
                    <a:pt x="671" y="376"/>
                  </a:moveTo>
                  <a:lnTo>
                    <a:pt x="669" y="376"/>
                  </a:lnTo>
                  <a:lnTo>
                    <a:pt x="669" y="374"/>
                  </a:lnTo>
                  <a:lnTo>
                    <a:pt x="671" y="374"/>
                  </a:lnTo>
                  <a:lnTo>
                    <a:pt x="671" y="376"/>
                  </a:lnTo>
                  <a:close/>
                  <a:moveTo>
                    <a:pt x="169" y="319"/>
                  </a:moveTo>
                  <a:lnTo>
                    <a:pt x="169" y="321"/>
                  </a:lnTo>
                  <a:lnTo>
                    <a:pt x="171" y="321"/>
                  </a:lnTo>
                  <a:lnTo>
                    <a:pt x="169" y="321"/>
                  </a:lnTo>
                  <a:lnTo>
                    <a:pt x="169" y="319"/>
                  </a:lnTo>
                  <a:lnTo>
                    <a:pt x="169" y="321"/>
                  </a:lnTo>
                  <a:lnTo>
                    <a:pt x="167" y="321"/>
                  </a:lnTo>
                  <a:lnTo>
                    <a:pt x="167" y="319"/>
                  </a:lnTo>
                  <a:lnTo>
                    <a:pt x="169" y="319"/>
                  </a:lnTo>
                  <a:close/>
                  <a:moveTo>
                    <a:pt x="672" y="372"/>
                  </a:moveTo>
                  <a:lnTo>
                    <a:pt x="672" y="374"/>
                  </a:lnTo>
                  <a:lnTo>
                    <a:pt x="674" y="374"/>
                  </a:lnTo>
                  <a:lnTo>
                    <a:pt x="674" y="376"/>
                  </a:lnTo>
                  <a:lnTo>
                    <a:pt x="672" y="376"/>
                  </a:lnTo>
                  <a:lnTo>
                    <a:pt x="672" y="374"/>
                  </a:lnTo>
                  <a:lnTo>
                    <a:pt x="671" y="374"/>
                  </a:lnTo>
                  <a:lnTo>
                    <a:pt x="671" y="372"/>
                  </a:lnTo>
                  <a:lnTo>
                    <a:pt x="672" y="372"/>
                  </a:lnTo>
                  <a:close/>
                  <a:moveTo>
                    <a:pt x="208" y="365"/>
                  </a:moveTo>
                  <a:lnTo>
                    <a:pt x="208" y="367"/>
                  </a:lnTo>
                  <a:lnTo>
                    <a:pt x="206" y="367"/>
                  </a:lnTo>
                  <a:lnTo>
                    <a:pt x="206" y="365"/>
                  </a:lnTo>
                  <a:lnTo>
                    <a:pt x="208" y="365"/>
                  </a:lnTo>
                  <a:close/>
                  <a:moveTo>
                    <a:pt x="603" y="503"/>
                  </a:moveTo>
                  <a:lnTo>
                    <a:pt x="605" y="503"/>
                  </a:lnTo>
                  <a:lnTo>
                    <a:pt x="607" y="503"/>
                  </a:lnTo>
                  <a:lnTo>
                    <a:pt x="607" y="505"/>
                  </a:lnTo>
                  <a:lnTo>
                    <a:pt x="607" y="503"/>
                  </a:lnTo>
                  <a:lnTo>
                    <a:pt x="607" y="505"/>
                  </a:lnTo>
                  <a:lnTo>
                    <a:pt x="605" y="505"/>
                  </a:lnTo>
                  <a:lnTo>
                    <a:pt x="605" y="503"/>
                  </a:lnTo>
                  <a:lnTo>
                    <a:pt x="603" y="503"/>
                  </a:lnTo>
                  <a:lnTo>
                    <a:pt x="605" y="503"/>
                  </a:lnTo>
                  <a:lnTo>
                    <a:pt x="603" y="503"/>
                  </a:lnTo>
                  <a:close/>
                  <a:moveTo>
                    <a:pt x="192" y="361"/>
                  </a:moveTo>
                  <a:lnTo>
                    <a:pt x="192" y="363"/>
                  </a:lnTo>
                  <a:lnTo>
                    <a:pt x="190" y="363"/>
                  </a:lnTo>
                  <a:lnTo>
                    <a:pt x="189" y="363"/>
                  </a:lnTo>
                  <a:lnTo>
                    <a:pt x="190" y="363"/>
                  </a:lnTo>
                  <a:lnTo>
                    <a:pt x="190" y="361"/>
                  </a:lnTo>
                  <a:lnTo>
                    <a:pt x="192" y="361"/>
                  </a:lnTo>
                  <a:close/>
                  <a:moveTo>
                    <a:pt x="348" y="397"/>
                  </a:moveTo>
                  <a:lnTo>
                    <a:pt x="350" y="397"/>
                  </a:lnTo>
                  <a:lnTo>
                    <a:pt x="350" y="399"/>
                  </a:lnTo>
                  <a:lnTo>
                    <a:pt x="348" y="399"/>
                  </a:lnTo>
                  <a:lnTo>
                    <a:pt x="348" y="397"/>
                  </a:lnTo>
                  <a:lnTo>
                    <a:pt x="350" y="397"/>
                  </a:lnTo>
                  <a:lnTo>
                    <a:pt x="348" y="397"/>
                  </a:lnTo>
                  <a:close/>
                  <a:moveTo>
                    <a:pt x="534" y="461"/>
                  </a:moveTo>
                  <a:lnTo>
                    <a:pt x="536" y="461"/>
                  </a:lnTo>
                  <a:lnTo>
                    <a:pt x="534" y="461"/>
                  </a:lnTo>
                  <a:lnTo>
                    <a:pt x="534" y="463"/>
                  </a:lnTo>
                  <a:lnTo>
                    <a:pt x="536" y="463"/>
                  </a:lnTo>
                  <a:lnTo>
                    <a:pt x="536" y="465"/>
                  </a:lnTo>
                  <a:lnTo>
                    <a:pt x="536" y="463"/>
                  </a:lnTo>
                  <a:lnTo>
                    <a:pt x="534" y="463"/>
                  </a:lnTo>
                  <a:lnTo>
                    <a:pt x="534" y="461"/>
                  </a:lnTo>
                  <a:close/>
                  <a:moveTo>
                    <a:pt x="221" y="361"/>
                  </a:moveTo>
                  <a:lnTo>
                    <a:pt x="221" y="363"/>
                  </a:lnTo>
                  <a:lnTo>
                    <a:pt x="219" y="363"/>
                  </a:lnTo>
                  <a:lnTo>
                    <a:pt x="219" y="361"/>
                  </a:lnTo>
                  <a:lnTo>
                    <a:pt x="219" y="363"/>
                  </a:lnTo>
                  <a:lnTo>
                    <a:pt x="221" y="363"/>
                  </a:lnTo>
                  <a:lnTo>
                    <a:pt x="221" y="361"/>
                  </a:lnTo>
                  <a:lnTo>
                    <a:pt x="219" y="361"/>
                  </a:lnTo>
                  <a:lnTo>
                    <a:pt x="221" y="361"/>
                  </a:lnTo>
                  <a:close/>
                  <a:moveTo>
                    <a:pt x="137" y="309"/>
                  </a:moveTo>
                  <a:lnTo>
                    <a:pt x="137" y="311"/>
                  </a:lnTo>
                  <a:lnTo>
                    <a:pt x="139" y="311"/>
                  </a:lnTo>
                  <a:lnTo>
                    <a:pt x="137" y="311"/>
                  </a:lnTo>
                  <a:lnTo>
                    <a:pt x="137" y="309"/>
                  </a:lnTo>
                  <a:close/>
                  <a:moveTo>
                    <a:pt x="356" y="434"/>
                  </a:moveTo>
                  <a:lnTo>
                    <a:pt x="356" y="436"/>
                  </a:lnTo>
                  <a:lnTo>
                    <a:pt x="354" y="436"/>
                  </a:lnTo>
                  <a:lnTo>
                    <a:pt x="354" y="434"/>
                  </a:lnTo>
                  <a:lnTo>
                    <a:pt x="354" y="436"/>
                  </a:lnTo>
                  <a:lnTo>
                    <a:pt x="352" y="436"/>
                  </a:lnTo>
                  <a:lnTo>
                    <a:pt x="354" y="434"/>
                  </a:lnTo>
                  <a:lnTo>
                    <a:pt x="354" y="436"/>
                  </a:lnTo>
                  <a:lnTo>
                    <a:pt x="354" y="434"/>
                  </a:lnTo>
                  <a:lnTo>
                    <a:pt x="356" y="434"/>
                  </a:lnTo>
                  <a:close/>
                  <a:moveTo>
                    <a:pt x="513" y="455"/>
                  </a:moveTo>
                  <a:lnTo>
                    <a:pt x="513" y="457"/>
                  </a:lnTo>
                  <a:lnTo>
                    <a:pt x="511" y="457"/>
                  </a:lnTo>
                  <a:lnTo>
                    <a:pt x="511" y="455"/>
                  </a:lnTo>
                  <a:lnTo>
                    <a:pt x="513" y="455"/>
                  </a:lnTo>
                  <a:close/>
                  <a:moveTo>
                    <a:pt x="674" y="372"/>
                  </a:moveTo>
                  <a:lnTo>
                    <a:pt x="676" y="372"/>
                  </a:lnTo>
                  <a:lnTo>
                    <a:pt x="676" y="374"/>
                  </a:lnTo>
                  <a:lnTo>
                    <a:pt x="674" y="374"/>
                  </a:lnTo>
                  <a:lnTo>
                    <a:pt x="674" y="372"/>
                  </a:lnTo>
                  <a:lnTo>
                    <a:pt x="674" y="374"/>
                  </a:lnTo>
                  <a:lnTo>
                    <a:pt x="674" y="372"/>
                  </a:lnTo>
                  <a:close/>
                  <a:moveTo>
                    <a:pt x="202" y="334"/>
                  </a:moveTo>
                  <a:lnTo>
                    <a:pt x="204" y="334"/>
                  </a:lnTo>
                  <a:lnTo>
                    <a:pt x="204" y="336"/>
                  </a:lnTo>
                  <a:lnTo>
                    <a:pt x="206" y="336"/>
                  </a:lnTo>
                  <a:lnTo>
                    <a:pt x="208" y="336"/>
                  </a:lnTo>
                  <a:lnTo>
                    <a:pt x="206" y="336"/>
                  </a:lnTo>
                  <a:lnTo>
                    <a:pt x="204" y="336"/>
                  </a:lnTo>
                  <a:lnTo>
                    <a:pt x="202" y="336"/>
                  </a:lnTo>
                  <a:lnTo>
                    <a:pt x="204" y="336"/>
                  </a:lnTo>
                  <a:lnTo>
                    <a:pt x="204" y="334"/>
                  </a:lnTo>
                  <a:lnTo>
                    <a:pt x="204" y="336"/>
                  </a:lnTo>
                  <a:lnTo>
                    <a:pt x="204" y="334"/>
                  </a:lnTo>
                  <a:lnTo>
                    <a:pt x="202" y="334"/>
                  </a:lnTo>
                  <a:close/>
                  <a:moveTo>
                    <a:pt x="144" y="311"/>
                  </a:moveTo>
                  <a:lnTo>
                    <a:pt x="146" y="311"/>
                  </a:lnTo>
                  <a:lnTo>
                    <a:pt x="144" y="311"/>
                  </a:lnTo>
                  <a:lnTo>
                    <a:pt x="142" y="311"/>
                  </a:lnTo>
                  <a:lnTo>
                    <a:pt x="144" y="311"/>
                  </a:lnTo>
                  <a:close/>
                  <a:moveTo>
                    <a:pt x="169" y="309"/>
                  </a:moveTo>
                  <a:lnTo>
                    <a:pt x="169" y="311"/>
                  </a:lnTo>
                  <a:lnTo>
                    <a:pt x="167" y="311"/>
                  </a:lnTo>
                  <a:lnTo>
                    <a:pt x="167" y="309"/>
                  </a:lnTo>
                  <a:lnTo>
                    <a:pt x="169" y="309"/>
                  </a:lnTo>
                  <a:close/>
                  <a:moveTo>
                    <a:pt x="538" y="461"/>
                  </a:moveTo>
                  <a:lnTo>
                    <a:pt x="540" y="461"/>
                  </a:lnTo>
                  <a:lnTo>
                    <a:pt x="538" y="461"/>
                  </a:lnTo>
                  <a:lnTo>
                    <a:pt x="538" y="463"/>
                  </a:lnTo>
                  <a:lnTo>
                    <a:pt x="538" y="461"/>
                  </a:lnTo>
                  <a:lnTo>
                    <a:pt x="538" y="463"/>
                  </a:lnTo>
                  <a:lnTo>
                    <a:pt x="538" y="461"/>
                  </a:lnTo>
                  <a:lnTo>
                    <a:pt x="536" y="461"/>
                  </a:lnTo>
                  <a:lnTo>
                    <a:pt x="538" y="461"/>
                  </a:lnTo>
                  <a:close/>
                  <a:moveTo>
                    <a:pt x="651" y="378"/>
                  </a:moveTo>
                  <a:lnTo>
                    <a:pt x="651" y="380"/>
                  </a:lnTo>
                  <a:lnTo>
                    <a:pt x="649" y="380"/>
                  </a:lnTo>
                  <a:lnTo>
                    <a:pt x="647" y="380"/>
                  </a:lnTo>
                  <a:lnTo>
                    <a:pt x="649" y="380"/>
                  </a:lnTo>
                  <a:lnTo>
                    <a:pt x="649" y="378"/>
                  </a:lnTo>
                  <a:lnTo>
                    <a:pt x="651" y="378"/>
                  </a:lnTo>
                  <a:close/>
                  <a:moveTo>
                    <a:pt x="732" y="17"/>
                  </a:moveTo>
                  <a:lnTo>
                    <a:pt x="732" y="19"/>
                  </a:lnTo>
                  <a:lnTo>
                    <a:pt x="732" y="17"/>
                  </a:lnTo>
                  <a:close/>
                  <a:moveTo>
                    <a:pt x="661" y="365"/>
                  </a:moveTo>
                  <a:lnTo>
                    <a:pt x="661" y="367"/>
                  </a:lnTo>
                  <a:lnTo>
                    <a:pt x="661" y="365"/>
                  </a:lnTo>
                  <a:lnTo>
                    <a:pt x="663" y="365"/>
                  </a:lnTo>
                  <a:lnTo>
                    <a:pt x="661" y="365"/>
                  </a:lnTo>
                  <a:close/>
                  <a:moveTo>
                    <a:pt x="540" y="461"/>
                  </a:moveTo>
                  <a:lnTo>
                    <a:pt x="542" y="461"/>
                  </a:lnTo>
                  <a:lnTo>
                    <a:pt x="542" y="463"/>
                  </a:lnTo>
                  <a:lnTo>
                    <a:pt x="540" y="463"/>
                  </a:lnTo>
                  <a:lnTo>
                    <a:pt x="540" y="461"/>
                  </a:lnTo>
                  <a:close/>
                  <a:moveTo>
                    <a:pt x="607" y="503"/>
                  </a:moveTo>
                  <a:lnTo>
                    <a:pt x="609" y="503"/>
                  </a:lnTo>
                  <a:lnTo>
                    <a:pt x="609" y="505"/>
                  </a:lnTo>
                  <a:lnTo>
                    <a:pt x="609" y="503"/>
                  </a:lnTo>
                  <a:lnTo>
                    <a:pt x="607" y="503"/>
                  </a:lnTo>
                  <a:lnTo>
                    <a:pt x="607" y="501"/>
                  </a:lnTo>
                  <a:lnTo>
                    <a:pt x="607" y="503"/>
                  </a:lnTo>
                  <a:close/>
                  <a:moveTo>
                    <a:pt x="171" y="315"/>
                  </a:moveTo>
                  <a:lnTo>
                    <a:pt x="171" y="317"/>
                  </a:lnTo>
                  <a:lnTo>
                    <a:pt x="171" y="315"/>
                  </a:lnTo>
                  <a:lnTo>
                    <a:pt x="169" y="315"/>
                  </a:lnTo>
                  <a:lnTo>
                    <a:pt x="171" y="313"/>
                  </a:lnTo>
                  <a:lnTo>
                    <a:pt x="171" y="315"/>
                  </a:lnTo>
                  <a:lnTo>
                    <a:pt x="171" y="313"/>
                  </a:lnTo>
                  <a:lnTo>
                    <a:pt x="171" y="315"/>
                  </a:lnTo>
                  <a:close/>
                  <a:moveTo>
                    <a:pt x="726" y="60"/>
                  </a:moveTo>
                  <a:lnTo>
                    <a:pt x="726" y="58"/>
                  </a:lnTo>
                  <a:lnTo>
                    <a:pt x="726" y="60"/>
                  </a:lnTo>
                  <a:close/>
                  <a:moveTo>
                    <a:pt x="152" y="367"/>
                  </a:moveTo>
                  <a:lnTo>
                    <a:pt x="152" y="369"/>
                  </a:lnTo>
                  <a:lnTo>
                    <a:pt x="150" y="369"/>
                  </a:lnTo>
                  <a:lnTo>
                    <a:pt x="150" y="367"/>
                  </a:lnTo>
                  <a:lnTo>
                    <a:pt x="152" y="367"/>
                  </a:lnTo>
                  <a:close/>
                  <a:moveTo>
                    <a:pt x="254" y="344"/>
                  </a:moveTo>
                  <a:lnTo>
                    <a:pt x="256" y="344"/>
                  </a:lnTo>
                  <a:lnTo>
                    <a:pt x="254" y="344"/>
                  </a:lnTo>
                  <a:lnTo>
                    <a:pt x="254" y="346"/>
                  </a:lnTo>
                  <a:lnTo>
                    <a:pt x="252" y="346"/>
                  </a:lnTo>
                  <a:lnTo>
                    <a:pt x="252" y="344"/>
                  </a:lnTo>
                  <a:lnTo>
                    <a:pt x="254" y="344"/>
                  </a:lnTo>
                  <a:close/>
                  <a:moveTo>
                    <a:pt x="267" y="342"/>
                  </a:moveTo>
                  <a:lnTo>
                    <a:pt x="265" y="342"/>
                  </a:lnTo>
                  <a:lnTo>
                    <a:pt x="265" y="344"/>
                  </a:lnTo>
                  <a:lnTo>
                    <a:pt x="265" y="342"/>
                  </a:lnTo>
                  <a:lnTo>
                    <a:pt x="267" y="342"/>
                  </a:lnTo>
                  <a:close/>
                  <a:moveTo>
                    <a:pt x="697" y="44"/>
                  </a:moveTo>
                  <a:lnTo>
                    <a:pt x="695" y="44"/>
                  </a:lnTo>
                  <a:lnTo>
                    <a:pt x="695" y="42"/>
                  </a:lnTo>
                  <a:lnTo>
                    <a:pt x="697" y="42"/>
                  </a:lnTo>
                  <a:lnTo>
                    <a:pt x="695" y="42"/>
                  </a:lnTo>
                  <a:lnTo>
                    <a:pt x="697" y="42"/>
                  </a:lnTo>
                  <a:lnTo>
                    <a:pt x="697" y="44"/>
                  </a:lnTo>
                  <a:close/>
                  <a:moveTo>
                    <a:pt x="173" y="307"/>
                  </a:moveTo>
                  <a:lnTo>
                    <a:pt x="173" y="309"/>
                  </a:lnTo>
                  <a:lnTo>
                    <a:pt x="173" y="307"/>
                  </a:lnTo>
                  <a:lnTo>
                    <a:pt x="171" y="307"/>
                  </a:lnTo>
                  <a:lnTo>
                    <a:pt x="171" y="309"/>
                  </a:lnTo>
                  <a:lnTo>
                    <a:pt x="171" y="307"/>
                  </a:lnTo>
                  <a:lnTo>
                    <a:pt x="171" y="309"/>
                  </a:lnTo>
                  <a:lnTo>
                    <a:pt x="171" y="307"/>
                  </a:lnTo>
                  <a:lnTo>
                    <a:pt x="173" y="307"/>
                  </a:lnTo>
                  <a:close/>
                  <a:moveTo>
                    <a:pt x="692" y="48"/>
                  </a:moveTo>
                  <a:lnTo>
                    <a:pt x="692" y="46"/>
                  </a:lnTo>
                  <a:lnTo>
                    <a:pt x="692" y="48"/>
                  </a:lnTo>
                  <a:lnTo>
                    <a:pt x="690" y="48"/>
                  </a:lnTo>
                  <a:lnTo>
                    <a:pt x="690" y="46"/>
                  </a:lnTo>
                  <a:lnTo>
                    <a:pt x="692" y="46"/>
                  </a:lnTo>
                  <a:lnTo>
                    <a:pt x="692" y="48"/>
                  </a:lnTo>
                  <a:close/>
                  <a:moveTo>
                    <a:pt x="200" y="355"/>
                  </a:moveTo>
                  <a:lnTo>
                    <a:pt x="200" y="357"/>
                  </a:lnTo>
                  <a:lnTo>
                    <a:pt x="198" y="357"/>
                  </a:lnTo>
                  <a:lnTo>
                    <a:pt x="196" y="357"/>
                  </a:lnTo>
                  <a:lnTo>
                    <a:pt x="196" y="355"/>
                  </a:lnTo>
                  <a:lnTo>
                    <a:pt x="198" y="357"/>
                  </a:lnTo>
                  <a:lnTo>
                    <a:pt x="200" y="355"/>
                  </a:lnTo>
                  <a:close/>
                  <a:moveTo>
                    <a:pt x="158" y="315"/>
                  </a:moveTo>
                  <a:lnTo>
                    <a:pt x="156" y="315"/>
                  </a:lnTo>
                  <a:lnTo>
                    <a:pt x="158" y="315"/>
                  </a:lnTo>
                  <a:lnTo>
                    <a:pt x="158" y="317"/>
                  </a:lnTo>
                  <a:lnTo>
                    <a:pt x="158" y="315"/>
                  </a:lnTo>
                  <a:lnTo>
                    <a:pt x="158" y="317"/>
                  </a:lnTo>
                  <a:lnTo>
                    <a:pt x="156" y="317"/>
                  </a:lnTo>
                  <a:lnTo>
                    <a:pt x="158" y="317"/>
                  </a:lnTo>
                  <a:lnTo>
                    <a:pt x="156" y="317"/>
                  </a:lnTo>
                  <a:lnTo>
                    <a:pt x="156" y="315"/>
                  </a:lnTo>
                  <a:lnTo>
                    <a:pt x="158" y="315"/>
                  </a:lnTo>
                  <a:close/>
                  <a:moveTo>
                    <a:pt x="707" y="175"/>
                  </a:moveTo>
                  <a:lnTo>
                    <a:pt x="705" y="175"/>
                  </a:lnTo>
                  <a:lnTo>
                    <a:pt x="707" y="175"/>
                  </a:lnTo>
                  <a:lnTo>
                    <a:pt x="707" y="173"/>
                  </a:lnTo>
                  <a:lnTo>
                    <a:pt x="707" y="175"/>
                  </a:lnTo>
                  <a:close/>
                  <a:moveTo>
                    <a:pt x="503" y="447"/>
                  </a:moveTo>
                  <a:lnTo>
                    <a:pt x="503" y="449"/>
                  </a:lnTo>
                  <a:lnTo>
                    <a:pt x="502" y="449"/>
                  </a:lnTo>
                  <a:lnTo>
                    <a:pt x="502" y="447"/>
                  </a:lnTo>
                  <a:lnTo>
                    <a:pt x="503" y="447"/>
                  </a:lnTo>
                  <a:close/>
                  <a:moveTo>
                    <a:pt x="513" y="453"/>
                  </a:moveTo>
                  <a:lnTo>
                    <a:pt x="513" y="455"/>
                  </a:lnTo>
                  <a:lnTo>
                    <a:pt x="513" y="453"/>
                  </a:lnTo>
                  <a:lnTo>
                    <a:pt x="513" y="455"/>
                  </a:lnTo>
                  <a:lnTo>
                    <a:pt x="513" y="453"/>
                  </a:lnTo>
                  <a:lnTo>
                    <a:pt x="511" y="453"/>
                  </a:lnTo>
                  <a:lnTo>
                    <a:pt x="513" y="453"/>
                  </a:lnTo>
                  <a:close/>
                  <a:moveTo>
                    <a:pt x="213" y="359"/>
                  </a:moveTo>
                  <a:lnTo>
                    <a:pt x="215" y="359"/>
                  </a:lnTo>
                  <a:lnTo>
                    <a:pt x="213" y="359"/>
                  </a:lnTo>
                  <a:lnTo>
                    <a:pt x="213" y="357"/>
                  </a:lnTo>
                  <a:lnTo>
                    <a:pt x="213" y="359"/>
                  </a:lnTo>
                  <a:close/>
                  <a:moveTo>
                    <a:pt x="480" y="180"/>
                  </a:moveTo>
                  <a:lnTo>
                    <a:pt x="480" y="182"/>
                  </a:lnTo>
                  <a:lnTo>
                    <a:pt x="480" y="180"/>
                  </a:lnTo>
                  <a:lnTo>
                    <a:pt x="480" y="182"/>
                  </a:lnTo>
                  <a:lnTo>
                    <a:pt x="482" y="182"/>
                  </a:lnTo>
                  <a:lnTo>
                    <a:pt x="482" y="180"/>
                  </a:lnTo>
                  <a:lnTo>
                    <a:pt x="482" y="182"/>
                  </a:lnTo>
                  <a:lnTo>
                    <a:pt x="480" y="182"/>
                  </a:lnTo>
                  <a:lnTo>
                    <a:pt x="480" y="180"/>
                  </a:lnTo>
                  <a:close/>
                  <a:moveTo>
                    <a:pt x="498" y="438"/>
                  </a:moveTo>
                  <a:lnTo>
                    <a:pt x="498" y="440"/>
                  </a:lnTo>
                  <a:lnTo>
                    <a:pt x="498" y="442"/>
                  </a:lnTo>
                  <a:lnTo>
                    <a:pt x="498" y="440"/>
                  </a:lnTo>
                  <a:lnTo>
                    <a:pt x="496" y="440"/>
                  </a:lnTo>
                  <a:lnTo>
                    <a:pt x="498" y="440"/>
                  </a:lnTo>
                  <a:lnTo>
                    <a:pt x="496" y="440"/>
                  </a:lnTo>
                  <a:lnTo>
                    <a:pt x="498" y="440"/>
                  </a:lnTo>
                  <a:lnTo>
                    <a:pt x="496" y="440"/>
                  </a:lnTo>
                  <a:lnTo>
                    <a:pt x="496" y="438"/>
                  </a:lnTo>
                  <a:lnTo>
                    <a:pt x="498" y="438"/>
                  </a:lnTo>
                  <a:close/>
                  <a:moveTo>
                    <a:pt x="734" y="17"/>
                  </a:moveTo>
                  <a:lnTo>
                    <a:pt x="736" y="17"/>
                  </a:lnTo>
                  <a:lnTo>
                    <a:pt x="734" y="17"/>
                  </a:lnTo>
                  <a:close/>
                  <a:moveTo>
                    <a:pt x="642" y="382"/>
                  </a:moveTo>
                  <a:lnTo>
                    <a:pt x="640" y="382"/>
                  </a:lnTo>
                  <a:lnTo>
                    <a:pt x="642" y="382"/>
                  </a:lnTo>
                  <a:close/>
                  <a:moveTo>
                    <a:pt x="346" y="411"/>
                  </a:moveTo>
                  <a:lnTo>
                    <a:pt x="346" y="413"/>
                  </a:lnTo>
                  <a:lnTo>
                    <a:pt x="346" y="411"/>
                  </a:lnTo>
                  <a:lnTo>
                    <a:pt x="346" y="413"/>
                  </a:lnTo>
                  <a:lnTo>
                    <a:pt x="344" y="413"/>
                  </a:lnTo>
                  <a:lnTo>
                    <a:pt x="344" y="411"/>
                  </a:lnTo>
                  <a:lnTo>
                    <a:pt x="346" y="411"/>
                  </a:lnTo>
                  <a:lnTo>
                    <a:pt x="344" y="411"/>
                  </a:lnTo>
                  <a:lnTo>
                    <a:pt x="346" y="411"/>
                  </a:lnTo>
                  <a:close/>
                  <a:moveTo>
                    <a:pt x="189" y="363"/>
                  </a:moveTo>
                  <a:lnTo>
                    <a:pt x="189" y="361"/>
                  </a:lnTo>
                  <a:lnTo>
                    <a:pt x="189" y="363"/>
                  </a:lnTo>
                  <a:close/>
                  <a:moveTo>
                    <a:pt x="154" y="317"/>
                  </a:moveTo>
                  <a:lnTo>
                    <a:pt x="156" y="317"/>
                  </a:lnTo>
                  <a:lnTo>
                    <a:pt x="156" y="319"/>
                  </a:lnTo>
                  <a:lnTo>
                    <a:pt x="156" y="317"/>
                  </a:lnTo>
                  <a:lnTo>
                    <a:pt x="156" y="319"/>
                  </a:lnTo>
                  <a:lnTo>
                    <a:pt x="154" y="319"/>
                  </a:lnTo>
                  <a:lnTo>
                    <a:pt x="154" y="317"/>
                  </a:lnTo>
                  <a:close/>
                  <a:moveTo>
                    <a:pt x="185" y="359"/>
                  </a:moveTo>
                  <a:lnTo>
                    <a:pt x="185" y="361"/>
                  </a:lnTo>
                  <a:lnTo>
                    <a:pt x="185" y="359"/>
                  </a:lnTo>
                  <a:close/>
                  <a:moveTo>
                    <a:pt x="603" y="499"/>
                  </a:moveTo>
                  <a:lnTo>
                    <a:pt x="605" y="499"/>
                  </a:lnTo>
                  <a:lnTo>
                    <a:pt x="605" y="501"/>
                  </a:lnTo>
                  <a:lnTo>
                    <a:pt x="603" y="501"/>
                  </a:lnTo>
                  <a:lnTo>
                    <a:pt x="605" y="501"/>
                  </a:lnTo>
                  <a:lnTo>
                    <a:pt x="603" y="501"/>
                  </a:lnTo>
                  <a:lnTo>
                    <a:pt x="603" y="499"/>
                  </a:lnTo>
                  <a:close/>
                  <a:moveTo>
                    <a:pt x="494" y="376"/>
                  </a:moveTo>
                  <a:lnTo>
                    <a:pt x="494" y="374"/>
                  </a:lnTo>
                  <a:lnTo>
                    <a:pt x="494" y="376"/>
                  </a:lnTo>
                  <a:close/>
                  <a:moveTo>
                    <a:pt x="546" y="411"/>
                  </a:moveTo>
                  <a:lnTo>
                    <a:pt x="546" y="409"/>
                  </a:lnTo>
                  <a:lnTo>
                    <a:pt x="546" y="411"/>
                  </a:lnTo>
                  <a:lnTo>
                    <a:pt x="548" y="411"/>
                  </a:lnTo>
                  <a:lnTo>
                    <a:pt x="546" y="411"/>
                  </a:lnTo>
                  <a:lnTo>
                    <a:pt x="546" y="409"/>
                  </a:lnTo>
                  <a:lnTo>
                    <a:pt x="546" y="411"/>
                  </a:lnTo>
                  <a:close/>
                  <a:moveTo>
                    <a:pt x="421" y="269"/>
                  </a:moveTo>
                  <a:lnTo>
                    <a:pt x="419" y="269"/>
                  </a:lnTo>
                  <a:lnTo>
                    <a:pt x="421" y="269"/>
                  </a:lnTo>
                  <a:lnTo>
                    <a:pt x="421" y="271"/>
                  </a:lnTo>
                  <a:lnTo>
                    <a:pt x="419" y="271"/>
                  </a:lnTo>
                  <a:lnTo>
                    <a:pt x="419" y="269"/>
                  </a:lnTo>
                  <a:lnTo>
                    <a:pt x="421" y="269"/>
                  </a:lnTo>
                  <a:close/>
                  <a:moveTo>
                    <a:pt x="480" y="177"/>
                  </a:moveTo>
                  <a:lnTo>
                    <a:pt x="478" y="177"/>
                  </a:lnTo>
                  <a:lnTo>
                    <a:pt x="480" y="177"/>
                  </a:lnTo>
                  <a:close/>
                  <a:moveTo>
                    <a:pt x="213" y="361"/>
                  </a:moveTo>
                  <a:lnTo>
                    <a:pt x="213" y="359"/>
                  </a:lnTo>
                  <a:lnTo>
                    <a:pt x="213" y="361"/>
                  </a:lnTo>
                  <a:lnTo>
                    <a:pt x="215" y="361"/>
                  </a:lnTo>
                  <a:lnTo>
                    <a:pt x="213" y="361"/>
                  </a:lnTo>
                  <a:lnTo>
                    <a:pt x="213" y="359"/>
                  </a:lnTo>
                  <a:lnTo>
                    <a:pt x="213" y="361"/>
                  </a:lnTo>
                  <a:close/>
                  <a:moveTo>
                    <a:pt x="141" y="313"/>
                  </a:moveTo>
                  <a:lnTo>
                    <a:pt x="141" y="311"/>
                  </a:lnTo>
                  <a:lnTo>
                    <a:pt x="141" y="313"/>
                  </a:lnTo>
                  <a:close/>
                  <a:moveTo>
                    <a:pt x="146" y="311"/>
                  </a:moveTo>
                  <a:lnTo>
                    <a:pt x="146" y="313"/>
                  </a:lnTo>
                  <a:lnTo>
                    <a:pt x="144" y="313"/>
                  </a:lnTo>
                  <a:lnTo>
                    <a:pt x="146" y="313"/>
                  </a:lnTo>
                  <a:lnTo>
                    <a:pt x="146" y="311"/>
                  </a:lnTo>
                  <a:close/>
                  <a:moveTo>
                    <a:pt x="592" y="484"/>
                  </a:moveTo>
                  <a:lnTo>
                    <a:pt x="594" y="484"/>
                  </a:lnTo>
                  <a:lnTo>
                    <a:pt x="592" y="484"/>
                  </a:lnTo>
                  <a:close/>
                  <a:moveTo>
                    <a:pt x="630" y="190"/>
                  </a:moveTo>
                  <a:lnTo>
                    <a:pt x="628" y="190"/>
                  </a:lnTo>
                  <a:lnTo>
                    <a:pt x="630" y="190"/>
                  </a:lnTo>
                  <a:lnTo>
                    <a:pt x="630" y="188"/>
                  </a:lnTo>
                  <a:lnTo>
                    <a:pt x="630" y="190"/>
                  </a:lnTo>
                  <a:close/>
                  <a:moveTo>
                    <a:pt x="141" y="313"/>
                  </a:moveTo>
                  <a:lnTo>
                    <a:pt x="141" y="315"/>
                  </a:lnTo>
                  <a:lnTo>
                    <a:pt x="141" y="313"/>
                  </a:lnTo>
                  <a:close/>
                  <a:moveTo>
                    <a:pt x="525" y="459"/>
                  </a:moveTo>
                  <a:lnTo>
                    <a:pt x="526" y="459"/>
                  </a:lnTo>
                  <a:lnTo>
                    <a:pt x="526" y="461"/>
                  </a:lnTo>
                  <a:lnTo>
                    <a:pt x="525" y="461"/>
                  </a:lnTo>
                  <a:lnTo>
                    <a:pt x="525" y="459"/>
                  </a:lnTo>
                  <a:close/>
                  <a:moveTo>
                    <a:pt x="523" y="459"/>
                  </a:moveTo>
                  <a:lnTo>
                    <a:pt x="521" y="459"/>
                  </a:lnTo>
                  <a:lnTo>
                    <a:pt x="523" y="459"/>
                  </a:lnTo>
                  <a:lnTo>
                    <a:pt x="523" y="457"/>
                  </a:lnTo>
                  <a:lnTo>
                    <a:pt x="523" y="459"/>
                  </a:lnTo>
                  <a:close/>
                  <a:moveTo>
                    <a:pt x="559" y="409"/>
                  </a:moveTo>
                  <a:lnTo>
                    <a:pt x="561" y="409"/>
                  </a:lnTo>
                  <a:lnTo>
                    <a:pt x="559" y="411"/>
                  </a:lnTo>
                  <a:lnTo>
                    <a:pt x="559" y="409"/>
                  </a:lnTo>
                  <a:close/>
                  <a:moveTo>
                    <a:pt x="260" y="378"/>
                  </a:moveTo>
                  <a:lnTo>
                    <a:pt x="261" y="378"/>
                  </a:lnTo>
                  <a:lnTo>
                    <a:pt x="260" y="378"/>
                  </a:lnTo>
                  <a:close/>
                  <a:moveTo>
                    <a:pt x="477" y="190"/>
                  </a:moveTo>
                  <a:lnTo>
                    <a:pt x="477" y="192"/>
                  </a:lnTo>
                  <a:lnTo>
                    <a:pt x="477" y="190"/>
                  </a:lnTo>
                  <a:close/>
                  <a:moveTo>
                    <a:pt x="219" y="338"/>
                  </a:moveTo>
                  <a:lnTo>
                    <a:pt x="217" y="338"/>
                  </a:lnTo>
                  <a:lnTo>
                    <a:pt x="215" y="338"/>
                  </a:lnTo>
                  <a:lnTo>
                    <a:pt x="213" y="340"/>
                  </a:lnTo>
                  <a:lnTo>
                    <a:pt x="213" y="338"/>
                  </a:lnTo>
                  <a:lnTo>
                    <a:pt x="215" y="338"/>
                  </a:lnTo>
                  <a:lnTo>
                    <a:pt x="217" y="338"/>
                  </a:lnTo>
                  <a:lnTo>
                    <a:pt x="219" y="338"/>
                  </a:lnTo>
                  <a:close/>
                  <a:moveTo>
                    <a:pt x="695" y="221"/>
                  </a:moveTo>
                  <a:lnTo>
                    <a:pt x="695" y="219"/>
                  </a:lnTo>
                  <a:lnTo>
                    <a:pt x="695" y="221"/>
                  </a:lnTo>
                  <a:close/>
                  <a:moveTo>
                    <a:pt x="306" y="346"/>
                  </a:moveTo>
                  <a:lnTo>
                    <a:pt x="304" y="346"/>
                  </a:lnTo>
                  <a:lnTo>
                    <a:pt x="304" y="344"/>
                  </a:lnTo>
                  <a:lnTo>
                    <a:pt x="306" y="346"/>
                  </a:lnTo>
                  <a:close/>
                  <a:moveTo>
                    <a:pt x="177" y="330"/>
                  </a:moveTo>
                  <a:lnTo>
                    <a:pt x="175" y="330"/>
                  </a:lnTo>
                  <a:lnTo>
                    <a:pt x="177" y="330"/>
                  </a:lnTo>
                  <a:lnTo>
                    <a:pt x="175" y="330"/>
                  </a:lnTo>
                  <a:lnTo>
                    <a:pt x="177" y="330"/>
                  </a:lnTo>
                  <a:close/>
                  <a:moveTo>
                    <a:pt x="607" y="351"/>
                  </a:moveTo>
                  <a:lnTo>
                    <a:pt x="605" y="351"/>
                  </a:lnTo>
                  <a:lnTo>
                    <a:pt x="607" y="351"/>
                  </a:lnTo>
                  <a:close/>
                  <a:moveTo>
                    <a:pt x="248" y="338"/>
                  </a:moveTo>
                  <a:lnTo>
                    <a:pt x="250" y="338"/>
                  </a:lnTo>
                  <a:lnTo>
                    <a:pt x="248" y="338"/>
                  </a:lnTo>
                  <a:lnTo>
                    <a:pt x="248" y="336"/>
                  </a:lnTo>
                  <a:lnTo>
                    <a:pt x="248" y="338"/>
                  </a:lnTo>
                  <a:close/>
                  <a:moveTo>
                    <a:pt x="661" y="371"/>
                  </a:moveTo>
                  <a:lnTo>
                    <a:pt x="661" y="369"/>
                  </a:lnTo>
                  <a:lnTo>
                    <a:pt x="661" y="371"/>
                  </a:lnTo>
                  <a:close/>
                  <a:moveTo>
                    <a:pt x="534" y="461"/>
                  </a:moveTo>
                  <a:lnTo>
                    <a:pt x="532" y="461"/>
                  </a:lnTo>
                  <a:lnTo>
                    <a:pt x="532" y="459"/>
                  </a:lnTo>
                  <a:lnTo>
                    <a:pt x="532" y="461"/>
                  </a:lnTo>
                  <a:lnTo>
                    <a:pt x="534" y="461"/>
                  </a:lnTo>
                  <a:close/>
                  <a:moveTo>
                    <a:pt x="738" y="23"/>
                  </a:moveTo>
                  <a:lnTo>
                    <a:pt x="736" y="23"/>
                  </a:lnTo>
                  <a:lnTo>
                    <a:pt x="738" y="21"/>
                  </a:lnTo>
                  <a:lnTo>
                    <a:pt x="738" y="23"/>
                  </a:lnTo>
                  <a:close/>
                  <a:moveTo>
                    <a:pt x="165" y="374"/>
                  </a:moveTo>
                  <a:lnTo>
                    <a:pt x="165" y="372"/>
                  </a:lnTo>
                  <a:lnTo>
                    <a:pt x="165" y="374"/>
                  </a:lnTo>
                  <a:close/>
                  <a:moveTo>
                    <a:pt x="142" y="309"/>
                  </a:moveTo>
                  <a:lnTo>
                    <a:pt x="142" y="311"/>
                  </a:lnTo>
                  <a:lnTo>
                    <a:pt x="142" y="309"/>
                  </a:lnTo>
                  <a:close/>
                  <a:moveTo>
                    <a:pt x="523" y="453"/>
                  </a:moveTo>
                  <a:lnTo>
                    <a:pt x="523" y="451"/>
                  </a:lnTo>
                  <a:lnTo>
                    <a:pt x="523" y="453"/>
                  </a:lnTo>
                  <a:close/>
                  <a:moveTo>
                    <a:pt x="354" y="407"/>
                  </a:moveTo>
                  <a:lnTo>
                    <a:pt x="352" y="407"/>
                  </a:lnTo>
                  <a:lnTo>
                    <a:pt x="354" y="407"/>
                  </a:lnTo>
                  <a:close/>
                  <a:moveTo>
                    <a:pt x="521" y="457"/>
                  </a:moveTo>
                  <a:lnTo>
                    <a:pt x="521" y="459"/>
                  </a:lnTo>
                  <a:lnTo>
                    <a:pt x="523" y="459"/>
                  </a:lnTo>
                  <a:lnTo>
                    <a:pt x="521" y="459"/>
                  </a:lnTo>
                  <a:lnTo>
                    <a:pt x="523" y="459"/>
                  </a:lnTo>
                  <a:lnTo>
                    <a:pt x="521" y="459"/>
                  </a:lnTo>
                  <a:lnTo>
                    <a:pt x="521" y="457"/>
                  </a:lnTo>
                  <a:lnTo>
                    <a:pt x="521" y="459"/>
                  </a:lnTo>
                  <a:lnTo>
                    <a:pt x="521" y="457"/>
                  </a:lnTo>
                  <a:close/>
                  <a:moveTo>
                    <a:pt x="117" y="313"/>
                  </a:moveTo>
                  <a:lnTo>
                    <a:pt x="117" y="315"/>
                  </a:lnTo>
                  <a:lnTo>
                    <a:pt x="117" y="313"/>
                  </a:lnTo>
                  <a:close/>
                  <a:moveTo>
                    <a:pt x="713" y="46"/>
                  </a:moveTo>
                  <a:lnTo>
                    <a:pt x="713" y="48"/>
                  </a:lnTo>
                  <a:lnTo>
                    <a:pt x="711" y="46"/>
                  </a:lnTo>
                  <a:lnTo>
                    <a:pt x="713" y="46"/>
                  </a:lnTo>
                  <a:close/>
                  <a:moveTo>
                    <a:pt x="544" y="407"/>
                  </a:moveTo>
                  <a:lnTo>
                    <a:pt x="542" y="407"/>
                  </a:lnTo>
                  <a:lnTo>
                    <a:pt x="544" y="407"/>
                  </a:lnTo>
                  <a:close/>
                  <a:moveTo>
                    <a:pt x="644" y="382"/>
                  </a:moveTo>
                  <a:lnTo>
                    <a:pt x="646" y="382"/>
                  </a:lnTo>
                  <a:lnTo>
                    <a:pt x="644" y="382"/>
                  </a:lnTo>
                  <a:close/>
                  <a:moveTo>
                    <a:pt x="221" y="369"/>
                  </a:moveTo>
                  <a:lnTo>
                    <a:pt x="221" y="371"/>
                  </a:lnTo>
                  <a:lnTo>
                    <a:pt x="221" y="369"/>
                  </a:lnTo>
                  <a:lnTo>
                    <a:pt x="221" y="371"/>
                  </a:lnTo>
                  <a:lnTo>
                    <a:pt x="221" y="369"/>
                  </a:lnTo>
                  <a:close/>
                  <a:moveTo>
                    <a:pt x="540" y="461"/>
                  </a:moveTo>
                  <a:lnTo>
                    <a:pt x="538" y="461"/>
                  </a:lnTo>
                  <a:lnTo>
                    <a:pt x="540" y="461"/>
                  </a:lnTo>
                  <a:close/>
                  <a:moveTo>
                    <a:pt x="158" y="371"/>
                  </a:moveTo>
                  <a:lnTo>
                    <a:pt x="158" y="372"/>
                  </a:lnTo>
                  <a:lnTo>
                    <a:pt x="158" y="371"/>
                  </a:lnTo>
                  <a:close/>
                  <a:moveTo>
                    <a:pt x="584" y="499"/>
                  </a:moveTo>
                  <a:lnTo>
                    <a:pt x="584" y="501"/>
                  </a:lnTo>
                  <a:lnTo>
                    <a:pt x="584" y="499"/>
                  </a:lnTo>
                  <a:close/>
                  <a:moveTo>
                    <a:pt x="761" y="6"/>
                  </a:moveTo>
                  <a:lnTo>
                    <a:pt x="761" y="8"/>
                  </a:lnTo>
                  <a:lnTo>
                    <a:pt x="759" y="8"/>
                  </a:lnTo>
                  <a:lnTo>
                    <a:pt x="759" y="6"/>
                  </a:lnTo>
                  <a:lnTo>
                    <a:pt x="761" y="6"/>
                  </a:lnTo>
                  <a:close/>
                  <a:moveTo>
                    <a:pt x="281" y="374"/>
                  </a:moveTo>
                  <a:lnTo>
                    <a:pt x="283" y="374"/>
                  </a:lnTo>
                  <a:lnTo>
                    <a:pt x="281" y="374"/>
                  </a:lnTo>
                  <a:lnTo>
                    <a:pt x="281" y="372"/>
                  </a:lnTo>
                  <a:lnTo>
                    <a:pt x="281" y="374"/>
                  </a:lnTo>
                  <a:close/>
                  <a:moveTo>
                    <a:pt x="164" y="371"/>
                  </a:moveTo>
                  <a:lnTo>
                    <a:pt x="164" y="372"/>
                  </a:lnTo>
                  <a:lnTo>
                    <a:pt x="162" y="372"/>
                  </a:lnTo>
                  <a:lnTo>
                    <a:pt x="162" y="371"/>
                  </a:lnTo>
                  <a:lnTo>
                    <a:pt x="164" y="371"/>
                  </a:lnTo>
                  <a:close/>
                  <a:moveTo>
                    <a:pt x="734" y="15"/>
                  </a:moveTo>
                  <a:lnTo>
                    <a:pt x="736" y="15"/>
                  </a:lnTo>
                  <a:lnTo>
                    <a:pt x="736" y="17"/>
                  </a:lnTo>
                  <a:lnTo>
                    <a:pt x="734" y="17"/>
                  </a:lnTo>
                  <a:lnTo>
                    <a:pt x="734" y="15"/>
                  </a:lnTo>
                  <a:close/>
                  <a:moveTo>
                    <a:pt x="523" y="459"/>
                  </a:moveTo>
                  <a:lnTo>
                    <a:pt x="525" y="459"/>
                  </a:lnTo>
                  <a:lnTo>
                    <a:pt x="525" y="461"/>
                  </a:lnTo>
                  <a:lnTo>
                    <a:pt x="523" y="459"/>
                  </a:lnTo>
                  <a:lnTo>
                    <a:pt x="523" y="461"/>
                  </a:lnTo>
                  <a:lnTo>
                    <a:pt x="523" y="459"/>
                  </a:lnTo>
                  <a:lnTo>
                    <a:pt x="523" y="461"/>
                  </a:lnTo>
                  <a:lnTo>
                    <a:pt x="523" y="459"/>
                  </a:lnTo>
                  <a:close/>
                  <a:moveTo>
                    <a:pt x="669" y="190"/>
                  </a:moveTo>
                  <a:lnTo>
                    <a:pt x="669" y="188"/>
                  </a:lnTo>
                  <a:lnTo>
                    <a:pt x="669" y="190"/>
                  </a:lnTo>
                  <a:close/>
                  <a:moveTo>
                    <a:pt x="269" y="340"/>
                  </a:moveTo>
                  <a:lnTo>
                    <a:pt x="269" y="342"/>
                  </a:lnTo>
                  <a:lnTo>
                    <a:pt x="267" y="342"/>
                  </a:lnTo>
                  <a:lnTo>
                    <a:pt x="267" y="340"/>
                  </a:lnTo>
                  <a:lnTo>
                    <a:pt x="269" y="340"/>
                  </a:lnTo>
                  <a:close/>
                  <a:moveTo>
                    <a:pt x="254" y="342"/>
                  </a:moveTo>
                  <a:lnTo>
                    <a:pt x="254" y="344"/>
                  </a:lnTo>
                  <a:lnTo>
                    <a:pt x="252" y="344"/>
                  </a:lnTo>
                  <a:lnTo>
                    <a:pt x="254" y="344"/>
                  </a:lnTo>
                  <a:lnTo>
                    <a:pt x="254" y="342"/>
                  </a:lnTo>
                  <a:close/>
                  <a:moveTo>
                    <a:pt x="759" y="40"/>
                  </a:moveTo>
                  <a:lnTo>
                    <a:pt x="759" y="42"/>
                  </a:lnTo>
                  <a:lnTo>
                    <a:pt x="759" y="40"/>
                  </a:lnTo>
                  <a:close/>
                  <a:moveTo>
                    <a:pt x="596" y="488"/>
                  </a:moveTo>
                  <a:lnTo>
                    <a:pt x="594" y="488"/>
                  </a:lnTo>
                  <a:lnTo>
                    <a:pt x="596" y="488"/>
                  </a:lnTo>
                  <a:close/>
                  <a:moveTo>
                    <a:pt x="678" y="374"/>
                  </a:moveTo>
                  <a:lnTo>
                    <a:pt x="678" y="376"/>
                  </a:lnTo>
                  <a:lnTo>
                    <a:pt x="678" y="374"/>
                  </a:lnTo>
                  <a:close/>
                  <a:moveTo>
                    <a:pt x="736" y="21"/>
                  </a:moveTo>
                  <a:lnTo>
                    <a:pt x="738" y="21"/>
                  </a:lnTo>
                  <a:lnTo>
                    <a:pt x="736" y="21"/>
                  </a:lnTo>
                  <a:lnTo>
                    <a:pt x="738" y="21"/>
                  </a:lnTo>
                  <a:lnTo>
                    <a:pt x="736" y="21"/>
                  </a:lnTo>
                  <a:lnTo>
                    <a:pt x="736" y="23"/>
                  </a:lnTo>
                  <a:lnTo>
                    <a:pt x="736" y="21"/>
                  </a:lnTo>
                  <a:lnTo>
                    <a:pt x="736" y="23"/>
                  </a:lnTo>
                  <a:lnTo>
                    <a:pt x="736" y="21"/>
                  </a:lnTo>
                  <a:close/>
                  <a:moveTo>
                    <a:pt x="173" y="326"/>
                  </a:moveTo>
                  <a:lnTo>
                    <a:pt x="171" y="326"/>
                  </a:lnTo>
                  <a:lnTo>
                    <a:pt x="171" y="324"/>
                  </a:lnTo>
                  <a:lnTo>
                    <a:pt x="173" y="324"/>
                  </a:lnTo>
                  <a:lnTo>
                    <a:pt x="173" y="326"/>
                  </a:lnTo>
                  <a:close/>
                  <a:moveTo>
                    <a:pt x="187" y="359"/>
                  </a:moveTo>
                  <a:lnTo>
                    <a:pt x="187" y="357"/>
                  </a:lnTo>
                  <a:lnTo>
                    <a:pt x="187" y="359"/>
                  </a:lnTo>
                  <a:close/>
                  <a:moveTo>
                    <a:pt x="674" y="48"/>
                  </a:moveTo>
                  <a:lnTo>
                    <a:pt x="674" y="50"/>
                  </a:lnTo>
                  <a:lnTo>
                    <a:pt x="674" y="48"/>
                  </a:lnTo>
                  <a:close/>
                  <a:moveTo>
                    <a:pt x="740" y="144"/>
                  </a:moveTo>
                  <a:lnTo>
                    <a:pt x="742" y="144"/>
                  </a:lnTo>
                  <a:lnTo>
                    <a:pt x="742" y="146"/>
                  </a:lnTo>
                  <a:lnTo>
                    <a:pt x="742" y="144"/>
                  </a:lnTo>
                  <a:lnTo>
                    <a:pt x="740" y="144"/>
                  </a:lnTo>
                  <a:close/>
                  <a:moveTo>
                    <a:pt x="563" y="94"/>
                  </a:moveTo>
                  <a:lnTo>
                    <a:pt x="563" y="96"/>
                  </a:lnTo>
                  <a:lnTo>
                    <a:pt x="563" y="94"/>
                  </a:lnTo>
                  <a:lnTo>
                    <a:pt x="563" y="96"/>
                  </a:lnTo>
                  <a:lnTo>
                    <a:pt x="563" y="94"/>
                  </a:lnTo>
                  <a:close/>
                  <a:moveTo>
                    <a:pt x="317" y="436"/>
                  </a:moveTo>
                  <a:lnTo>
                    <a:pt x="317" y="438"/>
                  </a:lnTo>
                  <a:lnTo>
                    <a:pt x="317" y="436"/>
                  </a:lnTo>
                  <a:close/>
                  <a:moveTo>
                    <a:pt x="261" y="346"/>
                  </a:moveTo>
                  <a:lnTo>
                    <a:pt x="261" y="348"/>
                  </a:lnTo>
                  <a:lnTo>
                    <a:pt x="260" y="348"/>
                  </a:lnTo>
                  <a:lnTo>
                    <a:pt x="260" y="346"/>
                  </a:lnTo>
                  <a:lnTo>
                    <a:pt x="261" y="346"/>
                  </a:lnTo>
                  <a:close/>
                  <a:moveTo>
                    <a:pt x="559" y="106"/>
                  </a:moveTo>
                  <a:lnTo>
                    <a:pt x="561" y="106"/>
                  </a:lnTo>
                  <a:lnTo>
                    <a:pt x="559" y="106"/>
                  </a:lnTo>
                  <a:close/>
                  <a:moveTo>
                    <a:pt x="628" y="100"/>
                  </a:moveTo>
                  <a:lnTo>
                    <a:pt x="626" y="100"/>
                  </a:lnTo>
                  <a:lnTo>
                    <a:pt x="628" y="100"/>
                  </a:lnTo>
                  <a:close/>
                  <a:moveTo>
                    <a:pt x="611" y="346"/>
                  </a:moveTo>
                  <a:lnTo>
                    <a:pt x="609" y="346"/>
                  </a:lnTo>
                  <a:lnTo>
                    <a:pt x="611" y="346"/>
                  </a:lnTo>
                  <a:close/>
                  <a:moveTo>
                    <a:pt x="164" y="365"/>
                  </a:moveTo>
                  <a:lnTo>
                    <a:pt x="164" y="363"/>
                  </a:lnTo>
                  <a:lnTo>
                    <a:pt x="164" y="365"/>
                  </a:lnTo>
                  <a:close/>
                  <a:moveTo>
                    <a:pt x="653" y="382"/>
                  </a:moveTo>
                  <a:lnTo>
                    <a:pt x="653" y="380"/>
                  </a:lnTo>
                  <a:lnTo>
                    <a:pt x="655" y="380"/>
                  </a:lnTo>
                  <a:lnTo>
                    <a:pt x="653" y="382"/>
                  </a:lnTo>
                  <a:close/>
                  <a:moveTo>
                    <a:pt x="536" y="463"/>
                  </a:moveTo>
                  <a:lnTo>
                    <a:pt x="538" y="463"/>
                  </a:lnTo>
                  <a:lnTo>
                    <a:pt x="536" y="463"/>
                  </a:lnTo>
                  <a:close/>
                  <a:moveTo>
                    <a:pt x="740" y="146"/>
                  </a:moveTo>
                  <a:lnTo>
                    <a:pt x="742" y="146"/>
                  </a:lnTo>
                  <a:lnTo>
                    <a:pt x="740" y="146"/>
                  </a:lnTo>
                  <a:close/>
                  <a:moveTo>
                    <a:pt x="667" y="156"/>
                  </a:moveTo>
                  <a:lnTo>
                    <a:pt x="665" y="156"/>
                  </a:lnTo>
                  <a:lnTo>
                    <a:pt x="667" y="156"/>
                  </a:lnTo>
                  <a:close/>
                  <a:moveTo>
                    <a:pt x="763" y="61"/>
                  </a:moveTo>
                  <a:lnTo>
                    <a:pt x="763" y="60"/>
                  </a:lnTo>
                  <a:lnTo>
                    <a:pt x="765" y="60"/>
                  </a:lnTo>
                  <a:lnTo>
                    <a:pt x="763" y="60"/>
                  </a:lnTo>
                  <a:lnTo>
                    <a:pt x="763" y="61"/>
                  </a:lnTo>
                  <a:close/>
                  <a:moveTo>
                    <a:pt x="578" y="495"/>
                  </a:moveTo>
                  <a:lnTo>
                    <a:pt x="578" y="497"/>
                  </a:lnTo>
                  <a:lnTo>
                    <a:pt x="578" y="495"/>
                  </a:lnTo>
                  <a:lnTo>
                    <a:pt x="578" y="497"/>
                  </a:lnTo>
                  <a:lnTo>
                    <a:pt x="578" y="495"/>
                  </a:lnTo>
                  <a:close/>
                  <a:moveTo>
                    <a:pt x="283" y="372"/>
                  </a:moveTo>
                  <a:lnTo>
                    <a:pt x="283" y="374"/>
                  </a:lnTo>
                  <a:lnTo>
                    <a:pt x="283" y="372"/>
                  </a:lnTo>
                  <a:close/>
                  <a:moveTo>
                    <a:pt x="352" y="420"/>
                  </a:moveTo>
                  <a:lnTo>
                    <a:pt x="352" y="422"/>
                  </a:lnTo>
                  <a:lnTo>
                    <a:pt x="352" y="420"/>
                  </a:lnTo>
                  <a:close/>
                  <a:moveTo>
                    <a:pt x="210" y="365"/>
                  </a:moveTo>
                  <a:lnTo>
                    <a:pt x="208" y="365"/>
                  </a:lnTo>
                  <a:lnTo>
                    <a:pt x="210" y="365"/>
                  </a:lnTo>
                  <a:lnTo>
                    <a:pt x="210" y="363"/>
                  </a:lnTo>
                  <a:lnTo>
                    <a:pt x="210" y="365"/>
                  </a:lnTo>
                  <a:close/>
                  <a:moveTo>
                    <a:pt x="478" y="184"/>
                  </a:moveTo>
                  <a:lnTo>
                    <a:pt x="480" y="184"/>
                  </a:lnTo>
                  <a:lnTo>
                    <a:pt x="478" y="184"/>
                  </a:lnTo>
                  <a:close/>
                  <a:moveTo>
                    <a:pt x="588" y="501"/>
                  </a:moveTo>
                  <a:lnTo>
                    <a:pt x="586" y="499"/>
                  </a:lnTo>
                  <a:lnTo>
                    <a:pt x="588" y="499"/>
                  </a:lnTo>
                  <a:lnTo>
                    <a:pt x="588" y="501"/>
                  </a:lnTo>
                  <a:close/>
                  <a:moveTo>
                    <a:pt x="423" y="265"/>
                  </a:moveTo>
                  <a:lnTo>
                    <a:pt x="423" y="267"/>
                  </a:lnTo>
                  <a:lnTo>
                    <a:pt x="423" y="265"/>
                  </a:lnTo>
                  <a:lnTo>
                    <a:pt x="423" y="267"/>
                  </a:lnTo>
                  <a:lnTo>
                    <a:pt x="421" y="267"/>
                  </a:lnTo>
                  <a:lnTo>
                    <a:pt x="423" y="267"/>
                  </a:lnTo>
                  <a:lnTo>
                    <a:pt x="421" y="267"/>
                  </a:lnTo>
                  <a:lnTo>
                    <a:pt x="423" y="267"/>
                  </a:lnTo>
                  <a:lnTo>
                    <a:pt x="423" y="265"/>
                  </a:lnTo>
                  <a:close/>
                  <a:moveTo>
                    <a:pt x="225" y="338"/>
                  </a:moveTo>
                  <a:lnTo>
                    <a:pt x="223" y="338"/>
                  </a:lnTo>
                  <a:lnTo>
                    <a:pt x="225" y="338"/>
                  </a:lnTo>
                  <a:lnTo>
                    <a:pt x="227" y="338"/>
                  </a:lnTo>
                  <a:lnTo>
                    <a:pt x="225" y="338"/>
                  </a:lnTo>
                  <a:close/>
                  <a:moveTo>
                    <a:pt x="267" y="340"/>
                  </a:moveTo>
                  <a:lnTo>
                    <a:pt x="265" y="340"/>
                  </a:lnTo>
                  <a:lnTo>
                    <a:pt x="267" y="340"/>
                  </a:lnTo>
                  <a:close/>
                  <a:moveTo>
                    <a:pt x="116" y="317"/>
                  </a:moveTo>
                  <a:lnTo>
                    <a:pt x="114" y="317"/>
                  </a:lnTo>
                  <a:lnTo>
                    <a:pt x="116" y="317"/>
                  </a:lnTo>
                  <a:close/>
                  <a:moveTo>
                    <a:pt x="202" y="357"/>
                  </a:moveTo>
                  <a:lnTo>
                    <a:pt x="202" y="355"/>
                  </a:lnTo>
                  <a:lnTo>
                    <a:pt x="204" y="355"/>
                  </a:lnTo>
                  <a:lnTo>
                    <a:pt x="202" y="355"/>
                  </a:lnTo>
                  <a:lnTo>
                    <a:pt x="202" y="357"/>
                  </a:lnTo>
                  <a:close/>
                  <a:moveTo>
                    <a:pt x="244" y="336"/>
                  </a:moveTo>
                  <a:lnTo>
                    <a:pt x="242" y="336"/>
                  </a:lnTo>
                  <a:lnTo>
                    <a:pt x="244" y="336"/>
                  </a:lnTo>
                  <a:close/>
                  <a:moveTo>
                    <a:pt x="542" y="463"/>
                  </a:moveTo>
                  <a:lnTo>
                    <a:pt x="540" y="463"/>
                  </a:lnTo>
                  <a:lnTo>
                    <a:pt x="542" y="463"/>
                  </a:lnTo>
                  <a:close/>
                  <a:moveTo>
                    <a:pt x="171" y="313"/>
                  </a:moveTo>
                  <a:lnTo>
                    <a:pt x="169" y="313"/>
                  </a:lnTo>
                  <a:lnTo>
                    <a:pt x="171" y="313"/>
                  </a:lnTo>
                  <a:close/>
                  <a:moveTo>
                    <a:pt x="244" y="334"/>
                  </a:moveTo>
                  <a:lnTo>
                    <a:pt x="242" y="336"/>
                  </a:lnTo>
                  <a:lnTo>
                    <a:pt x="242" y="334"/>
                  </a:lnTo>
                  <a:lnTo>
                    <a:pt x="244" y="334"/>
                  </a:lnTo>
                  <a:close/>
                  <a:moveTo>
                    <a:pt x="659" y="50"/>
                  </a:moveTo>
                  <a:lnTo>
                    <a:pt x="657" y="50"/>
                  </a:lnTo>
                  <a:lnTo>
                    <a:pt x="659" y="50"/>
                  </a:lnTo>
                  <a:close/>
                  <a:moveTo>
                    <a:pt x="573" y="81"/>
                  </a:moveTo>
                  <a:lnTo>
                    <a:pt x="571" y="81"/>
                  </a:lnTo>
                  <a:lnTo>
                    <a:pt x="573" y="81"/>
                  </a:lnTo>
                  <a:close/>
                  <a:moveTo>
                    <a:pt x="477" y="177"/>
                  </a:moveTo>
                  <a:lnTo>
                    <a:pt x="475" y="177"/>
                  </a:lnTo>
                  <a:lnTo>
                    <a:pt x="477" y="177"/>
                  </a:lnTo>
                  <a:close/>
                  <a:moveTo>
                    <a:pt x="263" y="346"/>
                  </a:moveTo>
                  <a:lnTo>
                    <a:pt x="261" y="346"/>
                  </a:lnTo>
                  <a:lnTo>
                    <a:pt x="263" y="346"/>
                  </a:lnTo>
                  <a:close/>
                  <a:moveTo>
                    <a:pt x="425" y="263"/>
                  </a:moveTo>
                  <a:lnTo>
                    <a:pt x="425" y="265"/>
                  </a:lnTo>
                  <a:lnTo>
                    <a:pt x="425" y="263"/>
                  </a:lnTo>
                  <a:close/>
                  <a:moveTo>
                    <a:pt x="323" y="424"/>
                  </a:moveTo>
                  <a:lnTo>
                    <a:pt x="321" y="424"/>
                  </a:lnTo>
                  <a:lnTo>
                    <a:pt x="323" y="424"/>
                  </a:lnTo>
                  <a:close/>
                  <a:moveTo>
                    <a:pt x="390" y="294"/>
                  </a:moveTo>
                  <a:lnTo>
                    <a:pt x="392" y="294"/>
                  </a:lnTo>
                  <a:lnTo>
                    <a:pt x="392" y="292"/>
                  </a:lnTo>
                  <a:lnTo>
                    <a:pt x="394" y="292"/>
                  </a:lnTo>
                  <a:lnTo>
                    <a:pt x="392" y="292"/>
                  </a:lnTo>
                  <a:lnTo>
                    <a:pt x="392" y="294"/>
                  </a:lnTo>
                  <a:lnTo>
                    <a:pt x="390" y="294"/>
                  </a:lnTo>
                  <a:close/>
                  <a:moveTo>
                    <a:pt x="544" y="317"/>
                  </a:moveTo>
                  <a:lnTo>
                    <a:pt x="542" y="317"/>
                  </a:lnTo>
                  <a:lnTo>
                    <a:pt x="544" y="317"/>
                  </a:lnTo>
                  <a:close/>
                  <a:moveTo>
                    <a:pt x="550" y="463"/>
                  </a:moveTo>
                  <a:lnTo>
                    <a:pt x="550" y="465"/>
                  </a:lnTo>
                  <a:lnTo>
                    <a:pt x="550" y="463"/>
                  </a:lnTo>
                  <a:lnTo>
                    <a:pt x="550" y="465"/>
                  </a:lnTo>
                  <a:lnTo>
                    <a:pt x="550" y="463"/>
                  </a:lnTo>
                  <a:close/>
                  <a:moveTo>
                    <a:pt x="767" y="63"/>
                  </a:moveTo>
                  <a:lnTo>
                    <a:pt x="765" y="63"/>
                  </a:lnTo>
                  <a:lnTo>
                    <a:pt x="767" y="63"/>
                  </a:lnTo>
                  <a:close/>
                  <a:moveTo>
                    <a:pt x="169" y="313"/>
                  </a:moveTo>
                  <a:lnTo>
                    <a:pt x="169" y="315"/>
                  </a:lnTo>
                  <a:lnTo>
                    <a:pt x="169" y="313"/>
                  </a:lnTo>
                  <a:close/>
                  <a:moveTo>
                    <a:pt x="611" y="71"/>
                  </a:moveTo>
                  <a:lnTo>
                    <a:pt x="609" y="71"/>
                  </a:lnTo>
                  <a:lnTo>
                    <a:pt x="611" y="71"/>
                  </a:lnTo>
                  <a:close/>
                  <a:moveTo>
                    <a:pt x="609" y="69"/>
                  </a:moveTo>
                  <a:lnTo>
                    <a:pt x="609" y="71"/>
                  </a:lnTo>
                  <a:lnTo>
                    <a:pt x="609" y="69"/>
                  </a:lnTo>
                  <a:lnTo>
                    <a:pt x="609" y="71"/>
                  </a:lnTo>
                  <a:lnTo>
                    <a:pt x="609" y="69"/>
                  </a:lnTo>
                  <a:lnTo>
                    <a:pt x="607" y="69"/>
                  </a:lnTo>
                  <a:lnTo>
                    <a:pt x="609" y="69"/>
                  </a:lnTo>
                  <a:close/>
                  <a:moveTo>
                    <a:pt x="657" y="376"/>
                  </a:moveTo>
                  <a:lnTo>
                    <a:pt x="655" y="376"/>
                  </a:lnTo>
                  <a:lnTo>
                    <a:pt x="655" y="378"/>
                  </a:lnTo>
                  <a:lnTo>
                    <a:pt x="655" y="376"/>
                  </a:lnTo>
                  <a:lnTo>
                    <a:pt x="657" y="376"/>
                  </a:lnTo>
                  <a:close/>
                  <a:moveTo>
                    <a:pt x="142" y="313"/>
                  </a:moveTo>
                  <a:lnTo>
                    <a:pt x="142" y="311"/>
                  </a:lnTo>
                  <a:lnTo>
                    <a:pt x="142" y="313"/>
                  </a:lnTo>
                  <a:close/>
                  <a:moveTo>
                    <a:pt x="573" y="81"/>
                  </a:moveTo>
                  <a:lnTo>
                    <a:pt x="573" y="83"/>
                  </a:lnTo>
                  <a:lnTo>
                    <a:pt x="573" y="81"/>
                  </a:lnTo>
                  <a:lnTo>
                    <a:pt x="573" y="83"/>
                  </a:lnTo>
                  <a:lnTo>
                    <a:pt x="571" y="83"/>
                  </a:lnTo>
                  <a:lnTo>
                    <a:pt x="571" y="81"/>
                  </a:lnTo>
                  <a:lnTo>
                    <a:pt x="573" y="81"/>
                  </a:lnTo>
                  <a:close/>
                  <a:moveTo>
                    <a:pt x="317" y="428"/>
                  </a:moveTo>
                  <a:lnTo>
                    <a:pt x="317" y="426"/>
                  </a:lnTo>
                  <a:lnTo>
                    <a:pt x="317" y="428"/>
                  </a:lnTo>
                  <a:close/>
                  <a:moveTo>
                    <a:pt x="425" y="263"/>
                  </a:moveTo>
                  <a:lnTo>
                    <a:pt x="425" y="265"/>
                  </a:lnTo>
                  <a:lnTo>
                    <a:pt x="425" y="263"/>
                  </a:lnTo>
                  <a:close/>
                  <a:moveTo>
                    <a:pt x="344" y="403"/>
                  </a:moveTo>
                  <a:lnTo>
                    <a:pt x="344" y="401"/>
                  </a:lnTo>
                  <a:lnTo>
                    <a:pt x="344" y="403"/>
                  </a:lnTo>
                  <a:close/>
                  <a:moveTo>
                    <a:pt x="261" y="344"/>
                  </a:moveTo>
                  <a:lnTo>
                    <a:pt x="261" y="346"/>
                  </a:lnTo>
                  <a:lnTo>
                    <a:pt x="261" y="344"/>
                  </a:lnTo>
                  <a:close/>
                  <a:moveTo>
                    <a:pt x="765" y="63"/>
                  </a:moveTo>
                  <a:lnTo>
                    <a:pt x="765" y="61"/>
                  </a:lnTo>
                  <a:lnTo>
                    <a:pt x="765" y="63"/>
                  </a:lnTo>
                  <a:close/>
                  <a:moveTo>
                    <a:pt x="237" y="357"/>
                  </a:moveTo>
                  <a:lnTo>
                    <a:pt x="237" y="359"/>
                  </a:lnTo>
                  <a:lnTo>
                    <a:pt x="235" y="359"/>
                  </a:lnTo>
                  <a:lnTo>
                    <a:pt x="237" y="359"/>
                  </a:lnTo>
                  <a:lnTo>
                    <a:pt x="237" y="357"/>
                  </a:lnTo>
                  <a:close/>
                  <a:moveTo>
                    <a:pt x="655" y="169"/>
                  </a:moveTo>
                  <a:lnTo>
                    <a:pt x="655" y="167"/>
                  </a:lnTo>
                  <a:lnTo>
                    <a:pt x="655" y="169"/>
                  </a:lnTo>
                  <a:close/>
                  <a:moveTo>
                    <a:pt x="215" y="357"/>
                  </a:moveTo>
                  <a:lnTo>
                    <a:pt x="213" y="357"/>
                  </a:lnTo>
                  <a:lnTo>
                    <a:pt x="213" y="355"/>
                  </a:lnTo>
                  <a:lnTo>
                    <a:pt x="215" y="355"/>
                  </a:lnTo>
                  <a:lnTo>
                    <a:pt x="215" y="357"/>
                  </a:lnTo>
                  <a:close/>
                  <a:moveTo>
                    <a:pt x="235" y="342"/>
                  </a:moveTo>
                  <a:lnTo>
                    <a:pt x="235" y="340"/>
                  </a:lnTo>
                  <a:lnTo>
                    <a:pt x="237" y="340"/>
                  </a:lnTo>
                  <a:lnTo>
                    <a:pt x="235" y="340"/>
                  </a:lnTo>
                  <a:lnTo>
                    <a:pt x="235" y="342"/>
                  </a:lnTo>
                  <a:close/>
                  <a:moveTo>
                    <a:pt x="649" y="48"/>
                  </a:moveTo>
                  <a:lnTo>
                    <a:pt x="651" y="48"/>
                  </a:lnTo>
                  <a:lnTo>
                    <a:pt x="649" y="48"/>
                  </a:lnTo>
                  <a:close/>
                  <a:moveTo>
                    <a:pt x="135" y="311"/>
                  </a:moveTo>
                  <a:lnTo>
                    <a:pt x="137" y="311"/>
                  </a:lnTo>
                  <a:lnTo>
                    <a:pt x="135" y="311"/>
                  </a:lnTo>
                  <a:close/>
                  <a:moveTo>
                    <a:pt x="705" y="150"/>
                  </a:moveTo>
                  <a:lnTo>
                    <a:pt x="705" y="148"/>
                  </a:lnTo>
                  <a:lnTo>
                    <a:pt x="705" y="150"/>
                  </a:lnTo>
                  <a:close/>
                  <a:moveTo>
                    <a:pt x="607" y="501"/>
                  </a:moveTo>
                  <a:lnTo>
                    <a:pt x="609" y="501"/>
                  </a:lnTo>
                  <a:lnTo>
                    <a:pt x="607" y="501"/>
                  </a:lnTo>
                  <a:close/>
                  <a:moveTo>
                    <a:pt x="563" y="100"/>
                  </a:moveTo>
                  <a:lnTo>
                    <a:pt x="561" y="100"/>
                  </a:lnTo>
                  <a:lnTo>
                    <a:pt x="563" y="100"/>
                  </a:lnTo>
                  <a:close/>
                  <a:moveTo>
                    <a:pt x="156" y="321"/>
                  </a:moveTo>
                  <a:lnTo>
                    <a:pt x="156" y="323"/>
                  </a:lnTo>
                  <a:lnTo>
                    <a:pt x="156" y="321"/>
                  </a:lnTo>
                  <a:lnTo>
                    <a:pt x="156" y="323"/>
                  </a:lnTo>
                  <a:lnTo>
                    <a:pt x="156" y="321"/>
                  </a:lnTo>
                  <a:lnTo>
                    <a:pt x="156" y="323"/>
                  </a:lnTo>
                  <a:lnTo>
                    <a:pt x="156" y="321"/>
                  </a:lnTo>
                  <a:close/>
                  <a:moveTo>
                    <a:pt x="206" y="359"/>
                  </a:moveTo>
                  <a:lnTo>
                    <a:pt x="206" y="361"/>
                  </a:lnTo>
                  <a:lnTo>
                    <a:pt x="206" y="359"/>
                  </a:lnTo>
                  <a:close/>
                  <a:moveTo>
                    <a:pt x="317" y="436"/>
                  </a:moveTo>
                  <a:lnTo>
                    <a:pt x="317" y="438"/>
                  </a:lnTo>
                  <a:lnTo>
                    <a:pt x="317" y="436"/>
                  </a:lnTo>
                  <a:close/>
                  <a:moveTo>
                    <a:pt x="734" y="17"/>
                  </a:moveTo>
                  <a:lnTo>
                    <a:pt x="736" y="17"/>
                  </a:lnTo>
                  <a:lnTo>
                    <a:pt x="736" y="19"/>
                  </a:lnTo>
                  <a:lnTo>
                    <a:pt x="734" y="19"/>
                  </a:lnTo>
                  <a:lnTo>
                    <a:pt x="734" y="17"/>
                  </a:lnTo>
                  <a:close/>
                  <a:moveTo>
                    <a:pt x="346" y="455"/>
                  </a:moveTo>
                  <a:lnTo>
                    <a:pt x="346" y="453"/>
                  </a:lnTo>
                  <a:lnTo>
                    <a:pt x="346" y="455"/>
                  </a:lnTo>
                  <a:close/>
                  <a:moveTo>
                    <a:pt x="559" y="102"/>
                  </a:moveTo>
                  <a:lnTo>
                    <a:pt x="557" y="102"/>
                  </a:lnTo>
                  <a:lnTo>
                    <a:pt x="559" y="102"/>
                  </a:lnTo>
                  <a:close/>
                  <a:moveTo>
                    <a:pt x="302" y="367"/>
                  </a:moveTo>
                  <a:lnTo>
                    <a:pt x="302" y="369"/>
                  </a:lnTo>
                  <a:lnTo>
                    <a:pt x="302" y="367"/>
                  </a:lnTo>
                  <a:close/>
                  <a:moveTo>
                    <a:pt x="699" y="42"/>
                  </a:moveTo>
                  <a:lnTo>
                    <a:pt x="697" y="42"/>
                  </a:lnTo>
                  <a:lnTo>
                    <a:pt x="699" y="42"/>
                  </a:lnTo>
                  <a:close/>
                  <a:moveTo>
                    <a:pt x="212" y="340"/>
                  </a:moveTo>
                  <a:lnTo>
                    <a:pt x="210" y="340"/>
                  </a:lnTo>
                  <a:lnTo>
                    <a:pt x="212" y="340"/>
                  </a:lnTo>
                  <a:close/>
                  <a:moveTo>
                    <a:pt x="709" y="217"/>
                  </a:moveTo>
                  <a:lnTo>
                    <a:pt x="709" y="215"/>
                  </a:lnTo>
                  <a:lnTo>
                    <a:pt x="709" y="217"/>
                  </a:lnTo>
                  <a:close/>
                  <a:moveTo>
                    <a:pt x="346" y="451"/>
                  </a:moveTo>
                  <a:lnTo>
                    <a:pt x="344" y="451"/>
                  </a:lnTo>
                  <a:lnTo>
                    <a:pt x="346" y="451"/>
                  </a:lnTo>
                  <a:close/>
                  <a:moveTo>
                    <a:pt x="246" y="334"/>
                  </a:moveTo>
                  <a:lnTo>
                    <a:pt x="244" y="334"/>
                  </a:lnTo>
                  <a:lnTo>
                    <a:pt x="246" y="334"/>
                  </a:lnTo>
                  <a:close/>
                  <a:moveTo>
                    <a:pt x="532" y="417"/>
                  </a:moveTo>
                  <a:lnTo>
                    <a:pt x="532" y="415"/>
                  </a:lnTo>
                  <a:lnTo>
                    <a:pt x="532" y="417"/>
                  </a:lnTo>
                  <a:close/>
                  <a:moveTo>
                    <a:pt x="646" y="380"/>
                  </a:moveTo>
                  <a:lnTo>
                    <a:pt x="644" y="380"/>
                  </a:lnTo>
                  <a:lnTo>
                    <a:pt x="646" y="380"/>
                  </a:lnTo>
                  <a:lnTo>
                    <a:pt x="644" y="380"/>
                  </a:lnTo>
                  <a:lnTo>
                    <a:pt x="646" y="380"/>
                  </a:lnTo>
                  <a:close/>
                  <a:moveTo>
                    <a:pt x="580" y="495"/>
                  </a:moveTo>
                  <a:lnTo>
                    <a:pt x="582" y="495"/>
                  </a:lnTo>
                  <a:lnTo>
                    <a:pt x="580" y="495"/>
                  </a:lnTo>
                  <a:close/>
                  <a:moveTo>
                    <a:pt x="603" y="503"/>
                  </a:moveTo>
                  <a:lnTo>
                    <a:pt x="601" y="503"/>
                  </a:lnTo>
                  <a:lnTo>
                    <a:pt x="603" y="503"/>
                  </a:lnTo>
                  <a:close/>
                  <a:moveTo>
                    <a:pt x="354" y="420"/>
                  </a:moveTo>
                  <a:lnTo>
                    <a:pt x="352" y="420"/>
                  </a:lnTo>
                  <a:lnTo>
                    <a:pt x="354" y="420"/>
                  </a:lnTo>
                  <a:close/>
                  <a:moveTo>
                    <a:pt x="659" y="50"/>
                  </a:moveTo>
                  <a:lnTo>
                    <a:pt x="661" y="50"/>
                  </a:lnTo>
                  <a:lnTo>
                    <a:pt x="659" y="50"/>
                  </a:lnTo>
                  <a:close/>
                  <a:moveTo>
                    <a:pt x="559" y="106"/>
                  </a:moveTo>
                  <a:lnTo>
                    <a:pt x="559" y="104"/>
                  </a:lnTo>
                  <a:lnTo>
                    <a:pt x="559" y="106"/>
                  </a:lnTo>
                  <a:close/>
                  <a:moveTo>
                    <a:pt x="196" y="336"/>
                  </a:moveTo>
                  <a:lnTo>
                    <a:pt x="194" y="336"/>
                  </a:lnTo>
                  <a:lnTo>
                    <a:pt x="196" y="336"/>
                  </a:lnTo>
                  <a:close/>
                  <a:moveTo>
                    <a:pt x="309" y="390"/>
                  </a:moveTo>
                  <a:lnTo>
                    <a:pt x="309" y="388"/>
                  </a:lnTo>
                  <a:lnTo>
                    <a:pt x="309" y="390"/>
                  </a:lnTo>
                  <a:close/>
                  <a:moveTo>
                    <a:pt x="557" y="98"/>
                  </a:moveTo>
                  <a:lnTo>
                    <a:pt x="555" y="98"/>
                  </a:lnTo>
                  <a:lnTo>
                    <a:pt x="557" y="98"/>
                  </a:lnTo>
                  <a:close/>
                  <a:moveTo>
                    <a:pt x="609" y="348"/>
                  </a:moveTo>
                  <a:lnTo>
                    <a:pt x="607" y="348"/>
                  </a:lnTo>
                  <a:lnTo>
                    <a:pt x="609" y="348"/>
                  </a:lnTo>
                  <a:close/>
                  <a:moveTo>
                    <a:pt x="139" y="301"/>
                  </a:moveTo>
                  <a:lnTo>
                    <a:pt x="141" y="301"/>
                  </a:lnTo>
                  <a:lnTo>
                    <a:pt x="139" y="301"/>
                  </a:lnTo>
                  <a:close/>
                  <a:moveTo>
                    <a:pt x="611" y="71"/>
                  </a:moveTo>
                  <a:lnTo>
                    <a:pt x="611" y="69"/>
                  </a:lnTo>
                  <a:lnTo>
                    <a:pt x="611" y="71"/>
                  </a:lnTo>
                  <a:lnTo>
                    <a:pt x="611" y="69"/>
                  </a:lnTo>
                  <a:lnTo>
                    <a:pt x="611" y="71"/>
                  </a:lnTo>
                  <a:close/>
                  <a:moveTo>
                    <a:pt x="298" y="367"/>
                  </a:moveTo>
                  <a:lnTo>
                    <a:pt x="300" y="367"/>
                  </a:lnTo>
                  <a:lnTo>
                    <a:pt x="298" y="367"/>
                  </a:lnTo>
                  <a:close/>
                  <a:moveTo>
                    <a:pt x="551" y="219"/>
                  </a:moveTo>
                  <a:lnTo>
                    <a:pt x="551" y="217"/>
                  </a:lnTo>
                  <a:lnTo>
                    <a:pt x="551" y="219"/>
                  </a:lnTo>
                  <a:close/>
                  <a:moveTo>
                    <a:pt x="772" y="6"/>
                  </a:moveTo>
                  <a:lnTo>
                    <a:pt x="772" y="4"/>
                  </a:lnTo>
                  <a:lnTo>
                    <a:pt x="772" y="6"/>
                  </a:lnTo>
                  <a:close/>
                  <a:moveTo>
                    <a:pt x="244" y="336"/>
                  </a:moveTo>
                  <a:lnTo>
                    <a:pt x="244" y="334"/>
                  </a:lnTo>
                  <a:lnTo>
                    <a:pt x="244" y="336"/>
                  </a:lnTo>
                  <a:close/>
                  <a:moveTo>
                    <a:pt x="521" y="396"/>
                  </a:moveTo>
                  <a:lnTo>
                    <a:pt x="521" y="394"/>
                  </a:lnTo>
                  <a:lnTo>
                    <a:pt x="521" y="396"/>
                  </a:lnTo>
                  <a:close/>
                  <a:moveTo>
                    <a:pt x="394" y="292"/>
                  </a:moveTo>
                  <a:lnTo>
                    <a:pt x="394" y="290"/>
                  </a:lnTo>
                  <a:lnTo>
                    <a:pt x="396" y="290"/>
                  </a:lnTo>
                  <a:lnTo>
                    <a:pt x="394" y="290"/>
                  </a:lnTo>
                  <a:lnTo>
                    <a:pt x="394" y="292"/>
                  </a:lnTo>
                  <a:close/>
                  <a:moveTo>
                    <a:pt x="261" y="378"/>
                  </a:moveTo>
                  <a:lnTo>
                    <a:pt x="261" y="376"/>
                  </a:lnTo>
                  <a:lnTo>
                    <a:pt x="261" y="378"/>
                  </a:lnTo>
                  <a:close/>
                  <a:moveTo>
                    <a:pt x="250" y="336"/>
                  </a:moveTo>
                  <a:lnTo>
                    <a:pt x="250" y="338"/>
                  </a:lnTo>
                  <a:lnTo>
                    <a:pt x="250" y="336"/>
                  </a:lnTo>
                  <a:close/>
                  <a:moveTo>
                    <a:pt x="344" y="405"/>
                  </a:moveTo>
                  <a:lnTo>
                    <a:pt x="346" y="405"/>
                  </a:lnTo>
                  <a:lnTo>
                    <a:pt x="346" y="407"/>
                  </a:lnTo>
                  <a:lnTo>
                    <a:pt x="344" y="407"/>
                  </a:lnTo>
                  <a:lnTo>
                    <a:pt x="344" y="405"/>
                  </a:lnTo>
                  <a:close/>
                  <a:moveTo>
                    <a:pt x="586" y="503"/>
                  </a:moveTo>
                  <a:lnTo>
                    <a:pt x="588" y="503"/>
                  </a:lnTo>
                  <a:lnTo>
                    <a:pt x="586" y="503"/>
                  </a:lnTo>
                  <a:close/>
                  <a:moveTo>
                    <a:pt x="196" y="361"/>
                  </a:moveTo>
                  <a:lnTo>
                    <a:pt x="196" y="359"/>
                  </a:lnTo>
                  <a:lnTo>
                    <a:pt x="196" y="361"/>
                  </a:lnTo>
                  <a:close/>
                  <a:moveTo>
                    <a:pt x="532" y="461"/>
                  </a:moveTo>
                  <a:lnTo>
                    <a:pt x="530" y="461"/>
                  </a:lnTo>
                  <a:lnTo>
                    <a:pt x="532" y="461"/>
                  </a:lnTo>
                  <a:close/>
                  <a:moveTo>
                    <a:pt x="565" y="94"/>
                  </a:moveTo>
                  <a:lnTo>
                    <a:pt x="565" y="92"/>
                  </a:lnTo>
                  <a:lnTo>
                    <a:pt x="565" y="94"/>
                  </a:lnTo>
                  <a:close/>
                  <a:moveTo>
                    <a:pt x="646" y="50"/>
                  </a:moveTo>
                  <a:lnTo>
                    <a:pt x="647" y="50"/>
                  </a:lnTo>
                  <a:lnTo>
                    <a:pt x="646" y="50"/>
                  </a:lnTo>
                  <a:close/>
                  <a:moveTo>
                    <a:pt x="561" y="238"/>
                  </a:moveTo>
                  <a:lnTo>
                    <a:pt x="561" y="236"/>
                  </a:lnTo>
                  <a:lnTo>
                    <a:pt x="561" y="238"/>
                  </a:lnTo>
                  <a:close/>
                  <a:moveTo>
                    <a:pt x="525" y="399"/>
                  </a:moveTo>
                  <a:lnTo>
                    <a:pt x="525" y="401"/>
                  </a:lnTo>
                  <a:lnTo>
                    <a:pt x="525" y="399"/>
                  </a:lnTo>
                  <a:close/>
                  <a:moveTo>
                    <a:pt x="521" y="459"/>
                  </a:moveTo>
                  <a:lnTo>
                    <a:pt x="519" y="459"/>
                  </a:lnTo>
                  <a:lnTo>
                    <a:pt x="521" y="459"/>
                  </a:lnTo>
                  <a:close/>
                  <a:moveTo>
                    <a:pt x="246" y="338"/>
                  </a:moveTo>
                  <a:lnTo>
                    <a:pt x="246" y="336"/>
                  </a:lnTo>
                  <a:lnTo>
                    <a:pt x="246" y="338"/>
                  </a:lnTo>
                  <a:close/>
                  <a:moveTo>
                    <a:pt x="655" y="167"/>
                  </a:moveTo>
                  <a:lnTo>
                    <a:pt x="657" y="167"/>
                  </a:lnTo>
                  <a:lnTo>
                    <a:pt x="655" y="167"/>
                  </a:lnTo>
                  <a:close/>
                  <a:moveTo>
                    <a:pt x="171" y="319"/>
                  </a:moveTo>
                  <a:lnTo>
                    <a:pt x="171" y="321"/>
                  </a:lnTo>
                  <a:lnTo>
                    <a:pt x="171" y="319"/>
                  </a:lnTo>
                  <a:close/>
                  <a:moveTo>
                    <a:pt x="352" y="432"/>
                  </a:moveTo>
                  <a:lnTo>
                    <a:pt x="354" y="432"/>
                  </a:lnTo>
                  <a:lnTo>
                    <a:pt x="352" y="432"/>
                  </a:lnTo>
                  <a:close/>
                  <a:moveTo>
                    <a:pt x="590" y="84"/>
                  </a:moveTo>
                  <a:lnTo>
                    <a:pt x="588" y="84"/>
                  </a:lnTo>
                  <a:lnTo>
                    <a:pt x="590" y="84"/>
                  </a:lnTo>
                  <a:close/>
                  <a:moveTo>
                    <a:pt x="342" y="403"/>
                  </a:moveTo>
                  <a:lnTo>
                    <a:pt x="342" y="405"/>
                  </a:lnTo>
                  <a:lnTo>
                    <a:pt x="342" y="403"/>
                  </a:lnTo>
                  <a:close/>
                  <a:moveTo>
                    <a:pt x="686" y="50"/>
                  </a:moveTo>
                  <a:lnTo>
                    <a:pt x="684" y="50"/>
                  </a:lnTo>
                  <a:lnTo>
                    <a:pt x="686" y="50"/>
                  </a:lnTo>
                  <a:lnTo>
                    <a:pt x="684" y="50"/>
                  </a:lnTo>
                  <a:lnTo>
                    <a:pt x="686" y="50"/>
                  </a:lnTo>
                  <a:close/>
                  <a:moveTo>
                    <a:pt x="160" y="369"/>
                  </a:moveTo>
                  <a:lnTo>
                    <a:pt x="158" y="369"/>
                  </a:lnTo>
                  <a:lnTo>
                    <a:pt x="160" y="369"/>
                  </a:lnTo>
                  <a:close/>
                  <a:moveTo>
                    <a:pt x="605" y="501"/>
                  </a:moveTo>
                  <a:lnTo>
                    <a:pt x="607" y="501"/>
                  </a:lnTo>
                  <a:lnTo>
                    <a:pt x="605" y="501"/>
                  </a:lnTo>
                  <a:close/>
                  <a:moveTo>
                    <a:pt x="158" y="372"/>
                  </a:moveTo>
                  <a:lnTo>
                    <a:pt x="158" y="371"/>
                  </a:lnTo>
                  <a:lnTo>
                    <a:pt x="158" y="372"/>
                  </a:lnTo>
                  <a:close/>
                  <a:moveTo>
                    <a:pt x="480" y="182"/>
                  </a:moveTo>
                  <a:lnTo>
                    <a:pt x="478" y="182"/>
                  </a:lnTo>
                  <a:lnTo>
                    <a:pt x="480" y="182"/>
                  </a:lnTo>
                  <a:close/>
                  <a:moveTo>
                    <a:pt x="361" y="407"/>
                  </a:moveTo>
                  <a:lnTo>
                    <a:pt x="361" y="409"/>
                  </a:lnTo>
                  <a:lnTo>
                    <a:pt x="359" y="409"/>
                  </a:lnTo>
                  <a:lnTo>
                    <a:pt x="359" y="407"/>
                  </a:lnTo>
                  <a:lnTo>
                    <a:pt x="361" y="407"/>
                  </a:lnTo>
                  <a:close/>
                  <a:moveTo>
                    <a:pt x="582" y="499"/>
                  </a:moveTo>
                  <a:lnTo>
                    <a:pt x="582" y="497"/>
                  </a:lnTo>
                  <a:lnTo>
                    <a:pt x="582" y="499"/>
                  </a:lnTo>
                  <a:close/>
                  <a:moveTo>
                    <a:pt x="715" y="25"/>
                  </a:moveTo>
                  <a:lnTo>
                    <a:pt x="713" y="25"/>
                  </a:lnTo>
                  <a:lnTo>
                    <a:pt x="715" y="25"/>
                  </a:lnTo>
                  <a:close/>
                  <a:moveTo>
                    <a:pt x="171" y="317"/>
                  </a:moveTo>
                  <a:lnTo>
                    <a:pt x="169" y="317"/>
                  </a:lnTo>
                  <a:lnTo>
                    <a:pt x="171" y="317"/>
                  </a:lnTo>
                  <a:close/>
                  <a:moveTo>
                    <a:pt x="609" y="501"/>
                  </a:moveTo>
                  <a:lnTo>
                    <a:pt x="607" y="501"/>
                  </a:lnTo>
                  <a:lnTo>
                    <a:pt x="607" y="499"/>
                  </a:lnTo>
                  <a:lnTo>
                    <a:pt x="607" y="501"/>
                  </a:lnTo>
                  <a:lnTo>
                    <a:pt x="609" y="501"/>
                  </a:lnTo>
                  <a:close/>
                  <a:moveTo>
                    <a:pt x="753" y="10"/>
                  </a:moveTo>
                  <a:lnTo>
                    <a:pt x="753" y="8"/>
                  </a:lnTo>
                  <a:lnTo>
                    <a:pt x="753" y="10"/>
                  </a:lnTo>
                  <a:close/>
                  <a:moveTo>
                    <a:pt x="137" y="319"/>
                  </a:moveTo>
                  <a:lnTo>
                    <a:pt x="137" y="317"/>
                  </a:lnTo>
                  <a:lnTo>
                    <a:pt x="137" y="319"/>
                  </a:lnTo>
                  <a:close/>
                  <a:moveTo>
                    <a:pt x="171" y="319"/>
                  </a:moveTo>
                  <a:lnTo>
                    <a:pt x="171" y="321"/>
                  </a:lnTo>
                  <a:lnTo>
                    <a:pt x="171" y="319"/>
                  </a:lnTo>
                  <a:lnTo>
                    <a:pt x="171" y="321"/>
                  </a:lnTo>
                  <a:lnTo>
                    <a:pt x="171" y="319"/>
                  </a:lnTo>
                  <a:close/>
                  <a:moveTo>
                    <a:pt x="728" y="61"/>
                  </a:moveTo>
                  <a:lnTo>
                    <a:pt x="728" y="60"/>
                  </a:lnTo>
                  <a:lnTo>
                    <a:pt x="728" y="61"/>
                  </a:lnTo>
                  <a:close/>
                  <a:moveTo>
                    <a:pt x="559" y="104"/>
                  </a:moveTo>
                  <a:lnTo>
                    <a:pt x="559" y="102"/>
                  </a:lnTo>
                  <a:lnTo>
                    <a:pt x="559" y="104"/>
                  </a:lnTo>
                  <a:close/>
                  <a:moveTo>
                    <a:pt x="336" y="447"/>
                  </a:moveTo>
                  <a:lnTo>
                    <a:pt x="334" y="447"/>
                  </a:lnTo>
                  <a:lnTo>
                    <a:pt x="336" y="447"/>
                  </a:lnTo>
                  <a:close/>
                  <a:moveTo>
                    <a:pt x="640" y="52"/>
                  </a:moveTo>
                  <a:lnTo>
                    <a:pt x="640" y="50"/>
                  </a:lnTo>
                  <a:lnTo>
                    <a:pt x="640" y="52"/>
                  </a:lnTo>
                  <a:close/>
                  <a:moveTo>
                    <a:pt x="477" y="200"/>
                  </a:moveTo>
                  <a:lnTo>
                    <a:pt x="477" y="198"/>
                  </a:lnTo>
                  <a:lnTo>
                    <a:pt x="477" y="200"/>
                  </a:lnTo>
                  <a:close/>
                  <a:moveTo>
                    <a:pt x="588" y="495"/>
                  </a:moveTo>
                  <a:lnTo>
                    <a:pt x="588" y="497"/>
                  </a:lnTo>
                  <a:lnTo>
                    <a:pt x="588" y="495"/>
                  </a:lnTo>
                  <a:close/>
                  <a:moveTo>
                    <a:pt x="507" y="378"/>
                  </a:moveTo>
                  <a:lnTo>
                    <a:pt x="509" y="378"/>
                  </a:lnTo>
                  <a:lnTo>
                    <a:pt x="507" y="378"/>
                  </a:lnTo>
                  <a:close/>
                  <a:moveTo>
                    <a:pt x="517" y="455"/>
                  </a:moveTo>
                  <a:lnTo>
                    <a:pt x="517" y="457"/>
                  </a:lnTo>
                  <a:lnTo>
                    <a:pt x="517" y="455"/>
                  </a:lnTo>
                  <a:close/>
                  <a:moveTo>
                    <a:pt x="753" y="10"/>
                  </a:moveTo>
                  <a:lnTo>
                    <a:pt x="753" y="8"/>
                  </a:lnTo>
                  <a:lnTo>
                    <a:pt x="753" y="10"/>
                  </a:lnTo>
                  <a:close/>
                  <a:moveTo>
                    <a:pt x="736" y="46"/>
                  </a:moveTo>
                  <a:lnTo>
                    <a:pt x="736" y="44"/>
                  </a:lnTo>
                  <a:lnTo>
                    <a:pt x="736" y="46"/>
                  </a:lnTo>
                  <a:close/>
                  <a:moveTo>
                    <a:pt x="576" y="81"/>
                  </a:moveTo>
                  <a:lnTo>
                    <a:pt x="576" y="79"/>
                  </a:lnTo>
                  <a:lnTo>
                    <a:pt x="576" y="81"/>
                  </a:lnTo>
                  <a:close/>
                  <a:moveTo>
                    <a:pt x="530" y="190"/>
                  </a:moveTo>
                  <a:lnTo>
                    <a:pt x="530" y="188"/>
                  </a:lnTo>
                  <a:lnTo>
                    <a:pt x="530" y="190"/>
                  </a:lnTo>
                  <a:close/>
                  <a:moveTo>
                    <a:pt x="782" y="0"/>
                  </a:moveTo>
                  <a:lnTo>
                    <a:pt x="780" y="0"/>
                  </a:lnTo>
                  <a:lnTo>
                    <a:pt x="782" y="0"/>
                  </a:lnTo>
                  <a:close/>
                  <a:moveTo>
                    <a:pt x="657" y="376"/>
                  </a:moveTo>
                  <a:lnTo>
                    <a:pt x="655" y="376"/>
                  </a:lnTo>
                  <a:lnTo>
                    <a:pt x="657" y="376"/>
                  </a:lnTo>
                  <a:close/>
                  <a:moveTo>
                    <a:pt x="523" y="457"/>
                  </a:moveTo>
                  <a:lnTo>
                    <a:pt x="523" y="459"/>
                  </a:lnTo>
                  <a:lnTo>
                    <a:pt x="523" y="457"/>
                  </a:lnTo>
                  <a:close/>
                  <a:moveTo>
                    <a:pt x="227" y="371"/>
                  </a:moveTo>
                  <a:lnTo>
                    <a:pt x="225" y="371"/>
                  </a:lnTo>
                  <a:lnTo>
                    <a:pt x="227" y="371"/>
                  </a:lnTo>
                  <a:close/>
                  <a:moveTo>
                    <a:pt x="559" y="100"/>
                  </a:moveTo>
                  <a:lnTo>
                    <a:pt x="559" y="98"/>
                  </a:lnTo>
                  <a:lnTo>
                    <a:pt x="559" y="100"/>
                  </a:lnTo>
                  <a:close/>
                  <a:moveTo>
                    <a:pt x="496" y="459"/>
                  </a:moveTo>
                  <a:lnTo>
                    <a:pt x="498" y="459"/>
                  </a:lnTo>
                  <a:lnTo>
                    <a:pt x="496" y="459"/>
                  </a:lnTo>
                  <a:close/>
                  <a:moveTo>
                    <a:pt x="657" y="52"/>
                  </a:moveTo>
                  <a:lnTo>
                    <a:pt x="657" y="50"/>
                  </a:lnTo>
                  <a:lnTo>
                    <a:pt x="657" y="52"/>
                  </a:lnTo>
                  <a:close/>
                  <a:moveTo>
                    <a:pt x="498" y="459"/>
                  </a:moveTo>
                  <a:lnTo>
                    <a:pt x="496" y="459"/>
                  </a:lnTo>
                  <a:lnTo>
                    <a:pt x="498" y="459"/>
                  </a:lnTo>
                  <a:close/>
                  <a:moveTo>
                    <a:pt x="571" y="81"/>
                  </a:moveTo>
                  <a:lnTo>
                    <a:pt x="573" y="81"/>
                  </a:lnTo>
                  <a:lnTo>
                    <a:pt x="571" y="81"/>
                  </a:lnTo>
                  <a:lnTo>
                    <a:pt x="573" y="81"/>
                  </a:lnTo>
                  <a:lnTo>
                    <a:pt x="571" y="81"/>
                  </a:lnTo>
                  <a:close/>
                  <a:moveTo>
                    <a:pt x="697" y="56"/>
                  </a:moveTo>
                  <a:lnTo>
                    <a:pt x="695" y="56"/>
                  </a:lnTo>
                  <a:lnTo>
                    <a:pt x="697" y="56"/>
                  </a:lnTo>
                  <a:close/>
                  <a:moveTo>
                    <a:pt x="321" y="428"/>
                  </a:moveTo>
                  <a:lnTo>
                    <a:pt x="319" y="428"/>
                  </a:lnTo>
                  <a:lnTo>
                    <a:pt x="321" y="428"/>
                  </a:lnTo>
                  <a:close/>
                  <a:moveTo>
                    <a:pt x="346" y="453"/>
                  </a:moveTo>
                  <a:lnTo>
                    <a:pt x="346" y="451"/>
                  </a:lnTo>
                  <a:lnTo>
                    <a:pt x="346" y="453"/>
                  </a:lnTo>
                  <a:close/>
                  <a:moveTo>
                    <a:pt x="344" y="451"/>
                  </a:moveTo>
                  <a:lnTo>
                    <a:pt x="344" y="449"/>
                  </a:lnTo>
                  <a:lnTo>
                    <a:pt x="344" y="451"/>
                  </a:lnTo>
                  <a:close/>
                  <a:moveTo>
                    <a:pt x="671" y="367"/>
                  </a:moveTo>
                  <a:lnTo>
                    <a:pt x="669" y="367"/>
                  </a:lnTo>
                  <a:lnTo>
                    <a:pt x="671" y="367"/>
                  </a:lnTo>
                  <a:close/>
                  <a:moveTo>
                    <a:pt x="553" y="227"/>
                  </a:moveTo>
                  <a:lnTo>
                    <a:pt x="551" y="227"/>
                  </a:lnTo>
                  <a:lnTo>
                    <a:pt x="553" y="227"/>
                  </a:lnTo>
                  <a:close/>
                  <a:moveTo>
                    <a:pt x="261" y="382"/>
                  </a:moveTo>
                  <a:lnTo>
                    <a:pt x="261" y="380"/>
                  </a:lnTo>
                  <a:lnTo>
                    <a:pt x="261" y="382"/>
                  </a:lnTo>
                  <a:close/>
                  <a:moveTo>
                    <a:pt x="154" y="317"/>
                  </a:moveTo>
                  <a:lnTo>
                    <a:pt x="154" y="315"/>
                  </a:lnTo>
                  <a:lnTo>
                    <a:pt x="154" y="317"/>
                  </a:lnTo>
                  <a:close/>
                  <a:moveTo>
                    <a:pt x="267" y="344"/>
                  </a:moveTo>
                  <a:lnTo>
                    <a:pt x="269" y="344"/>
                  </a:lnTo>
                  <a:lnTo>
                    <a:pt x="267" y="344"/>
                  </a:lnTo>
                  <a:close/>
                  <a:moveTo>
                    <a:pt x="546" y="411"/>
                  </a:moveTo>
                  <a:lnTo>
                    <a:pt x="546" y="409"/>
                  </a:lnTo>
                  <a:lnTo>
                    <a:pt x="546" y="411"/>
                  </a:lnTo>
                  <a:close/>
                  <a:moveTo>
                    <a:pt x="505" y="445"/>
                  </a:moveTo>
                  <a:lnTo>
                    <a:pt x="503" y="445"/>
                  </a:lnTo>
                  <a:lnTo>
                    <a:pt x="505" y="445"/>
                  </a:lnTo>
                  <a:close/>
                  <a:moveTo>
                    <a:pt x="361" y="405"/>
                  </a:moveTo>
                  <a:lnTo>
                    <a:pt x="361" y="403"/>
                  </a:lnTo>
                  <a:lnTo>
                    <a:pt x="361" y="405"/>
                  </a:lnTo>
                  <a:close/>
                  <a:moveTo>
                    <a:pt x="202" y="353"/>
                  </a:moveTo>
                  <a:lnTo>
                    <a:pt x="202" y="351"/>
                  </a:lnTo>
                  <a:lnTo>
                    <a:pt x="202" y="353"/>
                  </a:lnTo>
                  <a:close/>
                  <a:moveTo>
                    <a:pt x="354" y="407"/>
                  </a:moveTo>
                  <a:lnTo>
                    <a:pt x="352" y="407"/>
                  </a:lnTo>
                  <a:lnTo>
                    <a:pt x="354" y="407"/>
                  </a:lnTo>
                  <a:close/>
                  <a:moveTo>
                    <a:pt x="379" y="438"/>
                  </a:moveTo>
                  <a:lnTo>
                    <a:pt x="381" y="438"/>
                  </a:lnTo>
                  <a:lnTo>
                    <a:pt x="379" y="438"/>
                  </a:lnTo>
                  <a:close/>
                  <a:moveTo>
                    <a:pt x="580" y="497"/>
                  </a:moveTo>
                  <a:lnTo>
                    <a:pt x="580" y="495"/>
                  </a:lnTo>
                  <a:lnTo>
                    <a:pt x="580" y="497"/>
                  </a:lnTo>
                  <a:close/>
                  <a:moveTo>
                    <a:pt x="680" y="367"/>
                  </a:moveTo>
                  <a:lnTo>
                    <a:pt x="678" y="367"/>
                  </a:lnTo>
                  <a:lnTo>
                    <a:pt x="680" y="367"/>
                  </a:lnTo>
                  <a:close/>
                  <a:moveTo>
                    <a:pt x="751" y="12"/>
                  </a:moveTo>
                  <a:lnTo>
                    <a:pt x="751" y="10"/>
                  </a:lnTo>
                  <a:lnTo>
                    <a:pt x="751" y="12"/>
                  </a:lnTo>
                  <a:close/>
                  <a:moveTo>
                    <a:pt x="576" y="493"/>
                  </a:moveTo>
                  <a:lnTo>
                    <a:pt x="576" y="495"/>
                  </a:lnTo>
                  <a:lnTo>
                    <a:pt x="576" y="493"/>
                  </a:lnTo>
                  <a:close/>
                  <a:moveTo>
                    <a:pt x="565" y="94"/>
                  </a:moveTo>
                  <a:lnTo>
                    <a:pt x="565" y="92"/>
                  </a:lnTo>
                  <a:lnTo>
                    <a:pt x="565" y="94"/>
                  </a:lnTo>
                  <a:close/>
                  <a:moveTo>
                    <a:pt x="309" y="392"/>
                  </a:moveTo>
                  <a:lnTo>
                    <a:pt x="309" y="390"/>
                  </a:lnTo>
                  <a:lnTo>
                    <a:pt x="309" y="392"/>
                  </a:lnTo>
                  <a:close/>
                  <a:moveTo>
                    <a:pt x="269" y="340"/>
                  </a:moveTo>
                  <a:lnTo>
                    <a:pt x="269" y="342"/>
                  </a:lnTo>
                  <a:lnTo>
                    <a:pt x="269" y="340"/>
                  </a:lnTo>
                  <a:close/>
                  <a:moveTo>
                    <a:pt x="596" y="486"/>
                  </a:moveTo>
                  <a:lnTo>
                    <a:pt x="596" y="488"/>
                  </a:lnTo>
                  <a:lnTo>
                    <a:pt x="596" y="486"/>
                  </a:lnTo>
                  <a:lnTo>
                    <a:pt x="596" y="488"/>
                  </a:lnTo>
                  <a:lnTo>
                    <a:pt x="596" y="486"/>
                  </a:lnTo>
                  <a:close/>
                  <a:moveTo>
                    <a:pt x="254" y="342"/>
                  </a:moveTo>
                  <a:lnTo>
                    <a:pt x="254" y="340"/>
                  </a:lnTo>
                  <a:lnTo>
                    <a:pt x="254" y="342"/>
                  </a:lnTo>
                  <a:close/>
                  <a:moveTo>
                    <a:pt x="354" y="409"/>
                  </a:moveTo>
                  <a:lnTo>
                    <a:pt x="354" y="411"/>
                  </a:lnTo>
                  <a:lnTo>
                    <a:pt x="354" y="409"/>
                  </a:lnTo>
                  <a:close/>
                  <a:moveTo>
                    <a:pt x="356" y="411"/>
                  </a:moveTo>
                  <a:lnTo>
                    <a:pt x="356" y="409"/>
                  </a:lnTo>
                  <a:lnTo>
                    <a:pt x="356" y="411"/>
                  </a:lnTo>
                  <a:close/>
                  <a:moveTo>
                    <a:pt x="657" y="52"/>
                  </a:moveTo>
                  <a:lnTo>
                    <a:pt x="655" y="52"/>
                  </a:lnTo>
                  <a:lnTo>
                    <a:pt x="657" y="52"/>
                  </a:lnTo>
                  <a:close/>
                  <a:moveTo>
                    <a:pt x="317" y="426"/>
                  </a:moveTo>
                  <a:lnTo>
                    <a:pt x="319" y="426"/>
                  </a:lnTo>
                  <a:lnTo>
                    <a:pt x="317" y="426"/>
                  </a:lnTo>
                  <a:close/>
                  <a:moveTo>
                    <a:pt x="557" y="98"/>
                  </a:moveTo>
                  <a:lnTo>
                    <a:pt x="555" y="98"/>
                  </a:lnTo>
                  <a:lnTo>
                    <a:pt x="555" y="96"/>
                  </a:lnTo>
                  <a:lnTo>
                    <a:pt x="557" y="96"/>
                  </a:lnTo>
                  <a:lnTo>
                    <a:pt x="557" y="98"/>
                  </a:lnTo>
                  <a:close/>
                  <a:moveTo>
                    <a:pt x="699" y="44"/>
                  </a:moveTo>
                  <a:lnTo>
                    <a:pt x="699" y="42"/>
                  </a:lnTo>
                  <a:lnTo>
                    <a:pt x="699" y="44"/>
                  </a:lnTo>
                  <a:close/>
                  <a:moveTo>
                    <a:pt x="463" y="228"/>
                  </a:moveTo>
                  <a:lnTo>
                    <a:pt x="461" y="228"/>
                  </a:lnTo>
                  <a:lnTo>
                    <a:pt x="463" y="228"/>
                  </a:lnTo>
                  <a:close/>
                  <a:moveTo>
                    <a:pt x="478" y="196"/>
                  </a:moveTo>
                  <a:lnTo>
                    <a:pt x="478" y="194"/>
                  </a:lnTo>
                  <a:lnTo>
                    <a:pt x="478" y="196"/>
                  </a:lnTo>
                  <a:close/>
                  <a:moveTo>
                    <a:pt x="703" y="44"/>
                  </a:moveTo>
                  <a:lnTo>
                    <a:pt x="703" y="42"/>
                  </a:lnTo>
                  <a:lnTo>
                    <a:pt x="703" y="44"/>
                  </a:lnTo>
                  <a:close/>
                  <a:moveTo>
                    <a:pt x="709" y="44"/>
                  </a:moveTo>
                  <a:lnTo>
                    <a:pt x="711" y="44"/>
                  </a:lnTo>
                  <a:lnTo>
                    <a:pt x="709" y="44"/>
                  </a:lnTo>
                  <a:close/>
                  <a:moveTo>
                    <a:pt x="601" y="490"/>
                  </a:moveTo>
                  <a:lnTo>
                    <a:pt x="599" y="490"/>
                  </a:lnTo>
                  <a:lnTo>
                    <a:pt x="601" y="490"/>
                  </a:lnTo>
                  <a:close/>
                  <a:moveTo>
                    <a:pt x="352" y="420"/>
                  </a:moveTo>
                  <a:lnTo>
                    <a:pt x="354" y="420"/>
                  </a:lnTo>
                  <a:lnTo>
                    <a:pt x="352" y="420"/>
                  </a:lnTo>
                  <a:close/>
                  <a:moveTo>
                    <a:pt x="200" y="363"/>
                  </a:moveTo>
                  <a:lnTo>
                    <a:pt x="198" y="363"/>
                  </a:lnTo>
                  <a:lnTo>
                    <a:pt x="200" y="363"/>
                  </a:lnTo>
                  <a:close/>
                  <a:moveTo>
                    <a:pt x="674" y="60"/>
                  </a:moveTo>
                  <a:lnTo>
                    <a:pt x="674" y="61"/>
                  </a:lnTo>
                  <a:lnTo>
                    <a:pt x="674" y="60"/>
                  </a:lnTo>
                  <a:close/>
                  <a:moveTo>
                    <a:pt x="701" y="37"/>
                  </a:moveTo>
                  <a:lnTo>
                    <a:pt x="703" y="38"/>
                  </a:lnTo>
                  <a:lnTo>
                    <a:pt x="701" y="38"/>
                  </a:lnTo>
                  <a:lnTo>
                    <a:pt x="701" y="37"/>
                  </a:lnTo>
                  <a:close/>
                  <a:moveTo>
                    <a:pt x="611" y="501"/>
                  </a:moveTo>
                  <a:lnTo>
                    <a:pt x="609" y="501"/>
                  </a:lnTo>
                  <a:lnTo>
                    <a:pt x="611" y="501"/>
                  </a:lnTo>
                  <a:close/>
                  <a:moveTo>
                    <a:pt x="181" y="355"/>
                  </a:moveTo>
                  <a:lnTo>
                    <a:pt x="179" y="355"/>
                  </a:lnTo>
                  <a:lnTo>
                    <a:pt x="181" y="355"/>
                  </a:lnTo>
                  <a:close/>
                  <a:moveTo>
                    <a:pt x="519" y="459"/>
                  </a:moveTo>
                  <a:lnTo>
                    <a:pt x="519" y="457"/>
                  </a:lnTo>
                  <a:lnTo>
                    <a:pt x="519" y="459"/>
                  </a:lnTo>
                  <a:close/>
                  <a:moveTo>
                    <a:pt x="402" y="286"/>
                  </a:moveTo>
                  <a:lnTo>
                    <a:pt x="402" y="284"/>
                  </a:lnTo>
                  <a:lnTo>
                    <a:pt x="402" y="286"/>
                  </a:lnTo>
                  <a:close/>
                  <a:moveTo>
                    <a:pt x="348" y="401"/>
                  </a:moveTo>
                  <a:lnTo>
                    <a:pt x="346" y="401"/>
                  </a:lnTo>
                  <a:lnTo>
                    <a:pt x="348" y="401"/>
                  </a:lnTo>
                  <a:close/>
                  <a:moveTo>
                    <a:pt x="713" y="177"/>
                  </a:moveTo>
                  <a:lnTo>
                    <a:pt x="713" y="175"/>
                  </a:lnTo>
                  <a:lnTo>
                    <a:pt x="713" y="177"/>
                  </a:lnTo>
                  <a:close/>
                  <a:moveTo>
                    <a:pt x="743" y="13"/>
                  </a:moveTo>
                  <a:lnTo>
                    <a:pt x="743" y="12"/>
                  </a:lnTo>
                  <a:lnTo>
                    <a:pt x="743" y="13"/>
                  </a:lnTo>
                  <a:close/>
                  <a:moveTo>
                    <a:pt x="780" y="2"/>
                  </a:moveTo>
                  <a:lnTo>
                    <a:pt x="778" y="2"/>
                  </a:lnTo>
                  <a:lnTo>
                    <a:pt x="780" y="2"/>
                  </a:lnTo>
                  <a:close/>
                  <a:moveTo>
                    <a:pt x="701" y="223"/>
                  </a:moveTo>
                  <a:lnTo>
                    <a:pt x="701" y="221"/>
                  </a:lnTo>
                  <a:lnTo>
                    <a:pt x="701" y="223"/>
                  </a:lnTo>
                  <a:close/>
                  <a:moveTo>
                    <a:pt x="346" y="455"/>
                  </a:moveTo>
                  <a:lnTo>
                    <a:pt x="346" y="453"/>
                  </a:lnTo>
                  <a:lnTo>
                    <a:pt x="346" y="455"/>
                  </a:lnTo>
                  <a:close/>
                  <a:moveTo>
                    <a:pt x="357" y="453"/>
                  </a:moveTo>
                  <a:lnTo>
                    <a:pt x="356" y="453"/>
                  </a:lnTo>
                  <a:lnTo>
                    <a:pt x="357" y="453"/>
                  </a:lnTo>
                  <a:close/>
                  <a:moveTo>
                    <a:pt x="759" y="8"/>
                  </a:moveTo>
                  <a:lnTo>
                    <a:pt x="761" y="8"/>
                  </a:lnTo>
                  <a:lnTo>
                    <a:pt x="759" y="8"/>
                  </a:lnTo>
                  <a:close/>
                  <a:moveTo>
                    <a:pt x="169" y="319"/>
                  </a:moveTo>
                  <a:lnTo>
                    <a:pt x="169" y="317"/>
                  </a:lnTo>
                  <a:lnTo>
                    <a:pt x="169" y="319"/>
                  </a:lnTo>
                  <a:close/>
                  <a:moveTo>
                    <a:pt x="160" y="372"/>
                  </a:moveTo>
                  <a:lnTo>
                    <a:pt x="158" y="372"/>
                  </a:lnTo>
                  <a:lnTo>
                    <a:pt x="158" y="371"/>
                  </a:lnTo>
                  <a:lnTo>
                    <a:pt x="160" y="371"/>
                  </a:lnTo>
                  <a:lnTo>
                    <a:pt x="160" y="372"/>
                  </a:lnTo>
                  <a:close/>
                  <a:moveTo>
                    <a:pt x="544" y="465"/>
                  </a:moveTo>
                  <a:lnTo>
                    <a:pt x="544" y="463"/>
                  </a:lnTo>
                  <a:lnTo>
                    <a:pt x="544" y="465"/>
                  </a:lnTo>
                  <a:close/>
                  <a:moveTo>
                    <a:pt x="542" y="463"/>
                  </a:moveTo>
                  <a:lnTo>
                    <a:pt x="542" y="461"/>
                  </a:lnTo>
                  <a:lnTo>
                    <a:pt x="542" y="463"/>
                  </a:lnTo>
                  <a:close/>
                  <a:moveTo>
                    <a:pt x="513" y="457"/>
                  </a:moveTo>
                  <a:lnTo>
                    <a:pt x="511" y="457"/>
                  </a:lnTo>
                  <a:lnTo>
                    <a:pt x="513" y="457"/>
                  </a:lnTo>
                  <a:close/>
                  <a:moveTo>
                    <a:pt x="513" y="453"/>
                  </a:moveTo>
                  <a:lnTo>
                    <a:pt x="511" y="453"/>
                  </a:lnTo>
                  <a:lnTo>
                    <a:pt x="513" y="453"/>
                  </a:lnTo>
                  <a:close/>
                  <a:moveTo>
                    <a:pt x="697" y="56"/>
                  </a:moveTo>
                  <a:lnTo>
                    <a:pt x="695" y="56"/>
                  </a:lnTo>
                  <a:lnTo>
                    <a:pt x="697" y="56"/>
                  </a:lnTo>
                  <a:close/>
                  <a:moveTo>
                    <a:pt x="309" y="392"/>
                  </a:moveTo>
                  <a:lnTo>
                    <a:pt x="309" y="390"/>
                  </a:lnTo>
                  <a:lnTo>
                    <a:pt x="309" y="392"/>
                  </a:lnTo>
                  <a:close/>
                  <a:moveTo>
                    <a:pt x="139" y="307"/>
                  </a:moveTo>
                  <a:lnTo>
                    <a:pt x="139" y="305"/>
                  </a:lnTo>
                  <a:lnTo>
                    <a:pt x="139" y="307"/>
                  </a:lnTo>
                  <a:close/>
                  <a:moveTo>
                    <a:pt x="521" y="401"/>
                  </a:moveTo>
                  <a:lnTo>
                    <a:pt x="521" y="399"/>
                  </a:lnTo>
                  <a:lnTo>
                    <a:pt x="521" y="401"/>
                  </a:lnTo>
                  <a:close/>
                  <a:moveTo>
                    <a:pt x="755" y="21"/>
                  </a:moveTo>
                  <a:lnTo>
                    <a:pt x="753" y="21"/>
                  </a:lnTo>
                  <a:lnTo>
                    <a:pt x="755" y="21"/>
                  </a:lnTo>
                  <a:close/>
                  <a:moveTo>
                    <a:pt x="740" y="37"/>
                  </a:moveTo>
                  <a:lnTo>
                    <a:pt x="740" y="35"/>
                  </a:lnTo>
                  <a:lnTo>
                    <a:pt x="740" y="37"/>
                  </a:lnTo>
                  <a:close/>
                  <a:moveTo>
                    <a:pt x="309" y="390"/>
                  </a:moveTo>
                  <a:lnTo>
                    <a:pt x="309" y="388"/>
                  </a:lnTo>
                  <a:lnTo>
                    <a:pt x="309" y="390"/>
                  </a:lnTo>
                  <a:close/>
                  <a:moveTo>
                    <a:pt x="638" y="384"/>
                  </a:moveTo>
                  <a:lnTo>
                    <a:pt x="640" y="384"/>
                  </a:lnTo>
                  <a:lnTo>
                    <a:pt x="638" y="384"/>
                  </a:lnTo>
                  <a:close/>
                  <a:moveTo>
                    <a:pt x="478" y="192"/>
                  </a:moveTo>
                  <a:lnTo>
                    <a:pt x="478" y="190"/>
                  </a:lnTo>
                  <a:lnTo>
                    <a:pt x="478" y="192"/>
                  </a:lnTo>
                  <a:close/>
                  <a:moveTo>
                    <a:pt x="513" y="453"/>
                  </a:moveTo>
                  <a:lnTo>
                    <a:pt x="511" y="453"/>
                  </a:lnTo>
                  <a:lnTo>
                    <a:pt x="513" y="453"/>
                  </a:lnTo>
                  <a:close/>
                  <a:moveTo>
                    <a:pt x="594" y="501"/>
                  </a:moveTo>
                  <a:lnTo>
                    <a:pt x="592" y="501"/>
                  </a:lnTo>
                  <a:lnTo>
                    <a:pt x="594" y="501"/>
                  </a:lnTo>
                  <a:close/>
                  <a:moveTo>
                    <a:pt x="755" y="10"/>
                  </a:moveTo>
                  <a:lnTo>
                    <a:pt x="753" y="10"/>
                  </a:lnTo>
                  <a:lnTo>
                    <a:pt x="755" y="10"/>
                  </a:lnTo>
                  <a:close/>
                  <a:moveTo>
                    <a:pt x="676" y="58"/>
                  </a:moveTo>
                  <a:lnTo>
                    <a:pt x="674" y="58"/>
                  </a:lnTo>
                  <a:lnTo>
                    <a:pt x="676" y="58"/>
                  </a:lnTo>
                  <a:close/>
                  <a:moveTo>
                    <a:pt x="713" y="33"/>
                  </a:moveTo>
                  <a:lnTo>
                    <a:pt x="713" y="31"/>
                  </a:lnTo>
                  <a:lnTo>
                    <a:pt x="713" y="33"/>
                  </a:lnTo>
                  <a:close/>
                  <a:moveTo>
                    <a:pt x="742" y="17"/>
                  </a:moveTo>
                  <a:lnTo>
                    <a:pt x="740" y="17"/>
                  </a:lnTo>
                  <a:lnTo>
                    <a:pt x="742" y="17"/>
                  </a:lnTo>
                  <a:close/>
                  <a:moveTo>
                    <a:pt x="738" y="19"/>
                  </a:moveTo>
                  <a:lnTo>
                    <a:pt x="736" y="19"/>
                  </a:lnTo>
                  <a:lnTo>
                    <a:pt x="738" y="19"/>
                  </a:lnTo>
                  <a:close/>
                  <a:moveTo>
                    <a:pt x="715" y="184"/>
                  </a:moveTo>
                  <a:lnTo>
                    <a:pt x="715" y="186"/>
                  </a:lnTo>
                  <a:lnTo>
                    <a:pt x="715" y="184"/>
                  </a:lnTo>
                  <a:close/>
                  <a:moveTo>
                    <a:pt x="563" y="90"/>
                  </a:moveTo>
                  <a:lnTo>
                    <a:pt x="561" y="90"/>
                  </a:lnTo>
                  <a:lnTo>
                    <a:pt x="563" y="90"/>
                  </a:lnTo>
                  <a:close/>
                  <a:moveTo>
                    <a:pt x="563" y="100"/>
                  </a:moveTo>
                  <a:lnTo>
                    <a:pt x="563" y="98"/>
                  </a:lnTo>
                  <a:lnTo>
                    <a:pt x="563" y="100"/>
                  </a:lnTo>
                  <a:close/>
                  <a:moveTo>
                    <a:pt x="674" y="56"/>
                  </a:moveTo>
                  <a:lnTo>
                    <a:pt x="672" y="56"/>
                  </a:lnTo>
                  <a:lnTo>
                    <a:pt x="674" y="56"/>
                  </a:lnTo>
                  <a:close/>
                  <a:moveTo>
                    <a:pt x="582" y="495"/>
                  </a:moveTo>
                  <a:lnTo>
                    <a:pt x="582" y="497"/>
                  </a:lnTo>
                  <a:lnTo>
                    <a:pt x="582" y="495"/>
                  </a:lnTo>
                  <a:close/>
                  <a:moveTo>
                    <a:pt x="244" y="336"/>
                  </a:moveTo>
                  <a:lnTo>
                    <a:pt x="244" y="334"/>
                  </a:lnTo>
                  <a:lnTo>
                    <a:pt x="244" y="336"/>
                  </a:lnTo>
                  <a:close/>
                  <a:moveTo>
                    <a:pt x="743" y="13"/>
                  </a:moveTo>
                  <a:lnTo>
                    <a:pt x="745" y="13"/>
                  </a:lnTo>
                  <a:lnTo>
                    <a:pt x="743" y="13"/>
                  </a:lnTo>
                  <a:close/>
                  <a:moveTo>
                    <a:pt x="596" y="499"/>
                  </a:moveTo>
                  <a:lnTo>
                    <a:pt x="594" y="499"/>
                  </a:lnTo>
                  <a:lnTo>
                    <a:pt x="596" y="499"/>
                  </a:lnTo>
                  <a:close/>
                  <a:moveTo>
                    <a:pt x="477" y="175"/>
                  </a:moveTo>
                  <a:lnTo>
                    <a:pt x="477" y="177"/>
                  </a:lnTo>
                  <a:lnTo>
                    <a:pt x="477" y="175"/>
                  </a:lnTo>
                  <a:close/>
                  <a:moveTo>
                    <a:pt x="231" y="338"/>
                  </a:moveTo>
                  <a:lnTo>
                    <a:pt x="231" y="336"/>
                  </a:lnTo>
                  <a:lnTo>
                    <a:pt x="231" y="338"/>
                  </a:lnTo>
                  <a:close/>
                  <a:moveTo>
                    <a:pt x="671" y="61"/>
                  </a:moveTo>
                  <a:lnTo>
                    <a:pt x="671" y="60"/>
                  </a:lnTo>
                  <a:lnTo>
                    <a:pt x="671" y="61"/>
                  </a:lnTo>
                  <a:close/>
                  <a:moveTo>
                    <a:pt x="738" y="21"/>
                  </a:moveTo>
                  <a:lnTo>
                    <a:pt x="736" y="21"/>
                  </a:lnTo>
                  <a:lnTo>
                    <a:pt x="736" y="19"/>
                  </a:lnTo>
                  <a:lnTo>
                    <a:pt x="736" y="21"/>
                  </a:lnTo>
                  <a:lnTo>
                    <a:pt x="738" y="21"/>
                  </a:lnTo>
                  <a:close/>
                  <a:moveTo>
                    <a:pt x="574" y="81"/>
                  </a:moveTo>
                  <a:lnTo>
                    <a:pt x="573" y="81"/>
                  </a:lnTo>
                  <a:lnTo>
                    <a:pt x="574" y="81"/>
                  </a:lnTo>
                  <a:close/>
                  <a:moveTo>
                    <a:pt x="559" y="407"/>
                  </a:moveTo>
                  <a:lnTo>
                    <a:pt x="559" y="409"/>
                  </a:lnTo>
                  <a:lnTo>
                    <a:pt x="559" y="407"/>
                  </a:lnTo>
                  <a:close/>
                  <a:moveTo>
                    <a:pt x="663" y="378"/>
                  </a:moveTo>
                  <a:lnTo>
                    <a:pt x="663" y="376"/>
                  </a:lnTo>
                  <a:lnTo>
                    <a:pt x="663" y="378"/>
                  </a:lnTo>
                  <a:close/>
                  <a:moveTo>
                    <a:pt x="651" y="50"/>
                  </a:moveTo>
                  <a:lnTo>
                    <a:pt x="651" y="48"/>
                  </a:lnTo>
                  <a:lnTo>
                    <a:pt x="651" y="50"/>
                  </a:lnTo>
                  <a:close/>
                  <a:moveTo>
                    <a:pt x="582" y="499"/>
                  </a:moveTo>
                  <a:lnTo>
                    <a:pt x="582" y="497"/>
                  </a:lnTo>
                  <a:lnTo>
                    <a:pt x="582" y="499"/>
                  </a:lnTo>
                  <a:close/>
                  <a:moveTo>
                    <a:pt x="263" y="378"/>
                  </a:moveTo>
                  <a:lnTo>
                    <a:pt x="261" y="378"/>
                  </a:lnTo>
                  <a:lnTo>
                    <a:pt x="263" y="378"/>
                  </a:lnTo>
                  <a:close/>
                  <a:moveTo>
                    <a:pt x="647" y="50"/>
                  </a:moveTo>
                  <a:lnTo>
                    <a:pt x="647" y="48"/>
                  </a:lnTo>
                  <a:lnTo>
                    <a:pt x="647" y="50"/>
                  </a:lnTo>
                  <a:close/>
                  <a:moveTo>
                    <a:pt x="609" y="69"/>
                  </a:moveTo>
                  <a:lnTo>
                    <a:pt x="609" y="67"/>
                  </a:lnTo>
                  <a:lnTo>
                    <a:pt x="609" y="69"/>
                  </a:lnTo>
                  <a:close/>
                  <a:moveTo>
                    <a:pt x="563" y="88"/>
                  </a:moveTo>
                  <a:lnTo>
                    <a:pt x="563" y="86"/>
                  </a:lnTo>
                  <a:lnTo>
                    <a:pt x="563" y="88"/>
                  </a:lnTo>
                  <a:close/>
                  <a:moveTo>
                    <a:pt x="607" y="67"/>
                  </a:moveTo>
                  <a:lnTo>
                    <a:pt x="607" y="69"/>
                  </a:lnTo>
                  <a:lnTo>
                    <a:pt x="607" y="67"/>
                  </a:lnTo>
                  <a:close/>
                  <a:moveTo>
                    <a:pt x="348" y="455"/>
                  </a:moveTo>
                  <a:lnTo>
                    <a:pt x="348" y="453"/>
                  </a:lnTo>
                  <a:lnTo>
                    <a:pt x="348" y="455"/>
                  </a:lnTo>
                  <a:close/>
                  <a:moveTo>
                    <a:pt x="553" y="465"/>
                  </a:moveTo>
                  <a:lnTo>
                    <a:pt x="553" y="463"/>
                  </a:lnTo>
                  <a:lnTo>
                    <a:pt x="553" y="465"/>
                  </a:lnTo>
                  <a:close/>
                  <a:moveTo>
                    <a:pt x="348" y="455"/>
                  </a:moveTo>
                  <a:lnTo>
                    <a:pt x="348" y="453"/>
                  </a:lnTo>
                  <a:lnTo>
                    <a:pt x="348" y="455"/>
                  </a:lnTo>
                  <a:close/>
                  <a:moveTo>
                    <a:pt x="684" y="371"/>
                  </a:moveTo>
                  <a:lnTo>
                    <a:pt x="684" y="372"/>
                  </a:lnTo>
                  <a:lnTo>
                    <a:pt x="684" y="371"/>
                  </a:lnTo>
                  <a:close/>
                </a:path>
              </a:pathLst>
            </a:custGeom>
            <a:solidFill>
              <a:srgbClr val="31859C"/>
            </a:solidFill>
            <a:ln w="3175">
              <a:solidFill>
                <a:sysClr val="window" lastClr="FFFF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black"/>
                </a:solidFill>
                <a:effectLst/>
                <a:uLnTx/>
                <a:uFillTx/>
                <a:ea typeface="宋体" panose="02010600030101010101" pitchFamily="2" charset="-122"/>
              </a:endParaRPr>
            </a:p>
          </p:txBody>
        </p:sp>
        <p:sp>
          <p:nvSpPr>
            <p:cNvPr id="62" name="Freeform 2802">
              <a:extLst>
                <a:ext uri="{FF2B5EF4-FFF2-40B4-BE49-F238E27FC236}">
                  <a16:creationId xmlns:a16="http://schemas.microsoft.com/office/drawing/2014/main" id="{4F417C5D-C796-E77F-E5BA-67D0DC5D7496}"/>
                </a:ext>
              </a:extLst>
            </p:cNvPr>
            <p:cNvSpPr>
              <a:spLocks noEditPoints="1"/>
            </p:cNvSpPr>
            <p:nvPr/>
          </p:nvSpPr>
          <p:spPr bwMode="auto">
            <a:xfrm>
              <a:off x="2181225" y="2238375"/>
              <a:ext cx="933450" cy="1646238"/>
            </a:xfrm>
            <a:custGeom>
              <a:avLst/>
              <a:gdLst>
                <a:gd name="T0" fmla="*/ 454 w 588"/>
                <a:gd name="T1" fmla="*/ 256 h 1037"/>
                <a:gd name="T2" fmla="*/ 427 w 588"/>
                <a:gd name="T3" fmla="*/ 674 h 1037"/>
                <a:gd name="T4" fmla="*/ 500 w 588"/>
                <a:gd name="T5" fmla="*/ 889 h 1037"/>
                <a:gd name="T6" fmla="*/ 383 w 588"/>
                <a:gd name="T7" fmla="*/ 983 h 1037"/>
                <a:gd name="T8" fmla="*/ 189 w 588"/>
                <a:gd name="T9" fmla="*/ 855 h 1037"/>
                <a:gd name="T10" fmla="*/ 187 w 588"/>
                <a:gd name="T11" fmla="*/ 807 h 1037"/>
                <a:gd name="T12" fmla="*/ 171 w 588"/>
                <a:gd name="T13" fmla="*/ 747 h 1037"/>
                <a:gd name="T14" fmla="*/ 146 w 588"/>
                <a:gd name="T15" fmla="*/ 736 h 1037"/>
                <a:gd name="T16" fmla="*/ 100 w 588"/>
                <a:gd name="T17" fmla="*/ 697 h 1037"/>
                <a:gd name="T18" fmla="*/ 87 w 588"/>
                <a:gd name="T19" fmla="*/ 669 h 1037"/>
                <a:gd name="T20" fmla="*/ 98 w 588"/>
                <a:gd name="T21" fmla="*/ 651 h 1037"/>
                <a:gd name="T22" fmla="*/ 158 w 588"/>
                <a:gd name="T23" fmla="*/ 611 h 1037"/>
                <a:gd name="T24" fmla="*/ 118 w 588"/>
                <a:gd name="T25" fmla="*/ 597 h 1037"/>
                <a:gd name="T26" fmla="*/ 133 w 588"/>
                <a:gd name="T27" fmla="*/ 526 h 1037"/>
                <a:gd name="T28" fmla="*/ 110 w 588"/>
                <a:gd name="T29" fmla="*/ 478 h 1037"/>
                <a:gd name="T30" fmla="*/ 169 w 588"/>
                <a:gd name="T31" fmla="*/ 413 h 1037"/>
                <a:gd name="T32" fmla="*/ 168 w 588"/>
                <a:gd name="T33" fmla="*/ 235 h 1037"/>
                <a:gd name="T34" fmla="*/ 162 w 588"/>
                <a:gd name="T35" fmla="*/ 52 h 1037"/>
                <a:gd name="T36" fmla="*/ 135 w 588"/>
                <a:gd name="T37" fmla="*/ 826 h 1037"/>
                <a:gd name="T38" fmla="*/ 143 w 588"/>
                <a:gd name="T39" fmla="*/ 914 h 1037"/>
                <a:gd name="T40" fmla="*/ 102 w 588"/>
                <a:gd name="T41" fmla="*/ 839 h 1037"/>
                <a:gd name="T42" fmla="*/ 79 w 588"/>
                <a:gd name="T43" fmla="*/ 795 h 1037"/>
                <a:gd name="T44" fmla="*/ 70 w 588"/>
                <a:gd name="T45" fmla="*/ 757 h 1037"/>
                <a:gd name="T46" fmla="*/ 54 w 588"/>
                <a:gd name="T47" fmla="*/ 718 h 1037"/>
                <a:gd name="T48" fmla="*/ 29 w 588"/>
                <a:gd name="T49" fmla="*/ 406 h 1037"/>
                <a:gd name="T50" fmla="*/ 23 w 588"/>
                <a:gd name="T51" fmla="*/ 473 h 1037"/>
                <a:gd name="T52" fmla="*/ 14 w 588"/>
                <a:gd name="T53" fmla="*/ 430 h 1037"/>
                <a:gd name="T54" fmla="*/ 12 w 588"/>
                <a:gd name="T55" fmla="*/ 538 h 1037"/>
                <a:gd name="T56" fmla="*/ 4 w 588"/>
                <a:gd name="T57" fmla="*/ 490 h 1037"/>
                <a:gd name="T58" fmla="*/ 98 w 588"/>
                <a:gd name="T59" fmla="*/ 567 h 1037"/>
                <a:gd name="T60" fmla="*/ 100 w 588"/>
                <a:gd name="T61" fmla="*/ 521 h 1037"/>
                <a:gd name="T62" fmla="*/ 93 w 588"/>
                <a:gd name="T63" fmla="*/ 521 h 1037"/>
                <a:gd name="T64" fmla="*/ 141 w 588"/>
                <a:gd name="T65" fmla="*/ 617 h 1037"/>
                <a:gd name="T66" fmla="*/ 93 w 588"/>
                <a:gd name="T67" fmla="*/ 467 h 1037"/>
                <a:gd name="T68" fmla="*/ 110 w 588"/>
                <a:gd name="T69" fmla="*/ 621 h 1037"/>
                <a:gd name="T70" fmla="*/ 106 w 588"/>
                <a:gd name="T71" fmla="*/ 590 h 1037"/>
                <a:gd name="T72" fmla="*/ 120 w 588"/>
                <a:gd name="T73" fmla="*/ 578 h 1037"/>
                <a:gd name="T74" fmla="*/ 152 w 588"/>
                <a:gd name="T75" fmla="*/ 788 h 1037"/>
                <a:gd name="T76" fmla="*/ 95 w 588"/>
                <a:gd name="T77" fmla="*/ 532 h 1037"/>
                <a:gd name="T78" fmla="*/ 100 w 588"/>
                <a:gd name="T79" fmla="*/ 619 h 1037"/>
                <a:gd name="T80" fmla="*/ 12 w 588"/>
                <a:gd name="T81" fmla="*/ 557 h 1037"/>
                <a:gd name="T82" fmla="*/ 158 w 588"/>
                <a:gd name="T83" fmla="*/ 786 h 1037"/>
                <a:gd name="T84" fmla="*/ 187 w 588"/>
                <a:gd name="T85" fmla="*/ 855 h 1037"/>
                <a:gd name="T86" fmla="*/ 148 w 588"/>
                <a:gd name="T87" fmla="*/ 776 h 1037"/>
                <a:gd name="T88" fmla="*/ 110 w 588"/>
                <a:gd name="T89" fmla="*/ 465 h 1037"/>
                <a:gd name="T90" fmla="*/ 95 w 588"/>
                <a:gd name="T91" fmla="*/ 672 h 1037"/>
                <a:gd name="T92" fmla="*/ 104 w 588"/>
                <a:gd name="T93" fmla="*/ 657 h 1037"/>
                <a:gd name="T94" fmla="*/ 89 w 588"/>
                <a:gd name="T95" fmla="*/ 617 h 1037"/>
                <a:gd name="T96" fmla="*/ 95 w 588"/>
                <a:gd name="T97" fmla="*/ 634 h 1037"/>
                <a:gd name="T98" fmla="*/ 160 w 588"/>
                <a:gd name="T99" fmla="*/ 901 h 1037"/>
                <a:gd name="T100" fmla="*/ 106 w 588"/>
                <a:gd name="T101" fmla="*/ 724 h 1037"/>
                <a:gd name="T102" fmla="*/ 116 w 588"/>
                <a:gd name="T103" fmla="*/ 715 h 1037"/>
                <a:gd name="T104" fmla="*/ 85 w 588"/>
                <a:gd name="T105" fmla="*/ 807 h 1037"/>
                <a:gd name="T106" fmla="*/ 89 w 588"/>
                <a:gd name="T107" fmla="*/ 532 h 1037"/>
                <a:gd name="T108" fmla="*/ 154 w 588"/>
                <a:gd name="T109" fmla="*/ 834 h 1037"/>
                <a:gd name="T110" fmla="*/ 83 w 588"/>
                <a:gd name="T111" fmla="*/ 695 h 1037"/>
                <a:gd name="T112" fmla="*/ 114 w 588"/>
                <a:gd name="T113" fmla="*/ 594 h 1037"/>
                <a:gd name="T114" fmla="*/ 91 w 588"/>
                <a:gd name="T115" fmla="*/ 553 h 1037"/>
                <a:gd name="T116" fmla="*/ 81 w 588"/>
                <a:gd name="T117" fmla="*/ 486 h 1037"/>
                <a:gd name="T118" fmla="*/ 98 w 588"/>
                <a:gd name="T119" fmla="*/ 440 h 1037"/>
                <a:gd name="T120" fmla="*/ 35 w 588"/>
                <a:gd name="T121" fmla="*/ 444 h 1037"/>
                <a:gd name="T122" fmla="*/ 112 w 588"/>
                <a:gd name="T123" fmla="*/ 705 h 1037"/>
                <a:gd name="T124" fmla="*/ 93 w 588"/>
                <a:gd name="T125" fmla="*/ 843 h 10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88" h="1037">
                  <a:moveTo>
                    <a:pt x="189" y="73"/>
                  </a:moveTo>
                  <a:lnTo>
                    <a:pt x="189" y="75"/>
                  </a:lnTo>
                  <a:lnTo>
                    <a:pt x="191" y="75"/>
                  </a:lnTo>
                  <a:lnTo>
                    <a:pt x="191" y="77"/>
                  </a:lnTo>
                  <a:lnTo>
                    <a:pt x="192" y="77"/>
                  </a:lnTo>
                  <a:lnTo>
                    <a:pt x="194" y="79"/>
                  </a:lnTo>
                  <a:lnTo>
                    <a:pt x="196" y="79"/>
                  </a:lnTo>
                  <a:lnTo>
                    <a:pt x="196" y="81"/>
                  </a:lnTo>
                  <a:lnTo>
                    <a:pt x="198" y="81"/>
                  </a:lnTo>
                  <a:lnTo>
                    <a:pt x="198" y="83"/>
                  </a:lnTo>
                  <a:lnTo>
                    <a:pt x="200" y="83"/>
                  </a:lnTo>
                  <a:lnTo>
                    <a:pt x="200" y="85"/>
                  </a:lnTo>
                  <a:lnTo>
                    <a:pt x="202" y="85"/>
                  </a:lnTo>
                  <a:lnTo>
                    <a:pt x="204" y="87"/>
                  </a:lnTo>
                  <a:lnTo>
                    <a:pt x="206" y="87"/>
                  </a:lnTo>
                  <a:lnTo>
                    <a:pt x="206" y="89"/>
                  </a:lnTo>
                  <a:lnTo>
                    <a:pt x="208" y="89"/>
                  </a:lnTo>
                  <a:lnTo>
                    <a:pt x="208" y="91"/>
                  </a:lnTo>
                  <a:lnTo>
                    <a:pt x="210" y="91"/>
                  </a:lnTo>
                  <a:lnTo>
                    <a:pt x="210" y="93"/>
                  </a:lnTo>
                  <a:lnTo>
                    <a:pt x="212" y="93"/>
                  </a:lnTo>
                  <a:lnTo>
                    <a:pt x="214" y="94"/>
                  </a:lnTo>
                  <a:lnTo>
                    <a:pt x="216" y="94"/>
                  </a:lnTo>
                  <a:lnTo>
                    <a:pt x="216" y="96"/>
                  </a:lnTo>
                  <a:lnTo>
                    <a:pt x="217" y="96"/>
                  </a:lnTo>
                  <a:lnTo>
                    <a:pt x="217" y="98"/>
                  </a:lnTo>
                  <a:lnTo>
                    <a:pt x="219" y="98"/>
                  </a:lnTo>
                  <a:lnTo>
                    <a:pt x="219" y="100"/>
                  </a:lnTo>
                  <a:lnTo>
                    <a:pt x="221" y="100"/>
                  </a:lnTo>
                  <a:lnTo>
                    <a:pt x="223" y="100"/>
                  </a:lnTo>
                  <a:lnTo>
                    <a:pt x="223" y="102"/>
                  </a:lnTo>
                  <a:lnTo>
                    <a:pt x="225" y="102"/>
                  </a:lnTo>
                  <a:lnTo>
                    <a:pt x="225" y="104"/>
                  </a:lnTo>
                  <a:lnTo>
                    <a:pt x="227" y="104"/>
                  </a:lnTo>
                  <a:lnTo>
                    <a:pt x="227" y="106"/>
                  </a:lnTo>
                  <a:lnTo>
                    <a:pt x="229" y="106"/>
                  </a:lnTo>
                  <a:lnTo>
                    <a:pt x="231" y="108"/>
                  </a:lnTo>
                  <a:lnTo>
                    <a:pt x="233" y="108"/>
                  </a:lnTo>
                  <a:lnTo>
                    <a:pt x="233" y="110"/>
                  </a:lnTo>
                  <a:lnTo>
                    <a:pt x="235" y="110"/>
                  </a:lnTo>
                  <a:lnTo>
                    <a:pt x="235" y="112"/>
                  </a:lnTo>
                  <a:lnTo>
                    <a:pt x="237" y="112"/>
                  </a:lnTo>
                  <a:lnTo>
                    <a:pt x="239" y="114"/>
                  </a:lnTo>
                  <a:lnTo>
                    <a:pt x="240" y="114"/>
                  </a:lnTo>
                  <a:lnTo>
                    <a:pt x="240" y="116"/>
                  </a:lnTo>
                  <a:lnTo>
                    <a:pt x="242" y="116"/>
                  </a:lnTo>
                  <a:lnTo>
                    <a:pt x="242" y="118"/>
                  </a:lnTo>
                  <a:lnTo>
                    <a:pt x="244" y="118"/>
                  </a:lnTo>
                  <a:lnTo>
                    <a:pt x="244" y="119"/>
                  </a:lnTo>
                  <a:lnTo>
                    <a:pt x="246" y="119"/>
                  </a:lnTo>
                  <a:lnTo>
                    <a:pt x="248" y="119"/>
                  </a:lnTo>
                  <a:lnTo>
                    <a:pt x="248" y="121"/>
                  </a:lnTo>
                  <a:lnTo>
                    <a:pt x="250" y="121"/>
                  </a:lnTo>
                  <a:lnTo>
                    <a:pt x="250" y="123"/>
                  </a:lnTo>
                  <a:lnTo>
                    <a:pt x="252" y="123"/>
                  </a:lnTo>
                  <a:lnTo>
                    <a:pt x="252" y="125"/>
                  </a:lnTo>
                  <a:lnTo>
                    <a:pt x="254" y="125"/>
                  </a:lnTo>
                  <a:lnTo>
                    <a:pt x="256" y="125"/>
                  </a:lnTo>
                  <a:lnTo>
                    <a:pt x="256" y="127"/>
                  </a:lnTo>
                  <a:lnTo>
                    <a:pt x="258" y="127"/>
                  </a:lnTo>
                  <a:lnTo>
                    <a:pt x="258" y="129"/>
                  </a:lnTo>
                  <a:lnTo>
                    <a:pt x="260" y="129"/>
                  </a:lnTo>
                  <a:lnTo>
                    <a:pt x="260" y="131"/>
                  </a:lnTo>
                  <a:lnTo>
                    <a:pt x="262" y="131"/>
                  </a:lnTo>
                  <a:lnTo>
                    <a:pt x="264" y="131"/>
                  </a:lnTo>
                  <a:lnTo>
                    <a:pt x="264" y="133"/>
                  </a:lnTo>
                  <a:lnTo>
                    <a:pt x="265" y="133"/>
                  </a:lnTo>
                  <a:lnTo>
                    <a:pt x="265" y="135"/>
                  </a:lnTo>
                  <a:lnTo>
                    <a:pt x="267" y="135"/>
                  </a:lnTo>
                  <a:lnTo>
                    <a:pt x="267" y="137"/>
                  </a:lnTo>
                  <a:lnTo>
                    <a:pt x="269" y="137"/>
                  </a:lnTo>
                  <a:lnTo>
                    <a:pt x="271" y="137"/>
                  </a:lnTo>
                  <a:lnTo>
                    <a:pt x="271" y="139"/>
                  </a:lnTo>
                  <a:lnTo>
                    <a:pt x="273" y="139"/>
                  </a:lnTo>
                  <a:lnTo>
                    <a:pt x="273" y="141"/>
                  </a:lnTo>
                  <a:lnTo>
                    <a:pt x="275" y="141"/>
                  </a:lnTo>
                  <a:lnTo>
                    <a:pt x="277" y="142"/>
                  </a:lnTo>
                  <a:lnTo>
                    <a:pt x="279" y="142"/>
                  </a:lnTo>
                  <a:lnTo>
                    <a:pt x="279" y="144"/>
                  </a:lnTo>
                  <a:lnTo>
                    <a:pt x="281" y="144"/>
                  </a:lnTo>
                  <a:lnTo>
                    <a:pt x="281" y="146"/>
                  </a:lnTo>
                  <a:lnTo>
                    <a:pt x="283" y="146"/>
                  </a:lnTo>
                  <a:lnTo>
                    <a:pt x="285" y="146"/>
                  </a:lnTo>
                  <a:lnTo>
                    <a:pt x="285" y="148"/>
                  </a:lnTo>
                  <a:lnTo>
                    <a:pt x="287" y="148"/>
                  </a:lnTo>
                  <a:lnTo>
                    <a:pt x="287" y="150"/>
                  </a:lnTo>
                  <a:lnTo>
                    <a:pt x="289" y="150"/>
                  </a:lnTo>
                  <a:lnTo>
                    <a:pt x="290" y="152"/>
                  </a:lnTo>
                  <a:lnTo>
                    <a:pt x="292" y="152"/>
                  </a:lnTo>
                  <a:lnTo>
                    <a:pt x="292" y="154"/>
                  </a:lnTo>
                  <a:lnTo>
                    <a:pt x="294" y="154"/>
                  </a:lnTo>
                  <a:lnTo>
                    <a:pt x="294" y="156"/>
                  </a:lnTo>
                  <a:lnTo>
                    <a:pt x="296" y="156"/>
                  </a:lnTo>
                  <a:lnTo>
                    <a:pt x="298" y="156"/>
                  </a:lnTo>
                  <a:lnTo>
                    <a:pt x="298" y="158"/>
                  </a:lnTo>
                  <a:lnTo>
                    <a:pt x="300" y="158"/>
                  </a:lnTo>
                  <a:lnTo>
                    <a:pt x="300" y="160"/>
                  </a:lnTo>
                  <a:lnTo>
                    <a:pt x="302" y="160"/>
                  </a:lnTo>
                  <a:lnTo>
                    <a:pt x="304" y="162"/>
                  </a:lnTo>
                  <a:lnTo>
                    <a:pt x="306" y="162"/>
                  </a:lnTo>
                  <a:lnTo>
                    <a:pt x="306" y="164"/>
                  </a:lnTo>
                  <a:lnTo>
                    <a:pt x="308" y="164"/>
                  </a:lnTo>
                  <a:lnTo>
                    <a:pt x="310" y="166"/>
                  </a:lnTo>
                  <a:lnTo>
                    <a:pt x="312" y="166"/>
                  </a:lnTo>
                  <a:lnTo>
                    <a:pt x="312" y="167"/>
                  </a:lnTo>
                  <a:lnTo>
                    <a:pt x="313" y="167"/>
                  </a:lnTo>
                  <a:lnTo>
                    <a:pt x="313" y="169"/>
                  </a:lnTo>
                  <a:lnTo>
                    <a:pt x="315" y="169"/>
                  </a:lnTo>
                  <a:lnTo>
                    <a:pt x="317" y="169"/>
                  </a:lnTo>
                  <a:lnTo>
                    <a:pt x="317" y="171"/>
                  </a:lnTo>
                  <a:lnTo>
                    <a:pt x="319" y="171"/>
                  </a:lnTo>
                  <a:lnTo>
                    <a:pt x="319" y="173"/>
                  </a:lnTo>
                  <a:lnTo>
                    <a:pt x="321" y="173"/>
                  </a:lnTo>
                  <a:lnTo>
                    <a:pt x="323" y="173"/>
                  </a:lnTo>
                  <a:lnTo>
                    <a:pt x="323" y="175"/>
                  </a:lnTo>
                  <a:lnTo>
                    <a:pt x="325" y="175"/>
                  </a:lnTo>
                  <a:lnTo>
                    <a:pt x="325" y="177"/>
                  </a:lnTo>
                  <a:lnTo>
                    <a:pt x="327" y="177"/>
                  </a:lnTo>
                  <a:lnTo>
                    <a:pt x="329" y="179"/>
                  </a:lnTo>
                  <a:lnTo>
                    <a:pt x="331" y="179"/>
                  </a:lnTo>
                  <a:lnTo>
                    <a:pt x="331" y="181"/>
                  </a:lnTo>
                  <a:lnTo>
                    <a:pt x="333" y="181"/>
                  </a:lnTo>
                  <a:lnTo>
                    <a:pt x="335" y="183"/>
                  </a:lnTo>
                  <a:lnTo>
                    <a:pt x="337" y="183"/>
                  </a:lnTo>
                  <a:lnTo>
                    <a:pt x="337" y="185"/>
                  </a:lnTo>
                  <a:lnTo>
                    <a:pt x="338" y="185"/>
                  </a:lnTo>
                  <a:lnTo>
                    <a:pt x="340" y="187"/>
                  </a:lnTo>
                  <a:lnTo>
                    <a:pt x="342" y="187"/>
                  </a:lnTo>
                  <a:lnTo>
                    <a:pt x="342" y="189"/>
                  </a:lnTo>
                  <a:lnTo>
                    <a:pt x="344" y="189"/>
                  </a:lnTo>
                  <a:lnTo>
                    <a:pt x="346" y="189"/>
                  </a:lnTo>
                  <a:lnTo>
                    <a:pt x="346" y="190"/>
                  </a:lnTo>
                  <a:lnTo>
                    <a:pt x="348" y="190"/>
                  </a:lnTo>
                  <a:lnTo>
                    <a:pt x="348" y="192"/>
                  </a:lnTo>
                  <a:lnTo>
                    <a:pt x="350" y="192"/>
                  </a:lnTo>
                  <a:lnTo>
                    <a:pt x="352" y="192"/>
                  </a:lnTo>
                  <a:lnTo>
                    <a:pt x="352" y="194"/>
                  </a:lnTo>
                  <a:lnTo>
                    <a:pt x="354" y="194"/>
                  </a:lnTo>
                  <a:lnTo>
                    <a:pt x="354" y="196"/>
                  </a:lnTo>
                  <a:lnTo>
                    <a:pt x="356" y="196"/>
                  </a:lnTo>
                  <a:lnTo>
                    <a:pt x="358" y="196"/>
                  </a:lnTo>
                  <a:lnTo>
                    <a:pt x="358" y="198"/>
                  </a:lnTo>
                  <a:lnTo>
                    <a:pt x="360" y="198"/>
                  </a:lnTo>
                  <a:lnTo>
                    <a:pt x="360" y="200"/>
                  </a:lnTo>
                  <a:lnTo>
                    <a:pt x="361" y="200"/>
                  </a:lnTo>
                  <a:lnTo>
                    <a:pt x="363" y="200"/>
                  </a:lnTo>
                  <a:lnTo>
                    <a:pt x="363" y="202"/>
                  </a:lnTo>
                  <a:lnTo>
                    <a:pt x="365" y="202"/>
                  </a:lnTo>
                  <a:lnTo>
                    <a:pt x="365" y="204"/>
                  </a:lnTo>
                  <a:lnTo>
                    <a:pt x="367" y="204"/>
                  </a:lnTo>
                  <a:lnTo>
                    <a:pt x="369" y="204"/>
                  </a:lnTo>
                  <a:lnTo>
                    <a:pt x="369" y="206"/>
                  </a:lnTo>
                  <a:lnTo>
                    <a:pt x="371" y="206"/>
                  </a:lnTo>
                  <a:lnTo>
                    <a:pt x="373" y="208"/>
                  </a:lnTo>
                  <a:lnTo>
                    <a:pt x="375" y="208"/>
                  </a:lnTo>
                  <a:lnTo>
                    <a:pt x="375" y="210"/>
                  </a:lnTo>
                  <a:lnTo>
                    <a:pt x="377" y="210"/>
                  </a:lnTo>
                  <a:lnTo>
                    <a:pt x="379" y="212"/>
                  </a:lnTo>
                  <a:lnTo>
                    <a:pt x="381" y="212"/>
                  </a:lnTo>
                  <a:lnTo>
                    <a:pt x="381" y="214"/>
                  </a:lnTo>
                  <a:lnTo>
                    <a:pt x="383" y="214"/>
                  </a:lnTo>
                  <a:lnTo>
                    <a:pt x="385" y="214"/>
                  </a:lnTo>
                  <a:lnTo>
                    <a:pt x="385" y="215"/>
                  </a:lnTo>
                  <a:lnTo>
                    <a:pt x="386" y="215"/>
                  </a:lnTo>
                  <a:lnTo>
                    <a:pt x="388" y="217"/>
                  </a:lnTo>
                  <a:lnTo>
                    <a:pt x="390" y="217"/>
                  </a:lnTo>
                  <a:lnTo>
                    <a:pt x="390" y="219"/>
                  </a:lnTo>
                  <a:lnTo>
                    <a:pt x="392" y="219"/>
                  </a:lnTo>
                  <a:lnTo>
                    <a:pt x="394" y="221"/>
                  </a:lnTo>
                  <a:lnTo>
                    <a:pt x="396" y="221"/>
                  </a:lnTo>
                  <a:lnTo>
                    <a:pt x="396" y="223"/>
                  </a:lnTo>
                  <a:lnTo>
                    <a:pt x="398" y="223"/>
                  </a:lnTo>
                  <a:lnTo>
                    <a:pt x="400" y="223"/>
                  </a:lnTo>
                  <a:lnTo>
                    <a:pt x="400" y="225"/>
                  </a:lnTo>
                  <a:lnTo>
                    <a:pt x="402" y="225"/>
                  </a:lnTo>
                  <a:lnTo>
                    <a:pt x="404" y="227"/>
                  </a:lnTo>
                  <a:lnTo>
                    <a:pt x="406" y="227"/>
                  </a:lnTo>
                  <a:lnTo>
                    <a:pt x="406" y="229"/>
                  </a:lnTo>
                  <a:lnTo>
                    <a:pt x="408" y="229"/>
                  </a:lnTo>
                  <a:lnTo>
                    <a:pt x="409" y="229"/>
                  </a:lnTo>
                  <a:lnTo>
                    <a:pt x="409" y="231"/>
                  </a:lnTo>
                  <a:lnTo>
                    <a:pt x="411" y="231"/>
                  </a:lnTo>
                  <a:lnTo>
                    <a:pt x="411" y="233"/>
                  </a:lnTo>
                  <a:lnTo>
                    <a:pt x="413" y="233"/>
                  </a:lnTo>
                  <a:lnTo>
                    <a:pt x="415" y="233"/>
                  </a:lnTo>
                  <a:lnTo>
                    <a:pt x="415" y="235"/>
                  </a:lnTo>
                  <a:lnTo>
                    <a:pt x="417" y="235"/>
                  </a:lnTo>
                  <a:lnTo>
                    <a:pt x="419" y="235"/>
                  </a:lnTo>
                  <a:lnTo>
                    <a:pt x="419" y="237"/>
                  </a:lnTo>
                  <a:lnTo>
                    <a:pt x="421" y="237"/>
                  </a:lnTo>
                  <a:lnTo>
                    <a:pt x="421" y="238"/>
                  </a:lnTo>
                  <a:lnTo>
                    <a:pt x="423" y="238"/>
                  </a:lnTo>
                  <a:lnTo>
                    <a:pt x="425" y="238"/>
                  </a:lnTo>
                  <a:lnTo>
                    <a:pt x="425" y="240"/>
                  </a:lnTo>
                  <a:lnTo>
                    <a:pt x="427" y="240"/>
                  </a:lnTo>
                  <a:lnTo>
                    <a:pt x="429" y="240"/>
                  </a:lnTo>
                  <a:lnTo>
                    <a:pt x="429" y="242"/>
                  </a:lnTo>
                  <a:lnTo>
                    <a:pt x="431" y="242"/>
                  </a:lnTo>
                  <a:lnTo>
                    <a:pt x="431" y="244"/>
                  </a:lnTo>
                  <a:lnTo>
                    <a:pt x="433" y="244"/>
                  </a:lnTo>
                  <a:lnTo>
                    <a:pt x="434" y="244"/>
                  </a:lnTo>
                  <a:lnTo>
                    <a:pt x="434" y="246"/>
                  </a:lnTo>
                  <a:lnTo>
                    <a:pt x="436" y="246"/>
                  </a:lnTo>
                  <a:lnTo>
                    <a:pt x="438" y="246"/>
                  </a:lnTo>
                  <a:lnTo>
                    <a:pt x="438" y="248"/>
                  </a:lnTo>
                  <a:lnTo>
                    <a:pt x="440" y="248"/>
                  </a:lnTo>
                  <a:lnTo>
                    <a:pt x="442" y="250"/>
                  </a:lnTo>
                  <a:lnTo>
                    <a:pt x="444" y="250"/>
                  </a:lnTo>
                  <a:lnTo>
                    <a:pt x="444" y="252"/>
                  </a:lnTo>
                  <a:lnTo>
                    <a:pt x="446" y="252"/>
                  </a:lnTo>
                  <a:lnTo>
                    <a:pt x="448" y="252"/>
                  </a:lnTo>
                  <a:lnTo>
                    <a:pt x="448" y="254"/>
                  </a:lnTo>
                  <a:lnTo>
                    <a:pt x="450" y="254"/>
                  </a:lnTo>
                  <a:lnTo>
                    <a:pt x="452" y="254"/>
                  </a:lnTo>
                  <a:lnTo>
                    <a:pt x="452" y="256"/>
                  </a:lnTo>
                  <a:lnTo>
                    <a:pt x="454" y="256"/>
                  </a:lnTo>
                  <a:lnTo>
                    <a:pt x="456" y="258"/>
                  </a:lnTo>
                  <a:lnTo>
                    <a:pt x="457" y="258"/>
                  </a:lnTo>
                  <a:lnTo>
                    <a:pt x="457" y="260"/>
                  </a:lnTo>
                  <a:lnTo>
                    <a:pt x="459" y="260"/>
                  </a:lnTo>
                  <a:lnTo>
                    <a:pt x="461" y="260"/>
                  </a:lnTo>
                  <a:lnTo>
                    <a:pt x="461" y="262"/>
                  </a:lnTo>
                  <a:lnTo>
                    <a:pt x="463" y="262"/>
                  </a:lnTo>
                  <a:lnTo>
                    <a:pt x="465" y="262"/>
                  </a:lnTo>
                  <a:lnTo>
                    <a:pt x="465" y="263"/>
                  </a:lnTo>
                  <a:lnTo>
                    <a:pt x="467" y="263"/>
                  </a:lnTo>
                  <a:lnTo>
                    <a:pt x="469" y="265"/>
                  </a:lnTo>
                  <a:lnTo>
                    <a:pt x="471" y="265"/>
                  </a:lnTo>
                  <a:lnTo>
                    <a:pt x="471" y="267"/>
                  </a:lnTo>
                  <a:lnTo>
                    <a:pt x="473" y="267"/>
                  </a:lnTo>
                  <a:lnTo>
                    <a:pt x="475" y="267"/>
                  </a:lnTo>
                  <a:lnTo>
                    <a:pt x="475" y="269"/>
                  </a:lnTo>
                  <a:lnTo>
                    <a:pt x="477" y="269"/>
                  </a:lnTo>
                  <a:lnTo>
                    <a:pt x="479" y="269"/>
                  </a:lnTo>
                  <a:lnTo>
                    <a:pt x="479" y="271"/>
                  </a:lnTo>
                  <a:lnTo>
                    <a:pt x="481" y="271"/>
                  </a:lnTo>
                  <a:lnTo>
                    <a:pt x="482" y="271"/>
                  </a:lnTo>
                  <a:lnTo>
                    <a:pt x="482" y="273"/>
                  </a:lnTo>
                  <a:lnTo>
                    <a:pt x="484" y="273"/>
                  </a:lnTo>
                  <a:lnTo>
                    <a:pt x="486" y="275"/>
                  </a:lnTo>
                  <a:lnTo>
                    <a:pt x="488" y="275"/>
                  </a:lnTo>
                  <a:lnTo>
                    <a:pt x="488" y="277"/>
                  </a:lnTo>
                  <a:lnTo>
                    <a:pt x="490" y="277"/>
                  </a:lnTo>
                  <a:lnTo>
                    <a:pt x="492" y="277"/>
                  </a:lnTo>
                  <a:lnTo>
                    <a:pt x="492" y="279"/>
                  </a:lnTo>
                  <a:lnTo>
                    <a:pt x="494" y="279"/>
                  </a:lnTo>
                  <a:lnTo>
                    <a:pt x="496" y="279"/>
                  </a:lnTo>
                  <a:lnTo>
                    <a:pt x="496" y="281"/>
                  </a:lnTo>
                  <a:lnTo>
                    <a:pt x="498" y="281"/>
                  </a:lnTo>
                  <a:lnTo>
                    <a:pt x="500" y="281"/>
                  </a:lnTo>
                  <a:lnTo>
                    <a:pt x="500" y="283"/>
                  </a:lnTo>
                  <a:lnTo>
                    <a:pt x="502" y="283"/>
                  </a:lnTo>
                  <a:lnTo>
                    <a:pt x="504" y="283"/>
                  </a:lnTo>
                  <a:lnTo>
                    <a:pt x="504" y="285"/>
                  </a:lnTo>
                  <a:lnTo>
                    <a:pt x="505" y="285"/>
                  </a:lnTo>
                  <a:lnTo>
                    <a:pt x="507" y="285"/>
                  </a:lnTo>
                  <a:lnTo>
                    <a:pt x="507" y="286"/>
                  </a:lnTo>
                  <a:lnTo>
                    <a:pt x="509" y="286"/>
                  </a:lnTo>
                  <a:lnTo>
                    <a:pt x="511" y="286"/>
                  </a:lnTo>
                  <a:lnTo>
                    <a:pt x="511" y="288"/>
                  </a:lnTo>
                  <a:lnTo>
                    <a:pt x="513" y="288"/>
                  </a:lnTo>
                  <a:lnTo>
                    <a:pt x="513" y="290"/>
                  </a:lnTo>
                  <a:lnTo>
                    <a:pt x="515" y="290"/>
                  </a:lnTo>
                  <a:lnTo>
                    <a:pt x="517" y="290"/>
                  </a:lnTo>
                  <a:lnTo>
                    <a:pt x="517" y="292"/>
                  </a:lnTo>
                  <a:lnTo>
                    <a:pt x="519" y="292"/>
                  </a:lnTo>
                  <a:lnTo>
                    <a:pt x="521" y="292"/>
                  </a:lnTo>
                  <a:lnTo>
                    <a:pt x="521" y="294"/>
                  </a:lnTo>
                  <a:lnTo>
                    <a:pt x="523" y="294"/>
                  </a:lnTo>
                  <a:lnTo>
                    <a:pt x="525" y="294"/>
                  </a:lnTo>
                  <a:lnTo>
                    <a:pt x="525" y="296"/>
                  </a:lnTo>
                  <a:lnTo>
                    <a:pt x="527" y="296"/>
                  </a:lnTo>
                  <a:lnTo>
                    <a:pt x="529" y="296"/>
                  </a:lnTo>
                  <a:lnTo>
                    <a:pt x="529" y="298"/>
                  </a:lnTo>
                  <a:lnTo>
                    <a:pt x="530" y="298"/>
                  </a:lnTo>
                  <a:lnTo>
                    <a:pt x="532" y="298"/>
                  </a:lnTo>
                  <a:lnTo>
                    <a:pt x="532" y="300"/>
                  </a:lnTo>
                  <a:lnTo>
                    <a:pt x="534" y="300"/>
                  </a:lnTo>
                  <a:lnTo>
                    <a:pt x="536" y="300"/>
                  </a:lnTo>
                  <a:lnTo>
                    <a:pt x="536" y="302"/>
                  </a:lnTo>
                  <a:lnTo>
                    <a:pt x="538" y="302"/>
                  </a:lnTo>
                  <a:lnTo>
                    <a:pt x="540" y="302"/>
                  </a:lnTo>
                  <a:lnTo>
                    <a:pt x="540" y="304"/>
                  </a:lnTo>
                  <a:lnTo>
                    <a:pt x="542" y="304"/>
                  </a:lnTo>
                  <a:lnTo>
                    <a:pt x="544" y="304"/>
                  </a:lnTo>
                  <a:lnTo>
                    <a:pt x="544" y="306"/>
                  </a:lnTo>
                  <a:lnTo>
                    <a:pt x="546" y="306"/>
                  </a:lnTo>
                  <a:lnTo>
                    <a:pt x="548" y="306"/>
                  </a:lnTo>
                  <a:lnTo>
                    <a:pt x="548" y="308"/>
                  </a:lnTo>
                  <a:lnTo>
                    <a:pt x="550" y="308"/>
                  </a:lnTo>
                  <a:lnTo>
                    <a:pt x="552" y="308"/>
                  </a:lnTo>
                  <a:lnTo>
                    <a:pt x="552" y="310"/>
                  </a:lnTo>
                  <a:lnTo>
                    <a:pt x="554" y="310"/>
                  </a:lnTo>
                  <a:lnTo>
                    <a:pt x="555" y="310"/>
                  </a:lnTo>
                  <a:lnTo>
                    <a:pt x="555" y="311"/>
                  </a:lnTo>
                  <a:lnTo>
                    <a:pt x="557" y="311"/>
                  </a:lnTo>
                  <a:lnTo>
                    <a:pt x="559" y="311"/>
                  </a:lnTo>
                  <a:lnTo>
                    <a:pt x="559" y="313"/>
                  </a:lnTo>
                  <a:lnTo>
                    <a:pt x="561" y="313"/>
                  </a:lnTo>
                  <a:lnTo>
                    <a:pt x="563" y="313"/>
                  </a:lnTo>
                  <a:lnTo>
                    <a:pt x="563" y="315"/>
                  </a:lnTo>
                  <a:lnTo>
                    <a:pt x="565" y="315"/>
                  </a:lnTo>
                  <a:lnTo>
                    <a:pt x="567" y="315"/>
                  </a:lnTo>
                  <a:lnTo>
                    <a:pt x="567" y="317"/>
                  </a:lnTo>
                  <a:lnTo>
                    <a:pt x="569" y="317"/>
                  </a:lnTo>
                  <a:lnTo>
                    <a:pt x="571" y="317"/>
                  </a:lnTo>
                  <a:lnTo>
                    <a:pt x="571" y="319"/>
                  </a:lnTo>
                  <a:lnTo>
                    <a:pt x="573" y="319"/>
                  </a:lnTo>
                  <a:lnTo>
                    <a:pt x="575" y="319"/>
                  </a:lnTo>
                  <a:lnTo>
                    <a:pt x="575" y="321"/>
                  </a:lnTo>
                  <a:lnTo>
                    <a:pt x="577" y="321"/>
                  </a:lnTo>
                  <a:lnTo>
                    <a:pt x="578" y="321"/>
                  </a:lnTo>
                  <a:lnTo>
                    <a:pt x="578" y="323"/>
                  </a:lnTo>
                  <a:lnTo>
                    <a:pt x="580" y="323"/>
                  </a:lnTo>
                  <a:lnTo>
                    <a:pt x="582" y="323"/>
                  </a:lnTo>
                  <a:lnTo>
                    <a:pt x="582" y="325"/>
                  </a:lnTo>
                  <a:lnTo>
                    <a:pt x="584" y="325"/>
                  </a:lnTo>
                  <a:lnTo>
                    <a:pt x="586" y="325"/>
                  </a:lnTo>
                  <a:lnTo>
                    <a:pt x="588" y="327"/>
                  </a:lnTo>
                  <a:lnTo>
                    <a:pt x="580" y="340"/>
                  </a:lnTo>
                  <a:lnTo>
                    <a:pt x="577" y="350"/>
                  </a:lnTo>
                  <a:lnTo>
                    <a:pt x="575" y="352"/>
                  </a:lnTo>
                  <a:lnTo>
                    <a:pt x="575" y="354"/>
                  </a:lnTo>
                  <a:lnTo>
                    <a:pt x="571" y="363"/>
                  </a:lnTo>
                  <a:lnTo>
                    <a:pt x="569" y="365"/>
                  </a:lnTo>
                  <a:lnTo>
                    <a:pt x="569" y="367"/>
                  </a:lnTo>
                  <a:lnTo>
                    <a:pt x="563" y="377"/>
                  </a:lnTo>
                  <a:lnTo>
                    <a:pt x="561" y="382"/>
                  </a:lnTo>
                  <a:lnTo>
                    <a:pt x="559" y="384"/>
                  </a:lnTo>
                  <a:lnTo>
                    <a:pt x="555" y="396"/>
                  </a:lnTo>
                  <a:lnTo>
                    <a:pt x="554" y="396"/>
                  </a:lnTo>
                  <a:lnTo>
                    <a:pt x="552" y="402"/>
                  </a:lnTo>
                  <a:lnTo>
                    <a:pt x="550" y="404"/>
                  </a:lnTo>
                  <a:lnTo>
                    <a:pt x="550" y="406"/>
                  </a:lnTo>
                  <a:lnTo>
                    <a:pt x="548" y="409"/>
                  </a:lnTo>
                  <a:lnTo>
                    <a:pt x="548" y="411"/>
                  </a:lnTo>
                  <a:lnTo>
                    <a:pt x="546" y="417"/>
                  </a:lnTo>
                  <a:lnTo>
                    <a:pt x="544" y="419"/>
                  </a:lnTo>
                  <a:lnTo>
                    <a:pt x="542" y="423"/>
                  </a:lnTo>
                  <a:lnTo>
                    <a:pt x="540" y="429"/>
                  </a:lnTo>
                  <a:lnTo>
                    <a:pt x="538" y="429"/>
                  </a:lnTo>
                  <a:lnTo>
                    <a:pt x="536" y="432"/>
                  </a:lnTo>
                  <a:lnTo>
                    <a:pt x="536" y="434"/>
                  </a:lnTo>
                  <a:lnTo>
                    <a:pt x="536" y="436"/>
                  </a:lnTo>
                  <a:lnTo>
                    <a:pt x="534" y="438"/>
                  </a:lnTo>
                  <a:lnTo>
                    <a:pt x="534" y="440"/>
                  </a:lnTo>
                  <a:lnTo>
                    <a:pt x="532" y="442"/>
                  </a:lnTo>
                  <a:lnTo>
                    <a:pt x="529" y="452"/>
                  </a:lnTo>
                  <a:lnTo>
                    <a:pt x="525" y="459"/>
                  </a:lnTo>
                  <a:lnTo>
                    <a:pt x="523" y="465"/>
                  </a:lnTo>
                  <a:lnTo>
                    <a:pt x="519" y="471"/>
                  </a:lnTo>
                  <a:lnTo>
                    <a:pt x="519" y="473"/>
                  </a:lnTo>
                  <a:lnTo>
                    <a:pt x="517" y="475"/>
                  </a:lnTo>
                  <a:lnTo>
                    <a:pt x="515" y="478"/>
                  </a:lnTo>
                  <a:lnTo>
                    <a:pt x="515" y="480"/>
                  </a:lnTo>
                  <a:lnTo>
                    <a:pt x="509" y="494"/>
                  </a:lnTo>
                  <a:lnTo>
                    <a:pt x="507" y="496"/>
                  </a:lnTo>
                  <a:lnTo>
                    <a:pt x="504" y="503"/>
                  </a:lnTo>
                  <a:lnTo>
                    <a:pt x="504" y="505"/>
                  </a:lnTo>
                  <a:lnTo>
                    <a:pt x="502" y="505"/>
                  </a:lnTo>
                  <a:lnTo>
                    <a:pt x="502" y="507"/>
                  </a:lnTo>
                  <a:lnTo>
                    <a:pt x="500" y="511"/>
                  </a:lnTo>
                  <a:lnTo>
                    <a:pt x="500" y="513"/>
                  </a:lnTo>
                  <a:lnTo>
                    <a:pt x="496" y="519"/>
                  </a:lnTo>
                  <a:lnTo>
                    <a:pt x="496" y="521"/>
                  </a:lnTo>
                  <a:lnTo>
                    <a:pt x="494" y="523"/>
                  </a:lnTo>
                  <a:lnTo>
                    <a:pt x="494" y="525"/>
                  </a:lnTo>
                  <a:lnTo>
                    <a:pt x="492" y="528"/>
                  </a:lnTo>
                  <a:lnTo>
                    <a:pt x="492" y="530"/>
                  </a:lnTo>
                  <a:lnTo>
                    <a:pt x="490" y="530"/>
                  </a:lnTo>
                  <a:lnTo>
                    <a:pt x="488" y="534"/>
                  </a:lnTo>
                  <a:lnTo>
                    <a:pt x="488" y="536"/>
                  </a:lnTo>
                  <a:lnTo>
                    <a:pt x="486" y="538"/>
                  </a:lnTo>
                  <a:lnTo>
                    <a:pt x="486" y="540"/>
                  </a:lnTo>
                  <a:lnTo>
                    <a:pt x="486" y="542"/>
                  </a:lnTo>
                  <a:lnTo>
                    <a:pt x="484" y="544"/>
                  </a:lnTo>
                  <a:lnTo>
                    <a:pt x="484" y="546"/>
                  </a:lnTo>
                  <a:lnTo>
                    <a:pt x="482" y="548"/>
                  </a:lnTo>
                  <a:lnTo>
                    <a:pt x="482" y="549"/>
                  </a:lnTo>
                  <a:lnTo>
                    <a:pt x="481" y="549"/>
                  </a:lnTo>
                  <a:lnTo>
                    <a:pt x="481" y="551"/>
                  </a:lnTo>
                  <a:lnTo>
                    <a:pt x="481" y="553"/>
                  </a:lnTo>
                  <a:lnTo>
                    <a:pt x="479" y="555"/>
                  </a:lnTo>
                  <a:lnTo>
                    <a:pt x="479" y="557"/>
                  </a:lnTo>
                  <a:lnTo>
                    <a:pt x="479" y="559"/>
                  </a:lnTo>
                  <a:lnTo>
                    <a:pt x="477" y="559"/>
                  </a:lnTo>
                  <a:lnTo>
                    <a:pt x="477" y="561"/>
                  </a:lnTo>
                  <a:lnTo>
                    <a:pt x="477" y="563"/>
                  </a:lnTo>
                  <a:lnTo>
                    <a:pt x="475" y="563"/>
                  </a:lnTo>
                  <a:lnTo>
                    <a:pt x="475" y="565"/>
                  </a:lnTo>
                  <a:lnTo>
                    <a:pt x="473" y="567"/>
                  </a:lnTo>
                  <a:lnTo>
                    <a:pt x="473" y="569"/>
                  </a:lnTo>
                  <a:lnTo>
                    <a:pt x="473" y="571"/>
                  </a:lnTo>
                  <a:lnTo>
                    <a:pt x="471" y="571"/>
                  </a:lnTo>
                  <a:lnTo>
                    <a:pt x="471" y="573"/>
                  </a:lnTo>
                  <a:lnTo>
                    <a:pt x="471" y="574"/>
                  </a:lnTo>
                  <a:lnTo>
                    <a:pt x="469" y="574"/>
                  </a:lnTo>
                  <a:lnTo>
                    <a:pt x="469" y="576"/>
                  </a:lnTo>
                  <a:lnTo>
                    <a:pt x="469" y="578"/>
                  </a:lnTo>
                  <a:lnTo>
                    <a:pt x="467" y="580"/>
                  </a:lnTo>
                  <a:lnTo>
                    <a:pt x="467" y="582"/>
                  </a:lnTo>
                  <a:lnTo>
                    <a:pt x="465" y="584"/>
                  </a:lnTo>
                  <a:lnTo>
                    <a:pt x="465" y="586"/>
                  </a:lnTo>
                  <a:lnTo>
                    <a:pt x="463" y="588"/>
                  </a:lnTo>
                  <a:lnTo>
                    <a:pt x="463" y="590"/>
                  </a:lnTo>
                  <a:lnTo>
                    <a:pt x="461" y="592"/>
                  </a:lnTo>
                  <a:lnTo>
                    <a:pt x="461" y="594"/>
                  </a:lnTo>
                  <a:lnTo>
                    <a:pt x="459" y="596"/>
                  </a:lnTo>
                  <a:lnTo>
                    <a:pt x="459" y="597"/>
                  </a:lnTo>
                  <a:lnTo>
                    <a:pt x="457" y="599"/>
                  </a:lnTo>
                  <a:lnTo>
                    <a:pt x="457" y="601"/>
                  </a:lnTo>
                  <a:lnTo>
                    <a:pt x="457" y="603"/>
                  </a:lnTo>
                  <a:lnTo>
                    <a:pt x="456" y="603"/>
                  </a:lnTo>
                  <a:lnTo>
                    <a:pt x="456" y="605"/>
                  </a:lnTo>
                  <a:lnTo>
                    <a:pt x="454" y="609"/>
                  </a:lnTo>
                  <a:lnTo>
                    <a:pt x="452" y="613"/>
                  </a:lnTo>
                  <a:lnTo>
                    <a:pt x="452" y="615"/>
                  </a:lnTo>
                  <a:lnTo>
                    <a:pt x="450" y="615"/>
                  </a:lnTo>
                  <a:lnTo>
                    <a:pt x="450" y="617"/>
                  </a:lnTo>
                  <a:lnTo>
                    <a:pt x="450" y="619"/>
                  </a:lnTo>
                  <a:lnTo>
                    <a:pt x="448" y="619"/>
                  </a:lnTo>
                  <a:lnTo>
                    <a:pt x="444" y="628"/>
                  </a:lnTo>
                  <a:lnTo>
                    <a:pt x="442" y="632"/>
                  </a:lnTo>
                  <a:lnTo>
                    <a:pt x="442" y="634"/>
                  </a:lnTo>
                  <a:lnTo>
                    <a:pt x="436" y="645"/>
                  </a:lnTo>
                  <a:lnTo>
                    <a:pt x="427" y="665"/>
                  </a:lnTo>
                  <a:lnTo>
                    <a:pt x="427" y="667"/>
                  </a:lnTo>
                  <a:lnTo>
                    <a:pt x="425" y="669"/>
                  </a:lnTo>
                  <a:lnTo>
                    <a:pt x="425" y="670"/>
                  </a:lnTo>
                  <a:lnTo>
                    <a:pt x="425" y="672"/>
                  </a:lnTo>
                  <a:lnTo>
                    <a:pt x="425" y="674"/>
                  </a:lnTo>
                  <a:lnTo>
                    <a:pt x="427" y="674"/>
                  </a:lnTo>
                  <a:lnTo>
                    <a:pt x="427" y="676"/>
                  </a:lnTo>
                  <a:lnTo>
                    <a:pt x="425" y="676"/>
                  </a:lnTo>
                  <a:lnTo>
                    <a:pt x="425" y="678"/>
                  </a:lnTo>
                  <a:lnTo>
                    <a:pt x="427" y="678"/>
                  </a:lnTo>
                  <a:lnTo>
                    <a:pt x="427" y="680"/>
                  </a:lnTo>
                  <a:lnTo>
                    <a:pt x="429" y="680"/>
                  </a:lnTo>
                  <a:lnTo>
                    <a:pt x="429" y="682"/>
                  </a:lnTo>
                  <a:lnTo>
                    <a:pt x="429" y="684"/>
                  </a:lnTo>
                  <a:lnTo>
                    <a:pt x="429" y="686"/>
                  </a:lnTo>
                  <a:lnTo>
                    <a:pt x="429" y="688"/>
                  </a:lnTo>
                  <a:lnTo>
                    <a:pt x="427" y="688"/>
                  </a:lnTo>
                  <a:lnTo>
                    <a:pt x="425" y="688"/>
                  </a:lnTo>
                  <a:lnTo>
                    <a:pt x="425" y="686"/>
                  </a:lnTo>
                  <a:lnTo>
                    <a:pt x="423" y="686"/>
                  </a:lnTo>
                  <a:lnTo>
                    <a:pt x="423" y="684"/>
                  </a:lnTo>
                  <a:lnTo>
                    <a:pt x="421" y="684"/>
                  </a:lnTo>
                  <a:lnTo>
                    <a:pt x="421" y="686"/>
                  </a:lnTo>
                  <a:lnTo>
                    <a:pt x="423" y="686"/>
                  </a:lnTo>
                  <a:lnTo>
                    <a:pt x="423" y="688"/>
                  </a:lnTo>
                  <a:lnTo>
                    <a:pt x="421" y="688"/>
                  </a:lnTo>
                  <a:lnTo>
                    <a:pt x="419" y="690"/>
                  </a:lnTo>
                  <a:lnTo>
                    <a:pt x="421" y="690"/>
                  </a:lnTo>
                  <a:lnTo>
                    <a:pt x="421" y="692"/>
                  </a:lnTo>
                  <a:lnTo>
                    <a:pt x="421" y="690"/>
                  </a:lnTo>
                  <a:lnTo>
                    <a:pt x="423" y="690"/>
                  </a:lnTo>
                  <a:lnTo>
                    <a:pt x="423" y="692"/>
                  </a:lnTo>
                  <a:lnTo>
                    <a:pt x="423" y="693"/>
                  </a:lnTo>
                  <a:lnTo>
                    <a:pt x="423" y="695"/>
                  </a:lnTo>
                  <a:lnTo>
                    <a:pt x="423" y="697"/>
                  </a:lnTo>
                  <a:lnTo>
                    <a:pt x="423" y="699"/>
                  </a:lnTo>
                  <a:lnTo>
                    <a:pt x="423" y="701"/>
                  </a:lnTo>
                  <a:lnTo>
                    <a:pt x="425" y="701"/>
                  </a:lnTo>
                  <a:lnTo>
                    <a:pt x="425" y="703"/>
                  </a:lnTo>
                  <a:lnTo>
                    <a:pt x="427" y="703"/>
                  </a:lnTo>
                  <a:lnTo>
                    <a:pt x="427" y="701"/>
                  </a:lnTo>
                  <a:lnTo>
                    <a:pt x="427" y="703"/>
                  </a:lnTo>
                  <a:lnTo>
                    <a:pt x="429" y="703"/>
                  </a:lnTo>
                  <a:lnTo>
                    <a:pt x="429" y="705"/>
                  </a:lnTo>
                  <a:lnTo>
                    <a:pt x="431" y="705"/>
                  </a:lnTo>
                  <a:lnTo>
                    <a:pt x="433" y="705"/>
                  </a:lnTo>
                  <a:lnTo>
                    <a:pt x="433" y="707"/>
                  </a:lnTo>
                  <a:lnTo>
                    <a:pt x="433" y="709"/>
                  </a:lnTo>
                  <a:lnTo>
                    <a:pt x="433" y="711"/>
                  </a:lnTo>
                  <a:lnTo>
                    <a:pt x="433" y="713"/>
                  </a:lnTo>
                  <a:lnTo>
                    <a:pt x="433" y="715"/>
                  </a:lnTo>
                  <a:lnTo>
                    <a:pt x="433" y="717"/>
                  </a:lnTo>
                  <a:lnTo>
                    <a:pt x="433" y="718"/>
                  </a:lnTo>
                  <a:lnTo>
                    <a:pt x="434" y="718"/>
                  </a:lnTo>
                  <a:lnTo>
                    <a:pt x="436" y="720"/>
                  </a:lnTo>
                  <a:lnTo>
                    <a:pt x="436" y="722"/>
                  </a:lnTo>
                  <a:lnTo>
                    <a:pt x="438" y="722"/>
                  </a:lnTo>
                  <a:lnTo>
                    <a:pt x="438" y="724"/>
                  </a:lnTo>
                  <a:lnTo>
                    <a:pt x="440" y="724"/>
                  </a:lnTo>
                  <a:lnTo>
                    <a:pt x="440" y="722"/>
                  </a:lnTo>
                  <a:lnTo>
                    <a:pt x="442" y="722"/>
                  </a:lnTo>
                  <a:lnTo>
                    <a:pt x="442" y="720"/>
                  </a:lnTo>
                  <a:lnTo>
                    <a:pt x="442" y="718"/>
                  </a:lnTo>
                  <a:lnTo>
                    <a:pt x="444" y="718"/>
                  </a:lnTo>
                  <a:lnTo>
                    <a:pt x="444" y="720"/>
                  </a:lnTo>
                  <a:lnTo>
                    <a:pt x="446" y="720"/>
                  </a:lnTo>
                  <a:lnTo>
                    <a:pt x="444" y="722"/>
                  </a:lnTo>
                  <a:lnTo>
                    <a:pt x="446" y="722"/>
                  </a:lnTo>
                  <a:lnTo>
                    <a:pt x="446" y="724"/>
                  </a:lnTo>
                  <a:lnTo>
                    <a:pt x="448" y="724"/>
                  </a:lnTo>
                  <a:lnTo>
                    <a:pt x="448" y="726"/>
                  </a:lnTo>
                  <a:lnTo>
                    <a:pt x="448" y="728"/>
                  </a:lnTo>
                  <a:lnTo>
                    <a:pt x="450" y="730"/>
                  </a:lnTo>
                  <a:lnTo>
                    <a:pt x="448" y="730"/>
                  </a:lnTo>
                  <a:lnTo>
                    <a:pt x="448" y="732"/>
                  </a:lnTo>
                  <a:lnTo>
                    <a:pt x="446" y="732"/>
                  </a:lnTo>
                  <a:lnTo>
                    <a:pt x="446" y="734"/>
                  </a:lnTo>
                  <a:lnTo>
                    <a:pt x="448" y="734"/>
                  </a:lnTo>
                  <a:lnTo>
                    <a:pt x="448" y="736"/>
                  </a:lnTo>
                  <a:lnTo>
                    <a:pt x="450" y="736"/>
                  </a:lnTo>
                  <a:lnTo>
                    <a:pt x="450" y="738"/>
                  </a:lnTo>
                  <a:lnTo>
                    <a:pt x="448" y="738"/>
                  </a:lnTo>
                  <a:lnTo>
                    <a:pt x="448" y="740"/>
                  </a:lnTo>
                  <a:lnTo>
                    <a:pt x="448" y="741"/>
                  </a:lnTo>
                  <a:lnTo>
                    <a:pt x="448" y="743"/>
                  </a:lnTo>
                  <a:lnTo>
                    <a:pt x="448" y="745"/>
                  </a:lnTo>
                  <a:lnTo>
                    <a:pt x="450" y="745"/>
                  </a:lnTo>
                  <a:lnTo>
                    <a:pt x="452" y="745"/>
                  </a:lnTo>
                  <a:lnTo>
                    <a:pt x="452" y="747"/>
                  </a:lnTo>
                  <a:lnTo>
                    <a:pt x="452" y="749"/>
                  </a:lnTo>
                  <a:lnTo>
                    <a:pt x="454" y="749"/>
                  </a:lnTo>
                  <a:lnTo>
                    <a:pt x="454" y="751"/>
                  </a:lnTo>
                  <a:lnTo>
                    <a:pt x="452" y="753"/>
                  </a:lnTo>
                  <a:lnTo>
                    <a:pt x="452" y="755"/>
                  </a:lnTo>
                  <a:lnTo>
                    <a:pt x="452" y="757"/>
                  </a:lnTo>
                  <a:lnTo>
                    <a:pt x="452" y="759"/>
                  </a:lnTo>
                  <a:lnTo>
                    <a:pt x="454" y="763"/>
                  </a:lnTo>
                  <a:lnTo>
                    <a:pt x="452" y="763"/>
                  </a:lnTo>
                  <a:lnTo>
                    <a:pt x="450" y="763"/>
                  </a:lnTo>
                  <a:lnTo>
                    <a:pt x="450" y="765"/>
                  </a:lnTo>
                  <a:lnTo>
                    <a:pt x="450" y="766"/>
                  </a:lnTo>
                  <a:lnTo>
                    <a:pt x="450" y="768"/>
                  </a:lnTo>
                  <a:lnTo>
                    <a:pt x="450" y="770"/>
                  </a:lnTo>
                  <a:lnTo>
                    <a:pt x="450" y="772"/>
                  </a:lnTo>
                  <a:lnTo>
                    <a:pt x="450" y="774"/>
                  </a:lnTo>
                  <a:lnTo>
                    <a:pt x="452" y="774"/>
                  </a:lnTo>
                  <a:lnTo>
                    <a:pt x="448" y="776"/>
                  </a:lnTo>
                  <a:lnTo>
                    <a:pt x="448" y="778"/>
                  </a:lnTo>
                  <a:lnTo>
                    <a:pt x="448" y="780"/>
                  </a:lnTo>
                  <a:lnTo>
                    <a:pt x="450" y="782"/>
                  </a:lnTo>
                  <a:lnTo>
                    <a:pt x="450" y="780"/>
                  </a:lnTo>
                  <a:lnTo>
                    <a:pt x="452" y="780"/>
                  </a:lnTo>
                  <a:lnTo>
                    <a:pt x="454" y="782"/>
                  </a:lnTo>
                  <a:lnTo>
                    <a:pt x="456" y="780"/>
                  </a:lnTo>
                  <a:lnTo>
                    <a:pt x="456" y="778"/>
                  </a:lnTo>
                  <a:lnTo>
                    <a:pt x="457" y="778"/>
                  </a:lnTo>
                  <a:lnTo>
                    <a:pt x="457" y="776"/>
                  </a:lnTo>
                  <a:lnTo>
                    <a:pt x="459" y="776"/>
                  </a:lnTo>
                  <a:lnTo>
                    <a:pt x="459" y="778"/>
                  </a:lnTo>
                  <a:lnTo>
                    <a:pt x="461" y="782"/>
                  </a:lnTo>
                  <a:lnTo>
                    <a:pt x="461" y="784"/>
                  </a:lnTo>
                  <a:lnTo>
                    <a:pt x="465" y="784"/>
                  </a:lnTo>
                  <a:lnTo>
                    <a:pt x="465" y="786"/>
                  </a:lnTo>
                  <a:lnTo>
                    <a:pt x="465" y="788"/>
                  </a:lnTo>
                  <a:lnTo>
                    <a:pt x="465" y="789"/>
                  </a:lnTo>
                  <a:lnTo>
                    <a:pt x="463" y="791"/>
                  </a:lnTo>
                  <a:lnTo>
                    <a:pt x="461" y="789"/>
                  </a:lnTo>
                  <a:lnTo>
                    <a:pt x="461" y="791"/>
                  </a:lnTo>
                  <a:lnTo>
                    <a:pt x="459" y="791"/>
                  </a:lnTo>
                  <a:lnTo>
                    <a:pt x="459" y="793"/>
                  </a:lnTo>
                  <a:lnTo>
                    <a:pt x="457" y="795"/>
                  </a:lnTo>
                  <a:lnTo>
                    <a:pt x="459" y="797"/>
                  </a:lnTo>
                  <a:lnTo>
                    <a:pt x="463" y="799"/>
                  </a:lnTo>
                  <a:lnTo>
                    <a:pt x="463" y="801"/>
                  </a:lnTo>
                  <a:lnTo>
                    <a:pt x="463" y="803"/>
                  </a:lnTo>
                  <a:lnTo>
                    <a:pt x="467" y="803"/>
                  </a:lnTo>
                  <a:lnTo>
                    <a:pt x="467" y="805"/>
                  </a:lnTo>
                  <a:lnTo>
                    <a:pt x="471" y="807"/>
                  </a:lnTo>
                  <a:lnTo>
                    <a:pt x="473" y="807"/>
                  </a:lnTo>
                  <a:lnTo>
                    <a:pt x="475" y="805"/>
                  </a:lnTo>
                  <a:lnTo>
                    <a:pt x="475" y="807"/>
                  </a:lnTo>
                  <a:lnTo>
                    <a:pt x="473" y="809"/>
                  </a:lnTo>
                  <a:lnTo>
                    <a:pt x="473" y="811"/>
                  </a:lnTo>
                  <a:lnTo>
                    <a:pt x="473" y="813"/>
                  </a:lnTo>
                  <a:lnTo>
                    <a:pt x="473" y="814"/>
                  </a:lnTo>
                  <a:lnTo>
                    <a:pt x="475" y="814"/>
                  </a:lnTo>
                  <a:lnTo>
                    <a:pt x="475" y="816"/>
                  </a:lnTo>
                  <a:lnTo>
                    <a:pt x="473" y="816"/>
                  </a:lnTo>
                  <a:lnTo>
                    <a:pt x="475" y="816"/>
                  </a:lnTo>
                  <a:lnTo>
                    <a:pt x="475" y="818"/>
                  </a:lnTo>
                  <a:lnTo>
                    <a:pt x="475" y="820"/>
                  </a:lnTo>
                  <a:lnTo>
                    <a:pt x="477" y="820"/>
                  </a:lnTo>
                  <a:lnTo>
                    <a:pt x="477" y="822"/>
                  </a:lnTo>
                  <a:lnTo>
                    <a:pt x="477" y="824"/>
                  </a:lnTo>
                  <a:lnTo>
                    <a:pt x="479" y="824"/>
                  </a:lnTo>
                  <a:lnTo>
                    <a:pt x="479" y="826"/>
                  </a:lnTo>
                  <a:lnTo>
                    <a:pt x="477" y="828"/>
                  </a:lnTo>
                  <a:lnTo>
                    <a:pt x="477" y="830"/>
                  </a:lnTo>
                  <a:lnTo>
                    <a:pt x="479" y="830"/>
                  </a:lnTo>
                  <a:lnTo>
                    <a:pt x="479" y="832"/>
                  </a:lnTo>
                  <a:lnTo>
                    <a:pt x="477" y="832"/>
                  </a:lnTo>
                  <a:lnTo>
                    <a:pt x="479" y="832"/>
                  </a:lnTo>
                  <a:lnTo>
                    <a:pt x="479" y="834"/>
                  </a:lnTo>
                  <a:lnTo>
                    <a:pt x="477" y="834"/>
                  </a:lnTo>
                  <a:lnTo>
                    <a:pt x="477" y="836"/>
                  </a:lnTo>
                  <a:lnTo>
                    <a:pt x="477" y="837"/>
                  </a:lnTo>
                  <a:lnTo>
                    <a:pt x="479" y="837"/>
                  </a:lnTo>
                  <a:lnTo>
                    <a:pt x="479" y="839"/>
                  </a:lnTo>
                  <a:lnTo>
                    <a:pt x="481" y="839"/>
                  </a:lnTo>
                  <a:lnTo>
                    <a:pt x="482" y="839"/>
                  </a:lnTo>
                  <a:lnTo>
                    <a:pt x="482" y="837"/>
                  </a:lnTo>
                  <a:lnTo>
                    <a:pt x="484" y="837"/>
                  </a:lnTo>
                  <a:lnTo>
                    <a:pt x="484" y="836"/>
                  </a:lnTo>
                  <a:lnTo>
                    <a:pt x="486" y="836"/>
                  </a:lnTo>
                  <a:lnTo>
                    <a:pt x="488" y="836"/>
                  </a:lnTo>
                  <a:lnTo>
                    <a:pt x="488" y="837"/>
                  </a:lnTo>
                  <a:lnTo>
                    <a:pt x="490" y="837"/>
                  </a:lnTo>
                  <a:lnTo>
                    <a:pt x="488" y="837"/>
                  </a:lnTo>
                  <a:lnTo>
                    <a:pt x="488" y="839"/>
                  </a:lnTo>
                  <a:lnTo>
                    <a:pt x="488" y="841"/>
                  </a:lnTo>
                  <a:lnTo>
                    <a:pt x="490" y="841"/>
                  </a:lnTo>
                  <a:lnTo>
                    <a:pt x="490" y="843"/>
                  </a:lnTo>
                  <a:lnTo>
                    <a:pt x="488" y="843"/>
                  </a:lnTo>
                  <a:lnTo>
                    <a:pt x="488" y="845"/>
                  </a:lnTo>
                  <a:lnTo>
                    <a:pt x="488" y="847"/>
                  </a:lnTo>
                  <a:lnTo>
                    <a:pt x="490" y="847"/>
                  </a:lnTo>
                  <a:lnTo>
                    <a:pt x="490" y="849"/>
                  </a:lnTo>
                  <a:lnTo>
                    <a:pt x="490" y="851"/>
                  </a:lnTo>
                  <a:lnTo>
                    <a:pt x="490" y="853"/>
                  </a:lnTo>
                  <a:lnTo>
                    <a:pt x="490" y="855"/>
                  </a:lnTo>
                  <a:lnTo>
                    <a:pt x="492" y="855"/>
                  </a:lnTo>
                  <a:lnTo>
                    <a:pt x="492" y="857"/>
                  </a:lnTo>
                  <a:lnTo>
                    <a:pt x="492" y="859"/>
                  </a:lnTo>
                  <a:lnTo>
                    <a:pt x="492" y="861"/>
                  </a:lnTo>
                  <a:lnTo>
                    <a:pt x="494" y="861"/>
                  </a:lnTo>
                  <a:lnTo>
                    <a:pt x="494" y="862"/>
                  </a:lnTo>
                  <a:lnTo>
                    <a:pt x="494" y="864"/>
                  </a:lnTo>
                  <a:lnTo>
                    <a:pt x="492" y="864"/>
                  </a:lnTo>
                  <a:lnTo>
                    <a:pt x="492" y="866"/>
                  </a:lnTo>
                  <a:lnTo>
                    <a:pt x="492" y="868"/>
                  </a:lnTo>
                  <a:lnTo>
                    <a:pt x="492" y="870"/>
                  </a:lnTo>
                  <a:lnTo>
                    <a:pt x="492" y="872"/>
                  </a:lnTo>
                  <a:lnTo>
                    <a:pt x="494" y="872"/>
                  </a:lnTo>
                  <a:lnTo>
                    <a:pt x="494" y="874"/>
                  </a:lnTo>
                  <a:lnTo>
                    <a:pt x="496" y="874"/>
                  </a:lnTo>
                  <a:lnTo>
                    <a:pt x="494" y="874"/>
                  </a:lnTo>
                  <a:lnTo>
                    <a:pt x="494" y="876"/>
                  </a:lnTo>
                  <a:lnTo>
                    <a:pt x="496" y="876"/>
                  </a:lnTo>
                  <a:lnTo>
                    <a:pt x="498" y="878"/>
                  </a:lnTo>
                  <a:lnTo>
                    <a:pt x="498" y="880"/>
                  </a:lnTo>
                  <a:lnTo>
                    <a:pt x="500" y="880"/>
                  </a:lnTo>
                  <a:lnTo>
                    <a:pt x="498" y="880"/>
                  </a:lnTo>
                  <a:lnTo>
                    <a:pt x="498" y="882"/>
                  </a:lnTo>
                  <a:lnTo>
                    <a:pt x="496" y="882"/>
                  </a:lnTo>
                  <a:lnTo>
                    <a:pt x="496" y="884"/>
                  </a:lnTo>
                  <a:lnTo>
                    <a:pt x="498" y="884"/>
                  </a:lnTo>
                  <a:lnTo>
                    <a:pt x="496" y="884"/>
                  </a:lnTo>
                  <a:lnTo>
                    <a:pt x="496" y="885"/>
                  </a:lnTo>
                  <a:lnTo>
                    <a:pt x="498" y="885"/>
                  </a:lnTo>
                  <a:lnTo>
                    <a:pt x="498" y="887"/>
                  </a:lnTo>
                  <a:lnTo>
                    <a:pt x="498" y="889"/>
                  </a:lnTo>
                  <a:lnTo>
                    <a:pt x="500" y="889"/>
                  </a:lnTo>
                  <a:lnTo>
                    <a:pt x="498" y="889"/>
                  </a:lnTo>
                  <a:lnTo>
                    <a:pt x="500" y="889"/>
                  </a:lnTo>
                  <a:lnTo>
                    <a:pt x="502" y="889"/>
                  </a:lnTo>
                  <a:lnTo>
                    <a:pt x="502" y="891"/>
                  </a:lnTo>
                  <a:lnTo>
                    <a:pt x="504" y="891"/>
                  </a:lnTo>
                  <a:lnTo>
                    <a:pt x="505" y="891"/>
                  </a:lnTo>
                  <a:lnTo>
                    <a:pt x="504" y="891"/>
                  </a:lnTo>
                  <a:lnTo>
                    <a:pt x="504" y="893"/>
                  </a:lnTo>
                  <a:lnTo>
                    <a:pt x="504" y="895"/>
                  </a:lnTo>
                  <a:lnTo>
                    <a:pt x="505" y="895"/>
                  </a:lnTo>
                  <a:lnTo>
                    <a:pt x="505" y="897"/>
                  </a:lnTo>
                  <a:lnTo>
                    <a:pt x="507" y="897"/>
                  </a:lnTo>
                  <a:lnTo>
                    <a:pt x="507" y="899"/>
                  </a:lnTo>
                  <a:lnTo>
                    <a:pt x="507" y="901"/>
                  </a:lnTo>
                  <a:lnTo>
                    <a:pt x="507" y="903"/>
                  </a:lnTo>
                  <a:lnTo>
                    <a:pt x="507" y="905"/>
                  </a:lnTo>
                  <a:lnTo>
                    <a:pt x="505" y="905"/>
                  </a:lnTo>
                  <a:lnTo>
                    <a:pt x="504" y="905"/>
                  </a:lnTo>
                  <a:lnTo>
                    <a:pt x="504" y="907"/>
                  </a:lnTo>
                  <a:lnTo>
                    <a:pt x="504" y="909"/>
                  </a:lnTo>
                  <a:lnTo>
                    <a:pt x="505" y="907"/>
                  </a:lnTo>
                  <a:lnTo>
                    <a:pt x="505" y="909"/>
                  </a:lnTo>
                  <a:lnTo>
                    <a:pt x="505" y="910"/>
                  </a:lnTo>
                  <a:lnTo>
                    <a:pt x="507" y="912"/>
                  </a:lnTo>
                  <a:lnTo>
                    <a:pt x="505" y="912"/>
                  </a:lnTo>
                  <a:lnTo>
                    <a:pt x="507" y="912"/>
                  </a:lnTo>
                  <a:lnTo>
                    <a:pt x="507" y="914"/>
                  </a:lnTo>
                  <a:lnTo>
                    <a:pt x="509" y="914"/>
                  </a:lnTo>
                  <a:lnTo>
                    <a:pt x="509" y="916"/>
                  </a:lnTo>
                  <a:lnTo>
                    <a:pt x="509" y="918"/>
                  </a:lnTo>
                  <a:lnTo>
                    <a:pt x="511" y="918"/>
                  </a:lnTo>
                  <a:lnTo>
                    <a:pt x="513" y="918"/>
                  </a:lnTo>
                  <a:lnTo>
                    <a:pt x="513" y="920"/>
                  </a:lnTo>
                  <a:lnTo>
                    <a:pt x="513" y="922"/>
                  </a:lnTo>
                  <a:lnTo>
                    <a:pt x="513" y="924"/>
                  </a:lnTo>
                  <a:lnTo>
                    <a:pt x="511" y="924"/>
                  </a:lnTo>
                  <a:lnTo>
                    <a:pt x="511" y="926"/>
                  </a:lnTo>
                  <a:lnTo>
                    <a:pt x="511" y="928"/>
                  </a:lnTo>
                  <a:lnTo>
                    <a:pt x="513" y="928"/>
                  </a:lnTo>
                  <a:lnTo>
                    <a:pt x="513" y="930"/>
                  </a:lnTo>
                  <a:lnTo>
                    <a:pt x="511" y="930"/>
                  </a:lnTo>
                  <a:lnTo>
                    <a:pt x="513" y="932"/>
                  </a:lnTo>
                  <a:lnTo>
                    <a:pt x="513" y="930"/>
                  </a:lnTo>
                  <a:lnTo>
                    <a:pt x="515" y="930"/>
                  </a:lnTo>
                  <a:lnTo>
                    <a:pt x="517" y="930"/>
                  </a:lnTo>
                  <a:lnTo>
                    <a:pt x="517" y="932"/>
                  </a:lnTo>
                  <a:lnTo>
                    <a:pt x="517" y="930"/>
                  </a:lnTo>
                  <a:lnTo>
                    <a:pt x="519" y="930"/>
                  </a:lnTo>
                  <a:lnTo>
                    <a:pt x="519" y="932"/>
                  </a:lnTo>
                  <a:lnTo>
                    <a:pt x="521" y="932"/>
                  </a:lnTo>
                  <a:lnTo>
                    <a:pt x="521" y="933"/>
                  </a:lnTo>
                  <a:lnTo>
                    <a:pt x="521" y="935"/>
                  </a:lnTo>
                  <a:lnTo>
                    <a:pt x="521" y="937"/>
                  </a:lnTo>
                  <a:lnTo>
                    <a:pt x="521" y="939"/>
                  </a:lnTo>
                  <a:lnTo>
                    <a:pt x="523" y="939"/>
                  </a:lnTo>
                  <a:lnTo>
                    <a:pt x="523" y="941"/>
                  </a:lnTo>
                  <a:lnTo>
                    <a:pt x="523" y="943"/>
                  </a:lnTo>
                  <a:lnTo>
                    <a:pt x="523" y="945"/>
                  </a:lnTo>
                  <a:lnTo>
                    <a:pt x="525" y="945"/>
                  </a:lnTo>
                  <a:lnTo>
                    <a:pt x="525" y="947"/>
                  </a:lnTo>
                  <a:lnTo>
                    <a:pt x="523" y="947"/>
                  </a:lnTo>
                  <a:lnTo>
                    <a:pt x="525" y="947"/>
                  </a:lnTo>
                  <a:lnTo>
                    <a:pt x="525" y="949"/>
                  </a:lnTo>
                  <a:lnTo>
                    <a:pt x="523" y="949"/>
                  </a:lnTo>
                  <a:lnTo>
                    <a:pt x="523" y="951"/>
                  </a:lnTo>
                  <a:lnTo>
                    <a:pt x="525" y="951"/>
                  </a:lnTo>
                  <a:lnTo>
                    <a:pt x="523" y="951"/>
                  </a:lnTo>
                  <a:lnTo>
                    <a:pt x="525" y="951"/>
                  </a:lnTo>
                  <a:lnTo>
                    <a:pt x="525" y="953"/>
                  </a:lnTo>
                  <a:lnTo>
                    <a:pt x="523" y="953"/>
                  </a:lnTo>
                  <a:lnTo>
                    <a:pt x="523" y="955"/>
                  </a:lnTo>
                  <a:lnTo>
                    <a:pt x="523" y="957"/>
                  </a:lnTo>
                  <a:lnTo>
                    <a:pt x="523" y="958"/>
                  </a:lnTo>
                  <a:lnTo>
                    <a:pt x="523" y="960"/>
                  </a:lnTo>
                  <a:lnTo>
                    <a:pt x="523" y="962"/>
                  </a:lnTo>
                  <a:lnTo>
                    <a:pt x="521" y="962"/>
                  </a:lnTo>
                  <a:lnTo>
                    <a:pt x="521" y="964"/>
                  </a:lnTo>
                  <a:lnTo>
                    <a:pt x="523" y="964"/>
                  </a:lnTo>
                  <a:lnTo>
                    <a:pt x="521" y="964"/>
                  </a:lnTo>
                  <a:lnTo>
                    <a:pt x="523" y="964"/>
                  </a:lnTo>
                  <a:lnTo>
                    <a:pt x="523" y="966"/>
                  </a:lnTo>
                  <a:lnTo>
                    <a:pt x="523" y="968"/>
                  </a:lnTo>
                  <a:lnTo>
                    <a:pt x="523" y="970"/>
                  </a:lnTo>
                  <a:lnTo>
                    <a:pt x="521" y="970"/>
                  </a:lnTo>
                  <a:lnTo>
                    <a:pt x="521" y="972"/>
                  </a:lnTo>
                  <a:lnTo>
                    <a:pt x="519" y="972"/>
                  </a:lnTo>
                  <a:lnTo>
                    <a:pt x="519" y="974"/>
                  </a:lnTo>
                  <a:lnTo>
                    <a:pt x="519" y="976"/>
                  </a:lnTo>
                  <a:lnTo>
                    <a:pt x="517" y="976"/>
                  </a:lnTo>
                  <a:lnTo>
                    <a:pt x="519" y="978"/>
                  </a:lnTo>
                  <a:lnTo>
                    <a:pt x="519" y="980"/>
                  </a:lnTo>
                  <a:lnTo>
                    <a:pt x="519" y="981"/>
                  </a:lnTo>
                  <a:lnTo>
                    <a:pt x="517" y="981"/>
                  </a:lnTo>
                  <a:lnTo>
                    <a:pt x="517" y="983"/>
                  </a:lnTo>
                  <a:lnTo>
                    <a:pt x="517" y="985"/>
                  </a:lnTo>
                  <a:lnTo>
                    <a:pt x="517" y="987"/>
                  </a:lnTo>
                  <a:lnTo>
                    <a:pt x="515" y="987"/>
                  </a:lnTo>
                  <a:lnTo>
                    <a:pt x="513" y="989"/>
                  </a:lnTo>
                  <a:lnTo>
                    <a:pt x="515" y="989"/>
                  </a:lnTo>
                  <a:lnTo>
                    <a:pt x="513" y="989"/>
                  </a:lnTo>
                  <a:lnTo>
                    <a:pt x="513" y="991"/>
                  </a:lnTo>
                  <a:lnTo>
                    <a:pt x="511" y="991"/>
                  </a:lnTo>
                  <a:lnTo>
                    <a:pt x="509" y="991"/>
                  </a:lnTo>
                  <a:lnTo>
                    <a:pt x="509" y="993"/>
                  </a:lnTo>
                  <a:lnTo>
                    <a:pt x="509" y="995"/>
                  </a:lnTo>
                  <a:lnTo>
                    <a:pt x="509" y="997"/>
                  </a:lnTo>
                  <a:lnTo>
                    <a:pt x="511" y="997"/>
                  </a:lnTo>
                  <a:lnTo>
                    <a:pt x="513" y="997"/>
                  </a:lnTo>
                  <a:lnTo>
                    <a:pt x="513" y="999"/>
                  </a:lnTo>
                  <a:lnTo>
                    <a:pt x="513" y="997"/>
                  </a:lnTo>
                  <a:lnTo>
                    <a:pt x="515" y="997"/>
                  </a:lnTo>
                  <a:lnTo>
                    <a:pt x="515" y="999"/>
                  </a:lnTo>
                  <a:lnTo>
                    <a:pt x="515" y="1001"/>
                  </a:lnTo>
                  <a:lnTo>
                    <a:pt x="513" y="1001"/>
                  </a:lnTo>
                  <a:lnTo>
                    <a:pt x="513" y="1003"/>
                  </a:lnTo>
                  <a:lnTo>
                    <a:pt x="511" y="1003"/>
                  </a:lnTo>
                  <a:lnTo>
                    <a:pt x="511" y="1004"/>
                  </a:lnTo>
                  <a:lnTo>
                    <a:pt x="511" y="1006"/>
                  </a:lnTo>
                  <a:lnTo>
                    <a:pt x="511" y="1008"/>
                  </a:lnTo>
                  <a:lnTo>
                    <a:pt x="513" y="1008"/>
                  </a:lnTo>
                  <a:lnTo>
                    <a:pt x="513" y="1010"/>
                  </a:lnTo>
                  <a:lnTo>
                    <a:pt x="513" y="1012"/>
                  </a:lnTo>
                  <a:lnTo>
                    <a:pt x="513" y="1014"/>
                  </a:lnTo>
                  <a:lnTo>
                    <a:pt x="513" y="1016"/>
                  </a:lnTo>
                  <a:lnTo>
                    <a:pt x="513" y="1018"/>
                  </a:lnTo>
                  <a:lnTo>
                    <a:pt x="515" y="1018"/>
                  </a:lnTo>
                  <a:lnTo>
                    <a:pt x="515" y="1020"/>
                  </a:lnTo>
                  <a:lnTo>
                    <a:pt x="513" y="1020"/>
                  </a:lnTo>
                  <a:lnTo>
                    <a:pt x="513" y="1022"/>
                  </a:lnTo>
                  <a:lnTo>
                    <a:pt x="515" y="1022"/>
                  </a:lnTo>
                  <a:lnTo>
                    <a:pt x="517" y="1022"/>
                  </a:lnTo>
                  <a:lnTo>
                    <a:pt x="517" y="1024"/>
                  </a:lnTo>
                  <a:lnTo>
                    <a:pt x="519" y="1024"/>
                  </a:lnTo>
                  <a:lnTo>
                    <a:pt x="519" y="1026"/>
                  </a:lnTo>
                  <a:lnTo>
                    <a:pt x="519" y="1024"/>
                  </a:lnTo>
                  <a:lnTo>
                    <a:pt x="521" y="1024"/>
                  </a:lnTo>
                  <a:lnTo>
                    <a:pt x="521" y="1026"/>
                  </a:lnTo>
                  <a:lnTo>
                    <a:pt x="521" y="1028"/>
                  </a:lnTo>
                  <a:lnTo>
                    <a:pt x="523" y="1028"/>
                  </a:lnTo>
                  <a:lnTo>
                    <a:pt x="521" y="1028"/>
                  </a:lnTo>
                  <a:lnTo>
                    <a:pt x="521" y="1029"/>
                  </a:lnTo>
                  <a:lnTo>
                    <a:pt x="521" y="1031"/>
                  </a:lnTo>
                  <a:lnTo>
                    <a:pt x="521" y="1033"/>
                  </a:lnTo>
                  <a:lnTo>
                    <a:pt x="523" y="1033"/>
                  </a:lnTo>
                  <a:lnTo>
                    <a:pt x="523" y="1035"/>
                  </a:lnTo>
                  <a:lnTo>
                    <a:pt x="523" y="1037"/>
                  </a:lnTo>
                  <a:lnTo>
                    <a:pt x="521" y="1037"/>
                  </a:lnTo>
                  <a:lnTo>
                    <a:pt x="519" y="1037"/>
                  </a:lnTo>
                  <a:lnTo>
                    <a:pt x="517" y="1035"/>
                  </a:lnTo>
                  <a:lnTo>
                    <a:pt x="513" y="1035"/>
                  </a:lnTo>
                  <a:lnTo>
                    <a:pt x="511" y="1033"/>
                  </a:lnTo>
                  <a:lnTo>
                    <a:pt x="509" y="1033"/>
                  </a:lnTo>
                  <a:lnTo>
                    <a:pt x="507" y="1033"/>
                  </a:lnTo>
                  <a:lnTo>
                    <a:pt x="505" y="1031"/>
                  </a:lnTo>
                  <a:lnTo>
                    <a:pt x="502" y="1029"/>
                  </a:lnTo>
                  <a:lnTo>
                    <a:pt x="500" y="1029"/>
                  </a:lnTo>
                  <a:lnTo>
                    <a:pt x="498" y="1029"/>
                  </a:lnTo>
                  <a:lnTo>
                    <a:pt x="496" y="1029"/>
                  </a:lnTo>
                  <a:lnTo>
                    <a:pt x="496" y="1028"/>
                  </a:lnTo>
                  <a:lnTo>
                    <a:pt x="494" y="1028"/>
                  </a:lnTo>
                  <a:lnTo>
                    <a:pt x="492" y="1026"/>
                  </a:lnTo>
                  <a:lnTo>
                    <a:pt x="490" y="1026"/>
                  </a:lnTo>
                  <a:lnTo>
                    <a:pt x="488" y="1026"/>
                  </a:lnTo>
                  <a:lnTo>
                    <a:pt x="486" y="1026"/>
                  </a:lnTo>
                  <a:lnTo>
                    <a:pt x="486" y="1024"/>
                  </a:lnTo>
                  <a:lnTo>
                    <a:pt x="484" y="1024"/>
                  </a:lnTo>
                  <a:lnTo>
                    <a:pt x="482" y="1024"/>
                  </a:lnTo>
                  <a:lnTo>
                    <a:pt x="481" y="1022"/>
                  </a:lnTo>
                  <a:lnTo>
                    <a:pt x="479" y="1022"/>
                  </a:lnTo>
                  <a:lnTo>
                    <a:pt x="477" y="1022"/>
                  </a:lnTo>
                  <a:lnTo>
                    <a:pt x="477" y="1020"/>
                  </a:lnTo>
                  <a:lnTo>
                    <a:pt x="475" y="1020"/>
                  </a:lnTo>
                  <a:lnTo>
                    <a:pt x="473" y="1020"/>
                  </a:lnTo>
                  <a:lnTo>
                    <a:pt x="469" y="1018"/>
                  </a:lnTo>
                  <a:lnTo>
                    <a:pt x="467" y="1018"/>
                  </a:lnTo>
                  <a:lnTo>
                    <a:pt x="467" y="1016"/>
                  </a:lnTo>
                  <a:lnTo>
                    <a:pt x="465" y="1016"/>
                  </a:lnTo>
                  <a:lnTo>
                    <a:pt x="463" y="1016"/>
                  </a:lnTo>
                  <a:lnTo>
                    <a:pt x="461" y="1014"/>
                  </a:lnTo>
                  <a:lnTo>
                    <a:pt x="459" y="1014"/>
                  </a:lnTo>
                  <a:lnTo>
                    <a:pt x="457" y="1012"/>
                  </a:lnTo>
                  <a:lnTo>
                    <a:pt x="456" y="1012"/>
                  </a:lnTo>
                  <a:lnTo>
                    <a:pt x="454" y="1012"/>
                  </a:lnTo>
                  <a:lnTo>
                    <a:pt x="450" y="1010"/>
                  </a:lnTo>
                  <a:lnTo>
                    <a:pt x="448" y="1010"/>
                  </a:lnTo>
                  <a:lnTo>
                    <a:pt x="448" y="1008"/>
                  </a:lnTo>
                  <a:lnTo>
                    <a:pt x="446" y="1008"/>
                  </a:lnTo>
                  <a:lnTo>
                    <a:pt x="442" y="1008"/>
                  </a:lnTo>
                  <a:lnTo>
                    <a:pt x="440" y="1006"/>
                  </a:lnTo>
                  <a:lnTo>
                    <a:pt x="436" y="1004"/>
                  </a:lnTo>
                  <a:lnTo>
                    <a:pt x="434" y="1004"/>
                  </a:lnTo>
                  <a:lnTo>
                    <a:pt x="433" y="1003"/>
                  </a:lnTo>
                  <a:lnTo>
                    <a:pt x="431" y="1003"/>
                  </a:lnTo>
                  <a:lnTo>
                    <a:pt x="429" y="1003"/>
                  </a:lnTo>
                  <a:lnTo>
                    <a:pt x="429" y="1001"/>
                  </a:lnTo>
                  <a:lnTo>
                    <a:pt x="425" y="1001"/>
                  </a:lnTo>
                  <a:lnTo>
                    <a:pt x="421" y="999"/>
                  </a:lnTo>
                  <a:lnTo>
                    <a:pt x="419" y="997"/>
                  </a:lnTo>
                  <a:lnTo>
                    <a:pt x="415" y="997"/>
                  </a:lnTo>
                  <a:lnTo>
                    <a:pt x="413" y="995"/>
                  </a:lnTo>
                  <a:lnTo>
                    <a:pt x="411" y="995"/>
                  </a:lnTo>
                  <a:lnTo>
                    <a:pt x="409" y="995"/>
                  </a:lnTo>
                  <a:lnTo>
                    <a:pt x="409" y="993"/>
                  </a:lnTo>
                  <a:lnTo>
                    <a:pt x="408" y="993"/>
                  </a:lnTo>
                  <a:lnTo>
                    <a:pt x="404" y="991"/>
                  </a:lnTo>
                  <a:lnTo>
                    <a:pt x="402" y="991"/>
                  </a:lnTo>
                  <a:lnTo>
                    <a:pt x="398" y="989"/>
                  </a:lnTo>
                  <a:lnTo>
                    <a:pt x="396" y="989"/>
                  </a:lnTo>
                  <a:lnTo>
                    <a:pt x="396" y="987"/>
                  </a:lnTo>
                  <a:lnTo>
                    <a:pt x="394" y="987"/>
                  </a:lnTo>
                  <a:lnTo>
                    <a:pt x="392" y="987"/>
                  </a:lnTo>
                  <a:lnTo>
                    <a:pt x="390" y="985"/>
                  </a:lnTo>
                  <a:lnTo>
                    <a:pt x="388" y="985"/>
                  </a:lnTo>
                  <a:lnTo>
                    <a:pt x="386" y="983"/>
                  </a:lnTo>
                  <a:lnTo>
                    <a:pt x="385" y="983"/>
                  </a:lnTo>
                  <a:lnTo>
                    <a:pt x="383" y="983"/>
                  </a:lnTo>
                  <a:lnTo>
                    <a:pt x="381" y="981"/>
                  </a:lnTo>
                  <a:lnTo>
                    <a:pt x="379" y="981"/>
                  </a:lnTo>
                  <a:lnTo>
                    <a:pt x="377" y="980"/>
                  </a:lnTo>
                  <a:lnTo>
                    <a:pt x="375" y="980"/>
                  </a:lnTo>
                  <a:lnTo>
                    <a:pt x="373" y="980"/>
                  </a:lnTo>
                  <a:lnTo>
                    <a:pt x="373" y="978"/>
                  </a:lnTo>
                  <a:lnTo>
                    <a:pt x="371" y="978"/>
                  </a:lnTo>
                  <a:lnTo>
                    <a:pt x="369" y="978"/>
                  </a:lnTo>
                  <a:lnTo>
                    <a:pt x="369" y="976"/>
                  </a:lnTo>
                  <a:lnTo>
                    <a:pt x="367" y="976"/>
                  </a:lnTo>
                  <a:lnTo>
                    <a:pt x="365" y="976"/>
                  </a:lnTo>
                  <a:lnTo>
                    <a:pt x="363" y="974"/>
                  </a:lnTo>
                  <a:lnTo>
                    <a:pt x="361" y="974"/>
                  </a:lnTo>
                  <a:lnTo>
                    <a:pt x="360" y="974"/>
                  </a:lnTo>
                  <a:lnTo>
                    <a:pt x="360" y="972"/>
                  </a:lnTo>
                  <a:lnTo>
                    <a:pt x="358" y="972"/>
                  </a:lnTo>
                  <a:lnTo>
                    <a:pt x="356" y="972"/>
                  </a:lnTo>
                  <a:lnTo>
                    <a:pt x="356" y="970"/>
                  </a:lnTo>
                  <a:lnTo>
                    <a:pt x="354" y="970"/>
                  </a:lnTo>
                  <a:lnTo>
                    <a:pt x="352" y="970"/>
                  </a:lnTo>
                  <a:lnTo>
                    <a:pt x="352" y="968"/>
                  </a:lnTo>
                  <a:lnTo>
                    <a:pt x="350" y="968"/>
                  </a:lnTo>
                  <a:lnTo>
                    <a:pt x="348" y="968"/>
                  </a:lnTo>
                  <a:lnTo>
                    <a:pt x="346" y="966"/>
                  </a:lnTo>
                  <a:lnTo>
                    <a:pt x="344" y="966"/>
                  </a:lnTo>
                  <a:lnTo>
                    <a:pt x="342" y="964"/>
                  </a:lnTo>
                  <a:lnTo>
                    <a:pt x="340" y="964"/>
                  </a:lnTo>
                  <a:lnTo>
                    <a:pt x="338" y="964"/>
                  </a:lnTo>
                  <a:lnTo>
                    <a:pt x="338" y="962"/>
                  </a:lnTo>
                  <a:lnTo>
                    <a:pt x="337" y="962"/>
                  </a:lnTo>
                  <a:lnTo>
                    <a:pt x="335" y="962"/>
                  </a:lnTo>
                  <a:lnTo>
                    <a:pt x="335" y="960"/>
                  </a:lnTo>
                  <a:lnTo>
                    <a:pt x="333" y="960"/>
                  </a:lnTo>
                  <a:lnTo>
                    <a:pt x="331" y="958"/>
                  </a:lnTo>
                  <a:lnTo>
                    <a:pt x="329" y="958"/>
                  </a:lnTo>
                  <a:lnTo>
                    <a:pt x="327" y="958"/>
                  </a:lnTo>
                  <a:lnTo>
                    <a:pt x="327" y="957"/>
                  </a:lnTo>
                  <a:lnTo>
                    <a:pt x="323" y="957"/>
                  </a:lnTo>
                  <a:lnTo>
                    <a:pt x="321" y="957"/>
                  </a:lnTo>
                  <a:lnTo>
                    <a:pt x="317" y="953"/>
                  </a:lnTo>
                  <a:lnTo>
                    <a:pt x="315" y="953"/>
                  </a:lnTo>
                  <a:lnTo>
                    <a:pt x="313" y="953"/>
                  </a:lnTo>
                  <a:lnTo>
                    <a:pt x="313" y="951"/>
                  </a:lnTo>
                  <a:lnTo>
                    <a:pt x="312" y="951"/>
                  </a:lnTo>
                  <a:lnTo>
                    <a:pt x="310" y="949"/>
                  </a:lnTo>
                  <a:lnTo>
                    <a:pt x="308" y="949"/>
                  </a:lnTo>
                  <a:lnTo>
                    <a:pt x="306" y="949"/>
                  </a:lnTo>
                  <a:lnTo>
                    <a:pt x="306" y="947"/>
                  </a:lnTo>
                  <a:lnTo>
                    <a:pt x="304" y="947"/>
                  </a:lnTo>
                  <a:lnTo>
                    <a:pt x="302" y="947"/>
                  </a:lnTo>
                  <a:lnTo>
                    <a:pt x="300" y="945"/>
                  </a:lnTo>
                  <a:lnTo>
                    <a:pt x="298" y="945"/>
                  </a:lnTo>
                  <a:lnTo>
                    <a:pt x="296" y="943"/>
                  </a:lnTo>
                  <a:lnTo>
                    <a:pt x="294" y="943"/>
                  </a:lnTo>
                  <a:lnTo>
                    <a:pt x="292" y="941"/>
                  </a:lnTo>
                  <a:lnTo>
                    <a:pt x="287" y="939"/>
                  </a:lnTo>
                  <a:lnTo>
                    <a:pt x="285" y="939"/>
                  </a:lnTo>
                  <a:lnTo>
                    <a:pt x="285" y="937"/>
                  </a:lnTo>
                  <a:lnTo>
                    <a:pt x="283" y="937"/>
                  </a:lnTo>
                  <a:lnTo>
                    <a:pt x="281" y="937"/>
                  </a:lnTo>
                  <a:lnTo>
                    <a:pt x="281" y="935"/>
                  </a:lnTo>
                  <a:lnTo>
                    <a:pt x="279" y="935"/>
                  </a:lnTo>
                  <a:lnTo>
                    <a:pt x="277" y="935"/>
                  </a:lnTo>
                  <a:lnTo>
                    <a:pt x="277" y="933"/>
                  </a:lnTo>
                  <a:lnTo>
                    <a:pt x="275" y="933"/>
                  </a:lnTo>
                  <a:lnTo>
                    <a:pt x="273" y="932"/>
                  </a:lnTo>
                  <a:lnTo>
                    <a:pt x="269" y="932"/>
                  </a:lnTo>
                  <a:lnTo>
                    <a:pt x="269" y="930"/>
                  </a:lnTo>
                  <a:lnTo>
                    <a:pt x="267" y="930"/>
                  </a:lnTo>
                  <a:lnTo>
                    <a:pt x="265" y="930"/>
                  </a:lnTo>
                  <a:lnTo>
                    <a:pt x="264" y="928"/>
                  </a:lnTo>
                  <a:lnTo>
                    <a:pt x="258" y="926"/>
                  </a:lnTo>
                  <a:lnTo>
                    <a:pt x="256" y="924"/>
                  </a:lnTo>
                  <a:lnTo>
                    <a:pt x="254" y="924"/>
                  </a:lnTo>
                  <a:lnTo>
                    <a:pt x="250" y="922"/>
                  </a:lnTo>
                  <a:lnTo>
                    <a:pt x="248" y="920"/>
                  </a:lnTo>
                  <a:lnTo>
                    <a:pt x="240" y="916"/>
                  </a:lnTo>
                  <a:lnTo>
                    <a:pt x="239" y="916"/>
                  </a:lnTo>
                  <a:lnTo>
                    <a:pt x="235" y="914"/>
                  </a:lnTo>
                  <a:lnTo>
                    <a:pt x="231" y="910"/>
                  </a:lnTo>
                  <a:lnTo>
                    <a:pt x="227" y="909"/>
                  </a:lnTo>
                  <a:lnTo>
                    <a:pt x="225" y="909"/>
                  </a:lnTo>
                  <a:lnTo>
                    <a:pt x="223" y="909"/>
                  </a:lnTo>
                  <a:lnTo>
                    <a:pt x="221" y="907"/>
                  </a:lnTo>
                  <a:lnTo>
                    <a:pt x="217" y="905"/>
                  </a:lnTo>
                  <a:lnTo>
                    <a:pt x="216" y="905"/>
                  </a:lnTo>
                  <a:lnTo>
                    <a:pt x="216" y="903"/>
                  </a:lnTo>
                  <a:lnTo>
                    <a:pt x="214" y="903"/>
                  </a:lnTo>
                  <a:lnTo>
                    <a:pt x="212" y="903"/>
                  </a:lnTo>
                  <a:lnTo>
                    <a:pt x="212" y="901"/>
                  </a:lnTo>
                  <a:lnTo>
                    <a:pt x="210" y="901"/>
                  </a:lnTo>
                  <a:lnTo>
                    <a:pt x="208" y="901"/>
                  </a:lnTo>
                  <a:lnTo>
                    <a:pt x="208" y="899"/>
                  </a:lnTo>
                  <a:lnTo>
                    <a:pt x="206" y="899"/>
                  </a:lnTo>
                  <a:lnTo>
                    <a:pt x="204" y="897"/>
                  </a:lnTo>
                  <a:lnTo>
                    <a:pt x="202" y="897"/>
                  </a:lnTo>
                  <a:lnTo>
                    <a:pt x="200" y="897"/>
                  </a:lnTo>
                  <a:lnTo>
                    <a:pt x="200" y="895"/>
                  </a:lnTo>
                  <a:lnTo>
                    <a:pt x="198" y="895"/>
                  </a:lnTo>
                  <a:lnTo>
                    <a:pt x="196" y="893"/>
                  </a:lnTo>
                  <a:lnTo>
                    <a:pt x="194" y="893"/>
                  </a:lnTo>
                  <a:lnTo>
                    <a:pt x="194" y="891"/>
                  </a:lnTo>
                  <a:lnTo>
                    <a:pt x="192" y="891"/>
                  </a:lnTo>
                  <a:lnTo>
                    <a:pt x="192" y="889"/>
                  </a:lnTo>
                  <a:lnTo>
                    <a:pt x="191" y="889"/>
                  </a:lnTo>
                  <a:lnTo>
                    <a:pt x="191" y="887"/>
                  </a:lnTo>
                  <a:lnTo>
                    <a:pt x="191" y="885"/>
                  </a:lnTo>
                  <a:lnTo>
                    <a:pt x="191" y="887"/>
                  </a:lnTo>
                  <a:lnTo>
                    <a:pt x="191" y="885"/>
                  </a:lnTo>
                  <a:lnTo>
                    <a:pt x="192" y="885"/>
                  </a:lnTo>
                  <a:lnTo>
                    <a:pt x="191" y="885"/>
                  </a:lnTo>
                  <a:lnTo>
                    <a:pt x="191" y="884"/>
                  </a:lnTo>
                  <a:lnTo>
                    <a:pt x="189" y="884"/>
                  </a:lnTo>
                  <a:lnTo>
                    <a:pt x="187" y="884"/>
                  </a:lnTo>
                  <a:lnTo>
                    <a:pt x="185" y="884"/>
                  </a:lnTo>
                  <a:lnTo>
                    <a:pt x="183" y="884"/>
                  </a:lnTo>
                  <a:lnTo>
                    <a:pt x="183" y="885"/>
                  </a:lnTo>
                  <a:lnTo>
                    <a:pt x="183" y="887"/>
                  </a:lnTo>
                  <a:lnTo>
                    <a:pt x="183" y="885"/>
                  </a:lnTo>
                  <a:lnTo>
                    <a:pt x="181" y="885"/>
                  </a:lnTo>
                  <a:lnTo>
                    <a:pt x="181" y="884"/>
                  </a:lnTo>
                  <a:lnTo>
                    <a:pt x="179" y="884"/>
                  </a:lnTo>
                  <a:lnTo>
                    <a:pt x="181" y="884"/>
                  </a:lnTo>
                  <a:lnTo>
                    <a:pt x="181" y="882"/>
                  </a:lnTo>
                  <a:lnTo>
                    <a:pt x="179" y="882"/>
                  </a:lnTo>
                  <a:lnTo>
                    <a:pt x="179" y="884"/>
                  </a:lnTo>
                  <a:lnTo>
                    <a:pt x="179" y="882"/>
                  </a:lnTo>
                  <a:lnTo>
                    <a:pt x="181" y="882"/>
                  </a:lnTo>
                  <a:lnTo>
                    <a:pt x="181" y="880"/>
                  </a:lnTo>
                  <a:lnTo>
                    <a:pt x="183" y="880"/>
                  </a:lnTo>
                  <a:lnTo>
                    <a:pt x="181" y="880"/>
                  </a:lnTo>
                  <a:lnTo>
                    <a:pt x="181" y="878"/>
                  </a:lnTo>
                  <a:lnTo>
                    <a:pt x="181" y="876"/>
                  </a:lnTo>
                  <a:lnTo>
                    <a:pt x="181" y="874"/>
                  </a:lnTo>
                  <a:lnTo>
                    <a:pt x="183" y="874"/>
                  </a:lnTo>
                  <a:lnTo>
                    <a:pt x="181" y="872"/>
                  </a:lnTo>
                  <a:lnTo>
                    <a:pt x="183" y="874"/>
                  </a:lnTo>
                  <a:lnTo>
                    <a:pt x="183" y="872"/>
                  </a:lnTo>
                  <a:lnTo>
                    <a:pt x="181" y="872"/>
                  </a:lnTo>
                  <a:lnTo>
                    <a:pt x="183" y="872"/>
                  </a:lnTo>
                  <a:lnTo>
                    <a:pt x="183" y="870"/>
                  </a:lnTo>
                  <a:lnTo>
                    <a:pt x="181" y="870"/>
                  </a:lnTo>
                  <a:lnTo>
                    <a:pt x="183" y="870"/>
                  </a:lnTo>
                  <a:lnTo>
                    <a:pt x="183" y="872"/>
                  </a:lnTo>
                  <a:lnTo>
                    <a:pt x="183" y="870"/>
                  </a:lnTo>
                  <a:lnTo>
                    <a:pt x="183" y="868"/>
                  </a:lnTo>
                  <a:lnTo>
                    <a:pt x="181" y="868"/>
                  </a:lnTo>
                  <a:lnTo>
                    <a:pt x="183" y="868"/>
                  </a:lnTo>
                  <a:lnTo>
                    <a:pt x="183" y="870"/>
                  </a:lnTo>
                  <a:lnTo>
                    <a:pt x="183" y="868"/>
                  </a:lnTo>
                  <a:lnTo>
                    <a:pt x="183" y="866"/>
                  </a:lnTo>
                  <a:lnTo>
                    <a:pt x="185" y="866"/>
                  </a:lnTo>
                  <a:lnTo>
                    <a:pt x="185" y="868"/>
                  </a:lnTo>
                  <a:lnTo>
                    <a:pt x="187" y="868"/>
                  </a:lnTo>
                  <a:lnTo>
                    <a:pt x="187" y="870"/>
                  </a:lnTo>
                  <a:lnTo>
                    <a:pt x="189" y="870"/>
                  </a:lnTo>
                  <a:lnTo>
                    <a:pt x="187" y="870"/>
                  </a:lnTo>
                  <a:lnTo>
                    <a:pt x="187" y="868"/>
                  </a:lnTo>
                  <a:lnTo>
                    <a:pt x="187" y="866"/>
                  </a:lnTo>
                  <a:lnTo>
                    <a:pt x="189" y="866"/>
                  </a:lnTo>
                  <a:lnTo>
                    <a:pt x="189" y="868"/>
                  </a:lnTo>
                  <a:lnTo>
                    <a:pt x="189" y="870"/>
                  </a:lnTo>
                  <a:lnTo>
                    <a:pt x="191" y="870"/>
                  </a:lnTo>
                  <a:lnTo>
                    <a:pt x="189" y="870"/>
                  </a:lnTo>
                  <a:lnTo>
                    <a:pt x="191" y="870"/>
                  </a:lnTo>
                  <a:lnTo>
                    <a:pt x="192" y="870"/>
                  </a:lnTo>
                  <a:lnTo>
                    <a:pt x="191" y="870"/>
                  </a:lnTo>
                  <a:lnTo>
                    <a:pt x="192" y="870"/>
                  </a:lnTo>
                  <a:lnTo>
                    <a:pt x="192" y="872"/>
                  </a:lnTo>
                  <a:lnTo>
                    <a:pt x="194" y="872"/>
                  </a:lnTo>
                  <a:lnTo>
                    <a:pt x="196" y="872"/>
                  </a:lnTo>
                  <a:lnTo>
                    <a:pt x="196" y="874"/>
                  </a:lnTo>
                  <a:lnTo>
                    <a:pt x="198" y="874"/>
                  </a:lnTo>
                  <a:lnTo>
                    <a:pt x="198" y="872"/>
                  </a:lnTo>
                  <a:lnTo>
                    <a:pt x="196" y="872"/>
                  </a:lnTo>
                  <a:lnTo>
                    <a:pt x="196" y="870"/>
                  </a:lnTo>
                  <a:lnTo>
                    <a:pt x="196" y="872"/>
                  </a:lnTo>
                  <a:lnTo>
                    <a:pt x="198" y="872"/>
                  </a:lnTo>
                  <a:lnTo>
                    <a:pt x="198" y="870"/>
                  </a:lnTo>
                  <a:lnTo>
                    <a:pt x="200" y="870"/>
                  </a:lnTo>
                  <a:lnTo>
                    <a:pt x="200" y="868"/>
                  </a:lnTo>
                  <a:lnTo>
                    <a:pt x="202" y="868"/>
                  </a:lnTo>
                  <a:lnTo>
                    <a:pt x="202" y="866"/>
                  </a:lnTo>
                  <a:lnTo>
                    <a:pt x="202" y="864"/>
                  </a:lnTo>
                  <a:lnTo>
                    <a:pt x="202" y="862"/>
                  </a:lnTo>
                  <a:lnTo>
                    <a:pt x="202" y="864"/>
                  </a:lnTo>
                  <a:lnTo>
                    <a:pt x="202" y="862"/>
                  </a:lnTo>
                  <a:lnTo>
                    <a:pt x="202" y="864"/>
                  </a:lnTo>
                  <a:lnTo>
                    <a:pt x="202" y="866"/>
                  </a:lnTo>
                  <a:lnTo>
                    <a:pt x="200" y="866"/>
                  </a:lnTo>
                  <a:lnTo>
                    <a:pt x="200" y="868"/>
                  </a:lnTo>
                  <a:lnTo>
                    <a:pt x="198" y="868"/>
                  </a:lnTo>
                  <a:lnTo>
                    <a:pt x="198" y="870"/>
                  </a:lnTo>
                  <a:lnTo>
                    <a:pt x="196" y="870"/>
                  </a:lnTo>
                  <a:lnTo>
                    <a:pt x="194" y="870"/>
                  </a:lnTo>
                  <a:lnTo>
                    <a:pt x="194" y="872"/>
                  </a:lnTo>
                  <a:lnTo>
                    <a:pt x="194" y="870"/>
                  </a:lnTo>
                  <a:lnTo>
                    <a:pt x="192" y="870"/>
                  </a:lnTo>
                  <a:lnTo>
                    <a:pt x="191" y="870"/>
                  </a:lnTo>
                  <a:lnTo>
                    <a:pt x="192" y="870"/>
                  </a:lnTo>
                  <a:lnTo>
                    <a:pt x="191" y="870"/>
                  </a:lnTo>
                  <a:lnTo>
                    <a:pt x="191" y="868"/>
                  </a:lnTo>
                  <a:lnTo>
                    <a:pt x="189" y="868"/>
                  </a:lnTo>
                  <a:lnTo>
                    <a:pt x="191" y="868"/>
                  </a:lnTo>
                  <a:lnTo>
                    <a:pt x="189" y="868"/>
                  </a:lnTo>
                  <a:lnTo>
                    <a:pt x="189" y="866"/>
                  </a:lnTo>
                  <a:lnTo>
                    <a:pt x="187" y="866"/>
                  </a:lnTo>
                  <a:lnTo>
                    <a:pt x="187" y="864"/>
                  </a:lnTo>
                  <a:lnTo>
                    <a:pt x="185" y="864"/>
                  </a:lnTo>
                  <a:lnTo>
                    <a:pt x="185" y="862"/>
                  </a:lnTo>
                  <a:lnTo>
                    <a:pt x="185" y="861"/>
                  </a:lnTo>
                  <a:lnTo>
                    <a:pt x="187" y="861"/>
                  </a:lnTo>
                  <a:lnTo>
                    <a:pt x="189" y="861"/>
                  </a:lnTo>
                  <a:lnTo>
                    <a:pt x="189" y="859"/>
                  </a:lnTo>
                  <a:lnTo>
                    <a:pt x="189" y="857"/>
                  </a:lnTo>
                  <a:lnTo>
                    <a:pt x="189" y="855"/>
                  </a:lnTo>
                  <a:lnTo>
                    <a:pt x="191" y="855"/>
                  </a:lnTo>
                  <a:lnTo>
                    <a:pt x="191" y="853"/>
                  </a:lnTo>
                  <a:lnTo>
                    <a:pt x="192" y="853"/>
                  </a:lnTo>
                  <a:lnTo>
                    <a:pt x="192" y="851"/>
                  </a:lnTo>
                  <a:lnTo>
                    <a:pt x="194" y="851"/>
                  </a:lnTo>
                  <a:lnTo>
                    <a:pt x="194" y="849"/>
                  </a:lnTo>
                  <a:lnTo>
                    <a:pt x="194" y="847"/>
                  </a:lnTo>
                  <a:lnTo>
                    <a:pt x="196" y="847"/>
                  </a:lnTo>
                  <a:lnTo>
                    <a:pt x="198" y="847"/>
                  </a:lnTo>
                  <a:lnTo>
                    <a:pt x="198" y="845"/>
                  </a:lnTo>
                  <a:lnTo>
                    <a:pt x="200" y="845"/>
                  </a:lnTo>
                  <a:lnTo>
                    <a:pt x="198" y="845"/>
                  </a:lnTo>
                  <a:lnTo>
                    <a:pt x="198" y="847"/>
                  </a:lnTo>
                  <a:lnTo>
                    <a:pt x="198" y="845"/>
                  </a:lnTo>
                  <a:lnTo>
                    <a:pt x="196" y="845"/>
                  </a:lnTo>
                  <a:lnTo>
                    <a:pt x="194" y="845"/>
                  </a:lnTo>
                  <a:lnTo>
                    <a:pt x="194" y="847"/>
                  </a:lnTo>
                  <a:lnTo>
                    <a:pt x="194" y="849"/>
                  </a:lnTo>
                  <a:lnTo>
                    <a:pt x="192" y="849"/>
                  </a:lnTo>
                  <a:lnTo>
                    <a:pt x="191" y="849"/>
                  </a:lnTo>
                  <a:lnTo>
                    <a:pt x="189" y="849"/>
                  </a:lnTo>
                  <a:lnTo>
                    <a:pt x="187" y="849"/>
                  </a:lnTo>
                  <a:lnTo>
                    <a:pt x="185" y="849"/>
                  </a:lnTo>
                  <a:lnTo>
                    <a:pt x="183" y="849"/>
                  </a:lnTo>
                  <a:lnTo>
                    <a:pt x="181" y="849"/>
                  </a:lnTo>
                  <a:lnTo>
                    <a:pt x="181" y="851"/>
                  </a:lnTo>
                  <a:lnTo>
                    <a:pt x="181" y="853"/>
                  </a:lnTo>
                  <a:lnTo>
                    <a:pt x="179" y="855"/>
                  </a:lnTo>
                  <a:lnTo>
                    <a:pt x="177" y="855"/>
                  </a:lnTo>
                  <a:lnTo>
                    <a:pt x="177" y="857"/>
                  </a:lnTo>
                  <a:lnTo>
                    <a:pt x="177" y="855"/>
                  </a:lnTo>
                  <a:lnTo>
                    <a:pt x="175" y="855"/>
                  </a:lnTo>
                  <a:lnTo>
                    <a:pt x="175" y="853"/>
                  </a:lnTo>
                  <a:lnTo>
                    <a:pt x="173" y="853"/>
                  </a:lnTo>
                  <a:lnTo>
                    <a:pt x="173" y="851"/>
                  </a:lnTo>
                  <a:lnTo>
                    <a:pt x="173" y="849"/>
                  </a:lnTo>
                  <a:lnTo>
                    <a:pt x="171" y="849"/>
                  </a:lnTo>
                  <a:lnTo>
                    <a:pt x="171" y="847"/>
                  </a:lnTo>
                  <a:lnTo>
                    <a:pt x="169" y="847"/>
                  </a:lnTo>
                  <a:lnTo>
                    <a:pt x="169" y="845"/>
                  </a:lnTo>
                  <a:lnTo>
                    <a:pt x="168" y="845"/>
                  </a:lnTo>
                  <a:lnTo>
                    <a:pt x="168" y="843"/>
                  </a:lnTo>
                  <a:lnTo>
                    <a:pt x="168" y="845"/>
                  </a:lnTo>
                  <a:lnTo>
                    <a:pt x="166" y="843"/>
                  </a:lnTo>
                  <a:lnTo>
                    <a:pt x="166" y="841"/>
                  </a:lnTo>
                  <a:lnTo>
                    <a:pt x="168" y="841"/>
                  </a:lnTo>
                  <a:lnTo>
                    <a:pt x="166" y="841"/>
                  </a:lnTo>
                  <a:lnTo>
                    <a:pt x="166" y="839"/>
                  </a:lnTo>
                  <a:lnTo>
                    <a:pt x="166" y="841"/>
                  </a:lnTo>
                  <a:lnTo>
                    <a:pt x="164" y="841"/>
                  </a:lnTo>
                  <a:lnTo>
                    <a:pt x="164" y="839"/>
                  </a:lnTo>
                  <a:lnTo>
                    <a:pt x="166" y="839"/>
                  </a:lnTo>
                  <a:lnTo>
                    <a:pt x="166" y="837"/>
                  </a:lnTo>
                  <a:lnTo>
                    <a:pt x="164" y="837"/>
                  </a:lnTo>
                  <a:lnTo>
                    <a:pt x="166" y="837"/>
                  </a:lnTo>
                  <a:lnTo>
                    <a:pt x="166" y="836"/>
                  </a:lnTo>
                  <a:lnTo>
                    <a:pt x="166" y="834"/>
                  </a:lnTo>
                  <a:lnTo>
                    <a:pt x="166" y="832"/>
                  </a:lnTo>
                  <a:lnTo>
                    <a:pt x="166" y="834"/>
                  </a:lnTo>
                  <a:lnTo>
                    <a:pt x="166" y="832"/>
                  </a:lnTo>
                  <a:lnTo>
                    <a:pt x="166" y="834"/>
                  </a:lnTo>
                  <a:lnTo>
                    <a:pt x="166" y="832"/>
                  </a:lnTo>
                  <a:lnTo>
                    <a:pt x="166" y="834"/>
                  </a:lnTo>
                  <a:lnTo>
                    <a:pt x="168" y="834"/>
                  </a:lnTo>
                  <a:lnTo>
                    <a:pt x="168" y="832"/>
                  </a:lnTo>
                  <a:lnTo>
                    <a:pt x="168" y="834"/>
                  </a:lnTo>
                  <a:lnTo>
                    <a:pt x="168" y="832"/>
                  </a:lnTo>
                  <a:lnTo>
                    <a:pt x="166" y="832"/>
                  </a:lnTo>
                  <a:lnTo>
                    <a:pt x="164" y="832"/>
                  </a:lnTo>
                  <a:lnTo>
                    <a:pt x="166" y="832"/>
                  </a:lnTo>
                  <a:lnTo>
                    <a:pt x="164" y="830"/>
                  </a:lnTo>
                  <a:lnTo>
                    <a:pt x="166" y="830"/>
                  </a:lnTo>
                  <a:lnTo>
                    <a:pt x="166" y="828"/>
                  </a:lnTo>
                  <a:lnTo>
                    <a:pt x="168" y="828"/>
                  </a:lnTo>
                  <a:lnTo>
                    <a:pt x="169" y="828"/>
                  </a:lnTo>
                  <a:lnTo>
                    <a:pt x="169" y="826"/>
                  </a:lnTo>
                  <a:lnTo>
                    <a:pt x="171" y="826"/>
                  </a:lnTo>
                  <a:lnTo>
                    <a:pt x="173" y="826"/>
                  </a:lnTo>
                  <a:lnTo>
                    <a:pt x="173" y="828"/>
                  </a:lnTo>
                  <a:lnTo>
                    <a:pt x="173" y="830"/>
                  </a:lnTo>
                  <a:lnTo>
                    <a:pt x="173" y="832"/>
                  </a:lnTo>
                  <a:lnTo>
                    <a:pt x="173" y="834"/>
                  </a:lnTo>
                  <a:lnTo>
                    <a:pt x="173" y="836"/>
                  </a:lnTo>
                  <a:lnTo>
                    <a:pt x="171" y="836"/>
                  </a:lnTo>
                  <a:lnTo>
                    <a:pt x="171" y="837"/>
                  </a:lnTo>
                  <a:lnTo>
                    <a:pt x="173" y="837"/>
                  </a:lnTo>
                  <a:lnTo>
                    <a:pt x="171" y="837"/>
                  </a:lnTo>
                  <a:lnTo>
                    <a:pt x="173" y="837"/>
                  </a:lnTo>
                  <a:lnTo>
                    <a:pt x="171" y="837"/>
                  </a:lnTo>
                  <a:lnTo>
                    <a:pt x="173" y="837"/>
                  </a:lnTo>
                  <a:lnTo>
                    <a:pt x="171" y="837"/>
                  </a:lnTo>
                  <a:lnTo>
                    <a:pt x="173" y="837"/>
                  </a:lnTo>
                  <a:lnTo>
                    <a:pt x="171" y="837"/>
                  </a:lnTo>
                  <a:lnTo>
                    <a:pt x="173" y="837"/>
                  </a:lnTo>
                  <a:lnTo>
                    <a:pt x="171" y="837"/>
                  </a:lnTo>
                  <a:lnTo>
                    <a:pt x="173" y="837"/>
                  </a:lnTo>
                  <a:lnTo>
                    <a:pt x="171" y="837"/>
                  </a:lnTo>
                  <a:lnTo>
                    <a:pt x="173" y="837"/>
                  </a:lnTo>
                  <a:lnTo>
                    <a:pt x="173" y="839"/>
                  </a:lnTo>
                  <a:lnTo>
                    <a:pt x="171" y="839"/>
                  </a:lnTo>
                  <a:lnTo>
                    <a:pt x="171" y="841"/>
                  </a:lnTo>
                  <a:lnTo>
                    <a:pt x="171" y="843"/>
                  </a:lnTo>
                  <a:lnTo>
                    <a:pt x="171" y="845"/>
                  </a:lnTo>
                  <a:lnTo>
                    <a:pt x="171" y="843"/>
                  </a:lnTo>
                  <a:lnTo>
                    <a:pt x="173" y="843"/>
                  </a:lnTo>
                  <a:lnTo>
                    <a:pt x="173" y="841"/>
                  </a:lnTo>
                  <a:lnTo>
                    <a:pt x="173" y="839"/>
                  </a:lnTo>
                  <a:lnTo>
                    <a:pt x="173" y="837"/>
                  </a:lnTo>
                  <a:lnTo>
                    <a:pt x="173" y="839"/>
                  </a:lnTo>
                  <a:lnTo>
                    <a:pt x="173" y="837"/>
                  </a:lnTo>
                  <a:lnTo>
                    <a:pt x="173" y="839"/>
                  </a:lnTo>
                  <a:lnTo>
                    <a:pt x="173" y="837"/>
                  </a:lnTo>
                  <a:lnTo>
                    <a:pt x="173" y="839"/>
                  </a:lnTo>
                  <a:lnTo>
                    <a:pt x="173" y="837"/>
                  </a:lnTo>
                  <a:lnTo>
                    <a:pt x="173" y="839"/>
                  </a:lnTo>
                  <a:lnTo>
                    <a:pt x="175" y="839"/>
                  </a:lnTo>
                  <a:lnTo>
                    <a:pt x="175" y="837"/>
                  </a:lnTo>
                  <a:lnTo>
                    <a:pt x="177" y="837"/>
                  </a:lnTo>
                  <a:lnTo>
                    <a:pt x="179" y="837"/>
                  </a:lnTo>
                  <a:lnTo>
                    <a:pt x="179" y="839"/>
                  </a:lnTo>
                  <a:lnTo>
                    <a:pt x="181" y="839"/>
                  </a:lnTo>
                  <a:lnTo>
                    <a:pt x="183" y="839"/>
                  </a:lnTo>
                  <a:lnTo>
                    <a:pt x="185" y="839"/>
                  </a:lnTo>
                  <a:lnTo>
                    <a:pt x="185" y="837"/>
                  </a:lnTo>
                  <a:lnTo>
                    <a:pt x="187" y="837"/>
                  </a:lnTo>
                  <a:lnTo>
                    <a:pt x="185" y="837"/>
                  </a:lnTo>
                  <a:lnTo>
                    <a:pt x="185" y="839"/>
                  </a:lnTo>
                  <a:lnTo>
                    <a:pt x="185" y="837"/>
                  </a:lnTo>
                  <a:lnTo>
                    <a:pt x="183" y="837"/>
                  </a:lnTo>
                  <a:lnTo>
                    <a:pt x="183" y="839"/>
                  </a:lnTo>
                  <a:lnTo>
                    <a:pt x="183" y="837"/>
                  </a:lnTo>
                  <a:lnTo>
                    <a:pt x="183" y="839"/>
                  </a:lnTo>
                  <a:lnTo>
                    <a:pt x="183" y="837"/>
                  </a:lnTo>
                  <a:lnTo>
                    <a:pt x="183" y="839"/>
                  </a:lnTo>
                  <a:lnTo>
                    <a:pt x="183" y="837"/>
                  </a:lnTo>
                  <a:lnTo>
                    <a:pt x="181" y="837"/>
                  </a:lnTo>
                  <a:lnTo>
                    <a:pt x="179" y="837"/>
                  </a:lnTo>
                  <a:lnTo>
                    <a:pt x="177" y="837"/>
                  </a:lnTo>
                  <a:lnTo>
                    <a:pt x="175" y="837"/>
                  </a:lnTo>
                  <a:lnTo>
                    <a:pt x="173" y="837"/>
                  </a:lnTo>
                  <a:lnTo>
                    <a:pt x="173" y="836"/>
                  </a:lnTo>
                  <a:lnTo>
                    <a:pt x="173" y="837"/>
                  </a:lnTo>
                  <a:lnTo>
                    <a:pt x="173" y="836"/>
                  </a:lnTo>
                  <a:lnTo>
                    <a:pt x="173" y="837"/>
                  </a:lnTo>
                  <a:lnTo>
                    <a:pt x="173" y="836"/>
                  </a:lnTo>
                  <a:lnTo>
                    <a:pt x="173" y="834"/>
                  </a:lnTo>
                  <a:lnTo>
                    <a:pt x="173" y="836"/>
                  </a:lnTo>
                  <a:lnTo>
                    <a:pt x="175" y="836"/>
                  </a:lnTo>
                  <a:lnTo>
                    <a:pt x="175" y="834"/>
                  </a:lnTo>
                  <a:lnTo>
                    <a:pt x="177" y="834"/>
                  </a:lnTo>
                  <a:lnTo>
                    <a:pt x="179" y="834"/>
                  </a:lnTo>
                  <a:lnTo>
                    <a:pt x="179" y="832"/>
                  </a:lnTo>
                  <a:lnTo>
                    <a:pt x="181" y="832"/>
                  </a:lnTo>
                  <a:lnTo>
                    <a:pt x="181" y="830"/>
                  </a:lnTo>
                  <a:lnTo>
                    <a:pt x="181" y="832"/>
                  </a:lnTo>
                  <a:lnTo>
                    <a:pt x="179" y="832"/>
                  </a:lnTo>
                  <a:lnTo>
                    <a:pt x="177" y="832"/>
                  </a:lnTo>
                  <a:lnTo>
                    <a:pt x="177" y="834"/>
                  </a:lnTo>
                  <a:lnTo>
                    <a:pt x="175" y="834"/>
                  </a:lnTo>
                  <a:lnTo>
                    <a:pt x="175" y="832"/>
                  </a:lnTo>
                  <a:lnTo>
                    <a:pt x="173" y="832"/>
                  </a:lnTo>
                  <a:lnTo>
                    <a:pt x="175" y="832"/>
                  </a:lnTo>
                  <a:lnTo>
                    <a:pt x="175" y="830"/>
                  </a:lnTo>
                  <a:lnTo>
                    <a:pt x="173" y="830"/>
                  </a:lnTo>
                  <a:lnTo>
                    <a:pt x="173" y="828"/>
                  </a:lnTo>
                  <a:lnTo>
                    <a:pt x="175" y="828"/>
                  </a:lnTo>
                  <a:lnTo>
                    <a:pt x="173" y="828"/>
                  </a:lnTo>
                  <a:lnTo>
                    <a:pt x="173" y="826"/>
                  </a:lnTo>
                  <a:lnTo>
                    <a:pt x="175" y="826"/>
                  </a:lnTo>
                  <a:lnTo>
                    <a:pt x="175" y="824"/>
                  </a:lnTo>
                  <a:lnTo>
                    <a:pt x="177" y="824"/>
                  </a:lnTo>
                  <a:lnTo>
                    <a:pt x="177" y="822"/>
                  </a:lnTo>
                  <a:lnTo>
                    <a:pt x="179" y="822"/>
                  </a:lnTo>
                  <a:lnTo>
                    <a:pt x="179" y="820"/>
                  </a:lnTo>
                  <a:lnTo>
                    <a:pt x="181" y="820"/>
                  </a:lnTo>
                  <a:lnTo>
                    <a:pt x="181" y="818"/>
                  </a:lnTo>
                  <a:lnTo>
                    <a:pt x="179" y="818"/>
                  </a:lnTo>
                  <a:lnTo>
                    <a:pt x="177" y="818"/>
                  </a:lnTo>
                  <a:lnTo>
                    <a:pt x="177" y="816"/>
                  </a:lnTo>
                  <a:lnTo>
                    <a:pt x="177" y="814"/>
                  </a:lnTo>
                  <a:lnTo>
                    <a:pt x="179" y="814"/>
                  </a:lnTo>
                  <a:lnTo>
                    <a:pt x="179" y="813"/>
                  </a:lnTo>
                  <a:lnTo>
                    <a:pt x="181" y="814"/>
                  </a:lnTo>
                  <a:lnTo>
                    <a:pt x="183" y="814"/>
                  </a:lnTo>
                  <a:lnTo>
                    <a:pt x="185" y="814"/>
                  </a:lnTo>
                  <a:lnTo>
                    <a:pt x="187" y="814"/>
                  </a:lnTo>
                  <a:lnTo>
                    <a:pt x="187" y="813"/>
                  </a:lnTo>
                  <a:lnTo>
                    <a:pt x="189" y="813"/>
                  </a:lnTo>
                  <a:lnTo>
                    <a:pt x="191" y="813"/>
                  </a:lnTo>
                  <a:lnTo>
                    <a:pt x="191" y="811"/>
                  </a:lnTo>
                  <a:lnTo>
                    <a:pt x="189" y="811"/>
                  </a:lnTo>
                  <a:lnTo>
                    <a:pt x="191" y="811"/>
                  </a:lnTo>
                  <a:lnTo>
                    <a:pt x="189" y="811"/>
                  </a:lnTo>
                  <a:lnTo>
                    <a:pt x="189" y="809"/>
                  </a:lnTo>
                  <a:lnTo>
                    <a:pt x="189" y="807"/>
                  </a:lnTo>
                  <a:lnTo>
                    <a:pt x="191" y="807"/>
                  </a:lnTo>
                  <a:lnTo>
                    <a:pt x="192" y="807"/>
                  </a:lnTo>
                  <a:lnTo>
                    <a:pt x="192" y="805"/>
                  </a:lnTo>
                  <a:lnTo>
                    <a:pt x="192" y="807"/>
                  </a:lnTo>
                  <a:lnTo>
                    <a:pt x="191" y="807"/>
                  </a:lnTo>
                  <a:lnTo>
                    <a:pt x="191" y="805"/>
                  </a:lnTo>
                  <a:lnTo>
                    <a:pt x="191" y="807"/>
                  </a:lnTo>
                  <a:lnTo>
                    <a:pt x="189" y="807"/>
                  </a:lnTo>
                  <a:lnTo>
                    <a:pt x="189" y="805"/>
                  </a:lnTo>
                  <a:lnTo>
                    <a:pt x="189" y="807"/>
                  </a:lnTo>
                  <a:lnTo>
                    <a:pt x="189" y="805"/>
                  </a:lnTo>
                  <a:lnTo>
                    <a:pt x="187" y="805"/>
                  </a:lnTo>
                  <a:lnTo>
                    <a:pt x="187" y="803"/>
                  </a:lnTo>
                  <a:lnTo>
                    <a:pt x="185" y="803"/>
                  </a:lnTo>
                  <a:lnTo>
                    <a:pt x="187" y="803"/>
                  </a:lnTo>
                  <a:lnTo>
                    <a:pt x="185" y="803"/>
                  </a:lnTo>
                  <a:lnTo>
                    <a:pt x="185" y="801"/>
                  </a:lnTo>
                  <a:lnTo>
                    <a:pt x="185" y="803"/>
                  </a:lnTo>
                  <a:lnTo>
                    <a:pt x="185" y="805"/>
                  </a:lnTo>
                  <a:lnTo>
                    <a:pt x="187" y="805"/>
                  </a:lnTo>
                  <a:lnTo>
                    <a:pt x="187" y="807"/>
                  </a:lnTo>
                  <a:lnTo>
                    <a:pt x="187" y="809"/>
                  </a:lnTo>
                  <a:lnTo>
                    <a:pt x="187" y="811"/>
                  </a:lnTo>
                  <a:lnTo>
                    <a:pt x="189" y="811"/>
                  </a:lnTo>
                  <a:lnTo>
                    <a:pt x="187" y="811"/>
                  </a:lnTo>
                  <a:lnTo>
                    <a:pt x="187" y="813"/>
                  </a:lnTo>
                  <a:lnTo>
                    <a:pt x="185" y="813"/>
                  </a:lnTo>
                  <a:lnTo>
                    <a:pt x="183" y="813"/>
                  </a:lnTo>
                  <a:lnTo>
                    <a:pt x="181" y="813"/>
                  </a:lnTo>
                  <a:lnTo>
                    <a:pt x="179" y="813"/>
                  </a:lnTo>
                  <a:lnTo>
                    <a:pt x="177" y="813"/>
                  </a:lnTo>
                  <a:lnTo>
                    <a:pt x="177" y="814"/>
                  </a:lnTo>
                  <a:lnTo>
                    <a:pt x="177" y="816"/>
                  </a:lnTo>
                  <a:lnTo>
                    <a:pt x="177" y="818"/>
                  </a:lnTo>
                  <a:lnTo>
                    <a:pt x="177" y="820"/>
                  </a:lnTo>
                  <a:lnTo>
                    <a:pt x="177" y="822"/>
                  </a:lnTo>
                  <a:lnTo>
                    <a:pt x="175" y="822"/>
                  </a:lnTo>
                  <a:lnTo>
                    <a:pt x="175" y="824"/>
                  </a:lnTo>
                  <a:lnTo>
                    <a:pt x="175" y="822"/>
                  </a:lnTo>
                  <a:lnTo>
                    <a:pt x="175" y="824"/>
                  </a:lnTo>
                  <a:lnTo>
                    <a:pt x="173" y="824"/>
                  </a:lnTo>
                  <a:lnTo>
                    <a:pt x="173" y="822"/>
                  </a:lnTo>
                  <a:lnTo>
                    <a:pt x="173" y="820"/>
                  </a:lnTo>
                  <a:lnTo>
                    <a:pt x="173" y="818"/>
                  </a:lnTo>
                  <a:lnTo>
                    <a:pt x="175" y="818"/>
                  </a:lnTo>
                  <a:lnTo>
                    <a:pt x="175" y="816"/>
                  </a:lnTo>
                  <a:lnTo>
                    <a:pt x="173" y="816"/>
                  </a:lnTo>
                  <a:lnTo>
                    <a:pt x="173" y="818"/>
                  </a:lnTo>
                  <a:lnTo>
                    <a:pt x="171" y="818"/>
                  </a:lnTo>
                  <a:lnTo>
                    <a:pt x="171" y="820"/>
                  </a:lnTo>
                  <a:lnTo>
                    <a:pt x="169" y="820"/>
                  </a:lnTo>
                  <a:lnTo>
                    <a:pt x="169" y="822"/>
                  </a:lnTo>
                  <a:lnTo>
                    <a:pt x="168" y="822"/>
                  </a:lnTo>
                  <a:lnTo>
                    <a:pt x="166" y="822"/>
                  </a:lnTo>
                  <a:lnTo>
                    <a:pt x="166" y="820"/>
                  </a:lnTo>
                  <a:lnTo>
                    <a:pt x="164" y="820"/>
                  </a:lnTo>
                  <a:lnTo>
                    <a:pt x="162" y="820"/>
                  </a:lnTo>
                  <a:lnTo>
                    <a:pt x="162" y="822"/>
                  </a:lnTo>
                  <a:lnTo>
                    <a:pt x="160" y="822"/>
                  </a:lnTo>
                  <a:lnTo>
                    <a:pt x="160" y="820"/>
                  </a:lnTo>
                  <a:lnTo>
                    <a:pt x="160" y="822"/>
                  </a:lnTo>
                  <a:lnTo>
                    <a:pt x="160" y="820"/>
                  </a:lnTo>
                  <a:lnTo>
                    <a:pt x="160" y="818"/>
                  </a:lnTo>
                  <a:lnTo>
                    <a:pt x="158" y="818"/>
                  </a:lnTo>
                  <a:lnTo>
                    <a:pt x="160" y="818"/>
                  </a:lnTo>
                  <a:lnTo>
                    <a:pt x="158" y="818"/>
                  </a:lnTo>
                  <a:lnTo>
                    <a:pt x="160" y="818"/>
                  </a:lnTo>
                  <a:lnTo>
                    <a:pt x="158" y="818"/>
                  </a:lnTo>
                  <a:lnTo>
                    <a:pt x="158" y="816"/>
                  </a:lnTo>
                  <a:lnTo>
                    <a:pt x="158" y="818"/>
                  </a:lnTo>
                  <a:lnTo>
                    <a:pt x="156" y="818"/>
                  </a:lnTo>
                  <a:lnTo>
                    <a:pt x="156" y="816"/>
                  </a:lnTo>
                  <a:lnTo>
                    <a:pt x="156" y="814"/>
                  </a:lnTo>
                  <a:lnTo>
                    <a:pt x="154" y="814"/>
                  </a:lnTo>
                  <a:lnTo>
                    <a:pt x="154" y="813"/>
                  </a:lnTo>
                  <a:lnTo>
                    <a:pt x="154" y="811"/>
                  </a:lnTo>
                  <a:lnTo>
                    <a:pt x="154" y="809"/>
                  </a:lnTo>
                  <a:lnTo>
                    <a:pt x="154" y="807"/>
                  </a:lnTo>
                  <a:lnTo>
                    <a:pt x="152" y="807"/>
                  </a:lnTo>
                  <a:lnTo>
                    <a:pt x="152" y="805"/>
                  </a:lnTo>
                  <a:lnTo>
                    <a:pt x="154" y="805"/>
                  </a:lnTo>
                  <a:lnTo>
                    <a:pt x="152" y="805"/>
                  </a:lnTo>
                  <a:lnTo>
                    <a:pt x="152" y="803"/>
                  </a:lnTo>
                  <a:lnTo>
                    <a:pt x="152" y="801"/>
                  </a:lnTo>
                  <a:lnTo>
                    <a:pt x="150" y="801"/>
                  </a:lnTo>
                  <a:lnTo>
                    <a:pt x="152" y="801"/>
                  </a:lnTo>
                  <a:lnTo>
                    <a:pt x="150" y="801"/>
                  </a:lnTo>
                  <a:lnTo>
                    <a:pt x="150" y="799"/>
                  </a:lnTo>
                  <a:lnTo>
                    <a:pt x="150" y="797"/>
                  </a:lnTo>
                  <a:lnTo>
                    <a:pt x="150" y="795"/>
                  </a:lnTo>
                  <a:lnTo>
                    <a:pt x="150" y="793"/>
                  </a:lnTo>
                  <a:lnTo>
                    <a:pt x="150" y="791"/>
                  </a:lnTo>
                  <a:lnTo>
                    <a:pt x="150" y="793"/>
                  </a:lnTo>
                  <a:lnTo>
                    <a:pt x="152" y="793"/>
                  </a:lnTo>
                  <a:lnTo>
                    <a:pt x="152" y="795"/>
                  </a:lnTo>
                  <a:lnTo>
                    <a:pt x="152" y="797"/>
                  </a:lnTo>
                  <a:lnTo>
                    <a:pt x="152" y="799"/>
                  </a:lnTo>
                  <a:lnTo>
                    <a:pt x="152" y="801"/>
                  </a:lnTo>
                  <a:lnTo>
                    <a:pt x="154" y="801"/>
                  </a:lnTo>
                  <a:lnTo>
                    <a:pt x="154" y="799"/>
                  </a:lnTo>
                  <a:lnTo>
                    <a:pt x="154" y="797"/>
                  </a:lnTo>
                  <a:lnTo>
                    <a:pt x="154" y="795"/>
                  </a:lnTo>
                  <a:lnTo>
                    <a:pt x="156" y="795"/>
                  </a:lnTo>
                  <a:lnTo>
                    <a:pt x="158" y="795"/>
                  </a:lnTo>
                  <a:lnTo>
                    <a:pt x="156" y="795"/>
                  </a:lnTo>
                  <a:lnTo>
                    <a:pt x="156" y="793"/>
                  </a:lnTo>
                  <a:lnTo>
                    <a:pt x="154" y="793"/>
                  </a:lnTo>
                  <a:lnTo>
                    <a:pt x="154" y="795"/>
                  </a:lnTo>
                  <a:lnTo>
                    <a:pt x="152" y="795"/>
                  </a:lnTo>
                  <a:lnTo>
                    <a:pt x="154" y="795"/>
                  </a:lnTo>
                  <a:lnTo>
                    <a:pt x="152" y="795"/>
                  </a:lnTo>
                  <a:lnTo>
                    <a:pt x="154" y="795"/>
                  </a:lnTo>
                  <a:lnTo>
                    <a:pt x="152" y="795"/>
                  </a:lnTo>
                  <a:lnTo>
                    <a:pt x="152" y="793"/>
                  </a:lnTo>
                  <a:lnTo>
                    <a:pt x="152" y="791"/>
                  </a:lnTo>
                  <a:lnTo>
                    <a:pt x="152" y="793"/>
                  </a:lnTo>
                  <a:lnTo>
                    <a:pt x="154" y="793"/>
                  </a:lnTo>
                  <a:lnTo>
                    <a:pt x="156" y="793"/>
                  </a:lnTo>
                  <a:lnTo>
                    <a:pt x="158" y="793"/>
                  </a:lnTo>
                  <a:lnTo>
                    <a:pt x="158" y="791"/>
                  </a:lnTo>
                  <a:lnTo>
                    <a:pt x="156" y="791"/>
                  </a:lnTo>
                  <a:lnTo>
                    <a:pt x="158" y="791"/>
                  </a:lnTo>
                  <a:lnTo>
                    <a:pt x="160" y="791"/>
                  </a:lnTo>
                  <a:lnTo>
                    <a:pt x="158" y="791"/>
                  </a:lnTo>
                  <a:lnTo>
                    <a:pt x="160" y="791"/>
                  </a:lnTo>
                  <a:lnTo>
                    <a:pt x="162" y="791"/>
                  </a:lnTo>
                  <a:lnTo>
                    <a:pt x="162" y="789"/>
                  </a:lnTo>
                  <a:lnTo>
                    <a:pt x="164" y="789"/>
                  </a:lnTo>
                  <a:lnTo>
                    <a:pt x="162" y="789"/>
                  </a:lnTo>
                  <a:lnTo>
                    <a:pt x="164" y="789"/>
                  </a:lnTo>
                  <a:lnTo>
                    <a:pt x="164" y="788"/>
                  </a:lnTo>
                  <a:lnTo>
                    <a:pt x="166" y="788"/>
                  </a:lnTo>
                  <a:lnTo>
                    <a:pt x="164" y="788"/>
                  </a:lnTo>
                  <a:lnTo>
                    <a:pt x="164" y="786"/>
                  </a:lnTo>
                  <a:lnTo>
                    <a:pt x="166" y="786"/>
                  </a:lnTo>
                  <a:lnTo>
                    <a:pt x="166" y="784"/>
                  </a:lnTo>
                  <a:lnTo>
                    <a:pt x="164" y="784"/>
                  </a:lnTo>
                  <a:lnTo>
                    <a:pt x="166" y="784"/>
                  </a:lnTo>
                  <a:lnTo>
                    <a:pt x="164" y="784"/>
                  </a:lnTo>
                  <a:lnTo>
                    <a:pt x="164" y="782"/>
                  </a:lnTo>
                  <a:lnTo>
                    <a:pt x="164" y="780"/>
                  </a:lnTo>
                  <a:lnTo>
                    <a:pt x="162" y="780"/>
                  </a:lnTo>
                  <a:lnTo>
                    <a:pt x="164" y="780"/>
                  </a:lnTo>
                  <a:lnTo>
                    <a:pt x="166" y="780"/>
                  </a:lnTo>
                  <a:lnTo>
                    <a:pt x="166" y="778"/>
                  </a:lnTo>
                  <a:lnTo>
                    <a:pt x="166" y="780"/>
                  </a:lnTo>
                  <a:lnTo>
                    <a:pt x="166" y="778"/>
                  </a:lnTo>
                  <a:lnTo>
                    <a:pt x="168" y="778"/>
                  </a:lnTo>
                  <a:lnTo>
                    <a:pt x="169" y="778"/>
                  </a:lnTo>
                  <a:lnTo>
                    <a:pt x="169" y="780"/>
                  </a:lnTo>
                  <a:lnTo>
                    <a:pt x="171" y="780"/>
                  </a:lnTo>
                  <a:lnTo>
                    <a:pt x="173" y="780"/>
                  </a:lnTo>
                  <a:lnTo>
                    <a:pt x="175" y="780"/>
                  </a:lnTo>
                  <a:lnTo>
                    <a:pt x="177" y="780"/>
                  </a:lnTo>
                  <a:lnTo>
                    <a:pt x="179" y="780"/>
                  </a:lnTo>
                  <a:lnTo>
                    <a:pt x="179" y="778"/>
                  </a:lnTo>
                  <a:lnTo>
                    <a:pt x="181" y="778"/>
                  </a:lnTo>
                  <a:lnTo>
                    <a:pt x="179" y="778"/>
                  </a:lnTo>
                  <a:lnTo>
                    <a:pt x="177" y="778"/>
                  </a:lnTo>
                  <a:lnTo>
                    <a:pt x="175" y="778"/>
                  </a:lnTo>
                  <a:lnTo>
                    <a:pt x="173" y="778"/>
                  </a:lnTo>
                  <a:lnTo>
                    <a:pt x="171" y="778"/>
                  </a:lnTo>
                  <a:lnTo>
                    <a:pt x="169" y="778"/>
                  </a:lnTo>
                  <a:lnTo>
                    <a:pt x="169" y="776"/>
                  </a:lnTo>
                  <a:lnTo>
                    <a:pt x="168" y="776"/>
                  </a:lnTo>
                  <a:lnTo>
                    <a:pt x="166" y="776"/>
                  </a:lnTo>
                  <a:lnTo>
                    <a:pt x="166" y="778"/>
                  </a:lnTo>
                  <a:lnTo>
                    <a:pt x="164" y="778"/>
                  </a:lnTo>
                  <a:lnTo>
                    <a:pt x="162" y="778"/>
                  </a:lnTo>
                  <a:lnTo>
                    <a:pt x="160" y="778"/>
                  </a:lnTo>
                  <a:lnTo>
                    <a:pt x="160" y="780"/>
                  </a:lnTo>
                  <a:lnTo>
                    <a:pt x="160" y="778"/>
                  </a:lnTo>
                  <a:lnTo>
                    <a:pt x="160" y="780"/>
                  </a:lnTo>
                  <a:lnTo>
                    <a:pt x="158" y="780"/>
                  </a:lnTo>
                  <a:lnTo>
                    <a:pt x="158" y="778"/>
                  </a:lnTo>
                  <a:lnTo>
                    <a:pt x="156" y="778"/>
                  </a:lnTo>
                  <a:lnTo>
                    <a:pt x="156" y="776"/>
                  </a:lnTo>
                  <a:lnTo>
                    <a:pt x="154" y="776"/>
                  </a:lnTo>
                  <a:lnTo>
                    <a:pt x="154" y="774"/>
                  </a:lnTo>
                  <a:lnTo>
                    <a:pt x="156" y="774"/>
                  </a:lnTo>
                  <a:lnTo>
                    <a:pt x="156" y="772"/>
                  </a:lnTo>
                  <a:lnTo>
                    <a:pt x="158" y="772"/>
                  </a:lnTo>
                  <a:lnTo>
                    <a:pt x="158" y="770"/>
                  </a:lnTo>
                  <a:lnTo>
                    <a:pt x="158" y="768"/>
                  </a:lnTo>
                  <a:lnTo>
                    <a:pt x="156" y="768"/>
                  </a:lnTo>
                  <a:lnTo>
                    <a:pt x="156" y="770"/>
                  </a:lnTo>
                  <a:lnTo>
                    <a:pt x="156" y="772"/>
                  </a:lnTo>
                  <a:lnTo>
                    <a:pt x="154" y="772"/>
                  </a:lnTo>
                  <a:lnTo>
                    <a:pt x="154" y="774"/>
                  </a:lnTo>
                  <a:lnTo>
                    <a:pt x="152" y="774"/>
                  </a:lnTo>
                  <a:lnTo>
                    <a:pt x="152" y="772"/>
                  </a:lnTo>
                  <a:lnTo>
                    <a:pt x="152" y="774"/>
                  </a:lnTo>
                  <a:lnTo>
                    <a:pt x="150" y="774"/>
                  </a:lnTo>
                  <a:lnTo>
                    <a:pt x="150" y="772"/>
                  </a:lnTo>
                  <a:lnTo>
                    <a:pt x="152" y="772"/>
                  </a:lnTo>
                  <a:lnTo>
                    <a:pt x="152" y="770"/>
                  </a:lnTo>
                  <a:lnTo>
                    <a:pt x="154" y="770"/>
                  </a:lnTo>
                  <a:lnTo>
                    <a:pt x="154" y="768"/>
                  </a:lnTo>
                  <a:lnTo>
                    <a:pt x="154" y="766"/>
                  </a:lnTo>
                  <a:lnTo>
                    <a:pt x="156" y="766"/>
                  </a:lnTo>
                  <a:lnTo>
                    <a:pt x="156" y="765"/>
                  </a:lnTo>
                  <a:lnTo>
                    <a:pt x="156" y="766"/>
                  </a:lnTo>
                  <a:lnTo>
                    <a:pt x="158" y="766"/>
                  </a:lnTo>
                  <a:lnTo>
                    <a:pt x="160" y="766"/>
                  </a:lnTo>
                  <a:lnTo>
                    <a:pt x="160" y="765"/>
                  </a:lnTo>
                  <a:lnTo>
                    <a:pt x="162" y="765"/>
                  </a:lnTo>
                  <a:lnTo>
                    <a:pt x="162" y="763"/>
                  </a:lnTo>
                  <a:lnTo>
                    <a:pt x="162" y="765"/>
                  </a:lnTo>
                  <a:lnTo>
                    <a:pt x="164" y="765"/>
                  </a:lnTo>
                  <a:lnTo>
                    <a:pt x="166" y="765"/>
                  </a:lnTo>
                  <a:lnTo>
                    <a:pt x="166" y="763"/>
                  </a:lnTo>
                  <a:lnTo>
                    <a:pt x="168" y="763"/>
                  </a:lnTo>
                  <a:lnTo>
                    <a:pt x="168" y="761"/>
                  </a:lnTo>
                  <a:lnTo>
                    <a:pt x="168" y="759"/>
                  </a:lnTo>
                  <a:lnTo>
                    <a:pt x="169" y="759"/>
                  </a:lnTo>
                  <a:lnTo>
                    <a:pt x="169" y="757"/>
                  </a:lnTo>
                  <a:lnTo>
                    <a:pt x="171" y="757"/>
                  </a:lnTo>
                  <a:lnTo>
                    <a:pt x="171" y="755"/>
                  </a:lnTo>
                  <a:lnTo>
                    <a:pt x="171" y="753"/>
                  </a:lnTo>
                  <a:lnTo>
                    <a:pt x="171" y="751"/>
                  </a:lnTo>
                  <a:lnTo>
                    <a:pt x="173" y="751"/>
                  </a:lnTo>
                  <a:lnTo>
                    <a:pt x="173" y="749"/>
                  </a:lnTo>
                  <a:lnTo>
                    <a:pt x="175" y="749"/>
                  </a:lnTo>
                  <a:lnTo>
                    <a:pt x="177" y="749"/>
                  </a:lnTo>
                  <a:lnTo>
                    <a:pt x="177" y="747"/>
                  </a:lnTo>
                  <a:lnTo>
                    <a:pt x="177" y="749"/>
                  </a:lnTo>
                  <a:lnTo>
                    <a:pt x="177" y="747"/>
                  </a:lnTo>
                  <a:lnTo>
                    <a:pt x="179" y="747"/>
                  </a:lnTo>
                  <a:lnTo>
                    <a:pt x="179" y="745"/>
                  </a:lnTo>
                  <a:lnTo>
                    <a:pt x="177" y="745"/>
                  </a:lnTo>
                  <a:lnTo>
                    <a:pt x="175" y="747"/>
                  </a:lnTo>
                  <a:lnTo>
                    <a:pt x="173" y="747"/>
                  </a:lnTo>
                  <a:lnTo>
                    <a:pt x="173" y="749"/>
                  </a:lnTo>
                  <a:lnTo>
                    <a:pt x="171" y="749"/>
                  </a:lnTo>
                  <a:lnTo>
                    <a:pt x="171" y="747"/>
                  </a:lnTo>
                  <a:lnTo>
                    <a:pt x="171" y="749"/>
                  </a:lnTo>
                  <a:lnTo>
                    <a:pt x="171" y="747"/>
                  </a:lnTo>
                  <a:lnTo>
                    <a:pt x="169" y="747"/>
                  </a:lnTo>
                  <a:lnTo>
                    <a:pt x="169" y="749"/>
                  </a:lnTo>
                  <a:lnTo>
                    <a:pt x="168" y="749"/>
                  </a:lnTo>
                  <a:lnTo>
                    <a:pt x="169" y="749"/>
                  </a:lnTo>
                  <a:lnTo>
                    <a:pt x="169" y="751"/>
                  </a:lnTo>
                  <a:lnTo>
                    <a:pt x="168" y="751"/>
                  </a:lnTo>
                  <a:lnTo>
                    <a:pt x="168" y="753"/>
                  </a:lnTo>
                  <a:lnTo>
                    <a:pt x="169" y="753"/>
                  </a:lnTo>
                  <a:lnTo>
                    <a:pt x="169" y="755"/>
                  </a:lnTo>
                  <a:lnTo>
                    <a:pt x="168" y="755"/>
                  </a:lnTo>
                  <a:lnTo>
                    <a:pt x="168" y="757"/>
                  </a:lnTo>
                  <a:lnTo>
                    <a:pt x="166" y="757"/>
                  </a:lnTo>
                  <a:lnTo>
                    <a:pt x="166" y="759"/>
                  </a:lnTo>
                  <a:lnTo>
                    <a:pt x="166" y="761"/>
                  </a:lnTo>
                  <a:lnTo>
                    <a:pt x="164" y="761"/>
                  </a:lnTo>
                  <a:lnTo>
                    <a:pt x="164" y="763"/>
                  </a:lnTo>
                  <a:lnTo>
                    <a:pt x="164" y="761"/>
                  </a:lnTo>
                  <a:lnTo>
                    <a:pt x="162" y="761"/>
                  </a:lnTo>
                  <a:lnTo>
                    <a:pt x="162" y="763"/>
                  </a:lnTo>
                  <a:lnTo>
                    <a:pt x="160" y="763"/>
                  </a:lnTo>
                  <a:lnTo>
                    <a:pt x="158" y="763"/>
                  </a:lnTo>
                  <a:lnTo>
                    <a:pt x="158" y="765"/>
                  </a:lnTo>
                  <a:lnTo>
                    <a:pt x="158" y="763"/>
                  </a:lnTo>
                  <a:lnTo>
                    <a:pt x="158" y="765"/>
                  </a:lnTo>
                  <a:lnTo>
                    <a:pt x="158" y="763"/>
                  </a:lnTo>
                  <a:lnTo>
                    <a:pt x="156" y="763"/>
                  </a:lnTo>
                  <a:lnTo>
                    <a:pt x="154" y="763"/>
                  </a:lnTo>
                  <a:lnTo>
                    <a:pt x="154" y="765"/>
                  </a:lnTo>
                  <a:lnTo>
                    <a:pt x="154" y="766"/>
                  </a:lnTo>
                  <a:lnTo>
                    <a:pt x="152" y="766"/>
                  </a:lnTo>
                  <a:lnTo>
                    <a:pt x="150" y="766"/>
                  </a:lnTo>
                  <a:lnTo>
                    <a:pt x="148" y="766"/>
                  </a:lnTo>
                  <a:lnTo>
                    <a:pt x="148" y="765"/>
                  </a:lnTo>
                  <a:lnTo>
                    <a:pt x="148" y="763"/>
                  </a:lnTo>
                  <a:lnTo>
                    <a:pt x="148" y="761"/>
                  </a:lnTo>
                  <a:lnTo>
                    <a:pt x="150" y="761"/>
                  </a:lnTo>
                  <a:lnTo>
                    <a:pt x="148" y="761"/>
                  </a:lnTo>
                  <a:lnTo>
                    <a:pt x="146" y="761"/>
                  </a:lnTo>
                  <a:lnTo>
                    <a:pt x="146" y="763"/>
                  </a:lnTo>
                  <a:lnTo>
                    <a:pt x="146" y="761"/>
                  </a:lnTo>
                  <a:lnTo>
                    <a:pt x="146" y="759"/>
                  </a:lnTo>
                  <a:lnTo>
                    <a:pt x="146" y="757"/>
                  </a:lnTo>
                  <a:lnTo>
                    <a:pt x="148" y="757"/>
                  </a:lnTo>
                  <a:lnTo>
                    <a:pt x="148" y="755"/>
                  </a:lnTo>
                  <a:lnTo>
                    <a:pt x="146" y="755"/>
                  </a:lnTo>
                  <a:lnTo>
                    <a:pt x="146" y="757"/>
                  </a:lnTo>
                  <a:lnTo>
                    <a:pt x="146" y="755"/>
                  </a:lnTo>
                  <a:lnTo>
                    <a:pt x="146" y="757"/>
                  </a:lnTo>
                  <a:lnTo>
                    <a:pt x="144" y="757"/>
                  </a:lnTo>
                  <a:lnTo>
                    <a:pt x="144" y="759"/>
                  </a:lnTo>
                  <a:lnTo>
                    <a:pt x="143" y="759"/>
                  </a:lnTo>
                  <a:lnTo>
                    <a:pt x="141" y="759"/>
                  </a:lnTo>
                  <a:lnTo>
                    <a:pt x="139" y="759"/>
                  </a:lnTo>
                  <a:lnTo>
                    <a:pt x="141" y="759"/>
                  </a:lnTo>
                  <a:lnTo>
                    <a:pt x="139" y="759"/>
                  </a:lnTo>
                  <a:lnTo>
                    <a:pt x="141" y="759"/>
                  </a:lnTo>
                  <a:lnTo>
                    <a:pt x="139" y="759"/>
                  </a:lnTo>
                  <a:lnTo>
                    <a:pt x="139" y="757"/>
                  </a:lnTo>
                  <a:lnTo>
                    <a:pt x="137" y="757"/>
                  </a:lnTo>
                  <a:lnTo>
                    <a:pt x="137" y="755"/>
                  </a:lnTo>
                  <a:lnTo>
                    <a:pt x="139" y="755"/>
                  </a:lnTo>
                  <a:lnTo>
                    <a:pt x="139" y="753"/>
                  </a:lnTo>
                  <a:lnTo>
                    <a:pt x="141" y="753"/>
                  </a:lnTo>
                  <a:lnTo>
                    <a:pt x="143" y="753"/>
                  </a:lnTo>
                  <a:lnTo>
                    <a:pt x="143" y="751"/>
                  </a:lnTo>
                  <a:lnTo>
                    <a:pt x="143" y="749"/>
                  </a:lnTo>
                  <a:lnTo>
                    <a:pt x="143" y="751"/>
                  </a:lnTo>
                  <a:lnTo>
                    <a:pt x="143" y="749"/>
                  </a:lnTo>
                  <a:lnTo>
                    <a:pt x="144" y="749"/>
                  </a:lnTo>
                  <a:lnTo>
                    <a:pt x="144" y="747"/>
                  </a:lnTo>
                  <a:lnTo>
                    <a:pt x="146" y="747"/>
                  </a:lnTo>
                  <a:lnTo>
                    <a:pt x="146" y="745"/>
                  </a:lnTo>
                  <a:lnTo>
                    <a:pt x="146" y="747"/>
                  </a:lnTo>
                  <a:lnTo>
                    <a:pt x="148" y="747"/>
                  </a:lnTo>
                  <a:lnTo>
                    <a:pt x="148" y="745"/>
                  </a:lnTo>
                  <a:lnTo>
                    <a:pt x="150" y="745"/>
                  </a:lnTo>
                  <a:lnTo>
                    <a:pt x="152" y="745"/>
                  </a:lnTo>
                  <a:lnTo>
                    <a:pt x="150" y="745"/>
                  </a:lnTo>
                  <a:lnTo>
                    <a:pt x="150" y="743"/>
                  </a:lnTo>
                  <a:lnTo>
                    <a:pt x="148" y="743"/>
                  </a:lnTo>
                  <a:lnTo>
                    <a:pt x="148" y="745"/>
                  </a:lnTo>
                  <a:lnTo>
                    <a:pt x="146" y="745"/>
                  </a:lnTo>
                  <a:lnTo>
                    <a:pt x="144" y="745"/>
                  </a:lnTo>
                  <a:lnTo>
                    <a:pt x="144" y="747"/>
                  </a:lnTo>
                  <a:lnTo>
                    <a:pt x="143" y="747"/>
                  </a:lnTo>
                  <a:lnTo>
                    <a:pt x="143" y="749"/>
                  </a:lnTo>
                  <a:lnTo>
                    <a:pt x="141" y="749"/>
                  </a:lnTo>
                  <a:lnTo>
                    <a:pt x="141" y="751"/>
                  </a:lnTo>
                  <a:lnTo>
                    <a:pt x="139" y="753"/>
                  </a:lnTo>
                  <a:lnTo>
                    <a:pt x="137" y="753"/>
                  </a:lnTo>
                  <a:lnTo>
                    <a:pt x="139" y="753"/>
                  </a:lnTo>
                  <a:lnTo>
                    <a:pt x="137" y="753"/>
                  </a:lnTo>
                  <a:lnTo>
                    <a:pt x="139" y="753"/>
                  </a:lnTo>
                  <a:lnTo>
                    <a:pt x="139" y="755"/>
                  </a:lnTo>
                  <a:lnTo>
                    <a:pt x="137" y="755"/>
                  </a:lnTo>
                  <a:lnTo>
                    <a:pt x="135" y="755"/>
                  </a:lnTo>
                  <a:lnTo>
                    <a:pt x="135" y="757"/>
                  </a:lnTo>
                  <a:lnTo>
                    <a:pt x="135" y="755"/>
                  </a:lnTo>
                  <a:lnTo>
                    <a:pt x="133" y="755"/>
                  </a:lnTo>
                  <a:lnTo>
                    <a:pt x="133" y="757"/>
                  </a:lnTo>
                  <a:lnTo>
                    <a:pt x="133" y="755"/>
                  </a:lnTo>
                  <a:lnTo>
                    <a:pt x="131" y="755"/>
                  </a:lnTo>
                  <a:lnTo>
                    <a:pt x="131" y="753"/>
                  </a:lnTo>
                  <a:lnTo>
                    <a:pt x="131" y="751"/>
                  </a:lnTo>
                  <a:lnTo>
                    <a:pt x="133" y="751"/>
                  </a:lnTo>
                  <a:lnTo>
                    <a:pt x="135" y="751"/>
                  </a:lnTo>
                  <a:lnTo>
                    <a:pt x="133" y="751"/>
                  </a:lnTo>
                  <a:lnTo>
                    <a:pt x="131" y="751"/>
                  </a:lnTo>
                  <a:lnTo>
                    <a:pt x="131" y="749"/>
                  </a:lnTo>
                  <a:lnTo>
                    <a:pt x="129" y="749"/>
                  </a:lnTo>
                  <a:lnTo>
                    <a:pt x="131" y="749"/>
                  </a:lnTo>
                  <a:lnTo>
                    <a:pt x="133" y="749"/>
                  </a:lnTo>
                  <a:lnTo>
                    <a:pt x="135" y="749"/>
                  </a:lnTo>
                  <a:lnTo>
                    <a:pt x="133" y="749"/>
                  </a:lnTo>
                  <a:lnTo>
                    <a:pt x="133" y="747"/>
                  </a:lnTo>
                  <a:lnTo>
                    <a:pt x="131" y="747"/>
                  </a:lnTo>
                  <a:lnTo>
                    <a:pt x="129" y="747"/>
                  </a:lnTo>
                  <a:lnTo>
                    <a:pt x="129" y="749"/>
                  </a:lnTo>
                  <a:lnTo>
                    <a:pt x="129" y="747"/>
                  </a:lnTo>
                  <a:lnTo>
                    <a:pt x="127" y="747"/>
                  </a:lnTo>
                  <a:lnTo>
                    <a:pt x="125" y="747"/>
                  </a:lnTo>
                  <a:lnTo>
                    <a:pt x="127" y="747"/>
                  </a:lnTo>
                  <a:lnTo>
                    <a:pt x="127" y="749"/>
                  </a:lnTo>
                  <a:lnTo>
                    <a:pt x="125" y="749"/>
                  </a:lnTo>
                  <a:lnTo>
                    <a:pt x="125" y="747"/>
                  </a:lnTo>
                  <a:lnTo>
                    <a:pt x="123" y="747"/>
                  </a:lnTo>
                  <a:lnTo>
                    <a:pt x="123" y="745"/>
                  </a:lnTo>
                  <a:lnTo>
                    <a:pt x="125" y="745"/>
                  </a:lnTo>
                  <a:lnTo>
                    <a:pt x="123" y="745"/>
                  </a:lnTo>
                  <a:lnTo>
                    <a:pt x="121" y="745"/>
                  </a:lnTo>
                  <a:lnTo>
                    <a:pt x="121" y="743"/>
                  </a:lnTo>
                  <a:lnTo>
                    <a:pt x="123" y="743"/>
                  </a:lnTo>
                  <a:lnTo>
                    <a:pt x="125" y="743"/>
                  </a:lnTo>
                  <a:lnTo>
                    <a:pt x="125" y="745"/>
                  </a:lnTo>
                  <a:lnTo>
                    <a:pt x="125" y="743"/>
                  </a:lnTo>
                  <a:lnTo>
                    <a:pt x="127" y="743"/>
                  </a:lnTo>
                  <a:lnTo>
                    <a:pt x="129" y="743"/>
                  </a:lnTo>
                  <a:lnTo>
                    <a:pt x="129" y="745"/>
                  </a:lnTo>
                  <a:lnTo>
                    <a:pt x="129" y="743"/>
                  </a:lnTo>
                  <a:lnTo>
                    <a:pt x="127" y="743"/>
                  </a:lnTo>
                  <a:lnTo>
                    <a:pt x="125" y="743"/>
                  </a:lnTo>
                  <a:lnTo>
                    <a:pt x="123" y="743"/>
                  </a:lnTo>
                  <a:lnTo>
                    <a:pt x="121" y="743"/>
                  </a:lnTo>
                  <a:lnTo>
                    <a:pt x="120" y="743"/>
                  </a:lnTo>
                  <a:lnTo>
                    <a:pt x="118" y="743"/>
                  </a:lnTo>
                  <a:lnTo>
                    <a:pt x="118" y="741"/>
                  </a:lnTo>
                  <a:lnTo>
                    <a:pt x="116" y="741"/>
                  </a:lnTo>
                  <a:lnTo>
                    <a:pt x="116" y="740"/>
                  </a:lnTo>
                  <a:lnTo>
                    <a:pt x="116" y="738"/>
                  </a:lnTo>
                  <a:lnTo>
                    <a:pt x="114" y="738"/>
                  </a:lnTo>
                  <a:lnTo>
                    <a:pt x="116" y="738"/>
                  </a:lnTo>
                  <a:lnTo>
                    <a:pt x="114" y="738"/>
                  </a:lnTo>
                  <a:lnTo>
                    <a:pt x="116" y="738"/>
                  </a:lnTo>
                  <a:lnTo>
                    <a:pt x="118" y="738"/>
                  </a:lnTo>
                  <a:lnTo>
                    <a:pt x="118" y="740"/>
                  </a:lnTo>
                  <a:lnTo>
                    <a:pt x="118" y="741"/>
                  </a:lnTo>
                  <a:lnTo>
                    <a:pt x="118" y="740"/>
                  </a:lnTo>
                  <a:lnTo>
                    <a:pt x="120" y="740"/>
                  </a:lnTo>
                  <a:lnTo>
                    <a:pt x="120" y="738"/>
                  </a:lnTo>
                  <a:lnTo>
                    <a:pt x="121" y="738"/>
                  </a:lnTo>
                  <a:lnTo>
                    <a:pt x="123" y="738"/>
                  </a:lnTo>
                  <a:lnTo>
                    <a:pt x="125" y="738"/>
                  </a:lnTo>
                  <a:lnTo>
                    <a:pt x="127" y="738"/>
                  </a:lnTo>
                  <a:lnTo>
                    <a:pt x="127" y="740"/>
                  </a:lnTo>
                  <a:lnTo>
                    <a:pt x="129" y="740"/>
                  </a:lnTo>
                  <a:lnTo>
                    <a:pt x="131" y="740"/>
                  </a:lnTo>
                  <a:lnTo>
                    <a:pt x="129" y="738"/>
                  </a:lnTo>
                  <a:lnTo>
                    <a:pt x="127" y="738"/>
                  </a:lnTo>
                  <a:lnTo>
                    <a:pt x="125" y="738"/>
                  </a:lnTo>
                  <a:lnTo>
                    <a:pt x="123" y="738"/>
                  </a:lnTo>
                  <a:lnTo>
                    <a:pt x="121" y="738"/>
                  </a:lnTo>
                  <a:lnTo>
                    <a:pt x="120" y="738"/>
                  </a:lnTo>
                  <a:lnTo>
                    <a:pt x="120" y="736"/>
                  </a:lnTo>
                  <a:lnTo>
                    <a:pt x="118" y="736"/>
                  </a:lnTo>
                  <a:lnTo>
                    <a:pt x="118" y="734"/>
                  </a:lnTo>
                  <a:lnTo>
                    <a:pt x="120" y="734"/>
                  </a:lnTo>
                  <a:lnTo>
                    <a:pt x="118" y="734"/>
                  </a:lnTo>
                  <a:lnTo>
                    <a:pt x="118" y="732"/>
                  </a:lnTo>
                  <a:lnTo>
                    <a:pt x="120" y="732"/>
                  </a:lnTo>
                  <a:lnTo>
                    <a:pt x="120" y="734"/>
                  </a:lnTo>
                  <a:lnTo>
                    <a:pt x="121" y="734"/>
                  </a:lnTo>
                  <a:lnTo>
                    <a:pt x="123" y="734"/>
                  </a:lnTo>
                  <a:lnTo>
                    <a:pt x="121" y="734"/>
                  </a:lnTo>
                  <a:lnTo>
                    <a:pt x="123" y="734"/>
                  </a:lnTo>
                  <a:lnTo>
                    <a:pt x="123" y="736"/>
                  </a:lnTo>
                  <a:lnTo>
                    <a:pt x="123" y="734"/>
                  </a:lnTo>
                  <a:lnTo>
                    <a:pt x="123" y="736"/>
                  </a:lnTo>
                  <a:lnTo>
                    <a:pt x="125" y="736"/>
                  </a:lnTo>
                  <a:lnTo>
                    <a:pt x="127" y="736"/>
                  </a:lnTo>
                  <a:lnTo>
                    <a:pt x="129" y="736"/>
                  </a:lnTo>
                  <a:lnTo>
                    <a:pt x="129" y="738"/>
                  </a:lnTo>
                  <a:lnTo>
                    <a:pt x="131" y="738"/>
                  </a:lnTo>
                  <a:lnTo>
                    <a:pt x="133" y="738"/>
                  </a:lnTo>
                  <a:lnTo>
                    <a:pt x="133" y="740"/>
                  </a:lnTo>
                  <a:lnTo>
                    <a:pt x="135" y="740"/>
                  </a:lnTo>
                  <a:lnTo>
                    <a:pt x="135" y="738"/>
                  </a:lnTo>
                  <a:lnTo>
                    <a:pt x="135" y="740"/>
                  </a:lnTo>
                  <a:lnTo>
                    <a:pt x="137" y="740"/>
                  </a:lnTo>
                  <a:lnTo>
                    <a:pt x="137" y="741"/>
                  </a:lnTo>
                  <a:lnTo>
                    <a:pt x="139" y="741"/>
                  </a:lnTo>
                  <a:lnTo>
                    <a:pt x="139" y="740"/>
                  </a:lnTo>
                  <a:lnTo>
                    <a:pt x="139" y="741"/>
                  </a:lnTo>
                  <a:lnTo>
                    <a:pt x="141" y="741"/>
                  </a:lnTo>
                  <a:lnTo>
                    <a:pt x="141" y="740"/>
                  </a:lnTo>
                  <a:lnTo>
                    <a:pt x="143" y="740"/>
                  </a:lnTo>
                  <a:lnTo>
                    <a:pt x="143" y="738"/>
                  </a:lnTo>
                  <a:lnTo>
                    <a:pt x="144" y="738"/>
                  </a:lnTo>
                  <a:lnTo>
                    <a:pt x="144" y="740"/>
                  </a:lnTo>
                  <a:lnTo>
                    <a:pt x="146" y="740"/>
                  </a:lnTo>
                  <a:lnTo>
                    <a:pt x="146" y="738"/>
                  </a:lnTo>
                  <a:lnTo>
                    <a:pt x="148" y="738"/>
                  </a:lnTo>
                  <a:lnTo>
                    <a:pt x="146" y="738"/>
                  </a:lnTo>
                  <a:lnTo>
                    <a:pt x="148" y="738"/>
                  </a:lnTo>
                  <a:lnTo>
                    <a:pt x="146" y="736"/>
                  </a:lnTo>
                  <a:lnTo>
                    <a:pt x="148" y="736"/>
                  </a:lnTo>
                  <a:lnTo>
                    <a:pt x="146" y="736"/>
                  </a:lnTo>
                  <a:lnTo>
                    <a:pt x="148" y="736"/>
                  </a:lnTo>
                  <a:lnTo>
                    <a:pt x="146" y="736"/>
                  </a:lnTo>
                  <a:lnTo>
                    <a:pt x="148" y="736"/>
                  </a:lnTo>
                  <a:lnTo>
                    <a:pt x="146" y="736"/>
                  </a:lnTo>
                  <a:lnTo>
                    <a:pt x="146" y="734"/>
                  </a:lnTo>
                  <a:lnTo>
                    <a:pt x="148" y="734"/>
                  </a:lnTo>
                  <a:lnTo>
                    <a:pt x="148" y="732"/>
                  </a:lnTo>
                  <a:lnTo>
                    <a:pt x="148" y="734"/>
                  </a:lnTo>
                  <a:lnTo>
                    <a:pt x="150" y="734"/>
                  </a:lnTo>
                  <a:lnTo>
                    <a:pt x="152" y="734"/>
                  </a:lnTo>
                  <a:lnTo>
                    <a:pt x="152" y="732"/>
                  </a:lnTo>
                  <a:lnTo>
                    <a:pt x="154" y="732"/>
                  </a:lnTo>
                  <a:lnTo>
                    <a:pt x="156" y="732"/>
                  </a:lnTo>
                  <a:lnTo>
                    <a:pt x="156" y="730"/>
                  </a:lnTo>
                  <a:lnTo>
                    <a:pt x="154" y="730"/>
                  </a:lnTo>
                  <a:lnTo>
                    <a:pt x="154" y="728"/>
                  </a:lnTo>
                  <a:lnTo>
                    <a:pt x="156" y="728"/>
                  </a:lnTo>
                  <a:lnTo>
                    <a:pt x="156" y="726"/>
                  </a:lnTo>
                  <a:lnTo>
                    <a:pt x="158" y="726"/>
                  </a:lnTo>
                  <a:lnTo>
                    <a:pt x="158" y="724"/>
                  </a:lnTo>
                  <a:lnTo>
                    <a:pt x="156" y="722"/>
                  </a:lnTo>
                  <a:lnTo>
                    <a:pt x="158" y="722"/>
                  </a:lnTo>
                  <a:lnTo>
                    <a:pt x="156" y="722"/>
                  </a:lnTo>
                  <a:lnTo>
                    <a:pt x="158" y="722"/>
                  </a:lnTo>
                  <a:lnTo>
                    <a:pt x="156" y="722"/>
                  </a:lnTo>
                  <a:lnTo>
                    <a:pt x="158" y="722"/>
                  </a:lnTo>
                  <a:lnTo>
                    <a:pt x="156" y="722"/>
                  </a:lnTo>
                  <a:lnTo>
                    <a:pt x="158" y="722"/>
                  </a:lnTo>
                  <a:lnTo>
                    <a:pt x="156" y="722"/>
                  </a:lnTo>
                  <a:lnTo>
                    <a:pt x="156" y="720"/>
                  </a:lnTo>
                  <a:lnTo>
                    <a:pt x="156" y="722"/>
                  </a:lnTo>
                  <a:lnTo>
                    <a:pt x="156" y="720"/>
                  </a:lnTo>
                  <a:lnTo>
                    <a:pt x="154" y="720"/>
                  </a:lnTo>
                  <a:lnTo>
                    <a:pt x="154" y="722"/>
                  </a:lnTo>
                  <a:lnTo>
                    <a:pt x="154" y="724"/>
                  </a:lnTo>
                  <a:lnTo>
                    <a:pt x="154" y="726"/>
                  </a:lnTo>
                  <a:lnTo>
                    <a:pt x="154" y="728"/>
                  </a:lnTo>
                  <a:lnTo>
                    <a:pt x="152" y="728"/>
                  </a:lnTo>
                  <a:lnTo>
                    <a:pt x="152" y="730"/>
                  </a:lnTo>
                  <a:lnTo>
                    <a:pt x="154" y="730"/>
                  </a:lnTo>
                  <a:lnTo>
                    <a:pt x="154" y="732"/>
                  </a:lnTo>
                  <a:lnTo>
                    <a:pt x="152" y="732"/>
                  </a:lnTo>
                  <a:lnTo>
                    <a:pt x="150" y="732"/>
                  </a:lnTo>
                  <a:lnTo>
                    <a:pt x="150" y="730"/>
                  </a:lnTo>
                  <a:lnTo>
                    <a:pt x="148" y="730"/>
                  </a:lnTo>
                  <a:lnTo>
                    <a:pt x="148" y="732"/>
                  </a:lnTo>
                  <a:lnTo>
                    <a:pt x="146" y="732"/>
                  </a:lnTo>
                  <a:lnTo>
                    <a:pt x="146" y="734"/>
                  </a:lnTo>
                  <a:lnTo>
                    <a:pt x="144" y="734"/>
                  </a:lnTo>
                  <a:lnTo>
                    <a:pt x="144" y="736"/>
                  </a:lnTo>
                  <a:lnTo>
                    <a:pt x="146" y="736"/>
                  </a:lnTo>
                  <a:lnTo>
                    <a:pt x="144" y="736"/>
                  </a:lnTo>
                  <a:lnTo>
                    <a:pt x="144" y="738"/>
                  </a:lnTo>
                  <a:lnTo>
                    <a:pt x="144" y="736"/>
                  </a:lnTo>
                  <a:lnTo>
                    <a:pt x="143" y="736"/>
                  </a:lnTo>
                  <a:lnTo>
                    <a:pt x="143" y="738"/>
                  </a:lnTo>
                  <a:lnTo>
                    <a:pt x="141" y="738"/>
                  </a:lnTo>
                  <a:lnTo>
                    <a:pt x="141" y="740"/>
                  </a:lnTo>
                  <a:lnTo>
                    <a:pt x="139" y="740"/>
                  </a:lnTo>
                  <a:lnTo>
                    <a:pt x="139" y="738"/>
                  </a:lnTo>
                  <a:lnTo>
                    <a:pt x="137" y="738"/>
                  </a:lnTo>
                  <a:lnTo>
                    <a:pt x="135" y="738"/>
                  </a:lnTo>
                  <a:lnTo>
                    <a:pt x="133" y="738"/>
                  </a:lnTo>
                  <a:lnTo>
                    <a:pt x="133" y="736"/>
                  </a:lnTo>
                  <a:lnTo>
                    <a:pt x="131" y="736"/>
                  </a:lnTo>
                  <a:lnTo>
                    <a:pt x="133" y="736"/>
                  </a:lnTo>
                  <a:lnTo>
                    <a:pt x="131" y="736"/>
                  </a:lnTo>
                  <a:lnTo>
                    <a:pt x="131" y="734"/>
                  </a:lnTo>
                  <a:lnTo>
                    <a:pt x="129" y="734"/>
                  </a:lnTo>
                  <a:lnTo>
                    <a:pt x="127" y="734"/>
                  </a:lnTo>
                  <a:lnTo>
                    <a:pt x="125" y="734"/>
                  </a:lnTo>
                  <a:lnTo>
                    <a:pt x="125" y="732"/>
                  </a:lnTo>
                  <a:lnTo>
                    <a:pt x="123" y="732"/>
                  </a:lnTo>
                  <a:lnTo>
                    <a:pt x="123" y="730"/>
                  </a:lnTo>
                  <a:lnTo>
                    <a:pt x="125" y="730"/>
                  </a:lnTo>
                  <a:lnTo>
                    <a:pt x="127" y="730"/>
                  </a:lnTo>
                  <a:lnTo>
                    <a:pt x="129" y="730"/>
                  </a:lnTo>
                  <a:lnTo>
                    <a:pt x="131" y="730"/>
                  </a:lnTo>
                  <a:lnTo>
                    <a:pt x="131" y="728"/>
                  </a:lnTo>
                  <a:lnTo>
                    <a:pt x="131" y="730"/>
                  </a:lnTo>
                  <a:lnTo>
                    <a:pt x="133" y="730"/>
                  </a:lnTo>
                  <a:lnTo>
                    <a:pt x="133" y="728"/>
                  </a:lnTo>
                  <a:lnTo>
                    <a:pt x="131" y="728"/>
                  </a:lnTo>
                  <a:lnTo>
                    <a:pt x="129" y="728"/>
                  </a:lnTo>
                  <a:lnTo>
                    <a:pt x="127" y="728"/>
                  </a:lnTo>
                  <a:lnTo>
                    <a:pt x="127" y="726"/>
                  </a:lnTo>
                  <a:lnTo>
                    <a:pt x="127" y="724"/>
                  </a:lnTo>
                  <a:lnTo>
                    <a:pt x="129" y="724"/>
                  </a:lnTo>
                  <a:lnTo>
                    <a:pt x="129" y="722"/>
                  </a:lnTo>
                  <a:lnTo>
                    <a:pt x="131" y="722"/>
                  </a:lnTo>
                  <a:lnTo>
                    <a:pt x="129" y="722"/>
                  </a:lnTo>
                  <a:lnTo>
                    <a:pt x="129" y="720"/>
                  </a:lnTo>
                  <a:lnTo>
                    <a:pt x="129" y="722"/>
                  </a:lnTo>
                  <a:lnTo>
                    <a:pt x="127" y="722"/>
                  </a:lnTo>
                  <a:lnTo>
                    <a:pt x="125" y="722"/>
                  </a:lnTo>
                  <a:lnTo>
                    <a:pt x="125" y="720"/>
                  </a:lnTo>
                  <a:lnTo>
                    <a:pt x="127" y="720"/>
                  </a:lnTo>
                  <a:lnTo>
                    <a:pt x="125" y="720"/>
                  </a:lnTo>
                  <a:lnTo>
                    <a:pt x="123" y="720"/>
                  </a:lnTo>
                  <a:lnTo>
                    <a:pt x="121" y="720"/>
                  </a:lnTo>
                  <a:lnTo>
                    <a:pt x="121" y="718"/>
                  </a:lnTo>
                  <a:lnTo>
                    <a:pt x="121" y="720"/>
                  </a:lnTo>
                  <a:lnTo>
                    <a:pt x="121" y="718"/>
                  </a:lnTo>
                  <a:lnTo>
                    <a:pt x="120" y="718"/>
                  </a:lnTo>
                  <a:lnTo>
                    <a:pt x="118" y="718"/>
                  </a:lnTo>
                  <a:lnTo>
                    <a:pt x="118" y="717"/>
                  </a:lnTo>
                  <a:lnTo>
                    <a:pt x="118" y="718"/>
                  </a:lnTo>
                  <a:lnTo>
                    <a:pt x="118" y="717"/>
                  </a:lnTo>
                  <a:lnTo>
                    <a:pt x="120" y="717"/>
                  </a:lnTo>
                  <a:lnTo>
                    <a:pt x="118" y="717"/>
                  </a:lnTo>
                  <a:lnTo>
                    <a:pt x="118" y="715"/>
                  </a:lnTo>
                  <a:lnTo>
                    <a:pt x="116" y="715"/>
                  </a:lnTo>
                  <a:lnTo>
                    <a:pt x="118" y="715"/>
                  </a:lnTo>
                  <a:lnTo>
                    <a:pt x="118" y="717"/>
                  </a:lnTo>
                  <a:lnTo>
                    <a:pt x="120" y="717"/>
                  </a:lnTo>
                  <a:lnTo>
                    <a:pt x="118" y="717"/>
                  </a:lnTo>
                  <a:lnTo>
                    <a:pt x="116" y="717"/>
                  </a:lnTo>
                  <a:lnTo>
                    <a:pt x="116" y="715"/>
                  </a:lnTo>
                  <a:lnTo>
                    <a:pt x="118" y="715"/>
                  </a:lnTo>
                  <a:lnTo>
                    <a:pt x="118" y="713"/>
                  </a:lnTo>
                  <a:lnTo>
                    <a:pt x="120" y="713"/>
                  </a:lnTo>
                  <a:lnTo>
                    <a:pt x="121" y="713"/>
                  </a:lnTo>
                  <a:lnTo>
                    <a:pt x="121" y="715"/>
                  </a:lnTo>
                  <a:lnTo>
                    <a:pt x="123" y="715"/>
                  </a:lnTo>
                  <a:lnTo>
                    <a:pt x="121" y="715"/>
                  </a:lnTo>
                  <a:lnTo>
                    <a:pt x="120" y="715"/>
                  </a:lnTo>
                  <a:lnTo>
                    <a:pt x="120" y="717"/>
                  </a:lnTo>
                  <a:lnTo>
                    <a:pt x="121" y="717"/>
                  </a:lnTo>
                  <a:lnTo>
                    <a:pt x="123" y="717"/>
                  </a:lnTo>
                  <a:lnTo>
                    <a:pt x="121" y="717"/>
                  </a:lnTo>
                  <a:lnTo>
                    <a:pt x="123" y="717"/>
                  </a:lnTo>
                  <a:lnTo>
                    <a:pt x="123" y="715"/>
                  </a:lnTo>
                  <a:lnTo>
                    <a:pt x="125" y="715"/>
                  </a:lnTo>
                  <a:lnTo>
                    <a:pt x="125" y="717"/>
                  </a:lnTo>
                  <a:lnTo>
                    <a:pt x="127" y="717"/>
                  </a:lnTo>
                  <a:lnTo>
                    <a:pt x="127" y="718"/>
                  </a:lnTo>
                  <a:lnTo>
                    <a:pt x="129" y="718"/>
                  </a:lnTo>
                  <a:lnTo>
                    <a:pt x="131" y="718"/>
                  </a:lnTo>
                  <a:lnTo>
                    <a:pt x="129" y="718"/>
                  </a:lnTo>
                  <a:lnTo>
                    <a:pt x="129" y="717"/>
                  </a:lnTo>
                  <a:lnTo>
                    <a:pt x="127" y="717"/>
                  </a:lnTo>
                  <a:lnTo>
                    <a:pt x="127" y="715"/>
                  </a:lnTo>
                  <a:lnTo>
                    <a:pt x="125" y="715"/>
                  </a:lnTo>
                  <a:lnTo>
                    <a:pt x="123" y="713"/>
                  </a:lnTo>
                  <a:lnTo>
                    <a:pt x="125" y="713"/>
                  </a:lnTo>
                  <a:lnTo>
                    <a:pt x="123" y="713"/>
                  </a:lnTo>
                  <a:lnTo>
                    <a:pt x="123" y="711"/>
                  </a:lnTo>
                  <a:lnTo>
                    <a:pt x="121" y="711"/>
                  </a:lnTo>
                  <a:lnTo>
                    <a:pt x="123" y="711"/>
                  </a:lnTo>
                  <a:lnTo>
                    <a:pt x="121" y="711"/>
                  </a:lnTo>
                  <a:lnTo>
                    <a:pt x="123" y="711"/>
                  </a:lnTo>
                  <a:lnTo>
                    <a:pt x="121" y="711"/>
                  </a:lnTo>
                  <a:lnTo>
                    <a:pt x="123" y="711"/>
                  </a:lnTo>
                  <a:lnTo>
                    <a:pt x="123" y="709"/>
                  </a:lnTo>
                  <a:lnTo>
                    <a:pt x="123" y="707"/>
                  </a:lnTo>
                  <a:lnTo>
                    <a:pt x="123" y="705"/>
                  </a:lnTo>
                  <a:lnTo>
                    <a:pt x="121" y="705"/>
                  </a:lnTo>
                  <a:lnTo>
                    <a:pt x="121" y="707"/>
                  </a:lnTo>
                  <a:lnTo>
                    <a:pt x="121" y="709"/>
                  </a:lnTo>
                  <a:lnTo>
                    <a:pt x="121" y="711"/>
                  </a:lnTo>
                  <a:lnTo>
                    <a:pt x="120" y="711"/>
                  </a:lnTo>
                  <a:lnTo>
                    <a:pt x="118" y="711"/>
                  </a:lnTo>
                  <a:lnTo>
                    <a:pt x="116" y="711"/>
                  </a:lnTo>
                  <a:lnTo>
                    <a:pt x="114" y="711"/>
                  </a:lnTo>
                  <a:lnTo>
                    <a:pt x="114" y="713"/>
                  </a:lnTo>
                  <a:lnTo>
                    <a:pt x="114" y="711"/>
                  </a:lnTo>
                  <a:lnTo>
                    <a:pt x="112" y="711"/>
                  </a:lnTo>
                  <a:lnTo>
                    <a:pt x="112" y="709"/>
                  </a:lnTo>
                  <a:lnTo>
                    <a:pt x="110" y="709"/>
                  </a:lnTo>
                  <a:lnTo>
                    <a:pt x="110" y="707"/>
                  </a:lnTo>
                  <a:lnTo>
                    <a:pt x="108" y="707"/>
                  </a:lnTo>
                  <a:lnTo>
                    <a:pt x="108" y="705"/>
                  </a:lnTo>
                  <a:lnTo>
                    <a:pt x="110" y="705"/>
                  </a:lnTo>
                  <a:lnTo>
                    <a:pt x="110" y="707"/>
                  </a:lnTo>
                  <a:lnTo>
                    <a:pt x="112" y="707"/>
                  </a:lnTo>
                  <a:lnTo>
                    <a:pt x="114" y="707"/>
                  </a:lnTo>
                  <a:lnTo>
                    <a:pt x="112" y="707"/>
                  </a:lnTo>
                  <a:lnTo>
                    <a:pt x="114" y="707"/>
                  </a:lnTo>
                  <a:lnTo>
                    <a:pt x="114" y="709"/>
                  </a:lnTo>
                  <a:lnTo>
                    <a:pt x="116" y="709"/>
                  </a:lnTo>
                  <a:lnTo>
                    <a:pt x="114" y="709"/>
                  </a:lnTo>
                  <a:lnTo>
                    <a:pt x="114" y="707"/>
                  </a:lnTo>
                  <a:lnTo>
                    <a:pt x="116" y="707"/>
                  </a:lnTo>
                  <a:lnTo>
                    <a:pt x="114" y="707"/>
                  </a:lnTo>
                  <a:lnTo>
                    <a:pt x="112" y="707"/>
                  </a:lnTo>
                  <a:lnTo>
                    <a:pt x="112" y="705"/>
                  </a:lnTo>
                  <a:lnTo>
                    <a:pt x="110" y="705"/>
                  </a:lnTo>
                  <a:lnTo>
                    <a:pt x="112" y="705"/>
                  </a:lnTo>
                  <a:lnTo>
                    <a:pt x="112" y="703"/>
                  </a:lnTo>
                  <a:lnTo>
                    <a:pt x="110" y="703"/>
                  </a:lnTo>
                  <a:lnTo>
                    <a:pt x="108" y="703"/>
                  </a:lnTo>
                  <a:lnTo>
                    <a:pt x="110" y="703"/>
                  </a:lnTo>
                  <a:lnTo>
                    <a:pt x="108" y="703"/>
                  </a:lnTo>
                  <a:lnTo>
                    <a:pt x="110" y="703"/>
                  </a:lnTo>
                  <a:lnTo>
                    <a:pt x="108" y="703"/>
                  </a:lnTo>
                  <a:lnTo>
                    <a:pt x="108" y="705"/>
                  </a:lnTo>
                  <a:lnTo>
                    <a:pt x="108" y="703"/>
                  </a:lnTo>
                  <a:lnTo>
                    <a:pt x="108" y="705"/>
                  </a:lnTo>
                  <a:lnTo>
                    <a:pt x="106" y="705"/>
                  </a:lnTo>
                  <a:lnTo>
                    <a:pt x="104" y="705"/>
                  </a:lnTo>
                  <a:lnTo>
                    <a:pt x="104" y="703"/>
                  </a:lnTo>
                  <a:lnTo>
                    <a:pt x="102" y="703"/>
                  </a:lnTo>
                  <a:lnTo>
                    <a:pt x="104" y="703"/>
                  </a:lnTo>
                  <a:lnTo>
                    <a:pt x="102" y="703"/>
                  </a:lnTo>
                  <a:lnTo>
                    <a:pt x="102" y="701"/>
                  </a:lnTo>
                  <a:lnTo>
                    <a:pt x="100" y="701"/>
                  </a:lnTo>
                  <a:lnTo>
                    <a:pt x="102" y="701"/>
                  </a:lnTo>
                  <a:lnTo>
                    <a:pt x="100" y="701"/>
                  </a:lnTo>
                  <a:lnTo>
                    <a:pt x="100" y="699"/>
                  </a:lnTo>
                  <a:lnTo>
                    <a:pt x="100" y="701"/>
                  </a:lnTo>
                  <a:lnTo>
                    <a:pt x="100" y="699"/>
                  </a:lnTo>
                  <a:lnTo>
                    <a:pt x="98" y="699"/>
                  </a:lnTo>
                  <a:lnTo>
                    <a:pt x="100" y="699"/>
                  </a:lnTo>
                  <a:lnTo>
                    <a:pt x="98" y="699"/>
                  </a:lnTo>
                  <a:lnTo>
                    <a:pt x="100" y="699"/>
                  </a:lnTo>
                  <a:lnTo>
                    <a:pt x="100" y="697"/>
                  </a:lnTo>
                  <a:lnTo>
                    <a:pt x="98" y="697"/>
                  </a:lnTo>
                  <a:lnTo>
                    <a:pt x="96" y="697"/>
                  </a:lnTo>
                  <a:lnTo>
                    <a:pt x="98" y="697"/>
                  </a:lnTo>
                  <a:lnTo>
                    <a:pt x="98" y="699"/>
                  </a:lnTo>
                  <a:lnTo>
                    <a:pt x="98" y="701"/>
                  </a:lnTo>
                  <a:lnTo>
                    <a:pt x="100" y="701"/>
                  </a:lnTo>
                  <a:lnTo>
                    <a:pt x="100" y="703"/>
                  </a:lnTo>
                  <a:lnTo>
                    <a:pt x="102" y="703"/>
                  </a:lnTo>
                  <a:lnTo>
                    <a:pt x="102" y="705"/>
                  </a:lnTo>
                  <a:lnTo>
                    <a:pt x="102" y="703"/>
                  </a:lnTo>
                  <a:lnTo>
                    <a:pt x="102" y="705"/>
                  </a:lnTo>
                  <a:lnTo>
                    <a:pt x="104" y="705"/>
                  </a:lnTo>
                  <a:lnTo>
                    <a:pt x="106" y="705"/>
                  </a:lnTo>
                  <a:lnTo>
                    <a:pt x="106" y="707"/>
                  </a:lnTo>
                  <a:lnTo>
                    <a:pt x="104" y="707"/>
                  </a:lnTo>
                  <a:lnTo>
                    <a:pt x="102" y="707"/>
                  </a:lnTo>
                  <a:lnTo>
                    <a:pt x="100" y="707"/>
                  </a:lnTo>
                  <a:lnTo>
                    <a:pt x="98" y="707"/>
                  </a:lnTo>
                  <a:lnTo>
                    <a:pt x="98" y="705"/>
                  </a:lnTo>
                  <a:lnTo>
                    <a:pt x="98" y="707"/>
                  </a:lnTo>
                  <a:lnTo>
                    <a:pt x="98" y="705"/>
                  </a:lnTo>
                  <a:lnTo>
                    <a:pt x="98" y="707"/>
                  </a:lnTo>
                  <a:lnTo>
                    <a:pt x="98" y="705"/>
                  </a:lnTo>
                  <a:lnTo>
                    <a:pt x="98" y="703"/>
                  </a:lnTo>
                  <a:lnTo>
                    <a:pt x="96" y="703"/>
                  </a:lnTo>
                  <a:lnTo>
                    <a:pt x="96" y="701"/>
                  </a:lnTo>
                  <a:lnTo>
                    <a:pt x="95" y="701"/>
                  </a:lnTo>
                  <a:lnTo>
                    <a:pt x="95" y="699"/>
                  </a:lnTo>
                  <a:lnTo>
                    <a:pt x="95" y="697"/>
                  </a:lnTo>
                  <a:lnTo>
                    <a:pt x="95" y="695"/>
                  </a:lnTo>
                  <a:lnTo>
                    <a:pt x="95" y="697"/>
                  </a:lnTo>
                  <a:lnTo>
                    <a:pt x="93" y="697"/>
                  </a:lnTo>
                  <a:lnTo>
                    <a:pt x="93" y="695"/>
                  </a:lnTo>
                  <a:lnTo>
                    <a:pt x="93" y="697"/>
                  </a:lnTo>
                  <a:lnTo>
                    <a:pt x="93" y="695"/>
                  </a:lnTo>
                  <a:lnTo>
                    <a:pt x="93" y="697"/>
                  </a:lnTo>
                  <a:lnTo>
                    <a:pt x="93" y="695"/>
                  </a:lnTo>
                  <a:lnTo>
                    <a:pt x="93" y="693"/>
                  </a:lnTo>
                  <a:lnTo>
                    <a:pt x="93" y="695"/>
                  </a:lnTo>
                  <a:lnTo>
                    <a:pt x="93" y="693"/>
                  </a:lnTo>
                  <a:lnTo>
                    <a:pt x="91" y="693"/>
                  </a:lnTo>
                  <a:lnTo>
                    <a:pt x="91" y="695"/>
                  </a:lnTo>
                  <a:lnTo>
                    <a:pt x="91" y="693"/>
                  </a:lnTo>
                  <a:lnTo>
                    <a:pt x="91" y="692"/>
                  </a:lnTo>
                  <a:lnTo>
                    <a:pt x="89" y="692"/>
                  </a:lnTo>
                  <a:lnTo>
                    <a:pt x="91" y="692"/>
                  </a:lnTo>
                  <a:lnTo>
                    <a:pt x="89" y="692"/>
                  </a:lnTo>
                  <a:lnTo>
                    <a:pt x="91" y="692"/>
                  </a:lnTo>
                  <a:lnTo>
                    <a:pt x="89" y="692"/>
                  </a:lnTo>
                  <a:lnTo>
                    <a:pt x="91" y="692"/>
                  </a:lnTo>
                  <a:lnTo>
                    <a:pt x="89" y="692"/>
                  </a:lnTo>
                  <a:lnTo>
                    <a:pt x="89" y="690"/>
                  </a:lnTo>
                  <a:lnTo>
                    <a:pt x="91" y="690"/>
                  </a:lnTo>
                  <a:lnTo>
                    <a:pt x="91" y="692"/>
                  </a:lnTo>
                  <a:lnTo>
                    <a:pt x="91" y="690"/>
                  </a:lnTo>
                  <a:lnTo>
                    <a:pt x="91" y="692"/>
                  </a:lnTo>
                  <a:lnTo>
                    <a:pt x="91" y="690"/>
                  </a:lnTo>
                  <a:lnTo>
                    <a:pt x="91" y="692"/>
                  </a:lnTo>
                  <a:lnTo>
                    <a:pt x="91" y="690"/>
                  </a:lnTo>
                  <a:lnTo>
                    <a:pt x="89" y="690"/>
                  </a:lnTo>
                  <a:lnTo>
                    <a:pt x="89" y="688"/>
                  </a:lnTo>
                  <a:lnTo>
                    <a:pt x="89" y="686"/>
                  </a:lnTo>
                  <a:lnTo>
                    <a:pt x="91" y="686"/>
                  </a:lnTo>
                  <a:lnTo>
                    <a:pt x="89" y="686"/>
                  </a:lnTo>
                  <a:lnTo>
                    <a:pt x="91" y="686"/>
                  </a:lnTo>
                  <a:lnTo>
                    <a:pt x="91" y="684"/>
                  </a:lnTo>
                  <a:lnTo>
                    <a:pt x="91" y="682"/>
                  </a:lnTo>
                  <a:lnTo>
                    <a:pt x="93" y="682"/>
                  </a:lnTo>
                  <a:lnTo>
                    <a:pt x="93" y="684"/>
                  </a:lnTo>
                  <a:lnTo>
                    <a:pt x="93" y="682"/>
                  </a:lnTo>
                  <a:lnTo>
                    <a:pt x="93" y="684"/>
                  </a:lnTo>
                  <a:lnTo>
                    <a:pt x="95" y="684"/>
                  </a:lnTo>
                  <a:lnTo>
                    <a:pt x="95" y="686"/>
                  </a:lnTo>
                  <a:lnTo>
                    <a:pt x="93" y="686"/>
                  </a:lnTo>
                  <a:lnTo>
                    <a:pt x="95" y="686"/>
                  </a:lnTo>
                  <a:lnTo>
                    <a:pt x="95" y="688"/>
                  </a:lnTo>
                  <a:lnTo>
                    <a:pt x="96" y="688"/>
                  </a:lnTo>
                  <a:lnTo>
                    <a:pt x="95" y="688"/>
                  </a:lnTo>
                  <a:lnTo>
                    <a:pt x="96" y="688"/>
                  </a:lnTo>
                  <a:lnTo>
                    <a:pt x="96" y="690"/>
                  </a:lnTo>
                  <a:lnTo>
                    <a:pt x="96" y="692"/>
                  </a:lnTo>
                  <a:lnTo>
                    <a:pt x="96" y="690"/>
                  </a:lnTo>
                  <a:lnTo>
                    <a:pt x="96" y="692"/>
                  </a:lnTo>
                  <a:lnTo>
                    <a:pt x="98" y="692"/>
                  </a:lnTo>
                  <a:lnTo>
                    <a:pt x="96" y="692"/>
                  </a:lnTo>
                  <a:lnTo>
                    <a:pt x="95" y="692"/>
                  </a:lnTo>
                  <a:lnTo>
                    <a:pt x="96" y="692"/>
                  </a:lnTo>
                  <a:lnTo>
                    <a:pt x="96" y="693"/>
                  </a:lnTo>
                  <a:lnTo>
                    <a:pt x="96" y="692"/>
                  </a:lnTo>
                  <a:lnTo>
                    <a:pt x="96" y="693"/>
                  </a:lnTo>
                  <a:lnTo>
                    <a:pt x="98" y="693"/>
                  </a:lnTo>
                  <a:lnTo>
                    <a:pt x="100" y="693"/>
                  </a:lnTo>
                  <a:lnTo>
                    <a:pt x="100" y="692"/>
                  </a:lnTo>
                  <a:lnTo>
                    <a:pt x="100" y="693"/>
                  </a:lnTo>
                  <a:lnTo>
                    <a:pt x="98" y="693"/>
                  </a:lnTo>
                  <a:lnTo>
                    <a:pt x="98" y="692"/>
                  </a:lnTo>
                  <a:lnTo>
                    <a:pt x="96" y="692"/>
                  </a:lnTo>
                  <a:lnTo>
                    <a:pt x="96" y="690"/>
                  </a:lnTo>
                  <a:lnTo>
                    <a:pt x="98" y="690"/>
                  </a:lnTo>
                  <a:lnTo>
                    <a:pt x="96" y="690"/>
                  </a:lnTo>
                  <a:lnTo>
                    <a:pt x="98" y="690"/>
                  </a:lnTo>
                  <a:lnTo>
                    <a:pt x="98" y="692"/>
                  </a:lnTo>
                  <a:lnTo>
                    <a:pt x="98" y="690"/>
                  </a:lnTo>
                  <a:lnTo>
                    <a:pt x="98" y="692"/>
                  </a:lnTo>
                  <a:lnTo>
                    <a:pt x="100" y="692"/>
                  </a:lnTo>
                  <a:lnTo>
                    <a:pt x="102" y="692"/>
                  </a:lnTo>
                  <a:lnTo>
                    <a:pt x="102" y="693"/>
                  </a:lnTo>
                  <a:lnTo>
                    <a:pt x="104" y="693"/>
                  </a:lnTo>
                  <a:lnTo>
                    <a:pt x="106" y="693"/>
                  </a:lnTo>
                  <a:lnTo>
                    <a:pt x="108" y="693"/>
                  </a:lnTo>
                  <a:lnTo>
                    <a:pt x="108" y="695"/>
                  </a:lnTo>
                  <a:lnTo>
                    <a:pt x="110" y="695"/>
                  </a:lnTo>
                  <a:lnTo>
                    <a:pt x="112" y="695"/>
                  </a:lnTo>
                  <a:lnTo>
                    <a:pt x="112" y="697"/>
                  </a:lnTo>
                  <a:lnTo>
                    <a:pt x="112" y="695"/>
                  </a:lnTo>
                  <a:lnTo>
                    <a:pt x="112" y="697"/>
                  </a:lnTo>
                  <a:lnTo>
                    <a:pt x="114" y="697"/>
                  </a:lnTo>
                  <a:lnTo>
                    <a:pt x="116" y="699"/>
                  </a:lnTo>
                  <a:lnTo>
                    <a:pt x="116" y="697"/>
                  </a:lnTo>
                  <a:lnTo>
                    <a:pt x="118" y="697"/>
                  </a:lnTo>
                  <a:lnTo>
                    <a:pt x="120" y="697"/>
                  </a:lnTo>
                  <a:lnTo>
                    <a:pt x="121" y="697"/>
                  </a:lnTo>
                  <a:lnTo>
                    <a:pt x="123" y="697"/>
                  </a:lnTo>
                  <a:lnTo>
                    <a:pt x="123" y="695"/>
                  </a:lnTo>
                  <a:lnTo>
                    <a:pt x="123" y="693"/>
                  </a:lnTo>
                  <a:lnTo>
                    <a:pt x="123" y="695"/>
                  </a:lnTo>
                  <a:lnTo>
                    <a:pt x="121" y="695"/>
                  </a:lnTo>
                  <a:lnTo>
                    <a:pt x="121" y="697"/>
                  </a:lnTo>
                  <a:lnTo>
                    <a:pt x="120" y="697"/>
                  </a:lnTo>
                  <a:lnTo>
                    <a:pt x="120" y="695"/>
                  </a:lnTo>
                  <a:lnTo>
                    <a:pt x="120" y="697"/>
                  </a:lnTo>
                  <a:lnTo>
                    <a:pt x="118" y="697"/>
                  </a:lnTo>
                  <a:lnTo>
                    <a:pt x="120" y="697"/>
                  </a:lnTo>
                  <a:lnTo>
                    <a:pt x="118" y="697"/>
                  </a:lnTo>
                  <a:lnTo>
                    <a:pt x="116" y="697"/>
                  </a:lnTo>
                  <a:lnTo>
                    <a:pt x="114" y="697"/>
                  </a:lnTo>
                  <a:lnTo>
                    <a:pt x="114" y="695"/>
                  </a:lnTo>
                  <a:lnTo>
                    <a:pt x="112" y="695"/>
                  </a:lnTo>
                  <a:lnTo>
                    <a:pt x="110" y="695"/>
                  </a:lnTo>
                  <a:lnTo>
                    <a:pt x="110" y="693"/>
                  </a:lnTo>
                  <a:lnTo>
                    <a:pt x="108" y="693"/>
                  </a:lnTo>
                  <a:lnTo>
                    <a:pt x="106" y="693"/>
                  </a:lnTo>
                  <a:lnTo>
                    <a:pt x="106" y="692"/>
                  </a:lnTo>
                  <a:lnTo>
                    <a:pt x="104" y="692"/>
                  </a:lnTo>
                  <a:lnTo>
                    <a:pt x="102" y="692"/>
                  </a:lnTo>
                  <a:lnTo>
                    <a:pt x="100" y="690"/>
                  </a:lnTo>
                  <a:lnTo>
                    <a:pt x="98" y="690"/>
                  </a:lnTo>
                  <a:lnTo>
                    <a:pt x="98" y="688"/>
                  </a:lnTo>
                  <a:lnTo>
                    <a:pt x="96" y="688"/>
                  </a:lnTo>
                  <a:lnTo>
                    <a:pt x="96" y="690"/>
                  </a:lnTo>
                  <a:lnTo>
                    <a:pt x="96" y="688"/>
                  </a:lnTo>
                  <a:lnTo>
                    <a:pt x="95" y="688"/>
                  </a:lnTo>
                  <a:lnTo>
                    <a:pt x="95" y="686"/>
                  </a:lnTo>
                  <a:lnTo>
                    <a:pt x="95" y="688"/>
                  </a:lnTo>
                  <a:lnTo>
                    <a:pt x="96" y="688"/>
                  </a:lnTo>
                  <a:lnTo>
                    <a:pt x="96" y="686"/>
                  </a:lnTo>
                  <a:lnTo>
                    <a:pt x="95" y="686"/>
                  </a:lnTo>
                  <a:lnTo>
                    <a:pt x="95" y="684"/>
                  </a:lnTo>
                  <a:lnTo>
                    <a:pt x="93" y="684"/>
                  </a:lnTo>
                  <a:lnTo>
                    <a:pt x="95" y="684"/>
                  </a:lnTo>
                  <a:lnTo>
                    <a:pt x="95" y="686"/>
                  </a:lnTo>
                  <a:lnTo>
                    <a:pt x="95" y="684"/>
                  </a:lnTo>
                  <a:lnTo>
                    <a:pt x="95" y="686"/>
                  </a:lnTo>
                  <a:lnTo>
                    <a:pt x="96" y="686"/>
                  </a:lnTo>
                  <a:lnTo>
                    <a:pt x="98" y="686"/>
                  </a:lnTo>
                  <a:lnTo>
                    <a:pt x="98" y="688"/>
                  </a:lnTo>
                  <a:lnTo>
                    <a:pt x="100" y="688"/>
                  </a:lnTo>
                  <a:lnTo>
                    <a:pt x="102" y="688"/>
                  </a:lnTo>
                  <a:lnTo>
                    <a:pt x="102" y="690"/>
                  </a:lnTo>
                  <a:lnTo>
                    <a:pt x="102" y="688"/>
                  </a:lnTo>
                  <a:lnTo>
                    <a:pt x="100" y="688"/>
                  </a:lnTo>
                  <a:lnTo>
                    <a:pt x="100" y="686"/>
                  </a:lnTo>
                  <a:lnTo>
                    <a:pt x="98" y="686"/>
                  </a:lnTo>
                  <a:lnTo>
                    <a:pt x="100" y="686"/>
                  </a:lnTo>
                  <a:lnTo>
                    <a:pt x="98" y="686"/>
                  </a:lnTo>
                  <a:lnTo>
                    <a:pt x="96" y="686"/>
                  </a:lnTo>
                  <a:lnTo>
                    <a:pt x="98" y="686"/>
                  </a:lnTo>
                  <a:lnTo>
                    <a:pt x="96" y="686"/>
                  </a:lnTo>
                  <a:lnTo>
                    <a:pt x="96" y="684"/>
                  </a:lnTo>
                  <a:lnTo>
                    <a:pt x="96" y="686"/>
                  </a:lnTo>
                  <a:lnTo>
                    <a:pt x="96" y="684"/>
                  </a:lnTo>
                  <a:lnTo>
                    <a:pt x="95" y="684"/>
                  </a:lnTo>
                  <a:lnTo>
                    <a:pt x="93" y="684"/>
                  </a:lnTo>
                  <a:lnTo>
                    <a:pt x="93" y="682"/>
                  </a:lnTo>
                  <a:lnTo>
                    <a:pt x="93" y="684"/>
                  </a:lnTo>
                  <a:lnTo>
                    <a:pt x="93" y="682"/>
                  </a:lnTo>
                  <a:lnTo>
                    <a:pt x="95" y="682"/>
                  </a:lnTo>
                  <a:lnTo>
                    <a:pt x="93" y="682"/>
                  </a:lnTo>
                  <a:lnTo>
                    <a:pt x="91" y="682"/>
                  </a:lnTo>
                  <a:lnTo>
                    <a:pt x="91" y="680"/>
                  </a:lnTo>
                  <a:lnTo>
                    <a:pt x="91" y="682"/>
                  </a:lnTo>
                  <a:lnTo>
                    <a:pt x="91" y="680"/>
                  </a:lnTo>
                  <a:lnTo>
                    <a:pt x="91" y="682"/>
                  </a:lnTo>
                  <a:lnTo>
                    <a:pt x="91" y="680"/>
                  </a:lnTo>
                  <a:lnTo>
                    <a:pt x="91" y="682"/>
                  </a:lnTo>
                  <a:lnTo>
                    <a:pt x="91" y="680"/>
                  </a:lnTo>
                  <a:lnTo>
                    <a:pt x="91" y="682"/>
                  </a:lnTo>
                  <a:lnTo>
                    <a:pt x="91" y="680"/>
                  </a:lnTo>
                  <a:lnTo>
                    <a:pt x="89" y="680"/>
                  </a:lnTo>
                  <a:lnTo>
                    <a:pt x="91" y="680"/>
                  </a:lnTo>
                  <a:lnTo>
                    <a:pt x="89" y="680"/>
                  </a:lnTo>
                  <a:lnTo>
                    <a:pt x="87" y="680"/>
                  </a:lnTo>
                  <a:lnTo>
                    <a:pt x="89" y="680"/>
                  </a:lnTo>
                  <a:lnTo>
                    <a:pt x="87" y="680"/>
                  </a:lnTo>
                  <a:lnTo>
                    <a:pt x="87" y="678"/>
                  </a:lnTo>
                  <a:lnTo>
                    <a:pt x="87" y="676"/>
                  </a:lnTo>
                  <a:lnTo>
                    <a:pt x="87" y="674"/>
                  </a:lnTo>
                  <a:lnTo>
                    <a:pt x="87" y="676"/>
                  </a:lnTo>
                  <a:lnTo>
                    <a:pt x="87" y="674"/>
                  </a:lnTo>
                  <a:lnTo>
                    <a:pt x="87" y="672"/>
                  </a:lnTo>
                  <a:lnTo>
                    <a:pt x="85" y="672"/>
                  </a:lnTo>
                  <a:lnTo>
                    <a:pt x="87" y="672"/>
                  </a:lnTo>
                  <a:lnTo>
                    <a:pt x="87" y="670"/>
                  </a:lnTo>
                  <a:lnTo>
                    <a:pt x="87" y="669"/>
                  </a:lnTo>
                  <a:lnTo>
                    <a:pt x="87" y="670"/>
                  </a:lnTo>
                  <a:lnTo>
                    <a:pt x="87" y="669"/>
                  </a:lnTo>
                  <a:lnTo>
                    <a:pt x="89" y="669"/>
                  </a:lnTo>
                  <a:lnTo>
                    <a:pt x="91" y="669"/>
                  </a:lnTo>
                  <a:lnTo>
                    <a:pt x="93" y="669"/>
                  </a:lnTo>
                  <a:lnTo>
                    <a:pt x="93" y="670"/>
                  </a:lnTo>
                  <a:lnTo>
                    <a:pt x="93" y="669"/>
                  </a:lnTo>
                  <a:lnTo>
                    <a:pt x="95" y="670"/>
                  </a:lnTo>
                  <a:lnTo>
                    <a:pt x="96" y="670"/>
                  </a:lnTo>
                  <a:lnTo>
                    <a:pt x="95" y="670"/>
                  </a:lnTo>
                  <a:lnTo>
                    <a:pt x="95" y="672"/>
                  </a:lnTo>
                  <a:lnTo>
                    <a:pt x="95" y="670"/>
                  </a:lnTo>
                  <a:lnTo>
                    <a:pt x="95" y="672"/>
                  </a:lnTo>
                  <a:lnTo>
                    <a:pt x="96" y="672"/>
                  </a:lnTo>
                  <a:lnTo>
                    <a:pt x="98" y="672"/>
                  </a:lnTo>
                  <a:lnTo>
                    <a:pt x="98" y="674"/>
                  </a:lnTo>
                  <a:lnTo>
                    <a:pt x="100" y="674"/>
                  </a:lnTo>
                  <a:lnTo>
                    <a:pt x="102" y="674"/>
                  </a:lnTo>
                  <a:lnTo>
                    <a:pt x="100" y="674"/>
                  </a:lnTo>
                  <a:lnTo>
                    <a:pt x="100" y="672"/>
                  </a:lnTo>
                  <a:lnTo>
                    <a:pt x="100" y="674"/>
                  </a:lnTo>
                  <a:lnTo>
                    <a:pt x="100" y="672"/>
                  </a:lnTo>
                  <a:lnTo>
                    <a:pt x="100" y="674"/>
                  </a:lnTo>
                  <a:lnTo>
                    <a:pt x="102" y="674"/>
                  </a:lnTo>
                  <a:lnTo>
                    <a:pt x="104" y="674"/>
                  </a:lnTo>
                  <a:lnTo>
                    <a:pt x="104" y="676"/>
                  </a:lnTo>
                  <a:lnTo>
                    <a:pt x="104" y="674"/>
                  </a:lnTo>
                  <a:lnTo>
                    <a:pt x="104" y="676"/>
                  </a:lnTo>
                  <a:lnTo>
                    <a:pt x="106" y="676"/>
                  </a:lnTo>
                  <a:lnTo>
                    <a:pt x="108" y="676"/>
                  </a:lnTo>
                  <a:lnTo>
                    <a:pt x="110" y="676"/>
                  </a:lnTo>
                  <a:lnTo>
                    <a:pt x="110" y="678"/>
                  </a:lnTo>
                  <a:lnTo>
                    <a:pt x="112" y="678"/>
                  </a:lnTo>
                  <a:lnTo>
                    <a:pt x="114" y="678"/>
                  </a:lnTo>
                  <a:lnTo>
                    <a:pt x="114" y="676"/>
                  </a:lnTo>
                  <a:lnTo>
                    <a:pt x="112" y="676"/>
                  </a:lnTo>
                  <a:lnTo>
                    <a:pt x="114" y="676"/>
                  </a:lnTo>
                  <a:lnTo>
                    <a:pt x="116" y="678"/>
                  </a:lnTo>
                  <a:lnTo>
                    <a:pt x="116" y="676"/>
                  </a:lnTo>
                  <a:lnTo>
                    <a:pt x="114" y="676"/>
                  </a:lnTo>
                  <a:lnTo>
                    <a:pt x="116" y="676"/>
                  </a:lnTo>
                  <a:lnTo>
                    <a:pt x="116" y="674"/>
                  </a:lnTo>
                  <a:lnTo>
                    <a:pt x="114" y="674"/>
                  </a:lnTo>
                  <a:lnTo>
                    <a:pt x="114" y="676"/>
                  </a:lnTo>
                  <a:lnTo>
                    <a:pt x="114" y="674"/>
                  </a:lnTo>
                  <a:lnTo>
                    <a:pt x="114" y="676"/>
                  </a:lnTo>
                  <a:lnTo>
                    <a:pt x="114" y="674"/>
                  </a:lnTo>
                  <a:lnTo>
                    <a:pt x="112" y="676"/>
                  </a:lnTo>
                  <a:lnTo>
                    <a:pt x="110" y="676"/>
                  </a:lnTo>
                  <a:lnTo>
                    <a:pt x="108" y="676"/>
                  </a:lnTo>
                  <a:lnTo>
                    <a:pt x="106" y="676"/>
                  </a:lnTo>
                  <a:lnTo>
                    <a:pt x="106" y="674"/>
                  </a:lnTo>
                  <a:lnTo>
                    <a:pt x="104" y="674"/>
                  </a:lnTo>
                  <a:lnTo>
                    <a:pt x="104" y="672"/>
                  </a:lnTo>
                  <a:lnTo>
                    <a:pt x="102" y="672"/>
                  </a:lnTo>
                  <a:lnTo>
                    <a:pt x="100" y="672"/>
                  </a:lnTo>
                  <a:lnTo>
                    <a:pt x="100" y="670"/>
                  </a:lnTo>
                  <a:lnTo>
                    <a:pt x="98" y="670"/>
                  </a:lnTo>
                  <a:lnTo>
                    <a:pt x="98" y="669"/>
                  </a:lnTo>
                  <a:lnTo>
                    <a:pt x="98" y="670"/>
                  </a:lnTo>
                  <a:lnTo>
                    <a:pt x="98" y="669"/>
                  </a:lnTo>
                  <a:lnTo>
                    <a:pt x="100" y="669"/>
                  </a:lnTo>
                  <a:lnTo>
                    <a:pt x="100" y="670"/>
                  </a:lnTo>
                  <a:lnTo>
                    <a:pt x="100" y="669"/>
                  </a:lnTo>
                  <a:lnTo>
                    <a:pt x="100" y="670"/>
                  </a:lnTo>
                  <a:lnTo>
                    <a:pt x="100" y="669"/>
                  </a:lnTo>
                  <a:lnTo>
                    <a:pt x="102" y="669"/>
                  </a:lnTo>
                  <a:lnTo>
                    <a:pt x="104" y="669"/>
                  </a:lnTo>
                  <a:lnTo>
                    <a:pt x="104" y="670"/>
                  </a:lnTo>
                  <a:lnTo>
                    <a:pt x="104" y="669"/>
                  </a:lnTo>
                  <a:lnTo>
                    <a:pt x="106" y="669"/>
                  </a:lnTo>
                  <a:lnTo>
                    <a:pt x="108" y="669"/>
                  </a:lnTo>
                  <a:lnTo>
                    <a:pt x="106" y="669"/>
                  </a:lnTo>
                  <a:lnTo>
                    <a:pt x="104" y="669"/>
                  </a:lnTo>
                  <a:lnTo>
                    <a:pt x="102" y="669"/>
                  </a:lnTo>
                  <a:lnTo>
                    <a:pt x="100" y="669"/>
                  </a:lnTo>
                  <a:lnTo>
                    <a:pt x="98" y="669"/>
                  </a:lnTo>
                  <a:lnTo>
                    <a:pt x="98" y="667"/>
                  </a:lnTo>
                  <a:lnTo>
                    <a:pt x="96" y="667"/>
                  </a:lnTo>
                  <a:lnTo>
                    <a:pt x="95" y="667"/>
                  </a:lnTo>
                  <a:lnTo>
                    <a:pt x="95" y="665"/>
                  </a:lnTo>
                  <a:lnTo>
                    <a:pt x="95" y="667"/>
                  </a:lnTo>
                  <a:lnTo>
                    <a:pt x="93" y="667"/>
                  </a:lnTo>
                  <a:lnTo>
                    <a:pt x="93" y="665"/>
                  </a:lnTo>
                  <a:lnTo>
                    <a:pt x="93" y="667"/>
                  </a:lnTo>
                  <a:lnTo>
                    <a:pt x="93" y="665"/>
                  </a:lnTo>
                  <a:lnTo>
                    <a:pt x="93" y="667"/>
                  </a:lnTo>
                  <a:lnTo>
                    <a:pt x="93" y="665"/>
                  </a:lnTo>
                  <a:lnTo>
                    <a:pt x="93" y="667"/>
                  </a:lnTo>
                  <a:lnTo>
                    <a:pt x="93" y="665"/>
                  </a:lnTo>
                  <a:lnTo>
                    <a:pt x="93" y="667"/>
                  </a:lnTo>
                  <a:lnTo>
                    <a:pt x="93" y="665"/>
                  </a:lnTo>
                  <a:lnTo>
                    <a:pt x="93" y="667"/>
                  </a:lnTo>
                  <a:lnTo>
                    <a:pt x="93" y="665"/>
                  </a:lnTo>
                  <a:lnTo>
                    <a:pt x="93" y="667"/>
                  </a:lnTo>
                  <a:lnTo>
                    <a:pt x="93" y="665"/>
                  </a:lnTo>
                  <a:lnTo>
                    <a:pt x="91" y="665"/>
                  </a:lnTo>
                  <a:lnTo>
                    <a:pt x="93" y="665"/>
                  </a:lnTo>
                  <a:lnTo>
                    <a:pt x="91" y="665"/>
                  </a:lnTo>
                  <a:lnTo>
                    <a:pt x="91" y="663"/>
                  </a:lnTo>
                  <a:lnTo>
                    <a:pt x="93" y="663"/>
                  </a:lnTo>
                  <a:lnTo>
                    <a:pt x="91" y="663"/>
                  </a:lnTo>
                  <a:lnTo>
                    <a:pt x="93" y="663"/>
                  </a:lnTo>
                  <a:lnTo>
                    <a:pt x="91" y="663"/>
                  </a:lnTo>
                  <a:lnTo>
                    <a:pt x="93" y="663"/>
                  </a:lnTo>
                  <a:lnTo>
                    <a:pt x="93" y="661"/>
                  </a:lnTo>
                  <a:lnTo>
                    <a:pt x="93" y="663"/>
                  </a:lnTo>
                  <a:lnTo>
                    <a:pt x="95" y="663"/>
                  </a:lnTo>
                  <a:lnTo>
                    <a:pt x="95" y="661"/>
                  </a:lnTo>
                  <a:lnTo>
                    <a:pt x="96" y="661"/>
                  </a:lnTo>
                  <a:lnTo>
                    <a:pt x="96" y="663"/>
                  </a:lnTo>
                  <a:lnTo>
                    <a:pt x="95" y="663"/>
                  </a:lnTo>
                  <a:lnTo>
                    <a:pt x="96" y="663"/>
                  </a:lnTo>
                  <a:lnTo>
                    <a:pt x="96" y="665"/>
                  </a:lnTo>
                  <a:lnTo>
                    <a:pt x="96" y="663"/>
                  </a:lnTo>
                  <a:lnTo>
                    <a:pt x="98" y="663"/>
                  </a:lnTo>
                  <a:lnTo>
                    <a:pt x="98" y="661"/>
                  </a:lnTo>
                  <a:lnTo>
                    <a:pt x="100" y="661"/>
                  </a:lnTo>
                  <a:lnTo>
                    <a:pt x="102" y="661"/>
                  </a:lnTo>
                  <a:lnTo>
                    <a:pt x="104" y="661"/>
                  </a:lnTo>
                  <a:lnTo>
                    <a:pt x="104" y="663"/>
                  </a:lnTo>
                  <a:lnTo>
                    <a:pt x="102" y="663"/>
                  </a:lnTo>
                  <a:lnTo>
                    <a:pt x="102" y="661"/>
                  </a:lnTo>
                  <a:lnTo>
                    <a:pt x="102" y="663"/>
                  </a:lnTo>
                  <a:lnTo>
                    <a:pt x="104" y="663"/>
                  </a:lnTo>
                  <a:lnTo>
                    <a:pt x="104" y="665"/>
                  </a:lnTo>
                  <a:lnTo>
                    <a:pt x="106" y="665"/>
                  </a:lnTo>
                  <a:lnTo>
                    <a:pt x="106" y="667"/>
                  </a:lnTo>
                  <a:lnTo>
                    <a:pt x="108" y="667"/>
                  </a:lnTo>
                  <a:lnTo>
                    <a:pt x="108" y="669"/>
                  </a:lnTo>
                  <a:lnTo>
                    <a:pt x="110" y="669"/>
                  </a:lnTo>
                  <a:lnTo>
                    <a:pt x="110" y="670"/>
                  </a:lnTo>
                  <a:lnTo>
                    <a:pt x="112" y="670"/>
                  </a:lnTo>
                  <a:lnTo>
                    <a:pt x="110" y="670"/>
                  </a:lnTo>
                  <a:lnTo>
                    <a:pt x="110" y="669"/>
                  </a:lnTo>
                  <a:lnTo>
                    <a:pt x="110" y="667"/>
                  </a:lnTo>
                  <a:lnTo>
                    <a:pt x="110" y="669"/>
                  </a:lnTo>
                  <a:lnTo>
                    <a:pt x="110" y="667"/>
                  </a:lnTo>
                  <a:lnTo>
                    <a:pt x="108" y="667"/>
                  </a:lnTo>
                  <a:lnTo>
                    <a:pt x="106" y="665"/>
                  </a:lnTo>
                  <a:lnTo>
                    <a:pt x="104" y="665"/>
                  </a:lnTo>
                  <a:lnTo>
                    <a:pt x="104" y="663"/>
                  </a:lnTo>
                  <a:lnTo>
                    <a:pt x="104" y="661"/>
                  </a:lnTo>
                  <a:lnTo>
                    <a:pt x="102" y="661"/>
                  </a:lnTo>
                  <a:lnTo>
                    <a:pt x="104" y="661"/>
                  </a:lnTo>
                  <a:lnTo>
                    <a:pt x="104" y="659"/>
                  </a:lnTo>
                  <a:lnTo>
                    <a:pt x="104" y="661"/>
                  </a:lnTo>
                  <a:lnTo>
                    <a:pt x="104" y="659"/>
                  </a:lnTo>
                  <a:lnTo>
                    <a:pt x="104" y="661"/>
                  </a:lnTo>
                  <a:lnTo>
                    <a:pt x="106" y="661"/>
                  </a:lnTo>
                  <a:lnTo>
                    <a:pt x="106" y="659"/>
                  </a:lnTo>
                  <a:lnTo>
                    <a:pt x="108" y="659"/>
                  </a:lnTo>
                  <a:lnTo>
                    <a:pt x="106" y="659"/>
                  </a:lnTo>
                  <a:lnTo>
                    <a:pt x="108" y="657"/>
                  </a:lnTo>
                  <a:lnTo>
                    <a:pt x="108" y="655"/>
                  </a:lnTo>
                  <a:lnTo>
                    <a:pt x="110" y="655"/>
                  </a:lnTo>
                  <a:lnTo>
                    <a:pt x="112" y="655"/>
                  </a:lnTo>
                  <a:lnTo>
                    <a:pt x="114" y="655"/>
                  </a:lnTo>
                  <a:lnTo>
                    <a:pt x="116" y="655"/>
                  </a:lnTo>
                  <a:lnTo>
                    <a:pt x="114" y="655"/>
                  </a:lnTo>
                  <a:lnTo>
                    <a:pt x="116" y="655"/>
                  </a:lnTo>
                  <a:lnTo>
                    <a:pt x="118" y="655"/>
                  </a:lnTo>
                  <a:lnTo>
                    <a:pt x="118" y="657"/>
                  </a:lnTo>
                  <a:lnTo>
                    <a:pt x="120" y="657"/>
                  </a:lnTo>
                  <a:lnTo>
                    <a:pt x="120" y="655"/>
                  </a:lnTo>
                  <a:lnTo>
                    <a:pt x="120" y="657"/>
                  </a:lnTo>
                  <a:lnTo>
                    <a:pt x="120" y="655"/>
                  </a:lnTo>
                  <a:lnTo>
                    <a:pt x="118" y="655"/>
                  </a:lnTo>
                  <a:lnTo>
                    <a:pt x="118" y="653"/>
                  </a:lnTo>
                  <a:lnTo>
                    <a:pt x="116" y="653"/>
                  </a:lnTo>
                  <a:lnTo>
                    <a:pt x="114" y="653"/>
                  </a:lnTo>
                  <a:lnTo>
                    <a:pt x="114" y="651"/>
                  </a:lnTo>
                  <a:lnTo>
                    <a:pt x="116" y="651"/>
                  </a:lnTo>
                  <a:lnTo>
                    <a:pt x="116" y="649"/>
                  </a:lnTo>
                  <a:lnTo>
                    <a:pt x="116" y="647"/>
                  </a:lnTo>
                  <a:lnTo>
                    <a:pt x="118" y="647"/>
                  </a:lnTo>
                  <a:lnTo>
                    <a:pt x="118" y="649"/>
                  </a:lnTo>
                  <a:lnTo>
                    <a:pt x="120" y="649"/>
                  </a:lnTo>
                  <a:lnTo>
                    <a:pt x="120" y="647"/>
                  </a:lnTo>
                  <a:lnTo>
                    <a:pt x="121" y="647"/>
                  </a:lnTo>
                  <a:lnTo>
                    <a:pt x="121" y="645"/>
                  </a:lnTo>
                  <a:lnTo>
                    <a:pt x="123" y="645"/>
                  </a:lnTo>
                  <a:lnTo>
                    <a:pt x="123" y="644"/>
                  </a:lnTo>
                  <a:lnTo>
                    <a:pt x="123" y="645"/>
                  </a:lnTo>
                  <a:lnTo>
                    <a:pt x="121" y="645"/>
                  </a:lnTo>
                  <a:lnTo>
                    <a:pt x="120" y="645"/>
                  </a:lnTo>
                  <a:lnTo>
                    <a:pt x="120" y="647"/>
                  </a:lnTo>
                  <a:lnTo>
                    <a:pt x="118" y="647"/>
                  </a:lnTo>
                  <a:lnTo>
                    <a:pt x="116" y="647"/>
                  </a:lnTo>
                  <a:lnTo>
                    <a:pt x="116" y="649"/>
                  </a:lnTo>
                  <a:lnTo>
                    <a:pt x="114" y="649"/>
                  </a:lnTo>
                  <a:lnTo>
                    <a:pt x="114" y="651"/>
                  </a:lnTo>
                  <a:lnTo>
                    <a:pt x="114" y="653"/>
                  </a:lnTo>
                  <a:lnTo>
                    <a:pt x="112" y="653"/>
                  </a:lnTo>
                  <a:lnTo>
                    <a:pt x="110" y="653"/>
                  </a:lnTo>
                  <a:lnTo>
                    <a:pt x="110" y="651"/>
                  </a:lnTo>
                  <a:lnTo>
                    <a:pt x="110" y="653"/>
                  </a:lnTo>
                  <a:lnTo>
                    <a:pt x="108" y="653"/>
                  </a:lnTo>
                  <a:lnTo>
                    <a:pt x="108" y="655"/>
                  </a:lnTo>
                  <a:lnTo>
                    <a:pt x="106" y="655"/>
                  </a:lnTo>
                  <a:lnTo>
                    <a:pt x="104" y="655"/>
                  </a:lnTo>
                  <a:lnTo>
                    <a:pt x="102" y="655"/>
                  </a:lnTo>
                  <a:lnTo>
                    <a:pt x="102" y="657"/>
                  </a:lnTo>
                  <a:lnTo>
                    <a:pt x="100" y="657"/>
                  </a:lnTo>
                  <a:lnTo>
                    <a:pt x="100" y="655"/>
                  </a:lnTo>
                  <a:lnTo>
                    <a:pt x="102" y="655"/>
                  </a:lnTo>
                  <a:lnTo>
                    <a:pt x="100" y="655"/>
                  </a:lnTo>
                  <a:lnTo>
                    <a:pt x="98" y="655"/>
                  </a:lnTo>
                  <a:lnTo>
                    <a:pt x="98" y="653"/>
                  </a:lnTo>
                  <a:lnTo>
                    <a:pt x="96" y="653"/>
                  </a:lnTo>
                  <a:lnTo>
                    <a:pt x="98" y="653"/>
                  </a:lnTo>
                  <a:lnTo>
                    <a:pt x="96" y="653"/>
                  </a:lnTo>
                  <a:lnTo>
                    <a:pt x="98" y="653"/>
                  </a:lnTo>
                  <a:lnTo>
                    <a:pt x="96" y="653"/>
                  </a:lnTo>
                  <a:lnTo>
                    <a:pt x="98" y="653"/>
                  </a:lnTo>
                  <a:lnTo>
                    <a:pt x="98" y="651"/>
                  </a:lnTo>
                  <a:lnTo>
                    <a:pt x="100" y="651"/>
                  </a:lnTo>
                  <a:lnTo>
                    <a:pt x="98" y="651"/>
                  </a:lnTo>
                  <a:lnTo>
                    <a:pt x="98" y="649"/>
                  </a:lnTo>
                  <a:lnTo>
                    <a:pt x="100" y="649"/>
                  </a:lnTo>
                  <a:lnTo>
                    <a:pt x="100" y="651"/>
                  </a:lnTo>
                  <a:lnTo>
                    <a:pt x="100" y="649"/>
                  </a:lnTo>
                  <a:lnTo>
                    <a:pt x="102" y="649"/>
                  </a:lnTo>
                  <a:lnTo>
                    <a:pt x="102" y="651"/>
                  </a:lnTo>
                  <a:lnTo>
                    <a:pt x="104" y="651"/>
                  </a:lnTo>
                  <a:lnTo>
                    <a:pt x="104" y="649"/>
                  </a:lnTo>
                  <a:lnTo>
                    <a:pt x="104" y="651"/>
                  </a:lnTo>
                  <a:lnTo>
                    <a:pt x="104" y="649"/>
                  </a:lnTo>
                  <a:lnTo>
                    <a:pt x="104" y="651"/>
                  </a:lnTo>
                  <a:lnTo>
                    <a:pt x="104" y="649"/>
                  </a:lnTo>
                  <a:lnTo>
                    <a:pt x="104" y="651"/>
                  </a:lnTo>
                  <a:lnTo>
                    <a:pt x="102" y="651"/>
                  </a:lnTo>
                  <a:lnTo>
                    <a:pt x="104" y="651"/>
                  </a:lnTo>
                  <a:lnTo>
                    <a:pt x="102" y="649"/>
                  </a:lnTo>
                  <a:lnTo>
                    <a:pt x="104" y="649"/>
                  </a:lnTo>
                  <a:lnTo>
                    <a:pt x="102" y="649"/>
                  </a:lnTo>
                  <a:lnTo>
                    <a:pt x="102" y="651"/>
                  </a:lnTo>
                  <a:lnTo>
                    <a:pt x="102" y="649"/>
                  </a:lnTo>
                  <a:lnTo>
                    <a:pt x="102" y="651"/>
                  </a:lnTo>
                  <a:lnTo>
                    <a:pt x="102" y="649"/>
                  </a:lnTo>
                  <a:lnTo>
                    <a:pt x="104" y="649"/>
                  </a:lnTo>
                  <a:lnTo>
                    <a:pt x="104" y="647"/>
                  </a:lnTo>
                  <a:lnTo>
                    <a:pt x="104" y="649"/>
                  </a:lnTo>
                  <a:lnTo>
                    <a:pt x="102" y="649"/>
                  </a:lnTo>
                  <a:lnTo>
                    <a:pt x="102" y="647"/>
                  </a:lnTo>
                  <a:lnTo>
                    <a:pt x="100" y="647"/>
                  </a:lnTo>
                  <a:lnTo>
                    <a:pt x="102" y="647"/>
                  </a:lnTo>
                  <a:lnTo>
                    <a:pt x="100" y="647"/>
                  </a:lnTo>
                  <a:lnTo>
                    <a:pt x="102" y="647"/>
                  </a:lnTo>
                  <a:lnTo>
                    <a:pt x="100" y="647"/>
                  </a:lnTo>
                  <a:lnTo>
                    <a:pt x="100" y="645"/>
                  </a:lnTo>
                  <a:lnTo>
                    <a:pt x="98" y="645"/>
                  </a:lnTo>
                  <a:lnTo>
                    <a:pt x="100" y="645"/>
                  </a:lnTo>
                  <a:lnTo>
                    <a:pt x="98" y="645"/>
                  </a:lnTo>
                  <a:lnTo>
                    <a:pt x="100" y="645"/>
                  </a:lnTo>
                  <a:lnTo>
                    <a:pt x="98" y="645"/>
                  </a:lnTo>
                  <a:lnTo>
                    <a:pt x="100" y="645"/>
                  </a:lnTo>
                  <a:lnTo>
                    <a:pt x="98" y="645"/>
                  </a:lnTo>
                  <a:lnTo>
                    <a:pt x="100" y="645"/>
                  </a:lnTo>
                  <a:lnTo>
                    <a:pt x="98" y="645"/>
                  </a:lnTo>
                  <a:lnTo>
                    <a:pt x="98" y="644"/>
                  </a:lnTo>
                  <a:lnTo>
                    <a:pt x="100" y="644"/>
                  </a:lnTo>
                  <a:lnTo>
                    <a:pt x="98" y="644"/>
                  </a:lnTo>
                  <a:lnTo>
                    <a:pt x="100" y="644"/>
                  </a:lnTo>
                  <a:lnTo>
                    <a:pt x="100" y="642"/>
                  </a:lnTo>
                  <a:lnTo>
                    <a:pt x="100" y="644"/>
                  </a:lnTo>
                  <a:lnTo>
                    <a:pt x="100" y="642"/>
                  </a:lnTo>
                  <a:lnTo>
                    <a:pt x="100" y="644"/>
                  </a:lnTo>
                  <a:lnTo>
                    <a:pt x="100" y="642"/>
                  </a:lnTo>
                  <a:lnTo>
                    <a:pt x="102" y="642"/>
                  </a:lnTo>
                  <a:lnTo>
                    <a:pt x="100" y="642"/>
                  </a:lnTo>
                  <a:lnTo>
                    <a:pt x="100" y="640"/>
                  </a:lnTo>
                  <a:lnTo>
                    <a:pt x="102" y="640"/>
                  </a:lnTo>
                  <a:lnTo>
                    <a:pt x="102" y="638"/>
                  </a:lnTo>
                  <a:lnTo>
                    <a:pt x="102" y="636"/>
                  </a:lnTo>
                  <a:lnTo>
                    <a:pt x="104" y="636"/>
                  </a:lnTo>
                  <a:lnTo>
                    <a:pt x="106" y="636"/>
                  </a:lnTo>
                  <a:lnTo>
                    <a:pt x="104" y="636"/>
                  </a:lnTo>
                  <a:lnTo>
                    <a:pt x="104" y="634"/>
                  </a:lnTo>
                  <a:lnTo>
                    <a:pt x="104" y="636"/>
                  </a:lnTo>
                  <a:lnTo>
                    <a:pt x="104" y="634"/>
                  </a:lnTo>
                  <a:lnTo>
                    <a:pt x="104" y="636"/>
                  </a:lnTo>
                  <a:lnTo>
                    <a:pt x="104" y="634"/>
                  </a:lnTo>
                  <a:lnTo>
                    <a:pt x="106" y="634"/>
                  </a:lnTo>
                  <a:lnTo>
                    <a:pt x="106" y="636"/>
                  </a:lnTo>
                  <a:lnTo>
                    <a:pt x="106" y="634"/>
                  </a:lnTo>
                  <a:lnTo>
                    <a:pt x="108" y="634"/>
                  </a:lnTo>
                  <a:lnTo>
                    <a:pt x="106" y="634"/>
                  </a:lnTo>
                  <a:lnTo>
                    <a:pt x="108" y="634"/>
                  </a:lnTo>
                  <a:lnTo>
                    <a:pt x="108" y="632"/>
                  </a:lnTo>
                  <a:lnTo>
                    <a:pt x="106" y="632"/>
                  </a:lnTo>
                  <a:lnTo>
                    <a:pt x="106" y="634"/>
                  </a:lnTo>
                  <a:lnTo>
                    <a:pt x="106" y="632"/>
                  </a:lnTo>
                  <a:lnTo>
                    <a:pt x="108" y="632"/>
                  </a:lnTo>
                  <a:lnTo>
                    <a:pt x="110" y="632"/>
                  </a:lnTo>
                  <a:lnTo>
                    <a:pt x="112" y="632"/>
                  </a:lnTo>
                  <a:lnTo>
                    <a:pt x="114" y="632"/>
                  </a:lnTo>
                  <a:lnTo>
                    <a:pt x="114" y="634"/>
                  </a:lnTo>
                  <a:lnTo>
                    <a:pt x="116" y="634"/>
                  </a:lnTo>
                  <a:lnTo>
                    <a:pt x="116" y="632"/>
                  </a:lnTo>
                  <a:lnTo>
                    <a:pt x="118" y="632"/>
                  </a:lnTo>
                  <a:lnTo>
                    <a:pt x="118" y="630"/>
                  </a:lnTo>
                  <a:lnTo>
                    <a:pt x="120" y="630"/>
                  </a:lnTo>
                  <a:lnTo>
                    <a:pt x="118" y="630"/>
                  </a:lnTo>
                  <a:lnTo>
                    <a:pt x="120" y="630"/>
                  </a:lnTo>
                  <a:lnTo>
                    <a:pt x="120" y="628"/>
                  </a:lnTo>
                  <a:lnTo>
                    <a:pt x="121" y="628"/>
                  </a:lnTo>
                  <a:lnTo>
                    <a:pt x="121" y="626"/>
                  </a:lnTo>
                  <a:lnTo>
                    <a:pt x="123" y="626"/>
                  </a:lnTo>
                  <a:lnTo>
                    <a:pt x="125" y="626"/>
                  </a:lnTo>
                  <a:lnTo>
                    <a:pt x="127" y="626"/>
                  </a:lnTo>
                  <a:lnTo>
                    <a:pt x="129" y="626"/>
                  </a:lnTo>
                  <a:lnTo>
                    <a:pt x="129" y="628"/>
                  </a:lnTo>
                  <a:lnTo>
                    <a:pt x="127" y="628"/>
                  </a:lnTo>
                  <a:lnTo>
                    <a:pt x="129" y="628"/>
                  </a:lnTo>
                  <a:lnTo>
                    <a:pt x="127" y="628"/>
                  </a:lnTo>
                  <a:lnTo>
                    <a:pt x="127" y="630"/>
                  </a:lnTo>
                  <a:lnTo>
                    <a:pt x="125" y="630"/>
                  </a:lnTo>
                  <a:lnTo>
                    <a:pt x="125" y="628"/>
                  </a:lnTo>
                  <a:lnTo>
                    <a:pt x="125" y="630"/>
                  </a:lnTo>
                  <a:lnTo>
                    <a:pt x="125" y="628"/>
                  </a:lnTo>
                  <a:lnTo>
                    <a:pt x="123" y="628"/>
                  </a:lnTo>
                  <a:lnTo>
                    <a:pt x="121" y="628"/>
                  </a:lnTo>
                  <a:lnTo>
                    <a:pt x="121" y="630"/>
                  </a:lnTo>
                  <a:lnTo>
                    <a:pt x="120" y="630"/>
                  </a:lnTo>
                  <a:lnTo>
                    <a:pt x="121" y="630"/>
                  </a:lnTo>
                  <a:lnTo>
                    <a:pt x="123" y="630"/>
                  </a:lnTo>
                  <a:lnTo>
                    <a:pt x="123" y="628"/>
                  </a:lnTo>
                  <a:lnTo>
                    <a:pt x="123" y="630"/>
                  </a:lnTo>
                  <a:lnTo>
                    <a:pt x="123" y="628"/>
                  </a:lnTo>
                  <a:lnTo>
                    <a:pt x="125" y="628"/>
                  </a:lnTo>
                  <a:lnTo>
                    <a:pt x="125" y="630"/>
                  </a:lnTo>
                  <a:lnTo>
                    <a:pt x="127" y="630"/>
                  </a:lnTo>
                  <a:lnTo>
                    <a:pt x="129" y="630"/>
                  </a:lnTo>
                  <a:lnTo>
                    <a:pt x="129" y="632"/>
                  </a:lnTo>
                  <a:lnTo>
                    <a:pt x="129" y="630"/>
                  </a:lnTo>
                  <a:lnTo>
                    <a:pt x="129" y="628"/>
                  </a:lnTo>
                  <a:lnTo>
                    <a:pt x="129" y="626"/>
                  </a:lnTo>
                  <a:lnTo>
                    <a:pt x="129" y="624"/>
                  </a:lnTo>
                  <a:lnTo>
                    <a:pt x="131" y="624"/>
                  </a:lnTo>
                  <a:lnTo>
                    <a:pt x="131" y="626"/>
                  </a:lnTo>
                  <a:lnTo>
                    <a:pt x="133" y="626"/>
                  </a:lnTo>
                  <a:lnTo>
                    <a:pt x="133" y="624"/>
                  </a:lnTo>
                  <a:lnTo>
                    <a:pt x="135" y="624"/>
                  </a:lnTo>
                  <a:lnTo>
                    <a:pt x="135" y="626"/>
                  </a:lnTo>
                  <a:lnTo>
                    <a:pt x="135" y="624"/>
                  </a:lnTo>
                  <a:lnTo>
                    <a:pt x="135" y="626"/>
                  </a:lnTo>
                  <a:lnTo>
                    <a:pt x="137" y="626"/>
                  </a:lnTo>
                  <a:lnTo>
                    <a:pt x="139" y="626"/>
                  </a:lnTo>
                  <a:lnTo>
                    <a:pt x="141" y="626"/>
                  </a:lnTo>
                  <a:lnTo>
                    <a:pt x="141" y="624"/>
                  </a:lnTo>
                  <a:lnTo>
                    <a:pt x="143" y="624"/>
                  </a:lnTo>
                  <a:lnTo>
                    <a:pt x="144" y="624"/>
                  </a:lnTo>
                  <a:lnTo>
                    <a:pt x="144" y="626"/>
                  </a:lnTo>
                  <a:lnTo>
                    <a:pt x="146" y="626"/>
                  </a:lnTo>
                  <a:lnTo>
                    <a:pt x="146" y="628"/>
                  </a:lnTo>
                  <a:lnTo>
                    <a:pt x="148" y="628"/>
                  </a:lnTo>
                  <a:lnTo>
                    <a:pt x="148" y="630"/>
                  </a:lnTo>
                  <a:lnTo>
                    <a:pt x="148" y="632"/>
                  </a:lnTo>
                  <a:lnTo>
                    <a:pt x="148" y="634"/>
                  </a:lnTo>
                  <a:lnTo>
                    <a:pt x="148" y="636"/>
                  </a:lnTo>
                  <a:lnTo>
                    <a:pt x="148" y="638"/>
                  </a:lnTo>
                  <a:lnTo>
                    <a:pt x="148" y="640"/>
                  </a:lnTo>
                  <a:lnTo>
                    <a:pt x="148" y="642"/>
                  </a:lnTo>
                  <a:lnTo>
                    <a:pt x="150" y="642"/>
                  </a:lnTo>
                  <a:lnTo>
                    <a:pt x="148" y="644"/>
                  </a:lnTo>
                  <a:lnTo>
                    <a:pt x="150" y="644"/>
                  </a:lnTo>
                  <a:lnTo>
                    <a:pt x="148" y="644"/>
                  </a:lnTo>
                  <a:lnTo>
                    <a:pt x="150" y="644"/>
                  </a:lnTo>
                  <a:lnTo>
                    <a:pt x="150" y="645"/>
                  </a:lnTo>
                  <a:lnTo>
                    <a:pt x="150" y="647"/>
                  </a:lnTo>
                  <a:lnTo>
                    <a:pt x="150" y="649"/>
                  </a:lnTo>
                  <a:lnTo>
                    <a:pt x="148" y="649"/>
                  </a:lnTo>
                  <a:lnTo>
                    <a:pt x="148" y="651"/>
                  </a:lnTo>
                  <a:lnTo>
                    <a:pt x="148" y="653"/>
                  </a:lnTo>
                  <a:lnTo>
                    <a:pt x="148" y="651"/>
                  </a:lnTo>
                  <a:lnTo>
                    <a:pt x="150" y="651"/>
                  </a:lnTo>
                  <a:lnTo>
                    <a:pt x="148" y="651"/>
                  </a:lnTo>
                  <a:lnTo>
                    <a:pt x="150" y="651"/>
                  </a:lnTo>
                  <a:lnTo>
                    <a:pt x="150" y="649"/>
                  </a:lnTo>
                  <a:lnTo>
                    <a:pt x="152" y="649"/>
                  </a:lnTo>
                  <a:lnTo>
                    <a:pt x="150" y="649"/>
                  </a:lnTo>
                  <a:lnTo>
                    <a:pt x="150" y="647"/>
                  </a:lnTo>
                  <a:lnTo>
                    <a:pt x="150" y="645"/>
                  </a:lnTo>
                  <a:lnTo>
                    <a:pt x="150" y="644"/>
                  </a:lnTo>
                  <a:lnTo>
                    <a:pt x="150" y="642"/>
                  </a:lnTo>
                  <a:lnTo>
                    <a:pt x="150" y="640"/>
                  </a:lnTo>
                  <a:lnTo>
                    <a:pt x="150" y="638"/>
                  </a:lnTo>
                  <a:lnTo>
                    <a:pt x="148" y="638"/>
                  </a:lnTo>
                  <a:lnTo>
                    <a:pt x="148" y="636"/>
                  </a:lnTo>
                  <a:lnTo>
                    <a:pt x="148" y="634"/>
                  </a:lnTo>
                  <a:lnTo>
                    <a:pt x="150" y="634"/>
                  </a:lnTo>
                  <a:lnTo>
                    <a:pt x="150" y="632"/>
                  </a:lnTo>
                  <a:lnTo>
                    <a:pt x="150" y="630"/>
                  </a:lnTo>
                  <a:lnTo>
                    <a:pt x="150" y="628"/>
                  </a:lnTo>
                  <a:lnTo>
                    <a:pt x="152" y="628"/>
                  </a:lnTo>
                  <a:lnTo>
                    <a:pt x="154" y="628"/>
                  </a:lnTo>
                  <a:lnTo>
                    <a:pt x="156" y="628"/>
                  </a:lnTo>
                  <a:lnTo>
                    <a:pt x="158" y="628"/>
                  </a:lnTo>
                  <a:lnTo>
                    <a:pt x="160" y="628"/>
                  </a:lnTo>
                  <a:lnTo>
                    <a:pt x="158" y="628"/>
                  </a:lnTo>
                  <a:lnTo>
                    <a:pt x="160" y="628"/>
                  </a:lnTo>
                  <a:lnTo>
                    <a:pt x="158" y="628"/>
                  </a:lnTo>
                  <a:lnTo>
                    <a:pt x="160" y="628"/>
                  </a:lnTo>
                  <a:lnTo>
                    <a:pt x="158" y="628"/>
                  </a:lnTo>
                  <a:lnTo>
                    <a:pt x="160" y="628"/>
                  </a:lnTo>
                  <a:lnTo>
                    <a:pt x="158" y="628"/>
                  </a:lnTo>
                  <a:lnTo>
                    <a:pt x="158" y="626"/>
                  </a:lnTo>
                  <a:lnTo>
                    <a:pt x="156" y="626"/>
                  </a:lnTo>
                  <a:lnTo>
                    <a:pt x="154" y="626"/>
                  </a:lnTo>
                  <a:lnTo>
                    <a:pt x="152" y="626"/>
                  </a:lnTo>
                  <a:lnTo>
                    <a:pt x="150" y="626"/>
                  </a:lnTo>
                  <a:lnTo>
                    <a:pt x="148" y="626"/>
                  </a:lnTo>
                  <a:lnTo>
                    <a:pt x="148" y="624"/>
                  </a:lnTo>
                  <a:lnTo>
                    <a:pt x="146" y="624"/>
                  </a:lnTo>
                  <a:lnTo>
                    <a:pt x="144" y="624"/>
                  </a:lnTo>
                  <a:lnTo>
                    <a:pt x="144" y="622"/>
                  </a:lnTo>
                  <a:lnTo>
                    <a:pt x="144" y="621"/>
                  </a:lnTo>
                  <a:lnTo>
                    <a:pt x="144" y="619"/>
                  </a:lnTo>
                  <a:lnTo>
                    <a:pt x="146" y="619"/>
                  </a:lnTo>
                  <a:lnTo>
                    <a:pt x="146" y="617"/>
                  </a:lnTo>
                  <a:lnTo>
                    <a:pt x="146" y="615"/>
                  </a:lnTo>
                  <a:lnTo>
                    <a:pt x="146" y="617"/>
                  </a:lnTo>
                  <a:lnTo>
                    <a:pt x="146" y="615"/>
                  </a:lnTo>
                  <a:lnTo>
                    <a:pt x="148" y="615"/>
                  </a:lnTo>
                  <a:lnTo>
                    <a:pt x="148" y="613"/>
                  </a:lnTo>
                  <a:lnTo>
                    <a:pt x="148" y="611"/>
                  </a:lnTo>
                  <a:lnTo>
                    <a:pt x="150" y="611"/>
                  </a:lnTo>
                  <a:lnTo>
                    <a:pt x="150" y="613"/>
                  </a:lnTo>
                  <a:lnTo>
                    <a:pt x="150" y="611"/>
                  </a:lnTo>
                  <a:lnTo>
                    <a:pt x="152" y="611"/>
                  </a:lnTo>
                  <a:lnTo>
                    <a:pt x="154" y="611"/>
                  </a:lnTo>
                  <a:lnTo>
                    <a:pt x="156" y="611"/>
                  </a:lnTo>
                  <a:lnTo>
                    <a:pt x="158" y="611"/>
                  </a:lnTo>
                  <a:lnTo>
                    <a:pt x="160" y="611"/>
                  </a:lnTo>
                  <a:lnTo>
                    <a:pt x="162" y="611"/>
                  </a:lnTo>
                  <a:lnTo>
                    <a:pt x="162" y="609"/>
                  </a:lnTo>
                  <a:lnTo>
                    <a:pt x="164" y="609"/>
                  </a:lnTo>
                  <a:lnTo>
                    <a:pt x="166" y="609"/>
                  </a:lnTo>
                  <a:lnTo>
                    <a:pt x="166" y="607"/>
                  </a:lnTo>
                  <a:lnTo>
                    <a:pt x="166" y="605"/>
                  </a:lnTo>
                  <a:lnTo>
                    <a:pt x="166" y="603"/>
                  </a:lnTo>
                  <a:lnTo>
                    <a:pt x="168" y="603"/>
                  </a:lnTo>
                  <a:lnTo>
                    <a:pt x="166" y="603"/>
                  </a:lnTo>
                  <a:lnTo>
                    <a:pt x="166" y="601"/>
                  </a:lnTo>
                  <a:lnTo>
                    <a:pt x="168" y="601"/>
                  </a:lnTo>
                  <a:lnTo>
                    <a:pt x="168" y="599"/>
                  </a:lnTo>
                  <a:lnTo>
                    <a:pt x="166" y="599"/>
                  </a:lnTo>
                  <a:lnTo>
                    <a:pt x="166" y="597"/>
                  </a:lnTo>
                  <a:lnTo>
                    <a:pt x="166" y="596"/>
                  </a:lnTo>
                  <a:lnTo>
                    <a:pt x="166" y="597"/>
                  </a:lnTo>
                  <a:lnTo>
                    <a:pt x="166" y="599"/>
                  </a:lnTo>
                  <a:lnTo>
                    <a:pt x="166" y="601"/>
                  </a:lnTo>
                  <a:lnTo>
                    <a:pt x="166" y="603"/>
                  </a:lnTo>
                  <a:lnTo>
                    <a:pt x="164" y="603"/>
                  </a:lnTo>
                  <a:lnTo>
                    <a:pt x="164" y="605"/>
                  </a:lnTo>
                  <a:lnTo>
                    <a:pt x="164" y="607"/>
                  </a:lnTo>
                  <a:lnTo>
                    <a:pt x="162" y="607"/>
                  </a:lnTo>
                  <a:lnTo>
                    <a:pt x="162" y="609"/>
                  </a:lnTo>
                  <a:lnTo>
                    <a:pt x="162" y="607"/>
                  </a:lnTo>
                  <a:lnTo>
                    <a:pt x="162" y="609"/>
                  </a:lnTo>
                  <a:lnTo>
                    <a:pt x="160" y="609"/>
                  </a:lnTo>
                  <a:lnTo>
                    <a:pt x="158" y="609"/>
                  </a:lnTo>
                  <a:lnTo>
                    <a:pt x="156" y="609"/>
                  </a:lnTo>
                  <a:lnTo>
                    <a:pt x="154" y="609"/>
                  </a:lnTo>
                  <a:lnTo>
                    <a:pt x="154" y="611"/>
                  </a:lnTo>
                  <a:lnTo>
                    <a:pt x="154" y="609"/>
                  </a:lnTo>
                  <a:lnTo>
                    <a:pt x="152" y="609"/>
                  </a:lnTo>
                  <a:lnTo>
                    <a:pt x="152" y="611"/>
                  </a:lnTo>
                  <a:lnTo>
                    <a:pt x="150" y="611"/>
                  </a:lnTo>
                  <a:lnTo>
                    <a:pt x="150" y="609"/>
                  </a:lnTo>
                  <a:lnTo>
                    <a:pt x="150" y="611"/>
                  </a:lnTo>
                  <a:lnTo>
                    <a:pt x="148" y="611"/>
                  </a:lnTo>
                  <a:lnTo>
                    <a:pt x="146" y="611"/>
                  </a:lnTo>
                  <a:lnTo>
                    <a:pt x="146" y="613"/>
                  </a:lnTo>
                  <a:lnTo>
                    <a:pt x="146" y="615"/>
                  </a:lnTo>
                  <a:lnTo>
                    <a:pt x="144" y="615"/>
                  </a:lnTo>
                  <a:lnTo>
                    <a:pt x="143" y="615"/>
                  </a:lnTo>
                  <a:lnTo>
                    <a:pt x="144" y="615"/>
                  </a:lnTo>
                  <a:lnTo>
                    <a:pt x="143" y="615"/>
                  </a:lnTo>
                  <a:lnTo>
                    <a:pt x="141" y="615"/>
                  </a:lnTo>
                  <a:lnTo>
                    <a:pt x="139" y="615"/>
                  </a:lnTo>
                  <a:lnTo>
                    <a:pt x="139" y="613"/>
                  </a:lnTo>
                  <a:lnTo>
                    <a:pt x="139" y="611"/>
                  </a:lnTo>
                  <a:lnTo>
                    <a:pt x="139" y="609"/>
                  </a:lnTo>
                  <a:lnTo>
                    <a:pt x="139" y="607"/>
                  </a:lnTo>
                  <a:lnTo>
                    <a:pt x="139" y="605"/>
                  </a:lnTo>
                  <a:lnTo>
                    <a:pt x="139" y="603"/>
                  </a:lnTo>
                  <a:lnTo>
                    <a:pt x="139" y="601"/>
                  </a:lnTo>
                  <a:lnTo>
                    <a:pt x="139" y="599"/>
                  </a:lnTo>
                  <a:lnTo>
                    <a:pt x="139" y="601"/>
                  </a:lnTo>
                  <a:lnTo>
                    <a:pt x="139" y="603"/>
                  </a:lnTo>
                  <a:lnTo>
                    <a:pt x="139" y="605"/>
                  </a:lnTo>
                  <a:lnTo>
                    <a:pt x="139" y="607"/>
                  </a:lnTo>
                  <a:lnTo>
                    <a:pt x="139" y="609"/>
                  </a:lnTo>
                  <a:lnTo>
                    <a:pt x="139" y="611"/>
                  </a:lnTo>
                  <a:lnTo>
                    <a:pt x="139" y="613"/>
                  </a:lnTo>
                  <a:lnTo>
                    <a:pt x="139" y="615"/>
                  </a:lnTo>
                  <a:lnTo>
                    <a:pt x="139" y="613"/>
                  </a:lnTo>
                  <a:lnTo>
                    <a:pt x="139" y="615"/>
                  </a:lnTo>
                  <a:lnTo>
                    <a:pt x="139" y="613"/>
                  </a:lnTo>
                  <a:lnTo>
                    <a:pt x="139" y="615"/>
                  </a:lnTo>
                  <a:lnTo>
                    <a:pt x="139" y="613"/>
                  </a:lnTo>
                  <a:lnTo>
                    <a:pt x="139" y="615"/>
                  </a:lnTo>
                  <a:lnTo>
                    <a:pt x="139" y="613"/>
                  </a:lnTo>
                  <a:lnTo>
                    <a:pt x="137" y="613"/>
                  </a:lnTo>
                  <a:lnTo>
                    <a:pt x="137" y="615"/>
                  </a:lnTo>
                  <a:lnTo>
                    <a:pt x="135" y="615"/>
                  </a:lnTo>
                  <a:lnTo>
                    <a:pt x="135" y="613"/>
                  </a:lnTo>
                  <a:lnTo>
                    <a:pt x="135" y="615"/>
                  </a:lnTo>
                  <a:lnTo>
                    <a:pt x="135" y="617"/>
                  </a:lnTo>
                  <a:lnTo>
                    <a:pt x="133" y="617"/>
                  </a:lnTo>
                  <a:lnTo>
                    <a:pt x="131" y="617"/>
                  </a:lnTo>
                  <a:lnTo>
                    <a:pt x="131" y="615"/>
                  </a:lnTo>
                  <a:lnTo>
                    <a:pt x="129" y="615"/>
                  </a:lnTo>
                  <a:lnTo>
                    <a:pt x="129" y="617"/>
                  </a:lnTo>
                  <a:lnTo>
                    <a:pt x="127" y="617"/>
                  </a:lnTo>
                  <a:lnTo>
                    <a:pt x="127" y="615"/>
                  </a:lnTo>
                  <a:lnTo>
                    <a:pt x="125" y="615"/>
                  </a:lnTo>
                  <a:lnTo>
                    <a:pt x="123" y="615"/>
                  </a:lnTo>
                  <a:lnTo>
                    <a:pt x="125" y="615"/>
                  </a:lnTo>
                  <a:lnTo>
                    <a:pt x="125" y="613"/>
                  </a:lnTo>
                  <a:lnTo>
                    <a:pt x="125" y="611"/>
                  </a:lnTo>
                  <a:lnTo>
                    <a:pt x="127" y="611"/>
                  </a:lnTo>
                  <a:lnTo>
                    <a:pt x="127" y="613"/>
                  </a:lnTo>
                  <a:lnTo>
                    <a:pt x="129" y="613"/>
                  </a:lnTo>
                  <a:lnTo>
                    <a:pt x="127" y="611"/>
                  </a:lnTo>
                  <a:lnTo>
                    <a:pt x="125" y="611"/>
                  </a:lnTo>
                  <a:lnTo>
                    <a:pt x="125" y="613"/>
                  </a:lnTo>
                  <a:lnTo>
                    <a:pt x="123" y="613"/>
                  </a:lnTo>
                  <a:lnTo>
                    <a:pt x="123" y="615"/>
                  </a:lnTo>
                  <a:lnTo>
                    <a:pt x="121" y="615"/>
                  </a:lnTo>
                  <a:lnTo>
                    <a:pt x="120" y="615"/>
                  </a:lnTo>
                  <a:lnTo>
                    <a:pt x="118" y="617"/>
                  </a:lnTo>
                  <a:lnTo>
                    <a:pt x="118" y="615"/>
                  </a:lnTo>
                  <a:lnTo>
                    <a:pt x="118" y="613"/>
                  </a:lnTo>
                  <a:lnTo>
                    <a:pt x="118" y="611"/>
                  </a:lnTo>
                  <a:lnTo>
                    <a:pt x="118" y="609"/>
                  </a:lnTo>
                  <a:lnTo>
                    <a:pt x="120" y="609"/>
                  </a:lnTo>
                  <a:lnTo>
                    <a:pt x="120" y="607"/>
                  </a:lnTo>
                  <a:lnTo>
                    <a:pt x="121" y="607"/>
                  </a:lnTo>
                  <a:lnTo>
                    <a:pt x="123" y="607"/>
                  </a:lnTo>
                  <a:lnTo>
                    <a:pt x="123" y="609"/>
                  </a:lnTo>
                  <a:lnTo>
                    <a:pt x="123" y="607"/>
                  </a:lnTo>
                  <a:lnTo>
                    <a:pt x="123" y="605"/>
                  </a:lnTo>
                  <a:lnTo>
                    <a:pt x="123" y="603"/>
                  </a:lnTo>
                  <a:lnTo>
                    <a:pt x="125" y="603"/>
                  </a:lnTo>
                  <a:lnTo>
                    <a:pt x="123" y="603"/>
                  </a:lnTo>
                  <a:lnTo>
                    <a:pt x="123" y="605"/>
                  </a:lnTo>
                  <a:lnTo>
                    <a:pt x="123" y="603"/>
                  </a:lnTo>
                  <a:lnTo>
                    <a:pt x="123" y="601"/>
                  </a:lnTo>
                  <a:lnTo>
                    <a:pt x="123" y="603"/>
                  </a:lnTo>
                  <a:lnTo>
                    <a:pt x="125" y="601"/>
                  </a:lnTo>
                  <a:lnTo>
                    <a:pt x="127" y="601"/>
                  </a:lnTo>
                  <a:lnTo>
                    <a:pt x="127" y="603"/>
                  </a:lnTo>
                  <a:lnTo>
                    <a:pt x="129" y="603"/>
                  </a:lnTo>
                  <a:lnTo>
                    <a:pt x="127" y="603"/>
                  </a:lnTo>
                  <a:lnTo>
                    <a:pt x="127" y="605"/>
                  </a:lnTo>
                  <a:lnTo>
                    <a:pt x="129" y="605"/>
                  </a:lnTo>
                  <a:lnTo>
                    <a:pt x="131" y="605"/>
                  </a:lnTo>
                  <a:lnTo>
                    <a:pt x="131" y="607"/>
                  </a:lnTo>
                  <a:lnTo>
                    <a:pt x="131" y="605"/>
                  </a:lnTo>
                  <a:lnTo>
                    <a:pt x="129" y="605"/>
                  </a:lnTo>
                  <a:lnTo>
                    <a:pt x="129" y="603"/>
                  </a:lnTo>
                  <a:lnTo>
                    <a:pt x="129" y="601"/>
                  </a:lnTo>
                  <a:lnTo>
                    <a:pt x="129" y="599"/>
                  </a:lnTo>
                  <a:lnTo>
                    <a:pt x="129" y="601"/>
                  </a:lnTo>
                  <a:lnTo>
                    <a:pt x="127" y="601"/>
                  </a:lnTo>
                  <a:lnTo>
                    <a:pt x="127" y="599"/>
                  </a:lnTo>
                  <a:lnTo>
                    <a:pt x="125" y="599"/>
                  </a:lnTo>
                  <a:lnTo>
                    <a:pt x="125" y="601"/>
                  </a:lnTo>
                  <a:lnTo>
                    <a:pt x="123" y="601"/>
                  </a:lnTo>
                  <a:lnTo>
                    <a:pt x="123" y="603"/>
                  </a:lnTo>
                  <a:lnTo>
                    <a:pt x="123" y="605"/>
                  </a:lnTo>
                  <a:lnTo>
                    <a:pt x="123" y="607"/>
                  </a:lnTo>
                  <a:lnTo>
                    <a:pt x="121" y="607"/>
                  </a:lnTo>
                  <a:lnTo>
                    <a:pt x="120" y="607"/>
                  </a:lnTo>
                  <a:lnTo>
                    <a:pt x="120" y="609"/>
                  </a:lnTo>
                  <a:lnTo>
                    <a:pt x="120" y="607"/>
                  </a:lnTo>
                  <a:lnTo>
                    <a:pt x="120" y="609"/>
                  </a:lnTo>
                  <a:lnTo>
                    <a:pt x="118" y="609"/>
                  </a:lnTo>
                  <a:lnTo>
                    <a:pt x="118" y="607"/>
                  </a:lnTo>
                  <a:lnTo>
                    <a:pt x="118" y="609"/>
                  </a:lnTo>
                  <a:lnTo>
                    <a:pt x="118" y="607"/>
                  </a:lnTo>
                  <a:lnTo>
                    <a:pt x="118" y="605"/>
                  </a:lnTo>
                  <a:lnTo>
                    <a:pt x="120" y="603"/>
                  </a:lnTo>
                  <a:lnTo>
                    <a:pt x="120" y="605"/>
                  </a:lnTo>
                  <a:lnTo>
                    <a:pt x="120" y="603"/>
                  </a:lnTo>
                  <a:lnTo>
                    <a:pt x="121" y="603"/>
                  </a:lnTo>
                  <a:lnTo>
                    <a:pt x="121" y="601"/>
                  </a:lnTo>
                  <a:lnTo>
                    <a:pt x="123" y="601"/>
                  </a:lnTo>
                  <a:lnTo>
                    <a:pt x="123" y="599"/>
                  </a:lnTo>
                  <a:lnTo>
                    <a:pt x="123" y="601"/>
                  </a:lnTo>
                  <a:lnTo>
                    <a:pt x="123" y="599"/>
                  </a:lnTo>
                  <a:lnTo>
                    <a:pt x="123" y="601"/>
                  </a:lnTo>
                  <a:lnTo>
                    <a:pt x="125" y="601"/>
                  </a:lnTo>
                  <a:lnTo>
                    <a:pt x="125" y="599"/>
                  </a:lnTo>
                  <a:lnTo>
                    <a:pt x="125" y="601"/>
                  </a:lnTo>
                  <a:lnTo>
                    <a:pt x="125" y="599"/>
                  </a:lnTo>
                  <a:lnTo>
                    <a:pt x="123" y="599"/>
                  </a:lnTo>
                  <a:lnTo>
                    <a:pt x="121" y="599"/>
                  </a:lnTo>
                  <a:lnTo>
                    <a:pt x="121" y="601"/>
                  </a:lnTo>
                  <a:lnTo>
                    <a:pt x="120" y="601"/>
                  </a:lnTo>
                  <a:lnTo>
                    <a:pt x="120" y="603"/>
                  </a:lnTo>
                  <a:lnTo>
                    <a:pt x="118" y="603"/>
                  </a:lnTo>
                  <a:lnTo>
                    <a:pt x="118" y="605"/>
                  </a:lnTo>
                  <a:lnTo>
                    <a:pt x="118" y="607"/>
                  </a:lnTo>
                  <a:lnTo>
                    <a:pt x="116" y="607"/>
                  </a:lnTo>
                  <a:lnTo>
                    <a:pt x="116" y="605"/>
                  </a:lnTo>
                  <a:lnTo>
                    <a:pt x="118" y="605"/>
                  </a:lnTo>
                  <a:lnTo>
                    <a:pt x="118" y="603"/>
                  </a:lnTo>
                  <a:lnTo>
                    <a:pt x="118" y="601"/>
                  </a:lnTo>
                  <a:lnTo>
                    <a:pt x="118" y="599"/>
                  </a:lnTo>
                  <a:lnTo>
                    <a:pt x="120" y="599"/>
                  </a:lnTo>
                  <a:lnTo>
                    <a:pt x="120" y="597"/>
                  </a:lnTo>
                  <a:lnTo>
                    <a:pt x="120" y="599"/>
                  </a:lnTo>
                  <a:lnTo>
                    <a:pt x="121" y="599"/>
                  </a:lnTo>
                  <a:lnTo>
                    <a:pt x="121" y="597"/>
                  </a:lnTo>
                  <a:lnTo>
                    <a:pt x="123" y="597"/>
                  </a:lnTo>
                  <a:lnTo>
                    <a:pt x="125" y="597"/>
                  </a:lnTo>
                  <a:lnTo>
                    <a:pt x="123" y="597"/>
                  </a:lnTo>
                  <a:lnTo>
                    <a:pt x="123" y="596"/>
                  </a:lnTo>
                  <a:lnTo>
                    <a:pt x="123" y="597"/>
                  </a:lnTo>
                  <a:lnTo>
                    <a:pt x="123" y="596"/>
                  </a:lnTo>
                  <a:lnTo>
                    <a:pt x="121" y="596"/>
                  </a:lnTo>
                  <a:lnTo>
                    <a:pt x="121" y="594"/>
                  </a:lnTo>
                  <a:lnTo>
                    <a:pt x="121" y="592"/>
                  </a:lnTo>
                  <a:lnTo>
                    <a:pt x="123" y="592"/>
                  </a:lnTo>
                  <a:lnTo>
                    <a:pt x="125" y="592"/>
                  </a:lnTo>
                  <a:lnTo>
                    <a:pt x="125" y="590"/>
                  </a:lnTo>
                  <a:lnTo>
                    <a:pt x="127" y="590"/>
                  </a:lnTo>
                  <a:lnTo>
                    <a:pt x="125" y="590"/>
                  </a:lnTo>
                  <a:lnTo>
                    <a:pt x="127" y="590"/>
                  </a:lnTo>
                  <a:lnTo>
                    <a:pt x="127" y="588"/>
                  </a:lnTo>
                  <a:lnTo>
                    <a:pt x="127" y="590"/>
                  </a:lnTo>
                  <a:lnTo>
                    <a:pt x="125" y="590"/>
                  </a:lnTo>
                  <a:lnTo>
                    <a:pt x="123" y="590"/>
                  </a:lnTo>
                  <a:lnTo>
                    <a:pt x="123" y="592"/>
                  </a:lnTo>
                  <a:lnTo>
                    <a:pt x="123" y="590"/>
                  </a:lnTo>
                  <a:lnTo>
                    <a:pt x="123" y="592"/>
                  </a:lnTo>
                  <a:lnTo>
                    <a:pt x="121" y="592"/>
                  </a:lnTo>
                  <a:lnTo>
                    <a:pt x="121" y="594"/>
                  </a:lnTo>
                  <a:lnTo>
                    <a:pt x="121" y="596"/>
                  </a:lnTo>
                  <a:lnTo>
                    <a:pt x="120" y="596"/>
                  </a:lnTo>
                  <a:lnTo>
                    <a:pt x="120" y="597"/>
                  </a:lnTo>
                  <a:lnTo>
                    <a:pt x="118" y="597"/>
                  </a:lnTo>
                  <a:lnTo>
                    <a:pt x="116" y="597"/>
                  </a:lnTo>
                  <a:lnTo>
                    <a:pt x="118" y="597"/>
                  </a:lnTo>
                  <a:lnTo>
                    <a:pt x="118" y="596"/>
                  </a:lnTo>
                  <a:lnTo>
                    <a:pt x="118" y="597"/>
                  </a:lnTo>
                  <a:lnTo>
                    <a:pt x="116" y="597"/>
                  </a:lnTo>
                  <a:lnTo>
                    <a:pt x="116" y="596"/>
                  </a:lnTo>
                  <a:lnTo>
                    <a:pt x="116" y="597"/>
                  </a:lnTo>
                  <a:lnTo>
                    <a:pt x="116" y="599"/>
                  </a:lnTo>
                  <a:lnTo>
                    <a:pt x="114" y="599"/>
                  </a:lnTo>
                  <a:lnTo>
                    <a:pt x="114" y="601"/>
                  </a:lnTo>
                  <a:lnTo>
                    <a:pt x="112" y="601"/>
                  </a:lnTo>
                  <a:lnTo>
                    <a:pt x="114" y="601"/>
                  </a:lnTo>
                  <a:lnTo>
                    <a:pt x="112" y="601"/>
                  </a:lnTo>
                  <a:lnTo>
                    <a:pt x="112" y="599"/>
                  </a:lnTo>
                  <a:lnTo>
                    <a:pt x="112" y="601"/>
                  </a:lnTo>
                  <a:lnTo>
                    <a:pt x="112" y="599"/>
                  </a:lnTo>
                  <a:lnTo>
                    <a:pt x="112" y="601"/>
                  </a:lnTo>
                  <a:lnTo>
                    <a:pt x="112" y="599"/>
                  </a:lnTo>
                  <a:lnTo>
                    <a:pt x="112" y="597"/>
                  </a:lnTo>
                  <a:lnTo>
                    <a:pt x="112" y="599"/>
                  </a:lnTo>
                  <a:lnTo>
                    <a:pt x="112" y="597"/>
                  </a:lnTo>
                  <a:lnTo>
                    <a:pt x="112" y="599"/>
                  </a:lnTo>
                  <a:lnTo>
                    <a:pt x="112" y="601"/>
                  </a:lnTo>
                  <a:lnTo>
                    <a:pt x="112" y="599"/>
                  </a:lnTo>
                  <a:lnTo>
                    <a:pt x="112" y="601"/>
                  </a:lnTo>
                  <a:lnTo>
                    <a:pt x="110" y="601"/>
                  </a:lnTo>
                  <a:lnTo>
                    <a:pt x="110" y="603"/>
                  </a:lnTo>
                  <a:lnTo>
                    <a:pt x="108" y="603"/>
                  </a:lnTo>
                  <a:lnTo>
                    <a:pt x="106" y="603"/>
                  </a:lnTo>
                  <a:lnTo>
                    <a:pt x="106" y="605"/>
                  </a:lnTo>
                  <a:lnTo>
                    <a:pt x="106" y="603"/>
                  </a:lnTo>
                  <a:lnTo>
                    <a:pt x="104" y="603"/>
                  </a:lnTo>
                  <a:lnTo>
                    <a:pt x="106" y="603"/>
                  </a:lnTo>
                  <a:lnTo>
                    <a:pt x="104" y="603"/>
                  </a:lnTo>
                  <a:lnTo>
                    <a:pt x="106" y="603"/>
                  </a:lnTo>
                  <a:lnTo>
                    <a:pt x="104" y="603"/>
                  </a:lnTo>
                  <a:lnTo>
                    <a:pt x="106" y="603"/>
                  </a:lnTo>
                  <a:lnTo>
                    <a:pt x="104" y="603"/>
                  </a:lnTo>
                  <a:lnTo>
                    <a:pt x="104" y="601"/>
                  </a:lnTo>
                  <a:lnTo>
                    <a:pt x="104" y="603"/>
                  </a:lnTo>
                  <a:lnTo>
                    <a:pt x="104" y="601"/>
                  </a:lnTo>
                  <a:lnTo>
                    <a:pt x="104" y="603"/>
                  </a:lnTo>
                  <a:lnTo>
                    <a:pt x="106" y="603"/>
                  </a:lnTo>
                  <a:lnTo>
                    <a:pt x="104" y="603"/>
                  </a:lnTo>
                  <a:lnTo>
                    <a:pt x="104" y="601"/>
                  </a:lnTo>
                  <a:lnTo>
                    <a:pt x="106" y="601"/>
                  </a:lnTo>
                  <a:lnTo>
                    <a:pt x="106" y="599"/>
                  </a:lnTo>
                  <a:lnTo>
                    <a:pt x="106" y="601"/>
                  </a:lnTo>
                  <a:lnTo>
                    <a:pt x="106" y="599"/>
                  </a:lnTo>
                  <a:lnTo>
                    <a:pt x="108" y="599"/>
                  </a:lnTo>
                  <a:lnTo>
                    <a:pt x="106" y="599"/>
                  </a:lnTo>
                  <a:lnTo>
                    <a:pt x="108" y="599"/>
                  </a:lnTo>
                  <a:lnTo>
                    <a:pt x="106" y="599"/>
                  </a:lnTo>
                  <a:lnTo>
                    <a:pt x="108" y="599"/>
                  </a:lnTo>
                  <a:lnTo>
                    <a:pt x="108" y="597"/>
                  </a:lnTo>
                  <a:lnTo>
                    <a:pt x="110" y="597"/>
                  </a:lnTo>
                  <a:lnTo>
                    <a:pt x="112" y="597"/>
                  </a:lnTo>
                  <a:lnTo>
                    <a:pt x="114" y="597"/>
                  </a:lnTo>
                  <a:lnTo>
                    <a:pt x="114" y="596"/>
                  </a:lnTo>
                  <a:lnTo>
                    <a:pt x="116" y="596"/>
                  </a:lnTo>
                  <a:lnTo>
                    <a:pt x="116" y="594"/>
                  </a:lnTo>
                  <a:lnTo>
                    <a:pt x="116" y="596"/>
                  </a:lnTo>
                  <a:lnTo>
                    <a:pt x="116" y="594"/>
                  </a:lnTo>
                  <a:lnTo>
                    <a:pt x="116" y="592"/>
                  </a:lnTo>
                  <a:lnTo>
                    <a:pt x="116" y="590"/>
                  </a:lnTo>
                  <a:lnTo>
                    <a:pt x="118" y="590"/>
                  </a:lnTo>
                  <a:lnTo>
                    <a:pt x="120" y="590"/>
                  </a:lnTo>
                  <a:lnTo>
                    <a:pt x="120" y="588"/>
                  </a:lnTo>
                  <a:lnTo>
                    <a:pt x="121" y="588"/>
                  </a:lnTo>
                  <a:lnTo>
                    <a:pt x="121" y="586"/>
                  </a:lnTo>
                  <a:lnTo>
                    <a:pt x="123" y="586"/>
                  </a:lnTo>
                  <a:lnTo>
                    <a:pt x="123" y="584"/>
                  </a:lnTo>
                  <a:lnTo>
                    <a:pt x="125" y="584"/>
                  </a:lnTo>
                  <a:lnTo>
                    <a:pt x="127" y="584"/>
                  </a:lnTo>
                  <a:lnTo>
                    <a:pt x="127" y="582"/>
                  </a:lnTo>
                  <a:lnTo>
                    <a:pt x="129" y="582"/>
                  </a:lnTo>
                  <a:lnTo>
                    <a:pt x="129" y="584"/>
                  </a:lnTo>
                  <a:lnTo>
                    <a:pt x="131" y="584"/>
                  </a:lnTo>
                  <a:lnTo>
                    <a:pt x="131" y="586"/>
                  </a:lnTo>
                  <a:lnTo>
                    <a:pt x="133" y="586"/>
                  </a:lnTo>
                  <a:lnTo>
                    <a:pt x="133" y="588"/>
                  </a:lnTo>
                  <a:lnTo>
                    <a:pt x="133" y="586"/>
                  </a:lnTo>
                  <a:lnTo>
                    <a:pt x="133" y="588"/>
                  </a:lnTo>
                  <a:lnTo>
                    <a:pt x="135" y="588"/>
                  </a:lnTo>
                  <a:lnTo>
                    <a:pt x="137" y="588"/>
                  </a:lnTo>
                  <a:lnTo>
                    <a:pt x="137" y="590"/>
                  </a:lnTo>
                  <a:lnTo>
                    <a:pt x="137" y="588"/>
                  </a:lnTo>
                  <a:lnTo>
                    <a:pt x="135" y="588"/>
                  </a:lnTo>
                  <a:lnTo>
                    <a:pt x="135" y="586"/>
                  </a:lnTo>
                  <a:lnTo>
                    <a:pt x="135" y="588"/>
                  </a:lnTo>
                  <a:lnTo>
                    <a:pt x="135" y="586"/>
                  </a:lnTo>
                  <a:lnTo>
                    <a:pt x="133" y="586"/>
                  </a:lnTo>
                  <a:lnTo>
                    <a:pt x="133" y="584"/>
                  </a:lnTo>
                  <a:lnTo>
                    <a:pt x="133" y="582"/>
                  </a:lnTo>
                  <a:lnTo>
                    <a:pt x="133" y="584"/>
                  </a:lnTo>
                  <a:lnTo>
                    <a:pt x="131" y="584"/>
                  </a:lnTo>
                  <a:lnTo>
                    <a:pt x="131" y="582"/>
                  </a:lnTo>
                  <a:lnTo>
                    <a:pt x="129" y="582"/>
                  </a:lnTo>
                  <a:lnTo>
                    <a:pt x="129" y="580"/>
                  </a:lnTo>
                  <a:lnTo>
                    <a:pt x="127" y="580"/>
                  </a:lnTo>
                  <a:lnTo>
                    <a:pt x="129" y="580"/>
                  </a:lnTo>
                  <a:lnTo>
                    <a:pt x="129" y="578"/>
                  </a:lnTo>
                  <a:lnTo>
                    <a:pt x="131" y="578"/>
                  </a:lnTo>
                  <a:lnTo>
                    <a:pt x="131" y="576"/>
                  </a:lnTo>
                  <a:lnTo>
                    <a:pt x="129" y="576"/>
                  </a:lnTo>
                  <a:lnTo>
                    <a:pt x="131" y="576"/>
                  </a:lnTo>
                  <a:lnTo>
                    <a:pt x="131" y="574"/>
                  </a:lnTo>
                  <a:lnTo>
                    <a:pt x="133" y="574"/>
                  </a:lnTo>
                  <a:lnTo>
                    <a:pt x="131" y="574"/>
                  </a:lnTo>
                  <a:lnTo>
                    <a:pt x="131" y="576"/>
                  </a:lnTo>
                  <a:lnTo>
                    <a:pt x="133" y="576"/>
                  </a:lnTo>
                  <a:lnTo>
                    <a:pt x="133" y="574"/>
                  </a:lnTo>
                  <a:lnTo>
                    <a:pt x="135" y="574"/>
                  </a:lnTo>
                  <a:lnTo>
                    <a:pt x="135" y="576"/>
                  </a:lnTo>
                  <a:lnTo>
                    <a:pt x="135" y="574"/>
                  </a:lnTo>
                  <a:lnTo>
                    <a:pt x="135" y="576"/>
                  </a:lnTo>
                  <a:lnTo>
                    <a:pt x="137" y="576"/>
                  </a:lnTo>
                  <a:lnTo>
                    <a:pt x="135" y="576"/>
                  </a:lnTo>
                  <a:lnTo>
                    <a:pt x="137" y="574"/>
                  </a:lnTo>
                  <a:lnTo>
                    <a:pt x="135" y="574"/>
                  </a:lnTo>
                  <a:lnTo>
                    <a:pt x="133" y="574"/>
                  </a:lnTo>
                  <a:lnTo>
                    <a:pt x="133" y="573"/>
                  </a:lnTo>
                  <a:lnTo>
                    <a:pt x="133" y="574"/>
                  </a:lnTo>
                  <a:lnTo>
                    <a:pt x="131" y="574"/>
                  </a:lnTo>
                  <a:lnTo>
                    <a:pt x="131" y="576"/>
                  </a:lnTo>
                  <a:lnTo>
                    <a:pt x="129" y="576"/>
                  </a:lnTo>
                  <a:lnTo>
                    <a:pt x="127" y="576"/>
                  </a:lnTo>
                  <a:lnTo>
                    <a:pt x="125" y="576"/>
                  </a:lnTo>
                  <a:lnTo>
                    <a:pt x="123" y="576"/>
                  </a:lnTo>
                  <a:lnTo>
                    <a:pt x="123" y="574"/>
                  </a:lnTo>
                  <a:lnTo>
                    <a:pt x="121" y="574"/>
                  </a:lnTo>
                  <a:lnTo>
                    <a:pt x="121" y="573"/>
                  </a:lnTo>
                  <a:lnTo>
                    <a:pt x="123" y="573"/>
                  </a:lnTo>
                  <a:lnTo>
                    <a:pt x="121" y="573"/>
                  </a:lnTo>
                  <a:lnTo>
                    <a:pt x="120" y="573"/>
                  </a:lnTo>
                  <a:lnTo>
                    <a:pt x="120" y="571"/>
                  </a:lnTo>
                  <a:lnTo>
                    <a:pt x="120" y="569"/>
                  </a:lnTo>
                  <a:lnTo>
                    <a:pt x="120" y="567"/>
                  </a:lnTo>
                  <a:lnTo>
                    <a:pt x="121" y="567"/>
                  </a:lnTo>
                  <a:lnTo>
                    <a:pt x="121" y="565"/>
                  </a:lnTo>
                  <a:lnTo>
                    <a:pt x="121" y="567"/>
                  </a:lnTo>
                  <a:lnTo>
                    <a:pt x="123" y="567"/>
                  </a:lnTo>
                  <a:lnTo>
                    <a:pt x="125" y="567"/>
                  </a:lnTo>
                  <a:lnTo>
                    <a:pt x="123" y="567"/>
                  </a:lnTo>
                  <a:lnTo>
                    <a:pt x="121" y="567"/>
                  </a:lnTo>
                  <a:lnTo>
                    <a:pt x="121" y="565"/>
                  </a:lnTo>
                  <a:lnTo>
                    <a:pt x="121" y="567"/>
                  </a:lnTo>
                  <a:lnTo>
                    <a:pt x="121" y="565"/>
                  </a:lnTo>
                  <a:lnTo>
                    <a:pt x="121" y="563"/>
                  </a:lnTo>
                  <a:lnTo>
                    <a:pt x="123" y="563"/>
                  </a:lnTo>
                  <a:lnTo>
                    <a:pt x="123" y="561"/>
                  </a:lnTo>
                  <a:lnTo>
                    <a:pt x="125" y="561"/>
                  </a:lnTo>
                  <a:lnTo>
                    <a:pt x="123" y="561"/>
                  </a:lnTo>
                  <a:lnTo>
                    <a:pt x="123" y="559"/>
                  </a:lnTo>
                  <a:lnTo>
                    <a:pt x="125" y="559"/>
                  </a:lnTo>
                  <a:lnTo>
                    <a:pt x="125" y="557"/>
                  </a:lnTo>
                  <a:lnTo>
                    <a:pt x="125" y="555"/>
                  </a:lnTo>
                  <a:lnTo>
                    <a:pt x="125" y="557"/>
                  </a:lnTo>
                  <a:lnTo>
                    <a:pt x="127" y="557"/>
                  </a:lnTo>
                  <a:lnTo>
                    <a:pt x="129" y="557"/>
                  </a:lnTo>
                  <a:lnTo>
                    <a:pt x="129" y="559"/>
                  </a:lnTo>
                  <a:lnTo>
                    <a:pt x="129" y="557"/>
                  </a:lnTo>
                  <a:lnTo>
                    <a:pt x="127" y="557"/>
                  </a:lnTo>
                  <a:lnTo>
                    <a:pt x="127" y="555"/>
                  </a:lnTo>
                  <a:lnTo>
                    <a:pt x="125" y="555"/>
                  </a:lnTo>
                  <a:lnTo>
                    <a:pt x="125" y="553"/>
                  </a:lnTo>
                  <a:lnTo>
                    <a:pt x="127" y="553"/>
                  </a:lnTo>
                  <a:lnTo>
                    <a:pt x="127" y="555"/>
                  </a:lnTo>
                  <a:lnTo>
                    <a:pt x="129" y="555"/>
                  </a:lnTo>
                  <a:lnTo>
                    <a:pt x="129" y="553"/>
                  </a:lnTo>
                  <a:lnTo>
                    <a:pt x="127" y="553"/>
                  </a:lnTo>
                  <a:lnTo>
                    <a:pt x="125" y="553"/>
                  </a:lnTo>
                  <a:lnTo>
                    <a:pt x="125" y="551"/>
                  </a:lnTo>
                  <a:lnTo>
                    <a:pt x="127" y="551"/>
                  </a:lnTo>
                  <a:lnTo>
                    <a:pt x="125" y="551"/>
                  </a:lnTo>
                  <a:lnTo>
                    <a:pt x="125" y="549"/>
                  </a:lnTo>
                  <a:lnTo>
                    <a:pt x="125" y="548"/>
                  </a:lnTo>
                  <a:lnTo>
                    <a:pt x="127" y="548"/>
                  </a:lnTo>
                  <a:lnTo>
                    <a:pt x="127" y="546"/>
                  </a:lnTo>
                  <a:lnTo>
                    <a:pt x="125" y="546"/>
                  </a:lnTo>
                  <a:lnTo>
                    <a:pt x="125" y="548"/>
                  </a:lnTo>
                  <a:lnTo>
                    <a:pt x="125" y="549"/>
                  </a:lnTo>
                  <a:lnTo>
                    <a:pt x="125" y="548"/>
                  </a:lnTo>
                  <a:lnTo>
                    <a:pt x="123" y="548"/>
                  </a:lnTo>
                  <a:lnTo>
                    <a:pt x="123" y="546"/>
                  </a:lnTo>
                  <a:lnTo>
                    <a:pt x="123" y="544"/>
                  </a:lnTo>
                  <a:lnTo>
                    <a:pt x="123" y="542"/>
                  </a:lnTo>
                  <a:lnTo>
                    <a:pt x="123" y="540"/>
                  </a:lnTo>
                  <a:lnTo>
                    <a:pt x="121" y="540"/>
                  </a:lnTo>
                  <a:lnTo>
                    <a:pt x="123" y="540"/>
                  </a:lnTo>
                  <a:lnTo>
                    <a:pt x="123" y="538"/>
                  </a:lnTo>
                  <a:lnTo>
                    <a:pt x="121" y="538"/>
                  </a:lnTo>
                  <a:lnTo>
                    <a:pt x="123" y="538"/>
                  </a:lnTo>
                  <a:lnTo>
                    <a:pt x="123" y="536"/>
                  </a:lnTo>
                  <a:lnTo>
                    <a:pt x="125" y="536"/>
                  </a:lnTo>
                  <a:lnTo>
                    <a:pt x="125" y="534"/>
                  </a:lnTo>
                  <a:lnTo>
                    <a:pt x="123" y="534"/>
                  </a:lnTo>
                  <a:lnTo>
                    <a:pt x="125" y="534"/>
                  </a:lnTo>
                  <a:lnTo>
                    <a:pt x="125" y="532"/>
                  </a:lnTo>
                  <a:lnTo>
                    <a:pt x="125" y="530"/>
                  </a:lnTo>
                  <a:lnTo>
                    <a:pt x="127" y="530"/>
                  </a:lnTo>
                  <a:lnTo>
                    <a:pt x="129" y="530"/>
                  </a:lnTo>
                  <a:lnTo>
                    <a:pt x="129" y="528"/>
                  </a:lnTo>
                  <a:lnTo>
                    <a:pt x="127" y="528"/>
                  </a:lnTo>
                  <a:lnTo>
                    <a:pt x="127" y="530"/>
                  </a:lnTo>
                  <a:lnTo>
                    <a:pt x="125" y="530"/>
                  </a:lnTo>
                  <a:lnTo>
                    <a:pt x="125" y="528"/>
                  </a:lnTo>
                  <a:lnTo>
                    <a:pt x="125" y="526"/>
                  </a:lnTo>
                  <a:lnTo>
                    <a:pt x="127" y="526"/>
                  </a:lnTo>
                  <a:lnTo>
                    <a:pt x="125" y="526"/>
                  </a:lnTo>
                  <a:lnTo>
                    <a:pt x="127" y="526"/>
                  </a:lnTo>
                  <a:lnTo>
                    <a:pt x="127" y="525"/>
                  </a:lnTo>
                  <a:lnTo>
                    <a:pt x="127" y="523"/>
                  </a:lnTo>
                  <a:lnTo>
                    <a:pt x="127" y="525"/>
                  </a:lnTo>
                  <a:lnTo>
                    <a:pt x="127" y="523"/>
                  </a:lnTo>
                  <a:lnTo>
                    <a:pt x="129" y="523"/>
                  </a:lnTo>
                  <a:lnTo>
                    <a:pt x="129" y="525"/>
                  </a:lnTo>
                  <a:lnTo>
                    <a:pt x="129" y="526"/>
                  </a:lnTo>
                  <a:lnTo>
                    <a:pt x="131" y="526"/>
                  </a:lnTo>
                  <a:lnTo>
                    <a:pt x="133" y="526"/>
                  </a:lnTo>
                  <a:lnTo>
                    <a:pt x="133" y="525"/>
                  </a:lnTo>
                  <a:lnTo>
                    <a:pt x="133" y="526"/>
                  </a:lnTo>
                  <a:lnTo>
                    <a:pt x="133" y="528"/>
                  </a:lnTo>
                  <a:lnTo>
                    <a:pt x="133" y="530"/>
                  </a:lnTo>
                  <a:lnTo>
                    <a:pt x="133" y="532"/>
                  </a:lnTo>
                  <a:lnTo>
                    <a:pt x="133" y="534"/>
                  </a:lnTo>
                  <a:lnTo>
                    <a:pt x="135" y="534"/>
                  </a:lnTo>
                  <a:lnTo>
                    <a:pt x="135" y="532"/>
                  </a:lnTo>
                  <a:lnTo>
                    <a:pt x="133" y="532"/>
                  </a:lnTo>
                  <a:lnTo>
                    <a:pt x="135" y="532"/>
                  </a:lnTo>
                  <a:lnTo>
                    <a:pt x="133" y="532"/>
                  </a:lnTo>
                  <a:lnTo>
                    <a:pt x="135" y="532"/>
                  </a:lnTo>
                  <a:lnTo>
                    <a:pt x="133" y="532"/>
                  </a:lnTo>
                  <a:lnTo>
                    <a:pt x="135" y="532"/>
                  </a:lnTo>
                  <a:lnTo>
                    <a:pt x="135" y="534"/>
                  </a:lnTo>
                  <a:lnTo>
                    <a:pt x="135" y="536"/>
                  </a:lnTo>
                  <a:lnTo>
                    <a:pt x="137" y="536"/>
                  </a:lnTo>
                  <a:lnTo>
                    <a:pt x="137" y="538"/>
                  </a:lnTo>
                  <a:lnTo>
                    <a:pt x="137" y="540"/>
                  </a:lnTo>
                  <a:lnTo>
                    <a:pt x="137" y="542"/>
                  </a:lnTo>
                  <a:lnTo>
                    <a:pt x="137" y="544"/>
                  </a:lnTo>
                  <a:lnTo>
                    <a:pt x="135" y="544"/>
                  </a:lnTo>
                  <a:lnTo>
                    <a:pt x="135" y="546"/>
                  </a:lnTo>
                  <a:lnTo>
                    <a:pt x="137" y="546"/>
                  </a:lnTo>
                  <a:lnTo>
                    <a:pt x="135" y="546"/>
                  </a:lnTo>
                  <a:lnTo>
                    <a:pt x="137" y="546"/>
                  </a:lnTo>
                  <a:lnTo>
                    <a:pt x="137" y="544"/>
                  </a:lnTo>
                  <a:lnTo>
                    <a:pt x="137" y="542"/>
                  </a:lnTo>
                  <a:lnTo>
                    <a:pt x="139" y="542"/>
                  </a:lnTo>
                  <a:lnTo>
                    <a:pt x="139" y="540"/>
                  </a:lnTo>
                  <a:lnTo>
                    <a:pt x="137" y="540"/>
                  </a:lnTo>
                  <a:lnTo>
                    <a:pt x="137" y="538"/>
                  </a:lnTo>
                  <a:lnTo>
                    <a:pt x="137" y="536"/>
                  </a:lnTo>
                  <a:lnTo>
                    <a:pt x="137" y="534"/>
                  </a:lnTo>
                  <a:lnTo>
                    <a:pt x="137" y="532"/>
                  </a:lnTo>
                  <a:lnTo>
                    <a:pt x="135" y="532"/>
                  </a:lnTo>
                  <a:lnTo>
                    <a:pt x="135" y="530"/>
                  </a:lnTo>
                  <a:lnTo>
                    <a:pt x="135" y="528"/>
                  </a:lnTo>
                  <a:lnTo>
                    <a:pt x="135" y="526"/>
                  </a:lnTo>
                  <a:lnTo>
                    <a:pt x="135" y="525"/>
                  </a:lnTo>
                  <a:lnTo>
                    <a:pt x="135" y="523"/>
                  </a:lnTo>
                  <a:lnTo>
                    <a:pt x="135" y="521"/>
                  </a:lnTo>
                  <a:lnTo>
                    <a:pt x="137" y="521"/>
                  </a:lnTo>
                  <a:lnTo>
                    <a:pt x="139" y="521"/>
                  </a:lnTo>
                  <a:lnTo>
                    <a:pt x="137" y="521"/>
                  </a:lnTo>
                  <a:lnTo>
                    <a:pt x="139" y="521"/>
                  </a:lnTo>
                  <a:lnTo>
                    <a:pt x="139" y="519"/>
                  </a:lnTo>
                  <a:lnTo>
                    <a:pt x="141" y="519"/>
                  </a:lnTo>
                  <a:lnTo>
                    <a:pt x="139" y="519"/>
                  </a:lnTo>
                  <a:lnTo>
                    <a:pt x="141" y="519"/>
                  </a:lnTo>
                  <a:lnTo>
                    <a:pt x="141" y="517"/>
                  </a:lnTo>
                  <a:lnTo>
                    <a:pt x="141" y="515"/>
                  </a:lnTo>
                  <a:lnTo>
                    <a:pt x="143" y="515"/>
                  </a:lnTo>
                  <a:lnTo>
                    <a:pt x="144" y="515"/>
                  </a:lnTo>
                  <a:lnTo>
                    <a:pt x="146" y="515"/>
                  </a:lnTo>
                  <a:lnTo>
                    <a:pt x="146" y="513"/>
                  </a:lnTo>
                  <a:lnTo>
                    <a:pt x="148" y="513"/>
                  </a:lnTo>
                  <a:lnTo>
                    <a:pt x="148" y="515"/>
                  </a:lnTo>
                  <a:lnTo>
                    <a:pt x="148" y="517"/>
                  </a:lnTo>
                  <a:lnTo>
                    <a:pt x="150" y="517"/>
                  </a:lnTo>
                  <a:lnTo>
                    <a:pt x="152" y="517"/>
                  </a:lnTo>
                  <a:lnTo>
                    <a:pt x="152" y="519"/>
                  </a:lnTo>
                  <a:lnTo>
                    <a:pt x="152" y="517"/>
                  </a:lnTo>
                  <a:lnTo>
                    <a:pt x="152" y="519"/>
                  </a:lnTo>
                  <a:lnTo>
                    <a:pt x="152" y="517"/>
                  </a:lnTo>
                  <a:lnTo>
                    <a:pt x="150" y="517"/>
                  </a:lnTo>
                  <a:lnTo>
                    <a:pt x="150" y="515"/>
                  </a:lnTo>
                  <a:lnTo>
                    <a:pt x="150" y="517"/>
                  </a:lnTo>
                  <a:lnTo>
                    <a:pt x="150" y="515"/>
                  </a:lnTo>
                  <a:lnTo>
                    <a:pt x="148" y="515"/>
                  </a:lnTo>
                  <a:lnTo>
                    <a:pt x="148" y="513"/>
                  </a:lnTo>
                  <a:lnTo>
                    <a:pt x="148" y="511"/>
                  </a:lnTo>
                  <a:lnTo>
                    <a:pt x="148" y="513"/>
                  </a:lnTo>
                  <a:lnTo>
                    <a:pt x="148" y="511"/>
                  </a:lnTo>
                  <a:lnTo>
                    <a:pt x="148" y="509"/>
                  </a:lnTo>
                  <a:lnTo>
                    <a:pt x="148" y="511"/>
                  </a:lnTo>
                  <a:lnTo>
                    <a:pt x="148" y="509"/>
                  </a:lnTo>
                  <a:lnTo>
                    <a:pt x="150" y="509"/>
                  </a:lnTo>
                  <a:lnTo>
                    <a:pt x="152" y="509"/>
                  </a:lnTo>
                  <a:lnTo>
                    <a:pt x="152" y="507"/>
                  </a:lnTo>
                  <a:lnTo>
                    <a:pt x="154" y="507"/>
                  </a:lnTo>
                  <a:lnTo>
                    <a:pt x="154" y="505"/>
                  </a:lnTo>
                  <a:lnTo>
                    <a:pt x="156" y="505"/>
                  </a:lnTo>
                  <a:lnTo>
                    <a:pt x="154" y="505"/>
                  </a:lnTo>
                  <a:lnTo>
                    <a:pt x="152" y="505"/>
                  </a:lnTo>
                  <a:lnTo>
                    <a:pt x="154" y="505"/>
                  </a:lnTo>
                  <a:lnTo>
                    <a:pt x="152" y="505"/>
                  </a:lnTo>
                  <a:lnTo>
                    <a:pt x="150" y="505"/>
                  </a:lnTo>
                  <a:lnTo>
                    <a:pt x="150" y="507"/>
                  </a:lnTo>
                  <a:lnTo>
                    <a:pt x="148" y="507"/>
                  </a:lnTo>
                  <a:lnTo>
                    <a:pt x="148" y="509"/>
                  </a:lnTo>
                  <a:lnTo>
                    <a:pt x="148" y="507"/>
                  </a:lnTo>
                  <a:lnTo>
                    <a:pt x="148" y="509"/>
                  </a:lnTo>
                  <a:lnTo>
                    <a:pt x="146" y="509"/>
                  </a:lnTo>
                  <a:lnTo>
                    <a:pt x="144" y="509"/>
                  </a:lnTo>
                  <a:lnTo>
                    <a:pt x="144" y="511"/>
                  </a:lnTo>
                  <a:lnTo>
                    <a:pt x="143" y="511"/>
                  </a:lnTo>
                  <a:lnTo>
                    <a:pt x="143" y="509"/>
                  </a:lnTo>
                  <a:lnTo>
                    <a:pt x="144" y="509"/>
                  </a:lnTo>
                  <a:lnTo>
                    <a:pt x="143" y="509"/>
                  </a:lnTo>
                  <a:lnTo>
                    <a:pt x="143" y="511"/>
                  </a:lnTo>
                  <a:lnTo>
                    <a:pt x="141" y="511"/>
                  </a:lnTo>
                  <a:lnTo>
                    <a:pt x="139" y="511"/>
                  </a:lnTo>
                  <a:lnTo>
                    <a:pt x="137" y="511"/>
                  </a:lnTo>
                  <a:lnTo>
                    <a:pt x="139" y="511"/>
                  </a:lnTo>
                  <a:lnTo>
                    <a:pt x="137" y="511"/>
                  </a:lnTo>
                  <a:lnTo>
                    <a:pt x="137" y="513"/>
                  </a:lnTo>
                  <a:lnTo>
                    <a:pt x="137" y="511"/>
                  </a:lnTo>
                  <a:lnTo>
                    <a:pt x="137" y="509"/>
                  </a:lnTo>
                  <a:lnTo>
                    <a:pt x="139" y="509"/>
                  </a:lnTo>
                  <a:lnTo>
                    <a:pt x="139" y="507"/>
                  </a:lnTo>
                  <a:lnTo>
                    <a:pt x="139" y="505"/>
                  </a:lnTo>
                  <a:lnTo>
                    <a:pt x="139" y="503"/>
                  </a:lnTo>
                  <a:lnTo>
                    <a:pt x="139" y="505"/>
                  </a:lnTo>
                  <a:lnTo>
                    <a:pt x="139" y="507"/>
                  </a:lnTo>
                  <a:lnTo>
                    <a:pt x="137" y="507"/>
                  </a:lnTo>
                  <a:lnTo>
                    <a:pt x="137" y="509"/>
                  </a:lnTo>
                  <a:lnTo>
                    <a:pt x="137" y="511"/>
                  </a:lnTo>
                  <a:lnTo>
                    <a:pt x="135" y="511"/>
                  </a:lnTo>
                  <a:lnTo>
                    <a:pt x="133" y="511"/>
                  </a:lnTo>
                  <a:lnTo>
                    <a:pt x="131" y="511"/>
                  </a:lnTo>
                  <a:lnTo>
                    <a:pt x="129" y="511"/>
                  </a:lnTo>
                  <a:lnTo>
                    <a:pt x="129" y="513"/>
                  </a:lnTo>
                  <a:lnTo>
                    <a:pt x="127" y="513"/>
                  </a:lnTo>
                  <a:lnTo>
                    <a:pt x="125" y="513"/>
                  </a:lnTo>
                  <a:lnTo>
                    <a:pt x="123" y="513"/>
                  </a:lnTo>
                  <a:lnTo>
                    <a:pt x="121" y="513"/>
                  </a:lnTo>
                  <a:lnTo>
                    <a:pt x="121" y="511"/>
                  </a:lnTo>
                  <a:lnTo>
                    <a:pt x="121" y="513"/>
                  </a:lnTo>
                  <a:lnTo>
                    <a:pt x="121" y="515"/>
                  </a:lnTo>
                  <a:lnTo>
                    <a:pt x="120" y="517"/>
                  </a:lnTo>
                  <a:lnTo>
                    <a:pt x="120" y="519"/>
                  </a:lnTo>
                  <a:lnTo>
                    <a:pt x="118" y="519"/>
                  </a:lnTo>
                  <a:lnTo>
                    <a:pt x="118" y="517"/>
                  </a:lnTo>
                  <a:lnTo>
                    <a:pt x="118" y="515"/>
                  </a:lnTo>
                  <a:lnTo>
                    <a:pt x="118" y="517"/>
                  </a:lnTo>
                  <a:lnTo>
                    <a:pt x="118" y="519"/>
                  </a:lnTo>
                  <a:lnTo>
                    <a:pt x="120" y="519"/>
                  </a:lnTo>
                  <a:lnTo>
                    <a:pt x="120" y="521"/>
                  </a:lnTo>
                  <a:lnTo>
                    <a:pt x="118" y="521"/>
                  </a:lnTo>
                  <a:lnTo>
                    <a:pt x="118" y="523"/>
                  </a:lnTo>
                  <a:lnTo>
                    <a:pt x="116" y="523"/>
                  </a:lnTo>
                  <a:lnTo>
                    <a:pt x="116" y="525"/>
                  </a:lnTo>
                  <a:lnTo>
                    <a:pt x="114" y="525"/>
                  </a:lnTo>
                  <a:lnTo>
                    <a:pt x="112" y="525"/>
                  </a:lnTo>
                  <a:lnTo>
                    <a:pt x="112" y="526"/>
                  </a:lnTo>
                  <a:lnTo>
                    <a:pt x="112" y="525"/>
                  </a:lnTo>
                  <a:lnTo>
                    <a:pt x="110" y="525"/>
                  </a:lnTo>
                  <a:lnTo>
                    <a:pt x="112" y="525"/>
                  </a:lnTo>
                  <a:lnTo>
                    <a:pt x="112" y="523"/>
                  </a:lnTo>
                  <a:lnTo>
                    <a:pt x="110" y="523"/>
                  </a:lnTo>
                  <a:lnTo>
                    <a:pt x="110" y="521"/>
                  </a:lnTo>
                  <a:lnTo>
                    <a:pt x="110" y="519"/>
                  </a:lnTo>
                  <a:lnTo>
                    <a:pt x="110" y="517"/>
                  </a:lnTo>
                  <a:lnTo>
                    <a:pt x="110" y="515"/>
                  </a:lnTo>
                  <a:lnTo>
                    <a:pt x="110" y="513"/>
                  </a:lnTo>
                  <a:lnTo>
                    <a:pt x="108" y="513"/>
                  </a:lnTo>
                  <a:lnTo>
                    <a:pt x="108" y="511"/>
                  </a:lnTo>
                  <a:lnTo>
                    <a:pt x="110" y="511"/>
                  </a:lnTo>
                  <a:lnTo>
                    <a:pt x="110" y="509"/>
                  </a:lnTo>
                  <a:lnTo>
                    <a:pt x="110" y="511"/>
                  </a:lnTo>
                  <a:lnTo>
                    <a:pt x="110" y="509"/>
                  </a:lnTo>
                  <a:lnTo>
                    <a:pt x="108" y="509"/>
                  </a:lnTo>
                  <a:lnTo>
                    <a:pt x="108" y="511"/>
                  </a:lnTo>
                  <a:lnTo>
                    <a:pt x="108" y="509"/>
                  </a:lnTo>
                  <a:lnTo>
                    <a:pt x="108" y="507"/>
                  </a:lnTo>
                  <a:lnTo>
                    <a:pt x="108" y="505"/>
                  </a:lnTo>
                  <a:lnTo>
                    <a:pt x="108" y="503"/>
                  </a:lnTo>
                  <a:lnTo>
                    <a:pt x="108" y="501"/>
                  </a:lnTo>
                  <a:lnTo>
                    <a:pt x="108" y="500"/>
                  </a:lnTo>
                  <a:lnTo>
                    <a:pt x="108" y="501"/>
                  </a:lnTo>
                  <a:lnTo>
                    <a:pt x="110" y="501"/>
                  </a:lnTo>
                  <a:lnTo>
                    <a:pt x="108" y="501"/>
                  </a:lnTo>
                  <a:lnTo>
                    <a:pt x="110" y="501"/>
                  </a:lnTo>
                  <a:lnTo>
                    <a:pt x="110" y="503"/>
                  </a:lnTo>
                  <a:lnTo>
                    <a:pt x="110" y="501"/>
                  </a:lnTo>
                  <a:lnTo>
                    <a:pt x="110" y="500"/>
                  </a:lnTo>
                  <a:lnTo>
                    <a:pt x="108" y="500"/>
                  </a:lnTo>
                  <a:lnTo>
                    <a:pt x="108" y="498"/>
                  </a:lnTo>
                  <a:lnTo>
                    <a:pt x="108" y="496"/>
                  </a:lnTo>
                  <a:lnTo>
                    <a:pt x="110" y="496"/>
                  </a:lnTo>
                  <a:lnTo>
                    <a:pt x="108" y="496"/>
                  </a:lnTo>
                  <a:lnTo>
                    <a:pt x="108" y="494"/>
                  </a:lnTo>
                  <a:lnTo>
                    <a:pt x="108" y="492"/>
                  </a:lnTo>
                  <a:lnTo>
                    <a:pt x="108" y="490"/>
                  </a:lnTo>
                  <a:lnTo>
                    <a:pt x="106" y="490"/>
                  </a:lnTo>
                  <a:lnTo>
                    <a:pt x="108" y="490"/>
                  </a:lnTo>
                  <a:lnTo>
                    <a:pt x="110" y="490"/>
                  </a:lnTo>
                  <a:lnTo>
                    <a:pt x="110" y="492"/>
                  </a:lnTo>
                  <a:lnTo>
                    <a:pt x="110" y="490"/>
                  </a:lnTo>
                  <a:lnTo>
                    <a:pt x="108" y="490"/>
                  </a:lnTo>
                  <a:lnTo>
                    <a:pt x="108" y="488"/>
                  </a:lnTo>
                  <a:lnTo>
                    <a:pt x="106" y="488"/>
                  </a:lnTo>
                  <a:lnTo>
                    <a:pt x="106" y="486"/>
                  </a:lnTo>
                  <a:lnTo>
                    <a:pt x="108" y="486"/>
                  </a:lnTo>
                  <a:lnTo>
                    <a:pt x="110" y="486"/>
                  </a:lnTo>
                  <a:lnTo>
                    <a:pt x="110" y="484"/>
                  </a:lnTo>
                  <a:lnTo>
                    <a:pt x="108" y="484"/>
                  </a:lnTo>
                  <a:lnTo>
                    <a:pt x="108" y="486"/>
                  </a:lnTo>
                  <a:lnTo>
                    <a:pt x="106" y="486"/>
                  </a:lnTo>
                  <a:lnTo>
                    <a:pt x="106" y="484"/>
                  </a:lnTo>
                  <a:lnTo>
                    <a:pt x="106" y="486"/>
                  </a:lnTo>
                  <a:lnTo>
                    <a:pt x="106" y="484"/>
                  </a:lnTo>
                  <a:lnTo>
                    <a:pt x="106" y="482"/>
                  </a:lnTo>
                  <a:lnTo>
                    <a:pt x="106" y="480"/>
                  </a:lnTo>
                  <a:lnTo>
                    <a:pt x="108" y="480"/>
                  </a:lnTo>
                  <a:lnTo>
                    <a:pt x="106" y="480"/>
                  </a:lnTo>
                  <a:lnTo>
                    <a:pt x="108" y="480"/>
                  </a:lnTo>
                  <a:lnTo>
                    <a:pt x="106" y="480"/>
                  </a:lnTo>
                  <a:lnTo>
                    <a:pt x="108" y="480"/>
                  </a:lnTo>
                  <a:lnTo>
                    <a:pt x="108" y="478"/>
                  </a:lnTo>
                  <a:lnTo>
                    <a:pt x="108" y="477"/>
                  </a:lnTo>
                  <a:lnTo>
                    <a:pt x="108" y="478"/>
                  </a:lnTo>
                  <a:lnTo>
                    <a:pt x="108" y="477"/>
                  </a:lnTo>
                  <a:lnTo>
                    <a:pt x="110" y="477"/>
                  </a:lnTo>
                  <a:lnTo>
                    <a:pt x="110" y="478"/>
                  </a:lnTo>
                  <a:lnTo>
                    <a:pt x="110" y="477"/>
                  </a:lnTo>
                  <a:lnTo>
                    <a:pt x="110" y="475"/>
                  </a:lnTo>
                  <a:lnTo>
                    <a:pt x="112" y="475"/>
                  </a:lnTo>
                  <a:lnTo>
                    <a:pt x="112" y="473"/>
                  </a:lnTo>
                  <a:lnTo>
                    <a:pt x="114" y="473"/>
                  </a:lnTo>
                  <a:lnTo>
                    <a:pt x="114" y="471"/>
                  </a:lnTo>
                  <a:lnTo>
                    <a:pt x="114" y="473"/>
                  </a:lnTo>
                  <a:lnTo>
                    <a:pt x="114" y="471"/>
                  </a:lnTo>
                  <a:lnTo>
                    <a:pt x="114" y="469"/>
                  </a:lnTo>
                  <a:lnTo>
                    <a:pt x="114" y="467"/>
                  </a:lnTo>
                  <a:lnTo>
                    <a:pt x="114" y="465"/>
                  </a:lnTo>
                  <a:lnTo>
                    <a:pt x="112" y="465"/>
                  </a:lnTo>
                  <a:lnTo>
                    <a:pt x="112" y="463"/>
                  </a:lnTo>
                  <a:lnTo>
                    <a:pt x="112" y="461"/>
                  </a:lnTo>
                  <a:lnTo>
                    <a:pt x="112" y="459"/>
                  </a:lnTo>
                  <a:lnTo>
                    <a:pt x="112" y="461"/>
                  </a:lnTo>
                  <a:lnTo>
                    <a:pt x="114" y="461"/>
                  </a:lnTo>
                  <a:lnTo>
                    <a:pt x="116" y="461"/>
                  </a:lnTo>
                  <a:lnTo>
                    <a:pt x="116" y="463"/>
                  </a:lnTo>
                  <a:lnTo>
                    <a:pt x="116" y="461"/>
                  </a:lnTo>
                  <a:lnTo>
                    <a:pt x="118" y="461"/>
                  </a:lnTo>
                  <a:lnTo>
                    <a:pt x="116" y="461"/>
                  </a:lnTo>
                  <a:lnTo>
                    <a:pt x="116" y="459"/>
                  </a:lnTo>
                  <a:lnTo>
                    <a:pt x="116" y="457"/>
                  </a:lnTo>
                  <a:lnTo>
                    <a:pt x="116" y="455"/>
                  </a:lnTo>
                  <a:lnTo>
                    <a:pt x="118" y="455"/>
                  </a:lnTo>
                  <a:lnTo>
                    <a:pt x="118" y="453"/>
                  </a:lnTo>
                  <a:lnTo>
                    <a:pt x="118" y="455"/>
                  </a:lnTo>
                  <a:lnTo>
                    <a:pt x="118" y="453"/>
                  </a:lnTo>
                  <a:lnTo>
                    <a:pt x="120" y="453"/>
                  </a:lnTo>
                  <a:lnTo>
                    <a:pt x="120" y="452"/>
                  </a:lnTo>
                  <a:lnTo>
                    <a:pt x="118" y="452"/>
                  </a:lnTo>
                  <a:lnTo>
                    <a:pt x="118" y="450"/>
                  </a:lnTo>
                  <a:lnTo>
                    <a:pt x="118" y="452"/>
                  </a:lnTo>
                  <a:lnTo>
                    <a:pt x="118" y="453"/>
                  </a:lnTo>
                  <a:lnTo>
                    <a:pt x="120" y="453"/>
                  </a:lnTo>
                  <a:lnTo>
                    <a:pt x="118" y="453"/>
                  </a:lnTo>
                  <a:lnTo>
                    <a:pt x="118" y="455"/>
                  </a:lnTo>
                  <a:lnTo>
                    <a:pt x="116" y="455"/>
                  </a:lnTo>
                  <a:lnTo>
                    <a:pt x="114" y="455"/>
                  </a:lnTo>
                  <a:lnTo>
                    <a:pt x="114" y="453"/>
                  </a:lnTo>
                  <a:lnTo>
                    <a:pt x="114" y="455"/>
                  </a:lnTo>
                  <a:lnTo>
                    <a:pt x="114" y="453"/>
                  </a:lnTo>
                  <a:lnTo>
                    <a:pt x="114" y="455"/>
                  </a:lnTo>
                  <a:lnTo>
                    <a:pt x="114" y="453"/>
                  </a:lnTo>
                  <a:lnTo>
                    <a:pt x="114" y="455"/>
                  </a:lnTo>
                  <a:lnTo>
                    <a:pt x="112" y="455"/>
                  </a:lnTo>
                  <a:lnTo>
                    <a:pt x="112" y="453"/>
                  </a:lnTo>
                  <a:lnTo>
                    <a:pt x="114" y="453"/>
                  </a:lnTo>
                  <a:lnTo>
                    <a:pt x="112" y="453"/>
                  </a:lnTo>
                  <a:lnTo>
                    <a:pt x="112" y="452"/>
                  </a:lnTo>
                  <a:lnTo>
                    <a:pt x="110" y="452"/>
                  </a:lnTo>
                  <a:lnTo>
                    <a:pt x="112" y="452"/>
                  </a:lnTo>
                  <a:lnTo>
                    <a:pt x="110" y="453"/>
                  </a:lnTo>
                  <a:lnTo>
                    <a:pt x="110" y="452"/>
                  </a:lnTo>
                  <a:lnTo>
                    <a:pt x="112" y="452"/>
                  </a:lnTo>
                  <a:lnTo>
                    <a:pt x="110" y="452"/>
                  </a:lnTo>
                  <a:lnTo>
                    <a:pt x="112" y="452"/>
                  </a:lnTo>
                  <a:lnTo>
                    <a:pt x="110" y="452"/>
                  </a:lnTo>
                  <a:lnTo>
                    <a:pt x="110" y="450"/>
                  </a:lnTo>
                  <a:lnTo>
                    <a:pt x="112" y="450"/>
                  </a:lnTo>
                  <a:lnTo>
                    <a:pt x="112" y="448"/>
                  </a:lnTo>
                  <a:lnTo>
                    <a:pt x="112" y="446"/>
                  </a:lnTo>
                  <a:lnTo>
                    <a:pt x="114" y="446"/>
                  </a:lnTo>
                  <a:lnTo>
                    <a:pt x="116" y="446"/>
                  </a:lnTo>
                  <a:lnTo>
                    <a:pt x="116" y="448"/>
                  </a:lnTo>
                  <a:lnTo>
                    <a:pt x="118" y="448"/>
                  </a:lnTo>
                  <a:lnTo>
                    <a:pt x="116" y="448"/>
                  </a:lnTo>
                  <a:lnTo>
                    <a:pt x="118" y="448"/>
                  </a:lnTo>
                  <a:lnTo>
                    <a:pt x="116" y="448"/>
                  </a:lnTo>
                  <a:lnTo>
                    <a:pt x="118" y="448"/>
                  </a:lnTo>
                  <a:lnTo>
                    <a:pt x="116" y="448"/>
                  </a:lnTo>
                  <a:lnTo>
                    <a:pt x="116" y="446"/>
                  </a:lnTo>
                  <a:lnTo>
                    <a:pt x="118" y="446"/>
                  </a:lnTo>
                  <a:lnTo>
                    <a:pt x="116" y="446"/>
                  </a:lnTo>
                  <a:lnTo>
                    <a:pt x="118" y="446"/>
                  </a:lnTo>
                  <a:lnTo>
                    <a:pt x="116" y="446"/>
                  </a:lnTo>
                  <a:lnTo>
                    <a:pt x="118" y="446"/>
                  </a:lnTo>
                  <a:lnTo>
                    <a:pt x="116" y="446"/>
                  </a:lnTo>
                  <a:lnTo>
                    <a:pt x="116" y="444"/>
                  </a:lnTo>
                  <a:lnTo>
                    <a:pt x="118" y="444"/>
                  </a:lnTo>
                  <a:lnTo>
                    <a:pt x="116" y="444"/>
                  </a:lnTo>
                  <a:lnTo>
                    <a:pt x="118" y="444"/>
                  </a:lnTo>
                  <a:lnTo>
                    <a:pt x="118" y="442"/>
                  </a:lnTo>
                  <a:lnTo>
                    <a:pt x="120" y="442"/>
                  </a:lnTo>
                  <a:lnTo>
                    <a:pt x="120" y="440"/>
                  </a:lnTo>
                  <a:lnTo>
                    <a:pt x="120" y="442"/>
                  </a:lnTo>
                  <a:lnTo>
                    <a:pt x="121" y="442"/>
                  </a:lnTo>
                  <a:lnTo>
                    <a:pt x="120" y="442"/>
                  </a:lnTo>
                  <a:lnTo>
                    <a:pt x="121" y="442"/>
                  </a:lnTo>
                  <a:lnTo>
                    <a:pt x="121" y="440"/>
                  </a:lnTo>
                  <a:lnTo>
                    <a:pt x="120" y="440"/>
                  </a:lnTo>
                  <a:lnTo>
                    <a:pt x="120" y="438"/>
                  </a:lnTo>
                  <a:lnTo>
                    <a:pt x="121" y="438"/>
                  </a:lnTo>
                  <a:lnTo>
                    <a:pt x="120" y="438"/>
                  </a:lnTo>
                  <a:lnTo>
                    <a:pt x="121" y="438"/>
                  </a:lnTo>
                  <a:lnTo>
                    <a:pt x="121" y="440"/>
                  </a:lnTo>
                  <a:lnTo>
                    <a:pt x="123" y="440"/>
                  </a:lnTo>
                  <a:lnTo>
                    <a:pt x="121" y="440"/>
                  </a:lnTo>
                  <a:lnTo>
                    <a:pt x="123" y="440"/>
                  </a:lnTo>
                  <a:lnTo>
                    <a:pt x="123" y="442"/>
                  </a:lnTo>
                  <a:lnTo>
                    <a:pt x="121" y="442"/>
                  </a:lnTo>
                  <a:lnTo>
                    <a:pt x="123" y="442"/>
                  </a:lnTo>
                  <a:lnTo>
                    <a:pt x="121" y="442"/>
                  </a:lnTo>
                  <a:lnTo>
                    <a:pt x="121" y="440"/>
                  </a:lnTo>
                  <a:lnTo>
                    <a:pt x="121" y="442"/>
                  </a:lnTo>
                  <a:lnTo>
                    <a:pt x="121" y="444"/>
                  </a:lnTo>
                  <a:lnTo>
                    <a:pt x="121" y="446"/>
                  </a:lnTo>
                  <a:lnTo>
                    <a:pt x="121" y="448"/>
                  </a:lnTo>
                  <a:lnTo>
                    <a:pt x="121" y="450"/>
                  </a:lnTo>
                  <a:lnTo>
                    <a:pt x="121" y="452"/>
                  </a:lnTo>
                  <a:lnTo>
                    <a:pt x="123" y="452"/>
                  </a:lnTo>
                  <a:lnTo>
                    <a:pt x="123" y="453"/>
                  </a:lnTo>
                  <a:lnTo>
                    <a:pt x="121" y="453"/>
                  </a:lnTo>
                  <a:lnTo>
                    <a:pt x="123" y="453"/>
                  </a:lnTo>
                  <a:lnTo>
                    <a:pt x="121" y="453"/>
                  </a:lnTo>
                  <a:lnTo>
                    <a:pt x="121" y="455"/>
                  </a:lnTo>
                  <a:lnTo>
                    <a:pt x="123" y="455"/>
                  </a:lnTo>
                  <a:lnTo>
                    <a:pt x="123" y="457"/>
                  </a:lnTo>
                  <a:lnTo>
                    <a:pt x="123" y="459"/>
                  </a:lnTo>
                  <a:lnTo>
                    <a:pt x="121" y="459"/>
                  </a:lnTo>
                  <a:lnTo>
                    <a:pt x="121" y="461"/>
                  </a:lnTo>
                  <a:lnTo>
                    <a:pt x="123" y="461"/>
                  </a:lnTo>
                  <a:lnTo>
                    <a:pt x="123" y="463"/>
                  </a:lnTo>
                  <a:lnTo>
                    <a:pt x="125" y="463"/>
                  </a:lnTo>
                  <a:lnTo>
                    <a:pt x="123" y="463"/>
                  </a:lnTo>
                  <a:lnTo>
                    <a:pt x="125" y="463"/>
                  </a:lnTo>
                  <a:lnTo>
                    <a:pt x="123" y="463"/>
                  </a:lnTo>
                  <a:lnTo>
                    <a:pt x="123" y="461"/>
                  </a:lnTo>
                  <a:lnTo>
                    <a:pt x="123" y="459"/>
                  </a:lnTo>
                  <a:lnTo>
                    <a:pt x="123" y="457"/>
                  </a:lnTo>
                  <a:lnTo>
                    <a:pt x="123" y="455"/>
                  </a:lnTo>
                  <a:lnTo>
                    <a:pt x="123" y="453"/>
                  </a:lnTo>
                  <a:lnTo>
                    <a:pt x="123" y="452"/>
                  </a:lnTo>
                  <a:lnTo>
                    <a:pt x="123" y="450"/>
                  </a:lnTo>
                  <a:lnTo>
                    <a:pt x="123" y="448"/>
                  </a:lnTo>
                  <a:lnTo>
                    <a:pt x="123" y="446"/>
                  </a:lnTo>
                  <a:lnTo>
                    <a:pt x="123" y="444"/>
                  </a:lnTo>
                  <a:lnTo>
                    <a:pt x="123" y="442"/>
                  </a:lnTo>
                  <a:lnTo>
                    <a:pt x="123" y="440"/>
                  </a:lnTo>
                  <a:lnTo>
                    <a:pt x="123" y="438"/>
                  </a:lnTo>
                  <a:lnTo>
                    <a:pt x="125" y="436"/>
                  </a:lnTo>
                  <a:lnTo>
                    <a:pt x="127" y="436"/>
                  </a:lnTo>
                  <a:lnTo>
                    <a:pt x="129" y="436"/>
                  </a:lnTo>
                  <a:lnTo>
                    <a:pt x="129" y="438"/>
                  </a:lnTo>
                  <a:lnTo>
                    <a:pt x="131" y="438"/>
                  </a:lnTo>
                  <a:lnTo>
                    <a:pt x="133" y="438"/>
                  </a:lnTo>
                  <a:lnTo>
                    <a:pt x="133" y="440"/>
                  </a:lnTo>
                  <a:lnTo>
                    <a:pt x="133" y="442"/>
                  </a:lnTo>
                  <a:lnTo>
                    <a:pt x="133" y="444"/>
                  </a:lnTo>
                  <a:lnTo>
                    <a:pt x="133" y="442"/>
                  </a:lnTo>
                  <a:lnTo>
                    <a:pt x="133" y="444"/>
                  </a:lnTo>
                  <a:lnTo>
                    <a:pt x="133" y="446"/>
                  </a:lnTo>
                  <a:lnTo>
                    <a:pt x="133" y="448"/>
                  </a:lnTo>
                  <a:lnTo>
                    <a:pt x="135" y="448"/>
                  </a:lnTo>
                  <a:lnTo>
                    <a:pt x="135" y="450"/>
                  </a:lnTo>
                  <a:lnTo>
                    <a:pt x="137" y="450"/>
                  </a:lnTo>
                  <a:lnTo>
                    <a:pt x="135" y="450"/>
                  </a:lnTo>
                  <a:lnTo>
                    <a:pt x="135" y="448"/>
                  </a:lnTo>
                  <a:lnTo>
                    <a:pt x="135" y="446"/>
                  </a:lnTo>
                  <a:lnTo>
                    <a:pt x="133" y="446"/>
                  </a:lnTo>
                  <a:lnTo>
                    <a:pt x="133" y="444"/>
                  </a:lnTo>
                  <a:lnTo>
                    <a:pt x="133" y="442"/>
                  </a:lnTo>
                  <a:lnTo>
                    <a:pt x="135" y="442"/>
                  </a:lnTo>
                  <a:lnTo>
                    <a:pt x="133" y="442"/>
                  </a:lnTo>
                  <a:lnTo>
                    <a:pt x="135" y="442"/>
                  </a:lnTo>
                  <a:lnTo>
                    <a:pt x="133" y="442"/>
                  </a:lnTo>
                  <a:lnTo>
                    <a:pt x="133" y="440"/>
                  </a:lnTo>
                  <a:lnTo>
                    <a:pt x="133" y="438"/>
                  </a:lnTo>
                  <a:lnTo>
                    <a:pt x="131" y="438"/>
                  </a:lnTo>
                  <a:lnTo>
                    <a:pt x="131" y="436"/>
                  </a:lnTo>
                  <a:lnTo>
                    <a:pt x="133" y="436"/>
                  </a:lnTo>
                  <a:lnTo>
                    <a:pt x="135" y="436"/>
                  </a:lnTo>
                  <a:lnTo>
                    <a:pt x="135" y="434"/>
                  </a:lnTo>
                  <a:lnTo>
                    <a:pt x="135" y="436"/>
                  </a:lnTo>
                  <a:lnTo>
                    <a:pt x="135" y="434"/>
                  </a:lnTo>
                  <a:lnTo>
                    <a:pt x="137" y="434"/>
                  </a:lnTo>
                  <a:lnTo>
                    <a:pt x="137" y="432"/>
                  </a:lnTo>
                  <a:lnTo>
                    <a:pt x="137" y="434"/>
                  </a:lnTo>
                  <a:lnTo>
                    <a:pt x="139" y="434"/>
                  </a:lnTo>
                  <a:lnTo>
                    <a:pt x="139" y="432"/>
                  </a:lnTo>
                  <a:lnTo>
                    <a:pt x="141" y="432"/>
                  </a:lnTo>
                  <a:lnTo>
                    <a:pt x="143" y="432"/>
                  </a:lnTo>
                  <a:lnTo>
                    <a:pt x="141" y="432"/>
                  </a:lnTo>
                  <a:lnTo>
                    <a:pt x="139" y="432"/>
                  </a:lnTo>
                  <a:lnTo>
                    <a:pt x="137" y="432"/>
                  </a:lnTo>
                  <a:lnTo>
                    <a:pt x="137" y="430"/>
                  </a:lnTo>
                  <a:lnTo>
                    <a:pt x="139" y="430"/>
                  </a:lnTo>
                  <a:lnTo>
                    <a:pt x="141" y="430"/>
                  </a:lnTo>
                  <a:lnTo>
                    <a:pt x="143" y="430"/>
                  </a:lnTo>
                  <a:lnTo>
                    <a:pt x="143" y="429"/>
                  </a:lnTo>
                  <a:lnTo>
                    <a:pt x="144" y="429"/>
                  </a:lnTo>
                  <a:lnTo>
                    <a:pt x="146" y="429"/>
                  </a:lnTo>
                  <a:lnTo>
                    <a:pt x="148" y="427"/>
                  </a:lnTo>
                  <a:lnTo>
                    <a:pt x="148" y="425"/>
                  </a:lnTo>
                  <a:lnTo>
                    <a:pt x="150" y="425"/>
                  </a:lnTo>
                  <a:lnTo>
                    <a:pt x="152" y="425"/>
                  </a:lnTo>
                  <a:lnTo>
                    <a:pt x="152" y="423"/>
                  </a:lnTo>
                  <a:lnTo>
                    <a:pt x="154" y="423"/>
                  </a:lnTo>
                  <a:lnTo>
                    <a:pt x="156" y="423"/>
                  </a:lnTo>
                  <a:lnTo>
                    <a:pt x="156" y="421"/>
                  </a:lnTo>
                  <a:lnTo>
                    <a:pt x="158" y="421"/>
                  </a:lnTo>
                  <a:lnTo>
                    <a:pt x="158" y="419"/>
                  </a:lnTo>
                  <a:lnTo>
                    <a:pt x="160" y="419"/>
                  </a:lnTo>
                  <a:lnTo>
                    <a:pt x="162" y="419"/>
                  </a:lnTo>
                  <a:lnTo>
                    <a:pt x="162" y="417"/>
                  </a:lnTo>
                  <a:lnTo>
                    <a:pt x="164" y="417"/>
                  </a:lnTo>
                  <a:lnTo>
                    <a:pt x="164" y="419"/>
                  </a:lnTo>
                  <a:lnTo>
                    <a:pt x="164" y="417"/>
                  </a:lnTo>
                  <a:lnTo>
                    <a:pt x="166" y="417"/>
                  </a:lnTo>
                  <a:lnTo>
                    <a:pt x="166" y="419"/>
                  </a:lnTo>
                  <a:lnTo>
                    <a:pt x="166" y="417"/>
                  </a:lnTo>
                  <a:lnTo>
                    <a:pt x="168" y="417"/>
                  </a:lnTo>
                  <a:lnTo>
                    <a:pt x="168" y="415"/>
                  </a:lnTo>
                  <a:lnTo>
                    <a:pt x="169" y="415"/>
                  </a:lnTo>
                  <a:lnTo>
                    <a:pt x="169" y="413"/>
                  </a:lnTo>
                  <a:lnTo>
                    <a:pt x="169" y="415"/>
                  </a:lnTo>
                  <a:lnTo>
                    <a:pt x="169" y="413"/>
                  </a:lnTo>
                  <a:lnTo>
                    <a:pt x="171" y="413"/>
                  </a:lnTo>
                  <a:lnTo>
                    <a:pt x="171" y="411"/>
                  </a:lnTo>
                  <a:lnTo>
                    <a:pt x="171" y="413"/>
                  </a:lnTo>
                  <a:lnTo>
                    <a:pt x="173" y="413"/>
                  </a:lnTo>
                  <a:lnTo>
                    <a:pt x="173" y="411"/>
                  </a:lnTo>
                  <a:lnTo>
                    <a:pt x="173" y="413"/>
                  </a:lnTo>
                  <a:lnTo>
                    <a:pt x="173" y="411"/>
                  </a:lnTo>
                  <a:lnTo>
                    <a:pt x="173" y="413"/>
                  </a:lnTo>
                  <a:lnTo>
                    <a:pt x="175" y="413"/>
                  </a:lnTo>
                  <a:lnTo>
                    <a:pt x="175" y="415"/>
                  </a:lnTo>
                  <a:lnTo>
                    <a:pt x="177" y="415"/>
                  </a:lnTo>
                  <a:lnTo>
                    <a:pt x="179" y="415"/>
                  </a:lnTo>
                  <a:lnTo>
                    <a:pt x="179" y="413"/>
                  </a:lnTo>
                  <a:lnTo>
                    <a:pt x="177" y="413"/>
                  </a:lnTo>
                  <a:lnTo>
                    <a:pt x="177" y="415"/>
                  </a:lnTo>
                  <a:lnTo>
                    <a:pt x="177" y="413"/>
                  </a:lnTo>
                  <a:lnTo>
                    <a:pt x="177" y="415"/>
                  </a:lnTo>
                  <a:lnTo>
                    <a:pt x="177" y="413"/>
                  </a:lnTo>
                  <a:lnTo>
                    <a:pt x="175" y="413"/>
                  </a:lnTo>
                  <a:lnTo>
                    <a:pt x="175" y="411"/>
                  </a:lnTo>
                  <a:lnTo>
                    <a:pt x="173" y="411"/>
                  </a:lnTo>
                  <a:lnTo>
                    <a:pt x="171" y="411"/>
                  </a:lnTo>
                  <a:lnTo>
                    <a:pt x="171" y="413"/>
                  </a:lnTo>
                  <a:lnTo>
                    <a:pt x="171" y="411"/>
                  </a:lnTo>
                  <a:lnTo>
                    <a:pt x="171" y="413"/>
                  </a:lnTo>
                  <a:lnTo>
                    <a:pt x="169" y="413"/>
                  </a:lnTo>
                  <a:lnTo>
                    <a:pt x="169" y="411"/>
                  </a:lnTo>
                  <a:lnTo>
                    <a:pt x="171" y="411"/>
                  </a:lnTo>
                  <a:lnTo>
                    <a:pt x="171" y="409"/>
                  </a:lnTo>
                  <a:lnTo>
                    <a:pt x="171" y="407"/>
                  </a:lnTo>
                  <a:lnTo>
                    <a:pt x="171" y="406"/>
                  </a:lnTo>
                  <a:lnTo>
                    <a:pt x="173" y="406"/>
                  </a:lnTo>
                  <a:lnTo>
                    <a:pt x="171" y="406"/>
                  </a:lnTo>
                  <a:lnTo>
                    <a:pt x="173" y="406"/>
                  </a:lnTo>
                  <a:lnTo>
                    <a:pt x="173" y="404"/>
                  </a:lnTo>
                  <a:lnTo>
                    <a:pt x="173" y="402"/>
                  </a:lnTo>
                  <a:lnTo>
                    <a:pt x="175" y="402"/>
                  </a:lnTo>
                  <a:lnTo>
                    <a:pt x="175" y="400"/>
                  </a:lnTo>
                  <a:lnTo>
                    <a:pt x="173" y="400"/>
                  </a:lnTo>
                  <a:lnTo>
                    <a:pt x="173" y="402"/>
                  </a:lnTo>
                  <a:lnTo>
                    <a:pt x="173" y="404"/>
                  </a:lnTo>
                  <a:lnTo>
                    <a:pt x="171" y="404"/>
                  </a:lnTo>
                  <a:lnTo>
                    <a:pt x="171" y="406"/>
                  </a:lnTo>
                  <a:lnTo>
                    <a:pt x="171" y="407"/>
                  </a:lnTo>
                  <a:lnTo>
                    <a:pt x="169" y="407"/>
                  </a:lnTo>
                  <a:lnTo>
                    <a:pt x="169" y="409"/>
                  </a:lnTo>
                  <a:lnTo>
                    <a:pt x="168" y="409"/>
                  </a:lnTo>
                  <a:lnTo>
                    <a:pt x="166" y="409"/>
                  </a:lnTo>
                  <a:lnTo>
                    <a:pt x="166" y="411"/>
                  </a:lnTo>
                  <a:lnTo>
                    <a:pt x="166" y="413"/>
                  </a:lnTo>
                  <a:lnTo>
                    <a:pt x="166" y="411"/>
                  </a:lnTo>
                  <a:lnTo>
                    <a:pt x="166" y="413"/>
                  </a:lnTo>
                  <a:lnTo>
                    <a:pt x="164" y="413"/>
                  </a:lnTo>
                  <a:lnTo>
                    <a:pt x="166" y="413"/>
                  </a:lnTo>
                  <a:lnTo>
                    <a:pt x="166" y="411"/>
                  </a:lnTo>
                  <a:lnTo>
                    <a:pt x="168" y="411"/>
                  </a:lnTo>
                  <a:lnTo>
                    <a:pt x="166" y="411"/>
                  </a:lnTo>
                  <a:lnTo>
                    <a:pt x="166" y="413"/>
                  </a:lnTo>
                  <a:lnTo>
                    <a:pt x="168" y="413"/>
                  </a:lnTo>
                  <a:lnTo>
                    <a:pt x="166" y="413"/>
                  </a:lnTo>
                  <a:lnTo>
                    <a:pt x="168" y="413"/>
                  </a:lnTo>
                  <a:lnTo>
                    <a:pt x="166" y="413"/>
                  </a:lnTo>
                  <a:lnTo>
                    <a:pt x="168" y="413"/>
                  </a:lnTo>
                  <a:lnTo>
                    <a:pt x="166" y="413"/>
                  </a:lnTo>
                  <a:lnTo>
                    <a:pt x="164" y="413"/>
                  </a:lnTo>
                  <a:lnTo>
                    <a:pt x="164" y="415"/>
                  </a:lnTo>
                  <a:lnTo>
                    <a:pt x="164" y="417"/>
                  </a:lnTo>
                  <a:lnTo>
                    <a:pt x="162" y="417"/>
                  </a:lnTo>
                  <a:lnTo>
                    <a:pt x="160" y="417"/>
                  </a:lnTo>
                  <a:lnTo>
                    <a:pt x="160" y="419"/>
                  </a:lnTo>
                  <a:lnTo>
                    <a:pt x="158" y="419"/>
                  </a:lnTo>
                  <a:lnTo>
                    <a:pt x="158" y="421"/>
                  </a:lnTo>
                  <a:lnTo>
                    <a:pt x="156" y="421"/>
                  </a:lnTo>
                  <a:lnTo>
                    <a:pt x="154" y="421"/>
                  </a:lnTo>
                  <a:lnTo>
                    <a:pt x="154" y="423"/>
                  </a:lnTo>
                  <a:lnTo>
                    <a:pt x="152" y="423"/>
                  </a:lnTo>
                  <a:lnTo>
                    <a:pt x="150" y="423"/>
                  </a:lnTo>
                  <a:lnTo>
                    <a:pt x="148" y="423"/>
                  </a:lnTo>
                  <a:lnTo>
                    <a:pt x="148" y="425"/>
                  </a:lnTo>
                  <a:lnTo>
                    <a:pt x="146" y="425"/>
                  </a:lnTo>
                  <a:lnTo>
                    <a:pt x="146" y="427"/>
                  </a:lnTo>
                  <a:lnTo>
                    <a:pt x="144" y="427"/>
                  </a:lnTo>
                  <a:lnTo>
                    <a:pt x="144" y="425"/>
                  </a:lnTo>
                  <a:lnTo>
                    <a:pt x="144" y="423"/>
                  </a:lnTo>
                  <a:lnTo>
                    <a:pt x="144" y="421"/>
                  </a:lnTo>
                  <a:lnTo>
                    <a:pt x="146" y="421"/>
                  </a:lnTo>
                  <a:lnTo>
                    <a:pt x="146" y="419"/>
                  </a:lnTo>
                  <a:lnTo>
                    <a:pt x="148" y="419"/>
                  </a:lnTo>
                  <a:lnTo>
                    <a:pt x="148" y="417"/>
                  </a:lnTo>
                  <a:lnTo>
                    <a:pt x="150" y="417"/>
                  </a:lnTo>
                  <a:lnTo>
                    <a:pt x="152" y="417"/>
                  </a:lnTo>
                  <a:lnTo>
                    <a:pt x="152" y="415"/>
                  </a:lnTo>
                  <a:lnTo>
                    <a:pt x="154" y="415"/>
                  </a:lnTo>
                  <a:lnTo>
                    <a:pt x="156" y="415"/>
                  </a:lnTo>
                  <a:lnTo>
                    <a:pt x="158" y="415"/>
                  </a:lnTo>
                  <a:lnTo>
                    <a:pt x="158" y="413"/>
                  </a:lnTo>
                  <a:lnTo>
                    <a:pt x="160" y="413"/>
                  </a:lnTo>
                  <a:lnTo>
                    <a:pt x="158" y="413"/>
                  </a:lnTo>
                  <a:lnTo>
                    <a:pt x="160" y="413"/>
                  </a:lnTo>
                  <a:lnTo>
                    <a:pt x="160" y="411"/>
                  </a:lnTo>
                  <a:lnTo>
                    <a:pt x="160" y="409"/>
                  </a:lnTo>
                  <a:lnTo>
                    <a:pt x="160" y="407"/>
                  </a:lnTo>
                  <a:lnTo>
                    <a:pt x="162" y="407"/>
                  </a:lnTo>
                  <a:lnTo>
                    <a:pt x="162" y="406"/>
                  </a:lnTo>
                  <a:lnTo>
                    <a:pt x="162" y="404"/>
                  </a:lnTo>
                  <a:lnTo>
                    <a:pt x="162" y="402"/>
                  </a:lnTo>
                  <a:lnTo>
                    <a:pt x="162" y="400"/>
                  </a:lnTo>
                  <a:lnTo>
                    <a:pt x="164" y="400"/>
                  </a:lnTo>
                  <a:lnTo>
                    <a:pt x="164" y="398"/>
                  </a:lnTo>
                  <a:lnTo>
                    <a:pt x="164" y="396"/>
                  </a:lnTo>
                  <a:lnTo>
                    <a:pt x="166" y="396"/>
                  </a:lnTo>
                  <a:lnTo>
                    <a:pt x="166" y="394"/>
                  </a:lnTo>
                  <a:lnTo>
                    <a:pt x="168" y="394"/>
                  </a:lnTo>
                  <a:lnTo>
                    <a:pt x="168" y="392"/>
                  </a:lnTo>
                  <a:lnTo>
                    <a:pt x="169" y="392"/>
                  </a:lnTo>
                  <a:lnTo>
                    <a:pt x="169" y="390"/>
                  </a:lnTo>
                  <a:lnTo>
                    <a:pt x="168" y="390"/>
                  </a:lnTo>
                  <a:lnTo>
                    <a:pt x="168" y="388"/>
                  </a:lnTo>
                  <a:lnTo>
                    <a:pt x="169" y="388"/>
                  </a:lnTo>
                  <a:lnTo>
                    <a:pt x="168" y="388"/>
                  </a:lnTo>
                  <a:lnTo>
                    <a:pt x="169" y="388"/>
                  </a:lnTo>
                  <a:lnTo>
                    <a:pt x="169" y="386"/>
                  </a:lnTo>
                  <a:lnTo>
                    <a:pt x="171" y="386"/>
                  </a:lnTo>
                  <a:lnTo>
                    <a:pt x="171" y="384"/>
                  </a:lnTo>
                  <a:lnTo>
                    <a:pt x="173" y="384"/>
                  </a:lnTo>
                  <a:lnTo>
                    <a:pt x="175" y="384"/>
                  </a:lnTo>
                  <a:lnTo>
                    <a:pt x="175" y="382"/>
                  </a:lnTo>
                  <a:lnTo>
                    <a:pt x="177" y="382"/>
                  </a:lnTo>
                  <a:lnTo>
                    <a:pt x="179" y="382"/>
                  </a:lnTo>
                  <a:lnTo>
                    <a:pt x="179" y="381"/>
                  </a:lnTo>
                  <a:lnTo>
                    <a:pt x="181" y="381"/>
                  </a:lnTo>
                  <a:lnTo>
                    <a:pt x="179" y="381"/>
                  </a:lnTo>
                  <a:lnTo>
                    <a:pt x="181" y="381"/>
                  </a:lnTo>
                  <a:lnTo>
                    <a:pt x="179" y="381"/>
                  </a:lnTo>
                  <a:lnTo>
                    <a:pt x="179" y="382"/>
                  </a:lnTo>
                  <a:lnTo>
                    <a:pt x="177" y="382"/>
                  </a:lnTo>
                  <a:lnTo>
                    <a:pt x="179" y="382"/>
                  </a:lnTo>
                  <a:lnTo>
                    <a:pt x="179" y="381"/>
                  </a:lnTo>
                  <a:lnTo>
                    <a:pt x="181" y="377"/>
                  </a:lnTo>
                  <a:lnTo>
                    <a:pt x="183" y="377"/>
                  </a:lnTo>
                  <a:lnTo>
                    <a:pt x="183" y="375"/>
                  </a:lnTo>
                  <a:lnTo>
                    <a:pt x="183" y="373"/>
                  </a:lnTo>
                  <a:lnTo>
                    <a:pt x="183" y="371"/>
                  </a:lnTo>
                  <a:lnTo>
                    <a:pt x="183" y="369"/>
                  </a:lnTo>
                  <a:lnTo>
                    <a:pt x="179" y="367"/>
                  </a:lnTo>
                  <a:lnTo>
                    <a:pt x="177" y="365"/>
                  </a:lnTo>
                  <a:lnTo>
                    <a:pt x="177" y="363"/>
                  </a:lnTo>
                  <a:lnTo>
                    <a:pt x="175" y="361"/>
                  </a:lnTo>
                  <a:lnTo>
                    <a:pt x="175" y="359"/>
                  </a:lnTo>
                  <a:lnTo>
                    <a:pt x="177" y="358"/>
                  </a:lnTo>
                  <a:lnTo>
                    <a:pt x="177" y="356"/>
                  </a:lnTo>
                  <a:lnTo>
                    <a:pt x="177" y="354"/>
                  </a:lnTo>
                  <a:lnTo>
                    <a:pt x="175" y="354"/>
                  </a:lnTo>
                  <a:lnTo>
                    <a:pt x="175" y="352"/>
                  </a:lnTo>
                  <a:lnTo>
                    <a:pt x="173" y="352"/>
                  </a:lnTo>
                  <a:lnTo>
                    <a:pt x="173" y="350"/>
                  </a:lnTo>
                  <a:lnTo>
                    <a:pt x="173" y="348"/>
                  </a:lnTo>
                  <a:lnTo>
                    <a:pt x="173" y="346"/>
                  </a:lnTo>
                  <a:lnTo>
                    <a:pt x="173" y="344"/>
                  </a:lnTo>
                  <a:lnTo>
                    <a:pt x="173" y="342"/>
                  </a:lnTo>
                  <a:lnTo>
                    <a:pt x="171" y="342"/>
                  </a:lnTo>
                  <a:lnTo>
                    <a:pt x="171" y="340"/>
                  </a:lnTo>
                  <a:lnTo>
                    <a:pt x="168" y="338"/>
                  </a:lnTo>
                  <a:lnTo>
                    <a:pt x="168" y="336"/>
                  </a:lnTo>
                  <a:lnTo>
                    <a:pt x="166" y="334"/>
                  </a:lnTo>
                  <a:lnTo>
                    <a:pt x="166" y="331"/>
                  </a:lnTo>
                  <a:lnTo>
                    <a:pt x="164" y="331"/>
                  </a:lnTo>
                  <a:lnTo>
                    <a:pt x="164" y="329"/>
                  </a:lnTo>
                  <a:lnTo>
                    <a:pt x="164" y="325"/>
                  </a:lnTo>
                  <a:lnTo>
                    <a:pt x="162" y="325"/>
                  </a:lnTo>
                  <a:lnTo>
                    <a:pt x="162" y="323"/>
                  </a:lnTo>
                  <a:lnTo>
                    <a:pt x="162" y="321"/>
                  </a:lnTo>
                  <a:lnTo>
                    <a:pt x="160" y="319"/>
                  </a:lnTo>
                  <a:lnTo>
                    <a:pt x="160" y="317"/>
                  </a:lnTo>
                  <a:lnTo>
                    <a:pt x="160" y="315"/>
                  </a:lnTo>
                  <a:lnTo>
                    <a:pt x="158" y="313"/>
                  </a:lnTo>
                  <a:lnTo>
                    <a:pt x="156" y="313"/>
                  </a:lnTo>
                  <a:lnTo>
                    <a:pt x="154" y="311"/>
                  </a:lnTo>
                  <a:lnTo>
                    <a:pt x="152" y="310"/>
                  </a:lnTo>
                  <a:lnTo>
                    <a:pt x="152" y="308"/>
                  </a:lnTo>
                  <a:lnTo>
                    <a:pt x="154" y="308"/>
                  </a:lnTo>
                  <a:lnTo>
                    <a:pt x="156" y="304"/>
                  </a:lnTo>
                  <a:lnTo>
                    <a:pt x="156" y="302"/>
                  </a:lnTo>
                  <a:lnTo>
                    <a:pt x="156" y="300"/>
                  </a:lnTo>
                  <a:lnTo>
                    <a:pt x="158" y="300"/>
                  </a:lnTo>
                  <a:lnTo>
                    <a:pt x="156" y="294"/>
                  </a:lnTo>
                  <a:lnTo>
                    <a:pt x="156" y="292"/>
                  </a:lnTo>
                  <a:lnTo>
                    <a:pt x="154" y="292"/>
                  </a:lnTo>
                  <a:lnTo>
                    <a:pt x="154" y="290"/>
                  </a:lnTo>
                  <a:lnTo>
                    <a:pt x="156" y="290"/>
                  </a:lnTo>
                  <a:lnTo>
                    <a:pt x="160" y="286"/>
                  </a:lnTo>
                  <a:lnTo>
                    <a:pt x="160" y="285"/>
                  </a:lnTo>
                  <a:lnTo>
                    <a:pt x="162" y="285"/>
                  </a:lnTo>
                  <a:lnTo>
                    <a:pt x="156" y="275"/>
                  </a:lnTo>
                  <a:lnTo>
                    <a:pt x="158" y="273"/>
                  </a:lnTo>
                  <a:lnTo>
                    <a:pt x="160" y="273"/>
                  </a:lnTo>
                  <a:lnTo>
                    <a:pt x="162" y="271"/>
                  </a:lnTo>
                  <a:lnTo>
                    <a:pt x="164" y="271"/>
                  </a:lnTo>
                  <a:lnTo>
                    <a:pt x="164" y="269"/>
                  </a:lnTo>
                  <a:lnTo>
                    <a:pt x="164" y="265"/>
                  </a:lnTo>
                  <a:lnTo>
                    <a:pt x="166" y="262"/>
                  </a:lnTo>
                  <a:lnTo>
                    <a:pt x="166" y="260"/>
                  </a:lnTo>
                  <a:lnTo>
                    <a:pt x="166" y="256"/>
                  </a:lnTo>
                  <a:lnTo>
                    <a:pt x="166" y="254"/>
                  </a:lnTo>
                  <a:lnTo>
                    <a:pt x="166" y="252"/>
                  </a:lnTo>
                  <a:lnTo>
                    <a:pt x="166" y="250"/>
                  </a:lnTo>
                  <a:lnTo>
                    <a:pt x="166" y="248"/>
                  </a:lnTo>
                  <a:lnTo>
                    <a:pt x="166" y="246"/>
                  </a:lnTo>
                  <a:lnTo>
                    <a:pt x="168" y="244"/>
                  </a:lnTo>
                  <a:lnTo>
                    <a:pt x="168" y="242"/>
                  </a:lnTo>
                  <a:lnTo>
                    <a:pt x="168" y="240"/>
                  </a:lnTo>
                  <a:lnTo>
                    <a:pt x="168" y="238"/>
                  </a:lnTo>
                  <a:lnTo>
                    <a:pt x="168" y="237"/>
                  </a:lnTo>
                  <a:lnTo>
                    <a:pt x="168" y="235"/>
                  </a:lnTo>
                  <a:lnTo>
                    <a:pt x="168" y="233"/>
                  </a:lnTo>
                  <a:lnTo>
                    <a:pt x="169" y="231"/>
                  </a:lnTo>
                  <a:lnTo>
                    <a:pt x="169" y="229"/>
                  </a:lnTo>
                  <a:lnTo>
                    <a:pt x="169" y="227"/>
                  </a:lnTo>
                  <a:lnTo>
                    <a:pt x="169" y="225"/>
                  </a:lnTo>
                  <a:lnTo>
                    <a:pt x="169" y="223"/>
                  </a:lnTo>
                  <a:lnTo>
                    <a:pt x="169" y="221"/>
                  </a:lnTo>
                  <a:lnTo>
                    <a:pt x="169" y="219"/>
                  </a:lnTo>
                  <a:lnTo>
                    <a:pt x="169" y="217"/>
                  </a:lnTo>
                  <a:lnTo>
                    <a:pt x="169" y="215"/>
                  </a:lnTo>
                  <a:lnTo>
                    <a:pt x="171" y="214"/>
                  </a:lnTo>
                  <a:lnTo>
                    <a:pt x="171" y="212"/>
                  </a:lnTo>
                  <a:lnTo>
                    <a:pt x="171" y="210"/>
                  </a:lnTo>
                  <a:lnTo>
                    <a:pt x="173" y="210"/>
                  </a:lnTo>
                  <a:lnTo>
                    <a:pt x="173" y="206"/>
                  </a:lnTo>
                  <a:lnTo>
                    <a:pt x="173" y="204"/>
                  </a:lnTo>
                  <a:lnTo>
                    <a:pt x="173" y="200"/>
                  </a:lnTo>
                  <a:lnTo>
                    <a:pt x="173" y="198"/>
                  </a:lnTo>
                  <a:lnTo>
                    <a:pt x="173" y="196"/>
                  </a:lnTo>
                  <a:lnTo>
                    <a:pt x="173" y="194"/>
                  </a:lnTo>
                  <a:lnTo>
                    <a:pt x="173" y="192"/>
                  </a:lnTo>
                  <a:lnTo>
                    <a:pt x="175" y="190"/>
                  </a:lnTo>
                  <a:lnTo>
                    <a:pt x="175" y="189"/>
                  </a:lnTo>
                  <a:lnTo>
                    <a:pt x="177" y="189"/>
                  </a:lnTo>
                  <a:lnTo>
                    <a:pt x="179" y="189"/>
                  </a:lnTo>
                  <a:lnTo>
                    <a:pt x="177" y="183"/>
                  </a:lnTo>
                  <a:lnTo>
                    <a:pt x="177" y="179"/>
                  </a:lnTo>
                  <a:lnTo>
                    <a:pt x="177" y="177"/>
                  </a:lnTo>
                  <a:lnTo>
                    <a:pt x="177" y="173"/>
                  </a:lnTo>
                  <a:lnTo>
                    <a:pt x="177" y="171"/>
                  </a:lnTo>
                  <a:lnTo>
                    <a:pt x="177" y="169"/>
                  </a:lnTo>
                  <a:lnTo>
                    <a:pt x="177" y="167"/>
                  </a:lnTo>
                  <a:lnTo>
                    <a:pt x="177" y="166"/>
                  </a:lnTo>
                  <a:lnTo>
                    <a:pt x="177" y="164"/>
                  </a:lnTo>
                  <a:lnTo>
                    <a:pt x="177" y="162"/>
                  </a:lnTo>
                  <a:lnTo>
                    <a:pt x="175" y="162"/>
                  </a:lnTo>
                  <a:lnTo>
                    <a:pt x="175" y="160"/>
                  </a:lnTo>
                  <a:lnTo>
                    <a:pt x="171" y="150"/>
                  </a:lnTo>
                  <a:lnTo>
                    <a:pt x="173" y="146"/>
                  </a:lnTo>
                  <a:lnTo>
                    <a:pt x="175" y="144"/>
                  </a:lnTo>
                  <a:lnTo>
                    <a:pt x="173" y="142"/>
                  </a:lnTo>
                  <a:lnTo>
                    <a:pt x="173" y="141"/>
                  </a:lnTo>
                  <a:lnTo>
                    <a:pt x="175" y="141"/>
                  </a:lnTo>
                  <a:lnTo>
                    <a:pt x="175" y="139"/>
                  </a:lnTo>
                  <a:lnTo>
                    <a:pt x="177" y="137"/>
                  </a:lnTo>
                  <a:lnTo>
                    <a:pt x="177" y="133"/>
                  </a:lnTo>
                  <a:lnTo>
                    <a:pt x="175" y="131"/>
                  </a:lnTo>
                  <a:lnTo>
                    <a:pt x="175" y="129"/>
                  </a:lnTo>
                  <a:lnTo>
                    <a:pt x="175" y="127"/>
                  </a:lnTo>
                  <a:lnTo>
                    <a:pt x="175" y="125"/>
                  </a:lnTo>
                  <a:lnTo>
                    <a:pt x="175" y="123"/>
                  </a:lnTo>
                  <a:lnTo>
                    <a:pt x="175" y="121"/>
                  </a:lnTo>
                  <a:lnTo>
                    <a:pt x="173" y="121"/>
                  </a:lnTo>
                  <a:lnTo>
                    <a:pt x="173" y="119"/>
                  </a:lnTo>
                  <a:lnTo>
                    <a:pt x="171" y="118"/>
                  </a:lnTo>
                  <a:lnTo>
                    <a:pt x="171" y="116"/>
                  </a:lnTo>
                  <a:lnTo>
                    <a:pt x="171" y="114"/>
                  </a:lnTo>
                  <a:lnTo>
                    <a:pt x="171" y="112"/>
                  </a:lnTo>
                  <a:lnTo>
                    <a:pt x="173" y="112"/>
                  </a:lnTo>
                  <a:lnTo>
                    <a:pt x="175" y="112"/>
                  </a:lnTo>
                  <a:lnTo>
                    <a:pt x="175" y="110"/>
                  </a:lnTo>
                  <a:lnTo>
                    <a:pt x="173" y="108"/>
                  </a:lnTo>
                  <a:lnTo>
                    <a:pt x="173" y="106"/>
                  </a:lnTo>
                  <a:lnTo>
                    <a:pt x="175" y="106"/>
                  </a:lnTo>
                  <a:lnTo>
                    <a:pt x="177" y="106"/>
                  </a:lnTo>
                  <a:lnTo>
                    <a:pt x="177" y="104"/>
                  </a:lnTo>
                  <a:lnTo>
                    <a:pt x="179" y="104"/>
                  </a:lnTo>
                  <a:lnTo>
                    <a:pt x="179" y="102"/>
                  </a:lnTo>
                  <a:lnTo>
                    <a:pt x="181" y="102"/>
                  </a:lnTo>
                  <a:lnTo>
                    <a:pt x="181" y="100"/>
                  </a:lnTo>
                  <a:lnTo>
                    <a:pt x="181" y="98"/>
                  </a:lnTo>
                  <a:lnTo>
                    <a:pt x="181" y="96"/>
                  </a:lnTo>
                  <a:lnTo>
                    <a:pt x="179" y="96"/>
                  </a:lnTo>
                  <a:lnTo>
                    <a:pt x="179" y="93"/>
                  </a:lnTo>
                  <a:lnTo>
                    <a:pt x="181" y="93"/>
                  </a:lnTo>
                  <a:lnTo>
                    <a:pt x="181" y="91"/>
                  </a:lnTo>
                  <a:lnTo>
                    <a:pt x="179" y="91"/>
                  </a:lnTo>
                  <a:lnTo>
                    <a:pt x="179" y="89"/>
                  </a:lnTo>
                  <a:lnTo>
                    <a:pt x="179" y="87"/>
                  </a:lnTo>
                  <a:lnTo>
                    <a:pt x="179" y="81"/>
                  </a:lnTo>
                  <a:lnTo>
                    <a:pt x="177" y="81"/>
                  </a:lnTo>
                  <a:lnTo>
                    <a:pt x="175" y="81"/>
                  </a:lnTo>
                  <a:lnTo>
                    <a:pt x="173" y="81"/>
                  </a:lnTo>
                  <a:lnTo>
                    <a:pt x="171" y="81"/>
                  </a:lnTo>
                  <a:lnTo>
                    <a:pt x="169" y="81"/>
                  </a:lnTo>
                  <a:lnTo>
                    <a:pt x="168" y="79"/>
                  </a:lnTo>
                  <a:lnTo>
                    <a:pt x="166" y="79"/>
                  </a:lnTo>
                  <a:lnTo>
                    <a:pt x="162" y="79"/>
                  </a:lnTo>
                  <a:lnTo>
                    <a:pt x="160" y="79"/>
                  </a:lnTo>
                  <a:lnTo>
                    <a:pt x="160" y="77"/>
                  </a:lnTo>
                  <a:lnTo>
                    <a:pt x="156" y="75"/>
                  </a:lnTo>
                  <a:lnTo>
                    <a:pt x="154" y="75"/>
                  </a:lnTo>
                  <a:lnTo>
                    <a:pt x="152" y="75"/>
                  </a:lnTo>
                  <a:lnTo>
                    <a:pt x="150" y="73"/>
                  </a:lnTo>
                  <a:lnTo>
                    <a:pt x="150" y="77"/>
                  </a:lnTo>
                  <a:lnTo>
                    <a:pt x="150" y="79"/>
                  </a:lnTo>
                  <a:lnTo>
                    <a:pt x="148" y="81"/>
                  </a:lnTo>
                  <a:lnTo>
                    <a:pt x="146" y="81"/>
                  </a:lnTo>
                  <a:lnTo>
                    <a:pt x="144" y="81"/>
                  </a:lnTo>
                  <a:lnTo>
                    <a:pt x="143" y="81"/>
                  </a:lnTo>
                  <a:lnTo>
                    <a:pt x="143" y="79"/>
                  </a:lnTo>
                  <a:lnTo>
                    <a:pt x="141" y="77"/>
                  </a:lnTo>
                  <a:lnTo>
                    <a:pt x="141" y="79"/>
                  </a:lnTo>
                  <a:lnTo>
                    <a:pt x="139" y="81"/>
                  </a:lnTo>
                  <a:lnTo>
                    <a:pt x="139" y="83"/>
                  </a:lnTo>
                  <a:lnTo>
                    <a:pt x="137" y="83"/>
                  </a:lnTo>
                  <a:lnTo>
                    <a:pt x="137" y="85"/>
                  </a:lnTo>
                  <a:lnTo>
                    <a:pt x="135" y="85"/>
                  </a:lnTo>
                  <a:lnTo>
                    <a:pt x="135" y="87"/>
                  </a:lnTo>
                  <a:lnTo>
                    <a:pt x="133" y="87"/>
                  </a:lnTo>
                  <a:lnTo>
                    <a:pt x="127" y="89"/>
                  </a:lnTo>
                  <a:lnTo>
                    <a:pt x="127" y="91"/>
                  </a:lnTo>
                  <a:lnTo>
                    <a:pt x="127" y="89"/>
                  </a:lnTo>
                  <a:lnTo>
                    <a:pt x="125" y="87"/>
                  </a:lnTo>
                  <a:lnTo>
                    <a:pt x="123" y="87"/>
                  </a:lnTo>
                  <a:lnTo>
                    <a:pt x="121" y="85"/>
                  </a:lnTo>
                  <a:lnTo>
                    <a:pt x="120" y="85"/>
                  </a:lnTo>
                  <a:lnTo>
                    <a:pt x="116" y="85"/>
                  </a:lnTo>
                  <a:lnTo>
                    <a:pt x="114" y="85"/>
                  </a:lnTo>
                  <a:lnTo>
                    <a:pt x="112" y="85"/>
                  </a:lnTo>
                  <a:lnTo>
                    <a:pt x="110" y="85"/>
                  </a:lnTo>
                  <a:lnTo>
                    <a:pt x="106" y="83"/>
                  </a:lnTo>
                  <a:lnTo>
                    <a:pt x="104" y="83"/>
                  </a:lnTo>
                  <a:lnTo>
                    <a:pt x="102" y="83"/>
                  </a:lnTo>
                  <a:lnTo>
                    <a:pt x="96" y="83"/>
                  </a:lnTo>
                  <a:lnTo>
                    <a:pt x="95" y="83"/>
                  </a:lnTo>
                  <a:lnTo>
                    <a:pt x="98" y="79"/>
                  </a:lnTo>
                  <a:lnTo>
                    <a:pt x="98" y="77"/>
                  </a:lnTo>
                  <a:lnTo>
                    <a:pt x="100" y="75"/>
                  </a:lnTo>
                  <a:lnTo>
                    <a:pt x="100" y="73"/>
                  </a:lnTo>
                  <a:lnTo>
                    <a:pt x="102" y="71"/>
                  </a:lnTo>
                  <a:lnTo>
                    <a:pt x="102" y="70"/>
                  </a:lnTo>
                  <a:lnTo>
                    <a:pt x="104" y="70"/>
                  </a:lnTo>
                  <a:lnTo>
                    <a:pt x="104" y="68"/>
                  </a:lnTo>
                  <a:lnTo>
                    <a:pt x="104" y="66"/>
                  </a:lnTo>
                  <a:lnTo>
                    <a:pt x="106" y="66"/>
                  </a:lnTo>
                  <a:lnTo>
                    <a:pt x="106" y="64"/>
                  </a:lnTo>
                  <a:lnTo>
                    <a:pt x="106" y="62"/>
                  </a:lnTo>
                  <a:lnTo>
                    <a:pt x="106" y="60"/>
                  </a:lnTo>
                  <a:lnTo>
                    <a:pt x="104" y="54"/>
                  </a:lnTo>
                  <a:lnTo>
                    <a:pt x="104" y="52"/>
                  </a:lnTo>
                  <a:lnTo>
                    <a:pt x="104" y="50"/>
                  </a:lnTo>
                  <a:lnTo>
                    <a:pt x="104" y="48"/>
                  </a:lnTo>
                  <a:lnTo>
                    <a:pt x="104" y="46"/>
                  </a:lnTo>
                  <a:lnTo>
                    <a:pt x="104" y="45"/>
                  </a:lnTo>
                  <a:lnTo>
                    <a:pt x="104" y="43"/>
                  </a:lnTo>
                  <a:lnTo>
                    <a:pt x="104" y="37"/>
                  </a:lnTo>
                  <a:lnTo>
                    <a:pt x="104" y="35"/>
                  </a:lnTo>
                  <a:lnTo>
                    <a:pt x="104" y="33"/>
                  </a:lnTo>
                  <a:lnTo>
                    <a:pt x="104" y="31"/>
                  </a:lnTo>
                  <a:lnTo>
                    <a:pt x="104" y="29"/>
                  </a:lnTo>
                  <a:lnTo>
                    <a:pt x="104" y="25"/>
                  </a:lnTo>
                  <a:lnTo>
                    <a:pt x="104" y="23"/>
                  </a:lnTo>
                  <a:lnTo>
                    <a:pt x="104" y="22"/>
                  </a:lnTo>
                  <a:lnTo>
                    <a:pt x="104" y="20"/>
                  </a:lnTo>
                  <a:lnTo>
                    <a:pt x="104" y="18"/>
                  </a:lnTo>
                  <a:lnTo>
                    <a:pt x="106" y="16"/>
                  </a:lnTo>
                  <a:lnTo>
                    <a:pt x="106" y="14"/>
                  </a:lnTo>
                  <a:lnTo>
                    <a:pt x="108" y="12"/>
                  </a:lnTo>
                  <a:lnTo>
                    <a:pt x="106" y="10"/>
                  </a:lnTo>
                  <a:lnTo>
                    <a:pt x="106" y="8"/>
                  </a:lnTo>
                  <a:lnTo>
                    <a:pt x="104" y="6"/>
                  </a:lnTo>
                  <a:lnTo>
                    <a:pt x="104" y="2"/>
                  </a:lnTo>
                  <a:lnTo>
                    <a:pt x="102" y="0"/>
                  </a:lnTo>
                  <a:lnTo>
                    <a:pt x="104" y="0"/>
                  </a:lnTo>
                  <a:lnTo>
                    <a:pt x="104" y="2"/>
                  </a:lnTo>
                  <a:lnTo>
                    <a:pt x="106" y="2"/>
                  </a:lnTo>
                  <a:lnTo>
                    <a:pt x="106" y="4"/>
                  </a:lnTo>
                  <a:lnTo>
                    <a:pt x="108" y="4"/>
                  </a:lnTo>
                  <a:lnTo>
                    <a:pt x="108" y="6"/>
                  </a:lnTo>
                  <a:lnTo>
                    <a:pt x="110" y="6"/>
                  </a:lnTo>
                  <a:lnTo>
                    <a:pt x="110" y="8"/>
                  </a:lnTo>
                  <a:lnTo>
                    <a:pt x="112" y="8"/>
                  </a:lnTo>
                  <a:lnTo>
                    <a:pt x="114" y="10"/>
                  </a:lnTo>
                  <a:lnTo>
                    <a:pt x="116" y="12"/>
                  </a:lnTo>
                  <a:lnTo>
                    <a:pt x="118" y="12"/>
                  </a:lnTo>
                  <a:lnTo>
                    <a:pt x="118" y="14"/>
                  </a:lnTo>
                  <a:lnTo>
                    <a:pt x="120" y="14"/>
                  </a:lnTo>
                  <a:lnTo>
                    <a:pt x="120" y="16"/>
                  </a:lnTo>
                  <a:lnTo>
                    <a:pt x="121" y="16"/>
                  </a:lnTo>
                  <a:lnTo>
                    <a:pt x="121" y="18"/>
                  </a:lnTo>
                  <a:lnTo>
                    <a:pt x="123" y="18"/>
                  </a:lnTo>
                  <a:lnTo>
                    <a:pt x="123" y="20"/>
                  </a:lnTo>
                  <a:lnTo>
                    <a:pt x="125" y="20"/>
                  </a:lnTo>
                  <a:lnTo>
                    <a:pt x="125" y="22"/>
                  </a:lnTo>
                  <a:lnTo>
                    <a:pt x="127" y="22"/>
                  </a:lnTo>
                  <a:lnTo>
                    <a:pt x="127" y="23"/>
                  </a:lnTo>
                  <a:lnTo>
                    <a:pt x="129" y="23"/>
                  </a:lnTo>
                  <a:lnTo>
                    <a:pt x="131" y="25"/>
                  </a:lnTo>
                  <a:lnTo>
                    <a:pt x="133" y="27"/>
                  </a:lnTo>
                  <a:lnTo>
                    <a:pt x="135" y="27"/>
                  </a:lnTo>
                  <a:lnTo>
                    <a:pt x="135" y="29"/>
                  </a:lnTo>
                  <a:lnTo>
                    <a:pt x="137" y="29"/>
                  </a:lnTo>
                  <a:lnTo>
                    <a:pt x="137" y="31"/>
                  </a:lnTo>
                  <a:lnTo>
                    <a:pt x="139" y="31"/>
                  </a:lnTo>
                  <a:lnTo>
                    <a:pt x="139" y="33"/>
                  </a:lnTo>
                  <a:lnTo>
                    <a:pt x="141" y="33"/>
                  </a:lnTo>
                  <a:lnTo>
                    <a:pt x="141" y="35"/>
                  </a:lnTo>
                  <a:lnTo>
                    <a:pt x="143" y="35"/>
                  </a:lnTo>
                  <a:lnTo>
                    <a:pt x="143" y="37"/>
                  </a:lnTo>
                  <a:lnTo>
                    <a:pt x="144" y="37"/>
                  </a:lnTo>
                  <a:lnTo>
                    <a:pt x="146" y="39"/>
                  </a:lnTo>
                  <a:lnTo>
                    <a:pt x="148" y="39"/>
                  </a:lnTo>
                  <a:lnTo>
                    <a:pt x="148" y="41"/>
                  </a:lnTo>
                  <a:lnTo>
                    <a:pt x="150" y="41"/>
                  </a:lnTo>
                  <a:lnTo>
                    <a:pt x="150" y="43"/>
                  </a:lnTo>
                  <a:lnTo>
                    <a:pt x="152" y="43"/>
                  </a:lnTo>
                  <a:lnTo>
                    <a:pt x="152" y="45"/>
                  </a:lnTo>
                  <a:lnTo>
                    <a:pt x="154" y="45"/>
                  </a:lnTo>
                  <a:lnTo>
                    <a:pt x="154" y="46"/>
                  </a:lnTo>
                  <a:lnTo>
                    <a:pt x="156" y="46"/>
                  </a:lnTo>
                  <a:lnTo>
                    <a:pt x="156" y="48"/>
                  </a:lnTo>
                  <a:lnTo>
                    <a:pt x="158" y="48"/>
                  </a:lnTo>
                  <a:lnTo>
                    <a:pt x="160" y="50"/>
                  </a:lnTo>
                  <a:lnTo>
                    <a:pt x="162" y="50"/>
                  </a:lnTo>
                  <a:lnTo>
                    <a:pt x="162" y="52"/>
                  </a:lnTo>
                  <a:lnTo>
                    <a:pt x="164" y="52"/>
                  </a:lnTo>
                  <a:lnTo>
                    <a:pt x="164" y="54"/>
                  </a:lnTo>
                  <a:lnTo>
                    <a:pt x="166" y="54"/>
                  </a:lnTo>
                  <a:lnTo>
                    <a:pt x="166" y="56"/>
                  </a:lnTo>
                  <a:lnTo>
                    <a:pt x="168" y="56"/>
                  </a:lnTo>
                  <a:lnTo>
                    <a:pt x="168" y="58"/>
                  </a:lnTo>
                  <a:lnTo>
                    <a:pt x="169" y="58"/>
                  </a:lnTo>
                  <a:lnTo>
                    <a:pt x="169" y="60"/>
                  </a:lnTo>
                  <a:lnTo>
                    <a:pt x="171" y="60"/>
                  </a:lnTo>
                  <a:lnTo>
                    <a:pt x="173" y="62"/>
                  </a:lnTo>
                  <a:lnTo>
                    <a:pt x="175" y="62"/>
                  </a:lnTo>
                  <a:lnTo>
                    <a:pt x="175" y="64"/>
                  </a:lnTo>
                  <a:lnTo>
                    <a:pt x="177" y="64"/>
                  </a:lnTo>
                  <a:lnTo>
                    <a:pt x="177" y="66"/>
                  </a:lnTo>
                  <a:lnTo>
                    <a:pt x="179" y="66"/>
                  </a:lnTo>
                  <a:lnTo>
                    <a:pt x="179" y="68"/>
                  </a:lnTo>
                  <a:lnTo>
                    <a:pt x="181" y="68"/>
                  </a:lnTo>
                  <a:lnTo>
                    <a:pt x="183" y="70"/>
                  </a:lnTo>
                  <a:lnTo>
                    <a:pt x="185" y="70"/>
                  </a:lnTo>
                  <a:lnTo>
                    <a:pt x="185" y="71"/>
                  </a:lnTo>
                  <a:lnTo>
                    <a:pt x="187" y="71"/>
                  </a:lnTo>
                  <a:lnTo>
                    <a:pt x="187" y="73"/>
                  </a:lnTo>
                  <a:lnTo>
                    <a:pt x="189" y="73"/>
                  </a:lnTo>
                  <a:close/>
                  <a:moveTo>
                    <a:pt x="50" y="678"/>
                  </a:moveTo>
                  <a:lnTo>
                    <a:pt x="50" y="680"/>
                  </a:lnTo>
                  <a:lnTo>
                    <a:pt x="52" y="680"/>
                  </a:lnTo>
                  <a:lnTo>
                    <a:pt x="54" y="680"/>
                  </a:lnTo>
                  <a:lnTo>
                    <a:pt x="56" y="680"/>
                  </a:lnTo>
                  <a:lnTo>
                    <a:pt x="56" y="682"/>
                  </a:lnTo>
                  <a:lnTo>
                    <a:pt x="56" y="680"/>
                  </a:lnTo>
                  <a:lnTo>
                    <a:pt x="56" y="682"/>
                  </a:lnTo>
                  <a:lnTo>
                    <a:pt x="58" y="682"/>
                  </a:lnTo>
                  <a:lnTo>
                    <a:pt x="56" y="682"/>
                  </a:lnTo>
                  <a:lnTo>
                    <a:pt x="58" y="682"/>
                  </a:lnTo>
                  <a:lnTo>
                    <a:pt x="60" y="682"/>
                  </a:lnTo>
                  <a:lnTo>
                    <a:pt x="60" y="680"/>
                  </a:lnTo>
                  <a:lnTo>
                    <a:pt x="60" y="682"/>
                  </a:lnTo>
                  <a:lnTo>
                    <a:pt x="62" y="682"/>
                  </a:lnTo>
                  <a:lnTo>
                    <a:pt x="64" y="682"/>
                  </a:lnTo>
                  <a:lnTo>
                    <a:pt x="66" y="682"/>
                  </a:lnTo>
                  <a:lnTo>
                    <a:pt x="68" y="682"/>
                  </a:lnTo>
                  <a:lnTo>
                    <a:pt x="66" y="682"/>
                  </a:lnTo>
                  <a:lnTo>
                    <a:pt x="68" y="684"/>
                  </a:lnTo>
                  <a:lnTo>
                    <a:pt x="70" y="684"/>
                  </a:lnTo>
                  <a:lnTo>
                    <a:pt x="72" y="684"/>
                  </a:lnTo>
                  <a:lnTo>
                    <a:pt x="72" y="686"/>
                  </a:lnTo>
                  <a:lnTo>
                    <a:pt x="72" y="688"/>
                  </a:lnTo>
                  <a:lnTo>
                    <a:pt x="73" y="688"/>
                  </a:lnTo>
                  <a:lnTo>
                    <a:pt x="73" y="690"/>
                  </a:lnTo>
                  <a:lnTo>
                    <a:pt x="75" y="690"/>
                  </a:lnTo>
                  <a:lnTo>
                    <a:pt x="75" y="692"/>
                  </a:lnTo>
                  <a:lnTo>
                    <a:pt x="77" y="692"/>
                  </a:lnTo>
                  <a:lnTo>
                    <a:pt x="77" y="693"/>
                  </a:lnTo>
                  <a:lnTo>
                    <a:pt x="77" y="695"/>
                  </a:lnTo>
                  <a:lnTo>
                    <a:pt x="79" y="695"/>
                  </a:lnTo>
                  <a:lnTo>
                    <a:pt x="79" y="697"/>
                  </a:lnTo>
                  <a:lnTo>
                    <a:pt x="81" y="697"/>
                  </a:lnTo>
                  <a:lnTo>
                    <a:pt x="81" y="699"/>
                  </a:lnTo>
                  <a:lnTo>
                    <a:pt x="83" y="699"/>
                  </a:lnTo>
                  <a:lnTo>
                    <a:pt x="81" y="699"/>
                  </a:lnTo>
                  <a:lnTo>
                    <a:pt x="81" y="701"/>
                  </a:lnTo>
                  <a:lnTo>
                    <a:pt x="81" y="699"/>
                  </a:lnTo>
                  <a:lnTo>
                    <a:pt x="81" y="701"/>
                  </a:lnTo>
                  <a:lnTo>
                    <a:pt x="81" y="699"/>
                  </a:lnTo>
                  <a:lnTo>
                    <a:pt x="81" y="701"/>
                  </a:lnTo>
                  <a:lnTo>
                    <a:pt x="81" y="703"/>
                  </a:lnTo>
                  <a:lnTo>
                    <a:pt x="79" y="703"/>
                  </a:lnTo>
                  <a:lnTo>
                    <a:pt x="81" y="703"/>
                  </a:lnTo>
                  <a:lnTo>
                    <a:pt x="79" y="703"/>
                  </a:lnTo>
                  <a:lnTo>
                    <a:pt x="81" y="703"/>
                  </a:lnTo>
                  <a:lnTo>
                    <a:pt x="79" y="703"/>
                  </a:lnTo>
                  <a:lnTo>
                    <a:pt x="81" y="703"/>
                  </a:lnTo>
                  <a:lnTo>
                    <a:pt x="83" y="703"/>
                  </a:lnTo>
                  <a:lnTo>
                    <a:pt x="83" y="701"/>
                  </a:lnTo>
                  <a:lnTo>
                    <a:pt x="83" y="703"/>
                  </a:lnTo>
                  <a:lnTo>
                    <a:pt x="85" y="703"/>
                  </a:lnTo>
                  <a:lnTo>
                    <a:pt x="83" y="703"/>
                  </a:lnTo>
                  <a:lnTo>
                    <a:pt x="83" y="705"/>
                  </a:lnTo>
                  <a:lnTo>
                    <a:pt x="81" y="705"/>
                  </a:lnTo>
                  <a:lnTo>
                    <a:pt x="83" y="705"/>
                  </a:lnTo>
                  <a:lnTo>
                    <a:pt x="83" y="707"/>
                  </a:lnTo>
                  <a:lnTo>
                    <a:pt x="83" y="709"/>
                  </a:lnTo>
                  <a:lnTo>
                    <a:pt x="85" y="709"/>
                  </a:lnTo>
                  <a:lnTo>
                    <a:pt x="85" y="711"/>
                  </a:lnTo>
                  <a:lnTo>
                    <a:pt x="87" y="711"/>
                  </a:lnTo>
                  <a:lnTo>
                    <a:pt x="87" y="713"/>
                  </a:lnTo>
                  <a:lnTo>
                    <a:pt x="87" y="715"/>
                  </a:lnTo>
                  <a:lnTo>
                    <a:pt x="89" y="715"/>
                  </a:lnTo>
                  <a:lnTo>
                    <a:pt x="89" y="717"/>
                  </a:lnTo>
                  <a:lnTo>
                    <a:pt x="91" y="717"/>
                  </a:lnTo>
                  <a:lnTo>
                    <a:pt x="89" y="717"/>
                  </a:lnTo>
                  <a:lnTo>
                    <a:pt x="89" y="718"/>
                  </a:lnTo>
                  <a:lnTo>
                    <a:pt x="91" y="718"/>
                  </a:lnTo>
                  <a:lnTo>
                    <a:pt x="91" y="720"/>
                  </a:lnTo>
                  <a:lnTo>
                    <a:pt x="93" y="720"/>
                  </a:lnTo>
                  <a:lnTo>
                    <a:pt x="93" y="722"/>
                  </a:lnTo>
                  <a:lnTo>
                    <a:pt x="95" y="722"/>
                  </a:lnTo>
                  <a:lnTo>
                    <a:pt x="95" y="724"/>
                  </a:lnTo>
                  <a:lnTo>
                    <a:pt x="96" y="724"/>
                  </a:lnTo>
                  <a:lnTo>
                    <a:pt x="95" y="724"/>
                  </a:lnTo>
                  <a:lnTo>
                    <a:pt x="95" y="726"/>
                  </a:lnTo>
                  <a:lnTo>
                    <a:pt x="96" y="726"/>
                  </a:lnTo>
                  <a:lnTo>
                    <a:pt x="98" y="726"/>
                  </a:lnTo>
                  <a:lnTo>
                    <a:pt x="96" y="726"/>
                  </a:lnTo>
                  <a:lnTo>
                    <a:pt x="98" y="726"/>
                  </a:lnTo>
                  <a:lnTo>
                    <a:pt x="98" y="728"/>
                  </a:lnTo>
                  <a:lnTo>
                    <a:pt x="100" y="728"/>
                  </a:lnTo>
                  <a:lnTo>
                    <a:pt x="100" y="730"/>
                  </a:lnTo>
                  <a:lnTo>
                    <a:pt x="102" y="730"/>
                  </a:lnTo>
                  <a:lnTo>
                    <a:pt x="102" y="732"/>
                  </a:lnTo>
                  <a:lnTo>
                    <a:pt x="102" y="734"/>
                  </a:lnTo>
                  <a:lnTo>
                    <a:pt x="104" y="734"/>
                  </a:lnTo>
                  <a:lnTo>
                    <a:pt x="106" y="734"/>
                  </a:lnTo>
                  <a:lnTo>
                    <a:pt x="106" y="736"/>
                  </a:lnTo>
                  <a:lnTo>
                    <a:pt x="108" y="736"/>
                  </a:lnTo>
                  <a:lnTo>
                    <a:pt x="108" y="738"/>
                  </a:lnTo>
                  <a:lnTo>
                    <a:pt x="110" y="738"/>
                  </a:lnTo>
                  <a:lnTo>
                    <a:pt x="112" y="738"/>
                  </a:lnTo>
                  <a:lnTo>
                    <a:pt x="112" y="740"/>
                  </a:lnTo>
                  <a:lnTo>
                    <a:pt x="114" y="740"/>
                  </a:lnTo>
                  <a:lnTo>
                    <a:pt x="114" y="741"/>
                  </a:lnTo>
                  <a:lnTo>
                    <a:pt x="116" y="741"/>
                  </a:lnTo>
                  <a:lnTo>
                    <a:pt x="116" y="743"/>
                  </a:lnTo>
                  <a:lnTo>
                    <a:pt x="118" y="743"/>
                  </a:lnTo>
                  <a:lnTo>
                    <a:pt x="118" y="745"/>
                  </a:lnTo>
                  <a:lnTo>
                    <a:pt x="118" y="743"/>
                  </a:lnTo>
                  <a:lnTo>
                    <a:pt x="118" y="745"/>
                  </a:lnTo>
                  <a:lnTo>
                    <a:pt x="120" y="745"/>
                  </a:lnTo>
                  <a:lnTo>
                    <a:pt x="120" y="747"/>
                  </a:lnTo>
                  <a:lnTo>
                    <a:pt x="121" y="747"/>
                  </a:lnTo>
                  <a:lnTo>
                    <a:pt x="121" y="749"/>
                  </a:lnTo>
                  <a:lnTo>
                    <a:pt x="121" y="751"/>
                  </a:lnTo>
                  <a:lnTo>
                    <a:pt x="121" y="753"/>
                  </a:lnTo>
                  <a:lnTo>
                    <a:pt x="123" y="753"/>
                  </a:lnTo>
                  <a:lnTo>
                    <a:pt x="125" y="753"/>
                  </a:lnTo>
                  <a:lnTo>
                    <a:pt x="125" y="755"/>
                  </a:lnTo>
                  <a:lnTo>
                    <a:pt x="127" y="755"/>
                  </a:lnTo>
                  <a:lnTo>
                    <a:pt x="127" y="757"/>
                  </a:lnTo>
                  <a:lnTo>
                    <a:pt x="129" y="757"/>
                  </a:lnTo>
                  <a:lnTo>
                    <a:pt x="129" y="759"/>
                  </a:lnTo>
                  <a:lnTo>
                    <a:pt x="131" y="759"/>
                  </a:lnTo>
                  <a:lnTo>
                    <a:pt x="129" y="759"/>
                  </a:lnTo>
                  <a:lnTo>
                    <a:pt x="131" y="759"/>
                  </a:lnTo>
                  <a:lnTo>
                    <a:pt x="129" y="759"/>
                  </a:lnTo>
                  <a:lnTo>
                    <a:pt x="131" y="759"/>
                  </a:lnTo>
                  <a:lnTo>
                    <a:pt x="131" y="761"/>
                  </a:lnTo>
                  <a:lnTo>
                    <a:pt x="131" y="759"/>
                  </a:lnTo>
                  <a:lnTo>
                    <a:pt x="131" y="761"/>
                  </a:lnTo>
                  <a:lnTo>
                    <a:pt x="133" y="761"/>
                  </a:lnTo>
                  <a:lnTo>
                    <a:pt x="135" y="761"/>
                  </a:lnTo>
                  <a:lnTo>
                    <a:pt x="135" y="763"/>
                  </a:lnTo>
                  <a:lnTo>
                    <a:pt x="135" y="765"/>
                  </a:lnTo>
                  <a:lnTo>
                    <a:pt x="137" y="765"/>
                  </a:lnTo>
                  <a:lnTo>
                    <a:pt x="139" y="765"/>
                  </a:lnTo>
                  <a:lnTo>
                    <a:pt x="139" y="766"/>
                  </a:lnTo>
                  <a:lnTo>
                    <a:pt x="137" y="766"/>
                  </a:lnTo>
                  <a:lnTo>
                    <a:pt x="137" y="768"/>
                  </a:lnTo>
                  <a:lnTo>
                    <a:pt x="137" y="770"/>
                  </a:lnTo>
                  <a:lnTo>
                    <a:pt x="137" y="772"/>
                  </a:lnTo>
                  <a:lnTo>
                    <a:pt x="137" y="774"/>
                  </a:lnTo>
                  <a:lnTo>
                    <a:pt x="135" y="774"/>
                  </a:lnTo>
                  <a:lnTo>
                    <a:pt x="135" y="776"/>
                  </a:lnTo>
                  <a:lnTo>
                    <a:pt x="135" y="778"/>
                  </a:lnTo>
                  <a:lnTo>
                    <a:pt x="133" y="778"/>
                  </a:lnTo>
                  <a:lnTo>
                    <a:pt x="133" y="780"/>
                  </a:lnTo>
                  <a:lnTo>
                    <a:pt x="135" y="780"/>
                  </a:lnTo>
                  <a:lnTo>
                    <a:pt x="135" y="782"/>
                  </a:lnTo>
                  <a:lnTo>
                    <a:pt x="135" y="784"/>
                  </a:lnTo>
                  <a:lnTo>
                    <a:pt x="135" y="782"/>
                  </a:lnTo>
                  <a:lnTo>
                    <a:pt x="135" y="784"/>
                  </a:lnTo>
                  <a:lnTo>
                    <a:pt x="135" y="786"/>
                  </a:lnTo>
                  <a:lnTo>
                    <a:pt x="135" y="784"/>
                  </a:lnTo>
                  <a:lnTo>
                    <a:pt x="135" y="786"/>
                  </a:lnTo>
                  <a:lnTo>
                    <a:pt x="135" y="788"/>
                  </a:lnTo>
                  <a:lnTo>
                    <a:pt x="135" y="786"/>
                  </a:lnTo>
                  <a:lnTo>
                    <a:pt x="135" y="788"/>
                  </a:lnTo>
                  <a:lnTo>
                    <a:pt x="135" y="789"/>
                  </a:lnTo>
                  <a:lnTo>
                    <a:pt x="135" y="791"/>
                  </a:lnTo>
                  <a:lnTo>
                    <a:pt x="135" y="793"/>
                  </a:lnTo>
                  <a:lnTo>
                    <a:pt x="133" y="793"/>
                  </a:lnTo>
                  <a:lnTo>
                    <a:pt x="133" y="795"/>
                  </a:lnTo>
                  <a:lnTo>
                    <a:pt x="135" y="795"/>
                  </a:lnTo>
                  <a:lnTo>
                    <a:pt x="135" y="797"/>
                  </a:lnTo>
                  <a:lnTo>
                    <a:pt x="135" y="799"/>
                  </a:lnTo>
                  <a:lnTo>
                    <a:pt x="135" y="801"/>
                  </a:lnTo>
                  <a:lnTo>
                    <a:pt x="137" y="801"/>
                  </a:lnTo>
                  <a:lnTo>
                    <a:pt x="137" y="803"/>
                  </a:lnTo>
                  <a:lnTo>
                    <a:pt x="137" y="805"/>
                  </a:lnTo>
                  <a:lnTo>
                    <a:pt x="137" y="807"/>
                  </a:lnTo>
                  <a:lnTo>
                    <a:pt x="137" y="809"/>
                  </a:lnTo>
                  <a:lnTo>
                    <a:pt x="139" y="809"/>
                  </a:lnTo>
                  <a:lnTo>
                    <a:pt x="139" y="811"/>
                  </a:lnTo>
                  <a:lnTo>
                    <a:pt x="139" y="813"/>
                  </a:lnTo>
                  <a:lnTo>
                    <a:pt x="137" y="813"/>
                  </a:lnTo>
                  <a:lnTo>
                    <a:pt x="135" y="813"/>
                  </a:lnTo>
                  <a:lnTo>
                    <a:pt x="137" y="813"/>
                  </a:lnTo>
                  <a:lnTo>
                    <a:pt x="135" y="813"/>
                  </a:lnTo>
                  <a:lnTo>
                    <a:pt x="135" y="811"/>
                  </a:lnTo>
                  <a:lnTo>
                    <a:pt x="133" y="811"/>
                  </a:lnTo>
                  <a:lnTo>
                    <a:pt x="133" y="813"/>
                  </a:lnTo>
                  <a:lnTo>
                    <a:pt x="135" y="813"/>
                  </a:lnTo>
                  <a:lnTo>
                    <a:pt x="135" y="814"/>
                  </a:lnTo>
                  <a:lnTo>
                    <a:pt x="135" y="816"/>
                  </a:lnTo>
                  <a:lnTo>
                    <a:pt x="135" y="818"/>
                  </a:lnTo>
                  <a:lnTo>
                    <a:pt x="133" y="818"/>
                  </a:lnTo>
                  <a:lnTo>
                    <a:pt x="135" y="818"/>
                  </a:lnTo>
                  <a:lnTo>
                    <a:pt x="133" y="818"/>
                  </a:lnTo>
                  <a:lnTo>
                    <a:pt x="133" y="820"/>
                  </a:lnTo>
                  <a:lnTo>
                    <a:pt x="133" y="822"/>
                  </a:lnTo>
                  <a:lnTo>
                    <a:pt x="133" y="824"/>
                  </a:lnTo>
                  <a:lnTo>
                    <a:pt x="135" y="824"/>
                  </a:lnTo>
                  <a:lnTo>
                    <a:pt x="133" y="824"/>
                  </a:lnTo>
                  <a:lnTo>
                    <a:pt x="135" y="824"/>
                  </a:lnTo>
                  <a:lnTo>
                    <a:pt x="133" y="824"/>
                  </a:lnTo>
                  <a:lnTo>
                    <a:pt x="133" y="826"/>
                  </a:lnTo>
                  <a:lnTo>
                    <a:pt x="135" y="826"/>
                  </a:lnTo>
                  <a:lnTo>
                    <a:pt x="135" y="828"/>
                  </a:lnTo>
                  <a:lnTo>
                    <a:pt x="137" y="828"/>
                  </a:lnTo>
                  <a:lnTo>
                    <a:pt x="135" y="828"/>
                  </a:lnTo>
                  <a:lnTo>
                    <a:pt x="137" y="828"/>
                  </a:lnTo>
                  <a:lnTo>
                    <a:pt x="137" y="830"/>
                  </a:lnTo>
                  <a:lnTo>
                    <a:pt x="137" y="832"/>
                  </a:lnTo>
                  <a:lnTo>
                    <a:pt x="137" y="834"/>
                  </a:lnTo>
                  <a:lnTo>
                    <a:pt x="139" y="834"/>
                  </a:lnTo>
                  <a:lnTo>
                    <a:pt x="139" y="836"/>
                  </a:lnTo>
                  <a:lnTo>
                    <a:pt x="141" y="836"/>
                  </a:lnTo>
                  <a:lnTo>
                    <a:pt x="141" y="837"/>
                  </a:lnTo>
                  <a:lnTo>
                    <a:pt x="143" y="837"/>
                  </a:lnTo>
                  <a:lnTo>
                    <a:pt x="143" y="839"/>
                  </a:lnTo>
                  <a:lnTo>
                    <a:pt x="144" y="839"/>
                  </a:lnTo>
                  <a:lnTo>
                    <a:pt x="144" y="841"/>
                  </a:lnTo>
                  <a:lnTo>
                    <a:pt x="146" y="841"/>
                  </a:lnTo>
                  <a:lnTo>
                    <a:pt x="144" y="841"/>
                  </a:lnTo>
                  <a:lnTo>
                    <a:pt x="146" y="841"/>
                  </a:lnTo>
                  <a:lnTo>
                    <a:pt x="144" y="841"/>
                  </a:lnTo>
                  <a:lnTo>
                    <a:pt x="146" y="841"/>
                  </a:lnTo>
                  <a:lnTo>
                    <a:pt x="144" y="841"/>
                  </a:lnTo>
                  <a:lnTo>
                    <a:pt x="146" y="841"/>
                  </a:lnTo>
                  <a:lnTo>
                    <a:pt x="146" y="843"/>
                  </a:lnTo>
                  <a:lnTo>
                    <a:pt x="148" y="843"/>
                  </a:lnTo>
                  <a:lnTo>
                    <a:pt x="146" y="843"/>
                  </a:lnTo>
                  <a:lnTo>
                    <a:pt x="148" y="843"/>
                  </a:lnTo>
                  <a:lnTo>
                    <a:pt x="148" y="845"/>
                  </a:lnTo>
                  <a:lnTo>
                    <a:pt x="148" y="847"/>
                  </a:lnTo>
                  <a:lnTo>
                    <a:pt x="150" y="847"/>
                  </a:lnTo>
                  <a:lnTo>
                    <a:pt x="148" y="847"/>
                  </a:lnTo>
                  <a:lnTo>
                    <a:pt x="150" y="847"/>
                  </a:lnTo>
                  <a:lnTo>
                    <a:pt x="148" y="847"/>
                  </a:lnTo>
                  <a:lnTo>
                    <a:pt x="150" y="847"/>
                  </a:lnTo>
                  <a:lnTo>
                    <a:pt x="150" y="845"/>
                  </a:lnTo>
                  <a:lnTo>
                    <a:pt x="150" y="847"/>
                  </a:lnTo>
                  <a:lnTo>
                    <a:pt x="150" y="849"/>
                  </a:lnTo>
                  <a:lnTo>
                    <a:pt x="152" y="849"/>
                  </a:lnTo>
                  <a:lnTo>
                    <a:pt x="152" y="851"/>
                  </a:lnTo>
                  <a:lnTo>
                    <a:pt x="150" y="851"/>
                  </a:lnTo>
                  <a:lnTo>
                    <a:pt x="150" y="849"/>
                  </a:lnTo>
                  <a:lnTo>
                    <a:pt x="148" y="849"/>
                  </a:lnTo>
                  <a:lnTo>
                    <a:pt x="148" y="851"/>
                  </a:lnTo>
                  <a:lnTo>
                    <a:pt x="150" y="851"/>
                  </a:lnTo>
                  <a:lnTo>
                    <a:pt x="152" y="851"/>
                  </a:lnTo>
                  <a:lnTo>
                    <a:pt x="152" y="853"/>
                  </a:lnTo>
                  <a:lnTo>
                    <a:pt x="154" y="853"/>
                  </a:lnTo>
                  <a:lnTo>
                    <a:pt x="154" y="855"/>
                  </a:lnTo>
                  <a:lnTo>
                    <a:pt x="156" y="855"/>
                  </a:lnTo>
                  <a:lnTo>
                    <a:pt x="156" y="857"/>
                  </a:lnTo>
                  <a:lnTo>
                    <a:pt x="154" y="857"/>
                  </a:lnTo>
                  <a:lnTo>
                    <a:pt x="156" y="857"/>
                  </a:lnTo>
                  <a:lnTo>
                    <a:pt x="156" y="859"/>
                  </a:lnTo>
                  <a:lnTo>
                    <a:pt x="154" y="859"/>
                  </a:lnTo>
                  <a:lnTo>
                    <a:pt x="156" y="859"/>
                  </a:lnTo>
                  <a:lnTo>
                    <a:pt x="156" y="861"/>
                  </a:lnTo>
                  <a:lnTo>
                    <a:pt x="154" y="861"/>
                  </a:lnTo>
                  <a:lnTo>
                    <a:pt x="154" y="862"/>
                  </a:lnTo>
                  <a:lnTo>
                    <a:pt x="156" y="862"/>
                  </a:lnTo>
                  <a:lnTo>
                    <a:pt x="156" y="861"/>
                  </a:lnTo>
                  <a:lnTo>
                    <a:pt x="156" y="862"/>
                  </a:lnTo>
                  <a:lnTo>
                    <a:pt x="158" y="862"/>
                  </a:lnTo>
                  <a:lnTo>
                    <a:pt x="158" y="864"/>
                  </a:lnTo>
                  <a:lnTo>
                    <a:pt x="158" y="862"/>
                  </a:lnTo>
                  <a:lnTo>
                    <a:pt x="158" y="864"/>
                  </a:lnTo>
                  <a:lnTo>
                    <a:pt x="158" y="866"/>
                  </a:lnTo>
                  <a:lnTo>
                    <a:pt x="158" y="868"/>
                  </a:lnTo>
                  <a:lnTo>
                    <a:pt x="158" y="870"/>
                  </a:lnTo>
                  <a:lnTo>
                    <a:pt x="158" y="868"/>
                  </a:lnTo>
                  <a:lnTo>
                    <a:pt x="158" y="870"/>
                  </a:lnTo>
                  <a:lnTo>
                    <a:pt x="156" y="870"/>
                  </a:lnTo>
                  <a:lnTo>
                    <a:pt x="156" y="872"/>
                  </a:lnTo>
                  <a:lnTo>
                    <a:pt x="156" y="874"/>
                  </a:lnTo>
                  <a:lnTo>
                    <a:pt x="156" y="872"/>
                  </a:lnTo>
                  <a:lnTo>
                    <a:pt x="156" y="874"/>
                  </a:lnTo>
                  <a:lnTo>
                    <a:pt x="156" y="872"/>
                  </a:lnTo>
                  <a:lnTo>
                    <a:pt x="156" y="874"/>
                  </a:lnTo>
                  <a:lnTo>
                    <a:pt x="156" y="872"/>
                  </a:lnTo>
                  <a:lnTo>
                    <a:pt x="154" y="872"/>
                  </a:lnTo>
                  <a:lnTo>
                    <a:pt x="154" y="870"/>
                  </a:lnTo>
                  <a:lnTo>
                    <a:pt x="154" y="868"/>
                  </a:lnTo>
                  <a:lnTo>
                    <a:pt x="154" y="870"/>
                  </a:lnTo>
                  <a:lnTo>
                    <a:pt x="154" y="868"/>
                  </a:lnTo>
                  <a:lnTo>
                    <a:pt x="154" y="870"/>
                  </a:lnTo>
                  <a:lnTo>
                    <a:pt x="154" y="872"/>
                  </a:lnTo>
                  <a:lnTo>
                    <a:pt x="154" y="874"/>
                  </a:lnTo>
                  <a:lnTo>
                    <a:pt x="156" y="874"/>
                  </a:lnTo>
                  <a:lnTo>
                    <a:pt x="156" y="876"/>
                  </a:lnTo>
                  <a:lnTo>
                    <a:pt x="156" y="878"/>
                  </a:lnTo>
                  <a:lnTo>
                    <a:pt x="156" y="880"/>
                  </a:lnTo>
                  <a:lnTo>
                    <a:pt x="156" y="882"/>
                  </a:lnTo>
                  <a:lnTo>
                    <a:pt x="156" y="880"/>
                  </a:lnTo>
                  <a:lnTo>
                    <a:pt x="156" y="882"/>
                  </a:lnTo>
                  <a:lnTo>
                    <a:pt x="156" y="880"/>
                  </a:lnTo>
                  <a:lnTo>
                    <a:pt x="156" y="882"/>
                  </a:lnTo>
                  <a:lnTo>
                    <a:pt x="158" y="882"/>
                  </a:lnTo>
                  <a:lnTo>
                    <a:pt x="156" y="882"/>
                  </a:lnTo>
                  <a:lnTo>
                    <a:pt x="158" y="882"/>
                  </a:lnTo>
                  <a:lnTo>
                    <a:pt x="158" y="884"/>
                  </a:lnTo>
                  <a:lnTo>
                    <a:pt x="158" y="885"/>
                  </a:lnTo>
                  <a:lnTo>
                    <a:pt x="156" y="885"/>
                  </a:lnTo>
                  <a:lnTo>
                    <a:pt x="156" y="887"/>
                  </a:lnTo>
                  <a:lnTo>
                    <a:pt x="156" y="885"/>
                  </a:lnTo>
                  <a:lnTo>
                    <a:pt x="156" y="887"/>
                  </a:lnTo>
                  <a:lnTo>
                    <a:pt x="156" y="885"/>
                  </a:lnTo>
                  <a:lnTo>
                    <a:pt x="156" y="887"/>
                  </a:lnTo>
                  <a:lnTo>
                    <a:pt x="156" y="885"/>
                  </a:lnTo>
                  <a:lnTo>
                    <a:pt x="156" y="887"/>
                  </a:lnTo>
                  <a:lnTo>
                    <a:pt x="158" y="887"/>
                  </a:lnTo>
                  <a:lnTo>
                    <a:pt x="158" y="889"/>
                  </a:lnTo>
                  <a:lnTo>
                    <a:pt x="156" y="889"/>
                  </a:lnTo>
                  <a:lnTo>
                    <a:pt x="156" y="887"/>
                  </a:lnTo>
                  <a:lnTo>
                    <a:pt x="156" y="889"/>
                  </a:lnTo>
                  <a:lnTo>
                    <a:pt x="156" y="891"/>
                  </a:lnTo>
                  <a:lnTo>
                    <a:pt x="156" y="889"/>
                  </a:lnTo>
                  <a:lnTo>
                    <a:pt x="156" y="887"/>
                  </a:lnTo>
                  <a:lnTo>
                    <a:pt x="156" y="889"/>
                  </a:lnTo>
                  <a:lnTo>
                    <a:pt x="154" y="889"/>
                  </a:lnTo>
                  <a:lnTo>
                    <a:pt x="156" y="889"/>
                  </a:lnTo>
                  <a:lnTo>
                    <a:pt x="154" y="889"/>
                  </a:lnTo>
                  <a:lnTo>
                    <a:pt x="154" y="887"/>
                  </a:lnTo>
                  <a:lnTo>
                    <a:pt x="154" y="889"/>
                  </a:lnTo>
                  <a:lnTo>
                    <a:pt x="152" y="889"/>
                  </a:lnTo>
                  <a:lnTo>
                    <a:pt x="154" y="889"/>
                  </a:lnTo>
                  <a:lnTo>
                    <a:pt x="154" y="891"/>
                  </a:lnTo>
                  <a:lnTo>
                    <a:pt x="156" y="891"/>
                  </a:lnTo>
                  <a:lnTo>
                    <a:pt x="156" y="893"/>
                  </a:lnTo>
                  <a:lnTo>
                    <a:pt x="154" y="893"/>
                  </a:lnTo>
                  <a:lnTo>
                    <a:pt x="156" y="893"/>
                  </a:lnTo>
                  <a:lnTo>
                    <a:pt x="156" y="895"/>
                  </a:lnTo>
                  <a:lnTo>
                    <a:pt x="154" y="895"/>
                  </a:lnTo>
                  <a:lnTo>
                    <a:pt x="154" y="897"/>
                  </a:lnTo>
                  <a:lnTo>
                    <a:pt x="154" y="899"/>
                  </a:lnTo>
                  <a:lnTo>
                    <a:pt x="152" y="899"/>
                  </a:lnTo>
                  <a:lnTo>
                    <a:pt x="152" y="901"/>
                  </a:lnTo>
                  <a:lnTo>
                    <a:pt x="150" y="901"/>
                  </a:lnTo>
                  <a:lnTo>
                    <a:pt x="150" y="903"/>
                  </a:lnTo>
                  <a:lnTo>
                    <a:pt x="150" y="905"/>
                  </a:lnTo>
                  <a:lnTo>
                    <a:pt x="148" y="905"/>
                  </a:lnTo>
                  <a:lnTo>
                    <a:pt x="150" y="905"/>
                  </a:lnTo>
                  <a:lnTo>
                    <a:pt x="150" y="903"/>
                  </a:lnTo>
                  <a:lnTo>
                    <a:pt x="152" y="903"/>
                  </a:lnTo>
                  <a:lnTo>
                    <a:pt x="152" y="901"/>
                  </a:lnTo>
                  <a:lnTo>
                    <a:pt x="154" y="901"/>
                  </a:lnTo>
                  <a:lnTo>
                    <a:pt x="154" y="903"/>
                  </a:lnTo>
                  <a:lnTo>
                    <a:pt x="154" y="901"/>
                  </a:lnTo>
                  <a:lnTo>
                    <a:pt x="154" y="899"/>
                  </a:lnTo>
                  <a:lnTo>
                    <a:pt x="156" y="899"/>
                  </a:lnTo>
                  <a:lnTo>
                    <a:pt x="156" y="897"/>
                  </a:lnTo>
                  <a:lnTo>
                    <a:pt x="158" y="897"/>
                  </a:lnTo>
                  <a:lnTo>
                    <a:pt x="156" y="897"/>
                  </a:lnTo>
                  <a:lnTo>
                    <a:pt x="156" y="895"/>
                  </a:lnTo>
                  <a:lnTo>
                    <a:pt x="158" y="895"/>
                  </a:lnTo>
                  <a:lnTo>
                    <a:pt x="160" y="895"/>
                  </a:lnTo>
                  <a:lnTo>
                    <a:pt x="160" y="897"/>
                  </a:lnTo>
                  <a:lnTo>
                    <a:pt x="158" y="897"/>
                  </a:lnTo>
                  <a:lnTo>
                    <a:pt x="160" y="897"/>
                  </a:lnTo>
                  <a:lnTo>
                    <a:pt x="160" y="899"/>
                  </a:lnTo>
                  <a:lnTo>
                    <a:pt x="160" y="897"/>
                  </a:lnTo>
                  <a:lnTo>
                    <a:pt x="160" y="899"/>
                  </a:lnTo>
                  <a:lnTo>
                    <a:pt x="158" y="899"/>
                  </a:lnTo>
                  <a:lnTo>
                    <a:pt x="158" y="901"/>
                  </a:lnTo>
                  <a:lnTo>
                    <a:pt x="158" y="903"/>
                  </a:lnTo>
                  <a:lnTo>
                    <a:pt x="158" y="905"/>
                  </a:lnTo>
                  <a:lnTo>
                    <a:pt x="158" y="907"/>
                  </a:lnTo>
                  <a:lnTo>
                    <a:pt x="156" y="907"/>
                  </a:lnTo>
                  <a:lnTo>
                    <a:pt x="156" y="909"/>
                  </a:lnTo>
                  <a:lnTo>
                    <a:pt x="158" y="909"/>
                  </a:lnTo>
                  <a:lnTo>
                    <a:pt x="156" y="909"/>
                  </a:lnTo>
                  <a:lnTo>
                    <a:pt x="158" y="909"/>
                  </a:lnTo>
                  <a:lnTo>
                    <a:pt x="158" y="910"/>
                  </a:lnTo>
                  <a:lnTo>
                    <a:pt x="158" y="912"/>
                  </a:lnTo>
                  <a:lnTo>
                    <a:pt x="156" y="912"/>
                  </a:lnTo>
                  <a:lnTo>
                    <a:pt x="158" y="912"/>
                  </a:lnTo>
                  <a:lnTo>
                    <a:pt x="156" y="912"/>
                  </a:lnTo>
                  <a:lnTo>
                    <a:pt x="156" y="914"/>
                  </a:lnTo>
                  <a:lnTo>
                    <a:pt x="154" y="914"/>
                  </a:lnTo>
                  <a:lnTo>
                    <a:pt x="154" y="912"/>
                  </a:lnTo>
                  <a:lnTo>
                    <a:pt x="152" y="912"/>
                  </a:lnTo>
                  <a:lnTo>
                    <a:pt x="154" y="912"/>
                  </a:lnTo>
                  <a:lnTo>
                    <a:pt x="152" y="912"/>
                  </a:lnTo>
                  <a:lnTo>
                    <a:pt x="154" y="912"/>
                  </a:lnTo>
                  <a:lnTo>
                    <a:pt x="154" y="910"/>
                  </a:lnTo>
                  <a:lnTo>
                    <a:pt x="152" y="910"/>
                  </a:lnTo>
                  <a:lnTo>
                    <a:pt x="152" y="909"/>
                  </a:lnTo>
                  <a:lnTo>
                    <a:pt x="152" y="910"/>
                  </a:lnTo>
                  <a:lnTo>
                    <a:pt x="154" y="910"/>
                  </a:lnTo>
                  <a:lnTo>
                    <a:pt x="152" y="910"/>
                  </a:lnTo>
                  <a:lnTo>
                    <a:pt x="154" y="910"/>
                  </a:lnTo>
                  <a:lnTo>
                    <a:pt x="154" y="912"/>
                  </a:lnTo>
                  <a:lnTo>
                    <a:pt x="152" y="912"/>
                  </a:lnTo>
                  <a:lnTo>
                    <a:pt x="152" y="910"/>
                  </a:lnTo>
                  <a:lnTo>
                    <a:pt x="152" y="912"/>
                  </a:lnTo>
                  <a:lnTo>
                    <a:pt x="152" y="910"/>
                  </a:lnTo>
                  <a:lnTo>
                    <a:pt x="150" y="910"/>
                  </a:lnTo>
                  <a:lnTo>
                    <a:pt x="152" y="910"/>
                  </a:lnTo>
                  <a:lnTo>
                    <a:pt x="150" y="910"/>
                  </a:lnTo>
                  <a:lnTo>
                    <a:pt x="152" y="910"/>
                  </a:lnTo>
                  <a:lnTo>
                    <a:pt x="152" y="909"/>
                  </a:lnTo>
                  <a:lnTo>
                    <a:pt x="150" y="909"/>
                  </a:lnTo>
                  <a:lnTo>
                    <a:pt x="150" y="910"/>
                  </a:lnTo>
                  <a:lnTo>
                    <a:pt x="148" y="910"/>
                  </a:lnTo>
                  <a:lnTo>
                    <a:pt x="148" y="912"/>
                  </a:lnTo>
                  <a:lnTo>
                    <a:pt x="146" y="912"/>
                  </a:lnTo>
                  <a:lnTo>
                    <a:pt x="146" y="910"/>
                  </a:lnTo>
                  <a:lnTo>
                    <a:pt x="146" y="912"/>
                  </a:lnTo>
                  <a:lnTo>
                    <a:pt x="146" y="910"/>
                  </a:lnTo>
                  <a:lnTo>
                    <a:pt x="146" y="912"/>
                  </a:lnTo>
                  <a:lnTo>
                    <a:pt x="144" y="912"/>
                  </a:lnTo>
                  <a:lnTo>
                    <a:pt x="144" y="914"/>
                  </a:lnTo>
                  <a:lnTo>
                    <a:pt x="144" y="912"/>
                  </a:lnTo>
                  <a:lnTo>
                    <a:pt x="144" y="914"/>
                  </a:lnTo>
                  <a:lnTo>
                    <a:pt x="144" y="912"/>
                  </a:lnTo>
                  <a:lnTo>
                    <a:pt x="143" y="912"/>
                  </a:lnTo>
                  <a:lnTo>
                    <a:pt x="144" y="912"/>
                  </a:lnTo>
                  <a:lnTo>
                    <a:pt x="144" y="914"/>
                  </a:lnTo>
                  <a:lnTo>
                    <a:pt x="143" y="914"/>
                  </a:lnTo>
                  <a:lnTo>
                    <a:pt x="141" y="914"/>
                  </a:lnTo>
                  <a:lnTo>
                    <a:pt x="143" y="914"/>
                  </a:lnTo>
                  <a:lnTo>
                    <a:pt x="141" y="914"/>
                  </a:lnTo>
                  <a:lnTo>
                    <a:pt x="141" y="912"/>
                  </a:lnTo>
                  <a:lnTo>
                    <a:pt x="143" y="912"/>
                  </a:lnTo>
                  <a:lnTo>
                    <a:pt x="141" y="912"/>
                  </a:lnTo>
                  <a:lnTo>
                    <a:pt x="143" y="912"/>
                  </a:lnTo>
                  <a:lnTo>
                    <a:pt x="141" y="912"/>
                  </a:lnTo>
                  <a:lnTo>
                    <a:pt x="139" y="912"/>
                  </a:lnTo>
                  <a:lnTo>
                    <a:pt x="139" y="910"/>
                  </a:lnTo>
                  <a:lnTo>
                    <a:pt x="139" y="909"/>
                  </a:lnTo>
                  <a:lnTo>
                    <a:pt x="141" y="909"/>
                  </a:lnTo>
                  <a:lnTo>
                    <a:pt x="141" y="910"/>
                  </a:lnTo>
                  <a:lnTo>
                    <a:pt x="141" y="909"/>
                  </a:lnTo>
                  <a:lnTo>
                    <a:pt x="141" y="910"/>
                  </a:lnTo>
                  <a:lnTo>
                    <a:pt x="143" y="910"/>
                  </a:lnTo>
                  <a:lnTo>
                    <a:pt x="143" y="909"/>
                  </a:lnTo>
                  <a:lnTo>
                    <a:pt x="141" y="909"/>
                  </a:lnTo>
                  <a:lnTo>
                    <a:pt x="143" y="909"/>
                  </a:lnTo>
                  <a:lnTo>
                    <a:pt x="141" y="909"/>
                  </a:lnTo>
                  <a:lnTo>
                    <a:pt x="139" y="909"/>
                  </a:lnTo>
                  <a:lnTo>
                    <a:pt x="137" y="909"/>
                  </a:lnTo>
                  <a:lnTo>
                    <a:pt x="137" y="907"/>
                  </a:lnTo>
                  <a:lnTo>
                    <a:pt x="135" y="907"/>
                  </a:lnTo>
                  <a:lnTo>
                    <a:pt x="135" y="905"/>
                  </a:lnTo>
                  <a:lnTo>
                    <a:pt x="133" y="905"/>
                  </a:lnTo>
                  <a:lnTo>
                    <a:pt x="133" y="903"/>
                  </a:lnTo>
                  <a:lnTo>
                    <a:pt x="133" y="905"/>
                  </a:lnTo>
                  <a:lnTo>
                    <a:pt x="133" y="903"/>
                  </a:lnTo>
                  <a:lnTo>
                    <a:pt x="131" y="903"/>
                  </a:lnTo>
                  <a:lnTo>
                    <a:pt x="131" y="901"/>
                  </a:lnTo>
                  <a:lnTo>
                    <a:pt x="129" y="901"/>
                  </a:lnTo>
                  <a:lnTo>
                    <a:pt x="129" y="899"/>
                  </a:lnTo>
                  <a:lnTo>
                    <a:pt x="127" y="899"/>
                  </a:lnTo>
                  <a:lnTo>
                    <a:pt x="127" y="897"/>
                  </a:lnTo>
                  <a:lnTo>
                    <a:pt x="125" y="895"/>
                  </a:lnTo>
                  <a:lnTo>
                    <a:pt x="125" y="893"/>
                  </a:lnTo>
                  <a:lnTo>
                    <a:pt x="123" y="893"/>
                  </a:lnTo>
                  <a:lnTo>
                    <a:pt x="123" y="891"/>
                  </a:lnTo>
                  <a:lnTo>
                    <a:pt x="121" y="891"/>
                  </a:lnTo>
                  <a:lnTo>
                    <a:pt x="121" y="889"/>
                  </a:lnTo>
                  <a:lnTo>
                    <a:pt x="121" y="887"/>
                  </a:lnTo>
                  <a:lnTo>
                    <a:pt x="120" y="887"/>
                  </a:lnTo>
                  <a:lnTo>
                    <a:pt x="120" y="885"/>
                  </a:lnTo>
                  <a:lnTo>
                    <a:pt x="118" y="885"/>
                  </a:lnTo>
                  <a:lnTo>
                    <a:pt x="118" y="884"/>
                  </a:lnTo>
                  <a:lnTo>
                    <a:pt x="116" y="884"/>
                  </a:lnTo>
                  <a:lnTo>
                    <a:pt x="118" y="884"/>
                  </a:lnTo>
                  <a:lnTo>
                    <a:pt x="120" y="884"/>
                  </a:lnTo>
                  <a:lnTo>
                    <a:pt x="120" y="882"/>
                  </a:lnTo>
                  <a:lnTo>
                    <a:pt x="118" y="882"/>
                  </a:lnTo>
                  <a:lnTo>
                    <a:pt x="116" y="882"/>
                  </a:lnTo>
                  <a:lnTo>
                    <a:pt x="114" y="882"/>
                  </a:lnTo>
                  <a:lnTo>
                    <a:pt x="114" y="880"/>
                  </a:lnTo>
                  <a:lnTo>
                    <a:pt x="112" y="880"/>
                  </a:lnTo>
                  <a:lnTo>
                    <a:pt x="112" y="878"/>
                  </a:lnTo>
                  <a:lnTo>
                    <a:pt x="110" y="878"/>
                  </a:lnTo>
                  <a:lnTo>
                    <a:pt x="112" y="878"/>
                  </a:lnTo>
                  <a:lnTo>
                    <a:pt x="112" y="876"/>
                  </a:lnTo>
                  <a:lnTo>
                    <a:pt x="112" y="878"/>
                  </a:lnTo>
                  <a:lnTo>
                    <a:pt x="110" y="878"/>
                  </a:lnTo>
                  <a:lnTo>
                    <a:pt x="110" y="876"/>
                  </a:lnTo>
                  <a:lnTo>
                    <a:pt x="110" y="874"/>
                  </a:lnTo>
                  <a:lnTo>
                    <a:pt x="108" y="874"/>
                  </a:lnTo>
                  <a:lnTo>
                    <a:pt x="110" y="874"/>
                  </a:lnTo>
                  <a:lnTo>
                    <a:pt x="108" y="874"/>
                  </a:lnTo>
                  <a:lnTo>
                    <a:pt x="108" y="872"/>
                  </a:lnTo>
                  <a:lnTo>
                    <a:pt x="108" y="870"/>
                  </a:lnTo>
                  <a:lnTo>
                    <a:pt x="106" y="870"/>
                  </a:lnTo>
                  <a:lnTo>
                    <a:pt x="106" y="868"/>
                  </a:lnTo>
                  <a:lnTo>
                    <a:pt x="106" y="866"/>
                  </a:lnTo>
                  <a:lnTo>
                    <a:pt x="104" y="866"/>
                  </a:lnTo>
                  <a:lnTo>
                    <a:pt x="104" y="864"/>
                  </a:lnTo>
                  <a:lnTo>
                    <a:pt x="104" y="866"/>
                  </a:lnTo>
                  <a:lnTo>
                    <a:pt x="104" y="864"/>
                  </a:lnTo>
                  <a:lnTo>
                    <a:pt x="102" y="864"/>
                  </a:lnTo>
                  <a:lnTo>
                    <a:pt x="102" y="862"/>
                  </a:lnTo>
                  <a:lnTo>
                    <a:pt x="102" y="864"/>
                  </a:lnTo>
                  <a:lnTo>
                    <a:pt x="102" y="862"/>
                  </a:lnTo>
                  <a:lnTo>
                    <a:pt x="100" y="862"/>
                  </a:lnTo>
                  <a:lnTo>
                    <a:pt x="100" y="861"/>
                  </a:lnTo>
                  <a:lnTo>
                    <a:pt x="98" y="861"/>
                  </a:lnTo>
                  <a:lnTo>
                    <a:pt x="98" y="859"/>
                  </a:lnTo>
                  <a:lnTo>
                    <a:pt x="100" y="859"/>
                  </a:lnTo>
                  <a:lnTo>
                    <a:pt x="100" y="857"/>
                  </a:lnTo>
                  <a:lnTo>
                    <a:pt x="98" y="857"/>
                  </a:lnTo>
                  <a:lnTo>
                    <a:pt x="100" y="857"/>
                  </a:lnTo>
                  <a:lnTo>
                    <a:pt x="98" y="857"/>
                  </a:lnTo>
                  <a:lnTo>
                    <a:pt x="100" y="857"/>
                  </a:lnTo>
                  <a:lnTo>
                    <a:pt x="100" y="855"/>
                  </a:lnTo>
                  <a:lnTo>
                    <a:pt x="102" y="855"/>
                  </a:lnTo>
                  <a:lnTo>
                    <a:pt x="100" y="855"/>
                  </a:lnTo>
                  <a:lnTo>
                    <a:pt x="100" y="857"/>
                  </a:lnTo>
                  <a:lnTo>
                    <a:pt x="100" y="855"/>
                  </a:lnTo>
                  <a:lnTo>
                    <a:pt x="100" y="857"/>
                  </a:lnTo>
                  <a:lnTo>
                    <a:pt x="98" y="857"/>
                  </a:lnTo>
                  <a:lnTo>
                    <a:pt x="98" y="855"/>
                  </a:lnTo>
                  <a:lnTo>
                    <a:pt x="96" y="855"/>
                  </a:lnTo>
                  <a:lnTo>
                    <a:pt x="98" y="855"/>
                  </a:lnTo>
                  <a:lnTo>
                    <a:pt x="96" y="855"/>
                  </a:lnTo>
                  <a:lnTo>
                    <a:pt x="98" y="855"/>
                  </a:lnTo>
                  <a:lnTo>
                    <a:pt x="96" y="855"/>
                  </a:lnTo>
                  <a:lnTo>
                    <a:pt x="98" y="855"/>
                  </a:lnTo>
                  <a:lnTo>
                    <a:pt x="96" y="855"/>
                  </a:lnTo>
                  <a:lnTo>
                    <a:pt x="98" y="855"/>
                  </a:lnTo>
                  <a:lnTo>
                    <a:pt x="98" y="853"/>
                  </a:lnTo>
                  <a:lnTo>
                    <a:pt x="100" y="853"/>
                  </a:lnTo>
                  <a:lnTo>
                    <a:pt x="102" y="853"/>
                  </a:lnTo>
                  <a:lnTo>
                    <a:pt x="100" y="853"/>
                  </a:lnTo>
                  <a:lnTo>
                    <a:pt x="100" y="855"/>
                  </a:lnTo>
                  <a:lnTo>
                    <a:pt x="100" y="853"/>
                  </a:lnTo>
                  <a:lnTo>
                    <a:pt x="100" y="855"/>
                  </a:lnTo>
                  <a:lnTo>
                    <a:pt x="100" y="853"/>
                  </a:lnTo>
                  <a:lnTo>
                    <a:pt x="102" y="853"/>
                  </a:lnTo>
                  <a:lnTo>
                    <a:pt x="100" y="853"/>
                  </a:lnTo>
                  <a:lnTo>
                    <a:pt x="102" y="853"/>
                  </a:lnTo>
                  <a:lnTo>
                    <a:pt x="102" y="855"/>
                  </a:lnTo>
                  <a:lnTo>
                    <a:pt x="102" y="853"/>
                  </a:lnTo>
                  <a:lnTo>
                    <a:pt x="102" y="855"/>
                  </a:lnTo>
                  <a:lnTo>
                    <a:pt x="102" y="853"/>
                  </a:lnTo>
                  <a:lnTo>
                    <a:pt x="104" y="853"/>
                  </a:lnTo>
                  <a:lnTo>
                    <a:pt x="106" y="853"/>
                  </a:lnTo>
                  <a:lnTo>
                    <a:pt x="108" y="853"/>
                  </a:lnTo>
                  <a:lnTo>
                    <a:pt x="108" y="851"/>
                  </a:lnTo>
                  <a:lnTo>
                    <a:pt x="110" y="851"/>
                  </a:lnTo>
                  <a:lnTo>
                    <a:pt x="108" y="851"/>
                  </a:lnTo>
                  <a:lnTo>
                    <a:pt x="110" y="851"/>
                  </a:lnTo>
                  <a:lnTo>
                    <a:pt x="110" y="849"/>
                  </a:lnTo>
                  <a:lnTo>
                    <a:pt x="110" y="851"/>
                  </a:lnTo>
                  <a:lnTo>
                    <a:pt x="112" y="851"/>
                  </a:lnTo>
                  <a:lnTo>
                    <a:pt x="110" y="851"/>
                  </a:lnTo>
                  <a:lnTo>
                    <a:pt x="110" y="849"/>
                  </a:lnTo>
                  <a:lnTo>
                    <a:pt x="112" y="849"/>
                  </a:lnTo>
                  <a:lnTo>
                    <a:pt x="114" y="849"/>
                  </a:lnTo>
                  <a:lnTo>
                    <a:pt x="114" y="851"/>
                  </a:lnTo>
                  <a:lnTo>
                    <a:pt x="116" y="851"/>
                  </a:lnTo>
                  <a:lnTo>
                    <a:pt x="116" y="849"/>
                  </a:lnTo>
                  <a:lnTo>
                    <a:pt x="118" y="849"/>
                  </a:lnTo>
                  <a:lnTo>
                    <a:pt x="120" y="849"/>
                  </a:lnTo>
                  <a:lnTo>
                    <a:pt x="118" y="849"/>
                  </a:lnTo>
                  <a:lnTo>
                    <a:pt x="120" y="849"/>
                  </a:lnTo>
                  <a:lnTo>
                    <a:pt x="120" y="847"/>
                  </a:lnTo>
                  <a:lnTo>
                    <a:pt x="121" y="847"/>
                  </a:lnTo>
                  <a:lnTo>
                    <a:pt x="121" y="845"/>
                  </a:lnTo>
                  <a:lnTo>
                    <a:pt x="123" y="845"/>
                  </a:lnTo>
                  <a:lnTo>
                    <a:pt x="123" y="843"/>
                  </a:lnTo>
                  <a:lnTo>
                    <a:pt x="123" y="841"/>
                  </a:lnTo>
                  <a:lnTo>
                    <a:pt x="125" y="839"/>
                  </a:lnTo>
                  <a:lnTo>
                    <a:pt x="125" y="837"/>
                  </a:lnTo>
                  <a:lnTo>
                    <a:pt x="125" y="839"/>
                  </a:lnTo>
                  <a:lnTo>
                    <a:pt x="123" y="839"/>
                  </a:lnTo>
                  <a:lnTo>
                    <a:pt x="123" y="841"/>
                  </a:lnTo>
                  <a:lnTo>
                    <a:pt x="123" y="843"/>
                  </a:lnTo>
                  <a:lnTo>
                    <a:pt x="121" y="843"/>
                  </a:lnTo>
                  <a:lnTo>
                    <a:pt x="121" y="845"/>
                  </a:lnTo>
                  <a:lnTo>
                    <a:pt x="120" y="845"/>
                  </a:lnTo>
                  <a:lnTo>
                    <a:pt x="120" y="847"/>
                  </a:lnTo>
                  <a:lnTo>
                    <a:pt x="118" y="847"/>
                  </a:lnTo>
                  <a:lnTo>
                    <a:pt x="118" y="845"/>
                  </a:lnTo>
                  <a:lnTo>
                    <a:pt x="118" y="847"/>
                  </a:lnTo>
                  <a:lnTo>
                    <a:pt x="118" y="849"/>
                  </a:lnTo>
                  <a:lnTo>
                    <a:pt x="116" y="849"/>
                  </a:lnTo>
                  <a:lnTo>
                    <a:pt x="114" y="849"/>
                  </a:lnTo>
                  <a:lnTo>
                    <a:pt x="112" y="849"/>
                  </a:lnTo>
                  <a:lnTo>
                    <a:pt x="112" y="847"/>
                  </a:lnTo>
                  <a:lnTo>
                    <a:pt x="112" y="845"/>
                  </a:lnTo>
                  <a:lnTo>
                    <a:pt x="110" y="845"/>
                  </a:lnTo>
                  <a:lnTo>
                    <a:pt x="112" y="845"/>
                  </a:lnTo>
                  <a:lnTo>
                    <a:pt x="110" y="845"/>
                  </a:lnTo>
                  <a:lnTo>
                    <a:pt x="110" y="847"/>
                  </a:lnTo>
                  <a:lnTo>
                    <a:pt x="112" y="847"/>
                  </a:lnTo>
                  <a:lnTo>
                    <a:pt x="112" y="849"/>
                  </a:lnTo>
                  <a:lnTo>
                    <a:pt x="110" y="849"/>
                  </a:lnTo>
                  <a:lnTo>
                    <a:pt x="110" y="847"/>
                  </a:lnTo>
                  <a:lnTo>
                    <a:pt x="110" y="849"/>
                  </a:lnTo>
                  <a:lnTo>
                    <a:pt x="110" y="847"/>
                  </a:lnTo>
                  <a:lnTo>
                    <a:pt x="108" y="847"/>
                  </a:lnTo>
                  <a:lnTo>
                    <a:pt x="106" y="847"/>
                  </a:lnTo>
                  <a:lnTo>
                    <a:pt x="106" y="845"/>
                  </a:lnTo>
                  <a:lnTo>
                    <a:pt x="106" y="843"/>
                  </a:lnTo>
                  <a:lnTo>
                    <a:pt x="106" y="845"/>
                  </a:lnTo>
                  <a:lnTo>
                    <a:pt x="106" y="843"/>
                  </a:lnTo>
                  <a:lnTo>
                    <a:pt x="106" y="845"/>
                  </a:lnTo>
                  <a:lnTo>
                    <a:pt x="106" y="843"/>
                  </a:lnTo>
                  <a:lnTo>
                    <a:pt x="106" y="845"/>
                  </a:lnTo>
                  <a:lnTo>
                    <a:pt x="104" y="845"/>
                  </a:lnTo>
                  <a:lnTo>
                    <a:pt x="104" y="843"/>
                  </a:lnTo>
                  <a:lnTo>
                    <a:pt x="106" y="843"/>
                  </a:lnTo>
                  <a:lnTo>
                    <a:pt x="108" y="843"/>
                  </a:lnTo>
                  <a:lnTo>
                    <a:pt x="108" y="841"/>
                  </a:lnTo>
                  <a:lnTo>
                    <a:pt x="108" y="839"/>
                  </a:lnTo>
                  <a:lnTo>
                    <a:pt x="108" y="837"/>
                  </a:lnTo>
                  <a:lnTo>
                    <a:pt x="108" y="839"/>
                  </a:lnTo>
                  <a:lnTo>
                    <a:pt x="108" y="841"/>
                  </a:lnTo>
                  <a:lnTo>
                    <a:pt x="106" y="841"/>
                  </a:lnTo>
                  <a:lnTo>
                    <a:pt x="108" y="841"/>
                  </a:lnTo>
                  <a:lnTo>
                    <a:pt x="106" y="841"/>
                  </a:lnTo>
                  <a:lnTo>
                    <a:pt x="108" y="841"/>
                  </a:lnTo>
                  <a:lnTo>
                    <a:pt x="106" y="841"/>
                  </a:lnTo>
                  <a:lnTo>
                    <a:pt x="106" y="843"/>
                  </a:lnTo>
                  <a:lnTo>
                    <a:pt x="104" y="843"/>
                  </a:lnTo>
                  <a:lnTo>
                    <a:pt x="104" y="845"/>
                  </a:lnTo>
                  <a:lnTo>
                    <a:pt x="104" y="843"/>
                  </a:lnTo>
                  <a:lnTo>
                    <a:pt x="104" y="845"/>
                  </a:lnTo>
                  <a:lnTo>
                    <a:pt x="102" y="845"/>
                  </a:lnTo>
                  <a:lnTo>
                    <a:pt x="100" y="845"/>
                  </a:lnTo>
                  <a:lnTo>
                    <a:pt x="100" y="843"/>
                  </a:lnTo>
                  <a:lnTo>
                    <a:pt x="98" y="843"/>
                  </a:lnTo>
                  <a:lnTo>
                    <a:pt x="98" y="841"/>
                  </a:lnTo>
                  <a:lnTo>
                    <a:pt x="100" y="841"/>
                  </a:lnTo>
                  <a:lnTo>
                    <a:pt x="100" y="843"/>
                  </a:lnTo>
                  <a:lnTo>
                    <a:pt x="100" y="841"/>
                  </a:lnTo>
                  <a:lnTo>
                    <a:pt x="102" y="841"/>
                  </a:lnTo>
                  <a:lnTo>
                    <a:pt x="100" y="841"/>
                  </a:lnTo>
                  <a:lnTo>
                    <a:pt x="100" y="839"/>
                  </a:lnTo>
                  <a:lnTo>
                    <a:pt x="102" y="839"/>
                  </a:lnTo>
                  <a:lnTo>
                    <a:pt x="102" y="841"/>
                  </a:lnTo>
                  <a:lnTo>
                    <a:pt x="102" y="839"/>
                  </a:lnTo>
                  <a:lnTo>
                    <a:pt x="102" y="841"/>
                  </a:lnTo>
                  <a:lnTo>
                    <a:pt x="102" y="839"/>
                  </a:lnTo>
                  <a:lnTo>
                    <a:pt x="102" y="841"/>
                  </a:lnTo>
                  <a:lnTo>
                    <a:pt x="102" y="839"/>
                  </a:lnTo>
                  <a:lnTo>
                    <a:pt x="102" y="841"/>
                  </a:lnTo>
                  <a:lnTo>
                    <a:pt x="102" y="839"/>
                  </a:lnTo>
                  <a:lnTo>
                    <a:pt x="102" y="841"/>
                  </a:lnTo>
                  <a:lnTo>
                    <a:pt x="102" y="839"/>
                  </a:lnTo>
                  <a:lnTo>
                    <a:pt x="102" y="841"/>
                  </a:lnTo>
                  <a:lnTo>
                    <a:pt x="104" y="841"/>
                  </a:lnTo>
                  <a:lnTo>
                    <a:pt x="106" y="841"/>
                  </a:lnTo>
                  <a:lnTo>
                    <a:pt x="104" y="841"/>
                  </a:lnTo>
                  <a:lnTo>
                    <a:pt x="104" y="839"/>
                  </a:lnTo>
                  <a:lnTo>
                    <a:pt x="102" y="839"/>
                  </a:lnTo>
                  <a:lnTo>
                    <a:pt x="100" y="839"/>
                  </a:lnTo>
                  <a:lnTo>
                    <a:pt x="102" y="839"/>
                  </a:lnTo>
                  <a:lnTo>
                    <a:pt x="100" y="839"/>
                  </a:lnTo>
                  <a:lnTo>
                    <a:pt x="100" y="837"/>
                  </a:lnTo>
                  <a:lnTo>
                    <a:pt x="98" y="837"/>
                  </a:lnTo>
                  <a:lnTo>
                    <a:pt x="98" y="839"/>
                  </a:lnTo>
                  <a:lnTo>
                    <a:pt x="96" y="839"/>
                  </a:lnTo>
                  <a:lnTo>
                    <a:pt x="96" y="841"/>
                  </a:lnTo>
                  <a:lnTo>
                    <a:pt x="95" y="841"/>
                  </a:lnTo>
                  <a:lnTo>
                    <a:pt x="95" y="839"/>
                  </a:lnTo>
                  <a:lnTo>
                    <a:pt x="95" y="841"/>
                  </a:lnTo>
                  <a:lnTo>
                    <a:pt x="93" y="841"/>
                  </a:lnTo>
                  <a:lnTo>
                    <a:pt x="91" y="841"/>
                  </a:lnTo>
                  <a:lnTo>
                    <a:pt x="91" y="839"/>
                  </a:lnTo>
                  <a:lnTo>
                    <a:pt x="91" y="837"/>
                  </a:lnTo>
                  <a:lnTo>
                    <a:pt x="91" y="836"/>
                  </a:lnTo>
                  <a:lnTo>
                    <a:pt x="89" y="836"/>
                  </a:lnTo>
                  <a:lnTo>
                    <a:pt x="89" y="837"/>
                  </a:lnTo>
                  <a:lnTo>
                    <a:pt x="91" y="837"/>
                  </a:lnTo>
                  <a:lnTo>
                    <a:pt x="89" y="837"/>
                  </a:lnTo>
                  <a:lnTo>
                    <a:pt x="91" y="837"/>
                  </a:lnTo>
                  <a:lnTo>
                    <a:pt x="91" y="839"/>
                  </a:lnTo>
                  <a:lnTo>
                    <a:pt x="91" y="837"/>
                  </a:lnTo>
                  <a:lnTo>
                    <a:pt x="91" y="839"/>
                  </a:lnTo>
                  <a:lnTo>
                    <a:pt x="91" y="841"/>
                  </a:lnTo>
                  <a:lnTo>
                    <a:pt x="91" y="839"/>
                  </a:lnTo>
                  <a:lnTo>
                    <a:pt x="89" y="839"/>
                  </a:lnTo>
                  <a:lnTo>
                    <a:pt x="91" y="839"/>
                  </a:lnTo>
                  <a:lnTo>
                    <a:pt x="89" y="839"/>
                  </a:lnTo>
                  <a:lnTo>
                    <a:pt x="89" y="837"/>
                  </a:lnTo>
                  <a:lnTo>
                    <a:pt x="89" y="836"/>
                  </a:lnTo>
                  <a:lnTo>
                    <a:pt x="89" y="837"/>
                  </a:lnTo>
                  <a:lnTo>
                    <a:pt x="89" y="836"/>
                  </a:lnTo>
                  <a:lnTo>
                    <a:pt x="89" y="834"/>
                  </a:lnTo>
                  <a:lnTo>
                    <a:pt x="87" y="834"/>
                  </a:lnTo>
                  <a:lnTo>
                    <a:pt x="87" y="832"/>
                  </a:lnTo>
                  <a:lnTo>
                    <a:pt x="89" y="832"/>
                  </a:lnTo>
                  <a:lnTo>
                    <a:pt x="87" y="830"/>
                  </a:lnTo>
                  <a:lnTo>
                    <a:pt x="89" y="830"/>
                  </a:lnTo>
                  <a:lnTo>
                    <a:pt x="89" y="832"/>
                  </a:lnTo>
                  <a:lnTo>
                    <a:pt x="89" y="830"/>
                  </a:lnTo>
                  <a:lnTo>
                    <a:pt x="87" y="830"/>
                  </a:lnTo>
                  <a:lnTo>
                    <a:pt x="87" y="828"/>
                  </a:lnTo>
                  <a:lnTo>
                    <a:pt x="85" y="828"/>
                  </a:lnTo>
                  <a:lnTo>
                    <a:pt x="85" y="826"/>
                  </a:lnTo>
                  <a:lnTo>
                    <a:pt x="83" y="826"/>
                  </a:lnTo>
                  <a:lnTo>
                    <a:pt x="83" y="824"/>
                  </a:lnTo>
                  <a:lnTo>
                    <a:pt x="83" y="822"/>
                  </a:lnTo>
                  <a:lnTo>
                    <a:pt x="83" y="820"/>
                  </a:lnTo>
                  <a:lnTo>
                    <a:pt x="85" y="820"/>
                  </a:lnTo>
                  <a:lnTo>
                    <a:pt x="85" y="822"/>
                  </a:lnTo>
                  <a:lnTo>
                    <a:pt x="83" y="822"/>
                  </a:lnTo>
                  <a:lnTo>
                    <a:pt x="85" y="822"/>
                  </a:lnTo>
                  <a:lnTo>
                    <a:pt x="83" y="822"/>
                  </a:lnTo>
                  <a:lnTo>
                    <a:pt x="85" y="822"/>
                  </a:lnTo>
                  <a:lnTo>
                    <a:pt x="85" y="824"/>
                  </a:lnTo>
                  <a:lnTo>
                    <a:pt x="85" y="822"/>
                  </a:lnTo>
                  <a:lnTo>
                    <a:pt x="85" y="824"/>
                  </a:lnTo>
                  <a:lnTo>
                    <a:pt x="83" y="824"/>
                  </a:lnTo>
                  <a:lnTo>
                    <a:pt x="85" y="824"/>
                  </a:lnTo>
                  <a:lnTo>
                    <a:pt x="85" y="822"/>
                  </a:lnTo>
                  <a:lnTo>
                    <a:pt x="85" y="824"/>
                  </a:lnTo>
                  <a:lnTo>
                    <a:pt x="85" y="822"/>
                  </a:lnTo>
                  <a:lnTo>
                    <a:pt x="85" y="824"/>
                  </a:lnTo>
                  <a:lnTo>
                    <a:pt x="87" y="824"/>
                  </a:lnTo>
                  <a:lnTo>
                    <a:pt x="87" y="826"/>
                  </a:lnTo>
                  <a:lnTo>
                    <a:pt x="87" y="828"/>
                  </a:lnTo>
                  <a:lnTo>
                    <a:pt x="89" y="828"/>
                  </a:lnTo>
                  <a:lnTo>
                    <a:pt x="87" y="828"/>
                  </a:lnTo>
                  <a:lnTo>
                    <a:pt x="89" y="828"/>
                  </a:lnTo>
                  <a:lnTo>
                    <a:pt x="87" y="828"/>
                  </a:lnTo>
                  <a:lnTo>
                    <a:pt x="89" y="828"/>
                  </a:lnTo>
                  <a:lnTo>
                    <a:pt x="89" y="826"/>
                  </a:lnTo>
                  <a:lnTo>
                    <a:pt x="87" y="826"/>
                  </a:lnTo>
                  <a:lnTo>
                    <a:pt x="89" y="826"/>
                  </a:lnTo>
                  <a:lnTo>
                    <a:pt x="91" y="826"/>
                  </a:lnTo>
                  <a:lnTo>
                    <a:pt x="93" y="826"/>
                  </a:lnTo>
                  <a:lnTo>
                    <a:pt x="93" y="824"/>
                  </a:lnTo>
                  <a:lnTo>
                    <a:pt x="93" y="826"/>
                  </a:lnTo>
                  <a:lnTo>
                    <a:pt x="95" y="826"/>
                  </a:lnTo>
                  <a:lnTo>
                    <a:pt x="95" y="824"/>
                  </a:lnTo>
                  <a:lnTo>
                    <a:pt x="96" y="824"/>
                  </a:lnTo>
                  <a:lnTo>
                    <a:pt x="96" y="822"/>
                  </a:lnTo>
                  <a:lnTo>
                    <a:pt x="98" y="822"/>
                  </a:lnTo>
                  <a:lnTo>
                    <a:pt x="96" y="822"/>
                  </a:lnTo>
                  <a:lnTo>
                    <a:pt x="95" y="822"/>
                  </a:lnTo>
                  <a:lnTo>
                    <a:pt x="95" y="824"/>
                  </a:lnTo>
                  <a:lnTo>
                    <a:pt x="93" y="824"/>
                  </a:lnTo>
                  <a:lnTo>
                    <a:pt x="93" y="822"/>
                  </a:lnTo>
                  <a:lnTo>
                    <a:pt x="95" y="822"/>
                  </a:lnTo>
                  <a:lnTo>
                    <a:pt x="93" y="822"/>
                  </a:lnTo>
                  <a:lnTo>
                    <a:pt x="93" y="824"/>
                  </a:lnTo>
                  <a:lnTo>
                    <a:pt x="93" y="822"/>
                  </a:lnTo>
                  <a:lnTo>
                    <a:pt x="93" y="824"/>
                  </a:lnTo>
                  <a:lnTo>
                    <a:pt x="93" y="822"/>
                  </a:lnTo>
                  <a:lnTo>
                    <a:pt x="93" y="824"/>
                  </a:lnTo>
                  <a:lnTo>
                    <a:pt x="93" y="822"/>
                  </a:lnTo>
                  <a:lnTo>
                    <a:pt x="91" y="822"/>
                  </a:lnTo>
                  <a:lnTo>
                    <a:pt x="93" y="822"/>
                  </a:lnTo>
                  <a:lnTo>
                    <a:pt x="91" y="822"/>
                  </a:lnTo>
                  <a:lnTo>
                    <a:pt x="91" y="824"/>
                  </a:lnTo>
                  <a:lnTo>
                    <a:pt x="93" y="824"/>
                  </a:lnTo>
                  <a:lnTo>
                    <a:pt x="91" y="824"/>
                  </a:lnTo>
                  <a:lnTo>
                    <a:pt x="91" y="822"/>
                  </a:lnTo>
                  <a:lnTo>
                    <a:pt x="91" y="824"/>
                  </a:lnTo>
                  <a:lnTo>
                    <a:pt x="91" y="822"/>
                  </a:lnTo>
                  <a:lnTo>
                    <a:pt x="91" y="824"/>
                  </a:lnTo>
                  <a:lnTo>
                    <a:pt x="89" y="824"/>
                  </a:lnTo>
                  <a:lnTo>
                    <a:pt x="91" y="824"/>
                  </a:lnTo>
                  <a:lnTo>
                    <a:pt x="89" y="824"/>
                  </a:lnTo>
                  <a:lnTo>
                    <a:pt x="87" y="824"/>
                  </a:lnTo>
                  <a:lnTo>
                    <a:pt x="87" y="822"/>
                  </a:lnTo>
                  <a:lnTo>
                    <a:pt x="89" y="822"/>
                  </a:lnTo>
                  <a:lnTo>
                    <a:pt x="91" y="822"/>
                  </a:lnTo>
                  <a:lnTo>
                    <a:pt x="91" y="820"/>
                  </a:lnTo>
                  <a:lnTo>
                    <a:pt x="93" y="820"/>
                  </a:lnTo>
                  <a:lnTo>
                    <a:pt x="93" y="818"/>
                  </a:lnTo>
                  <a:lnTo>
                    <a:pt x="95" y="818"/>
                  </a:lnTo>
                  <a:lnTo>
                    <a:pt x="93" y="818"/>
                  </a:lnTo>
                  <a:lnTo>
                    <a:pt x="91" y="818"/>
                  </a:lnTo>
                  <a:lnTo>
                    <a:pt x="91" y="816"/>
                  </a:lnTo>
                  <a:lnTo>
                    <a:pt x="91" y="814"/>
                  </a:lnTo>
                  <a:lnTo>
                    <a:pt x="93" y="814"/>
                  </a:lnTo>
                  <a:lnTo>
                    <a:pt x="93" y="813"/>
                  </a:lnTo>
                  <a:lnTo>
                    <a:pt x="95" y="813"/>
                  </a:lnTo>
                  <a:lnTo>
                    <a:pt x="93" y="813"/>
                  </a:lnTo>
                  <a:lnTo>
                    <a:pt x="95" y="813"/>
                  </a:lnTo>
                  <a:lnTo>
                    <a:pt x="95" y="811"/>
                  </a:lnTo>
                  <a:lnTo>
                    <a:pt x="95" y="813"/>
                  </a:lnTo>
                  <a:lnTo>
                    <a:pt x="93" y="813"/>
                  </a:lnTo>
                  <a:lnTo>
                    <a:pt x="93" y="814"/>
                  </a:lnTo>
                  <a:lnTo>
                    <a:pt x="91" y="814"/>
                  </a:lnTo>
                  <a:lnTo>
                    <a:pt x="91" y="816"/>
                  </a:lnTo>
                  <a:lnTo>
                    <a:pt x="91" y="814"/>
                  </a:lnTo>
                  <a:lnTo>
                    <a:pt x="91" y="816"/>
                  </a:lnTo>
                  <a:lnTo>
                    <a:pt x="89" y="816"/>
                  </a:lnTo>
                  <a:lnTo>
                    <a:pt x="89" y="814"/>
                  </a:lnTo>
                  <a:lnTo>
                    <a:pt x="89" y="816"/>
                  </a:lnTo>
                  <a:lnTo>
                    <a:pt x="89" y="814"/>
                  </a:lnTo>
                  <a:lnTo>
                    <a:pt x="91" y="814"/>
                  </a:lnTo>
                  <a:lnTo>
                    <a:pt x="89" y="814"/>
                  </a:lnTo>
                  <a:lnTo>
                    <a:pt x="89" y="813"/>
                  </a:lnTo>
                  <a:lnTo>
                    <a:pt x="89" y="814"/>
                  </a:lnTo>
                  <a:lnTo>
                    <a:pt x="89" y="813"/>
                  </a:lnTo>
                  <a:lnTo>
                    <a:pt x="89" y="814"/>
                  </a:lnTo>
                  <a:lnTo>
                    <a:pt x="89" y="813"/>
                  </a:lnTo>
                  <a:lnTo>
                    <a:pt x="87" y="813"/>
                  </a:lnTo>
                  <a:lnTo>
                    <a:pt x="87" y="814"/>
                  </a:lnTo>
                  <a:lnTo>
                    <a:pt x="85" y="814"/>
                  </a:lnTo>
                  <a:lnTo>
                    <a:pt x="83" y="814"/>
                  </a:lnTo>
                  <a:lnTo>
                    <a:pt x="83" y="813"/>
                  </a:lnTo>
                  <a:lnTo>
                    <a:pt x="83" y="811"/>
                  </a:lnTo>
                  <a:lnTo>
                    <a:pt x="85" y="811"/>
                  </a:lnTo>
                  <a:lnTo>
                    <a:pt x="85" y="809"/>
                  </a:lnTo>
                  <a:lnTo>
                    <a:pt x="85" y="811"/>
                  </a:lnTo>
                  <a:lnTo>
                    <a:pt x="85" y="809"/>
                  </a:lnTo>
                  <a:lnTo>
                    <a:pt x="85" y="811"/>
                  </a:lnTo>
                  <a:lnTo>
                    <a:pt x="87" y="811"/>
                  </a:lnTo>
                  <a:lnTo>
                    <a:pt x="89" y="811"/>
                  </a:lnTo>
                  <a:lnTo>
                    <a:pt x="89" y="809"/>
                  </a:lnTo>
                  <a:lnTo>
                    <a:pt x="91" y="809"/>
                  </a:lnTo>
                  <a:lnTo>
                    <a:pt x="91" y="807"/>
                  </a:lnTo>
                  <a:lnTo>
                    <a:pt x="93" y="807"/>
                  </a:lnTo>
                  <a:lnTo>
                    <a:pt x="93" y="805"/>
                  </a:lnTo>
                  <a:lnTo>
                    <a:pt x="93" y="807"/>
                  </a:lnTo>
                  <a:lnTo>
                    <a:pt x="91" y="807"/>
                  </a:lnTo>
                  <a:lnTo>
                    <a:pt x="91" y="805"/>
                  </a:lnTo>
                  <a:lnTo>
                    <a:pt x="91" y="807"/>
                  </a:lnTo>
                  <a:lnTo>
                    <a:pt x="89" y="807"/>
                  </a:lnTo>
                  <a:lnTo>
                    <a:pt x="89" y="809"/>
                  </a:lnTo>
                  <a:lnTo>
                    <a:pt x="87" y="809"/>
                  </a:lnTo>
                  <a:lnTo>
                    <a:pt x="87" y="807"/>
                  </a:lnTo>
                  <a:lnTo>
                    <a:pt x="87" y="809"/>
                  </a:lnTo>
                  <a:lnTo>
                    <a:pt x="85" y="809"/>
                  </a:lnTo>
                  <a:lnTo>
                    <a:pt x="85" y="807"/>
                  </a:lnTo>
                  <a:lnTo>
                    <a:pt x="85" y="805"/>
                  </a:lnTo>
                  <a:lnTo>
                    <a:pt x="85" y="803"/>
                  </a:lnTo>
                  <a:lnTo>
                    <a:pt x="87" y="803"/>
                  </a:lnTo>
                  <a:lnTo>
                    <a:pt x="89" y="803"/>
                  </a:lnTo>
                  <a:lnTo>
                    <a:pt x="89" y="801"/>
                  </a:lnTo>
                  <a:lnTo>
                    <a:pt x="87" y="801"/>
                  </a:lnTo>
                  <a:lnTo>
                    <a:pt x="85" y="801"/>
                  </a:lnTo>
                  <a:lnTo>
                    <a:pt x="83" y="801"/>
                  </a:lnTo>
                  <a:lnTo>
                    <a:pt x="85" y="801"/>
                  </a:lnTo>
                  <a:lnTo>
                    <a:pt x="83" y="801"/>
                  </a:lnTo>
                  <a:lnTo>
                    <a:pt x="81" y="801"/>
                  </a:lnTo>
                  <a:lnTo>
                    <a:pt x="81" y="799"/>
                  </a:lnTo>
                  <a:lnTo>
                    <a:pt x="81" y="797"/>
                  </a:lnTo>
                  <a:lnTo>
                    <a:pt x="83" y="797"/>
                  </a:lnTo>
                  <a:lnTo>
                    <a:pt x="81" y="797"/>
                  </a:lnTo>
                  <a:lnTo>
                    <a:pt x="83" y="797"/>
                  </a:lnTo>
                  <a:lnTo>
                    <a:pt x="83" y="795"/>
                  </a:lnTo>
                  <a:lnTo>
                    <a:pt x="81" y="795"/>
                  </a:lnTo>
                  <a:lnTo>
                    <a:pt x="81" y="797"/>
                  </a:lnTo>
                  <a:lnTo>
                    <a:pt x="81" y="795"/>
                  </a:lnTo>
                  <a:lnTo>
                    <a:pt x="81" y="793"/>
                  </a:lnTo>
                  <a:lnTo>
                    <a:pt x="81" y="791"/>
                  </a:lnTo>
                  <a:lnTo>
                    <a:pt x="81" y="793"/>
                  </a:lnTo>
                  <a:lnTo>
                    <a:pt x="81" y="795"/>
                  </a:lnTo>
                  <a:lnTo>
                    <a:pt x="79" y="795"/>
                  </a:lnTo>
                  <a:lnTo>
                    <a:pt x="79" y="797"/>
                  </a:lnTo>
                  <a:lnTo>
                    <a:pt x="77" y="797"/>
                  </a:lnTo>
                  <a:lnTo>
                    <a:pt x="79" y="797"/>
                  </a:lnTo>
                  <a:lnTo>
                    <a:pt x="81" y="797"/>
                  </a:lnTo>
                  <a:lnTo>
                    <a:pt x="81" y="799"/>
                  </a:lnTo>
                  <a:lnTo>
                    <a:pt x="79" y="799"/>
                  </a:lnTo>
                  <a:lnTo>
                    <a:pt x="79" y="801"/>
                  </a:lnTo>
                  <a:lnTo>
                    <a:pt x="77" y="801"/>
                  </a:lnTo>
                  <a:lnTo>
                    <a:pt x="79" y="801"/>
                  </a:lnTo>
                  <a:lnTo>
                    <a:pt x="77" y="801"/>
                  </a:lnTo>
                  <a:lnTo>
                    <a:pt x="79" y="801"/>
                  </a:lnTo>
                  <a:lnTo>
                    <a:pt x="79" y="799"/>
                  </a:lnTo>
                  <a:lnTo>
                    <a:pt x="79" y="801"/>
                  </a:lnTo>
                  <a:lnTo>
                    <a:pt x="77" y="801"/>
                  </a:lnTo>
                  <a:lnTo>
                    <a:pt x="77" y="799"/>
                  </a:lnTo>
                  <a:lnTo>
                    <a:pt x="75" y="799"/>
                  </a:lnTo>
                  <a:lnTo>
                    <a:pt x="75" y="797"/>
                  </a:lnTo>
                  <a:lnTo>
                    <a:pt x="77" y="797"/>
                  </a:lnTo>
                  <a:lnTo>
                    <a:pt x="75" y="797"/>
                  </a:lnTo>
                  <a:lnTo>
                    <a:pt x="77" y="797"/>
                  </a:lnTo>
                  <a:lnTo>
                    <a:pt x="75" y="797"/>
                  </a:lnTo>
                  <a:lnTo>
                    <a:pt x="75" y="795"/>
                  </a:lnTo>
                  <a:lnTo>
                    <a:pt x="75" y="793"/>
                  </a:lnTo>
                  <a:lnTo>
                    <a:pt x="75" y="791"/>
                  </a:lnTo>
                  <a:lnTo>
                    <a:pt x="77" y="791"/>
                  </a:lnTo>
                  <a:lnTo>
                    <a:pt x="75" y="791"/>
                  </a:lnTo>
                  <a:lnTo>
                    <a:pt x="77" y="791"/>
                  </a:lnTo>
                  <a:lnTo>
                    <a:pt x="75" y="791"/>
                  </a:lnTo>
                  <a:lnTo>
                    <a:pt x="73" y="791"/>
                  </a:lnTo>
                  <a:lnTo>
                    <a:pt x="73" y="793"/>
                  </a:lnTo>
                  <a:lnTo>
                    <a:pt x="73" y="791"/>
                  </a:lnTo>
                  <a:lnTo>
                    <a:pt x="73" y="793"/>
                  </a:lnTo>
                  <a:lnTo>
                    <a:pt x="72" y="793"/>
                  </a:lnTo>
                  <a:lnTo>
                    <a:pt x="73" y="793"/>
                  </a:lnTo>
                  <a:lnTo>
                    <a:pt x="72" y="793"/>
                  </a:lnTo>
                  <a:lnTo>
                    <a:pt x="73" y="795"/>
                  </a:lnTo>
                  <a:lnTo>
                    <a:pt x="72" y="795"/>
                  </a:lnTo>
                  <a:lnTo>
                    <a:pt x="70" y="795"/>
                  </a:lnTo>
                  <a:lnTo>
                    <a:pt x="70" y="793"/>
                  </a:lnTo>
                  <a:lnTo>
                    <a:pt x="70" y="791"/>
                  </a:lnTo>
                  <a:lnTo>
                    <a:pt x="70" y="789"/>
                  </a:lnTo>
                  <a:lnTo>
                    <a:pt x="70" y="791"/>
                  </a:lnTo>
                  <a:lnTo>
                    <a:pt x="72" y="791"/>
                  </a:lnTo>
                  <a:lnTo>
                    <a:pt x="72" y="789"/>
                  </a:lnTo>
                  <a:lnTo>
                    <a:pt x="70" y="789"/>
                  </a:lnTo>
                  <a:lnTo>
                    <a:pt x="72" y="789"/>
                  </a:lnTo>
                  <a:lnTo>
                    <a:pt x="72" y="788"/>
                  </a:lnTo>
                  <a:lnTo>
                    <a:pt x="73" y="788"/>
                  </a:lnTo>
                  <a:lnTo>
                    <a:pt x="73" y="786"/>
                  </a:lnTo>
                  <a:lnTo>
                    <a:pt x="73" y="784"/>
                  </a:lnTo>
                  <a:lnTo>
                    <a:pt x="75" y="784"/>
                  </a:lnTo>
                  <a:lnTo>
                    <a:pt x="73" y="784"/>
                  </a:lnTo>
                  <a:lnTo>
                    <a:pt x="75" y="784"/>
                  </a:lnTo>
                  <a:lnTo>
                    <a:pt x="75" y="782"/>
                  </a:lnTo>
                  <a:lnTo>
                    <a:pt x="75" y="784"/>
                  </a:lnTo>
                  <a:lnTo>
                    <a:pt x="75" y="782"/>
                  </a:lnTo>
                  <a:lnTo>
                    <a:pt x="75" y="784"/>
                  </a:lnTo>
                  <a:lnTo>
                    <a:pt x="77" y="784"/>
                  </a:lnTo>
                  <a:lnTo>
                    <a:pt x="77" y="782"/>
                  </a:lnTo>
                  <a:lnTo>
                    <a:pt x="77" y="784"/>
                  </a:lnTo>
                  <a:lnTo>
                    <a:pt x="77" y="782"/>
                  </a:lnTo>
                  <a:lnTo>
                    <a:pt x="79" y="782"/>
                  </a:lnTo>
                  <a:lnTo>
                    <a:pt x="81" y="782"/>
                  </a:lnTo>
                  <a:lnTo>
                    <a:pt x="79" y="782"/>
                  </a:lnTo>
                  <a:lnTo>
                    <a:pt x="81" y="782"/>
                  </a:lnTo>
                  <a:lnTo>
                    <a:pt x="81" y="784"/>
                  </a:lnTo>
                  <a:lnTo>
                    <a:pt x="81" y="782"/>
                  </a:lnTo>
                  <a:lnTo>
                    <a:pt x="81" y="784"/>
                  </a:lnTo>
                  <a:lnTo>
                    <a:pt x="83" y="784"/>
                  </a:lnTo>
                  <a:lnTo>
                    <a:pt x="83" y="786"/>
                  </a:lnTo>
                  <a:lnTo>
                    <a:pt x="83" y="784"/>
                  </a:lnTo>
                  <a:lnTo>
                    <a:pt x="85" y="784"/>
                  </a:lnTo>
                  <a:lnTo>
                    <a:pt x="85" y="786"/>
                  </a:lnTo>
                  <a:lnTo>
                    <a:pt x="87" y="786"/>
                  </a:lnTo>
                  <a:lnTo>
                    <a:pt x="89" y="786"/>
                  </a:lnTo>
                  <a:lnTo>
                    <a:pt x="91" y="786"/>
                  </a:lnTo>
                  <a:lnTo>
                    <a:pt x="91" y="788"/>
                  </a:lnTo>
                  <a:lnTo>
                    <a:pt x="93" y="788"/>
                  </a:lnTo>
                  <a:lnTo>
                    <a:pt x="93" y="789"/>
                  </a:lnTo>
                  <a:lnTo>
                    <a:pt x="93" y="791"/>
                  </a:lnTo>
                  <a:lnTo>
                    <a:pt x="95" y="791"/>
                  </a:lnTo>
                  <a:lnTo>
                    <a:pt x="95" y="789"/>
                  </a:lnTo>
                  <a:lnTo>
                    <a:pt x="93" y="789"/>
                  </a:lnTo>
                  <a:lnTo>
                    <a:pt x="95" y="789"/>
                  </a:lnTo>
                  <a:lnTo>
                    <a:pt x="95" y="788"/>
                  </a:lnTo>
                  <a:lnTo>
                    <a:pt x="93" y="788"/>
                  </a:lnTo>
                  <a:lnTo>
                    <a:pt x="95" y="788"/>
                  </a:lnTo>
                  <a:lnTo>
                    <a:pt x="93" y="788"/>
                  </a:lnTo>
                  <a:lnTo>
                    <a:pt x="93" y="786"/>
                  </a:lnTo>
                  <a:lnTo>
                    <a:pt x="91" y="786"/>
                  </a:lnTo>
                  <a:lnTo>
                    <a:pt x="89" y="786"/>
                  </a:lnTo>
                  <a:lnTo>
                    <a:pt x="87" y="786"/>
                  </a:lnTo>
                  <a:lnTo>
                    <a:pt x="85" y="786"/>
                  </a:lnTo>
                  <a:lnTo>
                    <a:pt x="85" y="784"/>
                  </a:lnTo>
                  <a:lnTo>
                    <a:pt x="83" y="784"/>
                  </a:lnTo>
                  <a:lnTo>
                    <a:pt x="83" y="782"/>
                  </a:lnTo>
                  <a:lnTo>
                    <a:pt x="85" y="782"/>
                  </a:lnTo>
                  <a:lnTo>
                    <a:pt x="83" y="782"/>
                  </a:lnTo>
                  <a:lnTo>
                    <a:pt x="81" y="782"/>
                  </a:lnTo>
                  <a:lnTo>
                    <a:pt x="81" y="780"/>
                  </a:lnTo>
                  <a:lnTo>
                    <a:pt x="81" y="778"/>
                  </a:lnTo>
                  <a:lnTo>
                    <a:pt x="83" y="778"/>
                  </a:lnTo>
                  <a:lnTo>
                    <a:pt x="83" y="776"/>
                  </a:lnTo>
                  <a:lnTo>
                    <a:pt x="85" y="776"/>
                  </a:lnTo>
                  <a:lnTo>
                    <a:pt x="87" y="776"/>
                  </a:lnTo>
                  <a:lnTo>
                    <a:pt x="85" y="776"/>
                  </a:lnTo>
                  <a:lnTo>
                    <a:pt x="87" y="776"/>
                  </a:lnTo>
                  <a:lnTo>
                    <a:pt x="87" y="778"/>
                  </a:lnTo>
                  <a:lnTo>
                    <a:pt x="87" y="776"/>
                  </a:lnTo>
                  <a:lnTo>
                    <a:pt x="87" y="778"/>
                  </a:lnTo>
                  <a:lnTo>
                    <a:pt x="87" y="776"/>
                  </a:lnTo>
                  <a:lnTo>
                    <a:pt x="85" y="776"/>
                  </a:lnTo>
                  <a:lnTo>
                    <a:pt x="85" y="774"/>
                  </a:lnTo>
                  <a:lnTo>
                    <a:pt x="87" y="774"/>
                  </a:lnTo>
                  <a:lnTo>
                    <a:pt x="85" y="774"/>
                  </a:lnTo>
                  <a:lnTo>
                    <a:pt x="85" y="772"/>
                  </a:lnTo>
                  <a:lnTo>
                    <a:pt x="83" y="772"/>
                  </a:lnTo>
                  <a:lnTo>
                    <a:pt x="83" y="774"/>
                  </a:lnTo>
                  <a:lnTo>
                    <a:pt x="85" y="774"/>
                  </a:lnTo>
                  <a:lnTo>
                    <a:pt x="83" y="774"/>
                  </a:lnTo>
                  <a:lnTo>
                    <a:pt x="85" y="774"/>
                  </a:lnTo>
                  <a:lnTo>
                    <a:pt x="83" y="774"/>
                  </a:lnTo>
                  <a:lnTo>
                    <a:pt x="83" y="776"/>
                  </a:lnTo>
                  <a:lnTo>
                    <a:pt x="81" y="776"/>
                  </a:lnTo>
                  <a:lnTo>
                    <a:pt x="83" y="776"/>
                  </a:lnTo>
                  <a:lnTo>
                    <a:pt x="81" y="776"/>
                  </a:lnTo>
                  <a:lnTo>
                    <a:pt x="81" y="774"/>
                  </a:lnTo>
                  <a:lnTo>
                    <a:pt x="83" y="774"/>
                  </a:lnTo>
                  <a:lnTo>
                    <a:pt x="81" y="774"/>
                  </a:lnTo>
                  <a:lnTo>
                    <a:pt x="81" y="776"/>
                  </a:lnTo>
                  <a:lnTo>
                    <a:pt x="81" y="778"/>
                  </a:lnTo>
                  <a:lnTo>
                    <a:pt x="81" y="776"/>
                  </a:lnTo>
                  <a:lnTo>
                    <a:pt x="81" y="778"/>
                  </a:lnTo>
                  <a:lnTo>
                    <a:pt x="81" y="776"/>
                  </a:lnTo>
                  <a:lnTo>
                    <a:pt x="79" y="776"/>
                  </a:lnTo>
                  <a:lnTo>
                    <a:pt x="79" y="778"/>
                  </a:lnTo>
                  <a:lnTo>
                    <a:pt x="79" y="776"/>
                  </a:lnTo>
                  <a:lnTo>
                    <a:pt x="79" y="778"/>
                  </a:lnTo>
                  <a:lnTo>
                    <a:pt x="79" y="776"/>
                  </a:lnTo>
                  <a:lnTo>
                    <a:pt x="77" y="776"/>
                  </a:lnTo>
                  <a:lnTo>
                    <a:pt x="77" y="774"/>
                  </a:lnTo>
                  <a:lnTo>
                    <a:pt x="77" y="772"/>
                  </a:lnTo>
                  <a:lnTo>
                    <a:pt x="79" y="772"/>
                  </a:lnTo>
                  <a:lnTo>
                    <a:pt x="79" y="770"/>
                  </a:lnTo>
                  <a:lnTo>
                    <a:pt x="79" y="768"/>
                  </a:lnTo>
                  <a:lnTo>
                    <a:pt x="79" y="766"/>
                  </a:lnTo>
                  <a:lnTo>
                    <a:pt x="81" y="766"/>
                  </a:lnTo>
                  <a:lnTo>
                    <a:pt x="81" y="765"/>
                  </a:lnTo>
                  <a:lnTo>
                    <a:pt x="83" y="765"/>
                  </a:lnTo>
                  <a:lnTo>
                    <a:pt x="83" y="763"/>
                  </a:lnTo>
                  <a:lnTo>
                    <a:pt x="81" y="763"/>
                  </a:lnTo>
                  <a:lnTo>
                    <a:pt x="81" y="765"/>
                  </a:lnTo>
                  <a:lnTo>
                    <a:pt x="79" y="765"/>
                  </a:lnTo>
                  <a:lnTo>
                    <a:pt x="79" y="766"/>
                  </a:lnTo>
                  <a:lnTo>
                    <a:pt x="79" y="765"/>
                  </a:lnTo>
                  <a:lnTo>
                    <a:pt x="77" y="765"/>
                  </a:lnTo>
                  <a:lnTo>
                    <a:pt x="77" y="763"/>
                  </a:lnTo>
                  <a:lnTo>
                    <a:pt x="77" y="761"/>
                  </a:lnTo>
                  <a:lnTo>
                    <a:pt x="77" y="759"/>
                  </a:lnTo>
                  <a:lnTo>
                    <a:pt x="79" y="759"/>
                  </a:lnTo>
                  <a:lnTo>
                    <a:pt x="79" y="757"/>
                  </a:lnTo>
                  <a:lnTo>
                    <a:pt x="77" y="757"/>
                  </a:lnTo>
                  <a:lnTo>
                    <a:pt x="77" y="755"/>
                  </a:lnTo>
                  <a:lnTo>
                    <a:pt x="77" y="757"/>
                  </a:lnTo>
                  <a:lnTo>
                    <a:pt x="77" y="759"/>
                  </a:lnTo>
                  <a:lnTo>
                    <a:pt x="77" y="761"/>
                  </a:lnTo>
                  <a:lnTo>
                    <a:pt x="75" y="761"/>
                  </a:lnTo>
                  <a:lnTo>
                    <a:pt x="73" y="761"/>
                  </a:lnTo>
                  <a:lnTo>
                    <a:pt x="72" y="761"/>
                  </a:lnTo>
                  <a:lnTo>
                    <a:pt x="72" y="759"/>
                  </a:lnTo>
                  <a:lnTo>
                    <a:pt x="72" y="761"/>
                  </a:lnTo>
                  <a:lnTo>
                    <a:pt x="72" y="759"/>
                  </a:lnTo>
                  <a:lnTo>
                    <a:pt x="73" y="759"/>
                  </a:lnTo>
                  <a:lnTo>
                    <a:pt x="73" y="757"/>
                  </a:lnTo>
                  <a:lnTo>
                    <a:pt x="75" y="757"/>
                  </a:lnTo>
                  <a:lnTo>
                    <a:pt x="75" y="755"/>
                  </a:lnTo>
                  <a:lnTo>
                    <a:pt x="75" y="757"/>
                  </a:lnTo>
                  <a:lnTo>
                    <a:pt x="77" y="757"/>
                  </a:lnTo>
                  <a:lnTo>
                    <a:pt x="75" y="757"/>
                  </a:lnTo>
                  <a:lnTo>
                    <a:pt x="75" y="755"/>
                  </a:lnTo>
                  <a:lnTo>
                    <a:pt x="75" y="757"/>
                  </a:lnTo>
                  <a:lnTo>
                    <a:pt x="73" y="757"/>
                  </a:lnTo>
                  <a:lnTo>
                    <a:pt x="73" y="755"/>
                  </a:lnTo>
                  <a:lnTo>
                    <a:pt x="75" y="755"/>
                  </a:lnTo>
                  <a:lnTo>
                    <a:pt x="75" y="753"/>
                  </a:lnTo>
                  <a:lnTo>
                    <a:pt x="73" y="753"/>
                  </a:lnTo>
                  <a:lnTo>
                    <a:pt x="75" y="753"/>
                  </a:lnTo>
                  <a:lnTo>
                    <a:pt x="73" y="753"/>
                  </a:lnTo>
                  <a:lnTo>
                    <a:pt x="73" y="755"/>
                  </a:lnTo>
                  <a:lnTo>
                    <a:pt x="73" y="757"/>
                  </a:lnTo>
                  <a:lnTo>
                    <a:pt x="72" y="757"/>
                  </a:lnTo>
                  <a:lnTo>
                    <a:pt x="72" y="759"/>
                  </a:lnTo>
                  <a:lnTo>
                    <a:pt x="72" y="761"/>
                  </a:lnTo>
                  <a:lnTo>
                    <a:pt x="70" y="761"/>
                  </a:lnTo>
                  <a:lnTo>
                    <a:pt x="70" y="759"/>
                  </a:lnTo>
                  <a:lnTo>
                    <a:pt x="70" y="761"/>
                  </a:lnTo>
                  <a:lnTo>
                    <a:pt x="70" y="759"/>
                  </a:lnTo>
                  <a:lnTo>
                    <a:pt x="70" y="761"/>
                  </a:lnTo>
                  <a:lnTo>
                    <a:pt x="70" y="759"/>
                  </a:lnTo>
                  <a:lnTo>
                    <a:pt x="70" y="761"/>
                  </a:lnTo>
                  <a:lnTo>
                    <a:pt x="70" y="759"/>
                  </a:lnTo>
                  <a:lnTo>
                    <a:pt x="70" y="761"/>
                  </a:lnTo>
                  <a:lnTo>
                    <a:pt x="70" y="759"/>
                  </a:lnTo>
                  <a:lnTo>
                    <a:pt x="70" y="757"/>
                  </a:lnTo>
                  <a:lnTo>
                    <a:pt x="70" y="759"/>
                  </a:lnTo>
                  <a:lnTo>
                    <a:pt x="70" y="757"/>
                  </a:lnTo>
                  <a:lnTo>
                    <a:pt x="70" y="759"/>
                  </a:lnTo>
                  <a:lnTo>
                    <a:pt x="70" y="757"/>
                  </a:lnTo>
                  <a:lnTo>
                    <a:pt x="70" y="755"/>
                  </a:lnTo>
                  <a:lnTo>
                    <a:pt x="70" y="757"/>
                  </a:lnTo>
                  <a:lnTo>
                    <a:pt x="70" y="755"/>
                  </a:lnTo>
                  <a:lnTo>
                    <a:pt x="70" y="753"/>
                  </a:lnTo>
                  <a:lnTo>
                    <a:pt x="70" y="755"/>
                  </a:lnTo>
                  <a:lnTo>
                    <a:pt x="70" y="757"/>
                  </a:lnTo>
                  <a:lnTo>
                    <a:pt x="68" y="757"/>
                  </a:lnTo>
                  <a:lnTo>
                    <a:pt x="70" y="757"/>
                  </a:lnTo>
                  <a:lnTo>
                    <a:pt x="70" y="759"/>
                  </a:lnTo>
                  <a:lnTo>
                    <a:pt x="68" y="759"/>
                  </a:lnTo>
                  <a:lnTo>
                    <a:pt x="68" y="757"/>
                  </a:lnTo>
                  <a:lnTo>
                    <a:pt x="66" y="757"/>
                  </a:lnTo>
                  <a:lnTo>
                    <a:pt x="64" y="757"/>
                  </a:lnTo>
                  <a:lnTo>
                    <a:pt x="64" y="755"/>
                  </a:lnTo>
                  <a:lnTo>
                    <a:pt x="64" y="753"/>
                  </a:lnTo>
                  <a:lnTo>
                    <a:pt x="64" y="751"/>
                  </a:lnTo>
                  <a:lnTo>
                    <a:pt x="64" y="749"/>
                  </a:lnTo>
                  <a:lnTo>
                    <a:pt x="64" y="747"/>
                  </a:lnTo>
                  <a:lnTo>
                    <a:pt x="66" y="747"/>
                  </a:lnTo>
                  <a:lnTo>
                    <a:pt x="68" y="747"/>
                  </a:lnTo>
                  <a:lnTo>
                    <a:pt x="68" y="749"/>
                  </a:lnTo>
                  <a:lnTo>
                    <a:pt x="68" y="747"/>
                  </a:lnTo>
                  <a:lnTo>
                    <a:pt x="68" y="749"/>
                  </a:lnTo>
                  <a:lnTo>
                    <a:pt x="70" y="749"/>
                  </a:lnTo>
                  <a:lnTo>
                    <a:pt x="68" y="749"/>
                  </a:lnTo>
                  <a:lnTo>
                    <a:pt x="68" y="747"/>
                  </a:lnTo>
                  <a:lnTo>
                    <a:pt x="70" y="747"/>
                  </a:lnTo>
                  <a:lnTo>
                    <a:pt x="72" y="747"/>
                  </a:lnTo>
                  <a:lnTo>
                    <a:pt x="72" y="749"/>
                  </a:lnTo>
                  <a:lnTo>
                    <a:pt x="72" y="747"/>
                  </a:lnTo>
                  <a:lnTo>
                    <a:pt x="70" y="747"/>
                  </a:lnTo>
                  <a:lnTo>
                    <a:pt x="68" y="747"/>
                  </a:lnTo>
                  <a:lnTo>
                    <a:pt x="68" y="745"/>
                  </a:lnTo>
                  <a:lnTo>
                    <a:pt x="68" y="747"/>
                  </a:lnTo>
                  <a:lnTo>
                    <a:pt x="68" y="745"/>
                  </a:lnTo>
                  <a:lnTo>
                    <a:pt x="68" y="747"/>
                  </a:lnTo>
                  <a:lnTo>
                    <a:pt x="66" y="747"/>
                  </a:lnTo>
                  <a:lnTo>
                    <a:pt x="66" y="745"/>
                  </a:lnTo>
                  <a:lnTo>
                    <a:pt x="64" y="745"/>
                  </a:lnTo>
                  <a:lnTo>
                    <a:pt x="64" y="747"/>
                  </a:lnTo>
                  <a:lnTo>
                    <a:pt x="64" y="745"/>
                  </a:lnTo>
                  <a:lnTo>
                    <a:pt x="64" y="747"/>
                  </a:lnTo>
                  <a:lnTo>
                    <a:pt x="64" y="745"/>
                  </a:lnTo>
                  <a:lnTo>
                    <a:pt x="64" y="747"/>
                  </a:lnTo>
                  <a:lnTo>
                    <a:pt x="64" y="745"/>
                  </a:lnTo>
                  <a:lnTo>
                    <a:pt x="64" y="747"/>
                  </a:lnTo>
                  <a:lnTo>
                    <a:pt x="62" y="747"/>
                  </a:lnTo>
                  <a:lnTo>
                    <a:pt x="62" y="745"/>
                  </a:lnTo>
                  <a:lnTo>
                    <a:pt x="64" y="745"/>
                  </a:lnTo>
                  <a:lnTo>
                    <a:pt x="62" y="745"/>
                  </a:lnTo>
                  <a:lnTo>
                    <a:pt x="64" y="745"/>
                  </a:lnTo>
                  <a:lnTo>
                    <a:pt x="62" y="745"/>
                  </a:lnTo>
                  <a:lnTo>
                    <a:pt x="64" y="745"/>
                  </a:lnTo>
                  <a:lnTo>
                    <a:pt x="62" y="745"/>
                  </a:lnTo>
                  <a:lnTo>
                    <a:pt x="64" y="745"/>
                  </a:lnTo>
                  <a:lnTo>
                    <a:pt x="62" y="745"/>
                  </a:lnTo>
                  <a:lnTo>
                    <a:pt x="64" y="745"/>
                  </a:lnTo>
                  <a:lnTo>
                    <a:pt x="62" y="745"/>
                  </a:lnTo>
                  <a:lnTo>
                    <a:pt x="62" y="743"/>
                  </a:lnTo>
                  <a:lnTo>
                    <a:pt x="64" y="743"/>
                  </a:lnTo>
                  <a:lnTo>
                    <a:pt x="66" y="743"/>
                  </a:lnTo>
                  <a:lnTo>
                    <a:pt x="64" y="743"/>
                  </a:lnTo>
                  <a:lnTo>
                    <a:pt x="66" y="743"/>
                  </a:lnTo>
                  <a:lnTo>
                    <a:pt x="64" y="743"/>
                  </a:lnTo>
                  <a:lnTo>
                    <a:pt x="66" y="743"/>
                  </a:lnTo>
                  <a:lnTo>
                    <a:pt x="64" y="743"/>
                  </a:lnTo>
                  <a:lnTo>
                    <a:pt x="66" y="743"/>
                  </a:lnTo>
                  <a:lnTo>
                    <a:pt x="68" y="743"/>
                  </a:lnTo>
                  <a:lnTo>
                    <a:pt x="68" y="745"/>
                  </a:lnTo>
                  <a:lnTo>
                    <a:pt x="68" y="743"/>
                  </a:lnTo>
                  <a:lnTo>
                    <a:pt x="68" y="745"/>
                  </a:lnTo>
                  <a:lnTo>
                    <a:pt x="70" y="745"/>
                  </a:lnTo>
                  <a:lnTo>
                    <a:pt x="70" y="743"/>
                  </a:lnTo>
                  <a:lnTo>
                    <a:pt x="70" y="745"/>
                  </a:lnTo>
                  <a:lnTo>
                    <a:pt x="72" y="745"/>
                  </a:lnTo>
                  <a:lnTo>
                    <a:pt x="70" y="743"/>
                  </a:lnTo>
                  <a:lnTo>
                    <a:pt x="72" y="743"/>
                  </a:lnTo>
                  <a:lnTo>
                    <a:pt x="70" y="743"/>
                  </a:lnTo>
                  <a:lnTo>
                    <a:pt x="72" y="743"/>
                  </a:lnTo>
                  <a:lnTo>
                    <a:pt x="70" y="743"/>
                  </a:lnTo>
                  <a:lnTo>
                    <a:pt x="72" y="743"/>
                  </a:lnTo>
                  <a:lnTo>
                    <a:pt x="70" y="743"/>
                  </a:lnTo>
                  <a:lnTo>
                    <a:pt x="72" y="743"/>
                  </a:lnTo>
                  <a:lnTo>
                    <a:pt x="73" y="743"/>
                  </a:lnTo>
                  <a:lnTo>
                    <a:pt x="75" y="743"/>
                  </a:lnTo>
                  <a:lnTo>
                    <a:pt x="75" y="741"/>
                  </a:lnTo>
                  <a:lnTo>
                    <a:pt x="73" y="741"/>
                  </a:lnTo>
                  <a:lnTo>
                    <a:pt x="73" y="743"/>
                  </a:lnTo>
                  <a:lnTo>
                    <a:pt x="72" y="743"/>
                  </a:lnTo>
                  <a:lnTo>
                    <a:pt x="72" y="741"/>
                  </a:lnTo>
                  <a:lnTo>
                    <a:pt x="72" y="743"/>
                  </a:lnTo>
                  <a:lnTo>
                    <a:pt x="72" y="741"/>
                  </a:lnTo>
                  <a:lnTo>
                    <a:pt x="70" y="741"/>
                  </a:lnTo>
                  <a:lnTo>
                    <a:pt x="72" y="741"/>
                  </a:lnTo>
                  <a:lnTo>
                    <a:pt x="70" y="741"/>
                  </a:lnTo>
                  <a:lnTo>
                    <a:pt x="70" y="740"/>
                  </a:lnTo>
                  <a:lnTo>
                    <a:pt x="70" y="741"/>
                  </a:lnTo>
                  <a:lnTo>
                    <a:pt x="70" y="740"/>
                  </a:lnTo>
                  <a:lnTo>
                    <a:pt x="70" y="738"/>
                  </a:lnTo>
                  <a:lnTo>
                    <a:pt x="68" y="738"/>
                  </a:lnTo>
                  <a:lnTo>
                    <a:pt x="70" y="738"/>
                  </a:lnTo>
                  <a:lnTo>
                    <a:pt x="68" y="738"/>
                  </a:lnTo>
                  <a:lnTo>
                    <a:pt x="68" y="736"/>
                  </a:lnTo>
                  <a:lnTo>
                    <a:pt x="70" y="736"/>
                  </a:lnTo>
                  <a:lnTo>
                    <a:pt x="68" y="736"/>
                  </a:lnTo>
                  <a:lnTo>
                    <a:pt x="70" y="736"/>
                  </a:lnTo>
                  <a:lnTo>
                    <a:pt x="70" y="734"/>
                  </a:lnTo>
                  <a:lnTo>
                    <a:pt x="68" y="736"/>
                  </a:lnTo>
                  <a:lnTo>
                    <a:pt x="68" y="738"/>
                  </a:lnTo>
                  <a:lnTo>
                    <a:pt x="68" y="740"/>
                  </a:lnTo>
                  <a:lnTo>
                    <a:pt x="68" y="738"/>
                  </a:lnTo>
                  <a:lnTo>
                    <a:pt x="68" y="740"/>
                  </a:lnTo>
                  <a:lnTo>
                    <a:pt x="66" y="740"/>
                  </a:lnTo>
                  <a:lnTo>
                    <a:pt x="68" y="740"/>
                  </a:lnTo>
                  <a:lnTo>
                    <a:pt x="66" y="740"/>
                  </a:lnTo>
                  <a:lnTo>
                    <a:pt x="66" y="741"/>
                  </a:lnTo>
                  <a:lnTo>
                    <a:pt x="68" y="741"/>
                  </a:lnTo>
                  <a:lnTo>
                    <a:pt x="66" y="741"/>
                  </a:lnTo>
                  <a:lnTo>
                    <a:pt x="68" y="741"/>
                  </a:lnTo>
                  <a:lnTo>
                    <a:pt x="66" y="741"/>
                  </a:lnTo>
                  <a:lnTo>
                    <a:pt x="66" y="743"/>
                  </a:lnTo>
                  <a:lnTo>
                    <a:pt x="66" y="741"/>
                  </a:lnTo>
                  <a:lnTo>
                    <a:pt x="66" y="743"/>
                  </a:lnTo>
                  <a:lnTo>
                    <a:pt x="66" y="741"/>
                  </a:lnTo>
                  <a:lnTo>
                    <a:pt x="64" y="741"/>
                  </a:lnTo>
                  <a:lnTo>
                    <a:pt x="64" y="743"/>
                  </a:lnTo>
                  <a:lnTo>
                    <a:pt x="62" y="743"/>
                  </a:lnTo>
                  <a:lnTo>
                    <a:pt x="62" y="741"/>
                  </a:lnTo>
                  <a:lnTo>
                    <a:pt x="62" y="743"/>
                  </a:lnTo>
                  <a:lnTo>
                    <a:pt x="62" y="741"/>
                  </a:lnTo>
                  <a:lnTo>
                    <a:pt x="62" y="743"/>
                  </a:lnTo>
                  <a:lnTo>
                    <a:pt x="62" y="741"/>
                  </a:lnTo>
                  <a:lnTo>
                    <a:pt x="60" y="741"/>
                  </a:lnTo>
                  <a:lnTo>
                    <a:pt x="62" y="741"/>
                  </a:lnTo>
                  <a:lnTo>
                    <a:pt x="60" y="741"/>
                  </a:lnTo>
                  <a:lnTo>
                    <a:pt x="62" y="741"/>
                  </a:lnTo>
                  <a:lnTo>
                    <a:pt x="60" y="741"/>
                  </a:lnTo>
                  <a:lnTo>
                    <a:pt x="60" y="740"/>
                  </a:lnTo>
                  <a:lnTo>
                    <a:pt x="60" y="741"/>
                  </a:lnTo>
                  <a:lnTo>
                    <a:pt x="60" y="740"/>
                  </a:lnTo>
                  <a:lnTo>
                    <a:pt x="60" y="738"/>
                  </a:lnTo>
                  <a:lnTo>
                    <a:pt x="60" y="736"/>
                  </a:lnTo>
                  <a:lnTo>
                    <a:pt x="62" y="734"/>
                  </a:lnTo>
                  <a:lnTo>
                    <a:pt x="62" y="736"/>
                  </a:lnTo>
                  <a:lnTo>
                    <a:pt x="62" y="734"/>
                  </a:lnTo>
                  <a:lnTo>
                    <a:pt x="62" y="736"/>
                  </a:lnTo>
                  <a:lnTo>
                    <a:pt x="64" y="736"/>
                  </a:lnTo>
                  <a:lnTo>
                    <a:pt x="64" y="734"/>
                  </a:lnTo>
                  <a:lnTo>
                    <a:pt x="62" y="734"/>
                  </a:lnTo>
                  <a:lnTo>
                    <a:pt x="60" y="734"/>
                  </a:lnTo>
                  <a:lnTo>
                    <a:pt x="60" y="732"/>
                  </a:lnTo>
                  <a:lnTo>
                    <a:pt x="60" y="734"/>
                  </a:lnTo>
                  <a:lnTo>
                    <a:pt x="62" y="734"/>
                  </a:lnTo>
                  <a:lnTo>
                    <a:pt x="62" y="732"/>
                  </a:lnTo>
                  <a:lnTo>
                    <a:pt x="62" y="734"/>
                  </a:lnTo>
                  <a:lnTo>
                    <a:pt x="62" y="732"/>
                  </a:lnTo>
                  <a:lnTo>
                    <a:pt x="64" y="732"/>
                  </a:lnTo>
                  <a:lnTo>
                    <a:pt x="62" y="732"/>
                  </a:lnTo>
                  <a:lnTo>
                    <a:pt x="60" y="732"/>
                  </a:lnTo>
                  <a:lnTo>
                    <a:pt x="62" y="732"/>
                  </a:lnTo>
                  <a:lnTo>
                    <a:pt x="60" y="732"/>
                  </a:lnTo>
                  <a:lnTo>
                    <a:pt x="58" y="732"/>
                  </a:lnTo>
                  <a:lnTo>
                    <a:pt x="60" y="732"/>
                  </a:lnTo>
                  <a:lnTo>
                    <a:pt x="60" y="734"/>
                  </a:lnTo>
                  <a:lnTo>
                    <a:pt x="58" y="734"/>
                  </a:lnTo>
                  <a:lnTo>
                    <a:pt x="58" y="732"/>
                  </a:lnTo>
                  <a:lnTo>
                    <a:pt x="56" y="732"/>
                  </a:lnTo>
                  <a:lnTo>
                    <a:pt x="56" y="730"/>
                  </a:lnTo>
                  <a:lnTo>
                    <a:pt x="56" y="728"/>
                  </a:lnTo>
                  <a:lnTo>
                    <a:pt x="56" y="730"/>
                  </a:lnTo>
                  <a:lnTo>
                    <a:pt x="56" y="728"/>
                  </a:lnTo>
                  <a:lnTo>
                    <a:pt x="56" y="730"/>
                  </a:lnTo>
                  <a:lnTo>
                    <a:pt x="58" y="730"/>
                  </a:lnTo>
                  <a:lnTo>
                    <a:pt x="58" y="728"/>
                  </a:lnTo>
                  <a:lnTo>
                    <a:pt x="56" y="728"/>
                  </a:lnTo>
                  <a:lnTo>
                    <a:pt x="56" y="726"/>
                  </a:lnTo>
                  <a:lnTo>
                    <a:pt x="58" y="726"/>
                  </a:lnTo>
                  <a:lnTo>
                    <a:pt x="56" y="726"/>
                  </a:lnTo>
                  <a:lnTo>
                    <a:pt x="56" y="728"/>
                  </a:lnTo>
                  <a:lnTo>
                    <a:pt x="56" y="730"/>
                  </a:lnTo>
                  <a:lnTo>
                    <a:pt x="56" y="728"/>
                  </a:lnTo>
                  <a:lnTo>
                    <a:pt x="56" y="730"/>
                  </a:lnTo>
                  <a:lnTo>
                    <a:pt x="54" y="728"/>
                  </a:lnTo>
                  <a:lnTo>
                    <a:pt x="56" y="728"/>
                  </a:lnTo>
                  <a:lnTo>
                    <a:pt x="54" y="728"/>
                  </a:lnTo>
                  <a:lnTo>
                    <a:pt x="56" y="728"/>
                  </a:lnTo>
                  <a:lnTo>
                    <a:pt x="54" y="728"/>
                  </a:lnTo>
                  <a:lnTo>
                    <a:pt x="54" y="730"/>
                  </a:lnTo>
                  <a:lnTo>
                    <a:pt x="54" y="728"/>
                  </a:lnTo>
                  <a:lnTo>
                    <a:pt x="52" y="728"/>
                  </a:lnTo>
                  <a:lnTo>
                    <a:pt x="54" y="728"/>
                  </a:lnTo>
                  <a:lnTo>
                    <a:pt x="52" y="728"/>
                  </a:lnTo>
                  <a:lnTo>
                    <a:pt x="52" y="730"/>
                  </a:lnTo>
                  <a:lnTo>
                    <a:pt x="52" y="728"/>
                  </a:lnTo>
                  <a:lnTo>
                    <a:pt x="52" y="730"/>
                  </a:lnTo>
                  <a:lnTo>
                    <a:pt x="52" y="728"/>
                  </a:lnTo>
                  <a:lnTo>
                    <a:pt x="52" y="730"/>
                  </a:lnTo>
                  <a:lnTo>
                    <a:pt x="50" y="730"/>
                  </a:lnTo>
                  <a:lnTo>
                    <a:pt x="48" y="730"/>
                  </a:lnTo>
                  <a:lnTo>
                    <a:pt x="48" y="728"/>
                  </a:lnTo>
                  <a:lnTo>
                    <a:pt x="47" y="728"/>
                  </a:lnTo>
                  <a:lnTo>
                    <a:pt x="47" y="726"/>
                  </a:lnTo>
                  <a:lnTo>
                    <a:pt x="47" y="724"/>
                  </a:lnTo>
                  <a:lnTo>
                    <a:pt x="48" y="724"/>
                  </a:lnTo>
                  <a:lnTo>
                    <a:pt x="50" y="724"/>
                  </a:lnTo>
                  <a:lnTo>
                    <a:pt x="48" y="724"/>
                  </a:lnTo>
                  <a:lnTo>
                    <a:pt x="50" y="724"/>
                  </a:lnTo>
                  <a:lnTo>
                    <a:pt x="52" y="724"/>
                  </a:lnTo>
                  <a:lnTo>
                    <a:pt x="52" y="722"/>
                  </a:lnTo>
                  <a:lnTo>
                    <a:pt x="52" y="724"/>
                  </a:lnTo>
                  <a:lnTo>
                    <a:pt x="52" y="722"/>
                  </a:lnTo>
                  <a:lnTo>
                    <a:pt x="52" y="724"/>
                  </a:lnTo>
                  <a:lnTo>
                    <a:pt x="52" y="722"/>
                  </a:lnTo>
                  <a:lnTo>
                    <a:pt x="52" y="724"/>
                  </a:lnTo>
                  <a:lnTo>
                    <a:pt x="52" y="722"/>
                  </a:lnTo>
                  <a:lnTo>
                    <a:pt x="52" y="724"/>
                  </a:lnTo>
                  <a:lnTo>
                    <a:pt x="52" y="722"/>
                  </a:lnTo>
                  <a:lnTo>
                    <a:pt x="54" y="722"/>
                  </a:lnTo>
                  <a:lnTo>
                    <a:pt x="56" y="722"/>
                  </a:lnTo>
                  <a:lnTo>
                    <a:pt x="58" y="722"/>
                  </a:lnTo>
                  <a:lnTo>
                    <a:pt x="56" y="722"/>
                  </a:lnTo>
                  <a:lnTo>
                    <a:pt x="54" y="722"/>
                  </a:lnTo>
                  <a:lnTo>
                    <a:pt x="54" y="720"/>
                  </a:lnTo>
                  <a:lnTo>
                    <a:pt x="54" y="718"/>
                  </a:lnTo>
                  <a:lnTo>
                    <a:pt x="54" y="717"/>
                  </a:lnTo>
                  <a:lnTo>
                    <a:pt x="52" y="717"/>
                  </a:lnTo>
                  <a:lnTo>
                    <a:pt x="54" y="717"/>
                  </a:lnTo>
                  <a:lnTo>
                    <a:pt x="54" y="718"/>
                  </a:lnTo>
                  <a:lnTo>
                    <a:pt x="54" y="717"/>
                  </a:lnTo>
                  <a:lnTo>
                    <a:pt x="54" y="718"/>
                  </a:lnTo>
                  <a:lnTo>
                    <a:pt x="56" y="718"/>
                  </a:lnTo>
                  <a:lnTo>
                    <a:pt x="56" y="717"/>
                  </a:lnTo>
                  <a:lnTo>
                    <a:pt x="56" y="718"/>
                  </a:lnTo>
                  <a:lnTo>
                    <a:pt x="58" y="718"/>
                  </a:lnTo>
                  <a:lnTo>
                    <a:pt x="58" y="720"/>
                  </a:lnTo>
                  <a:lnTo>
                    <a:pt x="58" y="718"/>
                  </a:lnTo>
                  <a:lnTo>
                    <a:pt x="58" y="717"/>
                  </a:lnTo>
                  <a:lnTo>
                    <a:pt x="56" y="717"/>
                  </a:lnTo>
                  <a:lnTo>
                    <a:pt x="54" y="717"/>
                  </a:lnTo>
                  <a:lnTo>
                    <a:pt x="54" y="715"/>
                  </a:lnTo>
                  <a:lnTo>
                    <a:pt x="52" y="715"/>
                  </a:lnTo>
                  <a:lnTo>
                    <a:pt x="52" y="713"/>
                  </a:lnTo>
                  <a:lnTo>
                    <a:pt x="50" y="713"/>
                  </a:lnTo>
                  <a:lnTo>
                    <a:pt x="50" y="711"/>
                  </a:lnTo>
                  <a:lnTo>
                    <a:pt x="52" y="711"/>
                  </a:lnTo>
                  <a:lnTo>
                    <a:pt x="52" y="709"/>
                  </a:lnTo>
                  <a:lnTo>
                    <a:pt x="52" y="711"/>
                  </a:lnTo>
                  <a:lnTo>
                    <a:pt x="54" y="711"/>
                  </a:lnTo>
                  <a:lnTo>
                    <a:pt x="54" y="709"/>
                  </a:lnTo>
                  <a:lnTo>
                    <a:pt x="56" y="709"/>
                  </a:lnTo>
                  <a:lnTo>
                    <a:pt x="56" y="707"/>
                  </a:lnTo>
                  <a:lnTo>
                    <a:pt x="58" y="707"/>
                  </a:lnTo>
                  <a:lnTo>
                    <a:pt x="58" y="709"/>
                  </a:lnTo>
                  <a:lnTo>
                    <a:pt x="58" y="707"/>
                  </a:lnTo>
                  <a:lnTo>
                    <a:pt x="58" y="709"/>
                  </a:lnTo>
                  <a:lnTo>
                    <a:pt x="58" y="707"/>
                  </a:lnTo>
                  <a:lnTo>
                    <a:pt x="58" y="709"/>
                  </a:lnTo>
                  <a:lnTo>
                    <a:pt x="60" y="709"/>
                  </a:lnTo>
                  <a:lnTo>
                    <a:pt x="62" y="709"/>
                  </a:lnTo>
                  <a:lnTo>
                    <a:pt x="64" y="709"/>
                  </a:lnTo>
                  <a:lnTo>
                    <a:pt x="64" y="711"/>
                  </a:lnTo>
                  <a:lnTo>
                    <a:pt x="66" y="711"/>
                  </a:lnTo>
                  <a:lnTo>
                    <a:pt x="68" y="711"/>
                  </a:lnTo>
                  <a:lnTo>
                    <a:pt x="68" y="713"/>
                  </a:lnTo>
                  <a:lnTo>
                    <a:pt x="68" y="711"/>
                  </a:lnTo>
                  <a:lnTo>
                    <a:pt x="68" y="713"/>
                  </a:lnTo>
                  <a:lnTo>
                    <a:pt x="70" y="713"/>
                  </a:lnTo>
                  <a:lnTo>
                    <a:pt x="70" y="715"/>
                  </a:lnTo>
                  <a:lnTo>
                    <a:pt x="70" y="717"/>
                  </a:lnTo>
                  <a:lnTo>
                    <a:pt x="70" y="718"/>
                  </a:lnTo>
                  <a:lnTo>
                    <a:pt x="70" y="720"/>
                  </a:lnTo>
                  <a:lnTo>
                    <a:pt x="70" y="722"/>
                  </a:lnTo>
                  <a:lnTo>
                    <a:pt x="70" y="720"/>
                  </a:lnTo>
                  <a:lnTo>
                    <a:pt x="70" y="722"/>
                  </a:lnTo>
                  <a:lnTo>
                    <a:pt x="70" y="724"/>
                  </a:lnTo>
                  <a:lnTo>
                    <a:pt x="70" y="722"/>
                  </a:lnTo>
                  <a:lnTo>
                    <a:pt x="72" y="722"/>
                  </a:lnTo>
                  <a:lnTo>
                    <a:pt x="72" y="720"/>
                  </a:lnTo>
                  <a:lnTo>
                    <a:pt x="70" y="720"/>
                  </a:lnTo>
                  <a:lnTo>
                    <a:pt x="70" y="718"/>
                  </a:lnTo>
                  <a:lnTo>
                    <a:pt x="72" y="718"/>
                  </a:lnTo>
                  <a:lnTo>
                    <a:pt x="72" y="717"/>
                  </a:lnTo>
                  <a:lnTo>
                    <a:pt x="72" y="715"/>
                  </a:lnTo>
                  <a:lnTo>
                    <a:pt x="72" y="717"/>
                  </a:lnTo>
                  <a:lnTo>
                    <a:pt x="72" y="715"/>
                  </a:lnTo>
                  <a:lnTo>
                    <a:pt x="70" y="715"/>
                  </a:lnTo>
                  <a:lnTo>
                    <a:pt x="70" y="713"/>
                  </a:lnTo>
                  <a:lnTo>
                    <a:pt x="70" y="711"/>
                  </a:lnTo>
                  <a:lnTo>
                    <a:pt x="72" y="711"/>
                  </a:lnTo>
                  <a:lnTo>
                    <a:pt x="70" y="711"/>
                  </a:lnTo>
                  <a:lnTo>
                    <a:pt x="70" y="713"/>
                  </a:lnTo>
                  <a:lnTo>
                    <a:pt x="70" y="711"/>
                  </a:lnTo>
                  <a:lnTo>
                    <a:pt x="70" y="709"/>
                  </a:lnTo>
                  <a:lnTo>
                    <a:pt x="68" y="709"/>
                  </a:lnTo>
                  <a:lnTo>
                    <a:pt x="66" y="709"/>
                  </a:lnTo>
                  <a:lnTo>
                    <a:pt x="64" y="709"/>
                  </a:lnTo>
                  <a:lnTo>
                    <a:pt x="62" y="709"/>
                  </a:lnTo>
                  <a:lnTo>
                    <a:pt x="62" y="707"/>
                  </a:lnTo>
                  <a:lnTo>
                    <a:pt x="62" y="709"/>
                  </a:lnTo>
                  <a:lnTo>
                    <a:pt x="62" y="707"/>
                  </a:lnTo>
                  <a:lnTo>
                    <a:pt x="60" y="707"/>
                  </a:lnTo>
                  <a:lnTo>
                    <a:pt x="62" y="707"/>
                  </a:lnTo>
                  <a:lnTo>
                    <a:pt x="60" y="707"/>
                  </a:lnTo>
                  <a:lnTo>
                    <a:pt x="62" y="707"/>
                  </a:lnTo>
                  <a:lnTo>
                    <a:pt x="62" y="705"/>
                  </a:lnTo>
                  <a:lnTo>
                    <a:pt x="62" y="707"/>
                  </a:lnTo>
                  <a:lnTo>
                    <a:pt x="62" y="705"/>
                  </a:lnTo>
                  <a:lnTo>
                    <a:pt x="60" y="705"/>
                  </a:lnTo>
                  <a:lnTo>
                    <a:pt x="60" y="707"/>
                  </a:lnTo>
                  <a:lnTo>
                    <a:pt x="60" y="705"/>
                  </a:lnTo>
                  <a:lnTo>
                    <a:pt x="60" y="707"/>
                  </a:lnTo>
                  <a:lnTo>
                    <a:pt x="58" y="707"/>
                  </a:lnTo>
                  <a:lnTo>
                    <a:pt x="58" y="705"/>
                  </a:lnTo>
                  <a:lnTo>
                    <a:pt x="56" y="705"/>
                  </a:lnTo>
                  <a:lnTo>
                    <a:pt x="54" y="705"/>
                  </a:lnTo>
                  <a:lnTo>
                    <a:pt x="54" y="703"/>
                  </a:lnTo>
                  <a:lnTo>
                    <a:pt x="56" y="703"/>
                  </a:lnTo>
                  <a:lnTo>
                    <a:pt x="56" y="701"/>
                  </a:lnTo>
                  <a:lnTo>
                    <a:pt x="56" y="703"/>
                  </a:lnTo>
                  <a:lnTo>
                    <a:pt x="56" y="701"/>
                  </a:lnTo>
                  <a:lnTo>
                    <a:pt x="58" y="701"/>
                  </a:lnTo>
                  <a:lnTo>
                    <a:pt x="60" y="701"/>
                  </a:lnTo>
                  <a:lnTo>
                    <a:pt x="60" y="703"/>
                  </a:lnTo>
                  <a:lnTo>
                    <a:pt x="60" y="701"/>
                  </a:lnTo>
                  <a:lnTo>
                    <a:pt x="60" y="703"/>
                  </a:lnTo>
                  <a:lnTo>
                    <a:pt x="60" y="705"/>
                  </a:lnTo>
                  <a:lnTo>
                    <a:pt x="60" y="703"/>
                  </a:lnTo>
                  <a:lnTo>
                    <a:pt x="60" y="701"/>
                  </a:lnTo>
                  <a:lnTo>
                    <a:pt x="58" y="701"/>
                  </a:lnTo>
                  <a:lnTo>
                    <a:pt x="56" y="701"/>
                  </a:lnTo>
                  <a:lnTo>
                    <a:pt x="54" y="701"/>
                  </a:lnTo>
                  <a:lnTo>
                    <a:pt x="54" y="703"/>
                  </a:lnTo>
                  <a:lnTo>
                    <a:pt x="54" y="701"/>
                  </a:lnTo>
                  <a:lnTo>
                    <a:pt x="52" y="701"/>
                  </a:lnTo>
                  <a:lnTo>
                    <a:pt x="54" y="701"/>
                  </a:lnTo>
                  <a:lnTo>
                    <a:pt x="52" y="701"/>
                  </a:lnTo>
                  <a:lnTo>
                    <a:pt x="54" y="701"/>
                  </a:lnTo>
                  <a:lnTo>
                    <a:pt x="52" y="701"/>
                  </a:lnTo>
                  <a:lnTo>
                    <a:pt x="52" y="703"/>
                  </a:lnTo>
                  <a:lnTo>
                    <a:pt x="54" y="703"/>
                  </a:lnTo>
                  <a:lnTo>
                    <a:pt x="54" y="705"/>
                  </a:lnTo>
                  <a:lnTo>
                    <a:pt x="52" y="705"/>
                  </a:lnTo>
                  <a:lnTo>
                    <a:pt x="52" y="703"/>
                  </a:lnTo>
                  <a:lnTo>
                    <a:pt x="52" y="701"/>
                  </a:lnTo>
                  <a:lnTo>
                    <a:pt x="52" y="703"/>
                  </a:lnTo>
                  <a:lnTo>
                    <a:pt x="50" y="703"/>
                  </a:lnTo>
                  <a:lnTo>
                    <a:pt x="50" y="701"/>
                  </a:lnTo>
                  <a:lnTo>
                    <a:pt x="52" y="701"/>
                  </a:lnTo>
                  <a:lnTo>
                    <a:pt x="50" y="701"/>
                  </a:lnTo>
                  <a:lnTo>
                    <a:pt x="52" y="701"/>
                  </a:lnTo>
                  <a:lnTo>
                    <a:pt x="50" y="701"/>
                  </a:lnTo>
                  <a:lnTo>
                    <a:pt x="52" y="701"/>
                  </a:lnTo>
                  <a:lnTo>
                    <a:pt x="50" y="701"/>
                  </a:lnTo>
                  <a:lnTo>
                    <a:pt x="50" y="699"/>
                  </a:lnTo>
                  <a:lnTo>
                    <a:pt x="50" y="701"/>
                  </a:lnTo>
                  <a:lnTo>
                    <a:pt x="50" y="699"/>
                  </a:lnTo>
                  <a:lnTo>
                    <a:pt x="50" y="697"/>
                  </a:lnTo>
                  <a:lnTo>
                    <a:pt x="50" y="695"/>
                  </a:lnTo>
                  <a:lnTo>
                    <a:pt x="50" y="693"/>
                  </a:lnTo>
                  <a:lnTo>
                    <a:pt x="50" y="695"/>
                  </a:lnTo>
                  <a:lnTo>
                    <a:pt x="50" y="693"/>
                  </a:lnTo>
                  <a:lnTo>
                    <a:pt x="50" y="692"/>
                  </a:lnTo>
                  <a:lnTo>
                    <a:pt x="48" y="692"/>
                  </a:lnTo>
                  <a:lnTo>
                    <a:pt x="48" y="690"/>
                  </a:lnTo>
                  <a:lnTo>
                    <a:pt x="50" y="690"/>
                  </a:lnTo>
                  <a:lnTo>
                    <a:pt x="48" y="690"/>
                  </a:lnTo>
                  <a:lnTo>
                    <a:pt x="50" y="690"/>
                  </a:lnTo>
                  <a:lnTo>
                    <a:pt x="50" y="688"/>
                  </a:lnTo>
                  <a:lnTo>
                    <a:pt x="50" y="690"/>
                  </a:lnTo>
                  <a:lnTo>
                    <a:pt x="52" y="690"/>
                  </a:lnTo>
                  <a:lnTo>
                    <a:pt x="52" y="688"/>
                  </a:lnTo>
                  <a:lnTo>
                    <a:pt x="50" y="688"/>
                  </a:lnTo>
                  <a:lnTo>
                    <a:pt x="50" y="686"/>
                  </a:lnTo>
                  <a:lnTo>
                    <a:pt x="48" y="686"/>
                  </a:lnTo>
                  <a:lnTo>
                    <a:pt x="50" y="686"/>
                  </a:lnTo>
                  <a:lnTo>
                    <a:pt x="48" y="686"/>
                  </a:lnTo>
                  <a:lnTo>
                    <a:pt x="50" y="686"/>
                  </a:lnTo>
                  <a:lnTo>
                    <a:pt x="50" y="684"/>
                  </a:lnTo>
                  <a:lnTo>
                    <a:pt x="50" y="682"/>
                  </a:lnTo>
                  <a:lnTo>
                    <a:pt x="52" y="682"/>
                  </a:lnTo>
                  <a:lnTo>
                    <a:pt x="50" y="682"/>
                  </a:lnTo>
                  <a:lnTo>
                    <a:pt x="52" y="682"/>
                  </a:lnTo>
                  <a:lnTo>
                    <a:pt x="54" y="682"/>
                  </a:lnTo>
                  <a:lnTo>
                    <a:pt x="54" y="680"/>
                  </a:lnTo>
                  <a:lnTo>
                    <a:pt x="52" y="682"/>
                  </a:lnTo>
                  <a:lnTo>
                    <a:pt x="50" y="682"/>
                  </a:lnTo>
                  <a:lnTo>
                    <a:pt x="50" y="680"/>
                  </a:lnTo>
                  <a:lnTo>
                    <a:pt x="52" y="680"/>
                  </a:lnTo>
                  <a:lnTo>
                    <a:pt x="50" y="680"/>
                  </a:lnTo>
                  <a:lnTo>
                    <a:pt x="52" y="680"/>
                  </a:lnTo>
                  <a:lnTo>
                    <a:pt x="50" y="680"/>
                  </a:lnTo>
                  <a:lnTo>
                    <a:pt x="50" y="678"/>
                  </a:lnTo>
                  <a:close/>
                  <a:moveTo>
                    <a:pt x="60" y="695"/>
                  </a:moveTo>
                  <a:lnTo>
                    <a:pt x="62" y="695"/>
                  </a:lnTo>
                  <a:lnTo>
                    <a:pt x="62" y="697"/>
                  </a:lnTo>
                  <a:lnTo>
                    <a:pt x="64" y="697"/>
                  </a:lnTo>
                  <a:lnTo>
                    <a:pt x="64" y="699"/>
                  </a:lnTo>
                  <a:lnTo>
                    <a:pt x="64" y="701"/>
                  </a:lnTo>
                  <a:lnTo>
                    <a:pt x="66" y="701"/>
                  </a:lnTo>
                  <a:lnTo>
                    <a:pt x="66" y="703"/>
                  </a:lnTo>
                  <a:lnTo>
                    <a:pt x="68" y="703"/>
                  </a:lnTo>
                  <a:lnTo>
                    <a:pt x="66" y="703"/>
                  </a:lnTo>
                  <a:lnTo>
                    <a:pt x="68" y="703"/>
                  </a:lnTo>
                  <a:lnTo>
                    <a:pt x="68" y="705"/>
                  </a:lnTo>
                  <a:lnTo>
                    <a:pt x="70" y="705"/>
                  </a:lnTo>
                  <a:lnTo>
                    <a:pt x="70" y="707"/>
                  </a:lnTo>
                  <a:lnTo>
                    <a:pt x="72" y="707"/>
                  </a:lnTo>
                  <a:lnTo>
                    <a:pt x="72" y="709"/>
                  </a:lnTo>
                  <a:lnTo>
                    <a:pt x="72" y="707"/>
                  </a:lnTo>
                  <a:lnTo>
                    <a:pt x="72" y="709"/>
                  </a:lnTo>
                  <a:lnTo>
                    <a:pt x="73" y="709"/>
                  </a:lnTo>
                  <a:lnTo>
                    <a:pt x="73" y="707"/>
                  </a:lnTo>
                  <a:lnTo>
                    <a:pt x="72" y="707"/>
                  </a:lnTo>
                  <a:lnTo>
                    <a:pt x="72" y="705"/>
                  </a:lnTo>
                  <a:lnTo>
                    <a:pt x="70" y="705"/>
                  </a:lnTo>
                  <a:lnTo>
                    <a:pt x="70" y="703"/>
                  </a:lnTo>
                  <a:lnTo>
                    <a:pt x="68" y="703"/>
                  </a:lnTo>
                  <a:lnTo>
                    <a:pt x="68" y="701"/>
                  </a:lnTo>
                  <a:lnTo>
                    <a:pt x="66" y="701"/>
                  </a:lnTo>
                  <a:lnTo>
                    <a:pt x="64" y="699"/>
                  </a:lnTo>
                  <a:lnTo>
                    <a:pt x="64" y="697"/>
                  </a:lnTo>
                  <a:lnTo>
                    <a:pt x="62" y="697"/>
                  </a:lnTo>
                  <a:lnTo>
                    <a:pt x="62" y="695"/>
                  </a:lnTo>
                  <a:lnTo>
                    <a:pt x="62" y="697"/>
                  </a:lnTo>
                  <a:lnTo>
                    <a:pt x="62" y="695"/>
                  </a:lnTo>
                  <a:lnTo>
                    <a:pt x="60" y="695"/>
                  </a:lnTo>
                  <a:close/>
                  <a:moveTo>
                    <a:pt x="75" y="709"/>
                  </a:moveTo>
                  <a:lnTo>
                    <a:pt x="73" y="709"/>
                  </a:lnTo>
                  <a:lnTo>
                    <a:pt x="73" y="711"/>
                  </a:lnTo>
                  <a:lnTo>
                    <a:pt x="73" y="709"/>
                  </a:lnTo>
                  <a:lnTo>
                    <a:pt x="75" y="709"/>
                  </a:lnTo>
                  <a:lnTo>
                    <a:pt x="75" y="711"/>
                  </a:lnTo>
                  <a:lnTo>
                    <a:pt x="77" y="711"/>
                  </a:lnTo>
                  <a:lnTo>
                    <a:pt x="79" y="711"/>
                  </a:lnTo>
                  <a:lnTo>
                    <a:pt x="77" y="711"/>
                  </a:lnTo>
                  <a:lnTo>
                    <a:pt x="77" y="709"/>
                  </a:lnTo>
                  <a:lnTo>
                    <a:pt x="75" y="709"/>
                  </a:lnTo>
                  <a:close/>
                  <a:moveTo>
                    <a:pt x="27" y="404"/>
                  </a:moveTo>
                  <a:lnTo>
                    <a:pt x="27" y="406"/>
                  </a:lnTo>
                  <a:lnTo>
                    <a:pt x="29" y="406"/>
                  </a:lnTo>
                  <a:lnTo>
                    <a:pt x="29" y="407"/>
                  </a:lnTo>
                  <a:lnTo>
                    <a:pt x="31" y="407"/>
                  </a:lnTo>
                  <a:lnTo>
                    <a:pt x="31" y="409"/>
                  </a:lnTo>
                  <a:lnTo>
                    <a:pt x="31" y="411"/>
                  </a:lnTo>
                  <a:lnTo>
                    <a:pt x="33" y="411"/>
                  </a:lnTo>
                  <a:lnTo>
                    <a:pt x="31" y="411"/>
                  </a:lnTo>
                  <a:lnTo>
                    <a:pt x="33" y="411"/>
                  </a:lnTo>
                  <a:lnTo>
                    <a:pt x="33" y="413"/>
                  </a:lnTo>
                  <a:lnTo>
                    <a:pt x="35" y="413"/>
                  </a:lnTo>
                  <a:lnTo>
                    <a:pt x="37" y="413"/>
                  </a:lnTo>
                  <a:lnTo>
                    <a:pt x="37" y="415"/>
                  </a:lnTo>
                  <a:lnTo>
                    <a:pt x="39" y="415"/>
                  </a:lnTo>
                  <a:lnTo>
                    <a:pt x="39" y="417"/>
                  </a:lnTo>
                  <a:lnTo>
                    <a:pt x="41" y="417"/>
                  </a:lnTo>
                  <a:lnTo>
                    <a:pt x="41" y="419"/>
                  </a:lnTo>
                  <a:lnTo>
                    <a:pt x="39" y="419"/>
                  </a:lnTo>
                  <a:lnTo>
                    <a:pt x="39" y="421"/>
                  </a:lnTo>
                  <a:lnTo>
                    <a:pt x="37" y="421"/>
                  </a:lnTo>
                  <a:lnTo>
                    <a:pt x="37" y="423"/>
                  </a:lnTo>
                  <a:lnTo>
                    <a:pt x="37" y="421"/>
                  </a:lnTo>
                  <a:lnTo>
                    <a:pt x="37" y="423"/>
                  </a:lnTo>
                  <a:lnTo>
                    <a:pt x="35" y="423"/>
                  </a:lnTo>
                  <a:lnTo>
                    <a:pt x="33" y="423"/>
                  </a:lnTo>
                  <a:lnTo>
                    <a:pt x="31" y="423"/>
                  </a:lnTo>
                  <a:lnTo>
                    <a:pt x="31" y="425"/>
                  </a:lnTo>
                  <a:lnTo>
                    <a:pt x="33" y="425"/>
                  </a:lnTo>
                  <a:lnTo>
                    <a:pt x="35" y="425"/>
                  </a:lnTo>
                  <a:lnTo>
                    <a:pt x="33" y="425"/>
                  </a:lnTo>
                  <a:lnTo>
                    <a:pt x="35" y="425"/>
                  </a:lnTo>
                  <a:lnTo>
                    <a:pt x="37" y="425"/>
                  </a:lnTo>
                  <a:lnTo>
                    <a:pt x="37" y="423"/>
                  </a:lnTo>
                  <a:lnTo>
                    <a:pt x="35" y="423"/>
                  </a:lnTo>
                  <a:lnTo>
                    <a:pt x="37" y="423"/>
                  </a:lnTo>
                  <a:lnTo>
                    <a:pt x="39" y="423"/>
                  </a:lnTo>
                  <a:lnTo>
                    <a:pt x="41" y="423"/>
                  </a:lnTo>
                  <a:lnTo>
                    <a:pt x="43" y="423"/>
                  </a:lnTo>
                  <a:lnTo>
                    <a:pt x="45" y="423"/>
                  </a:lnTo>
                  <a:lnTo>
                    <a:pt x="47" y="423"/>
                  </a:lnTo>
                  <a:lnTo>
                    <a:pt x="47" y="425"/>
                  </a:lnTo>
                  <a:lnTo>
                    <a:pt x="47" y="423"/>
                  </a:lnTo>
                  <a:lnTo>
                    <a:pt x="47" y="425"/>
                  </a:lnTo>
                  <a:lnTo>
                    <a:pt x="48" y="425"/>
                  </a:lnTo>
                  <a:lnTo>
                    <a:pt x="47" y="425"/>
                  </a:lnTo>
                  <a:lnTo>
                    <a:pt x="48" y="425"/>
                  </a:lnTo>
                  <a:lnTo>
                    <a:pt x="48" y="427"/>
                  </a:lnTo>
                  <a:lnTo>
                    <a:pt x="48" y="429"/>
                  </a:lnTo>
                  <a:lnTo>
                    <a:pt x="47" y="429"/>
                  </a:lnTo>
                  <a:lnTo>
                    <a:pt x="47" y="430"/>
                  </a:lnTo>
                  <a:lnTo>
                    <a:pt x="48" y="432"/>
                  </a:lnTo>
                  <a:lnTo>
                    <a:pt x="47" y="432"/>
                  </a:lnTo>
                  <a:lnTo>
                    <a:pt x="48" y="432"/>
                  </a:lnTo>
                  <a:lnTo>
                    <a:pt x="47" y="432"/>
                  </a:lnTo>
                  <a:lnTo>
                    <a:pt x="47" y="434"/>
                  </a:lnTo>
                  <a:lnTo>
                    <a:pt x="48" y="434"/>
                  </a:lnTo>
                  <a:lnTo>
                    <a:pt x="47" y="434"/>
                  </a:lnTo>
                  <a:lnTo>
                    <a:pt x="47" y="436"/>
                  </a:lnTo>
                  <a:lnTo>
                    <a:pt x="45" y="436"/>
                  </a:lnTo>
                  <a:lnTo>
                    <a:pt x="45" y="438"/>
                  </a:lnTo>
                  <a:lnTo>
                    <a:pt x="45" y="440"/>
                  </a:lnTo>
                  <a:lnTo>
                    <a:pt x="45" y="442"/>
                  </a:lnTo>
                  <a:lnTo>
                    <a:pt x="43" y="442"/>
                  </a:lnTo>
                  <a:lnTo>
                    <a:pt x="41" y="442"/>
                  </a:lnTo>
                  <a:lnTo>
                    <a:pt x="39" y="442"/>
                  </a:lnTo>
                  <a:lnTo>
                    <a:pt x="37" y="442"/>
                  </a:lnTo>
                  <a:lnTo>
                    <a:pt x="35" y="442"/>
                  </a:lnTo>
                  <a:lnTo>
                    <a:pt x="33" y="442"/>
                  </a:lnTo>
                  <a:lnTo>
                    <a:pt x="33" y="440"/>
                  </a:lnTo>
                  <a:lnTo>
                    <a:pt x="31" y="440"/>
                  </a:lnTo>
                  <a:lnTo>
                    <a:pt x="29" y="440"/>
                  </a:lnTo>
                  <a:lnTo>
                    <a:pt x="29" y="442"/>
                  </a:lnTo>
                  <a:lnTo>
                    <a:pt x="29" y="440"/>
                  </a:lnTo>
                  <a:lnTo>
                    <a:pt x="27" y="440"/>
                  </a:lnTo>
                  <a:lnTo>
                    <a:pt x="25" y="440"/>
                  </a:lnTo>
                  <a:lnTo>
                    <a:pt x="23" y="440"/>
                  </a:lnTo>
                  <a:lnTo>
                    <a:pt x="23" y="438"/>
                  </a:lnTo>
                  <a:lnTo>
                    <a:pt x="22" y="438"/>
                  </a:lnTo>
                  <a:lnTo>
                    <a:pt x="20" y="438"/>
                  </a:lnTo>
                  <a:lnTo>
                    <a:pt x="20" y="440"/>
                  </a:lnTo>
                  <a:lnTo>
                    <a:pt x="20" y="438"/>
                  </a:lnTo>
                  <a:lnTo>
                    <a:pt x="22" y="438"/>
                  </a:lnTo>
                  <a:lnTo>
                    <a:pt x="23" y="438"/>
                  </a:lnTo>
                  <a:lnTo>
                    <a:pt x="23" y="440"/>
                  </a:lnTo>
                  <a:lnTo>
                    <a:pt x="22" y="440"/>
                  </a:lnTo>
                  <a:lnTo>
                    <a:pt x="22" y="442"/>
                  </a:lnTo>
                  <a:lnTo>
                    <a:pt x="23" y="442"/>
                  </a:lnTo>
                  <a:lnTo>
                    <a:pt x="23" y="440"/>
                  </a:lnTo>
                  <a:lnTo>
                    <a:pt x="23" y="442"/>
                  </a:lnTo>
                  <a:lnTo>
                    <a:pt x="23" y="440"/>
                  </a:lnTo>
                  <a:lnTo>
                    <a:pt x="23" y="442"/>
                  </a:lnTo>
                  <a:lnTo>
                    <a:pt x="23" y="440"/>
                  </a:lnTo>
                  <a:lnTo>
                    <a:pt x="23" y="442"/>
                  </a:lnTo>
                  <a:lnTo>
                    <a:pt x="25" y="442"/>
                  </a:lnTo>
                  <a:lnTo>
                    <a:pt x="23" y="442"/>
                  </a:lnTo>
                  <a:lnTo>
                    <a:pt x="25" y="442"/>
                  </a:lnTo>
                  <a:lnTo>
                    <a:pt x="23" y="442"/>
                  </a:lnTo>
                  <a:lnTo>
                    <a:pt x="25" y="442"/>
                  </a:lnTo>
                  <a:lnTo>
                    <a:pt x="25" y="444"/>
                  </a:lnTo>
                  <a:lnTo>
                    <a:pt x="23" y="444"/>
                  </a:lnTo>
                  <a:lnTo>
                    <a:pt x="25" y="444"/>
                  </a:lnTo>
                  <a:lnTo>
                    <a:pt x="23" y="444"/>
                  </a:lnTo>
                  <a:lnTo>
                    <a:pt x="25" y="444"/>
                  </a:lnTo>
                  <a:lnTo>
                    <a:pt x="27" y="444"/>
                  </a:lnTo>
                  <a:lnTo>
                    <a:pt x="29" y="444"/>
                  </a:lnTo>
                  <a:lnTo>
                    <a:pt x="29" y="446"/>
                  </a:lnTo>
                  <a:lnTo>
                    <a:pt x="27" y="446"/>
                  </a:lnTo>
                  <a:lnTo>
                    <a:pt x="25" y="446"/>
                  </a:lnTo>
                  <a:lnTo>
                    <a:pt x="23" y="446"/>
                  </a:lnTo>
                  <a:lnTo>
                    <a:pt x="23" y="448"/>
                  </a:lnTo>
                  <a:lnTo>
                    <a:pt x="22" y="448"/>
                  </a:lnTo>
                  <a:lnTo>
                    <a:pt x="23" y="448"/>
                  </a:lnTo>
                  <a:lnTo>
                    <a:pt x="25" y="448"/>
                  </a:lnTo>
                  <a:lnTo>
                    <a:pt x="25" y="446"/>
                  </a:lnTo>
                  <a:lnTo>
                    <a:pt x="25" y="448"/>
                  </a:lnTo>
                  <a:lnTo>
                    <a:pt x="27" y="448"/>
                  </a:lnTo>
                  <a:lnTo>
                    <a:pt x="25" y="448"/>
                  </a:lnTo>
                  <a:lnTo>
                    <a:pt x="27" y="448"/>
                  </a:lnTo>
                  <a:lnTo>
                    <a:pt x="29" y="448"/>
                  </a:lnTo>
                  <a:lnTo>
                    <a:pt x="29" y="450"/>
                  </a:lnTo>
                  <a:lnTo>
                    <a:pt x="29" y="448"/>
                  </a:lnTo>
                  <a:lnTo>
                    <a:pt x="29" y="450"/>
                  </a:lnTo>
                  <a:lnTo>
                    <a:pt x="31" y="450"/>
                  </a:lnTo>
                  <a:lnTo>
                    <a:pt x="31" y="448"/>
                  </a:lnTo>
                  <a:lnTo>
                    <a:pt x="29" y="448"/>
                  </a:lnTo>
                  <a:lnTo>
                    <a:pt x="29" y="446"/>
                  </a:lnTo>
                  <a:lnTo>
                    <a:pt x="31" y="446"/>
                  </a:lnTo>
                  <a:lnTo>
                    <a:pt x="31" y="448"/>
                  </a:lnTo>
                  <a:lnTo>
                    <a:pt x="33" y="448"/>
                  </a:lnTo>
                  <a:lnTo>
                    <a:pt x="33" y="450"/>
                  </a:lnTo>
                  <a:lnTo>
                    <a:pt x="35" y="450"/>
                  </a:lnTo>
                  <a:lnTo>
                    <a:pt x="35" y="448"/>
                  </a:lnTo>
                  <a:lnTo>
                    <a:pt x="37" y="448"/>
                  </a:lnTo>
                  <a:lnTo>
                    <a:pt x="37" y="450"/>
                  </a:lnTo>
                  <a:lnTo>
                    <a:pt x="37" y="448"/>
                  </a:lnTo>
                  <a:lnTo>
                    <a:pt x="37" y="450"/>
                  </a:lnTo>
                  <a:lnTo>
                    <a:pt x="37" y="448"/>
                  </a:lnTo>
                  <a:lnTo>
                    <a:pt x="37" y="450"/>
                  </a:lnTo>
                  <a:lnTo>
                    <a:pt x="37" y="448"/>
                  </a:lnTo>
                  <a:lnTo>
                    <a:pt x="39" y="448"/>
                  </a:lnTo>
                  <a:lnTo>
                    <a:pt x="39" y="446"/>
                  </a:lnTo>
                  <a:lnTo>
                    <a:pt x="37" y="446"/>
                  </a:lnTo>
                  <a:lnTo>
                    <a:pt x="39" y="446"/>
                  </a:lnTo>
                  <a:lnTo>
                    <a:pt x="41" y="446"/>
                  </a:lnTo>
                  <a:lnTo>
                    <a:pt x="41" y="444"/>
                  </a:lnTo>
                  <a:lnTo>
                    <a:pt x="43" y="444"/>
                  </a:lnTo>
                  <a:lnTo>
                    <a:pt x="43" y="442"/>
                  </a:lnTo>
                  <a:lnTo>
                    <a:pt x="45" y="442"/>
                  </a:lnTo>
                  <a:lnTo>
                    <a:pt x="45" y="440"/>
                  </a:lnTo>
                  <a:lnTo>
                    <a:pt x="47" y="440"/>
                  </a:lnTo>
                  <a:lnTo>
                    <a:pt x="47" y="438"/>
                  </a:lnTo>
                  <a:lnTo>
                    <a:pt x="47" y="436"/>
                  </a:lnTo>
                  <a:lnTo>
                    <a:pt x="48" y="436"/>
                  </a:lnTo>
                  <a:lnTo>
                    <a:pt x="48" y="434"/>
                  </a:lnTo>
                  <a:lnTo>
                    <a:pt x="48" y="432"/>
                  </a:lnTo>
                  <a:lnTo>
                    <a:pt x="48" y="430"/>
                  </a:lnTo>
                  <a:lnTo>
                    <a:pt x="48" y="432"/>
                  </a:lnTo>
                  <a:lnTo>
                    <a:pt x="50" y="432"/>
                  </a:lnTo>
                  <a:lnTo>
                    <a:pt x="52" y="432"/>
                  </a:lnTo>
                  <a:lnTo>
                    <a:pt x="52" y="434"/>
                  </a:lnTo>
                  <a:lnTo>
                    <a:pt x="54" y="434"/>
                  </a:lnTo>
                  <a:lnTo>
                    <a:pt x="54" y="436"/>
                  </a:lnTo>
                  <a:lnTo>
                    <a:pt x="56" y="436"/>
                  </a:lnTo>
                  <a:lnTo>
                    <a:pt x="58" y="436"/>
                  </a:lnTo>
                  <a:lnTo>
                    <a:pt x="60" y="436"/>
                  </a:lnTo>
                  <a:lnTo>
                    <a:pt x="62" y="436"/>
                  </a:lnTo>
                  <a:lnTo>
                    <a:pt x="62" y="438"/>
                  </a:lnTo>
                  <a:lnTo>
                    <a:pt x="64" y="438"/>
                  </a:lnTo>
                  <a:lnTo>
                    <a:pt x="66" y="436"/>
                  </a:lnTo>
                  <a:lnTo>
                    <a:pt x="68" y="436"/>
                  </a:lnTo>
                  <a:lnTo>
                    <a:pt x="70" y="436"/>
                  </a:lnTo>
                  <a:lnTo>
                    <a:pt x="70" y="434"/>
                  </a:lnTo>
                  <a:lnTo>
                    <a:pt x="70" y="436"/>
                  </a:lnTo>
                  <a:lnTo>
                    <a:pt x="68" y="436"/>
                  </a:lnTo>
                  <a:lnTo>
                    <a:pt x="68" y="438"/>
                  </a:lnTo>
                  <a:lnTo>
                    <a:pt x="66" y="438"/>
                  </a:lnTo>
                  <a:lnTo>
                    <a:pt x="66" y="440"/>
                  </a:lnTo>
                  <a:lnTo>
                    <a:pt x="64" y="440"/>
                  </a:lnTo>
                  <a:lnTo>
                    <a:pt x="64" y="442"/>
                  </a:lnTo>
                  <a:lnTo>
                    <a:pt x="62" y="442"/>
                  </a:lnTo>
                  <a:lnTo>
                    <a:pt x="62" y="444"/>
                  </a:lnTo>
                  <a:lnTo>
                    <a:pt x="60" y="444"/>
                  </a:lnTo>
                  <a:lnTo>
                    <a:pt x="58" y="444"/>
                  </a:lnTo>
                  <a:lnTo>
                    <a:pt x="58" y="446"/>
                  </a:lnTo>
                  <a:lnTo>
                    <a:pt x="56" y="446"/>
                  </a:lnTo>
                  <a:lnTo>
                    <a:pt x="54" y="446"/>
                  </a:lnTo>
                  <a:lnTo>
                    <a:pt x="54" y="448"/>
                  </a:lnTo>
                  <a:lnTo>
                    <a:pt x="52" y="448"/>
                  </a:lnTo>
                  <a:lnTo>
                    <a:pt x="50" y="448"/>
                  </a:lnTo>
                  <a:lnTo>
                    <a:pt x="50" y="450"/>
                  </a:lnTo>
                  <a:lnTo>
                    <a:pt x="48" y="450"/>
                  </a:lnTo>
                  <a:lnTo>
                    <a:pt x="48" y="452"/>
                  </a:lnTo>
                  <a:lnTo>
                    <a:pt x="47" y="452"/>
                  </a:lnTo>
                  <a:lnTo>
                    <a:pt x="47" y="453"/>
                  </a:lnTo>
                  <a:lnTo>
                    <a:pt x="45" y="453"/>
                  </a:lnTo>
                  <a:lnTo>
                    <a:pt x="45" y="455"/>
                  </a:lnTo>
                  <a:lnTo>
                    <a:pt x="43" y="455"/>
                  </a:lnTo>
                  <a:lnTo>
                    <a:pt x="41" y="457"/>
                  </a:lnTo>
                  <a:lnTo>
                    <a:pt x="39" y="457"/>
                  </a:lnTo>
                  <a:lnTo>
                    <a:pt x="39" y="459"/>
                  </a:lnTo>
                  <a:lnTo>
                    <a:pt x="39" y="461"/>
                  </a:lnTo>
                  <a:lnTo>
                    <a:pt x="37" y="461"/>
                  </a:lnTo>
                  <a:lnTo>
                    <a:pt x="37" y="463"/>
                  </a:lnTo>
                  <a:lnTo>
                    <a:pt x="35" y="463"/>
                  </a:lnTo>
                  <a:lnTo>
                    <a:pt x="35" y="465"/>
                  </a:lnTo>
                  <a:lnTo>
                    <a:pt x="35" y="467"/>
                  </a:lnTo>
                  <a:lnTo>
                    <a:pt x="33" y="467"/>
                  </a:lnTo>
                  <a:lnTo>
                    <a:pt x="33" y="469"/>
                  </a:lnTo>
                  <a:lnTo>
                    <a:pt x="31" y="469"/>
                  </a:lnTo>
                  <a:lnTo>
                    <a:pt x="31" y="471"/>
                  </a:lnTo>
                  <a:lnTo>
                    <a:pt x="29" y="471"/>
                  </a:lnTo>
                  <a:lnTo>
                    <a:pt x="29" y="473"/>
                  </a:lnTo>
                  <a:lnTo>
                    <a:pt x="27" y="473"/>
                  </a:lnTo>
                  <a:lnTo>
                    <a:pt x="25" y="475"/>
                  </a:lnTo>
                  <a:lnTo>
                    <a:pt x="25" y="473"/>
                  </a:lnTo>
                  <a:lnTo>
                    <a:pt x="25" y="475"/>
                  </a:lnTo>
                  <a:lnTo>
                    <a:pt x="23" y="475"/>
                  </a:lnTo>
                  <a:lnTo>
                    <a:pt x="23" y="473"/>
                  </a:lnTo>
                  <a:lnTo>
                    <a:pt x="22" y="473"/>
                  </a:lnTo>
                  <a:lnTo>
                    <a:pt x="22" y="471"/>
                  </a:lnTo>
                  <a:lnTo>
                    <a:pt x="22" y="473"/>
                  </a:lnTo>
                  <a:lnTo>
                    <a:pt x="22" y="471"/>
                  </a:lnTo>
                  <a:lnTo>
                    <a:pt x="20" y="471"/>
                  </a:lnTo>
                  <a:lnTo>
                    <a:pt x="18" y="471"/>
                  </a:lnTo>
                  <a:lnTo>
                    <a:pt x="16" y="471"/>
                  </a:lnTo>
                  <a:lnTo>
                    <a:pt x="16" y="469"/>
                  </a:lnTo>
                  <a:lnTo>
                    <a:pt x="14" y="469"/>
                  </a:lnTo>
                  <a:lnTo>
                    <a:pt x="16" y="469"/>
                  </a:lnTo>
                  <a:lnTo>
                    <a:pt x="16" y="471"/>
                  </a:lnTo>
                  <a:lnTo>
                    <a:pt x="14" y="471"/>
                  </a:lnTo>
                  <a:lnTo>
                    <a:pt x="16" y="471"/>
                  </a:lnTo>
                  <a:lnTo>
                    <a:pt x="16" y="473"/>
                  </a:lnTo>
                  <a:lnTo>
                    <a:pt x="18" y="473"/>
                  </a:lnTo>
                  <a:lnTo>
                    <a:pt x="16" y="473"/>
                  </a:lnTo>
                  <a:lnTo>
                    <a:pt x="16" y="471"/>
                  </a:lnTo>
                  <a:lnTo>
                    <a:pt x="18" y="471"/>
                  </a:lnTo>
                  <a:lnTo>
                    <a:pt x="18" y="473"/>
                  </a:lnTo>
                  <a:lnTo>
                    <a:pt x="18" y="471"/>
                  </a:lnTo>
                  <a:lnTo>
                    <a:pt x="18" y="473"/>
                  </a:lnTo>
                  <a:lnTo>
                    <a:pt x="18" y="475"/>
                  </a:lnTo>
                  <a:lnTo>
                    <a:pt x="20" y="475"/>
                  </a:lnTo>
                  <a:lnTo>
                    <a:pt x="18" y="475"/>
                  </a:lnTo>
                  <a:lnTo>
                    <a:pt x="16" y="475"/>
                  </a:lnTo>
                  <a:lnTo>
                    <a:pt x="14" y="475"/>
                  </a:lnTo>
                  <a:lnTo>
                    <a:pt x="14" y="473"/>
                  </a:lnTo>
                  <a:lnTo>
                    <a:pt x="12" y="473"/>
                  </a:lnTo>
                  <a:lnTo>
                    <a:pt x="12" y="471"/>
                  </a:lnTo>
                  <a:lnTo>
                    <a:pt x="14" y="471"/>
                  </a:lnTo>
                  <a:lnTo>
                    <a:pt x="12" y="471"/>
                  </a:lnTo>
                  <a:lnTo>
                    <a:pt x="12" y="469"/>
                  </a:lnTo>
                  <a:lnTo>
                    <a:pt x="12" y="471"/>
                  </a:lnTo>
                  <a:lnTo>
                    <a:pt x="12" y="473"/>
                  </a:lnTo>
                  <a:lnTo>
                    <a:pt x="12" y="471"/>
                  </a:lnTo>
                  <a:lnTo>
                    <a:pt x="10" y="471"/>
                  </a:lnTo>
                  <a:lnTo>
                    <a:pt x="8" y="471"/>
                  </a:lnTo>
                  <a:lnTo>
                    <a:pt x="6" y="471"/>
                  </a:lnTo>
                  <a:lnTo>
                    <a:pt x="6" y="469"/>
                  </a:lnTo>
                  <a:lnTo>
                    <a:pt x="8" y="469"/>
                  </a:lnTo>
                  <a:lnTo>
                    <a:pt x="10" y="469"/>
                  </a:lnTo>
                  <a:lnTo>
                    <a:pt x="8" y="469"/>
                  </a:lnTo>
                  <a:lnTo>
                    <a:pt x="8" y="467"/>
                  </a:lnTo>
                  <a:lnTo>
                    <a:pt x="8" y="465"/>
                  </a:lnTo>
                  <a:lnTo>
                    <a:pt x="10" y="465"/>
                  </a:lnTo>
                  <a:lnTo>
                    <a:pt x="8" y="465"/>
                  </a:lnTo>
                  <a:lnTo>
                    <a:pt x="8" y="467"/>
                  </a:lnTo>
                  <a:lnTo>
                    <a:pt x="6" y="467"/>
                  </a:lnTo>
                  <a:lnTo>
                    <a:pt x="6" y="465"/>
                  </a:lnTo>
                  <a:lnTo>
                    <a:pt x="6" y="463"/>
                  </a:lnTo>
                  <a:lnTo>
                    <a:pt x="8" y="463"/>
                  </a:lnTo>
                  <a:lnTo>
                    <a:pt x="6" y="463"/>
                  </a:lnTo>
                  <a:lnTo>
                    <a:pt x="6" y="461"/>
                  </a:lnTo>
                  <a:lnTo>
                    <a:pt x="8" y="461"/>
                  </a:lnTo>
                  <a:lnTo>
                    <a:pt x="10" y="461"/>
                  </a:lnTo>
                  <a:lnTo>
                    <a:pt x="12" y="461"/>
                  </a:lnTo>
                  <a:lnTo>
                    <a:pt x="10" y="461"/>
                  </a:lnTo>
                  <a:lnTo>
                    <a:pt x="8" y="461"/>
                  </a:lnTo>
                  <a:lnTo>
                    <a:pt x="6" y="461"/>
                  </a:lnTo>
                  <a:lnTo>
                    <a:pt x="6" y="459"/>
                  </a:lnTo>
                  <a:lnTo>
                    <a:pt x="6" y="461"/>
                  </a:lnTo>
                  <a:lnTo>
                    <a:pt x="6" y="459"/>
                  </a:lnTo>
                  <a:lnTo>
                    <a:pt x="4" y="459"/>
                  </a:lnTo>
                  <a:lnTo>
                    <a:pt x="4" y="457"/>
                  </a:lnTo>
                  <a:lnTo>
                    <a:pt x="4" y="459"/>
                  </a:lnTo>
                  <a:lnTo>
                    <a:pt x="4" y="457"/>
                  </a:lnTo>
                  <a:lnTo>
                    <a:pt x="6" y="457"/>
                  </a:lnTo>
                  <a:lnTo>
                    <a:pt x="8" y="457"/>
                  </a:lnTo>
                  <a:lnTo>
                    <a:pt x="8" y="459"/>
                  </a:lnTo>
                  <a:lnTo>
                    <a:pt x="8" y="457"/>
                  </a:lnTo>
                  <a:lnTo>
                    <a:pt x="10" y="457"/>
                  </a:lnTo>
                  <a:lnTo>
                    <a:pt x="10" y="459"/>
                  </a:lnTo>
                  <a:lnTo>
                    <a:pt x="12" y="459"/>
                  </a:lnTo>
                  <a:lnTo>
                    <a:pt x="12" y="457"/>
                  </a:lnTo>
                  <a:lnTo>
                    <a:pt x="12" y="459"/>
                  </a:lnTo>
                  <a:lnTo>
                    <a:pt x="12" y="457"/>
                  </a:lnTo>
                  <a:lnTo>
                    <a:pt x="10" y="457"/>
                  </a:lnTo>
                  <a:lnTo>
                    <a:pt x="8" y="457"/>
                  </a:lnTo>
                  <a:lnTo>
                    <a:pt x="10" y="457"/>
                  </a:lnTo>
                  <a:lnTo>
                    <a:pt x="8" y="457"/>
                  </a:lnTo>
                  <a:lnTo>
                    <a:pt x="8" y="455"/>
                  </a:lnTo>
                  <a:lnTo>
                    <a:pt x="6" y="455"/>
                  </a:lnTo>
                  <a:lnTo>
                    <a:pt x="6" y="453"/>
                  </a:lnTo>
                  <a:lnTo>
                    <a:pt x="6" y="455"/>
                  </a:lnTo>
                  <a:lnTo>
                    <a:pt x="6" y="453"/>
                  </a:lnTo>
                  <a:lnTo>
                    <a:pt x="6" y="455"/>
                  </a:lnTo>
                  <a:lnTo>
                    <a:pt x="6" y="453"/>
                  </a:lnTo>
                  <a:lnTo>
                    <a:pt x="6" y="455"/>
                  </a:lnTo>
                  <a:lnTo>
                    <a:pt x="6" y="453"/>
                  </a:lnTo>
                  <a:lnTo>
                    <a:pt x="6" y="455"/>
                  </a:lnTo>
                  <a:lnTo>
                    <a:pt x="6" y="453"/>
                  </a:lnTo>
                  <a:lnTo>
                    <a:pt x="6" y="455"/>
                  </a:lnTo>
                  <a:lnTo>
                    <a:pt x="6" y="453"/>
                  </a:lnTo>
                  <a:lnTo>
                    <a:pt x="6" y="455"/>
                  </a:lnTo>
                  <a:lnTo>
                    <a:pt x="6" y="453"/>
                  </a:lnTo>
                  <a:lnTo>
                    <a:pt x="4" y="453"/>
                  </a:lnTo>
                  <a:lnTo>
                    <a:pt x="6" y="453"/>
                  </a:lnTo>
                  <a:lnTo>
                    <a:pt x="8" y="453"/>
                  </a:lnTo>
                  <a:lnTo>
                    <a:pt x="8" y="452"/>
                  </a:lnTo>
                  <a:lnTo>
                    <a:pt x="8" y="453"/>
                  </a:lnTo>
                  <a:lnTo>
                    <a:pt x="10" y="453"/>
                  </a:lnTo>
                  <a:lnTo>
                    <a:pt x="10" y="455"/>
                  </a:lnTo>
                  <a:lnTo>
                    <a:pt x="12" y="455"/>
                  </a:lnTo>
                  <a:lnTo>
                    <a:pt x="14" y="457"/>
                  </a:lnTo>
                  <a:lnTo>
                    <a:pt x="12" y="457"/>
                  </a:lnTo>
                  <a:lnTo>
                    <a:pt x="14" y="457"/>
                  </a:lnTo>
                  <a:lnTo>
                    <a:pt x="14" y="459"/>
                  </a:lnTo>
                  <a:lnTo>
                    <a:pt x="14" y="461"/>
                  </a:lnTo>
                  <a:lnTo>
                    <a:pt x="14" y="463"/>
                  </a:lnTo>
                  <a:lnTo>
                    <a:pt x="14" y="461"/>
                  </a:lnTo>
                  <a:lnTo>
                    <a:pt x="16" y="461"/>
                  </a:lnTo>
                  <a:lnTo>
                    <a:pt x="14" y="461"/>
                  </a:lnTo>
                  <a:lnTo>
                    <a:pt x="16" y="461"/>
                  </a:lnTo>
                  <a:lnTo>
                    <a:pt x="16" y="459"/>
                  </a:lnTo>
                  <a:lnTo>
                    <a:pt x="16" y="457"/>
                  </a:lnTo>
                  <a:lnTo>
                    <a:pt x="14" y="457"/>
                  </a:lnTo>
                  <a:lnTo>
                    <a:pt x="14" y="455"/>
                  </a:lnTo>
                  <a:lnTo>
                    <a:pt x="16" y="455"/>
                  </a:lnTo>
                  <a:lnTo>
                    <a:pt x="16" y="453"/>
                  </a:lnTo>
                  <a:lnTo>
                    <a:pt x="14" y="453"/>
                  </a:lnTo>
                  <a:lnTo>
                    <a:pt x="14" y="452"/>
                  </a:lnTo>
                  <a:lnTo>
                    <a:pt x="12" y="452"/>
                  </a:lnTo>
                  <a:lnTo>
                    <a:pt x="12" y="450"/>
                  </a:lnTo>
                  <a:lnTo>
                    <a:pt x="14" y="450"/>
                  </a:lnTo>
                  <a:lnTo>
                    <a:pt x="14" y="448"/>
                  </a:lnTo>
                  <a:lnTo>
                    <a:pt x="12" y="448"/>
                  </a:lnTo>
                  <a:lnTo>
                    <a:pt x="12" y="450"/>
                  </a:lnTo>
                  <a:lnTo>
                    <a:pt x="12" y="448"/>
                  </a:lnTo>
                  <a:lnTo>
                    <a:pt x="12" y="450"/>
                  </a:lnTo>
                  <a:lnTo>
                    <a:pt x="12" y="448"/>
                  </a:lnTo>
                  <a:lnTo>
                    <a:pt x="12" y="450"/>
                  </a:lnTo>
                  <a:lnTo>
                    <a:pt x="12" y="448"/>
                  </a:lnTo>
                  <a:lnTo>
                    <a:pt x="10" y="448"/>
                  </a:lnTo>
                  <a:lnTo>
                    <a:pt x="10" y="446"/>
                  </a:lnTo>
                  <a:lnTo>
                    <a:pt x="12" y="446"/>
                  </a:lnTo>
                  <a:lnTo>
                    <a:pt x="12" y="444"/>
                  </a:lnTo>
                  <a:lnTo>
                    <a:pt x="14" y="444"/>
                  </a:lnTo>
                  <a:lnTo>
                    <a:pt x="12" y="444"/>
                  </a:lnTo>
                  <a:lnTo>
                    <a:pt x="12" y="446"/>
                  </a:lnTo>
                  <a:lnTo>
                    <a:pt x="10" y="446"/>
                  </a:lnTo>
                  <a:lnTo>
                    <a:pt x="10" y="444"/>
                  </a:lnTo>
                  <a:lnTo>
                    <a:pt x="8" y="444"/>
                  </a:lnTo>
                  <a:lnTo>
                    <a:pt x="8" y="446"/>
                  </a:lnTo>
                  <a:lnTo>
                    <a:pt x="8" y="444"/>
                  </a:lnTo>
                  <a:lnTo>
                    <a:pt x="6" y="444"/>
                  </a:lnTo>
                  <a:lnTo>
                    <a:pt x="6" y="442"/>
                  </a:lnTo>
                  <a:lnTo>
                    <a:pt x="8" y="442"/>
                  </a:lnTo>
                  <a:lnTo>
                    <a:pt x="8" y="444"/>
                  </a:lnTo>
                  <a:lnTo>
                    <a:pt x="8" y="442"/>
                  </a:lnTo>
                  <a:lnTo>
                    <a:pt x="10" y="442"/>
                  </a:lnTo>
                  <a:lnTo>
                    <a:pt x="8" y="442"/>
                  </a:lnTo>
                  <a:lnTo>
                    <a:pt x="8" y="440"/>
                  </a:lnTo>
                  <a:lnTo>
                    <a:pt x="6" y="440"/>
                  </a:lnTo>
                  <a:lnTo>
                    <a:pt x="8" y="440"/>
                  </a:lnTo>
                  <a:lnTo>
                    <a:pt x="8" y="438"/>
                  </a:lnTo>
                  <a:lnTo>
                    <a:pt x="10" y="438"/>
                  </a:lnTo>
                  <a:lnTo>
                    <a:pt x="8" y="438"/>
                  </a:lnTo>
                  <a:lnTo>
                    <a:pt x="8" y="436"/>
                  </a:lnTo>
                  <a:lnTo>
                    <a:pt x="6" y="436"/>
                  </a:lnTo>
                  <a:lnTo>
                    <a:pt x="8" y="436"/>
                  </a:lnTo>
                  <a:lnTo>
                    <a:pt x="8" y="434"/>
                  </a:lnTo>
                  <a:lnTo>
                    <a:pt x="8" y="436"/>
                  </a:lnTo>
                  <a:lnTo>
                    <a:pt x="8" y="434"/>
                  </a:lnTo>
                  <a:lnTo>
                    <a:pt x="8" y="436"/>
                  </a:lnTo>
                  <a:lnTo>
                    <a:pt x="8" y="434"/>
                  </a:lnTo>
                  <a:lnTo>
                    <a:pt x="10" y="434"/>
                  </a:lnTo>
                  <a:lnTo>
                    <a:pt x="8" y="434"/>
                  </a:lnTo>
                  <a:lnTo>
                    <a:pt x="10" y="434"/>
                  </a:lnTo>
                  <a:lnTo>
                    <a:pt x="10" y="436"/>
                  </a:lnTo>
                  <a:lnTo>
                    <a:pt x="10" y="438"/>
                  </a:lnTo>
                  <a:lnTo>
                    <a:pt x="12" y="438"/>
                  </a:lnTo>
                  <a:lnTo>
                    <a:pt x="14" y="438"/>
                  </a:lnTo>
                  <a:lnTo>
                    <a:pt x="12" y="438"/>
                  </a:lnTo>
                  <a:lnTo>
                    <a:pt x="12" y="436"/>
                  </a:lnTo>
                  <a:lnTo>
                    <a:pt x="10" y="436"/>
                  </a:lnTo>
                  <a:lnTo>
                    <a:pt x="12" y="436"/>
                  </a:lnTo>
                  <a:lnTo>
                    <a:pt x="10" y="436"/>
                  </a:lnTo>
                  <a:lnTo>
                    <a:pt x="12" y="436"/>
                  </a:lnTo>
                  <a:lnTo>
                    <a:pt x="10" y="436"/>
                  </a:lnTo>
                  <a:lnTo>
                    <a:pt x="10" y="434"/>
                  </a:lnTo>
                  <a:lnTo>
                    <a:pt x="12" y="434"/>
                  </a:lnTo>
                  <a:lnTo>
                    <a:pt x="10" y="434"/>
                  </a:lnTo>
                  <a:lnTo>
                    <a:pt x="12" y="434"/>
                  </a:lnTo>
                  <a:lnTo>
                    <a:pt x="10" y="434"/>
                  </a:lnTo>
                  <a:lnTo>
                    <a:pt x="10" y="432"/>
                  </a:lnTo>
                  <a:lnTo>
                    <a:pt x="12" y="432"/>
                  </a:lnTo>
                  <a:lnTo>
                    <a:pt x="10" y="432"/>
                  </a:lnTo>
                  <a:lnTo>
                    <a:pt x="10" y="434"/>
                  </a:lnTo>
                  <a:lnTo>
                    <a:pt x="10" y="432"/>
                  </a:lnTo>
                  <a:lnTo>
                    <a:pt x="12" y="432"/>
                  </a:lnTo>
                  <a:lnTo>
                    <a:pt x="10" y="432"/>
                  </a:lnTo>
                  <a:lnTo>
                    <a:pt x="12" y="432"/>
                  </a:lnTo>
                  <a:lnTo>
                    <a:pt x="12" y="434"/>
                  </a:lnTo>
                  <a:lnTo>
                    <a:pt x="12" y="432"/>
                  </a:lnTo>
                  <a:lnTo>
                    <a:pt x="10" y="432"/>
                  </a:lnTo>
                  <a:lnTo>
                    <a:pt x="12" y="432"/>
                  </a:lnTo>
                  <a:lnTo>
                    <a:pt x="10" y="432"/>
                  </a:lnTo>
                  <a:lnTo>
                    <a:pt x="10" y="430"/>
                  </a:lnTo>
                  <a:lnTo>
                    <a:pt x="10" y="429"/>
                  </a:lnTo>
                  <a:lnTo>
                    <a:pt x="10" y="430"/>
                  </a:lnTo>
                  <a:lnTo>
                    <a:pt x="12" y="430"/>
                  </a:lnTo>
                  <a:lnTo>
                    <a:pt x="14" y="430"/>
                  </a:lnTo>
                  <a:lnTo>
                    <a:pt x="12" y="430"/>
                  </a:lnTo>
                  <a:lnTo>
                    <a:pt x="12" y="432"/>
                  </a:lnTo>
                  <a:lnTo>
                    <a:pt x="14" y="432"/>
                  </a:lnTo>
                  <a:lnTo>
                    <a:pt x="12" y="432"/>
                  </a:lnTo>
                  <a:lnTo>
                    <a:pt x="14" y="432"/>
                  </a:lnTo>
                  <a:lnTo>
                    <a:pt x="14" y="430"/>
                  </a:lnTo>
                  <a:lnTo>
                    <a:pt x="14" y="432"/>
                  </a:lnTo>
                  <a:lnTo>
                    <a:pt x="14" y="430"/>
                  </a:lnTo>
                  <a:lnTo>
                    <a:pt x="14" y="432"/>
                  </a:lnTo>
                  <a:lnTo>
                    <a:pt x="14" y="430"/>
                  </a:lnTo>
                  <a:lnTo>
                    <a:pt x="14" y="432"/>
                  </a:lnTo>
                  <a:lnTo>
                    <a:pt x="14" y="430"/>
                  </a:lnTo>
                  <a:lnTo>
                    <a:pt x="14" y="429"/>
                  </a:lnTo>
                  <a:lnTo>
                    <a:pt x="14" y="430"/>
                  </a:lnTo>
                  <a:lnTo>
                    <a:pt x="12" y="429"/>
                  </a:lnTo>
                  <a:lnTo>
                    <a:pt x="14" y="429"/>
                  </a:lnTo>
                  <a:lnTo>
                    <a:pt x="14" y="427"/>
                  </a:lnTo>
                  <a:lnTo>
                    <a:pt x="12" y="427"/>
                  </a:lnTo>
                  <a:lnTo>
                    <a:pt x="12" y="425"/>
                  </a:lnTo>
                  <a:lnTo>
                    <a:pt x="12" y="423"/>
                  </a:lnTo>
                  <a:lnTo>
                    <a:pt x="12" y="421"/>
                  </a:lnTo>
                  <a:lnTo>
                    <a:pt x="14" y="421"/>
                  </a:lnTo>
                  <a:lnTo>
                    <a:pt x="14" y="423"/>
                  </a:lnTo>
                  <a:lnTo>
                    <a:pt x="14" y="421"/>
                  </a:lnTo>
                  <a:lnTo>
                    <a:pt x="14" y="419"/>
                  </a:lnTo>
                  <a:lnTo>
                    <a:pt x="14" y="417"/>
                  </a:lnTo>
                  <a:lnTo>
                    <a:pt x="16" y="417"/>
                  </a:lnTo>
                  <a:lnTo>
                    <a:pt x="14" y="417"/>
                  </a:lnTo>
                  <a:lnTo>
                    <a:pt x="16" y="417"/>
                  </a:lnTo>
                  <a:lnTo>
                    <a:pt x="16" y="415"/>
                  </a:lnTo>
                  <a:lnTo>
                    <a:pt x="18" y="415"/>
                  </a:lnTo>
                  <a:lnTo>
                    <a:pt x="18" y="413"/>
                  </a:lnTo>
                  <a:lnTo>
                    <a:pt x="20" y="413"/>
                  </a:lnTo>
                  <a:lnTo>
                    <a:pt x="20" y="411"/>
                  </a:lnTo>
                  <a:lnTo>
                    <a:pt x="20" y="413"/>
                  </a:lnTo>
                  <a:lnTo>
                    <a:pt x="22" y="413"/>
                  </a:lnTo>
                  <a:lnTo>
                    <a:pt x="22" y="411"/>
                  </a:lnTo>
                  <a:lnTo>
                    <a:pt x="23" y="411"/>
                  </a:lnTo>
                  <a:lnTo>
                    <a:pt x="23" y="413"/>
                  </a:lnTo>
                  <a:lnTo>
                    <a:pt x="23" y="411"/>
                  </a:lnTo>
                  <a:lnTo>
                    <a:pt x="23" y="413"/>
                  </a:lnTo>
                  <a:lnTo>
                    <a:pt x="23" y="411"/>
                  </a:lnTo>
                  <a:lnTo>
                    <a:pt x="23" y="413"/>
                  </a:lnTo>
                  <a:lnTo>
                    <a:pt x="23" y="411"/>
                  </a:lnTo>
                  <a:lnTo>
                    <a:pt x="23" y="409"/>
                  </a:lnTo>
                  <a:lnTo>
                    <a:pt x="25" y="409"/>
                  </a:lnTo>
                  <a:lnTo>
                    <a:pt x="25" y="407"/>
                  </a:lnTo>
                  <a:lnTo>
                    <a:pt x="23" y="407"/>
                  </a:lnTo>
                  <a:lnTo>
                    <a:pt x="25" y="407"/>
                  </a:lnTo>
                  <a:lnTo>
                    <a:pt x="25" y="406"/>
                  </a:lnTo>
                  <a:lnTo>
                    <a:pt x="25" y="407"/>
                  </a:lnTo>
                  <a:lnTo>
                    <a:pt x="25" y="406"/>
                  </a:lnTo>
                  <a:lnTo>
                    <a:pt x="27" y="406"/>
                  </a:lnTo>
                  <a:lnTo>
                    <a:pt x="29" y="406"/>
                  </a:lnTo>
                  <a:lnTo>
                    <a:pt x="27" y="406"/>
                  </a:lnTo>
                  <a:lnTo>
                    <a:pt x="27" y="404"/>
                  </a:lnTo>
                  <a:close/>
                  <a:moveTo>
                    <a:pt x="2" y="469"/>
                  </a:moveTo>
                  <a:lnTo>
                    <a:pt x="2" y="471"/>
                  </a:lnTo>
                  <a:lnTo>
                    <a:pt x="4" y="471"/>
                  </a:lnTo>
                  <a:lnTo>
                    <a:pt x="6" y="471"/>
                  </a:lnTo>
                  <a:lnTo>
                    <a:pt x="6" y="473"/>
                  </a:lnTo>
                  <a:lnTo>
                    <a:pt x="8" y="473"/>
                  </a:lnTo>
                  <a:lnTo>
                    <a:pt x="8" y="471"/>
                  </a:lnTo>
                  <a:lnTo>
                    <a:pt x="8" y="473"/>
                  </a:lnTo>
                  <a:lnTo>
                    <a:pt x="10" y="473"/>
                  </a:lnTo>
                  <a:lnTo>
                    <a:pt x="10" y="471"/>
                  </a:lnTo>
                  <a:lnTo>
                    <a:pt x="10" y="473"/>
                  </a:lnTo>
                  <a:lnTo>
                    <a:pt x="12" y="473"/>
                  </a:lnTo>
                  <a:lnTo>
                    <a:pt x="14" y="473"/>
                  </a:lnTo>
                  <a:lnTo>
                    <a:pt x="14" y="475"/>
                  </a:lnTo>
                  <a:lnTo>
                    <a:pt x="16" y="475"/>
                  </a:lnTo>
                  <a:lnTo>
                    <a:pt x="18" y="475"/>
                  </a:lnTo>
                  <a:lnTo>
                    <a:pt x="18" y="477"/>
                  </a:lnTo>
                  <a:lnTo>
                    <a:pt x="20" y="477"/>
                  </a:lnTo>
                  <a:lnTo>
                    <a:pt x="20" y="478"/>
                  </a:lnTo>
                  <a:lnTo>
                    <a:pt x="20" y="477"/>
                  </a:lnTo>
                  <a:lnTo>
                    <a:pt x="22" y="477"/>
                  </a:lnTo>
                  <a:lnTo>
                    <a:pt x="23" y="477"/>
                  </a:lnTo>
                  <a:lnTo>
                    <a:pt x="25" y="477"/>
                  </a:lnTo>
                  <a:lnTo>
                    <a:pt x="27" y="477"/>
                  </a:lnTo>
                  <a:lnTo>
                    <a:pt x="27" y="478"/>
                  </a:lnTo>
                  <a:lnTo>
                    <a:pt x="27" y="477"/>
                  </a:lnTo>
                  <a:lnTo>
                    <a:pt x="29" y="477"/>
                  </a:lnTo>
                  <a:lnTo>
                    <a:pt x="29" y="478"/>
                  </a:lnTo>
                  <a:lnTo>
                    <a:pt x="31" y="478"/>
                  </a:lnTo>
                  <a:lnTo>
                    <a:pt x="31" y="480"/>
                  </a:lnTo>
                  <a:lnTo>
                    <a:pt x="29" y="480"/>
                  </a:lnTo>
                  <a:lnTo>
                    <a:pt x="29" y="482"/>
                  </a:lnTo>
                  <a:lnTo>
                    <a:pt x="27" y="482"/>
                  </a:lnTo>
                  <a:lnTo>
                    <a:pt x="27" y="484"/>
                  </a:lnTo>
                  <a:lnTo>
                    <a:pt x="29" y="484"/>
                  </a:lnTo>
                  <a:lnTo>
                    <a:pt x="27" y="484"/>
                  </a:lnTo>
                  <a:lnTo>
                    <a:pt x="29" y="484"/>
                  </a:lnTo>
                  <a:lnTo>
                    <a:pt x="29" y="486"/>
                  </a:lnTo>
                  <a:lnTo>
                    <a:pt x="29" y="488"/>
                  </a:lnTo>
                  <a:lnTo>
                    <a:pt x="31" y="488"/>
                  </a:lnTo>
                  <a:lnTo>
                    <a:pt x="31" y="490"/>
                  </a:lnTo>
                  <a:lnTo>
                    <a:pt x="29" y="490"/>
                  </a:lnTo>
                  <a:lnTo>
                    <a:pt x="29" y="492"/>
                  </a:lnTo>
                  <a:lnTo>
                    <a:pt x="29" y="494"/>
                  </a:lnTo>
                  <a:lnTo>
                    <a:pt x="27" y="494"/>
                  </a:lnTo>
                  <a:lnTo>
                    <a:pt x="27" y="492"/>
                  </a:lnTo>
                  <a:lnTo>
                    <a:pt x="25" y="492"/>
                  </a:lnTo>
                  <a:lnTo>
                    <a:pt x="25" y="490"/>
                  </a:lnTo>
                  <a:lnTo>
                    <a:pt x="25" y="488"/>
                  </a:lnTo>
                  <a:lnTo>
                    <a:pt x="23" y="488"/>
                  </a:lnTo>
                  <a:lnTo>
                    <a:pt x="23" y="486"/>
                  </a:lnTo>
                  <a:lnTo>
                    <a:pt x="23" y="488"/>
                  </a:lnTo>
                  <a:lnTo>
                    <a:pt x="23" y="486"/>
                  </a:lnTo>
                  <a:lnTo>
                    <a:pt x="23" y="488"/>
                  </a:lnTo>
                  <a:lnTo>
                    <a:pt x="23" y="486"/>
                  </a:lnTo>
                  <a:lnTo>
                    <a:pt x="22" y="486"/>
                  </a:lnTo>
                  <a:lnTo>
                    <a:pt x="20" y="486"/>
                  </a:lnTo>
                  <a:lnTo>
                    <a:pt x="20" y="484"/>
                  </a:lnTo>
                  <a:lnTo>
                    <a:pt x="18" y="484"/>
                  </a:lnTo>
                  <a:lnTo>
                    <a:pt x="16" y="484"/>
                  </a:lnTo>
                  <a:lnTo>
                    <a:pt x="18" y="484"/>
                  </a:lnTo>
                  <a:lnTo>
                    <a:pt x="16" y="484"/>
                  </a:lnTo>
                  <a:lnTo>
                    <a:pt x="18" y="484"/>
                  </a:lnTo>
                  <a:lnTo>
                    <a:pt x="16" y="484"/>
                  </a:lnTo>
                  <a:lnTo>
                    <a:pt x="18" y="484"/>
                  </a:lnTo>
                  <a:lnTo>
                    <a:pt x="18" y="486"/>
                  </a:lnTo>
                  <a:lnTo>
                    <a:pt x="18" y="488"/>
                  </a:lnTo>
                  <a:lnTo>
                    <a:pt x="18" y="490"/>
                  </a:lnTo>
                  <a:lnTo>
                    <a:pt x="18" y="492"/>
                  </a:lnTo>
                  <a:lnTo>
                    <a:pt x="16" y="492"/>
                  </a:lnTo>
                  <a:lnTo>
                    <a:pt x="16" y="490"/>
                  </a:lnTo>
                  <a:lnTo>
                    <a:pt x="14" y="490"/>
                  </a:lnTo>
                  <a:lnTo>
                    <a:pt x="14" y="492"/>
                  </a:lnTo>
                  <a:lnTo>
                    <a:pt x="16" y="492"/>
                  </a:lnTo>
                  <a:lnTo>
                    <a:pt x="14" y="492"/>
                  </a:lnTo>
                  <a:lnTo>
                    <a:pt x="16" y="492"/>
                  </a:lnTo>
                  <a:lnTo>
                    <a:pt x="16" y="494"/>
                  </a:lnTo>
                  <a:lnTo>
                    <a:pt x="14" y="494"/>
                  </a:lnTo>
                  <a:lnTo>
                    <a:pt x="12" y="494"/>
                  </a:lnTo>
                  <a:lnTo>
                    <a:pt x="12" y="492"/>
                  </a:lnTo>
                  <a:lnTo>
                    <a:pt x="12" y="494"/>
                  </a:lnTo>
                  <a:lnTo>
                    <a:pt x="12" y="492"/>
                  </a:lnTo>
                  <a:lnTo>
                    <a:pt x="12" y="494"/>
                  </a:lnTo>
                  <a:lnTo>
                    <a:pt x="14" y="494"/>
                  </a:lnTo>
                  <a:lnTo>
                    <a:pt x="16" y="494"/>
                  </a:lnTo>
                  <a:lnTo>
                    <a:pt x="16" y="496"/>
                  </a:lnTo>
                  <a:lnTo>
                    <a:pt x="14" y="496"/>
                  </a:lnTo>
                  <a:lnTo>
                    <a:pt x="16" y="496"/>
                  </a:lnTo>
                  <a:lnTo>
                    <a:pt x="16" y="498"/>
                  </a:lnTo>
                  <a:lnTo>
                    <a:pt x="14" y="498"/>
                  </a:lnTo>
                  <a:lnTo>
                    <a:pt x="14" y="496"/>
                  </a:lnTo>
                  <a:lnTo>
                    <a:pt x="14" y="498"/>
                  </a:lnTo>
                  <a:lnTo>
                    <a:pt x="14" y="500"/>
                  </a:lnTo>
                  <a:lnTo>
                    <a:pt x="14" y="501"/>
                  </a:lnTo>
                  <a:lnTo>
                    <a:pt x="16" y="501"/>
                  </a:lnTo>
                  <a:lnTo>
                    <a:pt x="16" y="503"/>
                  </a:lnTo>
                  <a:lnTo>
                    <a:pt x="18" y="503"/>
                  </a:lnTo>
                  <a:lnTo>
                    <a:pt x="20" y="503"/>
                  </a:lnTo>
                  <a:lnTo>
                    <a:pt x="20" y="505"/>
                  </a:lnTo>
                  <a:lnTo>
                    <a:pt x="18" y="505"/>
                  </a:lnTo>
                  <a:lnTo>
                    <a:pt x="18" y="503"/>
                  </a:lnTo>
                  <a:lnTo>
                    <a:pt x="16" y="503"/>
                  </a:lnTo>
                  <a:lnTo>
                    <a:pt x="14" y="503"/>
                  </a:lnTo>
                  <a:lnTo>
                    <a:pt x="12" y="503"/>
                  </a:lnTo>
                  <a:lnTo>
                    <a:pt x="12" y="501"/>
                  </a:lnTo>
                  <a:lnTo>
                    <a:pt x="10" y="501"/>
                  </a:lnTo>
                  <a:lnTo>
                    <a:pt x="10" y="503"/>
                  </a:lnTo>
                  <a:lnTo>
                    <a:pt x="10" y="501"/>
                  </a:lnTo>
                  <a:lnTo>
                    <a:pt x="12" y="501"/>
                  </a:lnTo>
                  <a:lnTo>
                    <a:pt x="12" y="503"/>
                  </a:lnTo>
                  <a:lnTo>
                    <a:pt x="12" y="505"/>
                  </a:lnTo>
                  <a:lnTo>
                    <a:pt x="10" y="505"/>
                  </a:lnTo>
                  <a:lnTo>
                    <a:pt x="12" y="505"/>
                  </a:lnTo>
                  <a:lnTo>
                    <a:pt x="12" y="507"/>
                  </a:lnTo>
                  <a:lnTo>
                    <a:pt x="12" y="509"/>
                  </a:lnTo>
                  <a:lnTo>
                    <a:pt x="12" y="511"/>
                  </a:lnTo>
                  <a:lnTo>
                    <a:pt x="12" y="513"/>
                  </a:lnTo>
                  <a:lnTo>
                    <a:pt x="10" y="513"/>
                  </a:lnTo>
                  <a:lnTo>
                    <a:pt x="10" y="511"/>
                  </a:lnTo>
                  <a:lnTo>
                    <a:pt x="10" y="513"/>
                  </a:lnTo>
                  <a:lnTo>
                    <a:pt x="10" y="515"/>
                  </a:lnTo>
                  <a:lnTo>
                    <a:pt x="10" y="517"/>
                  </a:lnTo>
                  <a:lnTo>
                    <a:pt x="12" y="517"/>
                  </a:lnTo>
                  <a:lnTo>
                    <a:pt x="10" y="517"/>
                  </a:lnTo>
                  <a:lnTo>
                    <a:pt x="12" y="517"/>
                  </a:lnTo>
                  <a:lnTo>
                    <a:pt x="10" y="517"/>
                  </a:lnTo>
                  <a:lnTo>
                    <a:pt x="8" y="517"/>
                  </a:lnTo>
                  <a:lnTo>
                    <a:pt x="10" y="517"/>
                  </a:lnTo>
                  <a:lnTo>
                    <a:pt x="8" y="517"/>
                  </a:lnTo>
                  <a:lnTo>
                    <a:pt x="10" y="517"/>
                  </a:lnTo>
                  <a:lnTo>
                    <a:pt x="8" y="517"/>
                  </a:lnTo>
                  <a:lnTo>
                    <a:pt x="10" y="517"/>
                  </a:lnTo>
                  <a:lnTo>
                    <a:pt x="8" y="517"/>
                  </a:lnTo>
                  <a:lnTo>
                    <a:pt x="10" y="517"/>
                  </a:lnTo>
                  <a:lnTo>
                    <a:pt x="10" y="519"/>
                  </a:lnTo>
                  <a:lnTo>
                    <a:pt x="10" y="517"/>
                  </a:lnTo>
                  <a:lnTo>
                    <a:pt x="10" y="519"/>
                  </a:lnTo>
                  <a:lnTo>
                    <a:pt x="10" y="521"/>
                  </a:lnTo>
                  <a:lnTo>
                    <a:pt x="12" y="521"/>
                  </a:lnTo>
                  <a:lnTo>
                    <a:pt x="12" y="519"/>
                  </a:lnTo>
                  <a:lnTo>
                    <a:pt x="12" y="521"/>
                  </a:lnTo>
                  <a:lnTo>
                    <a:pt x="10" y="521"/>
                  </a:lnTo>
                  <a:lnTo>
                    <a:pt x="10" y="523"/>
                  </a:lnTo>
                  <a:lnTo>
                    <a:pt x="10" y="521"/>
                  </a:lnTo>
                  <a:lnTo>
                    <a:pt x="10" y="523"/>
                  </a:lnTo>
                  <a:lnTo>
                    <a:pt x="12" y="523"/>
                  </a:lnTo>
                  <a:lnTo>
                    <a:pt x="12" y="521"/>
                  </a:lnTo>
                  <a:lnTo>
                    <a:pt x="12" y="523"/>
                  </a:lnTo>
                  <a:lnTo>
                    <a:pt x="14" y="523"/>
                  </a:lnTo>
                  <a:lnTo>
                    <a:pt x="14" y="525"/>
                  </a:lnTo>
                  <a:lnTo>
                    <a:pt x="12" y="525"/>
                  </a:lnTo>
                  <a:lnTo>
                    <a:pt x="14" y="525"/>
                  </a:lnTo>
                  <a:lnTo>
                    <a:pt x="12" y="525"/>
                  </a:lnTo>
                  <a:lnTo>
                    <a:pt x="14" y="525"/>
                  </a:lnTo>
                  <a:lnTo>
                    <a:pt x="12" y="525"/>
                  </a:lnTo>
                  <a:lnTo>
                    <a:pt x="14" y="525"/>
                  </a:lnTo>
                  <a:lnTo>
                    <a:pt x="12" y="525"/>
                  </a:lnTo>
                  <a:lnTo>
                    <a:pt x="12" y="526"/>
                  </a:lnTo>
                  <a:lnTo>
                    <a:pt x="14" y="526"/>
                  </a:lnTo>
                  <a:lnTo>
                    <a:pt x="14" y="528"/>
                  </a:lnTo>
                  <a:lnTo>
                    <a:pt x="12" y="528"/>
                  </a:lnTo>
                  <a:lnTo>
                    <a:pt x="12" y="530"/>
                  </a:lnTo>
                  <a:lnTo>
                    <a:pt x="12" y="528"/>
                  </a:lnTo>
                  <a:lnTo>
                    <a:pt x="12" y="530"/>
                  </a:lnTo>
                  <a:lnTo>
                    <a:pt x="10" y="530"/>
                  </a:lnTo>
                  <a:lnTo>
                    <a:pt x="12" y="530"/>
                  </a:lnTo>
                  <a:lnTo>
                    <a:pt x="12" y="532"/>
                  </a:lnTo>
                  <a:lnTo>
                    <a:pt x="10" y="532"/>
                  </a:lnTo>
                  <a:lnTo>
                    <a:pt x="12" y="532"/>
                  </a:lnTo>
                  <a:lnTo>
                    <a:pt x="12" y="534"/>
                  </a:lnTo>
                  <a:lnTo>
                    <a:pt x="12" y="536"/>
                  </a:lnTo>
                  <a:lnTo>
                    <a:pt x="10" y="536"/>
                  </a:lnTo>
                  <a:lnTo>
                    <a:pt x="10" y="538"/>
                  </a:lnTo>
                  <a:lnTo>
                    <a:pt x="12" y="538"/>
                  </a:lnTo>
                  <a:lnTo>
                    <a:pt x="12" y="540"/>
                  </a:lnTo>
                  <a:lnTo>
                    <a:pt x="12" y="542"/>
                  </a:lnTo>
                  <a:lnTo>
                    <a:pt x="14" y="542"/>
                  </a:lnTo>
                  <a:lnTo>
                    <a:pt x="12" y="542"/>
                  </a:lnTo>
                  <a:lnTo>
                    <a:pt x="12" y="540"/>
                  </a:lnTo>
                  <a:lnTo>
                    <a:pt x="12" y="538"/>
                  </a:lnTo>
                  <a:lnTo>
                    <a:pt x="12" y="540"/>
                  </a:lnTo>
                  <a:lnTo>
                    <a:pt x="12" y="538"/>
                  </a:lnTo>
                  <a:lnTo>
                    <a:pt x="12" y="540"/>
                  </a:lnTo>
                  <a:lnTo>
                    <a:pt x="14" y="540"/>
                  </a:lnTo>
                  <a:lnTo>
                    <a:pt x="14" y="538"/>
                  </a:lnTo>
                  <a:lnTo>
                    <a:pt x="14" y="540"/>
                  </a:lnTo>
                  <a:lnTo>
                    <a:pt x="16" y="538"/>
                  </a:lnTo>
                  <a:lnTo>
                    <a:pt x="16" y="540"/>
                  </a:lnTo>
                  <a:lnTo>
                    <a:pt x="18" y="540"/>
                  </a:lnTo>
                  <a:lnTo>
                    <a:pt x="16" y="540"/>
                  </a:lnTo>
                  <a:lnTo>
                    <a:pt x="16" y="542"/>
                  </a:lnTo>
                  <a:lnTo>
                    <a:pt x="16" y="540"/>
                  </a:lnTo>
                  <a:lnTo>
                    <a:pt x="16" y="542"/>
                  </a:lnTo>
                  <a:lnTo>
                    <a:pt x="16" y="540"/>
                  </a:lnTo>
                  <a:lnTo>
                    <a:pt x="18" y="540"/>
                  </a:lnTo>
                  <a:lnTo>
                    <a:pt x="18" y="542"/>
                  </a:lnTo>
                  <a:lnTo>
                    <a:pt x="16" y="542"/>
                  </a:lnTo>
                  <a:lnTo>
                    <a:pt x="18" y="542"/>
                  </a:lnTo>
                  <a:lnTo>
                    <a:pt x="18" y="544"/>
                  </a:lnTo>
                  <a:lnTo>
                    <a:pt x="16" y="544"/>
                  </a:lnTo>
                  <a:lnTo>
                    <a:pt x="18" y="544"/>
                  </a:lnTo>
                  <a:lnTo>
                    <a:pt x="16" y="544"/>
                  </a:lnTo>
                  <a:lnTo>
                    <a:pt x="16" y="546"/>
                  </a:lnTo>
                  <a:lnTo>
                    <a:pt x="16" y="544"/>
                  </a:lnTo>
                  <a:lnTo>
                    <a:pt x="14" y="544"/>
                  </a:lnTo>
                  <a:lnTo>
                    <a:pt x="12" y="544"/>
                  </a:lnTo>
                  <a:lnTo>
                    <a:pt x="14" y="544"/>
                  </a:lnTo>
                  <a:lnTo>
                    <a:pt x="14" y="546"/>
                  </a:lnTo>
                  <a:lnTo>
                    <a:pt x="16" y="546"/>
                  </a:lnTo>
                  <a:lnTo>
                    <a:pt x="16" y="548"/>
                  </a:lnTo>
                  <a:lnTo>
                    <a:pt x="18" y="548"/>
                  </a:lnTo>
                  <a:lnTo>
                    <a:pt x="18" y="549"/>
                  </a:lnTo>
                  <a:lnTo>
                    <a:pt x="18" y="548"/>
                  </a:lnTo>
                  <a:lnTo>
                    <a:pt x="18" y="549"/>
                  </a:lnTo>
                  <a:lnTo>
                    <a:pt x="16" y="549"/>
                  </a:lnTo>
                  <a:lnTo>
                    <a:pt x="14" y="549"/>
                  </a:lnTo>
                  <a:lnTo>
                    <a:pt x="12" y="549"/>
                  </a:lnTo>
                  <a:lnTo>
                    <a:pt x="14" y="549"/>
                  </a:lnTo>
                  <a:lnTo>
                    <a:pt x="12" y="549"/>
                  </a:lnTo>
                  <a:lnTo>
                    <a:pt x="12" y="548"/>
                  </a:lnTo>
                  <a:lnTo>
                    <a:pt x="12" y="549"/>
                  </a:lnTo>
                  <a:lnTo>
                    <a:pt x="12" y="548"/>
                  </a:lnTo>
                  <a:lnTo>
                    <a:pt x="12" y="549"/>
                  </a:lnTo>
                  <a:lnTo>
                    <a:pt x="10" y="549"/>
                  </a:lnTo>
                  <a:lnTo>
                    <a:pt x="8" y="549"/>
                  </a:lnTo>
                  <a:lnTo>
                    <a:pt x="8" y="548"/>
                  </a:lnTo>
                  <a:lnTo>
                    <a:pt x="10" y="548"/>
                  </a:lnTo>
                  <a:lnTo>
                    <a:pt x="10" y="546"/>
                  </a:lnTo>
                  <a:lnTo>
                    <a:pt x="10" y="544"/>
                  </a:lnTo>
                  <a:lnTo>
                    <a:pt x="10" y="542"/>
                  </a:lnTo>
                  <a:lnTo>
                    <a:pt x="10" y="540"/>
                  </a:lnTo>
                  <a:lnTo>
                    <a:pt x="10" y="542"/>
                  </a:lnTo>
                  <a:lnTo>
                    <a:pt x="10" y="544"/>
                  </a:lnTo>
                  <a:lnTo>
                    <a:pt x="10" y="546"/>
                  </a:lnTo>
                  <a:lnTo>
                    <a:pt x="8" y="546"/>
                  </a:lnTo>
                  <a:lnTo>
                    <a:pt x="8" y="548"/>
                  </a:lnTo>
                  <a:lnTo>
                    <a:pt x="6" y="548"/>
                  </a:lnTo>
                  <a:lnTo>
                    <a:pt x="8" y="548"/>
                  </a:lnTo>
                  <a:lnTo>
                    <a:pt x="6" y="548"/>
                  </a:lnTo>
                  <a:lnTo>
                    <a:pt x="6" y="546"/>
                  </a:lnTo>
                  <a:lnTo>
                    <a:pt x="6" y="544"/>
                  </a:lnTo>
                  <a:lnTo>
                    <a:pt x="6" y="542"/>
                  </a:lnTo>
                  <a:lnTo>
                    <a:pt x="8" y="542"/>
                  </a:lnTo>
                  <a:lnTo>
                    <a:pt x="6" y="542"/>
                  </a:lnTo>
                  <a:lnTo>
                    <a:pt x="8" y="542"/>
                  </a:lnTo>
                  <a:lnTo>
                    <a:pt x="8" y="540"/>
                  </a:lnTo>
                  <a:lnTo>
                    <a:pt x="6" y="540"/>
                  </a:lnTo>
                  <a:lnTo>
                    <a:pt x="8" y="540"/>
                  </a:lnTo>
                  <a:lnTo>
                    <a:pt x="6" y="540"/>
                  </a:lnTo>
                  <a:lnTo>
                    <a:pt x="8" y="540"/>
                  </a:lnTo>
                  <a:lnTo>
                    <a:pt x="8" y="538"/>
                  </a:lnTo>
                  <a:lnTo>
                    <a:pt x="8" y="540"/>
                  </a:lnTo>
                  <a:lnTo>
                    <a:pt x="6" y="540"/>
                  </a:lnTo>
                  <a:lnTo>
                    <a:pt x="6" y="542"/>
                  </a:lnTo>
                  <a:lnTo>
                    <a:pt x="4" y="542"/>
                  </a:lnTo>
                  <a:lnTo>
                    <a:pt x="4" y="540"/>
                  </a:lnTo>
                  <a:lnTo>
                    <a:pt x="6" y="540"/>
                  </a:lnTo>
                  <a:lnTo>
                    <a:pt x="4" y="540"/>
                  </a:lnTo>
                  <a:lnTo>
                    <a:pt x="6" y="540"/>
                  </a:lnTo>
                  <a:lnTo>
                    <a:pt x="4" y="540"/>
                  </a:lnTo>
                  <a:lnTo>
                    <a:pt x="6" y="540"/>
                  </a:lnTo>
                  <a:lnTo>
                    <a:pt x="4" y="540"/>
                  </a:lnTo>
                  <a:lnTo>
                    <a:pt x="6" y="540"/>
                  </a:lnTo>
                  <a:lnTo>
                    <a:pt x="4" y="540"/>
                  </a:lnTo>
                  <a:lnTo>
                    <a:pt x="6" y="540"/>
                  </a:lnTo>
                  <a:lnTo>
                    <a:pt x="4" y="540"/>
                  </a:lnTo>
                  <a:lnTo>
                    <a:pt x="4" y="538"/>
                  </a:lnTo>
                  <a:lnTo>
                    <a:pt x="4" y="540"/>
                  </a:lnTo>
                  <a:lnTo>
                    <a:pt x="4" y="538"/>
                  </a:lnTo>
                  <a:lnTo>
                    <a:pt x="6" y="538"/>
                  </a:lnTo>
                  <a:lnTo>
                    <a:pt x="4" y="538"/>
                  </a:lnTo>
                  <a:lnTo>
                    <a:pt x="6" y="538"/>
                  </a:lnTo>
                  <a:lnTo>
                    <a:pt x="6" y="536"/>
                  </a:lnTo>
                  <a:lnTo>
                    <a:pt x="6" y="534"/>
                  </a:lnTo>
                  <a:lnTo>
                    <a:pt x="6" y="536"/>
                  </a:lnTo>
                  <a:lnTo>
                    <a:pt x="6" y="534"/>
                  </a:lnTo>
                  <a:lnTo>
                    <a:pt x="4" y="534"/>
                  </a:lnTo>
                  <a:lnTo>
                    <a:pt x="6" y="534"/>
                  </a:lnTo>
                  <a:lnTo>
                    <a:pt x="6" y="532"/>
                  </a:lnTo>
                  <a:lnTo>
                    <a:pt x="4" y="532"/>
                  </a:lnTo>
                  <a:lnTo>
                    <a:pt x="6" y="532"/>
                  </a:lnTo>
                  <a:lnTo>
                    <a:pt x="4" y="532"/>
                  </a:lnTo>
                  <a:lnTo>
                    <a:pt x="4" y="530"/>
                  </a:lnTo>
                  <a:lnTo>
                    <a:pt x="6" y="530"/>
                  </a:lnTo>
                  <a:lnTo>
                    <a:pt x="4" y="530"/>
                  </a:lnTo>
                  <a:lnTo>
                    <a:pt x="6" y="530"/>
                  </a:lnTo>
                  <a:lnTo>
                    <a:pt x="4" y="530"/>
                  </a:lnTo>
                  <a:lnTo>
                    <a:pt x="4" y="528"/>
                  </a:lnTo>
                  <a:lnTo>
                    <a:pt x="4" y="530"/>
                  </a:lnTo>
                  <a:lnTo>
                    <a:pt x="4" y="528"/>
                  </a:lnTo>
                  <a:lnTo>
                    <a:pt x="4" y="530"/>
                  </a:lnTo>
                  <a:lnTo>
                    <a:pt x="4" y="528"/>
                  </a:lnTo>
                  <a:lnTo>
                    <a:pt x="6" y="528"/>
                  </a:lnTo>
                  <a:lnTo>
                    <a:pt x="6" y="526"/>
                  </a:lnTo>
                  <a:lnTo>
                    <a:pt x="8" y="526"/>
                  </a:lnTo>
                  <a:lnTo>
                    <a:pt x="8" y="528"/>
                  </a:lnTo>
                  <a:lnTo>
                    <a:pt x="10" y="528"/>
                  </a:lnTo>
                  <a:lnTo>
                    <a:pt x="10" y="526"/>
                  </a:lnTo>
                  <a:lnTo>
                    <a:pt x="8" y="526"/>
                  </a:lnTo>
                  <a:lnTo>
                    <a:pt x="8" y="525"/>
                  </a:lnTo>
                  <a:lnTo>
                    <a:pt x="10" y="525"/>
                  </a:lnTo>
                  <a:lnTo>
                    <a:pt x="8" y="525"/>
                  </a:lnTo>
                  <a:lnTo>
                    <a:pt x="6" y="525"/>
                  </a:lnTo>
                  <a:lnTo>
                    <a:pt x="6" y="523"/>
                  </a:lnTo>
                  <a:lnTo>
                    <a:pt x="8" y="523"/>
                  </a:lnTo>
                  <a:lnTo>
                    <a:pt x="6" y="523"/>
                  </a:lnTo>
                  <a:lnTo>
                    <a:pt x="6" y="521"/>
                  </a:lnTo>
                  <a:lnTo>
                    <a:pt x="8" y="521"/>
                  </a:lnTo>
                  <a:lnTo>
                    <a:pt x="6" y="521"/>
                  </a:lnTo>
                  <a:lnTo>
                    <a:pt x="6" y="519"/>
                  </a:lnTo>
                  <a:lnTo>
                    <a:pt x="4" y="519"/>
                  </a:lnTo>
                  <a:lnTo>
                    <a:pt x="6" y="519"/>
                  </a:lnTo>
                  <a:lnTo>
                    <a:pt x="4" y="519"/>
                  </a:lnTo>
                  <a:lnTo>
                    <a:pt x="6" y="519"/>
                  </a:lnTo>
                  <a:lnTo>
                    <a:pt x="6" y="517"/>
                  </a:lnTo>
                  <a:lnTo>
                    <a:pt x="4" y="517"/>
                  </a:lnTo>
                  <a:lnTo>
                    <a:pt x="6" y="517"/>
                  </a:lnTo>
                  <a:lnTo>
                    <a:pt x="4" y="517"/>
                  </a:lnTo>
                  <a:lnTo>
                    <a:pt x="4" y="515"/>
                  </a:lnTo>
                  <a:lnTo>
                    <a:pt x="6" y="515"/>
                  </a:lnTo>
                  <a:lnTo>
                    <a:pt x="6" y="517"/>
                  </a:lnTo>
                  <a:lnTo>
                    <a:pt x="6" y="515"/>
                  </a:lnTo>
                  <a:lnTo>
                    <a:pt x="4" y="515"/>
                  </a:lnTo>
                  <a:lnTo>
                    <a:pt x="4" y="513"/>
                  </a:lnTo>
                  <a:lnTo>
                    <a:pt x="6" y="513"/>
                  </a:lnTo>
                  <a:lnTo>
                    <a:pt x="6" y="511"/>
                  </a:lnTo>
                  <a:lnTo>
                    <a:pt x="4" y="511"/>
                  </a:lnTo>
                  <a:lnTo>
                    <a:pt x="4" y="513"/>
                  </a:lnTo>
                  <a:lnTo>
                    <a:pt x="4" y="511"/>
                  </a:lnTo>
                  <a:lnTo>
                    <a:pt x="4" y="509"/>
                  </a:lnTo>
                  <a:lnTo>
                    <a:pt x="4" y="511"/>
                  </a:lnTo>
                  <a:lnTo>
                    <a:pt x="4" y="509"/>
                  </a:lnTo>
                  <a:lnTo>
                    <a:pt x="6" y="509"/>
                  </a:lnTo>
                  <a:lnTo>
                    <a:pt x="4" y="509"/>
                  </a:lnTo>
                  <a:lnTo>
                    <a:pt x="4" y="507"/>
                  </a:lnTo>
                  <a:lnTo>
                    <a:pt x="4" y="505"/>
                  </a:lnTo>
                  <a:lnTo>
                    <a:pt x="6" y="505"/>
                  </a:lnTo>
                  <a:lnTo>
                    <a:pt x="6" y="507"/>
                  </a:lnTo>
                  <a:lnTo>
                    <a:pt x="6" y="505"/>
                  </a:lnTo>
                  <a:lnTo>
                    <a:pt x="4" y="505"/>
                  </a:lnTo>
                  <a:lnTo>
                    <a:pt x="4" y="503"/>
                  </a:lnTo>
                  <a:lnTo>
                    <a:pt x="2" y="503"/>
                  </a:lnTo>
                  <a:lnTo>
                    <a:pt x="2" y="501"/>
                  </a:lnTo>
                  <a:lnTo>
                    <a:pt x="4" y="501"/>
                  </a:lnTo>
                  <a:lnTo>
                    <a:pt x="2" y="501"/>
                  </a:lnTo>
                  <a:lnTo>
                    <a:pt x="2" y="500"/>
                  </a:lnTo>
                  <a:lnTo>
                    <a:pt x="2" y="498"/>
                  </a:lnTo>
                  <a:lnTo>
                    <a:pt x="2" y="500"/>
                  </a:lnTo>
                  <a:lnTo>
                    <a:pt x="2" y="498"/>
                  </a:lnTo>
                  <a:lnTo>
                    <a:pt x="4" y="498"/>
                  </a:lnTo>
                  <a:lnTo>
                    <a:pt x="6" y="498"/>
                  </a:lnTo>
                  <a:lnTo>
                    <a:pt x="6" y="500"/>
                  </a:lnTo>
                  <a:lnTo>
                    <a:pt x="6" y="501"/>
                  </a:lnTo>
                  <a:lnTo>
                    <a:pt x="6" y="500"/>
                  </a:lnTo>
                  <a:lnTo>
                    <a:pt x="6" y="498"/>
                  </a:lnTo>
                  <a:lnTo>
                    <a:pt x="8" y="498"/>
                  </a:lnTo>
                  <a:lnTo>
                    <a:pt x="8" y="500"/>
                  </a:lnTo>
                  <a:lnTo>
                    <a:pt x="8" y="501"/>
                  </a:lnTo>
                  <a:lnTo>
                    <a:pt x="8" y="503"/>
                  </a:lnTo>
                  <a:lnTo>
                    <a:pt x="8" y="501"/>
                  </a:lnTo>
                  <a:lnTo>
                    <a:pt x="8" y="500"/>
                  </a:lnTo>
                  <a:lnTo>
                    <a:pt x="8" y="498"/>
                  </a:lnTo>
                  <a:lnTo>
                    <a:pt x="10" y="498"/>
                  </a:lnTo>
                  <a:lnTo>
                    <a:pt x="8" y="498"/>
                  </a:lnTo>
                  <a:lnTo>
                    <a:pt x="8" y="496"/>
                  </a:lnTo>
                  <a:lnTo>
                    <a:pt x="8" y="494"/>
                  </a:lnTo>
                  <a:lnTo>
                    <a:pt x="8" y="492"/>
                  </a:lnTo>
                  <a:lnTo>
                    <a:pt x="8" y="494"/>
                  </a:lnTo>
                  <a:lnTo>
                    <a:pt x="8" y="496"/>
                  </a:lnTo>
                  <a:lnTo>
                    <a:pt x="6" y="496"/>
                  </a:lnTo>
                  <a:lnTo>
                    <a:pt x="4" y="496"/>
                  </a:lnTo>
                  <a:lnTo>
                    <a:pt x="4" y="498"/>
                  </a:lnTo>
                  <a:lnTo>
                    <a:pt x="2" y="498"/>
                  </a:lnTo>
                  <a:lnTo>
                    <a:pt x="2" y="496"/>
                  </a:lnTo>
                  <a:lnTo>
                    <a:pt x="2" y="498"/>
                  </a:lnTo>
                  <a:lnTo>
                    <a:pt x="2" y="496"/>
                  </a:lnTo>
                  <a:lnTo>
                    <a:pt x="2" y="498"/>
                  </a:lnTo>
                  <a:lnTo>
                    <a:pt x="2" y="496"/>
                  </a:lnTo>
                  <a:lnTo>
                    <a:pt x="2" y="494"/>
                  </a:lnTo>
                  <a:lnTo>
                    <a:pt x="2" y="492"/>
                  </a:lnTo>
                  <a:lnTo>
                    <a:pt x="0" y="492"/>
                  </a:lnTo>
                  <a:lnTo>
                    <a:pt x="2" y="492"/>
                  </a:lnTo>
                  <a:lnTo>
                    <a:pt x="0" y="492"/>
                  </a:lnTo>
                  <a:lnTo>
                    <a:pt x="2" y="492"/>
                  </a:lnTo>
                  <a:lnTo>
                    <a:pt x="2" y="490"/>
                  </a:lnTo>
                  <a:lnTo>
                    <a:pt x="2" y="488"/>
                  </a:lnTo>
                  <a:lnTo>
                    <a:pt x="4" y="488"/>
                  </a:lnTo>
                  <a:lnTo>
                    <a:pt x="4" y="490"/>
                  </a:lnTo>
                  <a:lnTo>
                    <a:pt x="4" y="492"/>
                  </a:lnTo>
                  <a:lnTo>
                    <a:pt x="4" y="490"/>
                  </a:lnTo>
                  <a:lnTo>
                    <a:pt x="4" y="492"/>
                  </a:lnTo>
                  <a:lnTo>
                    <a:pt x="6" y="492"/>
                  </a:lnTo>
                  <a:lnTo>
                    <a:pt x="6" y="490"/>
                  </a:lnTo>
                  <a:lnTo>
                    <a:pt x="4" y="490"/>
                  </a:lnTo>
                  <a:lnTo>
                    <a:pt x="4" y="488"/>
                  </a:lnTo>
                  <a:lnTo>
                    <a:pt x="6" y="488"/>
                  </a:lnTo>
                  <a:lnTo>
                    <a:pt x="4" y="488"/>
                  </a:lnTo>
                  <a:lnTo>
                    <a:pt x="2" y="488"/>
                  </a:lnTo>
                  <a:lnTo>
                    <a:pt x="2" y="486"/>
                  </a:lnTo>
                  <a:lnTo>
                    <a:pt x="2" y="484"/>
                  </a:lnTo>
                  <a:lnTo>
                    <a:pt x="2" y="486"/>
                  </a:lnTo>
                  <a:lnTo>
                    <a:pt x="2" y="484"/>
                  </a:lnTo>
                  <a:lnTo>
                    <a:pt x="4" y="484"/>
                  </a:lnTo>
                  <a:lnTo>
                    <a:pt x="4" y="486"/>
                  </a:lnTo>
                  <a:lnTo>
                    <a:pt x="4" y="484"/>
                  </a:lnTo>
                  <a:lnTo>
                    <a:pt x="2" y="484"/>
                  </a:lnTo>
                  <a:lnTo>
                    <a:pt x="2" y="482"/>
                  </a:lnTo>
                  <a:lnTo>
                    <a:pt x="4" y="482"/>
                  </a:lnTo>
                  <a:lnTo>
                    <a:pt x="6" y="482"/>
                  </a:lnTo>
                  <a:lnTo>
                    <a:pt x="6" y="484"/>
                  </a:lnTo>
                  <a:lnTo>
                    <a:pt x="8" y="484"/>
                  </a:lnTo>
                  <a:lnTo>
                    <a:pt x="6" y="484"/>
                  </a:lnTo>
                  <a:lnTo>
                    <a:pt x="8" y="484"/>
                  </a:lnTo>
                  <a:lnTo>
                    <a:pt x="6" y="484"/>
                  </a:lnTo>
                  <a:lnTo>
                    <a:pt x="8" y="484"/>
                  </a:lnTo>
                  <a:lnTo>
                    <a:pt x="8" y="486"/>
                  </a:lnTo>
                  <a:lnTo>
                    <a:pt x="8" y="484"/>
                  </a:lnTo>
                  <a:lnTo>
                    <a:pt x="8" y="486"/>
                  </a:lnTo>
                  <a:lnTo>
                    <a:pt x="10" y="486"/>
                  </a:lnTo>
                  <a:lnTo>
                    <a:pt x="10" y="488"/>
                  </a:lnTo>
                  <a:lnTo>
                    <a:pt x="10" y="486"/>
                  </a:lnTo>
                  <a:lnTo>
                    <a:pt x="10" y="484"/>
                  </a:lnTo>
                  <a:lnTo>
                    <a:pt x="8" y="484"/>
                  </a:lnTo>
                  <a:lnTo>
                    <a:pt x="10" y="484"/>
                  </a:lnTo>
                  <a:lnTo>
                    <a:pt x="10" y="486"/>
                  </a:lnTo>
                  <a:lnTo>
                    <a:pt x="12" y="486"/>
                  </a:lnTo>
                  <a:lnTo>
                    <a:pt x="10" y="486"/>
                  </a:lnTo>
                  <a:lnTo>
                    <a:pt x="10" y="484"/>
                  </a:lnTo>
                  <a:lnTo>
                    <a:pt x="12" y="484"/>
                  </a:lnTo>
                  <a:lnTo>
                    <a:pt x="12" y="486"/>
                  </a:lnTo>
                  <a:lnTo>
                    <a:pt x="12" y="484"/>
                  </a:lnTo>
                  <a:lnTo>
                    <a:pt x="10" y="484"/>
                  </a:lnTo>
                  <a:lnTo>
                    <a:pt x="10" y="482"/>
                  </a:lnTo>
                  <a:lnTo>
                    <a:pt x="10" y="480"/>
                  </a:lnTo>
                  <a:lnTo>
                    <a:pt x="8" y="480"/>
                  </a:lnTo>
                  <a:lnTo>
                    <a:pt x="8" y="478"/>
                  </a:lnTo>
                  <a:lnTo>
                    <a:pt x="6" y="478"/>
                  </a:lnTo>
                  <a:lnTo>
                    <a:pt x="8" y="478"/>
                  </a:lnTo>
                  <a:lnTo>
                    <a:pt x="6" y="478"/>
                  </a:lnTo>
                  <a:lnTo>
                    <a:pt x="8" y="478"/>
                  </a:lnTo>
                  <a:lnTo>
                    <a:pt x="6" y="478"/>
                  </a:lnTo>
                  <a:lnTo>
                    <a:pt x="8" y="478"/>
                  </a:lnTo>
                  <a:lnTo>
                    <a:pt x="6" y="478"/>
                  </a:lnTo>
                  <a:lnTo>
                    <a:pt x="6" y="477"/>
                  </a:lnTo>
                  <a:lnTo>
                    <a:pt x="6" y="478"/>
                  </a:lnTo>
                  <a:lnTo>
                    <a:pt x="6" y="477"/>
                  </a:lnTo>
                  <a:lnTo>
                    <a:pt x="6" y="478"/>
                  </a:lnTo>
                  <a:lnTo>
                    <a:pt x="8" y="478"/>
                  </a:lnTo>
                  <a:lnTo>
                    <a:pt x="10" y="478"/>
                  </a:lnTo>
                  <a:lnTo>
                    <a:pt x="10" y="477"/>
                  </a:lnTo>
                  <a:lnTo>
                    <a:pt x="10" y="478"/>
                  </a:lnTo>
                  <a:lnTo>
                    <a:pt x="8" y="478"/>
                  </a:lnTo>
                  <a:lnTo>
                    <a:pt x="8" y="477"/>
                  </a:lnTo>
                  <a:lnTo>
                    <a:pt x="6" y="477"/>
                  </a:lnTo>
                  <a:lnTo>
                    <a:pt x="8" y="477"/>
                  </a:lnTo>
                  <a:lnTo>
                    <a:pt x="6" y="477"/>
                  </a:lnTo>
                  <a:lnTo>
                    <a:pt x="4" y="477"/>
                  </a:lnTo>
                  <a:lnTo>
                    <a:pt x="4" y="475"/>
                  </a:lnTo>
                  <a:lnTo>
                    <a:pt x="2" y="475"/>
                  </a:lnTo>
                  <a:lnTo>
                    <a:pt x="2" y="473"/>
                  </a:lnTo>
                  <a:lnTo>
                    <a:pt x="4" y="473"/>
                  </a:lnTo>
                  <a:lnTo>
                    <a:pt x="2" y="473"/>
                  </a:lnTo>
                  <a:lnTo>
                    <a:pt x="4" y="473"/>
                  </a:lnTo>
                  <a:lnTo>
                    <a:pt x="2" y="473"/>
                  </a:lnTo>
                  <a:lnTo>
                    <a:pt x="2" y="471"/>
                  </a:lnTo>
                  <a:lnTo>
                    <a:pt x="2" y="469"/>
                  </a:lnTo>
                  <a:lnTo>
                    <a:pt x="2" y="471"/>
                  </a:lnTo>
                  <a:lnTo>
                    <a:pt x="2" y="469"/>
                  </a:lnTo>
                  <a:close/>
                  <a:moveTo>
                    <a:pt x="116" y="534"/>
                  </a:moveTo>
                  <a:lnTo>
                    <a:pt x="118" y="534"/>
                  </a:lnTo>
                  <a:lnTo>
                    <a:pt x="118" y="536"/>
                  </a:lnTo>
                  <a:lnTo>
                    <a:pt x="120" y="536"/>
                  </a:lnTo>
                  <a:lnTo>
                    <a:pt x="120" y="538"/>
                  </a:lnTo>
                  <a:lnTo>
                    <a:pt x="120" y="536"/>
                  </a:lnTo>
                  <a:lnTo>
                    <a:pt x="120" y="538"/>
                  </a:lnTo>
                  <a:lnTo>
                    <a:pt x="120" y="536"/>
                  </a:lnTo>
                  <a:lnTo>
                    <a:pt x="120" y="538"/>
                  </a:lnTo>
                  <a:lnTo>
                    <a:pt x="121" y="538"/>
                  </a:lnTo>
                  <a:lnTo>
                    <a:pt x="121" y="540"/>
                  </a:lnTo>
                  <a:lnTo>
                    <a:pt x="121" y="542"/>
                  </a:lnTo>
                  <a:lnTo>
                    <a:pt x="121" y="544"/>
                  </a:lnTo>
                  <a:lnTo>
                    <a:pt x="123" y="544"/>
                  </a:lnTo>
                  <a:lnTo>
                    <a:pt x="123" y="546"/>
                  </a:lnTo>
                  <a:lnTo>
                    <a:pt x="123" y="548"/>
                  </a:lnTo>
                  <a:lnTo>
                    <a:pt x="123" y="549"/>
                  </a:lnTo>
                  <a:lnTo>
                    <a:pt x="125" y="549"/>
                  </a:lnTo>
                  <a:lnTo>
                    <a:pt x="125" y="551"/>
                  </a:lnTo>
                  <a:lnTo>
                    <a:pt x="125" y="553"/>
                  </a:lnTo>
                  <a:lnTo>
                    <a:pt x="125" y="555"/>
                  </a:lnTo>
                  <a:lnTo>
                    <a:pt x="125" y="557"/>
                  </a:lnTo>
                  <a:lnTo>
                    <a:pt x="123" y="557"/>
                  </a:lnTo>
                  <a:lnTo>
                    <a:pt x="123" y="559"/>
                  </a:lnTo>
                  <a:lnTo>
                    <a:pt x="123" y="561"/>
                  </a:lnTo>
                  <a:lnTo>
                    <a:pt x="121" y="561"/>
                  </a:lnTo>
                  <a:lnTo>
                    <a:pt x="121" y="563"/>
                  </a:lnTo>
                  <a:lnTo>
                    <a:pt x="121" y="565"/>
                  </a:lnTo>
                  <a:lnTo>
                    <a:pt x="120" y="565"/>
                  </a:lnTo>
                  <a:lnTo>
                    <a:pt x="120" y="567"/>
                  </a:lnTo>
                  <a:lnTo>
                    <a:pt x="118" y="567"/>
                  </a:lnTo>
                  <a:lnTo>
                    <a:pt x="118" y="569"/>
                  </a:lnTo>
                  <a:lnTo>
                    <a:pt x="116" y="571"/>
                  </a:lnTo>
                  <a:lnTo>
                    <a:pt x="116" y="573"/>
                  </a:lnTo>
                  <a:lnTo>
                    <a:pt x="114" y="573"/>
                  </a:lnTo>
                  <a:lnTo>
                    <a:pt x="114" y="574"/>
                  </a:lnTo>
                  <a:lnTo>
                    <a:pt x="112" y="574"/>
                  </a:lnTo>
                  <a:lnTo>
                    <a:pt x="112" y="573"/>
                  </a:lnTo>
                  <a:lnTo>
                    <a:pt x="114" y="573"/>
                  </a:lnTo>
                  <a:lnTo>
                    <a:pt x="112" y="573"/>
                  </a:lnTo>
                  <a:lnTo>
                    <a:pt x="112" y="574"/>
                  </a:lnTo>
                  <a:lnTo>
                    <a:pt x="112" y="576"/>
                  </a:lnTo>
                  <a:lnTo>
                    <a:pt x="110" y="576"/>
                  </a:lnTo>
                  <a:lnTo>
                    <a:pt x="108" y="576"/>
                  </a:lnTo>
                  <a:lnTo>
                    <a:pt x="108" y="578"/>
                  </a:lnTo>
                  <a:lnTo>
                    <a:pt x="106" y="578"/>
                  </a:lnTo>
                  <a:lnTo>
                    <a:pt x="106" y="576"/>
                  </a:lnTo>
                  <a:lnTo>
                    <a:pt x="106" y="578"/>
                  </a:lnTo>
                  <a:lnTo>
                    <a:pt x="108" y="578"/>
                  </a:lnTo>
                  <a:lnTo>
                    <a:pt x="108" y="576"/>
                  </a:lnTo>
                  <a:lnTo>
                    <a:pt x="110" y="576"/>
                  </a:lnTo>
                  <a:lnTo>
                    <a:pt x="110" y="578"/>
                  </a:lnTo>
                  <a:lnTo>
                    <a:pt x="108" y="578"/>
                  </a:lnTo>
                  <a:lnTo>
                    <a:pt x="110" y="578"/>
                  </a:lnTo>
                  <a:lnTo>
                    <a:pt x="108" y="578"/>
                  </a:lnTo>
                  <a:lnTo>
                    <a:pt x="110" y="578"/>
                  </a:lnTo>
                  <a:lnTo>
                    <a:pt x="108" y="578"/>
                  </a:lnTo>
                  <a:lnTo>
                    <a:pt x="108" y="580"/>
                  </a:lnTo>
                  <a:lnTo>
                    <a:pt x="106" y="580"/>
                  </a:lnTo>
                  <a:lnTo>
                    <a:pt x="106" y="578"/>
                  </a:lnTo>
                  <a:lnTo>
                    <a:pt x="104" y="578"/>
                  </a:lnTo>
                  <a:lnTo>
                    <a:pt x="104" y="576"/>
                  </a:lnTo>
                  <a:lnTo>
                    <a:pt x="104" y="578"/>
                  </a:lnTo>
                  <a:lnTo>
                    <a:pt x="104" y="576"/>
                  </a:lnTo>
                  <a:lnTo>
                    <a:pt x="102" y="576"/>
                  </a:lnTo>
                  <a:lnTo>
                    <a:pt x="104" y="576"/>
                  </a:lnTo>
                  <a:lnTo>
                    <a:pt x="104" y="574"/>
                  </a:lnTo>
                  <a:lnTo>
                    <a:pt x="106" y="574"/>
                  </a:lnTo>
                  <a:lnTo>
                    <a:pt x="106" y="573"/>
                  </a:lnTo>
                  <a:lnTo>
                    <a:pt x="106" y="571"/>
                  </a:lnTo>
                  <a:lnTo>
                    <a:pt x="106" y="569"/>
                  </a:lnTo>
                  <a:lnTo>
                    <a:pt x="108" y="569"/>
                  </a:lnTo>
                  <a:lnTo>
                    <a:pt x="108" y="571"/>
                  </a:lnTo>
                  <a:lnTo>
                    <a:pt x="108" y="569"/>
                  </a:lnTo>
                  <a:lnTo>
                    <a:pt x="108" y="567"/>
                  </a:lnTo>
                  <a:lnTo>
                    <a:pt x="110" y="567"/>
                  </a:lnTo>
                  <a:lnTo>
                    <a:pt x="110" y="569"/>
                  </a:lnTo>
                  <a:lnTo>
                    <a:pt x="110" y="567"/>
                  </a:lnTo>
                  <a:lnTo>
                    <a:pt x="110" y="565"/>
                  </a:lnTo>
                  <a:lnTo>
                    <a:pt x="112" y="565"/>
                  </a:lnTo>
                  <a:lnTo>
                    <a:pt x="114" y="565"/>
                  </a:lnTo>
                  <a:lnTo>
                    <a:pt x="114" y="563"/>
                  </a:lnTo>
                  <a:lnTo>
                    <a:pt x="116" y="563"/>
                  </a:lnTo>
                  <a:lnTo>
                    <a:pt x="116" y="565"/>
                  </a:lnTo>
                  <a:lnTo>
                    <a:pt x="116" y="563"/>
                  </a:lnTo>
                  <a:lnTo>
                    <a:pt x="118" y="563"/>
                  </a:lnTo>
                  <a:lnTo>
                    <a:pt x="118" y="561"/>
                  </a:lnTo>
                  <a:lnTo>
                    <a:pt x="118" y="559"/>
                  </a:lnTo>
                  <a:lnTo>
                    <a:pt x="118" y="561"/>
                  </a:lnTo>
                  <a:lnTo>
                    <a:pt x="116" y="561"/>
                  </a:lnTo>
                  <a:lnTo>
                    <a:pt x="116" y="563"/>
                  </a:lnTo>
                  <a:lnTo>
                    <a:pt x="114" y="563"/>
                  </a:lnTo>
                  <a:lnTo>
                    <a:pt x="114" y="561"/>
                  </a:lnTo>
                  <a:lnTo>
                    <a:pt x="114" y="563"/>
                  </a:lnTo>
                  <a:lnTo>
                    <a:pt x="112" y="563"/>
                  </a:lnTo>
                  <a:lnTo>
                    <a:pt x="112" y="565"/>
                  </a:lnTo>
                  <a:lnTo>
                    <a:pt x="110" y="565"/>
                  </a:lnTo>
                  <a:lnTo>
                    <a:pt x="110" y="563"/>
                  </a:lnTo>
                  <a:lnTo>
                    <a:pt x="110" y="565"/>
                  </a:lnTo>
                  <a:lnTo>
                    <a:pt x="110" y="567"/>
                  </a:lnTo>
                  <a:lnTo>
                    <a:pt x="110" y="565"/>
                  </a:lnTo>
                  <a:lnTo>
                    <a:pt x="110" y="567"/>
                  </a:lnTo>
                  <a:lnTo>
                    <a:pt x="108" y="567"/>
                  </a:lnTo>
                  <a:lnTo>
                    <a:pt x="110" y="567"/>
                  </a:lnTo>
                  <a:lnTo>
                    <a:pt x="108" y="567"/>
                  </a:lnTo>
                  <a:lnTo>
                    <a:pt x="108" y="569"/>
                  </a:lnTo>
                  <a:lnTo>
                    <a:pt x="106" y="569"/>
                  </a:lnTo>
                  <a:lnTo>
                    <a:pt x="106" y="571"/>
                  </a:lnTo>
                  <a:lnTo>
                    <a:pt x="106" y="573"/>
                  </a:lnTo>
                  <a:lnTo>
                    <a:pt x="104" y="573"/>
                  </a:lnTo>
                  <a:lnTo>
                    <a:pt x="104" y="571"/>
                  </a:lnTo>
                  <a:lnTo>
                    <a:pt x="104" y="573"/>
                  </a:lnTo>
                  <a:lnTo>
                    <a:pt x="102" y="573"/>
                  </a:lnTo>
                  <a:lnTo>
                    <a:pt x="102" y="571"/>
                  </a:lnTo>
                  <a:lnTo>
                    <a:pt x="102" y="573"/>
                  </a:lnTo>
                  <a:lnTo>
                    <a:pt x="102" y="571"/>
                  </a:lnTo>
                  <a:lnTo>
                    <a:pt x="102" y="573"/>
                  </a:lnTo>
                  <a:lnTo>
                    <a:pt x="102" y="571"/>
                  </a:lnTo>
                  <a:lnTo>
                    <a:pt x="100" y="571"/>
                  </a:lnTo>
                  <a:lnTo>
                    <a:pt x="102" y="571"/>
                  </a:lnTo>
                  <a:lnTo>
                    <a:pt x="102" y="573"/>
                  </a:lnTo>
                  <a:lnTo>
                    <a:pt x="100" y="573"/>
                  </a:lnTo>
                  <a:lnTo>
                    <a:pt x="102" y="573"/>
                  </a:lnTo>
                  <a:lnTo>
                    <a:pt x="100" y="573"/>
                  </a:lnTo>
                  <a:lnTo>
                    <a:pt x="100" y="571"/>
                  </a:lnTo>
                  <a:lnTo>
                    <a:pt x="100" y="573"/>
                  </a:lnTo>
                  <a:lnTo>
                    <a:pt x="100" y="571"/>
                  </a:lnTo>
                  <a:lnTo>
                    <a:pt x="100" y="573"/>
                  </a:lnTo>
                  <a:lnTo>
                    <a:pt x="100" y="571"/>
                  </a:lnTo>
                  <a:lnTo>
                    <a:pt x="98" y="571"/>
                  </a:lnTo>
                  <a:lnTo>
                    <a:pt x="98" y="569"/>
                  </a:lnTo>
                  <a:lnTo>
                    <a:pt x="98" y="567"/>
                  </a:lnTo>
                  <a:lnTo>
                    <a:pt x="98" y="565"/>
                  </a:lnTo>
                  <a:lnTo>
                    <a:pt x="98" y="567"/>
                  </a:lnTo>
                  <a:lnTo>
                    <a:pt x="98" y="565"/>
                  </a:lnTo>
                  <a:lnTo>
                    <a:pt x="98" y="567"/>
                  </a:lnTo>
                  <a:lnTo>
                    <a:pt x="98" y="565"/>
                  </a:lnTo>
                  <a:lnTo>
                    <a:pt x="98" y="567"/>
                  </a:lnTo>
                  <a:lnTo>
                    <a:pt x="98" y="565"/>
                  </a:lnTo>
                  <a:lnTo>
                    <a:pt x="98" y="567"/>
                  </a:lnTo>
                  <a:lnTo>
                    <a:pt x="100" y="567"/>
                  </a:lnTo>
                  <a:lnTo>
                    <a:pt x="100" y="565"/>
                  </a:lnTo>
                  <a:lnTo>
                    <a:pt x="100" y="567"/>
                  </a:lnTo>
                  <a:lnTo>
                    <a:pt x="100" y="565"/>
                  </a:lnTo>
                  <a:lnTo>
                    <a:pt x="100" y="567"/>
                  </a:lnTo>
                  <a:lnTo>
                    <a:pt x="100" y="565"/>
                  </a:lnTo>
                  <a:lnTo>
                    <a:pt x="98" y="565"/>
                  </a:lnTo>
                  <a:lnTo>
                    <a:pt x="100" y="565"/>
                  </a:lnTo>
                  <a:lnTo>
                    <a:pt x="98" y="565"/>
                  </a:lnTo>
                  <a:lnTo>
                    <a:pt x="98" y="567"/>
                  </a:lnTo>
                  <a:lnTo>
                    <a:pt x="98" y="565"/>
                  </a:lnTo>
                  <a:lnTo>
                    <a:pt x="98" y="567"/>
                  </a:lnTo>
                  <a:lnTo>
                    <a:pt x="98" y="565"/>
                  </a:lnTo>
                  <a:lnTo>
                    <a:pt x="98" y="563"/>
                  </a:lnTo>
                  <a:lnTo>
                    <a:pt x="96" y="563"/>
                  </a:lnTo>
                  <a:lnTo>
                    <a:pt x="98" y="563"/>
                  </a:lnTo>
                  <a:lnTo>
                    <a:pt x="100" y="563"/>
                  </a:lnTo>
                  <a:lnTo>
                    <a:pt x="98" y="563"/>
                  </a:lnTo>
                  <a:lnTo>
                    <a:pt x="98" y="561"/>
                  </a:lnTo>
                  <a:lnTo>
                    <a:pt x="98" y="559"/>
                  </a:lnTo>
                  <a:lnTo>
                    <a:pt x="98" y="557"/>
                  </a:lnTo>
                  <a:lnTo>
                    <a:pt x="98" y="555"/>
                  </a:lnTo>
                  <a:lnTo>
                    <a:pt x="100" y="555"/>
                  </a:lnTo>
                  <a:lnTo>
                    <a:pt x="102" y="555"/>
                  </a:lnTo>
                  <a:lnTo>
                    <a:pt x="102" y="557"/>
                  </a:lnTo>
                  <a:lnTo>
                    <a:pt x="102" y="559"/>
                  </a:lnTo>
                  <a:lnTo>
                    <a:pt x="102" y="557"/>
                  </a:lnTo>
                  <a:lnTo>
                    <a:pt x="102" y="555"/>
                  </a:lnTo>
                  <a:lnTo>
                    <a:pt x="104" y="555"/>
                  </a:lnTo>
                  <a:lnTo>
                    <a:pt x="106" y="555"/>
                  </a:lnTo>
                  <a:lnTo>
                    <a:pt x="108" y="555"/>
                  </a:lnTo>
                  <a:lnTo>
                    <a:pt x="106" y="555"/>
                  </a:lnTo>
                  <a:lnTo>
                    <a:pt x="106" y="553"/>
                  </a:lnTo>
                  <a:lnTo>
                    <a:pt x="108" y="553"/>
                  </a:lnTo>
                  <a:lnTo>
                    <a:pt x="110" y="553"/>
                  </a:lnTo>
                  <a:lnTo>
                    <a:pt x="108" y="553"/>
                  </a:lnTo>
                  <a:lnTo>
                    <a:pt x="110" y="553"/>
                  </a:lnTo>
                  <a:lnTo>
                    <a:pt x="110" y="551"/>
                  </a:lnTo>
                  <a:lnTo>
                    <a:pt x="112" y="551"/>
                  </a:lnTo>
                  <a:lnTo>
                    <a:pt x="110" y="551"/>
                  </a:lnTo>
                  <a:lnTo>
                    <a:pt x="108" y="551"/>
                  </a:lnTo>
                  <a:lnTo>
                    <a:pt x="108" y="553"/>
                  </a:lnTo>
                  <a:lnTo>
                    <a:pt x="108" y="551"/>
                  </a:lnTo>
                  <a:lnTo>
                    <a:pt x="108" y="553"/>
                  </a:lnTo>
                  <a:lnTo>
                    <a:pt x="106" y="553"/>
                  </a:lnTo>
                  <a:lnTo>
                    <a:pt x="104" y="553"/>
                  </a:lnTo>
                  <a:lnTo>
                    <a:pt x="104" y="555"/>
                  </a:lnTo>
                  <a:lnTo>
                    <a:pt x="102" y="555"/>
                  </a:lnTo>
                  <a:lnTo>
                    <a:pt x="102" y="553"/>
                  </a:lnTo>
                  <a:lnTo>
                    <a:pt x="100" y="553"/>
                  </a:lnTo>
                  <a:lnTo>
                    <a:pt x="102" y="553"/>
                  </a:lnTo>
                  <a:lnTo>
                    <a:pt x="102" y="551"/>
                  </a:lnTo>
                  <a:lnTo>
                    <a:pt x="102" y="549"/>
                  </a:lnTo>
                  <a:lnTo>
                    <a:pt x="104" y="549"/>
                  </a:lnTo>
                  <a:lnTo>
                    <a:pt x="102" y="549"/>
                  </a:lnTo>
                  <a:lnTo>
                    <a:pt x="102" y="551"/>
                  </a:lnTo>
                  <a:lnTo>
                    <a:pt x="100" y="551"/>
                  </a:lnTo>
                  <a:lnTo>
                    <a:pt x="102" y="551"/>
                  </a:lnTo>
                  <a:lnTo>
                    <a:pt x="100" y="551"/>
                  </a:lnTo>
                  <a:lnTo>
                    <a:pt x="102" y="551"/>
                  </a:lnTo>
                  <a:lnTo>
                    <a:pt x="100" y="551"/>
                  </a:lnTo>
                  <a:lnTo>
                    <a:pt x="100" y="549"/>
                  </a:lnTo>
                  <a:lnTo>
                    <a:pt x="100" y="548"/>
                  </a:lnTo>
                  <a:lnTo>
                    <a:pt x="102" y="548"/>
                  </a:lnTo>
                  <a:lnTo>
                    <a:pt x="102" y="549"/>
                  </a:lnTo>
                  <a:lnTo>
                    <a:pt x="100" y="549"/>
                  </a:lnTo>
                  <a:lnTo>
                    <a:pt x="102" y="549"/>
                  </a:lnTo>
                  <a:lnTo>
                    <a:pt x="102" y="548"/>
                  </a:lnTo>
                  <a:lnTo>
                    <a:pt x="102" y="546"/>
                  </a:lnTo>
                  <a:lnTo>
                    <a:pt x="104" y="546"/>
                  </a:lnTo>
                  <a:lnTo>
                    <a:pt x="106" y="546"/>
                  </a:lnTo>
                  <a:lnTo>
                    <a:pt x="104" y="546"/>
                  </a:lnTo>
                  <a:lnTo>
                    <a:pt x="104" y="544"/>
                  </a:lnTo>
                  <a:lnTo>
                    <a:pt x="106" y="544"/>
                  </a:lnTo>
                  <a:lnTo>
                    <a:pt x="104" y="544"/>
                  </a:lnTo>
                  <a:lnTo>
                    <a:pt x="106" y="544"/>
                  </a:lnTo>
                  <a:lnTo>
                    <a:pt x="108" y="544"/>
                  </a:lnTo>
                  <a:lnTo>
                    <a:pt x="108" y="546"/>
                  </a:lnTo>
                  <a:lnTo>
                    <a:pt x="106" y="546"/>
                  </a:lnTo>
                  <a:lnTo>
                    <a:pt x="108" y="546"/>
                  </a:lnTo>
                  <a:lnTo>
                    <a:pt x="108" y="544"/>
                  </a:lnTo>
                  <a:lnTo>
                    <a:pt x="108" y="546"/>
                  </a:lnTo>
                  <a:lnTo>
                    <a:pt x="108" y="544"/>
                  </a:lnTo>
                  <a:lnTo>
                    <a:pt x="110" y="544"/>
                  </a:lnTo>
                  <a:lnTo>
                    <a:pt x="110" y="542"/>
                  </a:lnTo>
                  <a:lnTo>
                    <a:pt x="112" y="542"/>
                  </a:lnTo>
                  <a:lnTo>
                    <a:pt x="112" y="540"/>
                  </a:lnTo>
                  <a:lnTo>
                    <a:pt x="114" y="540"/>
                  </a:lnTo>
                  <a:lnTo>
                    <a:pt x="114" y="538"/>
                  </a:lnTo>
                  <a:lnTo>
                    <a:pt x="114" y="540"/>
                  </a:lnTo>
                  <a:lnTo>
                    <a:pt x="114" y="542"/>
                  </a:lnTo>
                  <a:lnTo>
                    <a:pt x="116" y="542"/>
                  </a:lnTo>
                  <a:lnTo>
                    <a:pt x="114" y="542"/>
                  </a:lnTo>
                  <a:lnTo>
                    <a:pt x="114" y="544"/>
                  </a:lnTo>
                  <a:lnTo>
                    <a:pt x="114" y="542"/>
                  </a:lnTo>
                  <a:lnTo>
                    <a:pt x="116" y="542"/>
                  </a:lnTo>
                  <a:lnTo>
                    <a:pt x="114" y="542"/>
                  </a:lnTo>
                  <a:lnTo>
                    <a:pt x="116" y="542"/>
                  </a:lnTo>
                  <a:lnTo>
                    <a:pt x="116" y="544"/>
                  </a:lnTo>
                  <a:lnTo>
                    <a:pt x="118" y="544"/>
                  </a:lnTo>
                  <a:lnTo>
                    <a:pt x="118" y="546"/>
                  </a:lnTo>
                  <a:lnTo>
                    <a:pt x="118" y="544"/>
                  </a:lnTo>
                  <a:lnTo>
                    <a:pt x="116" y="544"/>
                  </a:lnTo>
                  <a:lnTo>
                    <a:pt x="116" y="542"/>
                  </a:lnTo>
                  <a:lnTo>
                    <a:pt x="116" y="540"/>
                  </a:lnTo>
                  <a:lnTo>
                    <a:pt x="114" y="540"/>
                  </a:lnTo>
                  <a:lnTo>
                    <a:pt x="114" y="538"/>
                  </a:lnTo>
                  <a:lnTo>
                    <a:pt x="114" y="536"/>
                  </a:lnTo>
                  <a:lnTo>
                    <a:pt x="116" y="536"/>
                  </a:lnTo>
                  <a:lnTo>
                    <a:pt x="116" y="534"/>
                  </a:lnTo>
                  <a:close/>
                  <a:moveTo>
                    <a:pt x="102" y="478"/>
                  </a:moveTo>
                  <a:lnTo>
                    <a:pt x="102" y="480"/>
                  </a:lnTo>
                  <a:lnTo>
                    <a:pt x="104" y="480"/>
                  </a:lnTo>
                  <a:lnTo>
                    <a:pt x="104" y="482"/>
                  </a:lnTo>
                  <a:lnTo>
                    <a:pt x="104" y="480"/>
                  </a:lnTo>
                  <a:lnTo>
                    <a:pt x="104" y="482"/>
                  </a:lnTo>
                  <a:lnTo>
                    <a:pt x="104" y="484"/>
                  </a:lnTo>
                  <a:lnTo>
                    <a:pt x="104" y="486"/>
                  </a:lnTo>
                  <a:lnTo>
                    <a:pt x="104" y="484"/>
                  </a:lnTo>
                  <a:lnTo>
                    <a:pt x="106" y="484"/>
                  </a:lnTo>
                  <a:lnTo>
                    <a:pt x="106" y="486"/>
                  </a:lnTo>
                  <a:lnTo>
                    <a:pt x="104" y="486"/>
                  </a:lnTo>
                  <a:lnTo>
                    <a:pt x="106" y="486"/>
                  </a:lnTo>
                  <a:lnTo>
                    <a:pt x="106" y="488"/>
                  </a:lnTo>
                  <a:lnTo>
                    <a:pt x="106" y="490"/>
                  </a:lnTo>
                  <a:lnTo>
                    <a:pt x="106" y="492"/>
                  </a:lnTo>
                  <a:lnTo>
                    <a:pt x="106" y="494"/>
                  </a:lnTo>
                  <a:lnTo>
                    <a:pt x="106" y="496"/>
                  </a:lnTo>
                  <a:lnTo>
                    <a:pt x="108" y="496"/>
                  </a:lnTo>
                  <a:lnTo>
                    <a:pt x="108" y="498"/>
                  </a:lnTo>
                  <a:lnTo>
                    <a:pt x="108" y="496"/>
                  </a:lnTo>
                  <a:lnTo>
                    <a:pt x="108" y="498"/>
                  </a:lnTo>
                  <a:lnTo>
                    <a:pt x="108" y="500"/>
                  </a:lnTo>
                  <a:lnTo>
                    <a:pt x="108" y="501"/>
                  </a:lnTo>
                  <a:lnTo>
                    <a:pt x="108" y="503"/>
                  </a:lnTo>
                  <a:lnTo>
                    <a:pt x="108" y="505"/>
                  </a:lnTo>
                  <a:lnTo>
                    <a:pt x="108" y="507"/>
                  </a:lnTo>
                  <a:lnTo>
                    <a:pt x="108" y="509"/>
                  </a:lnTo>
                  <a:lnTo>
                    <a:pt x="108" y="511"/>
                  </a:lnTo>
                  <a:lnTo>
                    <a:pt x="108" y="513"/>
                  </a:lnTo>
                  <a:lnTo>
                    <a:pt x="108" y="515"/>
                  </a:lnTo>
                  <a:lnTo>
                    <a:pt x="108" y="517"/>
                  </a:lnTo>
                  <a:lnTo>
                    <a:pt x="110" y="517"/>
                  </a:lnTo>
                  <a:lnTo>
                    <a:pt x="108" y="517"/>
                  </a:lnTo>
                  <a:lnTo>
                    <a:pt x="110" y="517"/>
                  </a:lnTo>
                  <a:lnTo>
                    <a:pt x="110" y="519"/>
                  </a:lnTo>
                  <a:lnTo>
                    <a:pt x="110" y="521"/>
                  </a:lnTo>
                  <a:lnTo>
                    <a:pt x="108" y="521"/>
                  </a:lnTo>
                  <a:lnTo>
                    <a:pt x="108" y="523"/>
                  </a:lnTo>
                  <a:lnTo>
                    <a:pt x="106" y="523"/>
                  </a:lnTo>
                  <a:lnTo>
                    <a:pt x="108" y="523"/>
                  </a:lnTo>
                  <a:lnTo>
                    <a:pt x="106" y="523"/>
                  </a:lnTo>
                  <a:lnTo>
                    <a:pt x="104" y="523"/>
                  </a:lnTo>
                  <a:lnTo>
                    <a:pt x="104" y="525"/>
                  </a:lnTo>
                  <a:lnTo>
                    <a:pt x="104" y="526"/>
                  </a:lnTo>
                  <a:lnTo>
                    <a:pt x="102" y="526"/>
                  </a:lnTo>
                  <a:lnTo>
                    <a:pt x="102" y="525"/>
                  </a:lnTo>
                  <a:lnTo>
                    <a:pt x="104" y="525"/>
                  </a:lnTo>
                  <a:lnTo>
                    <a:pt x="102" y="525"/>
                  </a:lnTo>
                  <a:lnTo>
                    <a:pt x="102" y="523"/>
                  </a:lnTo>
                  <a:lnTo>
                    <a:pt x="102" y="525"/>
                  </a:lnTo>
                  <a:lnTo>
                    <a:pt x="102" y="523"/>
                  </a:lnTo>
                  <a:lnTo>
                    <a:pt x="102" y="525"/>
                  </a:lnTo>
                  <a:lnTo>
                    <a:pt x="102" y="526"/>
                  </a:lnTo>
                  <a:lnTo>
                    <a:pt x="100" y="526"/>
                  </a:lnTo>
                  <a:lnTo>
                    <a:pt x="100" y="528"/>
                  </a:lnTo>
                  <a:lnTo>
                    <a:pt x="102" y="528"/>
                  </a:lnTo>
                  <a:lnTo>
                    <a:pt x="100" y="528"/>
                  </a:lnTo>
                  <a:lnTo>
                    <a:pt x="100" y="530"/>
                  </a:lnTo>
                  <a:lnTo>
                    <a:pt x="100" y="528"/>
                  </a:lnTo>
                  <a:lnTo>
                    <a:pt x="100" y="530"/>
                  </a:lnTo>
                  <a:lnTo>
                    <a:pt x="100" y="528"/>
                  </a:lnTo>
                  <a:lnTo>
                    <a:pt x="98" y="528"/>
                  </a:lnTo>
                  <a:lnTo>
                    <a:pt x="96" y="528"/>
                  </a:lnTo>
                  <a:lnTo>
                    <a:pt x="98" y="528"/>
                  </a:lnTo>
                  <a:lnTo>
                    <a:pt x="96" y="528"/>
                  </a:lnTo>
                  <a:lnTo>
                    <a:pt x="96" y="526"/>
                  </a:lnTo>
                  <a:lnTo>
                    <a:pt x="98" y="526"/>
                  </a:lnTo>
                  <a:lnTo>
                    <a:pt x="96" y="526"/>
                  </a:lnTo>
                  <a:lnTo>
                    <a:pt x="98" y="526"/>
                  </a:lnTo>
                  <a:lnTo>
                    <a:pt x="98" y="525"/>
                  </a:lnTo>
                  <a:lnTo>
                    <a:pt x="96" y="525"/>
                  </a:lnTo>
                  <a:lnTo>
                    <a:pt x="98" y="525"/>
                  </a:lnTo>
                  <a:lnTo>
                    <a:pt x="96" y="525"/>
                  </a:lnTo>
                  <a:lnTo>
                    <a:pt x="98" y="525"/>
                  </a:lnTo>
                  <a:lnTo>
                    <a:pt x="96" y="525"/>
                  </a:lnTo>
                  <a:lnTo>
                    <a:pt x="98" y="525"/>
                  </a:lnTo>
                  <a:lnTo>
                    <a:pt x="96" y="525"/>
                  </a:lnTo>
                  <a:lnTo>
                    <a:pt x="98" y="525"/>
                  </a:lnTo>
                  <a:lnTo>
                    <a:pt x="96" y="525"/>
                  </a:lnTo>
                  <a:lnTo>
                    <a:pt x="98" y="525"/>
                  </a:lnTo>
                  <a:lnTo>
                    <a:pt x="96" y="525"/>
                  </a:lnTo>
                  <a:lnTo>
                    <a:pt x="98" y="525"/>
                  </a:lnTo>
                  <a:lnTo>
                    <a:pt x="96" y="525"/>
                  </a:lnTo>
                  <a:lnTo>
                    <a:pt x="96" y="523"/>
                  </a:lnTo>
                  <a:lnTo>
                    <a:pt x="98" y="523"/>
                  </a:lnTo>
                  <a:lnTo>
                    <a:pt x="96" y="523"/>
                  </a:lnTo>
                  <a:lnTo>
                    <a:pt x="98" y="523"/>
                  </a:lnTo>
                  <a:lnTo>
                    <a:pt x="96" y="523"/>
                  </a:lnTo>
                  <a:lnTo>
                    <a:pt x="98" y="523"/>
                  </a:lnTo>
                  <a:lnTo>
                    <a:pt x="96" y="523"/>
                  </a:lnTo>
                  <a:lnTo>
                    <a:pt x="98" y="523"/>
                  </a:lnTo>
                  <a:lnTo>
                    <a:pt x="98" y="521"/>
                  </a:lnTo>
                  <a:lnTo>
                    <a:pt x="98" y="523"/>
                  </a:lnTo>
                  <a:lnTo>
                    <a:pt x="98" y="521"/>
                  </a:lnTo>
                  <a:lnTo>
                    <a:pt x="98" y="523"/>
                  </a:lnTo>
                  <a:lnTo>
                    <a:pt x="100" y="523"/>
                  </a:lnTo>
                  <a:lnTo>
                    <a:pt x="102" y="523"/>
                  </a:lnTo>
                  <a:lnTo>
                    <a:pt x="100" y="523"/>
                  </a:lnTo>
                  <a:lnTo>
                    <a:pt x="100" y="521"/>
                  </a:lnTo>
                  <a:lnTo>
                    <a:pt x="100" y="523"/>
                  </a:lnTo>
                  <a:lnTo>
                    <a:pt x="98" y="523"/>
                  </a:lnTo>
                  <a:lnTo>
                    <a:pt x="98" y="521"/>
                  </a:lnTo>
                  <a:lnTo>
                    <a:pt x="100" y="521"/>
                  </a:lnTo>
                  <a:lnTo>
                    <a:pt x="98" y="521"/>
                  </a:lnTo>
                  <a:lnTo>
                    <a:pt x="98" y="519"/>
                  </a:lnTo>
                  <a:lnTo>
                    <a:pt x="98" y="521"/>
                  </a:lnTo>
                  <a:lnTo>
                    <a:pt x="98" y="519"/>
                  </a:lnTo>
                  <a:lnTo>
                    <a:pt x="98" y="521"/>
                  </a:lnTo>
                  <a:lnTo>
                    <a:pt x="100" y="521"/>
                  </a:lnTo>
                  <a:lnTo>
                    <a:pt x="100" y="519"/>
                  </a:lnTo>
                  <a:lnTo>
                    <a:pt x="100" y="521"/>
                  </a:lnTo>
                  <a:lnTo>
                    <a:pt x="98" y="521"/>
                  </a:lnTo>
                  <a:lnTo>
                    <a:pt x="100" y="521"/>
                  </a:lnTo>
                  <a:lnTo>
                    <a:pt x="100" y="519"/>
                  </a:lnTo>
                  <a:lnTo>
                    <a:pt x="100" y="521"/>
                  </a:lnTo>
                  <a:lnTo>
                    <a:pt x="98" y="521"/>
                  </a:lnTo>
                  <a:lnTo>
                    <a:pt x="98" y="519"/>
                  </a:lnTo>
                  <a:lnTo>
                    <a:pt x="96" y="519"/>
                  </a:lnTo>
                  <a:lnTo>
                    <a:pt x="96" y="517"/>
                  </a:lnTo>
                  <a:lnTo>
                    <a:pt x="96" y="515"/>
                  </a:lnTo>
                  <a:lnTo>
                    <a:pt x="96" y="517"/>
                  </a:lnTo>
                  <a:lnTo>
                    <a:pt x="96" y="515"/>
                  </a:lnTo>
                  <a:lnTo>
                    <a:pt x="98" y="515"/>
                  </a:lnTo>
                  <a:lnTo>
                    <a:pt x="96" y="515"/>
                  </a:lnTo>
                  <a:lnTo>
                    <a:pt x="96" y="513"/>
                  </a:lnTo>
                  <a:lnTo>
                    <a:pt x="96" y="515"/>
                  </a:lnTo>
                  <a:lnTo>
                    <a:pt x="98" y="513"/>
                  </a:lnTo>
                  <a:lnTo>
                    <a:pt x="98" y="515"/>
                  </a:lnTo>
                  <a:lnTo>
                    <a:pt x="98" y="513"/>
                  </a:lnTo>
                  <a:lnTo>
                    <a:pt x="96" y="513"/>
                  </a:lnTo>
                  <a:lnTo>
                    <a:pt x="96" y="515"/>
                  </a:lnTo>
                  <a:lnTo>
                    <a:pt x="96" y="513"/>
                  </a:lnTo>
                  <a:lnTo>
                    <a:pt x="96" y="511"/>
                  </a:lnTo>
                  <a:lnTo>
                    <a:pt x="98" y="511"/>
                  </a:lnTo>
                  <a:lnTo>
                    <a:pt x="96" y="511"/>
                  </a:lnTo>
                  <a:lnTo>
                    <a:pt x="98" y="511"/>
                  </a:lnTo>
                  <a:lnTo>
                    <a:pt x="100" y="511"/>
                  </a:lnTo>
                  <a:lnTo>
                    <a:pt x="98" y="511"/>
                  </a:lnTo>
                  <a:lnTo>
                    <a:pt x="100" y="511"/>
                  </a:lnTo>
                  <a:lnTo>
                    <a:pt x="98" y="511"/>
                  </a:lnTo>
                  <a:lnTo>
                    <a:pt x="96" y="511"/>
                  </a:lnTo>
                  <a:lnTo>
                    <a:pt x="98" y="511"/>
                  </a:lnTo>
                  <a:lnTo>
                    <a:pt x="98" y="509"/>
                  </a:lnTo>
                  <a:lnTo>
                    <a:pt x="98" y="511"/>
                  </a:lnTo>
                  <a:lnTo>
                    <a:pt x="96" y="511"/>
                  </a:lnTo>
                  <a:lnTo>
                    <a:pt x="96" y="509"/>
                  </a:lnTo>
                  <a:lnTo>
                    <a:pt x="98" y="509"/>
                  </a:lnTo>
                  <a:lnTo>
                    <a:pt x="96" y="509"/>
                  </a:lnTo>
                  <a:lnTo>
                    <a:pt x="98" y="509"/>
                  </a:lnTo>
                  <a:lnTo>
                    <a:pt x="96" y="509"/>
                  </a:lnTo>
                  <a:lnTo>
                    <a:pt x="96" y="507"/>
                  </a:lnTo>
                  <a:lnTo>
                    <a:pt x="96" y="509"/>
                  </a:lnTo>
                  <a:lnTo>
                    <a:pt x="96" y="507"/>
                  </a:lnTo>
                  <a:lnTo>
                    <a:pt x="96" y="509"/>
                  </a:lnTo>
                  <a:lnTo>
                    <a:pt x="96" y="507"/>
                  </a:lnTo>
                  <a:lnTo>
                    <a:pt x="96" y="509"/>
                  </a:lnTo>
                  <a:lnTo>
                    <a:pt x="98" y="509"/>
                  </a:lnTo>
                  <a:lnTo>
                    <a:pt x="96" y="509"/>
                  </a:lnTo>
                  <a:lnTo>
                    <a:pt x="98" y="509"/>
                  </a:lnTo>
                  <a:lnTo>
                    <a:pt x="96" y="509"/>
                  </a:lnTo>
                  <a:lnTo>
                    <a:pt x="98" y="509"/>
                  </a:lnTo>
                  <a:lnTo>
                    <a:pt x="96" y="509"/>
                  </a:lnTo>
                  <a:lnTo>
                    <a:pt x="96" y="507"/>
                  </a:lnTo>
                  <a:lnTo>
                    <a:pt x="98" y="507"/>
                  </a:lnTo>
                  <a:lnTo>
                    <a:pt x="96" y="507"/>
                  </a:lnTo>
                  <a:lnTo>
                    <a:pt x="98" y="507"/>
                  </a:lnTo>
                  <a:lnTo>
                    <a:pt x="98" y="505"/>
                  </a:lnTo>
                  <a:lnTo>
                    <a:pt x="98" y="507"/>
                  </a:lnTo>
                  <a:lnTo>
                    <a:pt x="98" y="505"/>
                  </a:lnTo>
                  <a:lnTo>
                    <a:pt x="98" y="507"/>
                  </a:lnTo>
                  <a:lnTo>
                    <a:pt x="98" y="505"/>
                  </a:lnTo>
                  <a:lnTo>
                    <a:pt x="98" y="507"/>
                  </a:lnTo>
                  <a:lnTo>
                    <a:pt x="100" y="507"/>
                  </a:lnTo>
                  <a:lnTo>
                    <a:pt x="100" y="505"/>
                  </a:lnTo>
                  <a:lnTo>
                    <a:pt x="100" y="507"/>
                  </a:lnTo>
                  <a:lnTo>
                    <a:pt x="100" y="505"/>
                  </a:lnTo>
                  <a:lnTo>
                    <a:pt x="98" y="505"/>
                  </a:lnTo>
                  <a:lnTo>
                    <a:pt x="100" y="505"/>
                  </a:lnTo>
                  <a:lnTo>
                    <a:pt x="98" y="505"/>
                  </a:lnTo>
                  <a:lnTo>
                    <a:pt x="100" y="505"/>
                  </a:lnTo>
                  <a:lnTo>
                    <a:pt x="98" y="505"/>
                  </a:lnTo>
                  <a:lnTo>
                    <a:pt x="100" y="505"/>
                  </a:lnTo>
                  <a:lnTo>
                    <a:pt x="98" y="505"/>
                  </a:lnTo>
                  <a:lnTo>
                    <a:pt x="100" y="505"/>
                  </a:lnTo>
                  <a:lnTo>
                    <a:pt x="98" y="505"/>
                  </a:lnTo>
                  <a:lnTo>
                    <a:pt x="100" y="505"/>
                  </a:lnTo>
                  <a:lnTo>
                    <a:pt x="100" y="503"/>
                  </a:lnTo>
                  <a:lnTo>
                    <a:pt x="100" y="505"/>
                  </a:lnTo>
                  <a:lnTo>
                    <a:pt x="100" y="503"/>
                  </a:lnTo>
                  <a:lnTo>
                    <a:pt x="98" y="503"/>
                  </a:lnTo>
                  <a:lnTo>
                    <a:pt x="100" y="503"/>
                  </a:lnTo>
                  <a:lnTo>
                    <a:pt x="100" y="501"/>
                  </a:lnTo>
                  <a:lnTo>
                    <a:pt x="98" y="501"/>
                  </a:lnTo>
                  <a:lnTo>
                    <a:pt x="100" y="501"/>
                  </a:lnTo>
                  <a:lnTo>
                    <a:pt x="98" y="501"/>
                  </a:lnTo>
                  <a:lnTo>
                    <a:pt x="100" y="501"/>
                  </a:lnTo>
                  <a:lnTo>
                    <a:pt x="98" y="501"/>
                  </a:lnTo>
                  <a:lnTo>
                    <a:pt x="100" y="501"/>
                  </a:lnTo>
                  <a:lnTo>
                    <a:pt x="102" y="501"/>
                  </a:lnTo>
                  <a:lnTo>
                    <a:pt x="100" y="501"/>
                  </a:lnTo>
                  <a:lnTo>
                    <a:pt x="100" y="500"/>
                  </a:lnTo>
                  <a:lnTo>
                    <a:pt x="100" y="501"/>
                  </a:lnTo>
                  <a:lnTo>
                    <a:pt x="100" y="500"/>
                  </a:lnTo>
                  <a:lnTo>
                    <a:pt x="100" y="501"/>
                  </a:lnTo>
                  <a:lnTo>
                    <a:pt x="100" y="500"/>
                  </a:lnTo>
                  <a:lnTo>
                    <a:pt x="100" y="501"/>
                  </a:lnTo>
                  <a:lnTo>
                    <a:pt x="98" y="501"/>
                  </a:lnTo>
                  <a:lnTo>
                    <a:pt x="100" y="500"/>
                  </a:lnTo>
                  <a:lnTo>
                    <a:pt x="98" y="500"/>
                  </a:lnTo>
                  <a:lnTo>
                    <a:pt x="98" y="501"/>
                  </a:lnTo>
                  <a:lnTo>
                    <a:pt x="96" y="501"/>
                  </a:lnTo>
                  <a:lnTo>
                    <a:pt x="96" y="500"/>
                  </a:lnTo>
                  <a:lnTo>
                    <a:pt x="96" y="498"/>
                  </a:lnTo>
                  <a:lnTo>
                    <a:pt x="98" y="498"/>
                  </a:lnTo>
                  <a:lnTo>
                    <a:pt x="100" y="498"/>
                  </a:lnTo>
                  <a:lnTo>
                    <a:pt x="102" y="498"/>
                  </a:lnTo>
                  <a:lnTo>
                    <a:pt x="102" y="500"/>
                  </a:lnTo>
                  <a:lnTo>
                    <a:pt x="102" y="501"/>
                  </a:lnTo>
                  <a:lnTo>
                    <a:pt x="104" y="501"/>
                  </a:lnTo>
                  <a:lnTo>
                    <a:pt x="102" y="500"/>
                  </a:lnTo>
                  <a:lnTo>
                    <a:pt x="102" y="498"/>
                  </a:lnTo>
                  <a:lnTo>
                    <a:pt x="100" y="498"/>
                  </a:lnTo>
                  <a:lnTo>
                    <a:pt x="98" y="498"/>
                  </a:lnTo>
                  <a:lnTo>
                    <a:pt x="98" y="496"/>
                  </a:lnTo>
                  <a:lnTo>
                    <a:pt x="98" y="498"/>
                  </a:lnTo>
                  <a:lnTo>
                    <a:pt x="98" y="496"/>
                  </a:lnTo>
                  <a:lnTo>
                    <a:pt x="98" y="498"/>
                  </a:lnTo>
                  <a:lnTo>
                    <a:pt x="98" y="496"/>
                  </a:lnTo>
                  <a:lnTo>
                    <a:pt x="96" y="496"/>
                  </a:lnTo>
                  <a:lnTo>
                    <a:pt x="98" y="496"/>
                  </a:lnTo>
                  <a:lnTo>
                    <a:pt x="98" y="494"/>
                  </a:lnTo>
                  <a:lnTo>
                    <a:pt x="98" y="492"/>
                  </a:lnTo>
                  <a:lnTo>
                    <a:pt x="100" y="492"/>
                  </a:lnTo>
                  <a:lnTo>
                    <a:pt x="98" y="492"/>
                  </a:lnTo>
                  <a:lnTo>
                    <a:pt x="98" y="490"/>
                  </a:lnTo>
                  <a:lnTo>
                    <a:pt x="96" y="490"/>
                  </a:lnTo>
                  <a:lnTo>
                    <a:pt x="96" y="488"/>
                  </a:lnTo>
                  <a:lnTo>
                    <a:pt x="98" y="488"/>
                  </a:lnTo>
                  <a:lnTo>
                    <a:pt x="96" y="488"/>
                  </a:lnTo>
                  <a:lnTo>
                    <a:pt x="98" y="488"/>
                  </a:lnTo>
                  <a:lnTo>
                    <a:pt x="98" y="486"/>
                  </a:lnTo>
                  <a:lnTo>
                    <a:pt x="98" y="484"/>
                  </a:lnTo>
                  <a:lnTo>
                    <a:pt x="100" y="484"/>
                  </a:lnTo>
                  <a:lnTo>
                    <a:pt x="98" y="484"/>
                  </a:lnTo>
                  <a:lnTo>
                    <a:pt x="98" y="482"/>
                  </a:lnTo>
                  <a:lnTo>
                    <a:pt x="96" y="482"/>
                  </a:lnTo>
                  <a:lnTo>
                    <a:pt x="98" y="482"/>
                  </a:lnTo>
                  <a:lnTo>
                    <a:pt x="98" y="480"/>
                  </a:lnTo>
                  <a:lnTo>
                    <a:pt x="100" y="480"/>
                  </a:lnTo>
                  <a:lnTo>
                    <a:pt x="100" y="478"/>
                  </a:lnTo>
                  <a:lnTo>
                    <a:pt x="100" y="480"/>
                  </a:lnTo>
                  <a:lnTo>
                    <a:pt x="100" y="478"/>
                  </a:lnTo>
                  <a:lnTo>
                    <a:pt x="102" y="478"/>
                  </a:lnTo>
                  <a:lnTo>
                    <a:pt x="102" y="480"/>
                  </a:lnTo>
                  <a:lnTo>
                    <a:pt x="102" y="478"/>
                  </a:lnTo>
                  <a:close/>
                  <a:moveTo>
                    <a:pt x="83" y="486"/>
                  </a:moveTo>
                  <a:lnTo>
                    <a:pt x="83" y="488"/>
                  </a:lnTo>
                  <a:lnTo>
                    <a:pt x="83" y="486"/>
                  </a:lnTo>
                  <a:lnTo>
                    <a:pt x="83" y="488"/>
                  </a:lnTo>
                  <a:lnTo>
                    <a:pt x="83" y="486"/>
                  </a:lnTo>
                  <a:lnTo>
                    <a:pt x="85" y="486"/>
                  </a:lnTo>
                  <a:lnTo>
                    <a:pt x="85" y="488"/>
                  </a:lnTo>
                  <a:lnTo>
                    <a:pt x="87" y="488"/>
                  </a:lnTo>
                  <a:lnTo>
                    <a:pt x="85" y="488"/>
                  </a:lnTo>
                  <a:lnTo>
                    <a:pt x="87" y="488"/>
                  </a:lnTo>
                  <a:lnTo>
                    <a:pt x="87" y="490"/>
                  </a:lnTo>
                  <a:lnTo>
                    <a:pt x="85" y="490"/>
                  </a:lnTo>
                  <a:lnTo>
                    <a:pt x="87" y="490"/>
                  </a:lnTo>
                  <a:lnTo>
                    <a:pt x="87" y="492"/>
                  </a:lnTo>
                  <a:lnTo>
                    <a:pt x="89" y="492"/>
                  </a:lnTo>
                  <a:lnTo>
                    <a:pt x="87" y="492"/>
                  </a:lnTo>
                  <a:lnTo>
                    <a:pt x="89" y="492"/>
                  </a:lnTo>
                  <a:lnTo>
                    <a:pt x="89" y="494"/>
                  </a:lnTo>
                  <a:lnTo>
                    <a:pt x="89" y="496"/>
                  </a:lnTo>
                  <a:lnTo>
                    <a:pt x="89" y="494"/>
                  </a:lnTo>
                  <a:lnTo>
                    <a:pt x="89" y="496"/>
                  </a:lnTo>
                  <a:lnTo>
                    <a:pt x="91" y="496"/>
                  </a:lnTo>
                  <a:lnTo>
                    <a:pt x="91" y="498"/>
                  </a:lnTo>
                  <a:lnTo>
                    <a:pt x="91" y="500"/>
                  </a:lnTo>
                  <a:lnTo>
                    <a:pt x="91" y="501"/>
                  </a:lnTo>
                  <a:lnTo>
                    <a:pt x="93" y="501"/>
                  </a:lnTo>
                  <a:lnTo>
                    <a:pt x="91" y="501"/>
                  </a:lnTo>
                  <a:lnTo>
                    <a:pt x="93" y="501"/>
                  </a:lnTo>
                  <a:lnTo>
                    <a:pt x="91" y="501"/>
                  </a:lnTo>
                  <a:lnTo>
                    <a:pt x="93" y="501"/>
                  </a:lnTo>
                  <a:lnTo>
                    <a:pt x="91" y="501"/>
                  </a:lnTo>
                  <a:lnTo>
                    <a:pt x="93" y="501"/>
                  </a:lnTo>
                  <a:lnTo>
                    <a:pt x="93" y="503"/>
                  </a:lnTo>
                  <a:lnTo>
                    <a:pt x="93" y="505"/>
                  </a:lnTo>
                  <a:lnTo>
                    <a:pt x="93" y="507"/>
                  </a:lnTo>
                  <a:lnTo>
                    <a:pt x="93" y="509"/>
                  </a:lnTo>
                  <a:lnTo>
                    <a:pt x="95" y="509"/>
                  </a:lnTo>
                  <a:lnTo>
                    <a:pt x="93" y="509"/>
                  </a:lnTo>
                  <a:lnTo>
                    <a:pt x="95" y="509"/>
                  </a:lnTo>
                  <a:lnTo>
                    <a:pt x="93" y="509"/>
                  </a:lnTo>
                  <a:lnTo>
                    <a:pt x="95" y="509"/>
                  </a:lnTo>
                  <a:lnTo>
                    <a:pt x="93" y="509"/>
                  </a:lnTo>
                  <a:lnTo>
                    <a:pt x="95" y="509"/>
                  </a:lnTo>
                  <a:lnTo>
                    <a:pt x="93" y="509"/>
                  </a:lnTo>
                  <a:lnTo>
                    <a:pt x="95" y="509"/>
                  </a:lnTo>
                  <a:lnTo>
                    <a:pt x="93" y="509"/>
                  </a:lnTo>
                  <a:lnTo>
                    <a:pt x="95" y="509"/>
                  </a:lnTo>
                  <a:lnTo>
                    <a:pt x="93" y="509"/>
                  </a:lnTo>
                  <a:lnTo>
                    <a:pt x="95" y="509"/>
                  </a:lnTo>
                  <a:lnTo>
                    <a:pt x="95" y="511"/>
                  </a:lnTo>
                  <a:lnTo>
                    <a:pt x="93" y="511"/>
                  </a:lnTo>
                  <a:lnTo>
                    <a:pt x="95" y="511"/>
                  </a:lnTo>
                  <a:lnTo>
                    <a:pt x="95" y="513"/>
                  </a:lnTo>
                  <a:lnTo>
                    <a:pt x="93" y="513"/>
                  </a:lnTo>
                  <a:lnTo>
                    <a:pt x="95" y="513"/>
                  </a:lnTo>
                  <a:lnTo>
                    <a:pt x="93" y="513"/>
                  </a:lnTo>
                  <a:lnTo>
                    <a:pt x="93" y="515"/>
                  </a:lnTo>
                  <a:lnTo>
                    <a:pt x="95" y="515"/>
                  </a:lnTo>
                  <a:lnTo>
                    <a:pt x="93" y="515"/>
                  </a:lnTo>
                  <a:lnTo>
                    <a:pt x="93" y="517"/>
                  </a:lnTo>
                  <a:lnTo>
                    <a:pt x="93" y="515"/>
                  </a:lnTo>
                  <a:lnTo>
                    <a:pt x="93" y="517"/>
                  </a:lnTo>
                  <a:lnTo>
                    <a:pt x="93" y="519"/>
                  </a:lnTo>
                  <a:lnTo>
                    <a:pt x="93" y="521"/>
                  </a:lnTo>
                  <a:lnTo>
                    <a:pt x="93" y="523"/>
                  </a:lnTo>
                  <a:lnTo>
                    <a:pt x="93" y="525"/>
                  </a:lnTo>
                  <a:lnTo>
                    <a:pt x="91" y="525"/>
                  </a:lnTo>
                  <a:lnTo>
                    <a:pt x="91" y="526"/>
                  </a:lnTo>
                  <a:lnTo>
                    <a:pt x="91" y="525"/>
                  </a:lnTo>
                  <a:lnTo>
                    <a:pt x="91" y="526"/>
                  </a:lnTo>
                  <a:lnTo>
                    <a:pt x="89" y="526"/>
                  </a:lnTo>
                  <a:lnTo>
                    <a:pt x="89" y="525"/>
                  </a:lnTo>
                  <a:lnTo>
                    <a:pt x="89" y="523"/>
                  </a:lnTo>
                  <a:lnTo>
                    <a:pt x="87" y="523"/>
                  </a:lnTo>
                  <a:lnTo>
                    <a:pt x="87" y="525"/>
                  </a:lnTo>
                  <a:lnTo>
                    <a:pt x="87" y="523"/>
                  </a:lnTo>
                  <a:lnTo>
                    <a:pt x="87" y="525"/>
                  </a:lnTo>
                  <a:lnTo>
                    <a:pt x="87" y="523"/>
                  </a:lnTo>
                  <a:lnTo>
                    <a:pt x="87" y="525"/>
                  </a:lnTo>
                  <a:lnTo>
                    <a:pt x="87" y="523"/>
                  </a:lnTo>
                  <a:lnTo>
                    <a:pt x="87" y="525"/>
                  </a:lnTo>
                  <a:lnTo>
                    <a:pt x="87" y="523"/>
                  </a:lnTo>
                  <a:lnTo>
                    <a:pt x="85" y="523"/>
                  </a:lnTo>
                  <a:lnTo>
                    <a:pt x="85" y="521"/>
                  </a:lnTo>
                  <a:lnTo>
                    <a:pt x="85" y="519"/>
                  </a:lnTo>
                  <a:lnTo>
                    <a:pt x="85" y="517"/>
                  </a:lnTo>
                  <a:lnTo>
                    <a:pt x="83" y="517"/>
                  </a:lnTo>
                  <a:lnTo>
                    <a:pt x="85" y="517"/>
                  </a:lnTo>
                  <a:lnTo>
                    <a:pt x="83" y="517"/>
                  </a:lnTo>
                  <a:lnTo>
                    <a:pt x="85" y="517"/>
                  </a:lnTo>
                  <a:lnTo>
                    <a:pt x="85" y="515"/>
                  </a:lnTo>
                  <a:lnTo>
                    <a:pt x="83" y="515"/>
                  </a:lnTo>
                  <a:lnTo>
                    <a:pt x="85" y="515"/>
                  </a:lnTo>
                  <a:lnTo>
                    <a:pt x="83" y="515"/>
                  </a:lnTo>
                  <a:lnTo>
                    <a:pt x="83" y="513"/>
                  </a:lnTo>
                  <a:lnTo>
                    <a:pt x="83" y="515"/>
                  </a:lnTo>
                  <a:lnTo>
                    <a:pt x="83" y="513"/>
                  </a:lnTo>
                  <a:lnTo>
                    <a:pt x="85" y="513"/>
                  </a:lnTo>
                  <a:lnTo>
                    <a:pt x="83" y="513"/>
                  </a:lnTo>
                  <a:lnTo>
                    <a:pt x="85" y="513"/>
                  </a:lnTo>
                  <a:lnTo>
                    <a:pt x="85" y="511"/>
                  </a:lnTo>
                  <a:lnTo>
                    <a:pt x="85" y="513"/>
                  </a:lnTo>
                  <a:lnTo>
                    <a:pt x="85" y="511"/>
                  </a:lnTo>
                  <a:lnTo>
                    <a:pt x="85" y="509"/>
                  </a:lnTo>
                  <a:lnTo>
                    <a:pt x="85" y="511"/>
                  </a:lnTo>
                  <a:lnTo>
                    <a:pt x="85" y="509"/>
                  </a:lnTo>
                  <a:lnTo>
                    <a:pt x="85" y="511"/>
                  </a:lnTo>
                  <a:lnTo>
                    <a:pt x="83" y="511"/>
                  </a:lnTo>
                  <a:lnTo>
                    <a:pt x="83" y="509"/>
                  </a:lnTo>
                  <a:lnTo>
                    <a:pt x="83" y="511"/>
                  </a:lnTo>
                  <a:lnTo>
                    <a:pt x="83" y="509"/>
                  </a:lnTo>
                  <a:lnTo>
                    <a:pt x="85" y="509"/>
                  </a:lnTo>
                  <a:lnTo>
                    <a:pt x="83" y="509"/>
                  </a:lnTo>
                  <a:lnTo>
                    <a:pt x="85" y="509"/>
                  </a:lnTo>
                  <a:lnTo>
                    <a:pt x="83" y="509"/>
                  </a:lnTo>
                  <a:lnTo>
                    <a:pt x="85" y="509"/>
                  </a:lnTo>
                  <a:lnTo>
                    <a:pt x="83" y="509"/>
                  </a:lnTo>
                  <a:lnTo>
                    <a:pt x="85" y="509"/>
                  </a:lnTo>
                  <a:lnTo>
                    <a:pt x="83" y="509"/>
                  </a:lnTo>
                  <a:lnTo>
                    <a:pt x="85" y="509"/>
                  </a:lnTo>
                  <a:lnTo>
                    <a:pt x="85" y="507"/>
                  </a:lnTo>
                  <a:lnTo>
                    <a:pt x="85" y="509"/>
                  </a:lnTo>
                  <a:lnTo>
                    <a:pt x="83" y="509"/>
                  </a:lnTo>
                  <a:lnTo>
                    <a:pt x="85" y="509"/>
                  </a:lnTo>
                  <a:lnTo>
                    <a:pt x="83" y="509"/>
                  </a:lnTo>
                  <a:lnTo>
                    <a:pt x="85" y="507"/>
                  </a:lnTo>
                  <a:lnTo>
                    <a:pt x="85" y="509"/>
                  </a:lnTo>
                  <a:lnTo>
                    <a:pt x="85" y="507"/>
                  </a:lnTo>
                  <a:lnTo>
                    <a:pt x="83" y="507"/>
                  </a:lnTo>
                  <a:lnTo>
                    <a:pt x="85" y="507"/>
                  </a:lnTo>
                  <a:lnTo>
                    <a:pt x="83" y="507"/>
                  </a:lnTo>
                  <a:lnTo>
                    <a:pt x="85" y="507"/>
                  </a:lnTo>
                  <a:lnTo>
                    <a:pt x="83" y="507"/>
                  </a:lnTo>
                  <a:lnTo>
                    <a:pt x="85" y="507"/>
                  </a:lnTo>
                  <a:lnTo>
                    <a:pt x="83" y="507"/>
                  </a:lnTo>
                  <a:lnTo>
                    <a:pt x="83" y="505"/>
                  </a:lnTo>
                  <a:lnTo>
                    <a:pt x="83" y="507"/>
                  </a:lnTo>
                  <a:lnTo>
                    <a:pt x="85" y="507"/>
                  </a:lnTo>
                  <a:lnTo>
                    <a:pt x="83" y="507"/>
                  </a:lnTo>
                  <a:lnTo>
                    <a:pt x="83" y="505"/>
                  </a:lnTo>
                  <a:lnTo>
                    <a:pt x="81" y="505"/>
                  </a:lnTo>
                  <a:lnTo>
                    <a:pt x="81" y="503"/>
                  </a:lnTo>
                  <a:lnTo>
                    <a:pt x="81" y="501"/>
                  </a:lnTo>
                  <a:lnTo>
                    <a:pt x="81" y="500"/>
                  </a:lnTo>
                  <a:lnTo>
                    <a:pt x="81" y="498"/>
                  </a:lnTo>
                  <a:lnTo>
                    <a:pt x="81" y="496"/>
                  </a:lnTo>
                  <a:lnTo>
                    <a:pt x="83" y="496"/>
                  </a:lnTo>
                  <a:lnTo>
                    <a:pt x="85" y="496"/>
                  </a:lnTo>
                  <a:lnTo>
                    <a:pt x="85" y="498"/>
                  </a:lnTo>
                  <a:lnTo>
                    <a:pt x="87" y="498"/>
                  </a:lnTo>
                  <a:lnTo>
                    <a:pt x="85" y="498"/>
                  </a:lnTo>
                  <a:lnTo>
                    <a:pt x="85" y="496"/>
                  </a:lnTo>
                  <a:lnTo>
                    <a:pt x="83" y="496"/>
                  </a:lnTo>
                  <a:lnTo>
                    <a:pt x="83" y="494"/>
                  </a:lnTo>
                  <a:lnTo>
                    <a:pt x="83" y="496"/>
                  </a:lnTo>
                  <a:lnTo>
                    <a:pt x="81" y="496"/>
                  </a:lnTo>
                  <a:lnTo>
                    <a:pt x="81" y="494"/>
                  </a:lnTo>
                  <a:lnTo>
                    <a:pt x="81" y="496"/>
                  </a:lnTo>
                  <a:lnTo>
                    <a:pt x="81" y="494"/>
                  </a:lnTo>
                  <a:lnTo>
                    <a:pt x="81" y="492"/>
                  </a:lnTo>
                  <a:lnTo>
                    <a:pt x="81" y="494"/>
                  </a:lnTo>
                  <a:lnTo>
                    <a:pt x="81" y="492"/>
                  </a:lnTo>
                  <a:lnTo>
                    <a:pt x="81" y="490"/>
                  </a:lnTo>
                  <a:lnTo>
                    <a:pt x="79" y="490"/>
                  </a:lnTo>
                  <a:lnTo>
                    <a:pt x="81" y="490"/>
                  </a:lnTo>
                  <a:lnTo>
                    <a:pt x="79" y="490"/>
                  </a:lnTo>
                  <a:lnTo>
                    <a:pt x="81" y="490"/>
                  </a:lnTo>
                  <a:lnTo>
                    <a:pt x="79" y="490"/>
                  </a:lnTo>
                  <a:lnTo>
                    <a:pt x="81" y="490"/>
                  </a:lnTo>
                  <a:lnTo>
                    <a:pt x="79" y="490"/>
                  </a:lnTo>
                  <a:lnTo>
                    <a:pt x="81" y="490"/>
                  </a:lnTo>
                  <a:lnTo>
                    <a:pt x="79" y="490"/>
                  </a:lnTo>
                  <a:lnTo>
                    <a:pt x="81" y="490"/>
                  </a:lnTo>
                  <a:lnTo>
                    <a:pt x="81" y="488"/>
                  </a:lnTo>
                  <a:lnTo>
                    <a:pt x="83" y="488"/>
                  </a:lnTo>
                  <a:lnTo>
                    <a:pt x="81" y="488"/>
                  </a:lnTo>
                  <a:lnTo>
                    <a:pt x="83" y="488"/>
                  </a:lnTo>
                  <a:lnTo>
                    <a:pt x="81" y="488"/>
                  </a:lnTo>
                  <a:lnTo>
                    <a:pt x="83" y="488"/>
                  </a:lnTo>
                  <a:lnTo>
                    <a:pt x="81" y="488"/>
                  </a:lnTo>
                  <a:lnTo>
                    <a:pt x="83" y="488"/>
                  </a:lnTo>
                  <a:lnTo>
                    <a:pt x="81" y="488"/>
                  </a:lnTo>
                  <a:lnTo>
                    <a:pt x="83" y="488"/>
                  </a:lnTo>
                  <a:lnTo>
                    <a:pt x="83" y="486"/>
                  </a:lnTo>
                  <a:close/>
                  <a:moveTo>
                    <a:pt x="141" y="617"/>
                  </a:moveTo>
                  <a:lnTo>
                    <a:pt x="143" y="617"/>
                  </a:lnTo>
                  <a:lnTo>
                    <a:pt x="144" y="617"/>
                  </a:lnTo>
                  <a:lnTo>
                    <a:pt x="144" y="615"/>
                  </a:lnTo>
                  <a:lnTo>
                    <a:pt x="144" y="617"/>
                  </a:lnTo>
                  <a:lnTo>
                    <a:pt x="144" y="619"/>
                  </a:lnTo>
                  <a:lnTo>
                    <a:pt x="143" y="619"/>
                  </a:lnTo>
                  <a:lnTo>
                    <a:pt x="143" y="621"/>
                  </a:lnTo>
                  <a:lnTo>
                    <a:pt x="144" y="621"/>
                  </a:lnTo>
                  <a:lnTo>
                    <a:pt x="144" y="622"/>
                  </a:lnTo>
                  <a:lnTo>
                    <a:pt x="143" y="622"/>
                  </a:lnTo>
                  <a:lnTo>
                    <a:pt x="141" y="622"/>
                  </a:lnTo>
                  <a:lnTo>
                    <a:pt x="141" y="624"/>
                  </a:lnTo>
                  <a:lnTo>
                    <a:pt x="139" y="624"/>
                  </a:lnTo>
                  <a:lnTo>
                    <a:pt x="137" y="624"/>
                  </a:lnTo>
                  <a:lnTo>
                    <a:pt x="137" y="622"/>
                  </a:lnTo>
                  <a:lnTo>
                    <a:pt x="137" y="624"/>
                  </a:lnTo>
                  <a:lnTo>
                    <a:pt x="135" y="624"/>
                  </a:lnTo>
                  <a:lnTo>
                    <a:pt x="135" y="622"/>
                  </a:lnTo>
                  <a:lnTo>
                    <a:pt x="133" y="622"/>
                  </a:lnTo>
                  <a:lnTo>
                    <a:pt x="131" y="622"/>
                  </a:lnTo>
                  <a:lnTo>
                    <a:pt x="131" y="624"/>
                  </a:lnTo>
                  <a:lnTo>
                    <a:pt x="131" y="622"/>
                  </a:lnTo>
                  <a:lnTo>
                    <a:pt x="129" y="622"/>
                  </a:lnTo>
                  <a:lnTo>
                    <a:pt x="129" y="624"/>
                  </a:lnTo>
                  <a:lnTo>
                    <a:pt x="127" y="624"/>
                  </a:lnTo>
                  <a:lnTo>
                    <a:pt x="127" y="622"/>
                  </a:lnTo>
                  <a:lnTo>
                    <a:pt x="125" y="622"/>
                  </a:lnTo>
                  <a:lnTo>
                    <a:pt x="125" y="624"/>
                  </a:lnTo>
                  <a:lnTo>
                    <a:pt x="123" y="624"/>
                  </a:lnTo>
                  <a:lnTo>
                    <a:pt x="121" y="624"/>
                  </a:lnTo>
                  <a:lnTo>
                    <a:pt x="121" y="626"/>
                  </a:lnTo>
                  <a:lnTo>
                    <a:pt x="120" y="626"/>
                  </a:lnTo>
                  <a:lnTo>
                    <a:pt x="120" y="628"/>
                  </a:lnTo>
                  <a:lnTo>
                    <a:pt x="118" y="628"/>
                  </a:lnTo>
                  <a:lnTo>
                    <a:pt x="118" y="630"/>
                  </a:lnTo>
                  <a:lnTo>
                    <a:pt x="116" y="630"/>
                  </a:lnTo>
                  <a:lnTo>
                    <a:pt x="116" y="632"/>
                  </a:lnTo>
                  <a:lnTo>
                    <a:pt x="114" y="632"/>
                  </a:lnTo>
                  <a:lnTo>
                    <a:pt x="114" y="630"/>
                  </a:lnTo>
                  <a:lnTo>
                    <a:pt x="112" y="630"/>
                  </a:lnTo>
                  <a:lnTo>
                    <a:pt x="110" y="630"/>
                  </a:lnTo>
                  <a:lnTo>
                    <a:pt x="108" y="630"/>
                  </a:lnTo>
                  <a:lnTo>
                    <a:pt x="108" y="628"/>
                  </a:lnTo>
                  <a:lnTo>
                    <a:pt x="110" y="628"/>
                  </a:lnTo>
                  <a:lnTo>
                    <a:pt x="108" y="628"/>
                  </a:lnTo>
                  <a:lnTo>
                    <a:pt x="108" y="626"/>
                  </a:lnTo>
                  <a:lnTo>
                    <a:pt x="110" y="626"/>
                  </a:lnTo>
                  <a:lnTo>
                    <a:pt x="110" y="624"/>
                  </a:lnTo>
                  <a:lnTo>
                    <a:pt x="110" y="626"/>
                  </a:lnTo>
                  <a:lnTo>
                    <a:pt x="110" y="624"/>
                  </a:lnTo>
                  <a:lnTo>
                    <a:pt x="112" y="624"/>
                  </a:lnTo>
                  <a:lnTo>
                    <a:pt x="114" y="624"/>
                  </a:lnTo>
                  <a:lnTo>
                    <a:pt x="114" y="622"/>
                  </a:lnTo>
                  <a:lnTo>
                    <a:pt x="112" y="622"/>
                  </a:lnTo>
                  <a:lnTo>
                    <a:pt x="112" y="624"/>
                  </a:lnTo>
                  <a:lnTo>
                    <a:pt x="112" y="622"/>
                  </a:lnTo>
                  <a:lnTo>
                    <a:pt x="114" y="622"/>
                  </a:lnTo>
                  <a:lnTo>
                    <a:pt x="114" y="621"/>
                  </a:lnTo>
                  <a:lnTo>
                    <a:pt x="114" y="622"/>
                  </a:lnTo>
                  <a:lnTo>
                    <a:pt x="116" y="622"/>
                  </a:lnTo>
                  <a:lnTo>
                    <a:pt x="118" y="622"/>
                  </a:lnTo>
                  <a:lnTo>
                    <a:pt x="118" y="624"/>
                  </a:lnTo>
                  <a:lnTo>
                    <a:pt x="118" y="622"/>
                  </a:lnTo>
                  <a:lnTo>
                    <a:pt x="116" y="622"/>
                  </a:lnTo>
                  <a:lnTo>
                    <a:pt x="116" y="621"/>
                  </a:lnTo>
                  <a:lnTo>
                    <a:pt x="116" y="619"/>
                  </a:lnTo>
                  <a:lnTo>
                    <a:pt x="118" y="619"/>
                  </a:lnTo>
                  <a:lnTo>
                    <a:pt x="116" y="619"/>
                  </a:lnTo>
                  <a:lnTo>
                    <a:pt x="118" y="619"/>
                  </a:lnTo>
                  <a:lnTo>
                    <a:pt x="120" y="619"/>
                  </a:lnTo>
                  <a:lnTo>
                    <a:pt x="120" y="617"/>
                  </a:lnTo>
                  <a:lnTo>
                    <a:pt x="121" y="617"/>
                  </a:lnTo>
                  <a:lnTo>
                    <a:pt x="123" y="617"/>
                  </a:lnTo>
                  <a:lnTo>
                    <a:pt x="121" y="617"/>
                  </a:lnTo>
                  <a:lnTo>
                    <a:pt x="123" y="617"/>
                  </a:lnTo>
                  <a:lnTo>
                    <a:pt x="125" y="617"/>
                  </a:lnTo>
                  <a:lnTo>
                    <a:pt x="127" y="617"/>
                  </a:lnTo>
                  <a:lnTo>
                    <a:pt x="127" y="619"/>
                  </a:lnTo>
                  <a:lnTo>
                    <a:pt x="127" y="621"/>
                  </a:lnTo>
                  <a:lnTo>
                    <a:pt x="127" y="619"/>
                  </a:lnTo>
                  <a:lnTo>
                    <a:pt x="129" y="619"/>
                  </a:lnTo>
                  <a:lnTo>
                    <a:pt x="129" y="617"/>
                  </a:lnTo>
                  <a:lnTo>
                    <a:pt x="131" y="617"/>
                  </a:lnTo>
                  <a:lnTo>
                    <a:pt x="133" y="617"/>
                  </a:lnTo>
                  <a:lnTo>
                    <a:pt x="133" y="619"/>
                  </a:lnTo>
                  <a:lnTo>
                    <a:pt x="135" y="619"/>
                  </a:lnTo>
                  <a:lnTo>
                    <a:pt x="135" y="617"/>
                  </a:lnTo>
                  <a:lnTo>
                    <a:pt x="135" y="619"/>
                  </a:lnTo>
                  <a:lnTo>
                    <a:pt x="135" y="617"/>
                  </a:lnTo>
                  <a:lnTo>
                    <a:pt x="137" y="617"/>
                  </a:lnTo>
                  <a:lnTo>
                    <a:pt x="137" y="615"/>
                  </a:lnTo>
                  <a:lnTo>
                    <a:pt x="139" y="615"/>
                  </a:lnTo>
                  <a:lnTo>
                    <a:pt x="139" y="617"/>
                  </a:lnTo>
                  <a:lnTo>
                    <a:pt x="141" y="615"/>
                  </a:lnTo>
                  <a:lnTo>
                    <a:pt x="141" y="617"/>
                  </a:lnTo>
                  <a:close/>
                  <a:moveTo>
                    <a:pt x="70" y="761"/>
                  </a:moveTo>
                  <a:lnTo>
                    <a:pt x="70" y="763"/>
                  </a:lnTo>
                  <a:lnTo>
                    <a:pt x="72" y="763"/>
                  </a:lnTo>
                  <a:lnTo>
                    <a:pt x="70" y="763"/>
                  </a:lnTo>
                  <a:lnTo>
                    <a:pt x="72" y="763"/>
                  </a:lnTo>
                  <a:lnTo>
                    <a:pt x="72" y="761"/>
                  </a:lnTo>
                  <a:lnTo>
                    <a:pt x="72" y="763"/>
                  </a:lnTo>
                  <a:lnTo>
                    <a:pt x="72" y="761"/>
                  </a:lnTo>
                  <a:lnTo>
                    <a:pt x="72" y="763"/>
                  </a:lnTo>
                  <a:lnTo>
                    <a:pt x="72" y="761"/>
                  </a:lnTo>
                  <a:lnTo>
                    <a:pt x="72" y="763"/>
                  </a:lnTo>
                  <a:lnTo>
                    <a:pt x="72" y="761"/>
                  </a:lnTo>
                  <a:lnTo>
                    <a:pt x="72" y="763"/>
                  </a:lnTo>
                  <a:lnTo>
                    <a:pt x="72" y="761"/>
                  </a:lnTo>
                  <a:lnTo>
                    <a:pt x="73" y="761"/>
                  </a:lnTo>
                  <a:lnTo>
                    <a:pt x="73" y="763"/>
                  </a:lnTo>
                  <a:lnTo>
                    <a:pt x="75" y="763"/>
                  </a:lnTo>
                  <a:lnTo>
                    <a:pt x="77" y="763"/>
                  </a:lnTo>
                  <a:lnTo>
                    <a:pt x="77" y="761"/>
                  </a:lnTo>
                  <a:lnTo>
                    <a:pt x="77" y="763"/>
                  </a:lnTo>
                  <a:lnTo>
                    <a:pt x="77" y="765"/>
                  </a:lnTo>
                  <a:lnTo>
                    <a:pt x="79" y="765"/>
                  </a:lnTo>
                  <a:lnTo>
                    <a:pt x="79" y="766"/>
                  </a:lnTo>
                  <a:lnTo>
                    <a:pt x="79" y="765"/>
                  </a:lnTo>
                  <a:lnTo>
                    <a:pt x="79" y="766"/>
                  </a:lnTo>
                  <a:lnTo>
                    <a:pt x="79" y="765"/>
                  </a:lnTo>
                  <a:lnTo>
                    <a:pt x="77" y="765"/>
                  </a:lnTo>
                  <a:lnTo>
                    <a:pt x="79" y="765"/>
                  </a:lnTo>
                  <a:lnTo>
                    <a:pt x="79" y="766"/>
                  </a:lnTo>
                  <a:lnTo>
                    <a:pt x="79" y="768"/>
                  </a:lnTo>
                  <a:lnTo>
                    <a:pt x="79" y="770"/>
                  </a:lnTo>
                  <a:lnTo>
                    <a:pt x="77" y="770"/>
                  </a:lnTo>
                  <a:lnTo>
                    <a:pt x="77" y="772"/>
                  </a:lnTo>
                  <a:lnTo>
                    <a:pt x="77" y="774"/>
                  </a:lnTo>
                  <a:lnTo>
                    <a:pt x="77" y="772"/>
                  </a:lnTo>
                  <a:lnTo>
                    <a:pt x="77" y="774"/>
                  </a:lnTo>
                  <a:lnTo>
                    <a:pt x="75" y="774"/>
                  </a:lnTo>
                  <a:lnTo>
                    <a:pt x="75" y="776"/>
                  </a:lnTo>
                  <a:lnTo>
                    <a:pt x="75" y="778"/>
                  </a:lnTo>
                  <a:lnTo>
                    <a:pt x="73" y="778"/>
                  </a:lnTo>
                  <a:lnTo>
                    <a:pt x="73" y="780"/>
                  </a:lnTo>
                  <a:lnTo>
                    <a:pt x="73" y="778"/>
                  </a:lnTo>
                  <a:lnTo>
                    <a:pt x="73" y="780"/>
                  </a:lnTo>
                  <a:lnTo>
                    <a:pt x="73" y="782"/>
                  </a:lnTo>
                  <a:lnTo>
                    <a:pt x="73" y="780"/>
                  </a:lnTo>
                  <a:lnTo>
                    <a:pt x="72" y="780"/>
                  </a:lnTo>
                  <a:lnTo>
                    <a:pt x="70" y="780"/>
                  </a:lnTo>
                  <a:lnTo>
                    <a:pt x="72" y="780"/>
                  </a:lnTo>
                  <a:lnTo>
                    <a:pt x="70" y="780"/>
                  </a:lnTo>
                  <a:lnTo>
                    <a:pt x="70" y="778"/>
                  </a:lnTo>
                  <a:lnTo>
                    <a:pt x="68" y="778"/>
                  </a:lnTo>
                  <a:lnTo>
                    <a:pt x="68" y="776"/>
                  </a:lnTo>
                  <a:lnTo>
                    <a:pt x="66" y="776"/>
                  </a:lnTo>
                  <a:lnTo>
                    <a:pt x="68" y="776"/>
                  </a:lnTo>
                  <a:lnTo>
                    <a:pt x="68" y="774"/>
                  </a:lnTo>
                  <a:lnTo>
                    <a:pt x="68" y="772"/>
                  </a:lnTo>
                  <a:lnTo>
                    <a:pt x="68" y="770"/>
                  </a:lnTo>
                  <a:lnTo>
                    <a:pt x="66" y="770"/>
                  </a:lnTo>
                  <a:lnTo>
                    <a:pt x="66" y="768"/>
                  </a:lnTo>
                  <a:lnTo>
                    <a:pt x="66" y="766"/>
                  </a:lnTo>
                  <a:lnTo>
                    <a:pt x="68" y="766"/>
                  </a:lnTo>
                  <a:lnTo>
                    <a:pt x="66" y="766"/>
                  </a:lnTo>
                  <a:lnTo>
                    <a:pt x="68" y="766"/>
                  </a:lnTo>
                  <a:lnTo>
                    <a:pt x="70" y="766"/>
                  </a:lnTo>
                  <a:lnTo>
                    <a:pt x="68" y="766"/>
                  </a:lnTo>
                  <a:lnTo>
                    <a:pt x="70" y="766"/>
                  </a:lnTo>
                  <a:lnTo>
                    <a:pt x="72" y="766"/>
                  </a:lnTo>
                  <a:lnTo>
                    <a:pt x="73" y="766"/>
                  </a:lnTo>
                  <a:lnTo>
                    <a:pt x="75" y="766"/>
                  </a:lnTo>
                  <a:lnTo>
                    <a:pt x="75" y="768"/>
                  </a:lnTo>
                  <a:lnTo>
                    <a:pt x="75" y="766"/>
                  </a:lnTo>
                  <a:lnTo>
                    <a:pt x="73" y="766"/>
                  </a:lnTo>
                  <a:lnTo>
                    <a:pt x="73" y="765"/>
                  </a:lnTo>
                  <a:lnTo>
                    <a:pt x="73" y="766"/>
                  </a:lnTo>
                  <a:lnTo>
                    <a:pt x="73" y="765"/>
                  </a:lnTo>
                  <a:lnTo>
                    <a:pt x="73" y="766"/>
                  </a:lnTo>
                  <a:lnTo>
                    <a:pt x="73" y="765"/>
                  </a:lnTo>
                  <a:lnTo>
                    <a:pt x="73" y="766"/>
                  </a:lnTo>
                  <a:lnTo>
                    <a:pt x="73" y="765"/>
                  </a:lnTo>
                  <a:lnTo>
                    <a:pt x="72" y="765"/>
                  </a:lnTo>
                  <a:lnTo>
                    <a:pt x="72" y="766"/>
                  </a:lnTo>
                  <a:lnTo>
                    <a:pt x="70" y="766"/>
                  </a:lnTo>
                  <a:lnTo>
                    <a:pt x="70" y="765"/>
                  </a:lnTo>
                  <a:lnTo>
                    <a:pt x="70" y="763"/>
                  </a:lnTo>
                  <a:lnTo>
                    <a:pt x="68" y="763"/>
                  </a:lnTo>
                  <a:lnTo>
                    <a:pt x="70" y="763"/>
                  </a:lnTo>
                  <a:lnTo>
                    <a:pt x="68" y="763"/>
                  </a:lnTo>
                  <a:lnTo>
                    <a:pt x="70" y="763"/>
                  </a:lnTo>
                  <a:lnTo>
                    <a:pt x="68" y="763"/>
                  </a:lnTo>
                  <a:lnTo>
                    <a:pt x="68" y="761"/>
                  </a:lnTo>
                  <a:lnTo>
                    <a:pt x="70" y="761"/>
                  </a:lnTo>
                  <a:close/>
                  <a:moveTo>
                    <a:pt x="98" y="465"/>
                  </a:moveTo>
                  <a:lnTo>
                    <a:pt x="100" y="465"/>
                  </a:lnTo>
                  <a:lnTo>
                    <a:pt x="102" y="465"/>
                  </a:lnTo>
                  <a:lnTo>
                    <a:pt x="100" y="465"/>
                  </a:lnTo>
                  <a:lnTo>
                    <a:pt x="102" y="467"/>
                  </a:lnTo>
                  <a:lnTo>
                    <a:pt x="100" y="467"/>
                  </a:lnTo>
                  <a:lnTo>
                    <a:pt x="102" y="467"/>
                  </a:lnTo>
                  <a:lnTo>
                    <a:pt x="100" y="467"/>
                  </a:lnTo>
                  <a:lnTo>
                    <a:pt x="102" y="467"/>
                  </a:lnTo>
                  <a:lnTo>
                    <a:pt x="100" y="467"/>
                  </a:lnTo>
                  <a:lnTo>
                    <a:pt x="102" y="467"/>
                  </a:lnTo>
                  <a:lnTo>
                    <a:pt x="102" y="465"/>
                  </a:lnTo>
                  <a:lnTo>
                    <a:pt x="104" y="465"/>
                  </a:lnTo>
                  <a:lnTo>
                    <a:pt x="102" y="465"/>
                  </a:lnTo>
                  <a:lnTo>
                    <a:pt x="104" y="465"/>
                  </a:lnTo>
                  <a:lnTo>
                    <a:pt x="104" y="467"/>
                  </a:lnTo>
                  <a:lnTo>
                    <a:pt x="104" y="469"/>
                  </a:lnTo>
                  <a:lnTo>
                    <a:pt x="104" y="471"/>
                  </a:lnTo>
                  <a:lnTo>
                    <a:pt x="104" y="473"/>
                  </a:lnTo>
                  <a:lnTo>
                    <a:pt x="104" y="475"/>
                  </a:lnTo>
                  <a:lnTo>
                    <a:pt x="104" y="477"/>
                  </a:lnTo>
                  <a:lnTo>
                    <a:pt x="102" y="477"/>
                  </a:lnTo>
                  <a:lnTo>
                    <a:pt x="100" y="477"/>
                  </a:lnTo>
                  <a:lnTo>
                    <a:pt x="100" y="478"/>
                  </a:lnTo>
                  <a:lnTo>
                    <a:pt x="98" y="478"/>
                  </a:lnTo>
                  <a:lnTo>
                    <a:pt x="96" y="478"/>
                  </a:lnTo>
                  <a:lnTo>
                    <a:pt x="96" y="480"/>
                  </a:lnTo>
                  <a:lnTo>
                    <a:pt x="96" y="478"/>
                  </a:lnTo>
                  <a:lnTo>
                    <a:pt x="96" y="480"/>
                  </a:lnTo>
                  <a:lnTo>
                    <a:pt x="95" y="480"/>
                  </a:lnTo>
                  <a:lnTo>
                    <a:pt x="96" y="480"/>
                  </a:lnTo>
                  <a:lnTo>
                    <a:pt x="95" y="480"/>
                  </a:lnTo>
                  <a:lnTo>
                    <a:pt x="95" y="478"/>
                  </a:lnTo>
                  <a:lnTo>
                    <a:pt x="93" y="478"/>
                  </a:lnTo>
                  <a:lnTo>
                    <a:pt x="95" y="478"/>
                  </a:lnTo>
                  <a:lnTo>
                    <a:pt x="95" y="477"/>
                  </a:lnTo>
                  <a:lnTo>
                    <a:pt x="93" y="477"/>
                  </a:lnTo>
                  <a:lnTo>
                    <a:pt x="93" y="478"/>
                  </a:lnTo>
                  <a:lnTo>
                    <a:pt x="93" y="477"/>
                  </a:lnTo>
                  <a:lnTo>
                    <a:pt x="93" y="478"/>
                  </a:lnTo>
                  <a:lnTo>
                    <a:pt x="93" y="477"/>
                  </a:lnTo>
                  <a:lnTo>
                    <a:pt x="91" y="477"/>
                  </a:lnTo>
                  <a:lnTo>
                    <a:pt x="93" y="477"/>
                  </a:lnTo>
                  <a:lnTo>
                    <a:pt x="93" y="475"/>
                  </a:lnTo>
                  <a:lnTo>
                    <a:pt x="95" y="475"/>
                  </a:lnTo>
                  <a:lnTo>
                    <a:pt x="96" y="475"/>
                  </a:lnTo>
                  <a:lnTo>
                    <a:pt x="96" y="473"/>
                  </a:lnTo>
                  <a:lnTo>
                    <a:pt x="98" y="473"/>
                  </a:lnTo>
                  <a:lnTo>
                    <a:pt x="98" y="471"/>
                  </a:lnTo>
                  <a:lnTo>
                    <a:pt x="98" y="473"/>
                  </a:lnTo>
                  <a:lnTo>
                    <a:pt x="100" y="473"/>
                  </a:lnTo>
                  <a:lnTo>
                    <a:pt x="100" y="475"/>
                  </a:lnTo>
                  <a:lnTo>
                    <a:pt x="100" y="473"/>
                  </a:lnTo>
                  <a:lnTo>
                    <a:pt x="100" y="475"/>
                  </a:lnTo>
                  <a:lnTo>
                    <a:pt x="100" y="473"/>
                  </a:lnTo>
                  <a:lnTo>
                    <a:pt x="102" y="473"/>
                  </a:lnTo>
                  <a:lnTo>
                    <a:pt x="100" y="473"/>
                  </a:lnTo>
                  <a:lnTo>
                    <a:pt x="102" y="473"/>
                  </a:lnTo>
                  <a:lnTo>
                    <a:pt x="102" y="471"/>
                  </a:lnTo>
                  <a:lnTo>
                    <a:pt x="102" y="473"/>
                  </a:lnTo>
                  <a:lnTo>
                    <a:pt x="102" y="471"/>
                  </a:lnTo>
                  <a:lnTo>
                    <a:pt x="100" y="471"/>
                  </a:lnTo>
                  <a:lnTo>
                    <a:pt x="102" y="471"/>
                  </a:lnTo>
                  <a:lnTo>
                    <a:pt x="100" y="471"/>
                  </a:lnTo>
                  <a:lnTo>
                    <a:pt x="100" y="469"/>
                  </a:lnTo>
                  <a:lnTo>
                    <a:pt x="102" y="469"/>
                  </a:lnTo>
                  <a:lnTo>
                    <a:pt x="100" y="469"/>
                  </a:lnTo>
                  <a:lnTo>
                    <a:pt x="102" y="469"/>
                  </a:lnTo>
                  <a:lnTo>
                    <a:pt x="100" y="469"/>
                  </a:lnTo>
                  <a:lnTo>
                    <a:pt x="100" y="471"/>
                  </a:lnTo>
                  <a:lnTo>
                    <a:pt x="102" y="471"/>
                  </a:lnTo>
                  <a:lnTo>
                    <a:pt x="102" y="473"/>
                  </a:lnTo>
                  <a:lnTo>
                    <a:pt x="100" y="473"/>
                  </a:lnTo>
                  <a:lnTo>
                    <a:pt x="100" y="471"/>
                  </a:lnTo>
                  <a:lnTo>
                    <a:pt x="100" y="473"/>
                  </a:lnTo>
                  <a:lnTo>
                    <a:pt x="100" y="471"/>
                  </a:lnTo>
                  <a:lnTo>
                    <a:pt x="98" y="471"/>
                  </a:lnTo>
                  <a:lnTo>
                    <a:pt x="96" y="471"/>
                  </a:lnTo>
                  <a:lnTo>
                    <a:pt x="96" y="473"/>
                  </a:lnTo>
                  <a:lnTo>
                    <a:pt x="95" y="473"/>
                  </a:lnTo>
                  <a:lnTo>
                    <a:pt x="95" y="475"/>
                  </a:lnTo>
                  <a:lnTo>
                    <a:pt x="93" y="475"/>
                  </a:lnTo>
                  <a:lnTo>
                    <a:pt x="93" y="473"/>
                  </a:lnTo>
                  <a:lnTo>
                    <a:pt x="93" y="471"/>
                  </a:lnTo>
                  <a:lnTo>
                    <a:pt x="93" y="469"/>
                  </a:lnTo>
                  <a:lnTo>
                    <a:pt x="93" y="467"/>
                  </a:lnTo>
                  <a:lnTo>
                    <a:pt x="91" y="467"/>
                  </a:lnTo>
                  <a:lnTo>
                    <a:pt x="91" y="469"/>
                  </a:lnTo>
                  <a:lnTo>
                    <a:pt x="91" y="467"/>
                  </a:lnTo>
                  <a:lnTo>
                    <a:pt x="91" y="469"/>
                  </a:lnTo>
                  <a:lnTo>
                    <a:pt x="91" y="467"/>
                  </a:lnTo>
                  <a:lnTo>
                    <a:pt x="89" y="467"/>
                  </a:lnTo>
                  <a:lnTo>
                    <a:pt x="89" y="469"/>
                  </a:lnTo>
                  <a:lnTo>
                    <a:pt x="87" y="469"/>
                  </a:lnTo>
                  <a:lnTo>
                    <a:pt x="87" y="471"/>
                  </a:lnTo>
                  <a:lnTo>
                    <a:pt x="89" y="471"/>
                  </a:lnTo>
                  <a:lnTo>
                    <a:pt x="89" y="473"/>
                  </a:lnTo>
                  <a:lnTo>
                    <a:pt x="89" y="475"/>
                  </a:lnTo>
                  <a:lnTo>
                    <a:pt x="87" y="473"/>
                  </a:lnTo>
                  <a:lnTo>
                    <a:pt x="87" y="475"/>
                  </a:lnTo>
                  <a:lnTo>
                    <a:pt x="87" y="473"/>
                  </a:lnTo>
                  <a:lnTo>
                    <a:pt x="87" y="475"/>
                  </a:lnTo>
                  <a:lnTo>
                    <a:pt x="87" y="473"/>
                  </a:lnTo>
                  <a:lnTo>
                    <a:pt x="85" y="473"/>
                  </a:lnTo>
                  <a:lnTo>
                    <a:pt x="87" y="473"/>
                  </a:lnTo>
                  <a:lnTo>
                    <a:pt x="85" y="473"/>
                  </a:lnTo>
                  <a:lnTo>
                    <a:pt x="87" y="473"/>
                  </a:lnTo>
                  <a:lnTo>
                    <a:pt x="85" y="473"/>
                  </a:lnTo>
                  <a:lnTo>
                    <a:pt x="87" y="473"/>
                  </a:lnTo>
                  <a:lnTo>
                    <a:pt x="85" y="473"/>
                  </a:lnTo>
                  <a:lnTo>
                    <a:pt x="85" y="471"/>
                  </a:lnTo>
                  <a:lnTo>
                    <a:pt x="85" y="473"/>
                  </a:lnTo>
                  <a:lnTo>
                    <a:pt x="87" y="473"/>
                  </a:lnTo>
                  <a:lnTo>
                    <a:pt x="87" y="471"/>
                  </a:lnTo>
                  <a:lnTo>
                    <a:pt x="85" y="471"/>
                  </a:lnTo>
                  <a:lnTo>
                    <a:pt x="87" y="471"/>
                  </a:lnTo>
                  <a:lnTo>
                    <a:pt x="85" y="471"/>
                  </a:lnTo>
                  <a:lnTo>
                    <a:pt x="87" y="471"/>
                  </a:lnTo>
                  <a:lnTo>
                    <a:pt x="87" y="469"/>
                  </a:lnTo>
                  <a:lnTo>
                    <a:pt x="87" y="467"/>
                  </a:lnTo>
                  <a:lnTo>
                    <a:pt x="89" y="467"/>
                  </a:lnTo>
                  <a:lnTo>
                    <a:pt x="91" y="467"/>
                  </a:lnTo>
                  <a:lnTo>
                    <a:pt x="91" y="465"/>
                  </a:lnTo>
                  <a:lnTo>
                    <a:pt x="93" y="465"/>
                  </a:lnTo>
                  <a:lnTo>
                    <a:pt x="93" y="467"/>
                  </a:lnTo>
                  <a:lnTo>
                    <a:pt x="93" y="465"/>
                  </a:lnTo>
                  <a:lnTo>
                    <a:pt x="95" y="465"/>
                  </a:lnTo>
                  <a:lnTo>
                    <a:pt x="96" y="465"/>
                  </a:lnTo>
                  <a:lnTo>
                    <a:pt x="98" y="465"/>
                  </a:lnTo>
                  <a:close/>
                  <a:moveTo>
                    <a:pt x="93" y="553"/>
                  </a:moveTo>
                  <a:lnTo>
                    <a:pt x="93" y="555"/>
                  </a:lnTo>
                  <a:lnTo>
                    <a:pt x="93" y="553"/>
                  </a:lnTo>
                  <a:lnTo>
                    <a:pt x="93" y="555"/>
                  </a:lnTo>
                  <a:lnTo>
                    <a:pt x="95" y="555"/>
                  </a:lnTo>
                  <a:lnTo>
                    <a:pt x="95" y="557"/>
                  </a:lnTo>
                  <a:lnTo>
                    <a:pt x="95" y="559"/>
                  </a:lnTo>
                  <a:lnTo>
                    <a:pt x="95" y="561"/>
                  </a:lnTo>
                  <a:lnTo>
                    <a:pt x="96" y="561"/>
                  </a:lnTo>
                  <a:lnTo>
                    <a:pt x="96" y="563"/>
                  </a:lnTo>
                  <a:lnTo>
                    <a:pt x="96" y="561"/>
                  </a:lnTo>
                  <a:lnTo>
                    <a:pt x="96" y="563"/>
                  </a:lnTo>
                  <a:lnTo>
                    <a:pt x="96" y="565"/>
                  </a:lnTo>
                  <a:lnTo>
                    <a:pt x="96" y="563"/>
                  </a:lnTo>
                  <a:lnTo>
                    <a:pt x="96" y="565"/>
                  </a:lnTo>
                  <a:lnTo>
                    <a:pt x="96" y="567"/>
                  </a:lnTo>
                  <a:lnTo>
                    <a:pt x="96" y="565"/>
                  </a:lnTo>
                  <a:lnTo>
                    <a:pt x="96" y="567"/>
                  </a:lnTo>
                  <a:lnTo>
                    <a:pt x="96" y="569"/>
                  </a:lnTo>
                  <a:lnTo>
                    <a:pt x="96" y="571"/>
                  </a:lnTo>
                  <a:lnTo>
                    <a:pt x="96" y="573"/>
                  </a:lnTo>
                  <a:lnTo>
                    <a:pt x="96" y="574"/>
                  </a:lnTo>
                  <a:lnTo>
                    <a:pt x="95" y="574"/>
                  </a:lnTo>
                  <a:lnTo>
                    <a:pt x="95" y="576"/>
                  </a:lnTo>
                  <a:lnTo>
                    <a:pt x="95" y="578"/>
                  </a:lnTo>
                  <a:lnTo>
                    <a:pt x="93" y="578"/>
                  </a:lnTo>
                  <a:lnTo>
                    <a:pt x="93" y="580"/>
                  </a:lnTo>
                  <a:lnTo>
                    <a:pt x="91" y="580"/>
                  </a:lnTo>
                  <a:lnTo>
                    <a:pt x="91" y="578"/>
                  </a:lnTo>
                  <a:lnTo>
                    <a:pt x="91" y="580"/>
                  </a:lnTo>
                  <a:lnTo>
                    <a:pt x="91" y="578"/>
                  </a:lnTo>
                  <a:lnTo>
                    <a:pt x="91" y="576"/>
                  </a:lnTo>
                  <a:lnTo>
                    <a:pt x="91" y="578"/>
                  </a:lnTo>
                  <a:lnTo>
                    <a:pt x="91" y="576"/>
                  </a:lnTo>
                  <a:lnTo>
                    <a:pt x="91" y="574"/>
                  </a:lnTo>
                  <a:lnTo>
                    <a:pt x="93" y="574"/>
                  </a:lnTo>
                  <a:lnTo>
                    <a:pt x="91" y="574"/>
                  </a:lnTo>
                  <a:lnTo>
                    <a:pt x="91" y="576"/>
                  </a:lnTo>
                  <a:lnTo>
                    <a:pt x="91" y="574"/>
                  </a:lnTo>
                  <a:lnTo>
                    <a:pt x="89" y="574"/>
                  </a:lnTo>
                  <a:lnTo>
                    <a:pt x="91" y="574"/>
                  </a:lnTo>
                  <a:lnTo>
                    <a:pt x="89" y="574"/>
                  </a:lnTo>
                  <a:lnTo>
                    <a:pt x="91" y="574"/>
                  </a:lnTo>
                  <a:lnTo>
                    <a:pt x="91" y="573"/>
                  </a:lnTo>
                  <a:lnTo>
                    <a:pt x="91" y="574"/>
                  </a:lnTo>
                  <a:lnTo>
                    <a:pt x="89" y="574"/>
                  </a:lnTo>
                  <a:lnTo>
                    <a:pt x="89" y="573"/>
                  </a:lnTo>
                  <a:lnTo>
                    <a:pt x="91" y="573"/>
                  </a:lnTo>
                  <a:lnTo>
                    <a:pt x="89" y="573"/>
                  </a:lnTo>
                  <a:lnTo>
                    <a:pt x="91" y="573"/>
                  </a:lnTo>
                  <a:lnTo>
                    <a:pt x="89" y="573"/>
                  </a:lnTo>
                  <a:lnTo>
                    <a:pt x="89" y="571"/>
                  </a:lnTo>
                  <a:lnTo>
                    <a:pt x="89" y="569"/>
                  </a:lnTo>
                  <a:lnTo>
                    <a:pt x="91" y="569"/>
                  </a:lnTo>
                  <a:lnTo>
                    <a:pt x="89" y="569"/>
                  </a:lnTo>
                  <a:lnTo>
                    <a:pt x="91" y="569"/>
                  </a:lnTo>
                  <a:lnTo>
                    <a:pt x="89" y="569"/>
                  </a:lnTo>
                  <a:lnTo>
                    <a:pt x="89" y="567"/>
                  </a:lnTo>
                  <a:lnTo>
                    <a:pt x="89" y="565"/>
                  </a:lnTo>
                  <a:lnTo>
                    <a:pt x="89" y="567"/>
                  </a:lnTo>
                  <a:lnTo>
                    <a:pt x="89" y="565"/>
                  </a:lnTo>
                  <a:lnTo>
                    <a:pt x="89" y="563"/>
                  </a:lnTo>
                  <a:lnTo>
                    <a:pt x="91" y="563"/>
                  </a:lnTo>
                  <a:lnTo>
                    <a:pt x="91" y="565"/>
                  </a:lnTo>
                  <a:lnTo>
                    <a:pt x="91" y="563"/>
                  </a:lnTo>
                  <a:lnTo>
                    <a:pt x="91" y="565"/>
                  </a:lnTo>
                  <a:lnTo>
                    <a:pt x="91" y="563"/>
                  </a:lnTo>
                  <a:lnTo>
                    <a:pt x="91" y="565"/>
                  </a:lnTo>
                  <a:lnTo>
                    <a:pt x="91" y="563"/>
                  </a:lnTo>
                  <a:lnTo>
                    <a:pt x="91" y="561"/>
                  </a:lnTo>
                  <a:lnTo>
                    <a:pt x="91" y="563"/>
                  </a:lnTo>
                  <a:lnTo>
                    <a:pt x="91" y="565"/>
                  </a:lnTo>
                  <a:lnTo>
                    <a:pt x="93" y="565"/>
                  </a:lnTo>
                  <a:lnTo>
                    <a:pt x="91" y="565"/>
                  </a:lnTo>
                  <a:lnTo>
                    <a:pt x="91" y="563"/>
                  </a:lnTo>
                  <a:lnTo>
                    <a:pt x="91" y="561"/>
                  </a:lnTo>
                  <a:lnTo>
                    <a:pt x="91" y="559"/>
                  </a:lnTo>
                  <a:lnTo>
                    <a:pt x="91" y="557"/>
                  </a:lnTo>
                  <a:lnTo>
                    <a:pt x="91" y="559"/>
                  </a:lnTo>
                  <a:lnTo>
                    <a:pt x="91" y="557"/>
                  </a:lnTo>
                  <a:lnTo>
                    <a:pt x="93" y="557"/>
                  </a:lnTo>
                  <a:lnTo>
                    <a:pt x="93" y="555"/>
                  </a:lnTo>
                  <a:lnTo>
                    <a:pt x="93" y="553"/>
                  </a:lnTo>
                  <a:close/>
                  <a:moveTo>
                    <a:pt x="120" y="720"/>
                  </a:moveTo>
                  <a:lnTo>
                    <a:pt x="121" y="720"/>
                  </a:lnTo>
                  <a:lnTo>
                    <a:pt x="123" y="720"/>
                  </a:lnTo>
                  <a:lnTo>
                    <a:pt x="125" y="720"/>
                  </a:lnTo>
                  <a:lnTo>
                    <a:pt x="125" y="722"/>
                  </a:lnTo>
                  <a:lnTo>
                    <a:pt x="123" y="722"/>
                  </a:lnTo>
                  <a:lnTo>
                    <a:pt x="125" y="722"/>
                  </a:lnTo>
                  <a:lnTo>
                    <a:pt x="127" y="722"/>
                  </a:lnTo>
                  <a:lnTo>
                    <a:pt x="127" y="724"/>
                  </a:lnTo>
                  <a:lnTo>
                    <a:pt x="125" y="724"/>
                  </a:lnTo>
                  <a:lnTo>
                    <a:pt x="125" y="726"/>
                  </a:lnTo>
                  <a:lnTo>
                    <a:pt x="125" y="728"/>
                  </a:lnTo>
                  <a:lnTo>
                    <a:pt x="127" y="728"/>
                  </a:lnTo>
                  <a:lnTo>
                    <a:pt x="125" y="728"/>
                  </a:lnTo>
                  <a:lnTo>
                    <a:pt x="123" y="728"/>
                  </a:lnTo>
                  <a:lnTo>
                    <a:pt x="123" y="730"/>
                  </a:lnTo>
                  <a:lnTo>
                    <a:pt x="121" y="730"/>
                  </a:lnTo>
                  <a:lnTo>
                    <a:pt x="120" y="730"/>
                  </a:lnTo>
                  <a:lnTo>
                    <a:pt x="120" y="732"/>
                  </a:lnTo>
                  <a:lnTo>
                    <a:pt x="120" y="730"/>
                  </a:lnTo>
                  <a:lnTo>
                    <a:pt x="118" y="730"/>
                  </a:lnTo>
                  <a:lnTo>
                    <a:pt x="116" y="730"/>
                  </a:lnTo>
                  <a:lnTo>
                    <a:pt x="116" y="728"/>
                  </a:lnTo>
                  <a:lnTo>
                    <a:pt x="114" y="728"/>
                  </a:lnTo>
                  <a:lnTo>
                    <a:pt x="114" y="726"/>
                  </a:lnTo>
                  <a:lnTo>
                    <a:pt x="112" y="726"/>
                  </a:lnTo>
                  <a:lnTo>
                    <a:pt x="114" y="726"/>
                  </a:lnTo>
                  <a:lnTo>
                    <a:pt x="114" y="728"/>
                  </a:lnTo>
                  <a:lnTo>
                    <a:pt x="112" y="728"/>
                  </a:lnTo>
                  <a:lnTo>
                    <a:pt x="114" y="728"/>
                  </a:lnTo>
                  <a:lnTo>
                    <a:pt x="112" y="728"/>
                  </a:lnTo>
                  <a:lnTo>
                    <a:pt x="112" y="726"/>
                  </a:lnTo>
                  <a:lnTo>
                    <a:pt x="110" y="726"/>
                  </a:lnTo>
                  <a:lnTo>
                    <a:pt x="110" y="724"/>
                  </a:lnTo>
                  <a:lnTo>
                    <a:pt x="108" y="724"/>
                  </a:lnTo>
                  <a:lnTo>
                    <a:pt x="110" y="724"/>
                  </a:lnTo>
                  <a:lnTo>
                    <a:pt x="110" y="722"/>
                  </a:lnTo>
                  <a:lnTo>
                    <a:pt x="110" y="724"/>
                  </a:lnTo>
                  <a:lnTo>
                    <a:pt x="110" y="722"/>
                  </a:lnTo>
                  <a:lnTo>
                    <a:pt x="112" y="722"/>
                  </a:lnTo>
                  <a:lnTo>
                    <a:pt x="112" y="724"/>
                  </a:lnTo>
                  <a:lnTo>
                    <a:pt x="112" y="722"/>
                  </a:lnTo>
                  <a:lnTo>
                    <a:pt x="110" y="722"/>
                  </a:lnTo>
                  <a:lnTo>
                    <a:pt x="112" y="722"/>
                  </a:lnTo>
                  <a:lnTo>
                    <a:pt x="114" y="722"/>
                  </a:lnTo>
                  <a:lnTo>
                    <a:pt x="112" y="722"/>
                  </a:lnTo>
                  <a:lnTo>
                    <a:pt x="114" y="722"/>
                  </a:lnTo>
                  <a:lnTo>
                    <a:pt x="114" y="720"/>
                  </a:lnTo>
                  <a:lnTo>
                    <a:pt x="112" y="720"/>
                  </a:lnTo>
                  <a:lnTo>
                    <a:pt x="114" y="720"/>
                  </a:lnTo>
                  <a:lnTo>
                    <a:pt x="114" y="722"/>
                  </a:lnTo>
                  <a:lnTo>
                    <a:pt x="114" y="720"/>
                  </a:lnTo>
                  <a:lnTo>
                    <a:pt x="114" y="722"/>
                  </a:lnTo>
                  <a:lnTo>
                    <a:pt x="116" y="722"/>
                  </a:lnTo>
                  <a:lnTo>
                    <a:pt x="114" y="722"/>
                  </a:lnTo>
                  <a:lnTo>
                    <a:pt x="116" y="722"/>
                  </a:lnTo>
                  <a:lnTo>
                    <a:pt x="116" y="720"/>
                  </a:lnTo>
                  <a:lnTo>
                    <a:pt x="116" y="722"/>
                  </a:lnTo>
                  <a:lnTo>
                    <a:pt x="116" y="720"/>
                  </a:lnTo>
                  <a:lnTo>
                    <a:pt x="116" y="722"/>
                  </a:lnTo>
                  <a:lnTo>
                    <a:pt x="116" y="720"/>
                  </a:lnTo>
                  <a:lnTo>
                    <a:pt x="116" y="722"/>
                  </a:lnTo>
                  <a:lnTo>
                    <a:pt x="118" y="722"/>
                  </a:lnTo>
                  <a:lnTo>
                    <a:pt x="118" y="720"/>
                  </a:lnTo>
                  <a:lnTo>
                    <a:pt x="116" y="720"/>
                  </a:lnTo>
                  <a:lnTo>
                    <a:pt x="118" y="720"/>
                  </a:lnTo>
                  <a:lnTo>
                    <a:pt x="120" y="720"/>
                  </a:lnTo>
                  <a:lnTo>
                    <a:pt x="120" y="722"/>
                  </a:lnTo>
                  <a:lnTo>
                    <a:pt x="121" y="722"/>
                  </a:lnTo>
                  <a:lnTo>
                    <a:pt x="120" y="722"/>
                  </a:lnTo>
                  <a:lnTo>
                    <a:pt x="120" y="720"/>
                  </a:lnTo>
                  <a:lnTo>
                    <a:pt x="118" y="720"/>
                  </a:lnTo>
                  <a:lnTo>
                    <a:pt x="120" y="720"/>
                  </a:lnTo>
                  <a:close/>
                  <a:moveTo>
                    <a:pt x="129" y="515"/>
                  </a:moveTo>
                  <a:lnTo>
                    <a:pt x="131" y="515"/>
                  </a:lnTo>
                  <a:lnTo>
                    <a:pt x="133" y="515"/>
                  </a:lnTo>
                  <a:lnTo>
                    <a:pt x="133" y="517"/>
                  </a:lnTo>
                  <a:lnTo>
                    <a:pt x="135" y="517"/>
                  </a:lnTo>
                  <a:lnTo>
                    <a:pt x="137" y="517"/>
                  </a:lnTo>
                  <a:lnTo>
                    <a:pt x="139" y="517"/>
                  </a:lnTo>
                  <a:lnTo>
                    <a:pt x="139" y="519"/>
                  </a:lnTo>
                  <a:lnTo>
                    <a:pt x="137" y="519"/>
                  </a:lnTo>
                  <a:lnTo>
                    <a:pt x="135" y="519"/>
                  </a:lnTo>
                  <a:lnTo>
                    <a:pt x="135" y="521"/>
                  </a:lnTo>
                  <a:lnTo>
                    <a:pt x="133" y="521"/>
                  </a:lnTo>
                  <a:lnTo>
                    <a:pt x="133" y="523"/>
                  </a:lnTo>
                  <a:lnTo>
                    <a:pt x="131" y="523"/>
                  </a:lnTo>
                  <a:lnTo>
                    <a:pt x="131" y="525"/>
                  </a:lnTo>
                  <a:lnTo>
                    <a:pt x="131" y="523"/>
                  </a:lnTo>
                  <a:lnTo>
                    <a:pt x="129" y="523"/>
                  </a:lnTo>
                  <a:lnTo>
                    <a:pt x="129" y="521"/>
                  </a:lnTo>
                  <a:lnTo>
                    <a:pt x="129" y="523"/>
                  </a:lnTo>
                  <a:lnTo>
                    <a:pt x="127" y="523"/>
                  </a:lnTo>
                  <a:lnTo>
                    <a:pt x="127" y="521"/>
                  </a:lnTo>
                  <a:lnTo>
                    <a:pt x="127" y="523"/>
                  </a:lnTo>
                  <a:lnTo>
                    <a:pt x="125" y="523"/>
                  </a:lnTo>
                  <a:lnTo>
                    <a:pt x="123" y="523"/>
                  </a:lnTo>
                  <a:lnTo>
                    <a:pt x="121" y="523"/>
                  </a:lnTo>
                  <a:lnTo>
                    <a:pt x="121" y="525"/>
                  </a:lnTo>
                  <a:lnTo>
                    <a:pt x="121" y="526"/>
                  </a:lnTo>
                  <a:lnTo>
                    <a:pt x="120" y="526"/>
                  </a:lnTo>
                  <a:lnTo>
                    <a:pt x="118" y="526"/>
                  </a:lnTo>
                  <a:lnTo>
                    <a:pt x="118" y="528"/>
                  </a:lnTo>
                  <a:lnTo>
                    <a:pt x="116" y="528"/>
                  </a:lnTo>
                  <a:lnTo>
                    <a:pt x="116" y="526"/>
                  </a:lnTo>
                  <a:lnTo>
                    <a:pt x="118" y="526"/>
                  </a:lnTo>
                  <a:lnTo>
                    <a:pt x="118" y="525"/>
                  </a:lnTo>
                  <a:lnTo>
                    <a:pt x="120" y="525"/>
                  </a:lnTo>
                  <a:lnTo>
                    <a:pt x="120" y="523"/>
                  </a:lnTo>
                  <a:lnTo>
                    <a:pt x="120" y="521"/>
                  </a:lnTo>
                  <a:lnTo>
                    <a:pt x="121" y="521"/>
                  </a:lnTo>
                  <a:lnTo>
                    <a:pt x="121" y="519"/>
                  </a:lnTo>
                  <a:lnTo>
                    <a:pt x="123" y="517"/>
                  </a:lnTo>
                  <a:lnTo>
                    <a:pt x="123" y="515"/>
                  </a:lnTo>
                  <a:lnTo>
                    <a:pt x="125" y="515"/>
                  </a:lnTo>
                  <a:lnTo>
                    <a:pt x="127" y="515"/>
                  </a:lnTo>
                  <a:lnTo>
                    <a:pt x="129" y="515"/>
                  </a:lnTo>
                  <a:close/>
                  <a:moveTo>
                    <a:pt x="106" y="619"/>
                  </a:moveTo>
                  <a:lnTo>
                    <a:pt x="104" y="619"/>
                  </a:lnTo>
                  <a:lnTo>
                    <a:pt x="104" y="621"/>
                  </a:lnTo>
                  <a:lnTo>
                    <a:pt x="106" y="621"/>
                  </a:lnTo>
                  <a:lnTo>
                    <a:pt x="106" y="619"/>
                  </a:lnTo>
                  <a:lnTo>
                    <a:pt x="106" y="621"/>
                  </a:lnTo>
                  <a:lnTo>
                    <a:pt x="106" y="619"/>
                  </a:lnTo>
                  <a:lnTo>
                    <a:pt x="106" y="621"/>
                  </a:lnTo>
                  <a:lnTo>
                    <a:pt x="106" y="619"/>
                  </a:lnTo>
                  <a:lnTo>
                    <a:pt x="106" y="621"/>
                  </a:lnTo>
                  <a:lnTo>
                    <a:pt x="108" y="621"/>
                  </a:lnTo>
                  <a:lnTo>
                    <a:pt x="110" y="621"/>
                  </a:lnTo>
                  <a:lnTo>
                    <a:pt x="110" y="622"/>
                  </a:lnTo>
                  <a:lnTo>
                    <a:pt x="108" y="622"/>
                  </a:lnTo>
                  <a:lnTo>
                    <a:pt x="108" y="624"/>
                  </a:lnTo>
                  <a:lnTo>
                    <a:pt x="108" y="626"/>
                  </a:lnTo>
                  <a:lnTo>
                    <a:pt x="106" y="626"/>
                  </a:lnTo>
                  <a:lnTo>
                    <a:pt x="106" y="628"/>
                  </a:lnTo>
                  <a:lnTo>
                    <a:pt x="104" y="628"/>
                  </a:lnTo>
                  <a:lnTo>
                    <a:pt x="106" y="628"/>
                  </a:lnTo>
                  <a:lnTo>
                    <a:pt x="104" y="628"/>
                  </a:lnTo>
                  <a:lnTo>
                    <a:pt x="106" y="628"/>
                  </a:lnTo>
                  <a:lnTo>
                    <a:pt x="104" y="628"/>
                  </a:lnTo>
                  <a:lnTo>
                    <a:pt x="104" y="630"/>
                  </a:lnTo>
                  <a:lnTo>
                    <a:pt x="104" y="628"/>
                  </a:lnTo>
                  <a:lnTo>
                    <a:pt x="104" y="630"/>
                  </a:lnTo>
                  <a:lnTo>
                    <a:pt x="102" y="630"/>
                  </a:lnTo>
                  <a:lnTo>
                    <a:pt x="104" y="630"/>
                  </a:lnTo>
                  <a:lnTo>
                    <a:pt x="102" y="630"/>
                  </a:lnTo>
                  <a:lnTo>
                    <a:pt x="104" y="630"/>
                  </a:lnTo>
                  <a:lnTo>
                    <a:pt x="102" y="630"/>
                  </a:lnTo>
                  <a:lnTo>
                    <a:pt x="102" y="628"/>
                  </a:lnTo>
                  <a:lnTo>
                    <a:pt x="102" y="630"/>
                  </a:lnTo>
                  <a:lnTo>
                    <a:pt x="102" y="628"/>
                  </a:lnTo>
                  <a:lnTo>
                    <a:pt x="102" y="630"/>
                  </a:lnTo>
                  <a:lnTo>
                    <a:pt x="100" y="630"/>
                  </a:lnTo>
                  <a:lnTo>
                    <a:pt x="100" y="632"/>
                  </a:lnTo>
                  <a:lnTo>
                    <a:pt x="98" y="632"/>
                  </a:lnTo>
                  <a:lnTo>
                    <a:pt x="98" y="630"/>
                  </a:lnTo>
                  <a:lnTo>
                    <a:pt x="98" y="632"/>
                  </a:lnTo>
                  <a:lnTo>
                    <a:pt x="100" y="632"/>
                  </a:lnTo>
                  <a:lnTo>
                    <a:pt x="98" y="632"/>
                  </a:lnTo>
                  <a:lnTo>
                    <a:pt x="98" y="634"/>
                  </a:lnTo>
                  <a:lnTo>
                    <a:pt x="96" y="634"/>
                  </a:lnTo>
                  <a:lnTo>
                    <a:pt x="96" y="632"/>
                  </a:lnTo>
                  <a:lnTo>
                    <a:pt x="96" y="634"/>
                  </a:lnTo>
                  <a:lnTo>
                    <a:pt x="96" y="632"/>
                  </a:lnTo>
                  <a:lnTo>
                    <a:pt x="96" y="630"/>
                  </a:lnTo>
                  <a:lnTo>
                    <a:pt x="96" y="632"/>
                  </a:lnTo>
                  <a:lnTo>
                    <a:pt x="96" y="630"/>
                  </a:lnTo>
                  <a:lnTo>
                    <a:pt x="98" y="630"/>
                  </a:lnTo>
                  <a:lnTo>
                    <a:pt x="96" y="630"/>
                  </a:lnTo>
                  <a:lnTo>
                    <a:pt x="98" y="630"/>
                  </a:lnTo>
                  <a:lnTo>
                    <a:pt x="96" y="630"/>
                  </a:lnTo>
                  <a:lnTo>
                    <a:pt x="96" y="628"/>
                  </a:lnTo>
                  <a:lnTo>
                    <a:pt x="98" y="628"/>
                  </a:lnTo>
                  <a:lnTo>
                    <a:pt x="100" y="628"/>
                  </a:lnTo>
                  <a:lnTo>
                    <a:pt x="100" y="626"/>
                  </a:lnTo>
                  <a:lnTo>
                    <a:pt x="102" y="626"/>
                  </a:lnTo>
                  <a:lnTo>
                    <a:pt x="104" y="626"/>
                  </a:lnTo>
                  <a:lnTo>
                    <a:pt x="102" y="626"/>
                  </a:lnTo>
                  <a:lnTo>
                    <a:pt x="104" y="626"/>
                  </a:lnTo>
                  <a:lnTo>
                    <a:pt x="102" y="626"/>
                  </a:lnTo>
                  <a:lnTo>
                    <a:pt x="102" y="624"/>
                  </a:lnTo>
                  <a:lnTo>
                    <a:pt x="100" y="624"/>
                  </a:lnTo>
                  <a:lnTo>
                    <a:pt x="102" y="624"/>
                  </a:lnTo>
                  <a:lnTo>
                    <a:pt x="100" y="624"/>
                  </a:lnTo>
                  <a:lnTo>
                    <a:pt x="100" y="626"/>
                  </a:lnTo>
                  <a:lnTo>
                    <a:pt x="100" y="624"/>
                  </a:lnTo>
                  <a:lnTo>
                    <a:pt x="100" y="626"/>
                  </a:lnTo>
                  <a:lnTo>
                    <a:pt x="100" y="628"/>
                  </a:lnTo>
                  <a:lnTo>
                    <a:pt x="98" y="628"/>
                  </a:lnTo>
                  <a:lnTo>
                    <a:pt x="98" y="626"/>
                  </a:lnTo>
                  <a:lnTo>
                    <a:pt x="98" y="628"/>
                  </a:lnTo>
                  <a:lnTo>
                    <a:pt x="96" y="628"/>
                  </a:lnTo>
                  <a:lnTo>
                    <a:pt x="96" y="626"/>
                  </a:lnTo>
                  <a:lnTo>
                    <a:pt x="98" y="626"/>
                  </a:lnTo>
                  <a:lnTo>
                    <a:pt x="98" y="628"/>
                  </a:lnTo>
                  <a:lnTo>
                    <a:pt x="98" y="626"/>
                  </a:lnTo>
                  <a:lnTo>
                    <a:pt x="98" y="628"/>
                  </a:lnTo>
                  <a:lnTo>
                    <a:pt x="98" y="626"/>
                  </a:lnTo>
                  <a:lnTo>
                    <a:pt x="96" y="626"/>
                  </a:lnTo>
                  <a:lnTo>
                    <a:pt x="96" y="628"/>
                  </a:lnTo>
                  <a:lnTo>
                    <a:pt x="96" y="626"/>
                  </a:lnTo>
                  <a:lnTo>
                    <a:pt x="96" y="628"/>
                  </a:lnTo>
                  <a:lnTo>
                    <a:pt x="95" y="628"/>
                  </a:lnTo>
                  <a:lnTo>
                    <a:pt x="95" y="626"/>
                  </a:lnTo>
                  <a:lnTo>
                    <a:pt x="95" y="624"/>
                  </a:lnTo>
                  <a:lnTo>
                    <a:pt x="95" y="626"/>
                  </a:lnTo>
                  <a:lnTo>
                    <a:pt x="95" y="624"/>
                  </a:lnTo>
                  <a:lnTo>
                    <a:pt x="96" y="624"/>
                  </a:lnTo>
                  <a:lnTo>
                    <a:pt x="96" y="626"/>
                  </a:lnTo>
                  <a:lnTo>
                    <a:pt x="96" y="624"/>
                  </a:lnTo>
                  <a:lnTo>
                    <a:pt x="96" y="626"/>
                  </a:lnTo>
                  <a:lnTo>
                    <a:pt x="96" y="624"/>
                  </a:lnTo>
                  <a:lnTo>
                    <a:pt x="98" y="624"/>
                  </a:lnTo>
                  <a:lnTo>
                    <a:pt x="96" y="624"/>
                  </a:lnTo>
                  <a:lnTo>
                    <a:pt x="98" y="624"/>
                  </a:lnTo>
                  <a:lnTo>
                    <a:pt x="98" y="626"/>
                  </a:lnTo>
                  <a:lnTo>
                    <a:pt x="98" y="624"/>
                  </a:lnTo>
                  <a:lnTo>
                    <a:pt x="98" y="626"/>
                  </a:lnTo>
                  <a:lnTo>
                    <a:pt x="96" y="626"/>
                  </a:lnTo>
                  <a:lnTo>
                    <a:pt x="98" y="626"/>
                  </a:lnTo>
                  <a:lnTo>
                    <a:pt x="98" y="624"/>
                  </a:lnTo>
                  <a:lnTo>
                    <a:pt x="98" y="626"/>
                  </a:lnTo>
                  <a:lnTo>
                    <a:pt x="98" y="624"/>
                  </a:lnTo>
                  <a:lnTo>
                    <a:pt x="100" y="624"/>
                  </a:lnTo>
                  <a:lnTo>
                    <a:pt x="98" y="624"/>
                  </a:lnTo>
                  <a:lnTo>
                    <a:pt x="100" y="624"/>
                  </a:lnTo>
                  <a:lnTo>
                    <a:pt x="98" y="624"/>
                  </a:lnTo>
                  <a:lnTo>
                    <a:pt x="98" y="622"/>
                  </a:lnTo>
                  <a:lnTo>
                    <a:pt x="98" y="621"/>
                  </a:lnTo>
                  <a:lnTo>
                    <a:pt x="98" y="622"/>
                  </a:lnTo>
                  <a:lnTo>
                    <a:pt x="100" y="622"/>
                  </a:lnTo>
                  <a:lnTo>
                    <a:pt x="98" y="621"/>
                  </a:lnTo>
                  <a:lnTo>
                    <a:pt x="100" y="621"/>
                  </a:lnTo>
                  <a:lnTo>
                    <a:pt x="98" y="621"/>
                  </a:lnTo>
                  <a:lnTo>
                    <a:pt x="100" y="621"/>
                  </a:lnTo>
                  <a:lnTo>
                    <a:pt x="102" y="621"/>
                  </a:lnTo>
                  <a:lnTo>
                    <a:pt x="102" y="619"/>
                  </a:lnTo>
                  <a:lnTo>
                    <a:pt x="104" y="619"/>
                  </a:lnTo>
                  <a:lnTo>
                    <a:pt x="106" y="619"/>
                  </a:lnTo>
                  <a:close/>
                  <a:moveTo>
                    <a:pt x="93" y="638"/>
                  </a:moveTo>
                  <a:lnTo>
                    <a:pt x="93" y="640"/>
                  </a:lnTo>
                  <a:lnTo>
                    <a:pt x="91" y="640"/>
                  </a:lnTo>
                  <a:lnTo>
                    <a:pt x="91" y="642"/>
                  </a:lnTo>
                  <a:lnTo>
                    <a:pt x="91" y="640"/>
                  </a:lnTo>
                  <a:lnTo>
                    <a:pt x="91" y="642"/>
                  </a:lnTo>
                  <a:lnTo>
                    <a:pt x="93" y="642"/>
                  </a:lnTo>
                  <a:lnTo>
                    <a:pt x="95" y="642"/>
                  </a:lnTo>
                  <a:lnTo>
                    <a:pt x="95" y="644"/>
                  </a:lnTo>
                  <a:lnTo>
                    <a:pt x="96" y="644"/>
                  </a:lnTo>
                  <a:lnTo>
                    <a:pt x="96" y="645"/>
                  </a:lnTo>
                  <a:lnTo>
                    <a:pt x="96" y="647"/>
                  </a:lnTo>
                  <a:lnTo>
                    <a:pt x="95" y="647"/>
                  </a:lnTo>
                  <a:lnTo>
                    <a:pt x="95" y="649"/>
                  </a:lnTo>
                  <a:lnTo>
                    <a:pt x="95" y="651"/>
                  </a:lnTo>
                  <a:lnTo>
                    <a:pt x="93" y="651"/>
                  </a:lnTo>
                  <a:lnTo>
                    <a:pt x="93" y="649"/>
                  </a:lnTo>
                  <a:lnTo>
                    <a:pt x="93" y="651"/>
                  </a:lnTo>
                  <a:lnTo>
                    <a:pt x="93" y="653"/>
                  </a:lnTo>
                  <a:lnTo>
                    <a:pt x="93" y="655"/>
                  </a:lnTo>
                  <a:lnTo>
                    <a:pt x="91" y="655"/>
                  </a:lnTo>
                  <a:lnTo>
                    <a:pt x="91" y="657"/>
                  </a:lnTo>
                  <a:lnTo>
                    <a:pt x="89" y="657"/>
                  </a:lnTo>
                  <a:lnTo>
                    <a:pt x="89" y="655"/>
                  </a:lnTo>
                  <a:lnTo>
                    <a:pt x="89" y="653"/>
                  </a:lnTo>
                  <a:lnTo>
                    <a:pt x="89" y="651"/>
                  </a:lnTo>
                  <a:lnTo>
                    <a:pt x="87" y="651"/>
                  </a:lnTo>
                  <a:lnTo>
                    <a:pt x="87" y="649"/>
                  </a:lnTo>
                  <a:lnTo>
                    <a:pt x="87" y="651"/>
                  </a:lnTo>
                  <a:lnTo>
                    <a:pt x="87" y="649"/>
                  </a:lnTo>
                  <a:lnTo>
                    <a:pt x="87" y="647"/>
                  </a:lnTo>
                  <a:lnTo>
                    <a:pt x="87" y="645"/>
                  </a:lnTo>
                  <a:lnTo>
                    <a:pt x="87" y="647"/>
                  </a:lnTo>
                  <a:lnTo>
                    <a:pt x="87" y="645"/>
                  </a:lnTo>
                  <a:lnTo>
                    <a:pt x="89" y="644"/>
                  </a:lnTo>
                  <a:lnTo>
                    <a:pt x="89" y="642"/>
                  </a:lnTo>
                  <a:lnTo>
                    <a:pt x="89" y="640"/>
                  </a:lnTo>
                  <a:lnTo>
                    <a:pt x="91" y="640"/>
                  </a:lnTo>
                  <a:lnTo>
                    <a:pt x="89" y="640"/>
                  </a:lnTo>
                  <a:lnTo>
                    <a:pt x="91" y="640"/>
                  </a:lnTo>
                  <a:lnTo>
                    <a:pt x="91" y="638"/>
                  </a:lnTo>
                  <a:lnTo>
                    <a:pt x="91" y="640"/>
                  </a:lnTo>
                  <a:lnTo>
                    <a:pt x="91" y="638"/>
                  </a:lnTo>
                  <a:lnTo>
                    <a:pt x="93" y="638"/>
                  </a:lnTo>
                  <a:close/>
                  <a:moveTo>
                    <a:pt x="150" y="811"/>
                  </a:moveTo>
                  <a:lnTo>
                    <a:pt x="150" y="813"/>
                  </a:lnTo>
                  <a:lnTo>
                    <a:pt x="150" y="811"/>
                  </a:lnTo>
                  <a:lnTo>
                    <a:pt x="150" y="813"/>
                  </a:lnTo>
                  <a:lnTo>
                    <a:pt x="150" y="814"/>
                  </a:lnTo>
                  <a:lnTo>
                    <a:pt x="152" y="814"/>
                  </a:lnTo>
                  <a:lnTo>
                    <a:pt x="152" y="816"/>
                  </a:lnTo>
                  <a:lnTo>
                    <a:pt x="152" y="818"/>
                  </a:lnTo>
                  <a:lnTo>
                    <a:pt x="154" y="818"/>
                  </a:lnTo>
                  <a:lnTo>
                    <a:pt x="154" y="820"/>
                  </a:lnTo>
                  <a:lnTo>
                    <a:pt x="156" y="820"/>
                  </a:lnTo>
                  <a:lnTo>
                    <a:pt x="156" y="822"/>
                  </a:lnTo>
                  <a:lnTo>
                    <a:pt x="156" y="824"/>
                  </a:lnTo>
                  <a:lnTo>
                    <a:pt x="156" y="826"/>
                  </a:lnTo>
                  <a:lnTo>
                    <a:pt x="156" y="828"/>
                  </a:lnTo>
                  <a:lnTo>
                    <a:pt x="158" y="828"/>
                  </a:lnTo>
                  <a:lnTo>
                    <a:pt x="158" y="830"/>
                  </a:lnTo>
                  <a:lnTo>
                    <a:pt x="158" y="832"/>
                  </a:lnTo>
                  <a:lnTo>
                    <a:pt x="158" y="834"/>
                  </a:lnTo>
                  <a:lnTo>
                    <a:pt x="158" y="836"/>
                  </a:lnTo>
                  <a:lnTo>
                    <a:pt x="158" y="837"/>
                  </a:lnTo>
                  <a:lnTo>
                    <a:pt x="156" y="837"/>
                  </a:lnTo>
                  <a:lnTo>
                    <a:pt x="156" y="836"/>
                  </a:lnTo>
                  <a:lnTo>
                    <a:pt x="156" y="834"/>
                  </a:lnTo>
                  <a:lnTo>
                    <a:pt x="156" y="832"/>
                  </a:lnTo>
                  <a:lnTo>
                    <a:pt x="154" y="832"/>
                  </a:lnTo>
                  <a:lnTo>
                    <a:pt x="154" y="830"/>
                  </a:lnTo>
                  <a:lnTo>
                    <a:pt x="154" y="828"/>
                  </a:lnTo>
                  <a:lnTo>
                    <a:pt x="152" y="828"/>
                  </a:lnTo>
                  <a:lnTo>
                    <a:pt x="152" y="826"/>
                  </a:lnTo>
                  <a:lnTo>
                    <a:pt x="152" y="824"/>
                  </a:lnTo>
                  <a:lnTo>
                    <a:pt x="150" y="824"/>
                  </a:lnTo>
                  <a:lnTo>
                    <a:pt x="152" y="824"/>
                  </a:lnTo>
                  <a:lnTo>
                    <a:pt x="152" y="822"/>
                  </a:lnTo>
                  <a:lnTo>
                    <a:pt x="150" y="822"/>
                  </a:lnTo>
                  <a:lnTo>
                    <a:pt x="152" y="822"/>
                  </a:lnTo>
                  <a:lnTo>
                    <a:pt x="152" y="820"/>
                  </a:lnTo>
                  <a:lnTo>
                    <a:pt x="150" y="820"/>
                  </a:lnTo>
                  <a:lnTo>
                    <a:pt x="150" y="818"/>
                  </a:lnTo>
                  <a:lnTo>
                    <a:pt x="148" y="818"/>
                  </a:lnTo>
                  <a:lnTo>
                    <a:pt x="148" y="816"/>
                  </a:lnTo>
                  <a:lnTo>
                    <a:pt x="148" y="814"/>
                  </a:lnTo>
                  <a:lnTo>
                    <a:pt x="148" y="813"/>
                  </a:lnTo>
                  <a:lnTo>
                    <a:pt x="150" y="813"/>
                  </a:lnTo>
                  <a:lnTo>
                    <a:pt x="148" y="813"/>
                  </a:lnTo>
                  <a:lnTo>
                    <a:pt x="150" y="813"/>
                  </a:lnTo>
                  <a:lnTo>
                    <a:pt x="150" y="811"/>
                  </a:lnTo>
                  <a:close/>
                  <a:moveTo>
                    <a:pt x="112" y="576"/>
                  </a:moveTo>
                  <a:lnTo>
                    <a:pt x="112" y="578"/>
                  </a:lnTo>
                  <a:lnTo>
                    <a:pt x="110" y="578"/>
                  </a:lnTo>
                  <a:lnTo>
                    <a:pt x="110" y="580"/>
                  </a:lnTo>
                  <a:lnTo>
                    <a:pt x="110" y="582"/>
                  </a:lnTo>
                  <a:lnTo>
                    <a:pt x="110" y="584"/>
                  </a:lnTo>
                  <a:lnTo>
                    <a:pt x="108" y="584"/>
                  </a:lnTo>
                  <a:lnTo>
                    <a:pt x="110" y="584"/>
                  </a:lnTo>
                  <a:lnTo>
                    <a:pt x="108" y="584"/>
                  </a:lnTo>
                  <a:lnTo>
                    <a:pt x="110" y="584"/>
                  </a:lnTo>
                  <a:lnTo>
                    <a:pt x="108" y="584"/>
                  </a:lnTo>
                  <a:lnTo>
                    <a:pt x="108" y="586"/>
                  </a:lnTo>
                  <a:lnTo>
                    <a:pt x="108" y="588"/>
                  </a:lnTo>
                  <a:lnTo>
                    <a:pt x="108" y="590"/>
                  </a:lnTo>
                  <a:lnTo>
                    <a:pt x="106" y="590"/>
                  </a:lnTo>
                  <a:lnTo>
                    <a:pt x="106" y="592"/>
                  </a:lnTo>
                  <a:lnTo>
                    <a:pt x="106" y="590"/>
                  </a:lnTo>
                  <a:lnTo>
                    <a:pt x="106" y="592"/>
                  </a:lnTo>
                  <a:lnTo>
                    <a:pt x="104" y="592"/>
                  </a:lnTo>
                  <a:lnTo>
                    <a:pt x="104" y="590"/>
                  </a:lnTo>
                  <a:lnTo>
                    <a:pt x="104" y="588"/>
                  </a:lnTo>
                  <a:lnTo>
                    <a:pt x="102" y="588"/>
                  </a:lnTo>
                  <a:lnTo>
                    <a:pt x="102" y="586"/>
                  </a:lnTo>
                  <a:lnTo>
                    <a:pt x="102" y="584"/>
                  </a:lnTo>
                  <a:lnTo>
                    <a:pt x="100" y="584"/>
                  </a:lnTo>
                  <a:lnTo>
                    <a:pt x="100" y="582"/>
                  </a:lnTo>
                  <a:lnTo>
                    <a:pt x="102" y="584"/>
                  </a:lnTo>
                  <a:lnTo>
                    <a:pt x="102" y="582"/>
                  </a:lnTo>
                  <a:lnTo>
                    <a:pt x="100" y="582"/>
                  </a:lnTo>
                  <a:lnTo>
                    <a:pt x="100" y="584"/>
                  </a:lnTo>
                  <a:lnTo>
                    <a:pt x="100" y="582"/>
                  </a:lnTo>
                  <a:lnTo>
                    <a:pt x="98" y="582"/>
                  </a:lnTo>
                  <a:lnTo>
                    <a:pt x="98" y="584"/>
                  </a:lnTo>
                  <a:lnTo>
                    <a:pt x="98" y="582"/>
                  </a:lnTo>
                  <a:lnTo>
                    <a:pt x="98" y="584"/>
                  </a:lnTo>
                  <a:lnTo>
                    <a:pt x="98" y="582"/>
                  </a:lnTo>
                  <a:lnTo>
                    <a:pt x="98" y="584"/>
                  </a:lnTo>
                  <a:lnTo>
                    <a:pt x="98" y="582"/>
                  </a:lnTo>
                  <a:lnTo>
                    <a:pt x="98" y="580"/>
                  </a:lnTo>
                  <a:lnTo>
                    <a:pt x="98" y="582"/>
                  </a:lnTo>
                  <a:lnTo>
                    <a:pt x="98" y="580"/>
                  </a:lnTo>
                  <a:lnTo>
                    <a:pt x="98" y="582"/>
                  </a:lnTo>
                  <a:lnTo>
                    <a:pt x="98" y="580"/>
                  </a:lnTo>
                  <a:lnTo>
                    <a:pt x="96" y="580"/>
                  </a:lnTo>
                  <a:lnTo>
                    <a:pt x="98" y="580"/>
                  </a:lnTo>
                  <a:lnTo>
                    <a:pt x="98" y="578"/>
                  </a:lnTo>
                  <a:lnTo>
                    <a:pt x="98" y="580"/>
                  </a:lnTo>
                  <a:lnTo>
                    <a:pt x="98" y="578"/>
                  </a:lnTo>
                  <a:lnTo>
                    <a:pt x="98" y="580"/>
                  </a:lnTo>
                  <a:lnTo>
                    <a:pt x="100" y="580"/>
                  </a:lnTo>
                  <a:lnTo>
                    <a:pt x="100" y="582"/>
                  </a:lnTo>
                  <a:lnTo>
                    <a:pt x="102" y="582"/>
                  </a:lnTo>
                  <a:lnTo>
                    <a:pt x="102" y="580"/>
                  </a:lnTo>
                  <a:lnTo>
                    <a:pt x="100" y="580"/>
                  </a:lnTo>
                  <a:lnTo>
                    <a:pt x="102" y="580"/>
                  </a:lnTo>
                  <a:lnTo>
                    <a:pt x="102" y="582"/>
                  </a:lnTo>
                  <a:lnTo>
                    <a:pt x="104" y="582"/>
                  </a:lnTo>
                  <a:lnTo>
                    <a:pt x="102" y="582"/>
                  </a:lnTo>
                  <a:lnTo>
                    <a:pt x="104" y="582"/>
                  </a:lnTo>
                  <a:lnTo>
                    <a:pt x="102" y="582"/>
                  </a:lnTo>
                  <a:lnTo>
                    <a:pt x="102" y="580"/>
                  </a:lnTo>
                  <a:lnTo>
                    <a:pt x="104" y="580"/>
                  </a:lnTo>
                  <a:lnTo>
                    <a:pt x="104" y="582"/>
                  </a:lnTo>
                  <a:lnTo>
                    <a:pt x="104" y="580"/>
                  </a:lnTo>
                  <a:lnTo>
                    <a:pt x="102" y="580"/>
                  </a:lnTo>
                  <a:lnTo>
                    <a:pt x="104" y="580"/>
                  </a:lnTo>
                  <a:lnTo>
                    <a:pt x="102" y="580"/>
                  </a:lnTo>
                  <a:lnTo>
                    <a:pt x="104" y="580"/>
                  </a:lnTo>
                  <a:lnTo>
                    <a:pt x="104" y="578"/>
                  </a:lnTo>
                  <a:lnTo>
                    <a:pt x="102" y="578"/>
                  </a:lnTo>
                  <a:lnTo>
                    <a:pt x="102" y="580"/>
                  </a:lnTo>
                  <a:lnTo>
                    <a:pt x="102" y="578"/>
                  </a:lnTo>
                  <a:lnTo>
                    <a:pt x="100" y="578"/>
                  </a:lnTo>
                  <a:lnTo>
                    <a:pt x="102" y="578"/>
                  </a:lnTo>
                  <a:lnTo>
                    <a:pt x="100" y="578"/>
                  </a:lnTo>
                  <a:lnTo>
                    <a:pt x="102" y="578"/>
                  </a:lnTo>
                  <a:lnTo>
                    <a:pt x="102" y="576"/>
                  </a:lnTo>
                  <a:lnTo>
                    <a:pt x="102" y="578"/>
                  </a:lnTo>
                  <a:lnTo>
                    <a:pt x="104" y="578"/>
                  </a:lnTo>
                  <a:lnTo>
                    <a:pt x="102" y="578"/>
                  </a:lnTo>
                  <a:lnTo>
                    <a:pt x="104" y="578"/>
                  </a:lnTo>
                  <a:lnTo>
                    <a:pt x="106" y="578"/>
                  </a:lnTo>
                  <a:lnTo>
                    <a:pt x="106" y="580"/>
                  </a:lnTo>
                  <a:lnTo>
                    <a:pt x="108" y="580"/>
                  </a:lnTo>
                  <a:lnTo>
                    <a:pt x="108" y="578"/>
                  </a:lnTo>
                  <a:lnTo>
                    <a:pt x="110" y="578"/>
                  </a:lnTo>
                  <a:lnTo>
                    <a:pt x="112" y="578"/>
                  </a:lnTo>
                  <a:lnTo>
                    <a:pt x="112" y="576"/>
                  </a:lnTo>
                  <a:lnTo>
                    <a:pt x="112" y="578"/>
                  </a:lnTo>
                  <a:lnTo>
                    <a:pt x="112" y="576"/>
                  </a:lnTo>
                  <a:close/>
                  <a:moveTo>
                    <a:pt x="96" y="482"/>
                  </a:moveTo>
                  <a:lnTo>
                    <a:pt x="96" y="484"/>
                  </a:lnTo>
                  <a:lnTo>
                    <a:pt x="98" y="484"/>
                  </a:lnTo>
                  <a:lnTo>
                    <a:pt x="98" y="486"/>
                  </a:lnTo>
                  <a:lnTo>
                    <a:pt x="96" y="486"/>
                  </a:lnTo>
                  <a:lnTo>
                    <a:pt x="96" y="488"/>
                  </a:lnTo>
                  <a:lnTo>
                    <a:pt x="96" y="490"/>
                  </a:lnTo>
                  <a:lnTo>
                    <a:pt x="98" y="490"/>
                  </a:lnTo>
                  <a:lnTo>
                    <a:pt x="98" y="492"/>
                  </a:lnTo>
                  <a:lnTo>
                    <a:pt x="98" y="494"/>
                  </a:lnTo>
                  <a:lnTo>
                    <a:pt x="96" y="494"/>
                  </a:lnTo>
                  <a:lnTo>
                    <a:pt x="98" y="494"/>
                  </a:lnTo>
                  <a:lnTo>
                    <a:pt x="96" y="494"/>
                  </a:lnTo>
                  <a:lnTo>
                    <a:pt x="96" y="496"/>
                  </a:lnTo>
                  <a:lnTo>
                    <a:pt x="95" y="496"/>
                  </a:lnTo>
                  <a:lnTo>
                    <a:pt x="95" y="498"/>
                  </a:lnTo>
                  <a:lnTo>
                    <a:pt x="95" y="500"/>
                  </a:lnTo>
                  <a:lnTo>
                    <a:pt x="93" y="500"/>
                  </a:lnTo>
                  <a:lnTo>
                    <a:pt x="95" y="500"/>
                  </a:lnTo>
                  <a:lnTo>
                    <a:pt x="95" y="498"/>
                  </a:lnTo>
                  <a:lnTo>
                    <a:pt x="95" y="500"/>
                  </a:lnTo>
                  <a:lnTo>
                    <a:pt x="93" y="500"/>
                  </a:lnTo>
                  <a:lnTo>
                    <a:pt x="93" y="498"/>
                  </a:lnTo>
                  <a:lnTo>
                    <a:pt x="93" y="496"/>
                  </a:lnTo>
                  <a:lnTo>
                    <a:pt x="91" y="496"/>
                  </a:lnTo>
                  <a:lnTo>
                    <a:pt x="91" y="494"/>
                  </a:lnTo>
                  <a:lnTo>
                    <a:pt x="89" y="494"/>
                  </a:lnTo>
                  <a:lnTo>
                    <a:pt x="91" y="494"/>
                  </a:lnTo>
                  <a:lnTo>
                    <a:pt x="91" y="492"/>
                  </a:lnTo>
                  <a:lnTo>
                    <a:pt x="89" y="492"/>
                  </a:lnTo>
                  <a:lnTo>
                    <a:pt x="91" y="492"/>
                  </a:lnTo>
                  <a:lnTo>
                    <a:pt x="89" y="492"/>
                  </a:lnTo>
                  <a:lnTo>
                    <a:pt x="91" y="492"/>
                  </a:lnTo>
                  <a:lnTo>
                    <a:pt x="89" y="492"/>
                  </a:lnTo>
                  <a:lnTo>
                    <a:pt x="89" y="490"/>
                  </a:lnTo>
                  <a:lnTo>
                    <a:pt x="91" y="490"/>
                  </a:lnTo>
                  <a:lnTo>
                    <a:pt x="89" y="490"/>
                  </a:lnTo>
                  <a:lnTo>
                    <a:pt x="91" y="490"/>
                  </a:lnTo>
                  <a:lnTo>
                    <a:pt x="89" y="490"/>
                  </a:lnTo>
                  <a:lnTo>
                    <a:pt x="91" y="490"/>
                  </a:lnTo>
                  <a:lnTo>
                    <a:pt x="89" y="490"/>
                  </a:lnTo>
                  <a:lnTo>
                    <a:pt x="89" y="488"/>
                  </a:lnTo>
                  <a:lnTo>
                    <a:pt x="89" y="486"/>
                  </a:lnTo>
                  <a:lnTo>
                    <a:pt x="91" y="486"/>
                  </a:lnTo>
                  <a:lnTo>
                    <a:pt x="93" y="486"/>
                  </a:lnTo>
                  <a:lnTo>
                    <a:pt x="95" y="486"/>
                  </a:lnTo>
                  <a:lnTo>
                    <a:pt x="95" y="484"/>
                  </a:lnTo>
                  <a:lnTo>
                    <a:pt x="96" y="484"/>
                  </a:lnTo>
                  <a:lnTo>
                    <a:pt x="96" y="482"/>
                  </a:lnTo>
                  <a:close/>
                  <a:moveTo>
                    <a:pt x="139" y="770"/>
                  </a:moveTo>
                  <a:lnTo>
                    <a:pt x="141" y="770"/>
                  </a:lnTo>
                  <a:lnTo>
                    <a:pt x="143" y="770"/>
                  </a:lnTo>
                  <a:lnTo>
                    <a:pt x="141" y="770"/>
                  </a:lnTo>
                  <a:lnTo>
                    <a:pt x="143" y="770"/>
                  </a:lnTo>
                  <a:lnTo>
                    <a:pt x="144" y="770"/>
                  </a:lnTo>
                  <a:lnTo>
                    <a:pt x="144" y="772"/>
                  </a:lnTo>
                  <a:lnTo>
                    <a:pt x="143" y="772"/>
                  </a:lnTo>
                  <a:lnTo>
                    <a:pt x="143" y="774"/>
                  </a:lnTo>
                  <a:lnTo>
                    <a:pt x="144" y="774"/>
                  </a:lnTo>
                  <a:lnTo>
                    <a:pt x="144" y="776"/>
                  </a:lnTo>
                  <a:lnTo>
                    <a:pt x="144" y="778"/>
                  </a:lnTo>
                  <a:lnTo>
                    <a:pt x="144" y="780"/>
                  </a:lnTo>
                  <a:lnTo>
                    <a:pt x="143" y="780"/>
                  </a:lnTo>
                  <a:lnTo>
                    <a:pt x="141" y="780"/>
                  </a:lnTo>
                  <a:lnTo>
                    <a:pt x="141" y="782"/>
                  </a:lnTo>
                  <a:lnTo>
                    <a:pt x="141" y="780"/>
                  </a:lnTo>
                  <a:lnTo>
                    <a:pt x="139" y="780"/>
                  </a:lnTo>
                  <a:lnTo>
                    <a:pt x="139" y="782"/>
                  </a:lnTo>
                  <a:lnTo>
                    <a:pt x="139" y="780"/>
                  </a:lnTo>
                  <a:lnTo>
                    <a:pt x="139" y="782"/>
                  </a:lnTo>
                  <a:lnTo>
                    <a:pt x="139" y="784"/>
                  </a:lnTo>
                  <a:lnTo>
                    <a:pt x="139" y="782"/>
                  </a:lnTo>
                  <a:lnTo>
                    <a:pt x="139" y="784"/>
                  </a:lnTo>
                  <a:lnTo>
                    <a:pt x="139" y="786"/>
                  </a:lnTo>
                  <a:lnTo>
                    <a:pt x="139" y="788"/>
                  </a:lnTo>
                  <a:lnTo>
                    <a:pt x="139" y="789"/>
                  </a:lnTo>
                  <a:lnTo>
                    <a:pt x="137" y="789"/>
                  </a:lnTo>
                  <a:lnTo>
                    <a:pt x="137" y="788"/>
                  </a:lnTo>
                  <a:lnTo>
                    <a:pt x="137" y="786"/>
                  </a:lnTo>
                  <a:lnTo>
                    <a:pt x="137" y="784"/>
                  </a:lnTo>
                  <a:lnTo>
                    <a:pt x="137" y="786"/>
                  </a:lnTo>
                  <a:lnTo>
                    <a:pt x="137" y="784"/>
                  </a:lnTo>
                  <a:lnTo>
                    <a:pt x="139" y="784"/>
                  </a:lnTo>
                  <a:lnTo>
                    <a:pt x="137" y="784"/>
                  </a:lnTo>
                  <a:lnTo>
                    <a:pt x="137" y="782"/>
                  </a:lnTo>
                  <a:lnTo>
                    <a:pt x="137" y="780"/>
                  </a:lnTo>
                  <a:lnTo>
                    <a:pt x="137" y="778"/>
                  </a:lnTo>
                  <a:lnTo>
                    <a:pt x="135" y="778"/>
                  </a:lnTo>
                  <a:lnTo>
                    <a:pt x="135" y="776"/>
                  </a:lnTo>
                  <a:lnTo>
                    <a:pt x="135" y="778"/>
                  </a:lnTo>
                  <a:lnTo>
                    <a:pt x="137" y="778"/>
                  </a:lnTo>
                  <a:lnTo>
                    <a:pt x="137" y="776"/>
                  </a:lnTo>
                  <a:lnTo>
                    <a:pt x="137" y="774"/>
                  </a:lnTo>
                  <a:lnTo>
                    <a:pt x="137" y="772"/>
                  </a:lnTo>
                  <a:lnTo>
                    <a:pt x="139" y="772"/>
                  </a:lnTo>
                  <a:lnTo>
                    <a:pt x="139" y="774"/>
                  </a:lnTo>
                  <a:lnTo>
                    <a:pt x="141" y="774"/>
                  </a:lnTo>
                  <a:lnTo>
                    <a:pt x="139" y="774"/>
                  </a:lnTo>
                  <a:lnTo>
                    <a:pt x="141" y="774"/>
                  </a:lnTo>
                  <a:lnTo>
                    <a:pt x="139" y="774"/>
                  </a:lnTo>
                  <a:lnTo>
                    <a:pt x="139" y="772"/>
                  </a:lnTo>
                  <a:lnTo>
                    <a:pt x="141" y="772"/>
                  </a:lnTo>
                  <a:lnTo>
                    <a:pt x="143" y="772"/>
                  </a:lnTo>
                  <a:lnTo>
                    <a:pt x="141" y="772"/>
                  </a:lnTo>
                  <a:lnTo>
                    <a:pt x="139" y="772"/>
                  </a:lnTo>
                  <a:lnTo>
                    <a:pt x="139" y="770"/>
                  </a:lnTo>
                  <a:close/>
                  <a:moveTo>
                    <a:pt x="18" y="488"/>
                  </a:moveTo>
                  <a:lnTo>
                    <a:pt x="20" y="488"/>
                  </a:lnTo>
                  <a:lnTo>
                    <a:pt x="22" y="488"/>
                  </a:lnTo>
                  <a:lnTo>
                    <a:pt x="23" y="488"/>
                  </a:lnTo>
                  <a:lnTo>
                    <a:pt x="23" y="490"/>
                  </a:lnTo>
                  <a:lnTo>
                    <a:pt x="23" y="492"/>
                  </a:lnTo>
                  <a:lnTo>
                    <a:pt x="25" y="492"/>
                  </a:lnTo>
                  <a:lnTo>
                    <a:pt x="25" y="494"/>
                  </a:lnTo>
                  <a:lnTo>
                    <a:pt x="25" y="496"/>
                  </a:lnTo>
                  <a:lnTo>
                    <a:pt x="27" y="496"/>
                  </a:lnTo>
                  <a:lnTo>
                    <a:pt x="27" y="498"/>
                  </a:lnTo>
                  <a:lnTo>
                    <a:pt x="25" y="498"/>
                  </a:lnTo>
                  <a:lnTo>
                    <a:pt x="25" y="500"/>
                  </a:lnTo>
                  <a:lnTo>
                    <a:pt x="23" y="500"/>
                  </a:lnTo>
                  <a:lnTo>
                    <a:pt x="22" y="500"/>
                  </a:lnTo>
                  <a:lnTo>
                    <a:pt x="20" y="500"/>
                  </a:lnTo>
                  <a:lnTo>
                    <a:pt x="20" y="498"/>
                  </a:lnTo>
                  <a:lnTo>
                    <a:pt x="18" y="498"/>
                  </a:lnTo>
                  <a:lnTo>
                    <a:pt x="18" y="496"/>
                  </a:lnTo>
                  <a:lnTo>
                    <a:pt x="18" y="498"/>
                  </a:lnTo>
                  <a:lnTo>
                    <a:pt x="18" y="496"/>
                  </a:lnTo>
                  <a:lnTo>
                    <a:pt x="18" y="498"/>
                  </a:lnTo>
                  <a:lnTo>
                    <a:pt x="16" y="498"/>
                  </a:lnTo>
                  <a:lnTo>
                    <a:pt x="16" y="496"/>
                  </a:lnTo>
                  <a:lnTo>
                    <a:pt x="18" y="496"/>
                  </a:lnTo>
                  <a:lnTo>
                    <a:pt x="16" y="496"/>
                  </a:lnTo>
                  <a:lnTo>
                    <a:pt x="16" y="494"/>
                  </a:lnTo>
                  <a:lnTo>
                    <a:pt x="16" y="492"/>
                  </a:lnTo>
                  <a:lnTo>
                    <a:pt x="18" y="492"/>
                  </a:lnTo>
                  <a:lnTo>
                    <a:pt x="18" y="490"/>
                  </a:lnTo>
                  <a:lnTo>
                    <a:pt x="18" y="488"/>
                  </a:lnTo>
                  <a:close/>
                  <a:moveTo>
                    <a:pt x="121" y="574"/>
                  </a:moveTo>
                  <a:lnTo>
                    <a:pt x="121" y="576"/>
                  </a:lnTo>
                  <a:lnTo>
                    <a:pt x="120" y="576"/>
                  </a:lnTo>
                  <a:lnTo>
                    <a:pt x="120" y="578"/>
                  </a:lnTo>
                  <a:lnTo>
                    <a:pt x="120" y="580"/>
                  </a:lnTo>
                  <a:lnTo>
                    <a:pt x="120" y="582"/>
                  </a:lnTo>
                  <a:lnTo>
                    <a:pt x="120" y="584"/>
                  </a:lnTo>
                  <a:lnTo>
                    <a:pt x="118" y="584"/>
                  </a:lnTo>
                  <a:lnTo>
                    <a:pt x="118" y="586"/>
                  </a:lnTo>
                  <a:lnTo>
                    <a:pt x="118" y="588"/>
                  </a:lnTo>
                  <a:lnTo>
                    <a:pt x="116" y="588"/>
                  </a:lnTo>
                  <a:lnTo>
                    <a:pt x="116" y="590"/>
                  </a:lnTo>
                  <a:lnTo>
                    <a:pt x="114" y="590"/>
                  </a:lnTo>
                  <a:lnTo>
                    <a:pt x="112" y="590"/>
                  </a:lnTo>
                  <a:lnTo>
                    <a:pt x="112" y="588"/>
                  </a:lnTo>
                  <a:lnTo>
                    <a:pt x="114" y="588"/>
                  </a:lnTo>
                  <a:lnTo>
                    <a:pt x="114" y="590"/>
                  </a:lnTo>
                  <a:lnTo>
                    <a:pt x="114" y="588"/>
                  </a:lnTo>
                  <a:lnTo>
                    <a:pt x="112" y="588"/>
                  </a:lnTo>
                  <a:lnTo>
                    <a:pt x="112" y="586"/>
                  </a:lnTo>
                  <a:lnTo>
                    <a:pt x="110" y="586"/>
                  </a:lnTo>
                  <a:lnTo>
                    <a:pt x="112" y="586"/>
                  </a:lnTo>
                  <a:lnTo>
                    <a:pt x="112" y="584"/>
                  </a:lnTo>
                  <a:lnTo>
                    <a:pt x="112" y="582"/>
                  </a:lnTo>
                  <a:lnTo>
                    <a:pt x="114" y="582"/>
                  </a:lnTo>
                  <a:lnTo>
                    <a:pt x="112" y="582"/>
                  </a:lnTo>
                  <a:lnTo>
                    <a:pt x="114" y="582"/>
                  </a:lnTo>
                  <a:lnTo>
                    <a:pt x="114" y="580"/>
                  </a:lnTo>
                  <a:lnTo>
                    <a:pt x="116" y="580"/>
                  </a:lnTo>
                  <a:lnTo>
                    <a:pt x="118" y="580"/>
                  </a:lnTo>
                  <a:lnTo>
                    <a:pt x="118" y="582"/>
                  </a:lnTo>
                  <a:lnTo>
                    <a:pt x="118" y="580"/>
                  </a:lnTo>
                  <a:lnTo>
                    <a:pt x="116" y="580"/>
                  </a:lnTo>
                  <a:lnTo>
                    <a:pt x="116" y="578"/>
                  </a:lnTo>
                  <a:lnTo>
                    <a:pt x="118" y="578"/>
                  </a:lnTo>
                  <a:lnTo>
                    <a:pt x="118" y="576"/>
                  </a:lnTo>
                  <a:lnTo>
                    <a:pt x="118" y="578"/>
                  </a:lnTo>
                  <a:lnTo>
                    <a:pt x="118" y="576"/>
                  </a:lnTo>
                  <a:lnTo>
                    <a:pt x="118" y="578"/>
                  </a:lnTo>
                  <a:lnTo>
                    <a:pt x="118" y="576"/>
                  </a:lnTo>
                  <a:lnTo>
                    <a:pt x="118" y="578"/>
                  </a:lnTo>
                  <a:lnTo>
                    <a:pt x="118" y="576"/>
                  </a:lnTo>
                  <a:lnTo>
                    <a:pt x="118" y="574"/>
                  </a:lnTo>
                  <a:lnTo>
                    <a:pt x="120" y="574"/>
                  </a:lnTo>
                  <a:lnTo>
                    <a:pt x="120" y="576"/>
                  </a:lnTo>
                  <a:lnTo>
                    <a:pt x="120" y="574"/>
                  </a:lnTo>
                  <a:lnTo>
                    <a:pt x="121" y="574"/>
                  </a:lnTo>
                  <a:close/>
                  <a:moveTo>
                    <a:pt x="112" y="528"/>
                  </a:moveTo>
                  <a:lnTo>
                    <a:pt x="112" y="530"/>
                  </a:lnTo>
                  <a:lnTo>
                    <a:pt x="112" y="532"/>
                  </a:lnTo>
                  <a:lnTo>
                    <a:pt x="112" y="534"/>
                  </a:lnTo>
                  <a:lnTo>
                    <a:pt x="112" y="536"/>
                  </a:lnTo>
                  <a:lnTo>
                    <a:pt x="110" y="536"/>
                  </a:lnTo>
                  <a:lnTo>
                    <a:pt x="110" y="538"/>
                  </a:lnTo>
                  <a:lnTo>
                    <a:pt x="108" y="538"/>
                  </a:lnTo>
                  <a:lnTo>
                    <a:pt x="110" y="538"/>
                  </a:lnTo>
                  <a:lnTo>
                    <a:pt x="108" y="538"/>
                  </a:lnTo>
                  <a:lnTo>
                    <a:pt x="110" y="538"/>
                  </a:lnTo>
                  <a:lnTo>
                    <a:pt x="108" y="538"/>
                  </a:lnTo>
                  <a:lnTo>
                    <a:pt x="110" y="540"/>
                  </a:lnTo>
                  <a:lnTo>
                    <a:pt x="108" y="540"/>
                  </a:lnTo>
                  <a:lnTo>
                    <a:pt x="108" y="542"/>
                  </a:lnTo>
                  <a:lnTo>
                    <a:pt x="108" y="544"/>
                  </a:lnTo>
                  <a:lnTo>
                    <a:pt x="106" y="544"/>
                  </a:lnTo>
                  <a:lnTo>
                    <a:pt x="106" y="542"/>
                  </a:lnTo>
                  <a:lnTo>
                    <a:pt x="104" y="542"/>
                  </a:lnTo>
                  <a:lnTo>
                    <a:pt x="104" y="540"/>
                  </a:lnTo>
                  <a:lnTo>
                    <a:pt x="102" y="540"/>
                  </a:lnTo>
                  <a:lnTo>
                    <a:pt x="102" y="542"/>
                  </a:lnTo>
                  <a:lnTo>
                    <a:pt x="102" y="540"/>
                  </a:lnTo>
                  <a:lnTo>
                    <a:pt x="102" y="538"/>
                  </a:lnTo>
                  <a:lnTo>
                    <a:pt x="102" y="536"/>
                  </a:lnTo>
                  <a:lnTo>
                    <a:pt x="104" y="536"/>
                  </a:lnTo>
                  <a:lnTo>
                    <a:pt x="104" y="534"/>
                  </a:lnTo>
                  <a:lnTo>
                    <a:pt x="106" y="534"/>
                  </a:lnTo>
                  <a:lnTo>
                    <a:pt x="104" y="534"/>
                  </a:lnTo>
                  <a:lnTo>
                    <a:pt x="104" y="532"/>
                  </a:lnTo>
                  <a:lnTo>
                    <a:pt x="106" y="532"/>
                  </a:lnTo>
                  <a:lnTo>
                    <a:pt x="106" y="534"/>
                  </a:lnTo>
                  <a:lnTo>
                    <a:pt x="106" y="532"/>
                  </a:lnTo>
                  <a:lnTo>
                    <a:pt x="108" y="532"/>
                  </a:lnTo>
                  <a:lnTo>
                    <a:pt x="106" y="532"/>
                  </a:lnTo>
                  <a:lnTo>
                    <a:pt x="108" y="532"/>
                  </a:lnTo>
                  <a:lnTo>
                    <a:pt x="110" y="532"/>
                  </a:lnTo>
                  <a:lnTo>
                    <a:pt x="110" y="530"/>
                  </a:lnTo>
                  <a:lnTo>
                    <a:pt x="110" y="528"/>
                  </a:lnTo>
                  <a:lnTo>
                    <a:pt x="112" y="528"/>
                  </a:lnTo>
                  <a:close/>
                  <a:moveTo>
                    <a:pt x="143" y="423"/>
                  </a:moveTo>
                  <a:lnTo>
                    <a:pt x="143" y="425"/>
                  </a:lnTo>
                  <a:lnTo>
                    <a:pt x="143" y="427"/>
                  </a:lnTo>
                  <a:lnTo>
                    <a:pt x="141" y="427"/>
                  </a:lnTo>
                  <a:lnTo>
                    <a:pt x="139" y="427"/>
                  </a:lnTo>
                  <a:lnTo>
                    <a:pt x="139" y="429"/>
                  </a:lnTo>
                  <a:lnTo>
                    <a:pt x="139" y="427"/>
                  </a:lnTo>
                  <a:lnTo>
                    <a:pt x="139" y="429"/>
                  </a:lnTo>
                  <a:lnTo>
                    <a:pt x="137" y="429"/>
                  </a:lnTo>
                  <a:lnTo>
                    <a:pt x="135" y="429"/>
                  </a:lnTo>
                  <a:lnTo>
                    <a:pt x="135" y="430"/>
                  </a:lnTo>
                  <a:lnTo>
                    <a:pt x="133" y="430"/>
                  </a:lnTo>
                  <a:lnTo>
                    <a:pt x="131" y="430"/>
                  </a:lnTo>
                  <a:lnTo>
                    <a:pt x="129" y="430"/>
                  </a:lnTo>
                  <a:lnTo>
                    <a:pt x="127" y="430"/>
                  </a:lnTo>
                  <a:lnTo>
                    <a:pt x="125" y="430"/>
                  </a:lnTo>
                  <a:lnTo>
                    <a:pt x="127" y="430"/>
                  </a:lnTo>
                  <a:lnTo>
                    <a:pt x="127" y="429"/>
                  </a:lnTo>
                  <a:lnTo>
                    <a:pt x="127" y="427"/>
                  </a:lnTo>
                  <a:lnTo>
                    <a:pt x="129" y="427"/>
                  </a:lnTo>
                  <a:lnTo>
                    <a:pt x="131" y="427"/>
                  </a:lnTo>
                  <a:lnTo>
                    <a:pt x="131" y="425"/>
                  </a:lnTo>
                  <a:lnTo>
                    <a:pt x="133" y="425"/>
                  </a:lnTo>
                  <a:lnTo>
                    <a:pt x="133" y="427"/>
                  </a:lnTo>
                  <a:lnTo>
                    <a:pt x="133" y="425"/>
                  </a:lnTo>
                  <a:lnTo>
                    <a:pt x="133" y="427"/>
                  </a:lnTo>
                  <a:lnTo>
                    <a:pt x="133" y="425"/>
                  </a:lnTo>
                  <a:lnTo>
                    <a:pt x="135" y="425"/>
                  </a:lnTo>
                  <a:lnTo>
                    <a:pt x="137" y="425"/>
                  </a:lnTo>
                  <a:lnTo>
                    <a:pt x="139" y="425"/>
                  </a:lnTo>
                  <a:lnTo>
                    <a:pt x="139" y="423"/>
                  </a:lnTo>
                  <a:lnTo>
                    <a:pt x="141" y="423"/>
                  </a:lnTo>
                  <a:lnTo>
                    <a:pt x="143" y="423"/>
                  </a:lnTo>
                  <a:close/>
                  <a:moveTo>
                    <a:pt x="125" y="523"/>
                  </a:moveTo>
                  <a:lnTo>
                    <a:pt x="127" y="523"/>
                  </a:lnTo>
                  <a:lnTo>
                    <a:pt x="127" y="525"/>
                  </a:lnTo>
                  <a:lnTo>
                    <a:pt x="125" y="525"/>
                  </a:lnTo>
                  <a:lnTo>
                    <a:pt x="125" y="526"/>
                  </a:lnTo>
                  <a:lnTo>
                    <a:pt x="125" y="528"/>
                  </a:lnTo>
                  <a:lnTo>
                    <a:pt x="125" y="530"/>
                  </a:lnTo>
                  <a:lnTo>
                    <a:pt x="125" y="532"/>
                  </a:lnTo>
                  <a:lnTo>
                    <a:pt x="123" y="532"/>
                  </a:lnTo>
                  <a:lnTo>
                    <a:pt x="123" y="534"/>
                  </a:lnTo>
                  <a:lnTo>
                    <a:pt x="121" y="534"/>
                  </a:lnTo>
                  <a:lnTo>
                    <a:pt x="121" y="536"/>
                  </a:lnTo>
                  <a:lnTo>
                    <a:pt x="120" y="536"/>
                  </a:lnTo>
                  <a:lnTo>
                    <a:pt x="120" y="534"/>
                  </a:lnTo>
                  <a:lnTo>
                    <a:pt x="120" y="532"/>
                  </a:lnTo>
                  <a:lnTo>
                    <a:pt x="118" y="532"/>
                  </a:lnTo>
                  <a:lnTo>
                    <a:pt x="116" y="532"/>
                  </a:lnTo>
                  <a:lnTo>
                    <a:pt x="116" y="530"/>
                  </a:lnTo>
                  <a:lnTo>
                    <a:pt x="118" y="528"/>
                  </a:lnTo>
                  <a:lnTo>
                    <a:pt x="120" y="528"/>
                  </a:lnTo>
                  <a:lnTo>
                    <a:pt x="120" y="526"/>
                  </a:lnTo>
                  <a:lnTo>
                    <a:pt x="121" y="526"/>
                  </a:lnTo>
                  <a:lnTo>
                    <a:pt x="123" y="526"/>
                  </a:lnTo>
                  <a:lnTo>
                    <a:pt x="123" y="525"/>
                  </a:lnTo>
                  <a:lnTo>
                    <a:pt x="125" y="525"/>
                  </a:lnTo>
                  <a:lnTo>
                    <a:pt x="125" y="523"/>
                  </a:lnTo>
                  <a:close/>
                  <a:moveTo>
                    <a:pt x="160" y="878"/>
                  </a:moveTo>
                  <a:lnTo>
                    <a:pt x="162" y="880"/>
                  </a:lnTo>
                  <a:lnTo>
                    <a:pt x="162" y="882"/>
                  </a:lnTo>
                  <a:lnTo>
                    <a:pt x="162" y="884"/>
                  </a:lnTo>
                  <a:lnTo>
                    <a:pt x="164" y="884"/>
                  </a:lnTo>
                  <a:lnTo>
                    <a:pt x="162" y="884"/>
                  </a:lnTo>
                  <a:lnTo>
                    <a:pt x="164" y="884"/>
                  </a:lnTo>
                  <a:lnTo>
                    <a:pt x="164" y="885"/>
                  </a:lnTo>
                  <a:lnTo>
                    <a:pt x="164" y="887"/>
                  </a:lnTo>
                  <a:lnTo>
                    <a:pt x="164" y="885"/>
                  </a:lnTo>
                  <a:lnTo>
                    <a:pt x="162" y="885"/>
                  </a:lnTo>
                  <a:lnTo>
                    <a:pt x="164" y="885"/>
                  </a:lnTo>
                  <a:lnTo>
                    <a:pt x="164" y="887"/>
                  </a:lnTo>
                  <a:lnTo>
                    <a:pt x="162" y="887"/>
                  </a:lnTo>
                  <a:lnTo>
                    <a:pt x="162" y="885"/>
                  </a:lnTo>
                  <a:lnTo>
                    <a:pt x="162" y="887"/>
                  </a:lnTo>
                  <a:lnTo>
                    <a:pt x="162" y="885"/>
                  </a:lnTo>
                  <a:lnTo>
                    <a:pt x="162" y="887"/>
                  </a:lnTo>
                  <a:lnTo>
                    <a:pt x="162" y="889"/>
                  </a:lnTo>
                  <a:lnTo>
                    <a:pt x="164" y="889"/>
                  </a:lnTo>
                  <a:lnTo>
                    <a:pt x="164" y="891"/>
                  </a:lnTo>
                  <a:lnTo>
                    <a:pt x="164" y="893"/>
                  </a:lnTo>
                  <a:lnTo>
                    <a:pt x="162" y="893"/>
                  </a:lnTo>
                  <a:lnTo>
                    <a:pt x="162" y="891"/>
                  </a:lnTo>
                  <a:lnTo>
                    <a:pt x="162" y="893"/>
                  </a:lnTo>
                  <a:lnTo>
                    <a:pt x="162" y="891"/>
                  </a:lnTo>
                  <a:lnTo>
                    <a:pt x="160" y="891"/>
                  </a:lnTo>
                  <a:lnTo>
                    <a:pt x="162" y="891"/>
                  </a:lnTo>
                  <a:lnTo>
                    <a:pt x="160" y="891"/>
                  </a:lnTo>
                  <a:lnTo>
                    <a:pt x="160" y="893"/>
                  </a:lnTo>
                  <a:lnTo>
                    <a:pt x="158" y="893"/>
                  </a:lnTo>
                  <a:lnTo>
                    <a:pt x="158" y="891"/>
                  </a:lnTo>
                  <a:lnTo>
                    <a:pt x="156" y="891"/>
                  </a:lnTo>
                  <a:lnTo>
                    <a:pt x="156" y="889"/>
                  </a:lnTo>
                  <a:lnTo>
                    <a:pt x="158" y="889"/>
                  </a:lnTo>
                  <a:lnTo>
                    <a:pt x="158" y="887"/>
                  </a:lnTo>
                  <a:lnTo>
                    <a:pt x="158" y="889"/>
                  </a:lnTo>
                  <a:lnTo>
                    <a:pt x="160" y="889"/>
                  </a:lnTo>
                  <a:lnTo>
                    <a:pt x="158" y="889"/>
                  </a:lnTo>
                  <a:lnTo>
                    <a:pt x="160" y="889"/>
                  </a:lnTo>
                  <a:lnTo>
                    <a:pt x="158" y="889"/>
                  </a:lnTo>
                  <a:lnTo>
                    <a:pt x="158" y="887"/>
                  </a:lnTo>
                  <a:lnTo>
                    <a:pt x="158" y="885"/>
                  </a:lnTo>
                  <a:lnTo>
                    <a:pt x="158" y="884"/>
                  </a:lnTo>
                  <a:lnTo>
                    <a:pt x="160" y="884"/>
                  </a:lnTo>
                  <a:lnTo>
                    <a:pt x="160" y="885"/>
                  </a:lnTo>
                  <a:lnTo>
                    <a:pt x="160" y="884"/>
                  </a:lnTo>
                  <a:lnTo>
                    <a:pt x="160" y="882"/>
                  </a:lnTo>
                  <a:lnTo>
                    <a:pt x="160" y="880"/>
                  </a:lnTo>
                  <a:lnTo>
                    <a:pt x="160" y="878"/>
                  </a:lnTo>
                  <a:lnTo>
                    <a:pt x="160" y="880"/>
                  </a:lnTo>
                  <a:lnTo>
                    <a:pt x="160" y="878"/>
                  </a:lnTo>
                  <a:close/>
                  <a:moveTo>
                    <a:pt x="156" y="778"/>
                  </a:moveTo>
                  <a:lnTo>
                    <a:pt x="156" y="780"/>
                  </a:lnTo>
                  <a:lnTo>
                    <a:pt x="158" y="780"/>
                  </a:lnTo>
                  <a:lnTo>
                    <a:pt x="158" y="782"/>
                  </a:lnTo>
                  <a:lnTo>
                    <a:pt x="160" y="782"/>
                  </a:lnTo>
                  <a:lnTo>
                    <a:pt x="158" y="782"/>
                  </a:lnTo>
                  <a:lnTo>
                    <a:pt x="160" y="782"/>
                  </a:lnTo>
                  <a:lnTo>
                    <a:pt x="158" y="782"/>
                  </a:lnTo>
                  <a:lnTo>
                    <a:pt x="158" y="784"/>
                  </a:lnTo>
                  <a:lnTo>
                    <a:pt x="158" y="782"/>
                  </a:lnTo>
                  <a:lnTo>
                    <a:pt x="156" y="782"/>
                  </a:lnTo>
                  <a:lnTo>
                    <a:pt x="156" y="784"/>
                  </a:lnTo>
                  <a:lnTo>
                    <a:pt x="156" y="786"/>
                  </a:lnTo>
                  <a:lnTo>
                    <a:pt x="156" y="788"/>
                  </a:lnTo>
                  <a:lnTo>
                    <a:pt x="158" y="788"/>
                  </a:lnTo>
                  <a:lnTo>
                    <a:pt x="156" y="788"/>
                  </a:lnTo>
                  <a:lnTo>
                    <a:pt x="156" y="789"/>
                  </a:lnTo>
                  <a:lnTo>
                    <a:pt x="156" y="788"/>
                  </a:lnTo>
                  <a:lnTo>
                    <a:pt x="156" y="789"/>
                  </a:lnTo>
                  <a:lnTo>
                    <a:pt x="154" y="789"/>
                  </a:lnTo>
                  <a:lnTo>
                    <a:pt x="152" y="789"/>
                  </a:lnTo>
                  <a:lnTo>
                    <a:pt x="152" y="788"/>
                  </a:lnTo>
                  <a:lnTo>
                    <a:pt x="152" y="786"/>
                  </a:lnTo>
                  <a:lnTo>
                    <a:pt x="154" y="786"/>
                  </a:lnTo>
                  <a:lnTo>
                    <a:pt x="154" y="784"/>
                  </a:lnTo>
                  <a:lnTo>
                    <a:pt x="154" y="786"/>
                  </a:lnTo>
                  <a:lnTo>
                    <a:pt x="154" y="784"/>
                  </a:lnTo>
                  <a:lnTo>
                    <a:pt x="154" y="786"/>
                  </a:lnTo>
                  <a:lnTo>
                    <a:pt x="152" y="786"/>
                  </a:lnTo>
                  <a:lnTo>
                    <a:pt x="152" y="784"/>
                  </a:lnTo>
                  <a:lnTo>
                    <a:pt x="152" y="782"/>
                  </a:lnTo>
                  <a:lnTo>
                    <a:pt x="150" y="782"/>
                  </a:lnTo>
                  <a:lnTo>
                    <a:pt x="152" y="782"/>
                  </a:lnTo>
                  <a:lnTo>
                    <a:pt x="150" y="782"/>
                  </a:lnTo>
                  <a:lnTo>
                    <a:pt x="152" y="782"/>
                  </a:lnTo>
                  <a:lnTo>
                    <a:pt x="152" y="780"/>
                  </a:lnTo>
                  <a:lnTo>
                    <a:pt x="150" y="780"/>
                  </a:lnTo>
                  <a:lnTo>
                    <a:pt x="152" y="780"/>
                  </a:lnTo>
                  <a:lnTo>
                    <a:pt x="152" y="778"/>
                  </a:lnTo>
                  <a:lnTo>
                    <a:pt x="152" y="780"/>
                  </a:lnTo>
                  <a:lnTo>
                    <a:pt x="152" y="778"/>
                  </a:lnTo>
                  <a:lnTo>
                    <a:pt x="154" y="778"/>
                  </a:lnTo>
                  <a:lnTo>
                    <a:pt x="156" y="778"/>
                  </a:lnTo>
                  <a:close/>
                  <a:moveTo>
                    <a:pt x="16" y="507"/>
                  </a:moveTo>
                  <a:lnTo>
                    <a:pt x="16" y="509"/>
                  </a:lnTo>
                  <a:lnTo>
                    <a:pt x="18" y="509"/>
                  </a:lnTo>
                  <a:lnTo>
                    <a:pt x="20" y="509"/>
                  </a:lnTo>
                  <a:lnTo>
                    <a:pt x="20" y="511"/>
                  </a:lnTo>
                  <a:lnTo>
                    <a:pt x="18" y="511"/>
                  </a:lnTo>
                  <a:lnTo>
                    <a:pt x="18" y="509"/>
                  </a:lnTo>
                  <a:lnTo>
                    <a:pt x="18" y="511"/>
                  </a:lnTo>
                  <a:lnTo>
                    <a:pt x="18" y="509"/>
                  </a:lnTo>
                  <a:lnTo>
                    <a:pt x="16" y="509"/>
                  </a:lnTo>
                  <a:lnTo>
                    <a:pt x="14" y="509"/>
                  </a:lnTo>
                  <a:lnTo>
                    <a:pt x="16" y="509"/>
                  </a:lnTo>
                  <a:lnTo>
                    <a:pt x="16" y="511"/>
                  </a:lnTo>
                  <a:lnTo>
                    <a:pt x="18" y="511"/>
                  </a:lnTo>
                  <a:lnTo>
                    <a:pt x="18" y="513"/>
                  </a:lnTo>
                  <a:lnTo>
                    <a:pt x="18" y="511"/>
                  </a:lnTo>
                  <a:lnTo>
                    <a:pt x="20" y="511"/>
                  </a:lnTo>
                  <a:lnTo>
                    <a:pt x="22" y="511"/>
                  </a:lnTo>
                  <a:lnTo>
                    <a:pt x="22" y="513"/>
                  </a:lnTo>
                  <a:lnTo>
                    <a:pt x="22" y="515"/>
                  </a:lnTo>
                  <a:lnTo>
                    <a:pt x="20" y="515"/>
                  </a:lnTo>
                  <a:lnTo>
                    <a:pt x="20" y="517"/>
                  </a:lnTo>
                  <a:lnTo>
                    <a:pt x="18" y="517"/>
                  </a:lnTo>
                  <a:lnTo>
                    <a:pt x="16" y="517"/>
                  </a:lnTo>
                  <a:lnTo>
                    <a:pt x="16" y="515"/>
                  </a:lnTo>
                  <a:lnTo>
                    <a:pt x="16" y="513"/>
                  </a:lnTo>
                  <a:lnTo>
                    <a:pt x="14" y="513"/>
                  </a:lnTo>
                  <a:lnTo>
                    <a:pt x="14" y="515"/>
                  </a:lnTo>
                  <a:lnTo>
                    <a:pt x="16" y="515"/>
                  </a:lnTo>
                  <a:lnTo>
                    <a:pt x="16" y="517"/>
                  </a:lnTo>
                  <a:lnTo>
                    <a:pt x="14" y="517"/>
                  </a:lnTo>
                  <a:lnTo>
                    <a:pt x="14" y="515"/>
                  </a:lnTo>
                  <a:lnTo>
                    <a:pt x="14" y="513"/>
                  </a:lnTo>
                  <a:lnTo>
                    <a:pt x="14" y="515"/>
                  </a:lnTo>
                  <a:lnTo>
                    <a:pt x="14" y="517"/>
                  </a:lnTo>
                  <a:lnTo>
                    <a:pt x="12" y="517"/>
                  </a:lnTo>
                  <a:lnTo>
                    <a:pt x="12" y="515"/>
                  </a:lnTo>
                  <a:lnTo>
                    <a:pt x="12" y="513"/>
                  </a:lnTo>
                  <a:lnTo>
                    <a:pt x="14" y="513"/>
                  </a:lnTo>
                  <a:lnTo>
                    <a:pt x="14" y="511"/>
                  </a:lnTo>
                  <a:lnTo>
                    <a:pt x="14" y="513"/>
                  </a:lnTo>
                  <a:lnTo>
                    <a:pt x="14" y="511"/>
                  </a:lnTo>
                  <a:lnTo>
                    <a:pt x="14" y="509"/>
                  </a:lnTo>
                  <a:lnTo>
                    <a:pt x="14" y="507"/>
                  </a:lnTo>
                  <a:lnTo>
                    <a:pt x="16" y="507"/>
                  </a:lnTo>
                  <a:close/>
                  <a:moveTo>
                    <a:pt x="98" y="584"/>
                  </a:moveTo>
                  <a:lnTo>
                    <a:pt x="100" y="584"/>
                  </a:lnTo>
                  <a:lnTo>
                    <a:pt x="100" y="586"/>
                  </a:lnTo>
                  <a:lnTo>
                    <a:pt x="100" y="584"/>
                  </a:lnTo>
                  <a:lnTo>
                    <a:pt x="100" y="586"/>
                  </a:lnTo>
                  <a:lnTo>
                    <a:pt x="100" y="584"/>
                  </a:lnTo>
                  <a:lnTo>
                    <a:pt x="100" y="586"/>
                  </a:lnTo>
                  <a:lnTo>
                    <a:pt x="102" y="586"/>
                  </a:lnTo>
                  <a:lnTo>
                    <a:pt x="100" y="586"/>
                  </a:lnTo>
                  <a:lnTo>
                    <a:pt x="102" y="586"/>
                  </a:lnTo>
                  <a:lnTo>
                    <a:pt x="100" y="586"/>
                  </a:lnTo>
                  <a:lnTo>
                    <a:pt x="102" y="586"/>
                  </a:lnTo>
                  <a:lnTo>
                    <a:pt x="102" y="588"/>
                  </a:lnTo>
                  <a:lnTo>
                    <a:pt x="100" y="588"/>
                  </a:lnTo>
                  <a:lnTo>
                    <a:pt x="100" y="590"/>
                  </a:lnTo>
                  <a:lnTo>
                    <a:pt x="100" y="588"/>
                  </a:lnTo>
                  <a:lnTo>
                    <a:pt x="100" y="590"/>
                  </a:lnTo>
                  <a:lnTo>
                    <a:pt x="98" y="590"/>
                  </a:lnTo>
                  <a:lnTo>
                    <a:pt x="98" y="592"/>
                  </a:lnTo>
                  <a:lnTo>
                    <a:pt x="98" y="594"/>
                  </a:lnTo>
                  <a:lnTo>
                    <a:pt x="96" y="594"/>
                  </a:lnTo>
                  <a:lnTo>
                    <a:pt x="96" y="596"/>
                  </a:lnTo>
                  <a:lnTo>
                    <a:pt x="96" y="594"/>
                  </a:lnTo>
                  <a:lnTo>
                    <a:pt x="96" y="596"/>
                  </a:lnTo>
                  <a:lnTo>
                    <a:pt x="96" y="594"/>
                  </a:lnTo>
                  <a:lnTo>
                    <a:pt x="96" y="596"/>
                  </a:lnTo>
                  <a:lnTo>
                    <a:pt x="96" y="594"/>
                  </a:lnTo>
                  <a:lnTo>
                    <a:pt x="96" y="596"/>
                  </a:lnTo>
                  <a:lnTo>
                    <a:pt x="95" y="596"/>
                  </a:lnTo>
                  <a:lnTo>
                    <a:pt x="95" y="594"/>
                  </a:lnTo>
                  <a:lnTo>
                    <a:pt x="93" y="594"/>
                  </a:lnTo>
                  <a:lnTo>
                    <a:pt x="95" y="594"/>
                  </a:lnTo>
                  <a:lnTo>
                    <a:pt x="95" y="592"/>
                  </a:lnTo>
                  <a:lnTo>
                    <a:pt x="93" y="592"/>
                  </a:lnTo>
                  <a:lnTo>
                    <a:pt x="95" y="592"/>
                  </a:lnTo>
                  <a:lnTo>
                    <a:pt x="95" y="590"/>
                  </a:lnTo>
                  <a:lnTo>
                    <a:pt x="95" y="592"/>
                  </a:lnTo>
                  <a:lnTo>
                    <a:pt x="95" y="590"/>
                  </a:lnTo>
                  <a:lnTo>
                    <a:pt x="95" y="588"/>
                  </a:lnTo>
                  <a:lnTo>
                    <a:pt x="96" y="588"/>
                  </a:lnTo>
                  <a:lnTo>
                    <a:pt x="95" y="588"/>
                  </a:lnTo>
                  <a:lnTo>
                    <a:pt x="96" y="588"/>
                  </a:lnTo>
                  <a:lnTo>
                    <a:pt x="96" y="586"/>
                  </a:lnTo>
                  <a:lnTo>
                    <a:pt x="96" y="584"/>
                  </a:lnTo>
                  <a:lnTo>
                    <a:pt x="96" y="586"/>
                  </a:lnTo>
                  <a:lnTo>
                    <a:pt x="96" y="584"/>
                  </a:lnTo>
                  <a:lnTo>
                    <a:pt x="98" y="584"/>
                  </a:lnTo>
                  <a:close/>
                  <a:moveTo>
                    <a:pt x="146" y="763"/>
                  </a:moveTo>
                  <a:lnTo>
                    <a:pt x="146" y="765"/>
                  </a:lnTo>
                  <a:lnTo>
                    <a:pt x="148" y="765"/>
                  </a:lnTo>
                  <a:lnTo>
                    <a:pt x="148" y="766"/>
                  </a:lnTo>
                  <a:lnTo>
                    <a:pt x="148" y="768"/>
                  </a:lnTo>
                  <a:lnTo>
                    <a:pt x="150" y="768"/>
                  </a:lnTo>
                  <a:lnTo>
                    <a:pt x="148" y="768"/>
                  </a:lnTo>
                  <a:lnTo>
                    <a:pt x="148" y="770"/>
                  </a:lnTo>
                  <a:lnTo>
                    <a:pt x="148" y="772"/>
                  </a:lnTo>
                  <a:lnTo>
                    <a:pt x="146" y="772"/>
                  </a:lnTo>
                  <a:lnTo>
                    <a:pt x="144" y="772"/>
                  </a:lnTo>
                  <a:lnTo>
                    <a:pt x="144" y="770"/>
                  </a:lnTo>
                  <a:lnTo>
                    <a:pt x="146" y="770"/>
                  </a:lnTo>
                  <a:lnTo>
                    <a:pt x="144" y="770"/>
                  </a:lnTo>
                  <a:lnTo>
                    <a:pt x="146" y="770"/>
                  </a:lnTo>
                  <a:lnTo>
                    <a:pt x="144" y="770"/>
                  </a:lnTo>
                  <a:lnTo>
                    <a:pt x="143" y="770"/>
                  </a:lnTo>
                  <a:lnTo>
                    <a:pt x="143" y="768"/>
                  </a:lnTo>
                  <a:lnTo>
                    <a:pt x="143" y="770"/>
                  </a:lnTo>
                  <a:lnTo>
                    <a:pt x="143" y="768"/>
                  </a:lnTo>
                  <a:lnTo>
                    <a:pt x="141" y="768"/>
                  </a:lnTo>
                  <a:lnTo>
                    <a:pt x="141" y="770"/>
                  </a:lnTo>
                  <a:lnTo>
                    <a:pt x="139" y="770"/>
                  </a:lnTo>
                  <a:lnTo>
                    <a:pt x="139" y="768"/>
                  </a:lnTo>
                  <a:lnTo>
                    <a:pt x="139" y="766"/>
                  </a:lnTo>
                  <a:lnTo>
                    <a:pt x="141" y="766"/>
                  </a:lnTo>
                  <a:lnTo>
                    <a:pt x="143" y="766"/>
                  </a:lnTo>
                  <a:lnTo>
                    <a:pt x="143" y="768"/>
                  </a:lnTo>
                  <a:lnTo>
                    <a:pt x="143" y="766"/>
                  </a:lnTo>
                  <a:lnTo>
                    <a:pt x="144" y="766"/>
                  </a:lnTo>
                  <a:lnTo>
                    <a:pt x="144" y="765"/>
                  </a:lnTo>
                  <a:lnTo>
                    <a:pt x="143" y="765"/>
                  </a:lnTo>
                  <a:lnTo>
                    <a:pt x="143" y="766"/>
                  </a:lnTo>
                  <a:lnTo>
                    <a:pt x="143" y="765"/>
                  </a:lnTo>
                  <a:lnTo>
                    <a:pt x="143" y="766"/>
                  </a:lnTo>
                  <a:lnTo>
                    <a:pt x="143" y="765"/>
                  </a:lnTo>
                  <a:lnTo>
                    <a:pt x="144" y="765"/>
                  </a:lnTo>
                  <a:lnTo>
                    <a:pt x="146" y="765"/>
                  </a:lnTo>
                  <a:lnTo>
                    <a:pt x="146" y="763"/>
                  </a:lnTo>
                  <a:close/>
                  <a:moveTo>
                    <a:pt x="98" y="530"/>
                  </a:moveTo>
                  <a:lnTo>
                    <a:pt x="100" y="530"/>
                  </a:lnTo>
                  <a:lnTo>
                    <a:pt x="100" y="532"/>
                  </a:lnTo>
                  <a:lnTo>
                    <a:pt x="100" y="534"/>
                  </a:lnTo>
                  <a:lnTo>
                    <a:pt x="98" y="534"/>
                  </a:lnTo>
                  <a:lnTo>
                    <a:pt x="100" y="534"/>
                  </a:lnTo>
                  <a:lnTo>
                    <a:pt x="98" y="534"/>
                  </a:lnTo>
                  <a:lnTo>
                    <a:pt x="100" y="534"/>
                  </a:lnTo>
                  <a:lnTo>
                    <a:pt x="98" y="534"/>
                  </a:lnTo>
                  <a:lnTo>
                    <a:pt x="100" y="534"/>
                  </a:lnTo>
                  <a:lnTo>
                    <a:pt x="98" y="534"/>
                  </a:lnTo>
                  <a:lnTo>
                    <a:pt x="100" y="534"/>
                  </a:lnTo>
                  <a:lnTo>
                    <a:pt x="100" y="536"/>
                  </a:lnTo>
                  <a:lnTo>
                    <a:pt x="100" y="538"/>
                  </a:lnTo>
                  <a:lnTo>
                    <a:pt x="98" y="538"/>
                  </a:lnTo>
                  <a:lnTo>
                    <a:pt x="100" y="538"/>
                  </a:lnTo>
                  <a:lnTo>
                    <a:pt x="98" y="538"/>
                  </a:lnTo>
                  <a:lnTo>
                    <a:pt x="100" y="538"/>
                  </a:lnTo>
                  <a:lnTo>
                    <a:pt x="98" y="538"/>
                  </a:lnTo>
                  <a:lnTo>
                    <a:pt x="98" y="540"/>
                  </a:lnTo>
                  <a:lnTo>
                    <a:pt x="100" y="540"/>
                  </a:lnTo>
                  <a:lnTo>
                    <a:pt x="100" y="542"/>
                  </a:lnTo>
                  <a:lnTo>
                    <a:pt x="100" y="544"/>
                  </a:lnTo>
                  <a:lnTo>
                    <a:pt x="98" y="544"/>
                  </a:lnTo>
                  <a:lnTo>
                    <a:pt x="98" y="546"/>
                  </a:lnTo>
                  <a:lnTo>
                    <a:pt x="96" y="546"/>
                  </a:lnTo>
                  <a:lnTo>
                    <a:pt x="96" y="544"/>
                  </a:lnTo>
                  <a:lnTo>
                    <a:pt x="96" y="546"/>
                  </a:lnTo>
                  <a:lnTo>
                    <a:pt x="96" y="544"/>
                  </a:lnTo>
                  <a:lnTo>
                    <a:pt x="96" y="542"/>
                  </a:lnTo>
                  <a:lnTo>
                    <a:pt x="95" y="542"/>
                  </a:lnTo>
                  <a:lnTo>
                    <a:pt x="96" y="542"/>
                  </a:lnTo>
                  <a:lnTo>
                    <a:pt x="95" y="542"/>
                  </a:lnTo>
                  <a:lnTo>
                    <a:pt x="96" y="542"/>
                  </a:lnTo>
                  <a:lnTo>
                    <a:pt x="95" y="542"/>
                  </a:lnTo>
                  <a:lnTo>
                    <a:pt x="96" y="542"/>
                  </a:lnTo>
                  <a:lnTo>
                    <a:pt x="95" y="542"/>
                  </a:lnTo>
                  <a:lnTo>
                    <a:pt x="96" y="542"/>
                  </a:lnTo>
                  <a:lnTo>
                    <a:pt x="95" y="542"/>
                  </a:lnTo>
                  <a:lnTo>
                    <a:pt x="96" y="542"/>
                  </a:lnTo>
                  <a:lnTo>
                    <a:pt x="96" y="540"/>
                  </a:lnTo>
                  <a:lnTo>
                    <a:pt x="96" y="538"/>
                  </a:lnTo>
                  <a:lnTo>
                    <a:pt x="96" y="536"/>
                  </a:lnTo>
                  <a:lnTo>
                    <a:pt x="96" y="538"/>
                  </a:lnTo>
                  <a:lnTo>
                    <a:pt x="96" y="536"/>
                  </a:lnTo>
                  <a:lnTo>
                    <a:pt x="96" y="538"/>
                  </a:lnTo>
                  <a:lnTo>
                    <a:pt x="96" y="536"/>
                  </a:lnTo>
                  <a:lnTo>
                    <a:pt x="96" y="534"/>
                  </a:lnTo>
                  <a:lnTo>
                    <a:pt x="96" y="536"/>
                  </a:lnTo>
                  <a:lnTo>
                    <a:pt x="96" y="534"/>
                  </a:lnTo>
                  <a:lnTo>
                    <a:pt x="96" y="536"/>
                  </a:lnTo>
                  <a:lnTo>
                    <a:pt x="96" y="534"/>
                  </a:lnTo>
                  <a:lnTo>
                    <a:pt x="96" y="536"/>
                  </a:lnTo>
                  <a:lnTo>
                    <a:pt x="96" y="534"/>
                  </a:lnTo>
                  <a:lnTo>
                    <a:pt x="96" y="536"/>
                  </a:lnTo>
                  <a:lnTo>
                    <a:pt x="95" y="536"/>
                  </a:lnTo>
                  <a:lnTo>
                    <a:pt x="95" y="534"/>
                  </a:lnTo>
                  <a:lnTo>
                    <a:pt x="96" y="534"/>
                  </a:lnTo>
                  <a:lnTo>
                    <a:pt x="98" y="534"/>
                  </a:lnTo>
                  <a:lnTo>
                    <a:pt x="96" y="534"/>
                  </a:lnTo>
                  <a:lnTo>
                    <a:pt x="96" y="532"/>
                  </a:lnTo>
                  <a:lnTo>
                    <a:pt x="96" y="534"/>
                  </a:lnTo>
                  <a:lnTo>
                    <a:pt x="96" y="532"/>
                  </a:lnTo>
                  <a:lnTo>
                    <a:pt x="95" y="532"/>
                  </a:lnTo>
                  <a:lnTo>
                    <a:pt x="96" y="532"/>
                  </a:lnTo>
                  <a:lnTo>
                    <a:pt x="95" y="532"/>
                  </a:lnTo>
                  <a:lnTo>
                    <a:pt x="96" y="532"/>
                  </a:lnTo>
                  <a:lnTo>
                    <a:pt x="95" y="532"/>
                  </a:lnTo>
                  <a:lnTo>
                    <a:pt x="96" y="532"/>
                  </a:lnTo>
                  <a:lnTo>
                    <a:pt x="95" y="532"/>
                  </a:lnTo>
                  <a:lnTo>
                    <a:pt x="96" y="532"/>
                  </a:lnTo>
                  <a:lnTo>
                    <a:pt x="96" y="530"/>
                  </a:lnTo>
                  <a:lnTo>
                    <a:pt x="98" y="530"/>
                  </a:lnTo>
                  <a:close/>
                  <a:moveTo>
                    <a:pt x="121" y="576"/>
                  </a:moveTo>
                  <a:lnTo>
                    <a:pt x="123" y="576"/>
                  </a:lnTo>
                  <a:lnTo>
                    <a:pt x="123" y="578"/>
                  </a:lnTo>
                  <a:lnTo>
                    <a:pt x="125" y="578"/>
                  </a:lnTo>
                  <a:lnTo>
                    <a:pt x="127" y="578"/>
                  </a:lnTo>
                  <a:lnTo>
                    <a:pt x="127" y="576"/>
                  </a:lnTo>
                  <a:lnTo>
                    <a:pt x="129" y="576"/>
                  </a:lnTo>
                  <a:lnTo>
                    <a:pt x="129" y="578"/>
                  </a:lnTo>
                  <a:lnTo>
                    <a:pt x="127" y="580"/>
                  </a:lnTo>
                  <a:lnTo>
                    <a:pt x="127" y="582"/>
                  </a:lnTo>
                  <a:lnTo>
                    <a:pt x="125" y="582"/>
                  </a:lnTo>
                  <a:lnTo>
                    <a:pt x="123" y="582"/>
                  </a:lnTo>
                  <a:lnTo>
                    <a:pt x="123" y="584"/>
                  </a:lnTo>
                  <a:lnTo>
                    <a:pt x="123" y="582"/>
                  </a:lnTo>
                  <a:lnTo>
                    <a:pt x="123" y="584"/>
                  </a:lnTo>
                  <a:lnTo>
                    <a:pt x="121" y="584"/>
                  </a:lnTo>
                  <a:lnTo>
                    <a:pt x="121" y="586"/>
                  </a:lnTo>
                  <a:lnTo>
                    <a:pt x="120" y="586"/>
                  </a:lnTo>
                  <a:lnTo>
                    <a:pt x="120" y="588"/>
                  </a:lnTo>
                  <a:lnTo>
                    <a:pt x="118" y="588"/>
                  </a:lnTo>
                  <a:lnTo>
                    <a:pt x="118" y="586"/>
                  </a:lnTo>
                  <a:lnTo>
                    <a:pt x="118" y="584"/>
                  </a:lnTo>
                  <a:lnTo>
                    <a:pt x="120" y="584"/>
                  </a:lnTo>
                  <a:lnTo>
                    <a:pt x="120" y="582"/>
                  </a:lnTo>
                  <a:lnTo>
                    <a:pt x="120" y="580"/>
                  </a:lnTo>
                  <a:lnTo>
                    <a:pt x="120" y="578"/>
                  </a:lnTo>
                  <a:lnTo>
                    <a:pt x="121" y="578"/>
                  </a:lnTo>
                  <a:lnTo>
                    <a:pt x="121" y="576"/>
                  </a:lnTo>
                  <a:close/>
                  <a:moveTo>
                    <a:pt x="81" y="801"/>
                  </a:moveTo>
                  <a:lnTo>
                    <a:pt x="81" y="803"/>
                  </a:lnTo>
                  <a:lnTo>
                    <a:pt x="81" y="801"/>
                  </a:lnTo>
                  <a:lnTo>
                    <a:pt x="81" y="803"/>
                  </a:lnTo>
                  <a:lnTo>
                    <a:pt x="81" y="801"/>
                  </a:lnTo>
                  <a:lnTo>
                    <a:pt x="83" y="801"/>
                  </a:lnTo>
                  <a:lnTo>
                    <a:pt x="83" y="803"/>
                  </a:lnTo>
                  <a:lnTo>
                    <a:pt x="83" y="801"/>
                  </a:lnTo>
                  <a:lnTo>
                    <a:pt x="85" y="801"/>
                  </a:lnTo>
                  <a:lnTo>
                    <a:pt x="85" y="803"/>
                  </a:lnTo>
                  <a:lnTo>
                    <a:pt x="85" y="805"/>
                  </a:lnTo>
                  <a:lnTo>
                    <a:pt x="83" y="805"/>
                  </a:lnTo>
                  <a:lnTo>
                    <a:pt x="83" y="807"/>
                  </a:lnTo>
                  <a:lnTo>
                    <a:pt x="83" y="809"/>
                  </a:lnTo>
                  <a:lnTo>
                    <a:pt x="83" y="811"/>
                  </a:lnTo>
                  <a:lnTo>
                    <a:pt x="81" y="811"/>
                  </a:lnTo>
                  <a:lnTo>
                    <a:pt x="81" y="809"/>
                  </a:lnTo>
                  <a:lnTo>
                    <a:pt x="81" y="811"/>
                  </a:lnTo>
                  <a:lnTo>
                    <a:pt x="83" y="811"/>
                  </a:lnTo>
                  <a:lnTo>
                    <a:pt x="83" y="809"/>
                  </a:lnTo>
                  <a:lnTo>
                    <a:pt x="83" y="811"/>
                  </a:lnTo>
                  <a:lnTo>
                    <a:pt x="81" y="811"/>
                  </a:lnTo>
                  <a:lnTo>
                    <a:pt x="79" y="811"/>
                  </a:lnTo>
                  <a:lnTo>
                    <a:pt x="81" y="811"/>
                  </a:lnTo>
                  <a:lnTo>
                    <a:pt x="79" y="811"/>
                  </a:lnTo>
                  <a:lnTo>
                    <a:pt x="79" y="809"/>
                  </a:lnTo>
                  <a:lnTo>
                    <a:pt x="77" y="809"/>
                  </a:lnTo>
                  <a:lnTo>
                    <a:pt x="77" y="807"/>
                  </a:lnTo>
                  <a:lnTo>
                    <a:pt x="77" y="805"/>
                  </a:lnTo>
                  <a:lnTo>
                    <a:pt x="77" y="803"/>
                  </a:lnTo>
                  <a:lnTo>
                    <a:pt x="79" y="803"/>
                  </a:lnTo>
                  <a:lnTo>
                    <a:pt x="77" y="803"/>
                  </a:lnTo>
                  <a:lnTo>
                    <a:pt x="79" y="803"/>
                  </a:lnTo>
                  <a:lnTo>
                    <a:pt x="79" y="801"/>
                  </a:lnTo>
                  <a:lnTo>
                    <a:pt x="79" y="803"/>
                  </a:lnTo>
                  <a:lnTo>
                    <a:pt x="79" y="801"/>
                  </a:lnTo>
                  <a:lnTo>
                    <a:pt x="81" y="801"/>
                  </a:lnTo>
                  <a:lnTo>
                    <a:pt x="81" y="799"/>
                  </a:lnTo>
                  <a:lnTo>
                    <a:pt x="81" y="801"/>
                  </a:lnTo>
                  <a:close/>
                  <a:moveTo>
                    <a:pt x="102" y="728"/>
                  </a:moveTo>
                  <a:lnTo>
                    <a:pt x="104" y="730"/>
                  </a:lnTo>
                  <a:lnTo>
                    <a:pt x="106" y="730"/>
                  </a:lnTo>
                  <a:lnTo>
                    <a:pt x="106" y="732"/>
                  </a:lnTo>
                  <a:lnTo>
                    <a:pt x="108" y="732"/>
                  </a:lnTo>
                  <a:lnTo>
                    <a:pt x="106" y="732"/>
                  </a:lnTo>
                  <a:lnTo>
                    <a:pt x="108" y="732"/>
                  </a:lnTo>
                  <a:lnTo>
                    <a:pt x="110" y="732"/>
                  </a:lnTo>
                  <a:lnTo>
                    <a:pt x="110" y="734"/>
                  </a:lnTo>
                  <a:lnTo>
                    <a:pt x="112" y="734"/>
                  </a:lnTo>
                  <a:lnTo>
                    <a:pt x="110" y="734"/>
                  </a:lnTo>
                  <a:lnTo>
                    <a:pt x="112" y="734"/>
                  </a:lnTo>
                  <a:lnTo>
                    <a:pt x="110" y="734"/>
                  </a:lnTo>
                  <a:lnTo>
                    <a:pt x="112" y="734"/>
                  </a:lnTo>
                  <a:lnTo>
                    <a:pt x="110" y="734"/>
                  </a:lnTo>
                  <a:lnTo>
                    <a:pt x="110" y="732"/>
                  </a:lnTo>
                  <a:lnTo>
                    <a:pt x="112" y="732"/>
                  </a:lnTo>
                  <a:lnTo>
                    <a:pt x="114" y="732"/>
                  </a:lnTo>
                  <a:lnTo>
                    <a:pt x="114" y="734"/>
                  </a:lnTo>
                  <a:lnTo>
                    <a:pt x="116" y="734"/>
                  </a:lnTo>
                  <a:lnTo>
                    <a:pt x="116" y="732"/>
                  </a:lnTo>
                  <a:lnTo>
                    <a:pt x="114" y="732"/>
                  </a:lnTo>
                  <a:lnTo>
                    <a:pt x="116" y="732"/>
                  </a:lnTo>
                  <a:lnTo>
                    <a:pt x="114" y="732"/>
                  </a:lnTo>
                  <a:lnTo>
                    <a:pt x="116" y="732"/>
                  </a:lnTo>
                  <a:lnTo>
                    <a:pt x="116" y="734"/>
                  </a:lnTo>
                  <a:lnTo>
                    <a:pt x="116" y="736"/>
                  </a:lnTo>
                  <a:lnTo>
                    <a:pt x="118" y="736"/>
                  </a:lnTo>
                  <a:lnTo>
                    <a:pt x="116" y="736"/>
                  </a:lnTo>
                  <a:lnTo>
                    <a:pt x="116" y="734"/>
                  </a:lnTo>
                  <a:lnTo>
                    <a:pt x="118" y="734"/>
                  </a:lnTo>
                  <a:lnTo>
                    <a:pt x="118" y="736"/>
                  </a:lnTo>
                  <a:lnTo>
                    <a:pt x="120" y="736"/>
                  </a:lnTo>
                  <a:lnTo>
                    <a:pt x="120" y="738"/>
                  </a:lnTo>
                  <a:lnTo>
                    <a:pt x="118" y="738"/>
                  </a:lnTo>
                  <a:lnTo>
                    <a:pt x="116" y="738"/>
                  </a:lnTo>
                  <a:lnTo>
                    <a:pt x="116" y="736"/>
                  </a:lnTo>
                  <a:lnTo>
                    <a:pt x="116" y="738"/>
                  </a:lnTo>
                  <a:lnTo>
                    <a:pt x="116" y="736"/>
                  </a:lnTo>
                  <a:lnTo>
                    <a:pt x="118" y="736"/>
                  </a:lnTo>
                  <a:lnTo>
                    <a:pt x="116" y="736"/>
                  </a:lnTo>
                  <a:lnTo>
                    <a:pt x="116" y="738"/>
                  </a:lnTo>
                  <a:lnTo>
                    <a:pt x="114" y="738"/>
                  </a:lnTo>
                  <a:lnTo>
                    <a:pt x="112" y="738"/>
                  </a:lnTo>
                  <a:lnTo>
                    <a:pt x="112" y="736"/>
                  </a:lnTo>
                  <a:lnTo>
                    <a:pt x="110" y="736"/>
                  </a:lnTo>
                  <a:lnTo>
                    <a:pt x="108" y="736"/>
                  </a:lnTo>
                  <a:lnTo>
                    <a:pt x="108" y="734"/>
                  </a:lnTo>
                  <a:lnTo>
                    <a:pt x="106" y="734"/>
                  </a:lnTo>
                  <a:lnTo>
                    <a:pt x="106" y="732"/>
                  </a:lnTo>
                  <a:lnTo>
                    <a:pt x="104" y="732"/>
                  </a:lnTo>
                  <a:lnTo>
                    <a:pt x="104" y="730"/>
                  </a:lnTo>
                  <a:lnTo>
                    <a:pt x="102" y="730"/>
                  </a:lnTo>
                  <a:lnTo>
                    <a:pt x="102" y="728"/>
                  </a:lnTo>
                  <a:close/>
                  <a:moveTo>
                    <a:pt x="108" y="429"/>
                  </a:moveTo>
                  <a:lnTo>
                    <a:pt x="108" y="430"/>
                  </a:lnTo>
                  <a:lnTo>
                    <a:pt x="108" y="429"/>
                  </a:lnTo>
                  <a:lnTo>
                    <a:pt x="110" y="429"/>
                  </a:lnTo>
                  <a:lnTo>
                    <a:pt x="108" y="429"/>
                  </a:lnTo>
                  <a:lnTo>
                    <a:pt x="110" y="429"/>
                  </a:lnTo>
                  <a:lnTo>
                    <a:pt x="108" y="430"/>
                  </a:lnTo>
                  <a:lnTo>
                    <a:pt x="106" y="430"/>
                  </a:lnTo>
                  <a:lnTo>
                    <a:pt x="108" y="430"/>
                  </a:lnTo>
                  <a:lnTo>
                    <a:pt x="110" y="430"/>
                  </a:lnTo>
                  <a:lnTo>
                    <a:pt x="108" y="430"/>
                  </a:lnTo>
                  <a:lnTo>
                    <a:pt x="110" y="430"/>
                  </a:lnTo>
                  <a:lnTo>
                    <a:pt x="112" y="430"/>
                  </a:lnTo>
                  <a:lnTo>
                    <a:pt x="110" y="430"/>
                  </a:lnTo>
                  <a:lnTo>
                    <a:pt x="112" y="430"/>
                  </a:lnTo>
                  <a:lnTo>
                    <a:pt x="110" y="430"/>
                  </a:lnTo>
                  <a:lnTo>
                    <a:pt x="112" y="430"/>
                  </a:lnTo>
                  <a:lnTo>
                    <a:pt x="112" y="432"/>
                  </a:lnTo>
                  <a:lnTo>
                    <a:pt x="110" y="432"/>
                  </a:lnTo>
                  <a:lnTo>
                    <a:pt x="110" y="434"/>
                  </a:lnTo>
                  <a:lnTo>
                    <a:pt x="108" y="434"/>
                  </a:lnTo>
                  <a:lnTo>
                    <a:pt x="106" y="434"/>
                  </a:lnTo>
                  <a:lnTo>
                    <a:pt x="104" y="434"/>
                  </a:lnTo>
                  <a:lnTo>
                    <a:pt x="106" y="434"/>
                  </a:lnTo>
                  <a:lnTo>
                    <a:pt x="104" y="434"/>
                  </a:lnTo>
                  <a:lnTo>
                    <a:pt x="104" y="436"/>
                  </a:lnTo>
                  <a:lnTo>
                    <a:pt x="104" y="434"/>
                  </a:lnTo>
                  <a:lnTo>
                    <a:pt x="104" y="436"/>
                  </a:lnTo>
                  <a:lnTo>
                    <a:pt x="104" y="434"/>
                  </a:lnTo>
                  <a:lnTo>
                    <a:pt x="104" y="436"/>
                  </a:lnTo>
                  <a:lnTo>
                    <a:pt x="104" y="434"/>
                  </a:lnTo>
                  <a:lnTo>
                    <a:pt x="104" y="436"/>
                  </a:lnTo>
                  <a:lnTo>
                    <a:pt x="104" y="434"/>
                  </a:lnTo>
                  <a:lnTo>
                    <a:pt x="102" y="434"/>
                  </a:lnTo>
                  <a:lnTo>
                    <a:pt x="102" y="436"/>
                  </a:lnTo>
                  <a:lnTo>
                    <a:pt x="102" y="434"/>
                  </a:lnTo>
                  <a:lnTo>
                    <a:pt x="102" y="436"/>
                  </a:lnTo>
                  <a:lnTo>
                    <a:pt x="100" y="436"/>
                  </a:lnTo>
                  <a:lnTo>
                    <a:pt x="100" y="434"/>
                  </a:lnTo>
                  <a:lnTo>
                    <a:pt x="102" y="434"/>
                  </a:lnTo>
                  <a:lnTo>
                    <a:pt x="100" y="434"/>
                  </a:lnTo>
                  <a:lnTo>
                    <a:pt x="100" y="432"/>
                  </a:lnTo>
                  <a:lnTo>
                    <a:pt x="102" y="432"/>
                  </a:lnTo>
                  <a:lnTo>
                    <a:pt x="100" y="432"/>
                  </a:lnTo>
                  <a:lnTo>
                    <a:pt x="102" y="432"/>
                  </a:lnTo>
                  <a:lnTo>
                    <a:pt x="100" y="432"/>
                  </a:lnTo>
                  <a:lnTo>
                    <a:pt x="102" y="432"/>
                  </a:lnTo>
                  <a:lnTo>
                    <a:pt x="102" y="430"/>
                  </a:lnTo>
                  <a:lnTo>
                    <a:pt x="104" y="430"/>
                  </a:lnTo>
                  <a:lnTo>
                    <a:pt x="104" y="429"/>
                  </a:lnTo>
                  <a:lnTo>
                    <a:pt x="106" y="429"/>
                  </a:lnTo>
                  <a:lnTo>
                    <a:pt x="104" y="429"/>
                  </a:lnTo>
                  <a:lnTo>
                    <a:pt x="106" y="429"/>
                  </a:lnTo>
                  <a:lnTo>
                    <a:pt x="104" y="429"/>
                  </a:lnTo>
                  <a:lnTo>
                    <a:pt x="106" y="429"/>
                  </a:lnTo>
                  <a:lnTo>
                    <a:pt x="108" y="429"/>
                  </a:lnTo>
                  <a:close/>
                  <a:moveTo>
                    <a:pt x="108" y="609"/>
                  </a:moveTo>
                  <a:lnTo>
                    <a:pt x="108" y="611"/>
                  </a:lnTo>
                  <a:lnTo>
                    <a:pt x="108" y="609"/>
                  </a:lnTo>
                  <a:lnTo>
                    <a:pt x="108" y="611"/>
                  </a:lnTo>
                  <a:lnTo>
                    <a:pt x="108" y="613"/>
                  </a:lnTo>
                  <a:lnTo>
                    <a:pt x="108" y="611"/>
                  </a:lnTo>
                  <a:lnTo>
                    <a:pt x="108" y="613"/>
                  </a:lnTo>
                  <a:lnTo>
                    <a:pt x="108" y="611"/>
                  </a:lnTo>
                  <a:lnTo>
                    <a:pt x="108" y="613"/>
                  </a:lnTo>
                  <a:lnTo>
                    <a:pt x="106" y="613"/>
                  </a:lnTo>
                  <a:lnTo>
                    <a:pt x="106" y="615"/>
                  </a:lnTo>
                  <a:lnTo>
                    <a:pt x="104" y="615"/>
                  </a:lnTo>
                  <a:lnTo>
                    <a:pt x="106" y="615"/>
                  </a:lnTo>
                  <a:lnTo>
                    <a:pt x="104" y="615"/>
                  </a:lnTo>
                  <a:lnTo>
                    <a:pt x="106" y="615"/>
                  </a:lnTo>
                  <a:lnTo>
                    <a:pt x="106" y="617"/>
                  </a:lnTo>
                  <a:lnTo>
                    <a:pt x="104" y="617"/>
                  </a:lnTo>
                  <a:lnTo>
                    <a:pt x="106" y="617"/>
                  </a:lnTo>
                  <a:lnTo>
                    <a:pt x="104" y="617"/>
                  </a:lnTo>
                  <a:lnTo>
                    <a:pt x="102" y="617"/>
                  </a:lnTo>
                  <a:lnTo>
                    <a:pt x="102" y="615"/>
                  </a:lnTo>
                  <a:lnTo>
                    <a:pt x="102" y="617"/>
                  </a:lnTo>
                  <a:lnTo>
                    <a:pt x="102" y="615"/>
                  </a:lnTo>
                  <a:lnTo>
                    <a:pt x="102" y="617"/>
                  </a:lnTo>
                  <a:lnTo>
                    <a:pt x="102" y="619"/>
                  </a:lnTo>
                  <a:lnTo>
                    <a:pt x="102" y="617"/>
                  </a:lnTo>
                  <a:lnTo>
                    <a:pt x="102" y="619"/>
                  </a:lnTo>
                  <a:lnTo>
                    <a:pt x="100" y="619"/>
                  </a:lnTo>
                  <a:lnTo>
                    <a:pt x="102" y="619"/>
                  </a:lnTo>
                  <a:lnTo>
                    <a:pt x="100" y="619"/>
                  </a:lnTo>
                  <a:lnTo>
                    <a:pt x="100" y="621"/>
                  </a:lnTo>
                  <a:lnTo>
                    <a:pt x="100" y="619"/>
                  </a:lnTo>
                  <a:lnTo>
                    <a:pt x="100" y="621"/>
                  </a:lnTo>
                  <a:lnTo>
                    <a:pt x="100" y="619"/>
                  </a:lnTo>
                  <a:lnTo>
                    <a:pt x="98" y="619"/>
                  </a:lnTo>
                  <a:lnTo>
                    <a:pt x="100" y="619"/>
                  </a:lnTo>
                  <a:lnTo>
                    <a:pt x="98" y="619"/>
                  </a:lnTo>
                  <a:lnTo>
                    <a:pt x="100" y="619"/>
                  </a:lnTo>
                  <a:lnTo>
                    <a:pt x="98" y="619"/>
                  </a:lnTo>
                  <a:lnTo>
                    <a:pt x="100" y="619"/>
                  </a:lnTo>
                  <a:lnTo>
                    <a:pt x="100" y="617"/>
                  </a:lnTo>
                  <a:lnTo>
                    <a:pt x="98" y="617"/>
                  </a:lnTo>
                  <a:lnTo>
                    <a:pt x="100" y="617"/>
                  </a:lnTo>
                  <a:lnTo>
                    <a:pt x="98" y="617"/>
                  </a:lnTo>
                  <a:lnTo>
                    <a:pt x="100" y="617"/>
                  </a:lnTo>
                  <a:lnTo>
                    <a:pt x="100" y="615"/>
                  </a:lnTo>
                  <a:lnTo>
                    <a:pt x="102" y="615"/>
                  </a:lnTo>
                  <a:lnTo>
                    <a:pt x="100" y="615"/>
                  </a:lnTo>
                  <a:lnTo>
                    <a:pt x="100" y="617"/>
                  </a:lnTo>
                  <a:lnTo>
                    <a:pt x="102" y="617"/>
                  </a:lnTo>
                  <a:lnTo>
                    <a:pt x="100" y="617"/>
                  </a:lnTo>
                  <a:lnTo>
                    <a:pt x="102" y="617"/>
                  </a:lnTo>
                  <a:lnTo>
                    <a:pt x="100" y="617"/>
                  </a:lnTo>
                  <a:lnTo>
                    <a:pt x="102" y="617"/>
                  </a:lnTo>
                  <a:lnTo>
                    <a:pt x="100" y="617"/>
                  </a:lnTo>
                  <a:lnTo>
                    <a:pt x="102" y="617"/>
                  </a:lnTo>
                  <a:lnTo>
                    <a:pt x="100" y="617"/>
                  </a:lnTo>
                  <a:lnTo>
                    <a:pt x="102" y="617"/>
                  </a:lnTo>
                  <a:lnTo>
                    <a:pt x="102" y="615"/>
                  </a:lnTo>
                  <a:lnTo>
                    <a:pt x="100" y="615"/>
                  </a:lnTo>
                  <a:lnTo>
                    <a:pt x="100" y="613"/>
                  </a:lnTo>
                  <a:lnTo>
                    <a:pt x="102" y="613"/>
                  </a:lnTo>
                  <a:lnTo>
                    <a:pt x="104" y="613"/>
                  </a:lnTo>
                  <a:lnTo>
                    <a:pt x="104" y="611"/>
                  </a:lnTo>
                  <a:lnTo>
                    <a:pt x="104" y="613"/>
                  </a:lnTo>
                  <a:lnTo>
                    <a:pt x="104" y="611"/>
                  </a:lnTo>
                  <a:lnTo>
                    <a:pt x="104" y="613"/>
                  </a:lnTo>
                  <a:lnTo>
                    <a:pt x="102" y="613"/>
                  </a:lnTo>
                  <a:lnTo>
                    <a:pt x="102" y="611"/>
                  </a:lnTo>
                  <a:lnTo>
                    <a:pt x="102" y="613"/>
                  </a:lnTo>
                  <a:lnTo>
                    <a:pt x="100" y="613"/>
                  </a:lnTo>
                  <a:lnTo>
                    <a:pt x="100" y="611"/>
                  </a:lnTo>
                  <a:lnTo>
                    <a:pt x="100" y="613"/>
                  </a:lnTo>
                  <a:lnTo>
                    <a:pt x="100" y="611"/>
                  </a:lnTo>
                  <a:lnTo>
                    <a:pt x="102" y="611"/>
                  </a:lnTo>
                  <a:lnTo>
                    <a:pt x="104" y="611"/>
                  </a:lnTo>
                  <a:lnTo>
                    <a:pt x="104" y="609"/>
                  </a:lnTo>
                  <a:lnTo>
                    <a:pt x="104" y="611"/>
                  </a:lnTo>
                  <a:lnTo>
                    <a:pt x="104" y="609"/>
                  </a:lnTo>
                  <a:lnTo>
                    <a:pt x="106" y="609"/>
                  </a:lnTo>
                  <a:lnTo>
                    <a:pt x="106" y="611"/>
                  </a:lnTo>
                  <a:lnTo>
                    <a:pt x="106" y="609"/>
                  </a:lnTo>
                  <a:lnTo>
                    <a:pt x="106" y="611"/>
                  </a:lnTo>
                  <a:lnTo>
                    <a:pt x="108" y="611"/>
                  </a:lnTo>
                  <a:lnTo>
                    <a:pt x="108" y="609"/>
                  </a:lnTo>
                  <a:close/>
                  <a:moveTo>
                    <a:pt x="104" y="709"/>
                  </a:moveTo>
                  <a:lnTo>
                    <a:pt x="106" y="709"/>
                  </a:lnTo>
                  <a:lnTo>
                    <a:pt x="106" y="711"/>
                  </a:lnTo>
                  <a:lnTo>
                    <a:pt x="106" y="709"/>
                  </a:lnTo>
                  <a:lnTo>
                    <a:pt x="106" y="711"/>
                  </a:lnTo>
                  <a:lnTo>
                    <a:pt x="108" y="711"/>
                  </a:lnTo>
                  <a:lnTo>
                    <a:pt x="106" y="711"/>
                  </a:lnTo>
                  <a:lnTo>
                    <a:pt x="106" y="713"/>
                  </a:lnTo>
                  <a:lnTo>
                    <a:pt x="108" y="713"/>
                  </a:lnTo>
                  <a:lnTo>
                    <a:pt x="108" y="711"/>
                  </a:lnTo>
                  <a:lnTo>
                    <a:pt x="110" y="711"/>
                  </a:lnTo>
                  <a:lnTo>
                    <a:pt x="110" y="713"/>
                  </a:lnTo>
                  <a:lnTo>
                    <a:pt x="112" y="713"/>
                  </a:lnTo>
                  <a:lnTo>
                    <a:pt x="110" y="713"/>
                  </a:lnTo>
                  <a:lnTo>
                    <a:pt x="112" y="713"/>
                  </a:lnTo>
                  <a:lnTo>
                    <a:pt x="110" y="713"/>
                  </a:lnTo>
                  <a:lnTo>
                    <a:pt x="110" y="715"/>
                  </a:lnTo>
                  <a:lnTo>
                    <a:pt x="112" y="715"/>
                  </a:lnTo>
                  <a:lnTo>
                    <a:pt x="112" y="713"/>
                  </a:lnTo>
                  <a:lnTo>
                    <a:pt x="112" y="711"/>
                  </a:lnTo>
                  <a:lnTo>
                    <a:pt x="112" y="713"/>
                  </a:lnTo>
                  <a:lnTo>
                    <a:pt x="112" y="715"/>
                  </a:lnTo>
                  <a:lnTo>
                    <a:pt x="112" y="713"/>
                  </a:lnTo>
                  <a:lnTo>
                    <a:pt x="112" y="715"/>
                  </a:lnTo>
                  <a:lnTo>
                    <a:pt x="112" y="713"/>
                  </a:lnTo>
                  <a:lnTo>
                    <a:pt x="112" y="715"/>
                  </a:lnTo>
                  <a:lnTo>
                    <a:pt x="114" y="715"/>
                  </a:lnTo>
                  <a:lnTo>
                    <a:pt x="114" y="713"/>
                  </a:lnTo>
                  <a:lnTo>
                    <a:pt x="114" y="715"/>
                  </a:lnTo>
                  <a:lnTo>
                    <a:pt x="114" y="717"/>
                  </a:lnTo>
                  <a:lnTo>
                    <a:pt x="114" y="715"/>
                  </a:lnTo>
                  <a:lnTo>
                    <a:pt x="116" y="715"/>
                  </a:lnTo>
                  <a:lnTo>
                    <a:pt x="116" y="717"/>
                  </a:lnTo>
                  <a:lnTo>
                    <a:pt x="114" y="717"/>
                  </a:lnTo>
                  <a:lnTo>
                    <a:pt x="116" y="717"/>
                  </a:lnTo>
                  <a:lnTo>
                    <a:pt x="114" y="717"/>
                  </a:lnTo>
                  <a:lnTo>
                    <a:pt x="116" y="717"/>
                  </a:lnTo>
                  <a:lnTo>
                    <a:pt x="116" y="718"/>
                  </a:lnTo>
                  <a:lnTo>
                    <a:pt x="114" y="718"/>
                  </a:lnTo>
                  <a:lnTo>
                    <a:pt x="116" y="718"/>
                  </a:lnTo>
                  <a:lnTo>
                    <a:pt x="114" y="718"/>
                  </a:lnTo>
                  <a:lnTo>
                    <a:pt x="114" y="717"/>
                  </a:lnTo>
                  <a:lnTo>
                    <a:pt x="112" y="717"/>
                  </a:lnTo>
                  <a:lnTo>
                    <a:pt x="114" y="717"/>
                  </a:lnTo>
                  <a:lnTo>
                    <a:pt x="114" y="718"/>
                  </a:lnTo>
                  <a:lnTo>
                    <a:pt x="114" y="717"/>
                  </a:lnTo>
                  <a:lnTo>
                    <a:pt x="112" y="717"/>
                  </a:lnTo>
                  <a:lnTo>
                    <a:pt x="110" y="717"/>
                  </a:lnTo>
                  <a:lnTo>
                    <a:pt x="110" y="715"/>
                  </a:lnTo>
                  <a:lnTo>
                    <a:pt x="112" y="717"/>
                  </a:lnTo>
                  <a:lnTo>
                    <a:pt x="112" y="715"/>
                  </a:lnTo>
                  <a:lnTo>
                    <a:pt x="110" y="715"/>
                  </a:lnTo>
                  <a:lnTo>
                    <a:pt x="110" y="717"/>
                  </a:lnTo>
                  <a:lnTo>
                    <a:pt x="110" y="715"/>
                  </a:lnTo>
                  <a:lnTo>
                    <a:pt x="108" y="715"/>
                  </a:lnTo>
                  <a:lnTo>
                    <a:pt x="108" y="717"/>
                  </a:lnTo>
                  <a:lnTo>
                    <a:pt x="108" y="715"/>
                  </a:lnTo>
                  <a:lnTo>
                    <a:pt x="108" y="717"/>
                  </a:lnTo>
                  <a:lnTo>
                    <a:pt x="108" y="715"/>
                  </a:lnTo>
                  <a:lnTo>
                    <a:pt x="108" y="713"/>
                  </a:lnTo>
                  <a:lnTo>
                    <a:pt x="108" y="715"/>
                  </a:lnTo>
                  <a:lnTo>
                    <a:pt x="106" y="715"/>
                  </a:lnTo>
                  <a:lnTo>
                    <a:pt x="106" y="713"/>
                  </a:lnTo>
                  <a:lnTo>
                    <a:pt x="106" y="715"/>
                  </a:lnTo>
                  <a:lnTo>
                    <a:pt x="108" y="715"/>
                  </a:lnTo>
                  <a:lnTo>
                    <a:pt x="106" y="715"/>
                  </a:lnTo>
                  <a:lnTo>
                    <a:pt x="108" y="715"/>
                  </a:lnTo>
                  <a:lnTo>
                    <a:pt x="106" y="715"/>
                  </a:lnTo>
                  <a:lnTo>
                    <a:pt x="106" y="713"/>
                  </a:lnTo>
                  <a:lnTo>
                    <a:pt x="104" y="713"/>
                  </a:lnTo>
                  <a:lnTo>
                    <a:pt x="106" y="713"/>
                  </a:lnTo>
                  <a:lnTo>
                    <a:pt x="104" y="713"/>
                  </a:lnTo>
                  <a:lnTo>
                    <a:pt x="104" y="711"/>
                  </a:lnTo>
                  <a:lnTo>
                    <a:pt x="104" y="709"/>
                  </a:lnTo>
                  <a:lnTo>
                    <a:pt x="102" y="709"/>
                  </a:lnTo>
                  <a:lnTo>
                    <a:pt x="104" y="709"/>
                  </a:lnTo>
                  <a:close/>
                  <a:moveTo>
                    <a:pt x="150" y="780"/>
                  </a:moveTo>
                  <a:lnTo>
                    <a:pt x="150" y="782"/>
                  </a:lnTo>
                  <a:lnTo>
                    <a:pt x="150" y="784"/>
                  </a:lnTo>
                  <a:lnTo>
                    <a:pt x="150" y="786"/>
                  </a:lnTo>
                  <a:lnTo>
                    <a:pt x="150" y="788"/>
                  </a:lnTo>
                  <a:lnTo>
                    <a:pt x="150" y="786"/>
                  </a:lnTo>
                  <a:lnTo>
                    <a:pt x="150" y="788"/>
                  </a:lnTo>
                  <a:lnTo>
                    <a:pt x="150" y="786"/>
                  </a:lnTo>
                  <a:lnTo>
                    <a:pt x="150" y="788"/>
                  </a:lnTo>
                  <a:lnTo>
                    <a:pt x="150" y="786"/>
                  </a:lnTo>
                  <a:lnTo>
                    <a:pt x="150" y="788"/>
                  </a:lnTo>
                  <a:lnTo>
                    <a:pt x="150" y="789"/>
                  </a:lnTo>
                  <a:lnTo>
                    <a:pt x="148" y="789"/>
                  </a:lnTo>
                  <a:lnTo>
                    <a:pt x="150" y="789"/>
                  </a:lnTo>
                  <a:lnTo>
                    <a:pt x="148" y="789"/>
                  </a:lnTo>
                  <a:lnTo>
                    <a:pt x="150" y="789"/>
                  </a:lnTo>
                  <a:lnTo>
                    <a:pt x="148" y="789"/>
                  </a:lnTo>
                  <a:lnTo>
                    <a:pt x="150" y="789"/>
                  </a:lnTo>
                  <a:lnTo>
                    <a:pt x="148" y="789"/>
                  </a:lnTo>
                  <a:lnTo>
                    <a:pt x="148" y="791"/>
                  </a:lnTo>
                  <a:lnTo>
                    <a:pt x="146" y="789"/>
                  </a:lnTo>
                  <a:lnTo>
                    <a:pt x="146" y="791"/>
                  </a:lnTo>
                  <a:lnTo>
                    <a:pt x="148" y="791"/>
                  </a:lnTo>
                  <a:lnTo>
                    <a:pt x="146" y="791"/>
                  </a:lnTo>
                  <a:lnTo>
                    <a:pt x="144" y="791"/>
                  </a:lnTo>
                  <a:lnTo>
                    <a:pt x="144" y="789"/>
                  </a:lnTo>
                  <a:lnTo>
                    <a:pt x="146" y="789"/>
                  </a:lnTo>
                  <a:lnTo>
                    <a:pt x="146" y="788"/>
                  </a:lnTo>
                  <a:lnTo>
                    <a:pt x="144" y="788"/>
                  </a:lnTo>
                  <a:lnTo>
                    <a:pt x="146" y="788"/>
                  </a:lnTo>
                  <a:lnTo>
                    <a:pt x="144" y="788"/>
                  </a:lnTo>
                  <a:lnTo>
                    <a:pt x="144" y="786"/>
                  </a:lnTo>
                  <a:lnTo>
                    <a:pt x="144" y="788"/>
                  </a:lnTo>
                  <a:lnTo>
                    <a:pt x="144" y="786"/>
                  </a:lnTo>
                  <a:lnTo>
                    <a:pt x="144" y="784"/>
                  </a:lnTo>
                  <a:lnTo>
                    <a:pt x="144" y="786"/>
                  </a:lnTo>
                  <a:lnTo>
                    <a:pt x="146" y="786"/>
                  </a:lnTo>
                  <a:lnTo>
                    <a:pt x="146" y="784"/>
                  </a:lnTo>
                  <a:lnTo>
                    <a:pt x="146" y="786"/>
                  </a:lnTo>
                  <a:lnTo>
                    <a:pt x="148" y="786"/>
                  </a:lnTo>
                  <a:lnTo>
                    <a:pt x="146" y="786"/>
                  </a:lnTo>
                  <a:lnTo>
                    <a:pt x="146" y="784"/>
                  </a:lnTo>
                  <a:lnTo>
                    <a:pt x="148" y="784"/>
                  </a:lnTo>
                  <a:lnTo>
                    <a:pt x="150" y="784"/>
                  </a:lnTo>
                  <a:lnTo>
                    <a:pt x="148" y="784"/>
                  </a:lnTo>
                  <a:lnTo>
                    <a:pt x="150" y="784"/>
                  </a:lnTo>
                  <a:lnTo>
                    <a:pt x="150" y="786"/>
                  </a:lnTo>
                  <a:lnTo>
                    <a:pt x="148" y="786"/>
                  </a:lnTo>
                  <a:lnTo>
                    <a:pt x="148" y="784"/>
                  </a:lnTo>
                  <a:lnTo>
                    <a:pt x="148" y="786"/>
                  </a:lnTo>
                  <a:lnTo>
                    <a:pt x="148" y="784"/>
                  </a:lnTo>
                  <a:lnTo>
                    <a:pt x="148" y="786"/>
                  </a:lnTo>
                  <a:lnTo>
                    <a:pt x="150" y="786"/>
                  </a:lnTo>
                  <a:lnTo>
                    <a:pt x="148" y="786"/>
                  </a:lnTo>
                  <a:lnTo>
                    <a:pt x="150" y="786"/>
                  </a:lnTo>
                  <a:lnTo>
                    <a:pt x="150" y="784"/>
                  </a:lnTo>
                  <a:lnTo>
                    <a:pt x="150" y="786"/>
                  </a:lnTo>
                  <a:lnTo>
                    <a:pt x="150" y="784"/>
                  </a:lnTo>
                  <a:lnTo>
                    <a:pt x="150" y="782"/>
                  </a:lnTo>
                  <a:lnTo>
                    <a:pt x="150" y="780"/>
                  </a:lnTo>
                  <a:close/>
                  <a:moveTo>
                    <a:pt x="12" y="549"/>
                  </a:moveTo>
                  <a:lnTo>
                    <a:pt x="14" y="549"/>
                  </a:lnTo>
                  <a:lnTo>
                    <a:pt x="14" y="551"/>
                  </a:lnTo>
                  <a:lnTo>
                    <a:pt x="14" y="553"/>
                  </a:lnTo>
                  <a:lnTo>
                    <a:pt x="14" y="551"/>
                  </a:lnTo>
                  <a:lnTo>
                    <a:pt x="12" y="551"/>
                  </a:lnTo>
                  <a:lnTo>
                    <a:pt x="14" y="551"/>
                  </a:lnTo>
                  <a:lnTo>
                    <a:pt x="14" y="553"/>
                  </a:lnTo>
                  <a:lnTo>
                    <a:pt x="14" y="555"/>
                  </a:lnTo>
                  <a:lnTo>
                    <a:pt x="14" y="553"/>
                  </a:lnTo>
                  <a:lnTo>
                    <a:pt x="14" y="555"/>
                  </a:lnTo>
                  <a:lnTo>
                    <a:pt x="16" y="555"/>
                  </a:lnTo>
                  <a:lnTo>
                    <a:pt x="14" y="555"/>
                  </a:lnTo>
                  <a:lnTo>
                    <a:pt x="16" y="555"/>
                  </a:lnTo>
                  <a:lnTo>
                    <a:pt x="14" y="555"/>
                  </a:lnTo>
                  <a:lnTo>
                    <a:pt x="16" y="555"/>
                  </a:lnTo>
                  <a:lnTo>
                    <a:pt x="16" y="557"/>
                  </a:lnTo>
                  <a:lnTo>
                    <a:pt x="16" y="555"/>
                  </a:lnTo>
                  <a:lnTo>
                    <a:pt x="16" y="557"/>
                  </a:lnTo>
                  <a:lnTo>
                    <a:pt x="14" y="557"/>
                  </a:lnTo>
                  <a:lnTo>
                    <a:pt x="12" y="557"/>
                  </a:lnTo>
                  <a:lnTo>
                    <a:pt x="12" y="555"/>
                  </a:lnTo>
                  <a:lnTo>
                    <a:pt x="12" y="557"/>
                  </a:lnTo>
                  <a:lnTo>
                    <a:pt x="12" y="555"/>
                  </a:lnTo>
                  <a:lnTo>
                    <a:pt x="12" y="557"/>
                  </a:lnTo>
                  <a:lnTo>
                    <a:pt x="12" y="555"/>
                  </a:lnTo>
                  <a:lnTo>
                    <a:pt x="12" y="553"/>
                  </a:lnTo>
                  <a:lnTo>
                    <a:pt x="10" y="553"/>
                  </a:lnTo>
                  <a:lnTo>
                    <a:pt x="10" y="555"/>
                  </a:lnTo>
                  <a:lnTo>
                    <a:pt x="10" y="557"/>
                  </a:lnTo>
                  <a:lnTo>
                    <a:pt x="10" y="559"/>
                  </a:lnTo>
                  <a:lnTo>
                    <a:pt x="12" y="559"/>
                  </a:lnTo>
                  <a:lnTo>
                    <a:pt x="10" y="559"/>
                  </a:lnTo>
                  <a:lnTo>
                    <a:pt x="10" y="557"/>
                  </a:lnTo>
                  <a:lnTo>
                    <a:pt x="10" y="559"/>
                  </a:lnTo>
                  <a:lnTo>
                    <a:pt x="10" y="561"/>
                  </a:lnTo>
                  <a:lnTo>
                    <a:pt x="8" y="561"/>
                  </a:lnTo>
                  <a:lnTo>
                    <a:pt x="8" y="563"/>
                  </a:lnTo>
                  <a:lnTo>
                    <a:pt x="8" y="561"/>
                  </a:lnTo>
                  <a:lnTo>
                    <a:pt x="8" y="563"/>
                  </a:lnTo>
                  <a:lnTo>
                    <a:pt x="8" y="561"/>
                  </a:lnTo>
                  <a:lnTo>
                    <a:pt x="8" y="563"/>
                  </a:lnTo>
                  <a:lnTo>
                    <a:pt x="8" y="561"/>
                  </a:lnTo>
                  <a:lnTo>
                    <a:pt x="8" y="563"/>
                  </a:lnTo>
                  <a:lnTo>
                    <a:pt x="8" y="561"/>
                  </a:lnTo>
                  <a:lnTo>
                    <a:pt x="6" y="561"/>
                  </a:lnTo>
                  <a:lnTo>
                    <a:pt x="8" y="561"/>
                  </a:lnTo>
                  <a:lnTo>
                    <a:pt x="6" y="561"/>
                  </a:lnTo>
                  <a:lnTo>
                    <a:pt x="8" y="561"/>
                  </a:lnTo>
                  <a:lnTo>
                    <a:pt x="6" y="561"/>
                  </a:lnTo>
                  <a:lnTo>
                    <a:pt x="8" y="561"/>
                  </a:lnTo>
                  <a:lnTo>
                    <a:pt x="6" y="561"/>
                  </a:lnTo>
                  <a:lnTo>
                    <a:pt x="8" y="561"/>
                  </a:lnTo>
                  <a:lnTo>
                    <a:pt x="6" y="561"/>
                  </a:lnTo>
                  <a:lnTo>
                    <a:pt x="8" y="561"/>
                  </a:lnTo>
                  <a:lnTo>
                    <a:pt x="6" y="561"/>
                  </a:lnTo>
                  <a:lnTo>
                    <a:pt x="8" y="561"/>
                  </a:lnTo>
                  <a:lnTo>
                    <a:pt x="6" y="561"/>
                  </a:lnTo>
                  <a:lnTo>
                    <a:pt x="8" y="561"/>
                  </a:lnTo>
                  <a:lnTo>
                    <a:pt x="6" y="561"/>
                  </a:lnTo>
                  <a:lnTo>
                    <a:pt x="8" y="561"/>
                  </a:lnTo>
                  <a:lnTo>
                    <a:pt x="6" y="561"/>
                  </a:lnTo>
                  <a:lnTo>
                    <a:pt x="8" y="561"/>
                  </a:lnTo>
                  <a:lnTo>
                    <a:pt x="6" y="561"/>
                  </a:lnTo>
                  <a:lnTo>
                    <a:pt x="8" y="561"/>
                  </a:lnTo>
                  <a:lnTo>
                    <a:pt x="6" y="561"/>
                  </a:lnTo>
                  <a:lnTo>
                    <a:pt x="8" y="561"/>
                  </a:lnTo>
                  <a:lnTo>
                    <a:pt x="6" y="561"/>
                  </a:lnTo>
                  <a:lnTo>
                    <a:pt x="6" y="559"/>
                  </a:lnTo>
                  <a:lnTo>
                    <a:pt x="8" y="559"/>
                  </a:lnTo>
                  <a:lnTo>
                    <a:pt x="8" y="557"/>
                  </a:lnTo>
                  <a:lnTo>
                    <a:pt x="6" y="557"/>
                  </a:lnTo>
                  <a:lnTo>
                    <a:pt x="8" y="557"/>
                  </a:lnTo>
                  <a:lnTo>
                    <a:pt x="6" y="557"/>
                  </a:lnTo>
                  <a:lnTo>
                    <a:pt x="8" y="557"/>
                  </a:lnTo>
                  <a:lnTo>
                    <a:pt x="6" y="557"/>
                  </a:lnTo>
                  <a:lnTo>
                    <a:pt x="8" y="557"/>
                  </a:lnTo>
                  <a:lnTo>
                    <a:pt x="8" y="555"/>
                  </a:lnTo>
                  <a:lnTo>
                    <a:pt x="10" y="555"/>
                  </a:lnTo>
                  <a:lnTo>
                    <a:pt x="8" y="555"/>
                  </a:lnTo>
                  <a:lnTo>
                    <a:pt x="8" y="553"/>
                  </a:lnTo>
                  <a:lnTo>
                    <a:pt x="10" y="553"/>
                  </a:lnTo>
                  <a:lnTo>
                    <a:pt x="8" y="553"/>
                  </a:lnTo>
                  <a:lnTo>
                    <a:pt x="10" y="553"/>
                  </a:lnTo>
                  <a:lnTo>
                    <a:pt x="10" y="551"/>
                  </a:lnTo>
                  <a:lnTo>
                    <a:pt x="10" y="549"/>
                  </a:lnTo>
                  <a:lnTo>
                    <a:pt x="12" y="549"/>
                  </a:lnTo>
                  <a:close/>
                  <a:moveTo>
                    <a:pt x="108" y="613"/>
                  </a:moveTo>
                  <a:lnTo>
                    <a:pt x="108" y="615"/>
                  </a:lnTo>
                  <a:lnTo>
                    <a:pt x="110" y="615"/>
                  </a:lnTo>
                  <a:lnTo>
                    <a:pt x="110" y="617"/>
                  </a:lnTo>
                  <a:lnTo>
                    <a:pt x="112" y="617"/>
                  </a:lnTo>
                  <a:lnTo>
                    <a:pt x="112" y="615"/>
                  </a:lnTo>
                  <a:lnTo>
                    <a:pt x="110" y="615"/>
                  </a:lnTo>
                  <a:lnTo>
                    <a:pt x="112" y="615"/>
                  </a:lnTo>
                  <a:lnTo>
                    <a:pt x="112" y="617"/>
                  </a:lnTo>
                  <a:lnTo>
                    <a:pt x="112" y="615"/>
                  </a:lnTo>
                  <a:lnTo>
                    <a:pt x="112" y="617"/>
                  </a:lnTo>
                  <a:lnTo>
                    <a:pt x="112" y="615"/>
                  </a:lnTo>
                  <a:lnTo>
                    <a:pt x="112" y="617"/>
                  </a:lnTo>
                  <a:lnTo>
                    <a:pt x="114" y="617"/>
                  </a:lnTo>
                  <a:lnTo>
                    <a:pt x="112" y="617"/>
                  </a:lnTo>
                  <a:lnTo>
                    <a:pt x="114" y="617"/>
                  </a:lnTo>
                  <a:lnTo>
                    <a:pt x="114" y="619"/>
                  </a:lnTo>
                  <a:lnTo>
                    <a:pt x="114" y="617"/>
                  </a:lnTo>
                  <a:lnTo>
                    <a:pt x="116" y="617"/>
                  </a:lnTo>
                  <a:lnTo>
                    <a:pt x="116" y="619"/>
                  </a:lnTo>
                  <a:lnTo>
                    <a:pt x="114" y="619"/>
                  </a:lnTo>
                  <a:lnTo>
                    <a:pt x="114" y="621"/>
                  </a:lnTo>
                  <a:lnTo>
                    <a:pt x="114" y="619"/>
                  </a:lnTo>
                  <a:lnTo>
                    <a:pt x="114" y="621"/>
                  </a:lnTo>
                  <a:lnTo>
                    <a:pt x="112" y="621"/>
                  </a:lnTo>
                  <a:lnTo>
                    <a:pt x="110" y="621"/>
                  </a:lnTo>
                  <a:lnTo>
                    <a:pt x="110" y="619"/>
                  </a:lnTo>
                  <a:lnTo>
                    <a:pt x="110" y="621"/>
                  </a:lnTo>
                  <a:lnTo>
                    <a:pt x="110" y="619"/>
                  </a:lnTo>
                  <a:lnTo>
                    <a:pt x="108" y="619"/>
                  </a:lnTo>
                  <a:lnTo>
                    <a:pt x="106" y="619"/>
                  </a:lnTo>
                  <a:lnTo>
                    <a:pt x="106" y="617"/>
                  </a:lnTo>
                  <a:lnTo>
                    <a:pt x="106" y="615"/>
                  </a:lnTo>
                  <a:lnTo>
                    <a:pt x="106" y="613"/>
                  </a:lnTo>
                  <a:lnTo>
                    <a:pt x="108" y="613"/>
                  </a:lnTo>
                  <a:close/>
                  <a:moveTo>
                    <a:pt x="118" y="609"/>
                  </a:moveTo>
                  <a:lnTo>
                    <a:pt x="118" y="611"/>
                  </a:lnTo>
                  <a:lnTo>
                    <a:pt x="118" y="609"/>
                  </a:lnTo>
                  <a:lnTo>
                    <a:pt x="118" y="611"/>
                  </a:lnTo>
                  <a:lnTo>
                    <a:pt x="118" y="613"/>
                  </a:lnTo>
                  <a:lnTo>
                    <a:pt x="118" y="615"/>
                  </a:lnTo>
                  <a:lnTo>
                    <a:pt x="116" y="615"/>
                  </a:lnTo>
                  <a:lnTo>
                    <a:pt x="118" y="615"/>
                  </a:lnTo>
                  <a:lnTo>
                    <a:pt x="116" y="615"/>
                  </a:lnTo>
                  <a:lnTo>
                    <a:pt x="116" y="617"/>
                  </a:lnTo>
                  <a:lnTo>
                    <a:pt x="114" y="617"/>
                  </a:lnTo>
                  <a:lnTo>
                    <a:pt x="114" y="615"/>
                  </a:lnTo>
                  <a:lnTo>
                    <a:pt x="112" y="615"/>
                  </a:lnTo>
                  <a:lnTo>
                    <a:pt x="114" y="615"/>
                  </a:lnTo>
                  <a:lnTo>
                    <a:pt x="112" y="615"/>
                  </a:lnTo>
                  <a:lnTo>
                    <a:pt x="110" y="615"/>
                  </a:lnTo>
                  <a:lnTo>
                    <a:pt x="110" y="613"/>
                  </a:lnTo>
                  <a:lnTo>
                    <a:pt x="110" y="611"/>
                  </a:lnTo>
                  <a:lnTo>
                    <a:pt x="112" y="611"/>
                  </a:lnTo>
                  <a:lnTo>
                    <a:pt x="114" y="611"/>
                  </a:lnTo>
                  <a:lnTo>
                    <a:pt x="114" y="613"/>
                  </a:lnTo>
                  <a:lnTo>
                    <a:pt x="114" y="611"/>
                  </a:lnTo>
                  <a:lnTo>
                    <a:pt x="114" y="613"/>
                  </a:lnTo>
                  <a:lnTo>
                    <a:pt x="114" y="611"/>
                  </a:lnTo>
                  <a:lnTo>
                    <a:pt x="114" y="609"/>
                  </a:lnTo>
                  <a:lnTo>
                    <a:pt x="116" y="609"/>
                  </a:lnTo>
                  <a:lnTo>
                    <a:pt x="114" y="609"/>
                  </a:lnTo>
                  <a:lnTo>
                    <a:pt x="114" y="611"/>
                  </a:lnTo>
                  <a:lnTo>
                    <a:pt x="116" y="611"/>
                  </a:lnTo>
                  <a:lnTo>
                    <a:pt x="116" y="609"/>
                  </a:lnTo>
                  <a:lnTo>
                    <a:pt x="116" y="611"/>
                  </a:lnTo>
                  <a:lnTo>
                    <a:pt x="116" y="609"/>
                  </a:lnTo>
                  <a:lnTo>
                    <a:pt x="116" y="611"/>
                  </a:lnTo>
                  <a:lnTo>
                    <a:pt x="116" y="609"/>
                  </a:lnTo>
                  <a:lnTo>
                    <a:pt x="118" y="609"/>
                  </a:lnTo>
                  <a:lnTo>
                    <a:pt x="116" y="609"/>
                  </a:lnTo>
                  <a:lnTo>
                    <a:pt x="118" y="609"/>
                  </a:lnTo>
                  <a:close/>
                  <a:moveTo>
                    <a:pt x="139" y="759"/>
                  </a:moveTo>
                  <a:lnTo>
                    <a:pt x="141" y="759"/>
                  </a:lnTo>
                  <a:lnTo>
                    <a:pt x="141" y="761"/>
                  </a:lnTo>
                  <a:lnTo>
                    <a:pt x="141" y="759"/>
                  </a:lnTo>
                  <a:lnTo>
                    <a:pt x="141" y="761"/>
                  </a:lnTo>
                  <a:lnTo>
                    <a:pt x="141" y="759"/>
                  </a:lnTo>
                  <a:lnTo>
                    <a:pt x="141" y="761"/>
                  </a:lnTo>
                  <a:lnTo>
                    <a:pt x="143" y="761"/>
                  </a:lnTo>
                  <a:lnTo>
                    <a:pt x="143" y="759"/>
                  </a:lnTo>
                  <a:lnTo>
                    <a:pt x="144" y="759"/>
                  </a:lnTo>
                  <a:lnTo>
                    <a:pt x="144" y="761"/>
                  </a:lnTo>
                  <a:lnTo>
                    <a:pt x="144" y="763"/>
                  </a:lnTo>
                  <a:lnTo>
                    <a:pt x="146" y="763"/>
                  </a:lnTo>
                  <a:lnTo>
                    <a:pt x="144" y="763"/>
                  </a:lnTo>
                  <a:lnTo>
                    <a:pt x="143" y="765"/>
                  </a:lnTo>
                  <a:lnTo>
                    <a:pt x="143" y="763"/>
                  </a:lnTo>
                  <a:lnTo>
                    <a:pt x="143" y="765"/>
                  </a:lnTo>
                  <a:lnTo>
                    <a:pt x="141" y="765"/>
                  </a:lnTo>
                  <a:lnTo>
                    <a:pt x="139" y="765"/>
                  </a:lnTo>
                  <a:lnTo>
                    <a:pt x="137" y="765"/>
                  </a:lnTo>
                  <a:lnTo>
                    <a:pt x="139" y="765"/>
                  </a:lnTo>
                  <a:lnTo>
                    <a:pt x="137" y="765"/>
                  </a:lnTo>
                  <a:lnTo>
                    <a:pt x="137" y="763"/>
                  </a:lnTo>
                  <a:lnTo>
                    <a:pt x="137" y="761"/>
                  </a:lnTo>
                  <a:lnTo>
                    <a:pt x="135" y="761"/>
                  </a:lnTo>
                  <a:lnTo>
                    <a:pt x="137" y="761"/>
                  </a:lnTo>
                  <a:lnTo>
                    <a:pt x="139" y="761"/>
                  </a:lnTo>
                  <a:lnTo>
                    <a:pt x="139" y="759"/>
                  </a:lnTo>
                  <a:close/>
                  <a:moveTo>
                    <a:pt x="166" y="822"/>
                  </a:moveTo>
                  <a:lnTo>
                    <a:pt x="166" y="824"/>
                  </a:lnTo>
                  <a:lnTo>
                    <a:pt x="168" y="824"/>
                  </a:lnTo>
                  <a:lnTo>
                    <a:pt x="166" y="824"/>
                  </a:lnTo>
                  <a:lnTo>
                    <a:pt x="168" y="824"/>
                  </a:lnTo>
                  <a:lnTo>
                    <a:pt x="166" y="824"/>
                  </a:lnTo>
                  <a:lnTo>
                    <a:pt x="168" y="824"/>
                  </a:lnTo>
                  <a:lnTo>
                    <a:pt x="166" y="824"/>
                  </a:lnTo>
                  <a:lnTo>
                    <a:pt x="168" y="824"/>
                  </a:lnTo>
                  <a:lnTo>
                    <a:pt x="166" y="824"/>
                  </a:lnTo>
                  <a:lnTo>
                    <a:pt x="168" y="824"/>
                  </a:lnTo>
                  <a:lnTo>
                    <a:pt x="169" y="824"/>
                  </a:lnTo>
                  <a:lnTo>
                    <a:pt x="171" y="824"/>
                  </a:lnTo>
                  <a:lnTo>
                    <a:pt x="171" y="826"/>
                  </a:lnTo>
                  <a:lnTo>
                    <a:pt x="171" y="824"/>
                  </a:lnTo>
                  <a:lnTo>
                    <a:pt x="171" y="826"/>
                  </a:lnTo>
                  <a:lnTo>
                    <a:pt x="169" y="826"/>
                  </a:lnTo>
                  <a:lnTo>
                    <a:pt x="168" y="826"/>
                  </a:lnTo>
                  <a:lnTo>
                    <a:pt x="168" y="828"/>
                  </a:lnTo>
                  <a:lnTo>
                    <a:pt x="166" y="828"/>
                  </a:lnTo>
                  <a:lnTo>
                    <a:pt x="168" y="828"/>
                  </a:lnTo>
                  <a:lnTo>
                    <a:pt x="168" y="826"/>
                  </a:lnTo>
                  <a:lnTo>
                    <a:pt x="168" y="828"/>
                  </a:lnTo>
                  <a:lnTo>
                    <a:pt x="168" y="826"/>
                  </a:lnTo>
                  <a:lnTo>
                    <a:pt x="166" y="826"/>
                  </a:lnTo>
                  <a:lnTo>
                    <a:pt x="166" y="828"/>
                  </a:lnTo>
                  <a:lnTo>
                    <a:pt x="166" y="830"/>
                  </a:lnTo>
                  <a:lnTo>
                    <a:pt x="164" y="830"/>
                  </a:lnTo>
                  <a:lnTo>
                    <a:pt x="164" y="828"/>
                  </a:lnTo>
                  <a:lnTo>
                    <a:pt x="162" y="828"/>
                  </a:lnTo>
                  <a:lnTo>
                    <a:pt x="164" y="828"/>
                  </a:lnTo>
                  <a:lnTo>
                    <a:pt x="162" y="828"/>
                  </a:lnTo>
                  <a:lnTo>
                    <a:pt x="162" y="826"/>
                  </a:lnTo>
                  <a:lnTo>
                    <a:pt x="164" y="826"/>
                  </a:lnTo>
                  <a:lnTo>
                    <a:pt x="164" y="824"/>
                  </a:lnTo>
                  <a:lnTo>
                    <a:pt x="164" y="826"/>
                  </a:lnTo>
                  <a:lnTo>
                    <a:pt x="162" y="826"/>
                  </a:lnTo>
                  <a:lnTo>
                    <a:pt x="162" y="824"/>
                  </a:lnTo>
                  <a:lnTo>
                    <a:pt x="164" y="824"/>
                  </a:lnTo>
                  <a:lnTo>
                    <a:pt x="166" y="824"/>
                  </a:lnTo>
                  <a:lnTo>
                    <a:pt x="166" y="822"/>
                  </a:lnTo>
                  <a:close/>
                  <a:moveTo>
                    <a:pt x="162" y="782"/>
                  </a:moveTo>
                  <a:lnTo>
                    <a:pt x="164" y="782"/>
                  </a:lnTo>
                  <a:lnTo>
                    <a:pt x="164" y="784"/>
                  </a:lnTo>
                  <a:lnTo>
                    <a:pt x="164" y="786"/>
                  </a:lnTo>
                  <a:lnTo>
                    <a:pt x="162" y="786"/>
                  </a:lnTo>
                  <a:lnTo>
                    <a:pt x="164" y="786"/>
                  </a:lnTo>
                  <a:lnTo>
                    <a:pt x="162" y="786"/>
                  </a:lnTo>
                  <a:lnTo>
                    <a:pt x="162" y="788"/>
                  </a:lnTo>
                  <a:lnTo>
                    <a:pt x="162" y="789"/>
                  </a:lnTo>
                  <a:lnTo>
                    <a:pt x="160" y="789"/>
                  </a:lnTo>
                  <a:lnTo>
                    <a:pt x="158" y="789"/>
                  </a:lnTo>
                  <a:lnTo>
                    <a:pt x="158" y="788"/>
                  </a:lnTo>
                  <a:lnTo>
                    <a:pt x="158" y="786"/>
                  </a:lnTo>
                  <a:lnTo>
                    <a:pt x="160" y="786"/>
                  </a:lnTo>
                  <a:lnTo>
                    <a:pt x="160" y="784"/>
                  </a:lnTo>
                  <a:lnTo>
                    <a:pt x="160" y="786"/>
                  </a:lnTo>
                  <a:lnTo>
                    <a:pt x="162" y="784"/>
                  </a:lnTo>
                  <a:lnTo>
                    <a:pt x="162" y="782"/>
                  </a:lnTo>
                  <a:lnTo>
                    <a:pt x="162" y="784"/>
                  </a:lnTo>
                  <a:lnTo>
                    <a:pt x="160" y="784"/>
                  </a:lnTo>
                  <a:lnTo>
                    <a:pt x="160" y="786"/>
                  </a:lnTo>
                  <a:lnTo>
                    <a:pt x="158" y="786"/>
                  </a:lnTo>
                  <a:lnTo>
                    <a:pt x="158" y="784"/>
                  </a:lnTo>
                  <a:lnTo>
                    <a:pt x="156" y="784"/>
                  </a:lnTo>
                  <a:lnTo>
                    <a:pt x="158" y="784"/>
                  </a:lnTo>
                  <a:lnTo>
                    <a:pt x="158" y="782"/>
                  </a:lnTo>
                  <a:lnTo>
                    <a:pt x="160" y="782"/>
                  </a:lnTo>
                  <a:lnTo>
                    <a:pt x="162" y="782"/>
                  </a:lnTo>
                  <a:close/>
                  <a:moveTo>
                    <a:pt x="118" y="599"/>
                  </a:moveTo>
                  <a:lnTo>
                    <a:pt x="118" y="601"/>
                  </a:lnTo>
                  <a:lnTo>
                    <a:pt x="118" y="603"/>
                  </a:lnTo>
                  <a:lnTo>
                    <a:pt x="116" y="603"/>
                  </a:lnTo>
                  <a:lnTo>
                    <a:pt x="116" y="605"/>
                  </a:lnTo>
                  <a:lnTo>
                    <a:pt x="116" y="607"/>
                  </a:lnTo>
                  <a:lnTo>
                    <a:pt x="116" y="605"/>
                  </a:lnTo>
                  <a:lnTo>
                    <a:pt x="116" y="607"/>
                  </a:lnTo>
                  <a:lnTo>
                    <a:pt x="116" y="605"/>
                  </a:lnTo>
                  <a:lnTo>
                    <a:pt x="114" y="605"/>
                  </a:lnTo>
                  <a:lnTo>
                    <a:pt x="114" y="607"/>
                  </a:lnTo>
                  <a:lnTo>
                    <a:pt x="114" y="605"/>
                  </a:lnTo>
                  <a:lnTo>
                    <a:pt x="114" y="607"/>
                  </a:lnTo>
                  <a:lnTo>
                    <a:pt x="114" y="605"/>
                  </a:lnTo>
                  <a:lnTo>
                    <a:pt x="112" y="605"/>
                  </a:lnTo>
                  <a:lnTo>
                    <a:pt x="114" y="605"/>
                  </a:lnTo>
                  <a:lnTo>
                    <a:pt x="112" y="605"/>
                  </a:lnTo>
                  <a:lnTo>
                    <a:pt x="112" y="607"/>
                  </a:lnTo>
                  <a:lnTo>
                    <a:pt x="110" y="607"/>
                  </a:lnTo>
                  <a:lnTo>
                    <a:pt x="112" y="607"/>
                  </a:lnTo>
                  <a:lnTo>
                    <a:pt x="110" y="607"/>
                  </a:lnTo>
                  <a:lnTo>
                    <a:pt x="110" y="605"/>
                  </a:lnTo>
                  <a:lnTo>
                    <a:pt x="110" y="603"/>
                  </a:lnTo>
                  <a:lnTo>
                    <a:pt x="110" y="605"/>
                  </a:lnTo>
                  <a:lnTo>
                    <a:pt x="112" y="605"/>
                  </a:lnTo>
                  <a:lnTo>
                    <a:pt x="110" y="605"/>
                  </a:lnTo>
                  <a:lnTo>
                    <a:pt x="110" y="603"/>
                  </a:lnTo>
                  <a:lnTo>
                    <a:pt x="112" y="603"/>
                  </a:lnTo>
                  <a:lnTo>
                    <a:pt x="114" y="603"/>
                  </a:lnTo>
                  <a:lnTo>
                    <a:pt x="114" y="601"/>
                  </a:lnTo>
                  <a:lnTo>
                    <a:pt x="116" y="601"/>
                  </a:lnTo>
                  <a:lnTo>
                    <a:pt x="116" y="599"/>
                  </a:lnTo>
                  <a:lnTo>
                    <a:pt x="118" y="599"/>
                  </a:lnTo>
                  <a:close/>
                  <a:moveTo>
                    <a:pt x="108" y="592"/>
                  </a:moveTo>
                  <a:lnTo>
                    <a:pt x="110" y="592"/>
                  </a:lnTo>
                  <a:lnTo>
                    <a:pt x="112" y="592"/>
                  </a:lnTo>
                  <a:lnTo>
                    <a:pt x="112" y="594"/>
                  </a:lnTo>
                  <a:lnTo>
                    <a:pt x="114" y="594"/>
                  </a:lnTo>
                  <a:lnTo>
                    <a:pt x="112" y="594"/>
                  </a:lnTo>
                  <a:lnTo>
                    <a:pt x="114" y="594"/>
                  </a:lnTo>
                  <a:lnTo>
                    <a:pt x="114" y="596"/>
                  </a:lnTo>
                  <a:lnTo>
                    <a:pt x="114" y="594"/>
                  </a:lnTo>
                  <a:lnTo>
                    <a:pt x="112" y="594"/>
                  </a:lnTo>
                  <a:lnTo>
                    <a:pt x="114" y="594"/>
                  </a:lnTo>
                  <a:lnTo>
                    <a:pt x="112" y="594"/>
                  </a:lnTo>
                  <a:lnTo>
                    <a:pt x="112" y="596"/>
                  </a:lnTo>
                  <a:lnTo>
                    <a:pt x="112" y="594"/>
                  </a:lnTo>
                  <a:lnTo>
                    <a:pt x="112" y="596"/>
                  </a:lnTo>
                  <a:lnTo>
                    <a:pt x="112" y="594"/>
                  </a:lnTo>
                  <a:lnTo>
                    <a:pt x="112" y="596"/>
                  </a:lnTo>
                  <a:lnTo>
                    <a:pt x="110" y="596"/>
                  </a:lnTo>
                  <a:lnTo>
                    <a:pt x="108" y="596"/>
                  </a:lnTo>
                  <a:lnTo>
                    <a:pt x="110" y="596"/>
                  </a:lnTo>
                  <a:lnTo>
                    <a:pt x="108" y="596"/>
                  </a:lnTo>
                  <a:lnTo>
                    <a:pt x="108" y="597"/>
                  </a:lnTo>
                  <a:lnTo>
                    <a:pt x="108" y="596"/>
                  </a:lnTo>
                  <a:lnTo>
                    <a:pt x="108" y="597"/>
                  </a:lnTo>
                  <a:lnTo>
                    <a:pt x="108" y="596"/>
                  </a:lnTo>
                  <a:lnTo>
                    <a:pt x="108" y="597"/>
                  </a:lnTo>
                  <a:lnTo>
                    <a:pt x="106" y="597"/>
                  </a:lnTo>
                  <a:lnTo>
                    <a:pt x="106" y="596"/>
                  </a:lnTo>
                  <a:lnTo>
                    <a:pt x="104" y="596"/>
                  </a:lnTo>
                  <a:lnTo>
                    <a:pt x="104" y="594"/>
                  </a:lnTo>
                  <a:lnTo>
                    <a:pt x="106" y="594"/>
                  </a:lnTo>
                  <a:lnTo>
                    <a:pt x="108" y="594"/>
                  </a:lnTo>
                  <a:lnTo>
                    <a:pt x="108" y="592"/>
                  </a:lnTo>
                  <a:close/>
                  <a:moveTo>
                    <a:pt x="120" y="567"/>
                  </a:moveTo>
                  <a:lnTo>
                    <a:pt x="120" y="569"/>
                  </a:lnTo>
                  <a:lnTo>
                    <a:pt x="120" y="571"/>
                  </a:lnTo>
                  <a:lnTo>
                    <a:pt x="120" y="573"/>
                  </a:lnTo>
                  <a:lnTo>
                    <a:pt x="118" y="573"/>
                  </a:lnTo>
                  <a:lnTo>
                    <a:pt x="118" y="574"/>
                  </a:lnTo>
                  <a:lnTo>
                    <a:pt x="118" y="573"/>
                  </a:lnTo>
                  <a:lnTo>
                    <a:pt x="116" y="574"/>
                  </a:lnTo>
                  <a:lnTo>
                    <a:pt x="116" y="576"/>
                  </a:lnTo>
                  <a:lnTo>
                    <a:pt x="116" y="578"/>
                  </a:lnTo>
                  <a:lnTo>
                    <a:pt x="114" y="578"/>
                  </a:lnTo>
                  <a:lnTo>
                    <a:pt x="112" y="578"/>
                  </a:lnTo>
                  <a:lnTo>
                    <a:pt x="112" y="580"/>
                  </a:lnTo>
                  <a:lnTo>
                    <a:pt x="112" y="578"/>
                  </a:lnTo>
                  <a:lnTo>
                    <a:pt x="112" y="576"/>
                  </a:lnTo>
                  <a:lnTo>
                    <a:pt x="114" y="576"/>
                  </a:lnTo>
                  <a:lnTo>
                    <a:pt x="114" y="574"/>
                  </a:lnTo>
                  <a:lnTo>
                    <a:pt x="114" y="573"/>
                  </a:lnTo>
                  <a:lnTo>
                    <a:pt x="116" y="573"/>
                  </a:lnTo>
                  <a:lnTo>
                    <a:pt x="116" y="571"/>
                  </a:lnTo>
                  <a:lnTo>
                    <a:pt x="118" y="571"/>
                  </a:lnTo>
                  <a:lnTo>
                    <a:pt x="118" y="569"/>
                  </a:lnTo>
                  <a:lnTo>
                    <a:pt x="120" y="569"/>
                  </a:lnTo>
                  <a:lnTo>
                    <a:pt x="120" y="567"/>
                  </a:lnTo>
                  <a:close/>
                  <a:moveTo>
                    <a:pt x="87" y="816"/>
                  </a:moveTo>
                  <a:lnTo>
                    <a:pt x="89" y="816"/>
                  </a:lnTo>
                  <a:lnTo>
                    <a:pt x="91" y="816"/>
                  </a:lnTo>
                  <a:lnTo>
                    <a:pt x="91" y="818"/>
                  </a:lnTo>
                  <a:lnTo>
                    <a:pt x="91" y="820"/>
                  </a:lnTo>
                  <a:lnTo>
                    <a:pt x="91" y="818"/>
                  </a:lnTo>
                  <a:lnTo>
                    <a:pt x="89" y="818"/>
                  </a:lnTo>
                  <a:lnTo>
                    <a:pt x="89" y="820"/>
                  </a:lnTo>
                  <a:lnTo>
                    <a:pt x="89" y="818"/>
                  </a:lnTo>
                  <a:lnTo>
                    <a:pt x="89" y="820"/>
                  </a:lnTo>
                  <a:lnTo>
                    <a:pt x="89" y="822"/>
                  </a:lnTo>
                  <a:lnTo>
                    <a:pt x="87" y="822"/>
                  </a:lnTo>
                  <a:lnTo>
                    <a:pt x="89" y="822"/>
                  </a:lnTo>
                  <a:lnTo>
                    <a:pt x="87" y="822"/>
                  </a:lnTo>
                  <a:lnTo>
                    <a:pt x="87" y="824"/>
                  </a:lnTo>
                  <a:lnTo>
                    <a:pt x="87" y="822"/>
                  </a:lnTo>
                  <a:lnTo>
                    <a:pt x="87" y="824"/>
                  </a:lnTo>
                  <a:lnTo>
                    <a:pt x="87" y="822"/>
                  </a:lnTo>
                  <a:lnTo>
                    <a:pt x="85" y="822"/>
                  </a:lnTo>
                  <a:lnTo>
                    <a:pt x="85" y="820"/>
                  </a:lnTo>
                  <a:lnTo>
                    <a:pt x="87" y="820"/>
                  </a:lnTo>
                  <a:lnTo>
                    <a:pt x="87" y="818"/>
                  </a:lnTo>
                  <a:lnTo>
                    <a:pt x="89" y="818"/>
                  </a:lnTo>
                  <a:lnTo>
                    <a:pt x="89" y="816"/>
                  </a:lnTo>
                  <a:lnTo>
                    <a:pt x="87" y="816"/>
                  </a:lnTo>
                  <a:lnTo>
                    <a:pt x="89" y="816"/>
                  </a:lnTo>
                  <a:lnTo>
                    <a:pt x="89" y="818"/>
                  </a:lnTo>
                  <a:lnTo>
                    <a:pt x="87" y="818"/>
                  </a:lnTo>
                  <a:lnTo>
                    <a:pt x="87" y="816"/>
                  </a:lnTo>
                  <a:lnTo>
                    <a:pt x="87" y="818"/>
                  </a:lnTo>
                  <a:lnTo>
                    <a:pt x="87" y="816"/>
                  </a:lnTo>
                  <a:lnTo>
                    <a:pt x="87" y="818"/>
                  </a:lnTo>
                  <a:lnTo>
                    <a:pt x="85" y="818"/>
                  </a:lnTo>
                  <a:lnTo>
                    <a:pt x="85" y="816"/>
                  </a:lnTo>
                  <a:lnTo>
                    <a:pt x="87" y="816"/>
                  </a:lnTo>
                  <a:close/>
                  <a:moveTo>
                    <a:pt x="93" y="713"/>
                  </a:moveTo>
                  <a:lnTo>
                    <a:pt x="93" y="715"/>
                  </a:lnTo>
                  <a:lnTo>
                    <a:pt x="95" y="715"/>
                  </a:lnTo>
                  <a:lnTo>
                    <a:pt x="95" y="717"/>
                  </a:lnTo>
                  <a:lnTo>
                    <a:pt x="96" y="717"/>
                  </a:lnTo>
                  <a:lnTo>
                    <a:pt x="96" y="718"/>
                  </a:lnTo>
                  <a:lnTo>
                    <a:pt x="98" y="718"/>
                  </a:lnTo>
                  <a:lnTo>
                    <a:pt x="98" y="717"/>
                  </a:lnTo>
                  <a:lnTo>
                    <a:pt x="98" y="718"/>
                  </a:lnTo>
                  <a:lnTo>
                    <a:pt x="98" y="720"/>
                  </a:lnTo>
                  <a:lnTo>
                    <a:pt x="100" y="720"/>
                  </a:lnTo>
                  <a:lnTo>
                    <a:pt x="100" y="722"/>
                  </a:lnTo>
                  <a:lnTo>
                    <a:pt x="98" y="722"/>
                  </a:lnTo>
                  <a:lnTo>
                    <a:pt x="98" y="720"/>
                  </a:lnTo>
                  <a:lnTo>
                    <a:pt x="96" y="720"/>
                  </a:lnTo>
                  <a:lnTo>
                    <a:pt x="96" y="718"/>
                  </a:lnTo>
                  <a:lnTo>
                    <a:pt x="95" y="718"/>
                  </a:lnTo>
                  <a:lnTo>
                    <a:pt x="93" y="718"/>
                  </a:lnTo>
                  <a:lnTo>
                    <a:pt x="93" y="717"/>
                  </a:lnTo>
                  <a:lnTo>
                    <a:pt x="91" y="717"/>
                  </a:lnTo>
                  <a:lnTo>
                    <a:pt x="91" y="715"/>
                  </a:lnTo>
                  <a:lnTo>
                    <a:pt x="89" y="715"/>
                  </a:lnTo>
                  <a:lnTo>
                    <a:pt x="89" y="713"/>
                  </a:lnTo>
                  <a:lnTo>
                    <a:pt x="91" y="713"/>
                  </a:lnTo>
                  <a:lnTo>
                    <a:pt x="93" y="713"/>
                  </a:lnTo>
                  <a:close/>
                  <a:moveTo>
                    <a:pt x="129" y="755"/>
                  </a:moveTo>
                  <a:lnTo>
                    <a:pt x="131" y="755"/>
                  </a:lnTo>
                  <a:lnTo>
                    <a:pt x="131" y="757"/>
                  </a:lnTo>
                  <a:lnTo>
                    <a:pt x="133" y="757"/>
                  </a:lnTo>
                  <a:lnTo>
                    <a:pt x="135" y="757"/>
                  </a:lnTo>
                  <a:lnTo>
                    <a:pt x="137" y="757"/>
                  </a:lnTo>
                  <a:lnTo>
                    <a:pt x="139" y="757"/>
                  </a:lnTo>
                  <a:lnTo>
                    <a:pt x="139" y="759"/>
                  </a:lnTo>
                  <a:lnTo>
                    <a:pt x="139" y="761"/>
                  </a:lnTo>
                  <a:lnTo>
                    <a:pt x="137" y="761"/>
                  </a:lnTo>
                  <a:lnTo>
                    <a:pt x="137" y="759"/>
                  </a:lnTo>
                  <a:lnTo>
                    <a:pt x="137" y="761"/>
                  </a:lnTo>
                  <a:lnTo>
                    <a:pt x="137" y="759"/>
                  </a:lnTo>
                  <a:lnTo>
                    <a:pt x="135" y="759"/>
                  </a:lnTo>
                  <a:lnTo>
                    <a:pt x="135" y="761"/>
                  </a:lnTo>
                  <a:lnTo>
                    <a:pt x="135" y="759"/>
                  </a:lnTo>
                  <a:lnTo>
                    <a:pt x="135" y="761"/>
                  </a:lnTo>
                  <a:lnTo>
                    <a:pt x="135" y="759"/>
                  </a:lnTo>
                  <a:lnTo>
                    <a:pt x="135" y="761"/>
                  </a:lnTo>
                  <a:lnTo>
                    <a:pt x="135" y="759"/>
                  </a:lnTo>
                  <a:lnTo>
                    <a:pt x="133" y="759"/>
                  </a:lnTo>
                  <a:lnTo>
                    <a:pt x="131" y="759"/>
                  </a:lnTo>
                  <a:lnTo>
                    <a:pt x="131" y="757"/>
                  </a:lnTo>
                  <a:lnTo>
                    <a:pt x="129" y="757"/>
                  </a:lnTo>
                  <a:lnTo>
                    <a:pt x="127" y="757"/>
                  </a:lnTo>
                  <a:lnTo>
                    <a:pt x="127" y="755"/>
                  </a:lnTo>
                  <a:lnTo>
                    <a:pt x="129" y="755"/>
                  </a:lnTo>
                  <a:lnTo>
                    <a:pt x="127" y="755"/>
                  </a:lnTo>
                  <a:lnTo>
                    <a:pt x="129" y="755"/>
                  </a:lnTo>
                  <a:close/>
                  <a:moveTo>
                    <a:pt x="123" y="749"/>
                  </a:moveTo>
                  <a:lnTo>
                    <a:pt x="125" y="749"/>
                  </a:lnTo>
                  <a:lnTo>
                    <a:pt x="127" y="749"/>
                  </a:lnTo>
                  <a:lnTo>
                    <a:pt x="129" y="749"/>
                  </a:lnTo>
                  <a:lnTo>
                    <a:pt x="129" y="751"/>
                  </a:lnTo>
                  <a:lnTo>
                    <a:pt x="131" y="751"/>
                  </a:lnTo>
                  <a:lnTo>
                    <a:pt x="129" y="751"/>
                  </a:lnTo>
                  <a:lnTo>
                    <a:pt x="131" y="751"/>
                  </a:lnTo>
                  <a:lnTo>
                    <a:pt x="131" y="753"/>
                  </a:lnTo>
                  <a:lnTo>
                    <a:pt x="131" y="755"/>
                  </a:lnTo>
                  <a:lnTo>
                    <a:pt x="129" y="755"/>
                  </a:lnTo>
                  <a:lnTo>
                    <a:pt x="127" y="755"/>
                  </a:lnTo>
                  <a:lnTo>
                    <a:pt x="127" y="753"/>
                  </a:lnTo>
                  <a:lnTo>
                    <a:pt x="125" y="753"/>
                  </a:lnTo>
                  <a:lnTo>
                    <a:pt x="125" y="751"/>
                  </a:lnTo>
                  <a:lnTo>
                    <a:pt x="123" y="751"/>
                  </a:lnTo>
                  <a:lnTo>
                    <a:pt x="123" y="749"/>
                  </a:lnTo>
                  <a:close/>
                  <a:moveTo>
                    <a:pt x="185" y="849"/>
                  </a:moveTo>
                  <a:lnTo>
                    <a:pt x="185" y="851"/>
                  </a:lnTo>
                  <a:lnTo>
                    <a:pt x="187" y="851"/>
                  </a:lnTo>
                  <a:lnTo>
                    <a:pt x="187" y="853"/>
                  </a:lnTo>
                  <a:lnTo>
                    <a:pt x="187" y="855"/>
                  </a:lnTo>
                  <a:lnTo>
                    <a:pt x="187" y="857"/>
                  </a:lnTo>
                  <a:lnTo>
                    <a:pt x="185" y="857"/>
                  </a:lnTo>
                  <a:lnTo>
                    <a:pt x="187" y="857"/>
                  </a:lnTo>
                  <a:lnTo>
                    <a:pt x="187" y="855"/>
                  </a:lnTo>
                  <a:lnTo>
                    <a:pt x="185" y="855"/>
                  </a:lnTo>
                  <a:lnTo>
                    <a:pt x="185" y="857"/>
                  </a:lnTo>
                  <a:lnTo>
                    <a:pt x="183" y="857"/>
                  </a:lnTo>
                  <a:lnTo>
                    <a:pt x="183" y="855"/>
                  </a:lnTo>
                  <a:lnTo>
                    <a:pt x="185" y="855"/>
                  </a:lnTo>
                  <a:lnTo>
                    <a:pt x="187" y="855"/>
                  </a:lnTo>
                  <a:lnTo>
                    <a:pt x="185" y="855"/>
                  </a:lnTo>
                  <a:lnTo>
                    <a:pt x="185" y="853"/>
                  </a:lnTo>
                  <a:lnTo>
                    <a:pt x="185" y="855"/>
                  </a:lnTo>
                  <a:lnTo>
                    <a:pt x="183" y="855"/>
                  </a:lnTo>
                  <a:lnTo>
                    <a:pt x="185" y="855"/>
                  </a:lnTo>
                  <a:lnTo>
                    <a:pt x="183" y="855"/>
                  </a:lnTo>
                  <a:lnTo>
                    <a:pt x="183" y="853"/>
                  </a:lnTo>
                  <a:lnTo>
                    <a:pt x="183" y="855"/>
                  </a:lnTo>
                  <a:lnTo>
                    <a:pt x="181" y="855"/>
                  </a:lnTo>
                  <a:lnTo>
                    <a:pt x="181" y="853"/>
                  </a:lnTo>
                  <a:lnTo>
                    <a:pt x="183" y="853"/>
                  </a:lnTo>
                  <a:lnTo>
                    <a:pt x="183" y="851"/>
                  </a:lnTo>
                  <a:lnTo>
                    <a:pt x="185" y="851"/>
                  </a:lnTo>
                  <a:lnTo>
                    <a:pt x="185" y="849"/>
                  </a:lnTo>
                  <a:close/>
                  <a:moveTo>
                    <a:pt x="150" y="832"/>
                  </a:moveTo>
                  <a:lnTo>
                    <a:pt x="152" y="832"/>
                  </a:lnTo>
                  <a:lnTo>
                    <a:pt x="152" y="834"/>
                  </a:lnTo>
                  <a:lnTo>
                    <a:pt x="152" y="832"/>
                  </a:lnTo>
                  <a:lnTo>
                    <a:pt x="152" y="834"/>
                  </a:lnTo>
                  <a:lnTo>
                    <a:pt x="154" y="834"/>
                  </a:lnTo>
                  <a:lnTo>
                    <a:pt x="154" y="836"/>
                  </a:lnTo>
                  <a:lnTo>
                    <a:pt x="154" y="834"/>
                  </a:lnTo>
                  <a:lnTo>
                    <a:pt x="154" y="836"/>
                  </a:lnTo>
                  <a:lnTo>
                    <a:pt x="154" y="834"/>
                  </a:lnTo>
                  <a:lnTo>
                    <a:pt x="154" y="836"/>
                  </a:lnTo>
                  <a:lnTo>
                    <a:pt x="154" y="834"/>
                  </a:lnTo>
                  <a:lnTo>
                    <a:pt x="154" y="836"/>
                  </a:lnTo>
                  <a:lnTo>
                    <a:pt x="154" y="837"/>
                  </a:lnTo>
                  <a:lnTo>
                    <a:pt x="156" y="837"/>
                  </a:lnTo>
                  <a:lnTo>
                    <a:pt x="154" y="837"/>
                  </a:lnTo>
                  <a:lnTo>
                    <a:pt x="156" y="837"/>
                  </a:lnTo>
                  <a:lnTo>
                    <a:pt x="154" y="837"/>
                  </a:lnTo>
                  <a:lnTo>
                    <a:pt x="156" y="837"/>
                  </a:lnTo>
                  <a:lnTo>
                    <a:pt x="156" y="839"/>
                  </a:lnTo>
                  <a:lnTo>
                    <a:pt x="154" y="839"/>
                  </a:lnTo>
                  <a:lnTo>
                    <a:pt x="154" y="837"/>
                  </a:lnTo>
                  <a:lnTo>
                    <a:pt x="152" y="837"/>
                  </a:lnTo>
                  <a:lnTo>
                    <a:pt x="150" y="837"/>
                  </a:lnTo>
                  <a:lnTo>
                    <a:pt x="150" y="836"/>
                  </a:lnTo>
                  <a:lnTo>
                    <a:pt x="150" y="834"/>
                  </a:lnTo>
                  <a:lnTo>
                    <a:pt x="148" y="834"/>
                  </a:lnTo>
                  <a:lnTo>
                    <a:pt x="150" y="834"/>
                  </a:lnTo>
                  <a:lnTo>
                    <a:pt x="150" y="832"/>
                  </a:lnTo>
                  <a:lnTo>
                    <a:pt x="150" y="834"/>
                  </a:lnTo>
                  <a:lnTo>
                    <a:pt x="150" y="832"/>
                  </a:lnTo>
                  <a:lnTo>
                    <a:pt x="150" y="834"/>
                  </a:lnTo>
                  <a:lnTo>
                    <a:pt x="150" y="832"/>
                  </a:lnTo>
                  <a:lnTo>
                    <a:pt x="150" y="834"/>
                  </a:lnTo>
                  <a:lnTo>
                    <a:pt x="148" y="832"/>
                  </a:lnTo>
                  <a:lnTo>
                    <a:pt x="148" y="834"/>
                  </a:lnTo>
                  <a:lnTo>
                    <a:pt x="148" y="832"/>
                  </a:lnTo>
                  <a:lnTo>
                    <a:pt x="150" y="832"/>
                  </a:lnTo>
                  <a:close/>
                  <a:moveTo>
                    <a:pt x="96" y="452"/>
                  </a:moveTo>
                  <a:lnTo>
                    <a:pt x="96" y="453"/>
                  </a:lnTo>
                  <a:lnTo>
                    <a:pt x="96" y="452"/>
                  </a:lnTo>
                  <a:lnTo>
                    <a:pt x="96" y="453"/>
                  </a:lnTo>
                  <a:lnTo>
                    <a:pt x="96" y="452"/>
                  </a:lnTo>
                  <a:lnTo>
                    <a:pt x="96" y="453"/>
                  </a:lnTo>
                  <a:lnTo>
                    <a:pt x="96" y="455"/>
                  </a:lnTo>
                  <a:lnTo>
                    <a:pt x="98" y="455"/>
                  </a:lnTo>
                  <a:lnTo>
                    <a:pt x="96" y="455"/>
                  </a:lnTo>
                  <a:lnTo>
                    <a:pt x="98" y="455"/>
                  </a:lnTo>
                  <a:lnTo>
                    <a:pt x="98" y="457"/>
                  </a:lnTo>
                  <a:lnTo>
                    <a:pt x="98" y="459"/>
                  </a:lnTo>
                  <a:lnTo>
                    <a:pt x="96" y="459"/>
                  </a:lnTo>
                  <a:lnTo>
                    <a:pt x="95" y="459"/>
                  </a:lnTo>
                  <a:lnTo>
                    <a:pt x="95" y="457"/>
                  </a:lnTo>
                  <a:lnTo>
                    <a:pt x="95" y="459"/>
                  </a:lnTo>
                  <a:lnTo>
                    <a:pt x="95" y="457"/>
                  </a:lnTo>
                  <a:lnTo>
                    <a:pt x="95" y="459"/>
                  </a:lnTo>
                  <a:lnTo>
                    <a:pt x="95" y="457"/>
                  </a:lnTo>
                  <a:lnTo>
                    <a:pt x="96" y="457"/>
                  </a:lnTo>
                  <a:lnTo>
                    <a:pt x="95" y="457"/>
                  </a:lnTo>
                  <a:lnTo>
                    <a:pt x="95" y="455"/>
                  </a:lnTo>
                  <a:lnTo>
                    <a:pt x="93" y="455"/>
                  </a:lnTo>
                  <a:lnTo>
                    <a:pt x="95" y="455"/>
                  </a:lnTo>
                  <a:lnTo>
                    <a:pt x="93" y="455"/>
                  </a:lnTo>
                  <a:lnTo>
                    <a:pt x="93" y="453"/>
                  </a:lnTo>
                  <a:lnTo>
                    <a:pt x="95" y="453"/>
                  </a:lnTo>
                  <a:lnTo>
                    <a:pt x="93" y="453"/>
                  </a:lnTo>
                  <a:lnTo>
                    <a:pt x="95" y="453"/>
                  </a:lnTo>
                  <a:lnTo>
                    <a:pt x="93" y="453"/>
                  </a:lnTo>
                  <a:lnTo>
                    <a:pt x="95" y="453"/>
                  </a:lnTo>
                  <a:lnTo>
                    <a:pt x="93" y="453"/>
                  </a:lnTo>
                  <a:lnTo>
                    <a:pt x="95" y="453"/>
                  </a:lnTo>
                  <a:lnTo>
                    <a:pt x="93" y="453"/>
                  </a:lnTo>
                  <a:lnTo>
                    <a:pt x="95" y="453"/>
                  </a:lnTo>
                  <a:lnTo>
                    <a:pt x="93" y="453"/>
                  </a:lnTo>
                  <a:lnTo>
                    <a:pt x="95" y="453"/>
                  </a:lnTo>
                  <a:lnTo>
                    <a:pt x="95" y="452"/>
                  </a:lnTo>
                  <a:lnTo>
                    <a:pt x="95" y="453"/>
                  </a:lnTo>
                  <a:lnTo>
                    <a:pt x="95" y="452"/>
                  </a:lnTo>
                  <a:lnTo>
                    <a:pt x="96" y="452"/>
                  </a:lnTo>
                  <a:close/>
                  <a:moveTo>
                    <a:pt x="16" y="530"/>
                  </a:moveTo>
                  <a:lnTo>
                    <a:pt x="18" y="530"/>
                  </a:lnTo>
                  <a:lnTo>
                    <a:pt x="18" y="532"/>
                  </a:lnTo>
                  <a:lnTo>
                    <a:pt x="20" y="532"/>
                  </a:lnTo>
                  <a:lnTo>
                    <a:pt x="18" y="532"/>
                  </a:lnTo>
                  <a:lnTo>
                    <a:pt x="16" y="532"/>
                  </a:lnTo>
                  <a:lnTo>
                    <a:pt x="16" y="534"/>
                  </a:lnTo>
                  <a:lnTo>
                    <a:pt x="14" y="534"/>
                  </a:lnTo>
                  <a:lnTo>
                    <a:pt x="12" y="534"/>
                  </a:lnTo>
                  <a:lnTo>
                    <a:pt x="14" y="534"/>
                  </a:lnTo>
                  <a:lnTo>
                    <a:pt x="16" y="534"/>
                  </a:lnTo>
                  <a:lnTo>
                    <a:pt x="14" y="534"/>
                  </a:lnTo>
                  <a:lnTo>
                    <a:pt x="16" y="534"/>
                  </a:lnTo>
                  <a:lnTo>
                    <a:pt x="14" y="534"/>
                  </a:lnTo>
                  <a:lnTo>
                    <a:pt x="16" y="534"/>
                  </a:lnTo>
                  <a:lnTo>
                    <a:pt x="16" y="536"/>
                  </a:lnTo>
                  <a:lnTo>
                    <a:pt x="14" y="536"/>
                  </a:lnTo>
                  <a:lnTo>
                    <a:pt x="16" y="536"/>
                  </a:lnTo>
                  <a:lnTo>
                    <a:pt x="14" y="536"/>
                  </a:lnTo>
                  <a:lnTo>
                    <a:pt x="14" y="534"/>
                  </a:lnTo>
                  <a:lnTo>
                    <a:pt x="14" y="536"/>
                  </a:lnTo>
                  <a:lnTo>
                    <a:pt x="12" y="536"/>
                  </a:lnTo>
                  <a:lnTo>
                    <a:pt x="12" y="534"/>
                  </a:lnTo>
                  <a:lnTo>
                    <a:pt x="12" y="532"/>
                  </a:lnTo>
                  <a:lnTo>
                    <a:pt x="14" y="532"/>
                  </a:lnTo>
                  <a:lnTo>
                    <a:pt x="14" y="530"/>
                  </a:lnTo>
                  <a:lnTo>
                    <a:pt x="16" y="530"/>
                  </a:lnTo>
                  <a:close/>
                  <a:moveTo>
                    <a:pt x="75" y="686"/>
                  </a:moveTo>
                  <a:lnTo>
                    <a:pt x="77" y="686"/>
                  </a:lnTo>
                  <a:lnTo>
                    <a:pt x="77" y="688"/>
                  </a:lnTo>
                  <a:lnTo>
                    <a:pt x="79" y="688"/>
                  </a:lnTo>
                  <a:lnTo>
                    <a:pt x="79" y="690"/>
                  </a:lnTo>
                  <a:lnTo>
                    <a:pt x="79" y="688"/>
                  </a:lnTo>
                  <a:lnTo>
                    <a:pt x="79" y="690"/>
                  </a:lnTo>
                  <a:lnTo>
                    <a:pt x="79" y="688"/>
                  </a:lnTo>
                  <a:lnTo>
                    <a:pt x="79" y="690"/>
                  </a:lnTo>
                  <a:lnTo>
                    <a:pt x="79" y="692"/>
                  </a:lnTo>
                  <a:lnTo>
                    <a:pt x="79" y="690"/>
                  </a:lnTo>
                  <a:lnTo>
                    <a:pt x="79" y="692"/>
                  </a:lnTo>
                  <a:lnTo>
                    <a:pt x="79" y="693"/>
                  </a:lnTo>
                  <a:lnTo>
                    <a:pt x="79" y="692"/>
                  </a:lnTo>
                  <a:lnTo>
                    <a:pt x="79" y="693"/>
                  </a:lnTo>
                  <a:lnTo>
                    <a:pt x="79" y="692"/>
                  </a:lnTo>
                  <a:lnTo>
                    <a:pt x="77" y="692"/>
                  </a:lnTo>
                  <a:lnTo>
                    <a:pt x="77" y="690"/>
                  </a:lnTo>
                  <a:lnTo>
                    <a:pt x="75" y="690"/>
                  </a:lnTo>
                  <a:lnTo>
                    <a:pt x="75" y="688"/>
                  </a:lnTo>
                  <a:lnTo>
                    <a:pt x="73" y="688"/>
                  </a:lnTo>
                  <a:lnTo>
                    <a:pt x="73" y="686"/>
                  </a:lnTo>
                  <a:lnTo>
                    <a:pt x="73" y="688"/>
                  </a:lnTo>
                  <a:lnTo>
                    <a:pt x="73" y="686"/>
                  </a:lnTo>
                  <a:lnTo>
                    <a:pt x="75" y="686"/>
                  </a:lnTo>
                  <a:close/>
                  <a:moveTo>
                    <a:pt x="164" y="876"/>
                  </a:moveTo>
                  <a:lnTo>
                    <a:pt x="164" y="878"/>
                  </a:lnTo>
                  <a:lnTo>
                    <a:pt x="164" y="880"/>
                  </a:lnTo>
                  <a:lnTo>
                    <a:pt x="166" y="880"/>
                  </a:lnTo>
                  <a:lnTo>
                    <a:pt x="166" y="882"/>
                  </a:lnTo>
                  <a:lnTo>
                    <a:pt x="166" y="884"/>
                  </a:lnTo>
                  <a:lnTo>
                    <a:pt x="168" y="884"/>
                  </a:lnTo>
                  <a:lnTo>
                    <a:pt x="168" y="885"/>
                  </a:lnTo>
                  <a:lnTo>
                    <a:pt x="169" y="885"/>
                  </a:lnTo>
                  <a:lnTo>
                    <a:pt x="169" y="887"/>
                  </a:lnTo>
                  <a:lnTo>
                    <a:pt x="168" y="887"/>
                  </a:lnTo>
                  <a:lnTo>
                    <a:pt x="169" y="887"/>
                  </a:lnTo>
                  <a:lnTo>
                    <a:pt x="169" y="889"/>
                  </a:lnTo>
                  <a:lnTo>
                    <a:pt x="168" y="889"/>
                  </a:lnTo>
                  <a:lnTo>
                    <a:pt x="168" y="887"/>
                  </a:lnTo>
                  <a:lnTo>
                    <a:pt x="166" y="887"/>
                  </a:lnTo>
                  <a:lnTo>
                    <a:pt x="166" y="885"/>
                  </a:lnTo>
                  <a:lnTo>
                    <a:pt x="168" y="885"/>
                  </a:lnTo>
                  <a:lnTo>
                    <a:pt x="166" y="885"/>
                  </a:lnTo>
                  <a:lnTo>
                    <a:pt x="166" y="884"/>
                  </a:lnTo>
                  <a:lnTo>
                    <a:pt x="166" y="882"/>
                  </a:lnTo>
                  <a:lnTo>
                    <a:pt x="164" y="882"/>
                  </a:lnTo>
                  <a:lnTo>
                    <a:pt x="164" y="880"/>
                  </a:lnTo>
                  <a:lnTo>
                    <a:pt x="164" y="878"/>
                  </a:lnTo>
                  <a:lnTo>
                    <a:pt x="162" y="878"/>
                  </a:lnTo>
                  <a:lnTo>
                    <a:pt x="162" y="876"/>
                  </a:lnTo>
                  <a:lnTo>
                    <a:pt x="162" y="878"/>
                  </a:lnTo>
                  <a:lnTo>
                    <a:pt x="162" y="876"/>
                  </a:lnTo>
                  <a:lnTo>
                    <a:pt x="164" y="876"/>
                  </a:lnTo>
                  <a:lnTo>
                    <a:pt x="162" y="876"/>
                  </a:lnTo>
                  <a:lnTo>
                    <a:pt x="164" y="876"/>
                  </a:lnTo>
                  <a:lnTo>
                    <a:pt x="162" y="876"/>
                  </a:lnTo>
                  <a:lnTo>
                    <a:pt x="164" y="876"/>
                  </a:lnTo>
                  <a:close/>
                  <a:moveTo>
                    <a:pt x="89" y="528"/>
                  </a:moveTo>
                  <a:lnTo>
                    <a:pt x="91" y="528"/>
                  </a:lnTo>
                  <a:lnTo>
                    <a:pt x="89" y="528"/>
                  </a:lnTo>
                  <a:lnTo>
                    <a:pt x="91" y="528"/>
                  </a:lnTo>
                  <a:lnTo>
                    <a:pt x="91" y="530"/>
                  </a:lnTo>
                  <a:lnTo>
                    <a:pt x="93" y="530"/>
                  </a:lnTo>
                  <a:lnTo>
                    <a:pt x="91" y="530"/>
                  </a:lnTo>
                  <a:lnTo>
                    <a:pt x="93" y="530"/>
                  </a:lnTo>
                  <a:lnTo>
                    <a:pt x="91" y="530"/>
                  </a:lnTo>
                  <a:lnTo>
                    <a:pt x="93" y="530"/>
                  </a:lnTo>
                  <a:lnTo>
                    <a:pt x="93" y="532"/>
                  </a:lnTo>
                  <a:lnTo>
                    <a:pt x="93" y="534"/>
                  </a:lnTo>
                  <a:lnTo>
                    <a:pt x="93" y="532"/>
                  </a:lnTo>
                  <a:lnTo>
                    <a:pt x="93" y="534"/>
                  </a:lnTo>
                  <a:lnTo>
                    <a:pt x="93" y="536"/>
                  </a:lnTo>
                  <a:lnTo>
                    <a:pt x="91" y="536"/>
                  </a:lnTo>
                  <a:lnTo>
                    <a:pt x="91" y="534"/>
                  </a:lnTo>
                  <a:lnTo>
                    <a:pt x="91" y="536"/>
                  </a:lnTo>
                  <a:lnTo>
                    <a:pt x="91" y="534"/>
                  </a:lnTo>
                  <a:lnTo>
                    <a:pt x="89" y="534"/>
                  </a:lnTo>
                  <a:lnTo>
                    <a:pt x="91" y="534"/>
                  </a:lnTo>
                  <a:lnTo>
                    <a:pt x="89" y="534"/>
                  </a:lnTo>
                  <a:lnTo>
                    <a:pt x="89" y="532"/>
                  </a:lnTo>
                  <a:lnTo>
                    <a:pt x="89" y="530"/>
                  </a:lnTo>
                  <a:lnTo>
                    <a:pt x="89" y="528"/>
                  </a:lnTo>
                  <a:lnTo>
                    <a:pt x="89" y="530"/>
                  </a:lnTo>
                  <a:lnTo>
                    <a:pt x="89" y="528"/>
                  </a:lnTo>
                  <a:close/>
                  <a:moveTo>
                    <a:pt x="148" y="776"/>
                  </a:moveTo>
                  <a:lnTo>
                    <a:pt x="148" y="778"/>
                  </a:lnTo>
                  <a:lnTo>
                    <a:pt x="148" y="780"/>
                  </a:lnTo>
                  <a:lnTo>
                    <a:pt x="148" y="782"/>
                  </a:lnTo>
                  <a:lnTo>
                    <a:pt x="146" y="782"/>
                  </a:lnTo>
                  <a:lnTo>
                    <a:pt x="146" y="780"/>
                  </a:lnTo>
                  <a:lnTo>
                    <a:pt x="148" y="780"/>
                  </a:lnTo>
                  <a:lnTo>
                    <a:pt x="146" y="780"/>
                  </a:lnTo>
                  <a:lnTo>
                    <a:pt x="146" y="782"/>
                  </a:lnTo>
                  <a:lnTo>
                    <a:pt x="144" y="782"/>
                  </a:lnTo>
                  <a:lnTo>
                    <a:pt x="143" y="782"/>
                  </a:lnTo>
                  <a:lnTo>
                    <a:pt x="143" y="784"/>
                  </a:lnTo>
                  <a:lnTo>
                    <a:pt x="143" y="782"/>
                  </a:lnTo>
                  <a:lnTo>
                    <a:pt x="143" y="784"/>
                  </a:lnTo>
                  <a:lnTo>
                    <a:pt x="143" y="782"/>
                  </a:lnTo>
                  <a:lnTo>
                    <a:pt x="143" y="780"/>
                  </a:lnTo>
                  <a:lnTo>
                    <a:pt x="144" y="780"/>
                  </a:lnTo>
                  <a:lnTo>
                    <a:pt x="144" y="778"/>
                  </a:lnTo>
                  <a:lnTo>
                    <a:pt x="146" y="778"/>
                  </a:lnTo>
                  <a:lnTo>
                    <a:pt x="146" y="776"/>
                  </a:lnTo>
                  <a:lnTo>
                    <a:pt x="146" y="778"/>
                  </a:lnTo>
                  <a:lnTo>
                    <a:pt x="148" y="778"/>
                  </a:lnTo>
                  <a:lnTo>
                    <a:pt x="148" y="776"/>
                  </a:lnTo>
                  <a:close/>
                  <a:moveTo>
                    <a:pt x="148" y="772"/>
                  </a:moveTo>
                  <a:lnTo>
                    <a:pt x="148" y="774"/>
                  </a:lnTo>
                  <a:lnTo>
                    <a:pt x="148" y="776"/>
                  </a:lnTo>
                  <a:lnTo>
                    <a:pt x="146" y="776"/>
                  </a:lnTo>
                  <a:lnTo>
                    <a:pt x="146" y="778"/>
                  </a:lnTo>
                  <a:lnTo>
                    <a:pt x="146" y="776"/>
                  </a:lnTo>
                  <a:lnTo>
                    <a:pt x="144" y="776"/>
                  </a:lnTo>
                  <a:lnTo>
                    <a:pt x="144" y="774"/>
                  </a:lnTo>
                  <a:lnTo>
                    <a:pt x="144" y="772"/>
                  </a:lnTo>
                  <a:lnTo>
                    <a:pt x="146" y="772"/>
                  </a:lnTo>
                  <a:lnTo>
                    <a:pt x="148" y="772"/>
                  </a:lnTo>
                  <a:close/>
                  <a:moveTo>
                    <a:pt x="108" y="728"/>
                  </a:moveTo>
                  <a:lnTo>
                    <a:pt x="110" y="728"/>
                  </a:lnTo>
                  <a:lnTo>
                    <a:pt x="112" y="728"/>
                  </a:lnTo>
                  <a:lnTo>
                    <a:pt x="112" y="730"/>
                  </a:lnTo>
                  <a:lnTo>
                    <a:pt x="114" y="730"/>
                  </a:lnTo>
                  <a:lnTo>
                    <a:pt x="116" y="730"/>
                  </a:lnTo>
                  <a:lnTo>
                    <a:pt x="116" y="732"/>
                  </a:lnTo>
                  <a:lnTo>
                    <a:pt x="114" y="732"/>
                  </a:lnTo>
                  <a:lnTo>
                    <a:pt x="112" y="732"/>
                  </a:lnTo>
                  <a:lnTo>
                    <a:pt x="112" y="730"/>
                  </a:lnTo>
                  <a:lnTo>
                    <a:pt x="112" y="732"/>
                  </a:lnTo>
                  <a:lnTo>
                    <a:pt x="110" y="732"/>
                  </a:lnTo>
                  <a:lnTo>
                    <a:pt x="110" y="730"/>
                  </a:lnTo>
                  <a:lnTo>
                    <a:pt x="108" y="730"/>
                  </a:lnTo>
                  <a:lnTo>
                    <a:pt x="110" y="730"/>
                  </a:lnTo>
                  <a:lnTo>
                    <a:pt x="108" y="730"/>
                  </a:lnTo>
                  <a:lnTo>
                    <a:pt x="108" y="728"/>
                  </a:lnTo>
                  <a:lnTo>
                    <a:pt x="110" y="728"/>
                  </a:lnTo>
                  <a:lnTo>
                    <a:pt x="108" y="728"/>
                  </a:lnTo>
                  <a:close/>
                  <a:moveTo>
                    <a:pt x="110" y="521"/>
                  </a:moveTo>
                  <a:lnTo>
                    <a:pt x="110" y="523"/>
                  </a:lnTo>
                  <a:lnTo>
                    <a:pt x="110" y="525"/>
                  </a:lnTo>
                  <a:lnTo>
                    <a:pt x="110" y="526"/>
                  </a:lnTo>
                  <a:lnTo>
                    <a:pt x="110" y="528"/>
                  </a:lnTo>
                  <a:lnTo>
                    <a:pt x="108" y="528"/>
                  </a:lnTo>
                  <a:lnTo>
                    <a:pt x="106" y="528"/>
                  </a:lnTo>
                  <a:lnTo>
                    <a:pt x="106" y="526"/>
                  </a:lnTo>
                  <a:lnTo>
                    <a:pt x="108" y="526"/>
                  </a:lnTo>
                  <a:lnTo>
                    <a:pt x="108" y="525"/>
                  </a:lnTo>
                  <a:lnTo>
                    <a:pt x="106" y="525"/>
                  </a:lnTo>
                  <a:lnTo>
                    <a:pt x="106" y="523"/>
                  </a:lnTo>
                  <a:lnTo>
                    <a:pt x="108" y="523"/>
                  </a:lnTo>
                  <a:lnTo>
                    <a:pt x="108" y="521"/>
                  </a:lnTo>
                  <a:lnTo>
                    <a:pt x="108" y="523"/>
                  </a:lnTo>
                  <a:lnTo>
                    <a:pt x="110" y="523"/>
                  </a:lnTo>
                  <a:lnTo>
                    <a:pt x="110" y="521"/>
                  </a:lnTo>
                  <a:close/>
                  <a:moveTo>
                    <a:pt x="158" y="859"/>
                  </a:moveTo>
                  <a:lnTo>
                    <a:pt x="160" y="859"/>
                  </a:lnTo>
                  <a:lnTo>
                    <a:pt x="158" y="859"/>
                  </a:lnTo>
                  <a:lnTo>
                    <a:pt x="158" y="861"/>
                  </a:lnTo>
                  <a:lnTo>
                    <a:pt x="160" y="861"/>
                  </a:lnTo>
                  <a:lnTo>
                    <a:pt x="160" y="862"/>
                  </a:lnTo>
                  <a:lnTo>
                    <a:pt x="162" y="862"/>
                  </a:lnTo>
                  <a:lnTo>
                    <a:pt x="162" y="864"/>
                  </a:lnTo>
                  <a:lnTo>
                    <a:pt x="164" y="864"/>
                  </a:lnTo>
                  <a:lnTo>
                    <a:pt x="164" y="866"/>
                  </a:lnTo>
                  <a:lnTo>
                    <a:pt x="162" y="866"/>
                  </a:lnTo>
                  <a:lnTo>
                    <a:pt x="160" y="866"/>
                  </a:lnTo>
                  <a:lnTo>
                    <a:pt x="160" y="864"/>
                  </a:lnTo>
                  <a:lnTo>
                    <a:pt x="160" y="862"/>
                  </a:lnTo>
                  <a:lnTo>
                    <a:pt x="158" y="862"/>
                  </a:lnTo>
                  <a:lnTo>
                    <a:pt x="158" y="861"/>
                  </a:lnTo>
                  <a:lnTo>
                    <a:pt x="158" y="859"/>
                  </a:lnTo>
                  <a:lnTo>
                    <a:pt x="158" y="861"/>
                  </a:lnTo>
                  <a:lnTo>
                    <a:pt x="158" y="859"/>
                  </a:lnTo>
                  <a:lnTo>
                    <a:pt x="158" y="861"/>
                  </a:lnTo>
                  <a:lnTo>
                    <a:pt x="158" y="859"/>
                  </a:lnTo>
                  <a:close/>
                  <a:moveTo>
                    <a:pt x="133" y="432"/>
                  </a:moveTo>
                  <a:lnTo>
                    <a:pt x="133" y="434"/>
                  </a:lnTo>
                  <a:lnTo>
                    <a:pt x="135" y="434"/>
                  </a:lnTo>
                  <a:lnTo>
                    <a:pt x="133" y="434"/>
                  </a:lnTo>
                  <a:lnTo>
                    <a:pt x="135" y="434"/>
                  </a:lnTo>
                  <a:lnTo>
                    <a:pt x="133" y="434"/>
                  </a:lnTo>
                  <a:lnTo>
                    <a:pt x="133" y="436"/>
                  </a:lnTo>
                  <a:lnTo>
                    <a:pt x="131" y="436"/>
                  </a:lnTo>
                  <a:lnTo>
                    <a:pt x="129" y="436"/>
                  </a:lnTo>
                  <a:lnTo>
                    <a:pt x="127" y="436"/>
                  </a:lnTo>
                  <a:lnTo>
                    <a:pt x="125" y="436"/>
                  </a:lnTo>
                  <a:lnTo>
                    <a:pt x="125" y="434"/>
                  </a:lnTo>
                  <a:lnTo>
                    <a:pt x="127" y="434"/>
                  </a:lnTo>
                  <a:lnTo>
                    <a:pt x="129" y="434"/>
                  </a:lnTo>
                  <a:lnTo>
                    <a:pt x="131" y="434"/>
                  </a:lnTo>
                  <a:lnTo>
                    <a:pt x="133" y="434"/>
                  </a:lnTo>
                  <a:lnTo>
                    <a:pt x="133" y="432"/>
                  </a:lnTo>
                  <a:lnTo>
                    <a:pt x="133" y="434"/>
                  </a:lnTo>
                  <a:lnTo>
                    <a:pt x="133" y="432"/>
                  </a:lnTo>
                  <a:close/>
                  <a:moveTo>
                    <a:pt x="116" y="455"/>
                  </a:moveTo>
                  <a:lnTo>
                    <a:pt x="116" y="457"/>
                  </a:lnTo>
                  <a:lnTo>
                    <a:pt x="116" y="459"/>
                  </a:lnTo>
                  <a:lnTo>
                    <a:pt x="114" y="459"/>
                  </a:lnTo>
                  <a:lnTo>
                    <a:pt x="114" y="461"/>
                  </a:lnTo>
                  <a:lnTo>
                    <a:pt x="114" y="459"/>
                  </a:lnTo>
                  <a:lnTo>
                    <a:pt x="112" y="459"/>
                  </a:lnTo>
                  <a:lnTo>
                    <a:pt x="112" y="461"/>
                  </a:lnTo>
                  <a:lnTo>
                    <a:pt x="110" y="461"/>
                  </a:lnTo>
                  <a:lnTo>
                    <a:pt x="110" y="459"/>
                  </a:lnTo>
                  <a:lnTo>
                    <a:pt x="112" y="459"/>
                  </a:lnTo>
                  <a:lnTo>
                    <a:pt x="112" y="457"/>
                  </a:lnTo>
                  <a:lnTo>
                    <a:pt x="112" y="455"/>
                  </a:lnTo>
                  <a:lnTo>
                    <a:pt x="114" y="455"/>
                  </a:lnTo>
                  <a:lnTo>
                    <a:pt x="116" y="455"/>
                  </a:lnTo>
                  <a:close/>
                  <a:moveTo>
                    <a:pt x="137" y="818"/>
                  </a:moveTo>
                  <a:lnTo>
                    <a:pt x="137" y="820"/>
                  </a:lnTo>
                  <a:lnTo>
                    <a:pt x="137" y="822"/>
                  </a:lnTo>
                  <a:lnTo>
                    <a:pt x="137" y="824"/>
                  </a:lnTo>
                  <a:lnTo>
                    <a:pt x="137" y="826"/>
                  </a:lnTo>
                  <a:lnTo>
                    <a:pt x="139" y="826"/>
                  </a:lnTo>
                  <a:lnTo>
                    <a:pt x="137" y="826"/>
                  </a:lnTo>
                  <a:lnTo>
                    <a:pt x="139" y="826"/>
                  </a:lnTo>
                  <a:lnTo>
                    <a:pt x="137" y="826"/>
                  </a:lnTo>
                  <a:lnTo>
                    <a:pt x="139" y="828"/>
                  </a:lnTo>
                  <a:lnTo>
                    <a:pt x="137" y="828"/>
                  </a:lnTo>
                  <a:lnTo>
                    <a:pt x="139" y="828"/>
                  </a:lnTo>
                  <a:lnTo>
                    <a:pt x="137" y="828"/>
                  </a:lnTo>
                  <a:lnTo>
                    <a:pt x="137" y="826"/>
                  </a:lnTo>
                  <a:lnTo>
                    <a:pt x="135" y="826"/>
                  </a:lnTo>
                  <a:lnTo>
                    <a:pt x="135" y="824"/>
                  </a:lnTo>
                  <a:lnTo>
                    <a:pt x="135" y="822"/>
                  </a:lnTo>
                  <a:lnTo>
                    <a:pt x="135" y="820"/>
                  </a:lnTo>
                  <a:lnTo>
                    <a:pt x="135" y="818"/>
                  </a:lnTo>
                  <a:lnTo>
                    <a:pt x="137" y="818"/>
                  </a:lnTo>
                  <a:lnTo>
                    <a:pt x="137" y="816"/>
                  </a:lnTo>
                  <a:lnTo>
                    <a:pt x="137" y="818"/>
                  </a:lnTo>
                  <a:close/>
                  <a:moveTo>
                    <a:pt x="183" y="857"/>
                  </a:moveTo>
                  <a:lnTo>
                    <a:pt x="185" y="857"/>
                  </a:lnTo>
                  <a:lnTo>
                    <a:pt x="185" y="859"/>
                  </a:lnTo>
                  <a:lnTo>
                    <a:pt x="185" y="861"/>
                  </a:lnTo>
                  <a:lnTo>
                    <a:pt x="183" y="859"/>
                  </a:lnTo>
                  <a:lnTo>
                    <a:pt x="183" y="861"/>
                  </a:lnTo>
                  <a:lnTo>
                    <a:pt x="181" y="861"/>
                  </a:lnTo>
                  <a:lnTo>
                    <a:pt x="181" y="862"/>
                  </a:lnTo>
                  <a:lnTo>
                    <a:pt x="181" y="861"/>
                  </a:lnTo>
                  <a:lnTo>
                    <a:pt x="179" y="861"/>
                  </a:lnTo>
                  <a:lnTo>
                    <a:pt x="179" y="859"/>
                  </a:lnTo>
                  <a:lnTo>
                    <a:pt x="179" y="861"/>
                  </a:lnTo>
                  <a:lnTo>
                    <a:pt x="179" y="859"/>
                  </a:lnTo>
                  <a:lnTo>
                    <a:pt x="181" y="859"/>
                  </a:lnTo>
                  <a:lnTo>
                    <a:pt x="181" y="857"/>
                  </a:lnTo>
                  <a:lnTo>
                    <a:pt x="183" y="857"/>
                  </a:lnTo>
                  <a:close/>
                  <a:moveTo>
                    <a:pt x="110" y="586"/>
                  </a:moveTo>
                  <a:lnTo>
                    <a:pt x="112" y="586"/>
                  </a:lnTo>
                  <a:lnTo>
                    <a:pt x="112" y="588"/>
                  </a:lnTo>
                  <a:lnTo>
                    <a:pt x="112" y="590"/>
                  </a:lnTo>
                  <a:lnTo>
                    <a:pt x="114" y="590"/>
                  </a:lnTo>
                  <a:lnTo>
                    <a:pt x="114" y="592"/>
                  </a:lnTo>
                  <a:lnTo>
                    <a:pt x="116" y="592"/>
                  </a:lnTo>
                  <a:lnTo>
                    <a:pt x="114" y="592"/>
                  </a:lnTo>
                  <a:lnTo>
                    <a:pt x="114" y="594"/>
                  </a:lnTo>
                  <a:lnTo>
                    <a:pt x="114" y="592"/>
                  </a:lnTo>
                  <a:lnTo>
                    <a:pt x="112" y="592"/>
                  </a:lnTo>
                  <a:lnTo>
                    <a:pt x="110" y="592"/>
                  </a:lnTo>
                  <a:lnTo>
                    <a:pt x="108" y="592"/>
                  </a:lnTo>
                  <a:lnTo>
                    <a:pt x="108" y="590"/>
                  </a:lnTo>
                  <a:lnTo>
                    <a:pt x="110" y="590"/>
                  </a:lnTo>
                  <a:lnTo>
                    <a:pt x="110" y="588"/>
                  </a:lnTo>
                  <a:lnTo>
                    <a:pt x="110" y="590"/>
                  </a:lnTo>
                  <a:lnTo>
                    <a:pt x="112" y="590"/>
                  </a:lnTo>
                  <a:lnTo>
                    <a:pt x="112" y="592"/>
                  </a:lnTo>
                  <a:lnTo>
                    <a:pt x="114" y="592"/>
                  </a:lnTo>
                  <a:lnTo>
                    <a:pt x="112" y="592"/>
                  </a:lnTo>
                  <a:lnTo>
                    <a:pt x="114" y="592"/>
                  </a:lnTo>
                  <a:lnTo>
                    <a:pt x="112" y="592"/>
                  </a:lnTo>
                  <a:lnTo>
                    <a:pt x="112" y="590"/>
                  </a:lnTo>
                  <a:lnTo>
                    <a:pt x="110" y="590"/>
                  </a:lnTo>
                  <a:lnTo>
                    <a:pt x="110" y="588"/>
                  </a:lnTo>
                  <a:lnTo>
                    <a:pt x="110" y="586"/>
                  </a:lnTo>
                  <a:close/>
                  <a:moveTo>
                    <a:pt x="112" y="463"/>
                  </a:moveTo>
                  <a:lnTo>
                    <a:pt x="112" y="465"/>
                  </a:lnTo>
                  <a:lnTo>
                    <a:pt x="112" y="463"/>
                  </a:lnTo>
                  <a:lnTo>
                    <a:pt x="112" y="465"/>
                  </a:lnTo>
                  <a:lnTo>
                    <a:pt x="112" y="467"/>
                  </a:lnTo>
                  <a:lnTo>
                    <a:pt x="114" y="467"/>
                  </a:lnTo>
                  <a:lnTo>
                    <a:pt x="114" y="469"/>
                  </a:lnTo>
                  <a:lnTo>
                    <a:pt x="112" y="469"/>
                  </a:lnTo>
                  <a:lnTo>
                    <a:pt x="110" y="469"/>
                  </a:lnTo>
                  <a:lnTo>
                    <a:pt x="110" y="467"/>
                  </a:lnTo>
                  <a:lnTo>
                    <a:pt x="110" y="469"/>
                  </a:lnTo>
                  <a:lnTo>
                    <a:pt x="110" y="467"/>
                  </a:lnTo>
                  <a:lnTo>
                    <a:pt x="110" y="469"/>
                  </a:lnTo>
                  <a:lnTo>
                    <a:pt x="110" y="467"/>
                  </a:lnTo>
                  <a:lnTo>
                    <a:pt x="108" y="467"/>
                  </a:lnTo>
                  <a:lnTo>
                    <a:pt x="110" y="467"/>
                  </a:lnTo>
                  <a:lnTo>
                    <a:pt x="108" y="467"/>
                  </a:lnTo>
                  <a:lnTo>
                    <a:pt x="108" y="465"/>
                  </a:lnTo>
                  <a:lnTo>
                    <a:pt x="110" y="465"/>
                  </a:lnTo>
                  <a:lnTo>
                    <a:pt x="112" y="465"/>
                  </a:lnTo>
                  <a:lnTo>
                    <a:pt x="112" y="467"/>
                  </a:lnTo>
                  <a:lnTo>
                    <a:pt x="112" y="465"/>
                  </a:lnTo>
                  <a:lnTo>
                    <a:pt x="110" y="465"/>
                  </a:lnTo>
                  <a:lnTo>
                    <a:pt x="110" y="463"/>
                  </a:lnTo>
                  <a:lnTo>
                    <a:pt x="110" y="465"/>
                  </a:lnTo>
                  <a:lnTo>
                    <a:pt x="110" y="463"/>
                  </a:lnTo>
                  <a:lnTo>
                    <a:pt x="110" y="465"/>
                  </a:lnTo>
                  <a:lnTo>
                    <a:pt x="112" y="465"/>
                  </a:lnTo>
                  <a:lnTo>
                    <a:pt x="112" y="463"/>
                  </a:lnTo>
                  <a:lnTo>
                    <a:pt x="112" y="465"/>
                  </a:lnTo>
                  <a:lnTo>
                    <a:pt x="112" y="463"/>
                  </a:lnTo>
                  <a:lnTo>
                    <a:pt x="110" y="463"/>
                  </a:lnTo>
                  <a:lnTo>
                    <a:pt x="112" y="463"/>
                  </a:lnTo>
                  <a:lnTo>
                    <a:pt x="110" y="463"/>
                  </a:lnTo>
                  <a:lnTo>
                    <a:pt x="112" y="463"/>
                  </a:lnTo>
                  <a:close/>
                  <a:moveTo>
                    <a:pt x="114" y="607"/>
                  </a:moveTo>
                  <a:lnTo>
                    <a:pt x="116" y="607"/>
                  </a:lnTo>
                  <a:lnTo>
                    <a:pt x="116" y="609"/>
                  </a:lnTo>
                  <a:lnTo>
                    <a:pt x="114" y="609"/>
                  </a:lnTo>
                  <a:lnTo>
                    <a:pt x="112" y="609"/>
                  </a:lnTo>
                  <a:lnTo>
                    <a:pt x="112" y="611"/>
                  </a:lnTo>
                  <a:lnTo>
                    <a:pt x="112" y="609"/>
                  </a:lnTo>
                  <a:lnTo>
                    <a:pt x="110" y="609"/>
                  </a:lnTo>
                  <a:lnTo>
                    <a:pt x="110" y="611"/>
                  </a:lnTo>
                  <a:lnTo>
                    <a:pt x="110" y="609"/>
                  </a:lnTo>
                  <a:lnTo>
                    <a:pt x="110" y="607"/>
                  </a:lnTo>
                  <a:lnTo>
                    <a:pt x="108" y="607"/>
                  </a:lnTo>
                  <a:lnTo>
                    <a:pt x="110" y="607"/>
                  </a:lnTo>
                  <a:lnTo>
                    <a:pt x="112" y="607"/>
                  </a:lnTo>
                  <a:lnTo>
                    <a:pt x="112" y="609"/>
                  </a:lnTo>
                  <a:lnTo>
                    <a:pt x="112" y="607"/>
                  </a:lnTo>
                  <a:lnTo>
                    <a:pt x="112" y="609"/>
                  </a:lnTo>
                  <a:lnTo>
                    <a:pt x="114" y="609"/>
                  </a:lnTo>
                  <a:lnTo>
                    <a:pt x="114" y="607"/>
                  </a:lnTo>
                  <a:lnTo>
                    <a:pt x="114" y="609"/>
                  </a:lnTo>
                  <a:lnTo>
                    <a:pt x="114" y="607"/>
                  </a:lnTo>
                  <a:lnTo>
                    <a:pt x="112" y="607"/>
                  </a:lnTo>
                  <a:lnTo>
                    <a:pt x="114" y="607"/>
                  </a:lnTo>
                  <a:lnTo>
                    <a:pt x="112" y="607"/>
                  </a:lnTo>
                  <a:lnTo>
                    <a:pt x="114" y="607"/>
                  </a:lnTo>
                  <a:lnTo>
                    <a:pt x="112" y="607"/>
                  </a:lnTo>
                  <a:lnTo>
                    <a:pt x="114" y="607"/>
                  </a:lnTo>
                  <a:lnTo>
                    <a:pt x="112" y="607"/>
                  </a:lnTo>
                  <a:lnTo>
                    <a:pt x="114" y="607"/>
                  </a:lnTo>
                  <a:close/>
                  <a:moveTo>
                    <a:pt x="96" y="638"/>
                  </a:moveTo>
                  <a:lnTo>
                    <a:pt x="96" y="640"/>
                  </a:lnTo>
                  <a:lnTo>
                    <a:pt x="96" y="642"/>
                  </a:lnTo>
                  <a:lnTo>
                    <a:pt x="96" y="644"/>
                  </a:lnTo>
                  <a:lnTo>
                    <a:pt x="95" y="644"/>
                  </a:lnTo>
                  <a:lnTo>
                    <a:pt x="95" y="642"/>
                  </a:lnTo>
                  <a:lnTo>
                    <a:pt x="95" y="644"/>
                  </a:lnTo>
                  <a:lnTo>
                    <a:pt x="95" y="642"/>
                  </a:lnTo>
                  <a:lnTo>
                    <a:pt x="93" y="642"/>
                  </a:lnTo>
                  <a:lnTo>
                    <a:pt x="93" y="640"/>
                  </a:lnTo>
                  <a:lnTo>
                    <a:pt x="95" y="640"/>
                  </a:lnTo>
                  <a:lnTo>
                    <a:pt x="95" y="638"/>
                  </a:lnTo>
                  <a:lnTo>
                    <a:pt x="96" y="638"/>
                  </a:lnTo>
                  <a:close/>
                  <a:moveTo>
                    <a:pt x="106" y="707"/>
                  </a:moveTo>
                  <a:lnTo>
                    <a:pt x="108" y="707"/>
                  </a:lnTo>
                  <a:lnTo>
                    <a:pt x="110" y="707"/>
                  </a:lnTo>
                  <a:lnTo>
                    <a:pt x="110" y="709"/>
                  </a:lnTo>
                  <a:lnTo>
                    <a:pt x="110" y="711"/>
                  </a:lnTo>
                  <a:lnTo>
                    <a:pt x="108" y="711"/>
                  </a:lnTo>
                  <a:lnTo>
                    <a:pt x="108" y="709"/>
                  </a:lnTo>
                  <a:lnTo>
                    <a:pt x="108" y="711"/>
                  </a:lnTo>
                  <a:lnTo>
                    <a:pt x="106" y="711"/>
                  </a:lnTo>
                  <a:lnTo>
                    <a:pt x="106" y="709"/>
                  </a:lnTo>
                  <a:lnTo>
                    <a:pt x="104" y="709"/>
                  </a:lnTo>
                  <a:lnTo>
                    <a:pt x="104" y="707"/>
                  </a:lnTo>
                  <a:lnTo>
                    <a:pt x="104" y="709"/>
                  </a:lnTo>
                  <a:lnTo>
                    <a:pt x="104" y="707"/>
                  </a:lnTo>
                  <a:lnTo>
                    <a:pt x="106" y="707"/>
                  </a:lnTo>
                  <a:lnTo>
                    <a:pt x="106" y="709"/>
                  </a:lnTo>
                  <a:lnTo>
                    <a:pt x="106" y="707"/>
                  </a:lnTo>
                  <a:close/>
                  <a:moveTo>
                    <a:pt x="110" y="471"/>
                  </a:moveTo>
                  <a:lnTo>
                    <a:pt x="110" y="473"/>
                  </a:lnTo>
                  <a:lnTo>
                    <a:pt x="110" y="475"/>
                  </a:lnTo>
                  <a:lnTo>
                    <a:pt x="108" y="475"/>
                  </a:lnTo>
                  <a:lnTo>
                    <a:pt x="108" y="477"/>
                  </a:lnTo>
                  <a:lnTo>
                    <a:pt x="106" y="477"/>
                  </a:lnTo>
                  <a:lnTo>
                    <a:pt x="106" y="475"/>
                  </a:lnTo>
                  <a:lnTo>
                    <a:pt x="106" y="473"/>
                  </a:lnTo>
                  <a:lnTo>
                    <a:pt x="108" y="473"/>
                  </a:lnTo>
                  <a:lnTo>
                    <a:pt x="108" y="471"/>
                  </a:lnTo>
                  <a:lnTo>
                    <a:pt x="110" y="471"/>
                  </a:lnTo>
                  <a:close/>
                  <a:moveTo>
                    <a:pt x="100" y="603"/>
                  </a:moveTo>
                  <a:lnTo>
                    <a:pt x="102" y="603"/>
                  </a:lnTo>
                  <a:lnTo>
                    <a:pt x="102" y="605"/>
                  </a:lnTo>
                  <a:lnTo>
                    <a:pt x="100" y="605"/>
                  </a:lnTo>
                  <a:lnTo>
                    <a:pt x="102" y="605"/>
                  </a:lnTo>
                  <a:lnTo>
                    <a:pt x="100" y="605"/>
                  </a:lnTo>
                  <a:lnTo>
                    <a:pt x="98" y="605"/>
                  </a:lnTo>
                  <a:lnTo>
                    <a:pt x="100" y="605"/>
                  </a:lnTo>
                  <a:lnTo>
                    <a:pt x="98" y="605"/>
                  </a:lnTo>
                  <a:lnTo>
                    <a:pt x="100" y="605"/>
                  </a:lnTo>
                  <a:lnTo>
                    <a:pt x="100" y="607"/>
                  </a:lnTo>
                  <a:lnTo>
                    <a:pt x="98" y="607"/>
                  </a:lnTo>
                  <a:lnTo>
                    <a:pt x="98" y="605"/>
                  </a:lnTo>
                  <a:lnTo>
                    <a:pt x="98" y="607"/>
                  </a:lnTo>
                  <a:lnTo>
                    <a:pt x="96" y="607"/>
                  </a:lnTo>
                  <a:lnTo>
                    <a:pt x="96" y="605"/>
                  </a:lnTo>
                  <a:lnTo>
                    <a:pt x="96" y="607"/>
                  </a:lnTo>
                  <a:lnTo>
                    <a:pt x="96" y="605"/>
                  </a:lnTo>
                  <a:lnTo>
                    <a:pt x="95" y="605"/>
                  </a:lnTo>
                  <a:lnTo>
                    <a:pt x="96" y="605"/>
                  </a:lnTo>
                  <a:lnTo>
                    <a:pt x="95" y="605"/>
                  </a:lnTo>
                  <a:lnTo>
                    <a:pt x="96" y="605"/>
                  </a:lnTo>
                  <a:lnTo>
                    <a:pt x="96" y="603"/>
                  </a:lnTo>
                  <a:lnTo>
                    <a:pt x="96" y="605"/>
                  </a:lnTo>
                  <a:lnTo>
                    <a:pt x="98" y="605"/>
                  </a:lnTo>
                  <a:lnTo>
                    <a:pt x="96" y="605"/>
                  </a:lnTo>
                  <a:lnTo>
                    <a:pt x="98" y="605"/>
                  </a:lnTo>
                  <a:lnTo>
                    <a:pt x="98" y="603"/>
                  </a:lnTo>
                  <a:lnTo>
                    <a:pt x="100" y="603"/>
                  </a:lnTo>
                  <a:lnTo>
                    <a:pt x="98" y="603"/>
                  </a:lnTo>
                  <a:lnTo>
                    <a:pt x="98" y="605"/>
                  </a:lnTo>
                  <a:lnTo>
                    <a:pt x="100" y="605"/>
                  </a:lnTo>
                  <a:lnTo>
                    <a:pt x="100" y="603"/>
                  </a:lnTo>
                  <a:lnTo>
                    <a:pt x="100" y="605"/>
                  </a:lnTo>
                  <a:lnTo>
                    <a:pt x="100" y="603"/>
                  </a:lnTo>
                  <a:lnTo>
                    <a:pt x="100" y="605"/>
                  </a:lnTo>
                  <a:lnTo>
                    <a:pt x="100" y="603"/>
                  </a:lnTo>
                  <a:close/>
                  <a:moveTo>
                    <a:pt x="16" y="500"/>
                  </a:moveTo>
                  <a:lnTo>
                    <a:pt x="18" y="500"/>
                  </a:lnTo>
                  <a:lnTo>
                    <a:pt x="20" y="500"/>
                  </a:lnTo>
                  <a:lnTo>
                    <a:pt x="20" y="501"/>
                  </a:lnTo>
                  <a:lnTo>
                    <a:pt x="18" y="501"/>
                  </a:lnTo>
                  <a:lnTo>
                    <a:pt x="18" y="500"/>
                  </a:lnTo>
                  <a:lnTo>
                    <a:pt x="18" y="501"/>
                  </a:lnTo>
                  <a:lnTo>
                    <a:pt x="20" y="501"/>
                  </a:lnTo>
                  <a:lnTo>
                    <a:pt x="20" y="503"/>
                  </a:lnTo>
                  <a:lnTo>
                    <a:pt x="22" y="503"/>
                  </a:lnTo>
                  <a:lnTo>
                    <a:pt x="20" y="503"/>
                  </a:lnTo>
                  <a:lnTo>
                    <a:pt x="22" y="503"/>
                  </a:lnTo>
                  <a:lnTo>
                    <a:pt x="20" y="503"/>
                  </a:lnTo>
                  <a:lnTo>
                    <a:pt x="18" y="503"/>
                  </a:lnTo>
                  <a:lnTo>
                    <a:pt x="18" y="501"/>
                  </a:lnTo>
                  <a:lnTo>
                    <a:pt x="16" y="501"/>
                  </a:lnTo>
                  <a:lnTo>
                    <a:pt x="16" y="500"/>
                  </a:lnTo>
                  <a:lnTo>
                    <a:pt x="14" y="500"/>
                  </a:lnTo>
                  <a:lnTo>
                    <a:pt x="14" y="498"/>
                  </a:lnTo>
                  <a:lnTo>
                    <a:pt x="16" y="498"/>
                  </a:lnTo>
                  <a:lnTo>
                    <a:pt x="16" y="500"/>
                  </a:lnTo>
                  <a:close/>
                  <a:moveTo>
                    <a:pt x="98" y="503"/>
                  </a:moveTo>
                  <a:lnTo>
                    <a:pt x="100" y="505"/>
                  </a:lnTo>
                  <a:lnTo>
                    <a:pt x="98" y="505"/>
                  </a:lnTo>
                  <a:lnTo>
                    <a:pt x="96" y="505"/>
                  </a:lnTo>
                  <a:lnTo>
                    <a:pt x="98" y="505"/>
                  </a:lnTo>
                  <a:lnTo>
                    <a:pt x="98" y="507"/>
                  </a:lnTo>
                  <a:lnTo>
                    <a:pt x="96" y="507"/>
                  </a:lnTo>
                  <a:lnTo>
                    <a:pt x="95" y="507"/>
                  </a:lnTo>
                  <a:lnTo>
                    <a:pt x="95" y="505"/>
                  </a:lnTo>
                  <a:lnTo>
                    <a:pt x="95" y="503"/>
                  </a:lnTo>
                  <a:lnTo>
                    <a:pt x="96" y="503"/>
                  </a:lnTo>
                  <a:lnTo>
                    <a:pt x="96" y="505"/>
                  </a:lnTo>
                  <a:lnTo>
                    <a:pt x="95" y="505"/>
                  </a:lnTo>
                  <a:lnTo>
                    <a:pt x="96" y="505"/>
                  </a:lnTo>
                  <a:lnTo>
                    <a:pt x="95" y="505"/>
                  </a:lnTo>
                  <a:lnTo>
                    <a:pt x="96" y="505"/>
                  </a:lnTo>
                  <a:lnTo>
                    <a:pt x="96" y="503"/>
                  </a:lnTo>
                  <a:lnTo>
                    <a:pt x="96" y="505"/>
                  </a:lnTo>
                  <a:lnTo>
                    <a:pt x="96" y="503"/>
                  </a:lnTo>
                  <a:lnTo>
                    <a:pt x="98" y="503"/>
                  </a:lnTo>
                  <a:lnTo>
                    <a:pt x="96" y="503"/>
                  </a:lnTo>
                  <a:lnTo>
                    <a:pt x="98" y="503"/>
                  </a:lnTo>
                  <a:close/>
                  <a:moveTo>
                    <a:pt x="139" y="513"/>
                  </a:moveTo>
                  <a:lnTo>
                    <a:pt x="137" y="513"/>
                  </a:lnTo>
                  <a:lnTo>
                    <a:pt x="137" y="515"/>
                  </a:lnTo>
                  <a:lnTo>
                    <a:pt x="137" y="513"/>
                  </a:lnTo>
                  <a:lnTo>
                    <a:pt x="137" y="515"/>
                  </a:lnTo>
                  <a:lnTo>
                    <a:pt x="135" y="515"/>
                  </a:lnTo>
                  <a:lnTo>
                    <a:pt x="137" y="515"/>
                  </a:lnTo>
                  <a:lnTo>
                    <a:pt x="135" y="515"/>
                  </a:lnTo>
                  <a:lnTo>
                    <a:pt x="133" y="515"/>
                  </a:lnTo>
                  <a:lnTo>
                    <a:pt x="131" y="515"/>
                  </a:lnTo>
                  <a:lnTo>
                    <a:pt x="129" y="515"/>
                  </a:lnTo>
                  <a:lnTo>
                    <a:pt x="129" y="513"/>
                  </a:lnTo>
                  <a:lnTo>
                    <a:pt x="131" y="513"/>
                  </a:lnTo>
                  <a:lnTo>
                    <a:pt x="133" y="513"/>
                  </a:lnTo>
                  <a:lnTo>
                    <a:pt x="135" y="513"/>
                  </a:lnTo>
                  <a:lnTo>
                    <a:pt x="137" y="513"/>
                  </a:lnTo>
                  <a:lnTo>
                    <a:pt x="139" y="513"/>
                  </a:lnTo>
                  <a:close/>
                  <a:moveTo>
                    <a:pt x="102" y="603"/>
                  </a:moveTo>
                  <a:lnTo>
                    <a:pt x="102" y="605"/>
                  </a:lnTo>
                  <a:lnTo>
                    <a:pt x="104" y="605"/>
                  </a:lnTo>
                  <a:lnTo>
                    <a:pt x="106" y="605"/>
                  </a:lnTo>
                  <a:lnTo>
                    <a:pt x="106" y="607"/>
                  </a:lnTo>
                  <a:lnTo>
                    <a:pt x="104" y="607"/>
                  </a:lnTo>
                  <a:lnTo>
                    <a:pt x="102" y="607"/>
                  </a:lnTo>
                  <a:lnTo>
                    <a:pt x="100" y="607"/>
                  </a:lnTo>
                  <a:lnTo>
                    <a:pt x="100" y="609"/>
                  </a:lnTo>
                  <a:lnTo>
                    <a:pt x="100" y="607"/>
                  </a:lnTo>
                  <a:lnTo>
                    <a:pt x="100" y="609"/>
                  </a:lnTo>
                  <a:lnTo>
                    <a:pt x="100" y="607"/>
                  </a:lnTo>
                  <a:lnTo>
                    <a:pt x="100" y="609"/>
                  </a:lnTo>
                  <a:lnTo>
                    <a:pt x="98" y="609"/>
                  </a:lnTo>
                  <a:lnTo>
                    <a:pt x="98" y="607"/>
                  </a:lnTo>
                  <a:lnTo>
                    <a:pt x="100" y="607"/>
                  </a:lnTo>
                  <a:lnTo>
                    <a:pt x="100" y="605"/>
                  </a:lnTo>
                  <a:lnTo>
                    <a:pt x="102" y="605"/>
                  </a:lnTo>
                  <a:lnTo>
                    <a:pt x="100" y="605"/>
                  </a:lnTo>
                  <a:lnTo>
                    <a:pt x="102" y="605"/>
                  </a:lnTo>
                  <a:lnTo>
                    <a:pt x="100" y="605"/>
                  </a:lnTo>
                  <a:lnTo>
                    <a:pt x="102" y="605"/>
                  </a:lnTo>
                  <a:lnTo>
                    <a:pt x="102" y="603"/>
                  </a:lnTo>
                  <a:close/>
                  <a:moveTo>
                    <a:pt x="96" y="669"/>
                  </a:moveTo>
                  <a:lnTo>
                    <a:pt x="96" y="670"/>
                  </a:lnTo>
                  <a:lnTo>
                    <a:pt x="98" y="670"/>
                  </a:lnTo>
                  <a:lnTo>
                    <a:pt x="100" y="670"/>
                  </a:lnTo>
                  <a:lnTo>
                    <a:pt x="100" y="672"/>
                  </a:lnTo>
                  <a:lnTo>
                    <a:pt x="102" y="672"/>
                  </a:lnTo>
                  <a:lnTo>
                    <a:pt x="102" y="674"/>
                  </a:lnTo>
                  <a:lnTo>
                    <a:pt x="104" y="674"/>
                  </a:lnTo>
                  <a:lnTo>
                    <a:pt x="102" y="674"/>
                  </a:lnTo>
                  <a:lnTo>
                    <a:pt x="104" y="674"/>
                  </a:lnTo>
                  <a:lnTo>
                    <a:pt x="102" y="674"/>
                  </a:lnTo>
                  <a:lnTo>
                    <a:pt x="100" y="674"/>
                  </a:lnTo>
                  <a:lnTo>
                    <a:pt x="100" y="672"/>
                  </a:lnTo>
                  <a:lnTo>
                    <a:pt x="98" y="672"/>
                  </a:lnTo>
                  <a:lnTo>
                    <a:pt x="96" y="672"/>
                  </a:lnTo>
                  <a:lnTo>
                    <a:pt x="96" y="670"/>
                  </a:lnTo>
                  <a:lnTo>
                    <a:pt x="96" y="672"/>
                  </a:lnTo>
                  <a:lnTo>
                    <a:pt x="95" y="672"/>
                  </a:lnTo>
                  <a:lnTo>
                    <a:pt x="95" y="670"/>
                  </a:lnTo>
                  <a:lnTo>
                    <a:pt x="96" y="670"/>
                  </a:lnTo>
                  <a:lnTo>
                    <a:pt x="95" y="670"/>
                  </a:lnTo>
                  <a:lnTo>
                    <a:pt x="96" y="670"/>
                  </a:lnTo>
                  <a:lnTo>
                    <a:pt x="96" y="669"/>
                  </a:lnTo>
                  <a:lnTo>
                    <a:pt x="95" y="669"/>
                  </a:lnTo>
                  <a:lnTo>
                    <a:pt x="96" y="669"/>
                  </a:lnTo>
                  <a:close/>
                  <a:moveTo>
                    <a:pt x="72" y="682"/>
                  </a:moveTo>
                  <a:lnTo>
                    <a:pt x="73" y="682"/>
                  </a:lnTo>
                  <a:lnTo>
                    <a:pt x="75" y="682"/>
                  </a:lnTo>
                  <a:lnTo>
                    <a:pt x="75" y="684"/>
                  </a:lnTo>
                  <a:lnTo>
                    <a:pt x="75" y="686"/>
                  </a:lnTo>
                  <a:lnTo>
                    <a:pt x="73" y="686"/>
                  </a:lnTo>
                  <a:lnTo>
                    <a:pt x="73" y="684"/>
                  </a:lnTo>
                  <a:lnTo>
                    <a:pt x="72" y="684"/>
                  </a:lnTo>
                  <a:lnTo>
                    <a:pt x="72" y="682"/>
                  </a:lnTo>
                  <a:lnTo>
                    <a:pt x="72" y="684"/>
                  </a:lnTo>
                  <a:lnTo>
                    <a:pt x="72" y="682"/>
                  </a:lnTo>
                  <a:lnTo>
                    <a:pt x="72" y="684"/>
                  </a:lnTo>
                  <a:lnTo>
                    <a:pt x="72" y="682"/>
                  </a:lnTo>
                  <a:lnTo>
                    <a:pt x="70" y="682"/>
                  </a:lnTo>
                  <a:lnTo>
                    <a:pt x="72" y="682"/>
                  </a:lnTo>
                  <a:close/>
                  <a:moveTo>
                    <a:pt x="104" y="726"/>
                  </a:moveTo>
                  <a:lnTo>
                    <a:pt x="104" y="728"/>
                  </a:lnTo>
                  <a:lnTo>
                    <a:pt x="106" y="728"/>
                  </a:lnTo>
                  <a:lnTo>
                    <a:pt x="108" y="728"/>
                  </a:lnTo>
                  <a:lnTo>
                    <a:pt x="106" y="728"/>
                  </a:lnTo>
                  <a:lnTo>
                    <a:pt x="108" y="728"/>
                  </a:lnTo>
                  <a:lnTo>
                    <a:pt x="106" y="728"/>
                  </a:lnTo>
                  <a:lnTo>
                    <a:pt x="108" y="728"/>
                  </a:lnTo>
                  <a:lnTo>
                    <a:pt x="108" y="730"/>
                  </a:lnTo>
                  <a:lnTo>
                    <a:pt x="108" y="728"/>
                  </a:lnTo>
                  <a:lnTo>
                    <a:pt x="108" y="730"/>
                  </a:lnTo>
                  <a:lnTo>
                    <a:pt x="108" y="732"/>
                  </a:lnTo>
                  <a:lnTo>
                    <a:pt x="108" y="730"/>
                  </a:lnTo>
                  <a:lnTo>
                    <a:pt x="106" y="730"/>
                  </a:lnTo>
                  <a:lnTo>
                    <a:pt x="104" y="730"/>
                  </a:lnTo>
                  <a:lnTo>
                    <a:pt x="104" y="728"/>
                  </a:lnTo>
                  <a:lnTo>
                    <a:pt x="102" y="728"/>
                  </a:lnTo>
                  <a:lnTo>
                    <a:pt x="104" y="728"/>
                  </a:lnTo>
                  <a:lnTo>
                    <a:pt x="104" y="726"/>
                  </a:lnTo>
                  <a:close/>
                  <a:moveTo>
                    <a:pt x="4" y="467"/>
                  </a:moveTo>
                  <a:lnTo>
                    <a:pt x="4" y="469"/>
                  </a:lnTo>
                  <a:lnTo>
                    <a:pt x="6" y="469"/>
                  </a:lnTo>
                  <a:lnTo>
                    <a:pt x="6" y="471"/>
                  </a:lnTo>
                  <a:lnTo>
                    <a:pt x="8" y="471"/>
                  </a:lnTo>
                  <a:lnTo>
                    <a:pt x="8" y="473"/>
                  </a:lnTo>
                  <a:lnTo>
                    <a:pt x="6" y="473"/>
                  </a:lnTo>
                  <a:lnTo>
                    <a:pt x="6" y="471"/>
                  </a:lnTo>
                  <a:lnTo>
                    <a:pt x="4" y="471"/>
                  </a:lnTo>
                  <a:lnTo>
                    <a:pt x="4" y="469"/>
                  </a:lnTo>
                  <a:lnTo>
                    <a:pt x="2" y="469"/>
                  </a:lnTo>
                  <a:lnTo>
                    <a:pt x="4" y="469"/>
                  </a:lnTo>
                  <a:lnTo>
                    <a:pt x="2" y="469"/>
                  </a:lnTo>
                  <a:lnTo>
                    <a:pt x="4" y="469"/>
                  </a:lnTo>
                  <a:lnTo>
                    <a:pt x="2" y="469"/>
                  </a:lnTo>
                  <a:lnTo>
                    <a:pt x="4" y="469"/>
                  </a:lnTo>
                  <a:lnTo>
                    <a:pt x="2" y="469"/>
                  </a:lnTo>
                  <a:lnTo>
                    <a:pt x="4" y="469"/>
                  </a:lnTo>
                  <a:lnTo>
                    <a:pt x="2" y="469"/>
                  </a:lnTo>
                  <a:lnTo>
                    <a:pt x="2" y="467"/>
                  </a:lnTo>
                  <a:lnTo>
                    <a:pt x="4" y="467"/>
                  </a:lnTo>
                  <a:close/>
                  <a:moveTo>
                    <a:pt x="89" y="536"/>
                  </a:moveTo>
                  <a:lnTo>
                    <a:pt x="89" y="538"/>
                  </a:lnTo>
                  <a:lnTo>
                    <a:pt x="89" y="536"/>
                  </a:lnTo>
                  <a:lnTo>
                    <a:pt x="89" y="538"/>
                  </a:lnTo>
                  <a:lnTo>
                    <a:pt x="89" y="536"/>
                  </a:lnTo>
                  <a:lnTo>
                    <a:pt x="89" y="538"/>
                  </a:lnTo>
                  <a:lnTo>
                    <a:pt x="91" y="538"/>
                  </a:lnTo>
                  <a:lnTo>
                    <a:pt x="89" y="538"/>
                  </a:lnTo>
                  <a:lnTo>
                    <a:pt x="91" y="538"/>
                  </a:lnTo>
                  <a:lnTo>
                    <a:pt x="91" y="540"/>
                  </a:lnTo>
                  <a:lnTo>
                    <a:pt x="91" y="542"/>
                  </a:lnTo>
                  <a:lnTo>
                    <a:pt x="89" y="542"/>
                  </a:lnTo>
                  <a:lnTo>
                    <a:pt x="89" y="540"/>
                  </a:lnTo>
                  <a:lnTo>
                    <a:pt x="89" y="542"/>
                  </a:lnTo>
                  <a:lnTo>
                    <a:pt x="89" y="540"/>
                  </a:lnTo>
                  <a:lnTo>
                    <a:pt x="87" y="540"/>
                  </a:lnTo>
                  <a:lnTo>
                    <a:pt x="87" y="538"/>
                  </a:lnTo>
                  <a:lnTo>
                    <a:pt x="89" y="538"/>
                  </a:lnTo>
                  <a:lnTo>
                    <a:pt x="87" y="538"/>
                  </a:lnTo>
                  <a:lnTo>
                    <a:pt x="87" y="536"/>
                  </a:lnTo>
                  <a:lnTo>
                    <a:pt x="87" y="538"/>
                  </a:lnTo>
                  <a:lnTo>
                    <a:pt x="87" y="536"/>
                  </a:lnTo>
                  <a:lnTo>
                    <a:pt x="89" y="536"/>
                  </a:lnTo>
                  <a:close/>
                  <a:moveTo>
                    <a:pt x="43" y="442"/>
                  </a:moveTo>
                  <a:lnTo>
                    <a:pt x="43" y="444"/>
                  </a:lnTo>
                  <a:lnTo>
                    <a:pt x="41" y="444"/>
                  </a:lnTo>
                  <a:lnTo>
                    <a:pt x="41" y="446"/>
                  </a:lnTo>
                  <a:lnTo>
                    <a:pt x="39" y="446"/>
                  </a:lnTo>
                  <a:lnTo>
                    <a:pt x="37" y="446"/>
                  </a:lnTo>
                  <a:lnTo>
                    <a:pt x="37" y="448"/>
                  </a:lnTo>
                  <a:lnTo>
                    <a:pt x="37" y="446"/>
                  </a:lnTo>
                  <a:lnTo>
                    <a:pt x="37" y="448"/>
                  </a:lnTo>
                  <a:lnTo>
                    <a:pt x="37" y="446"/>
                  </a:lnTo>
                  <a:lnTo>
                    <a:pt x="37" y="444"/>
                  </a:lnTo>
                  <a:lnTo>
                    <a:pt x="39" y="444"/>
                  </a:lnTo>
                  <a:lnTo>
                    <a:pt x="39" y="442"/>
                  </a:lnTo>
                  <a:lnTo>
                    <a:pt x="41" y="442"/>
                  </a:lnTo>
                  <a:lnTo>
                    <a:pt x="43" y="442"/>
                  </a:lnTo>
                  <a:close/>
                  <a:moveTo>
                    <a:pt x="89" y="475"/>
                  </a:moveTo>
                  <a:lnTo>
                    <a:pt x="91" y="475"/>
                  </a:lnTo>
                  <a:lnTo>
                    <a:pt x="91" y="477"/>
                  </a:lnTo>
                  <a:lnTo>
                    <a:pt x="91" y="478"/>
                  </a:lnTo>
                  <a:lnTo>
                    <a:pt x="91" y="477"/>
                  </a:lnTo>
                  <a:lnTo>
                    <a:pt x="89" y="477"/>
                  </a:lnTo>
                  <a:lnTo>
                    <a:pt x="89" y="478"/>
                  </a:lnTo>
                  <a:lnTo>
                    <a:pt x="87" y="478"/>
                  </a:lnTo>
                  <a:lnTo>
                    <a:pt x="87" y="477"/>
                  </a:lnTo>
                  <a:lnTo>
                    <a:pt x="87" y="478"/>
                  </a:lnTo>
                  <a:lnTo>
                    <a:pt x="87" y="477"/>
                  </a:lnTo>
                  <a:lnTo>
                    <a:pt x="87" y="478"/>
                  </a:lnTo>
                  <a:lnTo>
                    <a:pt x="87" y="477"/>
                  </a:lnTo>
                  <a:lnTo>
                    <a:pt x="87" y="475"/>
                  </a:lnTo>
                  <a:lnTo>
                    <a:pt x="89" y="475"/>
                  </a:lnTo>
                  <a:close/>
                  <a:moveTo>
                    <a:pt x="110" y="453"/>
                  </a:moveTo>
                  <a:lnTo>
                    <a:pt x="112" y="453"/>
                  </a:lnTo>
                  <a:lnTo>
                    <a:pt x="110" y="453"/>
                  </a:lnTo>
                  <a:lnTo>
                    <a:pt x="112" y="453"/>
                  </a:lnTo>
                  <a:lnTo>
                    <a:pt x="112" y="455"/>
                  </a:lnTo>
                  <a:lnTo>
                    <a:pt x="110" y="455"/>
                  </a:lnTo>
                  <a:lnTo>
                    <a:pt x="112" y="455"/>
                  </a:lnTo>
                  <a:lnTo>
                    <a:pt x="110" y="455"/>
                  </a:lnTo>
                  <a:lnTo>
                    <a:pt x="112" y="455"/>
                  </a:lnTo>
                  <a:lnTo>
                    <a:pt x="110" y="455"/>
                  </a:lnTo>
                  <a:lnTo>
                    <a:pt x="112" y="455"/>
                  </a:lnTo>
                  <a:lnTo>
                    <a:pt x="112" y="457"/>
                  </a:lnTo>
                  <a:lnTo>
                    <a:pt x="110" y="457"/>
                  </a:lnTo>
                  <a:lnTo>
                    <a:pt x="112" y="457"/>
                  </a:lnTo>
                  <a:lnTo>
                    <a:pt x="110" y="457"/>
                  </a:lnTo>
                  <a:lnTo>
                    <a:pt x="110" y="459"/>
                  </a:lnTo>
                  <a:lnTo>
                    <a:pt x="108" y="459"/>
                  </a:lnTo>
                  <a:lnTo>
                    <a:pt x="110" y="459"/>
                  </a:lnTo>
                  <a:lnTo>
                    <a:pt x="108" y="459"/>
                  </a:lnTo>
                  <a:lnTo>
                    <a:pt x="110" y="459"/>
                  </a:lnTo>
                  <a:lnTo>
                    <a:pt x="110" y="457"/>
                  </a:lnTo>
                  <a:lnTo>
                    <a:pt x="108" y="457"/>
                  </a:lnTo>
                  <a:lnTo>
                    <a:pt x="108" y="455"/>
                  </a:lnTo>
                  <a:lnTo>
                    <a:pt x="108" y="453"/>
                  </a:lnTo>
                  <a:lnTo>
                    <a:pt x="110" y="453"/>
                  </a:lnTo>
                  <a:close/>
                  <a:moveTo>
                    <a:pt x="171" y="893"/>
                  </a:moveTo>
                  <a:lnTo>
                    <a:pt x="171" y="895"/>
                  </a:lnTo>
                  <a:lnTo>
                    <a:pt x="171" y="893"/>
                  </a:lnTo>
                  <a:lnTo>
                    <a:pt x="171" y="895"/>
                  </a:lnTo>
                  <a:lnTo>
                    <a:pt x="173" y="895"/>
                  </a:lnTo>
                  <a:lnTo>
                    <a:pt x="173" y="897"/>
                  </a:lnTo>
                  <a:lnTo>
                    <a:pt x="175" y="897"/>
                  </a:lnTo>
                  <a:lnTo>
                    <a:pt x="175" y="899"/>
                  </a:lnTo>
                  <a:lnTo>
                    <a:pt x="175" y="897"/>
                  </a:lnTo>
                  <a:lnTo>
                    <a:pt x="173" y="897"/>
                  </a:lnTo>
                  <a:lnTo>
                    <a:pt x="173" y="899"/>
                  </a:lnTo>
                  <a:lnTo>
                    <a:pt x="173" y="897"/>
                  </a:lnTo>
                  <a:lnTo>
                    <a:pt x="171" y="897"/>
                  </a:lnTo>
                  <a:lnTo>
                    <a:pt x="169" y="897"/>
                  </a:lnTo>
                  <a:lnTo>
                    <a:pt x="169" y="895"/>
                  </a:lnTo>
                  <a:lnTo>
                    <a:pt x="171" y="895"/>
                  </a:lnTo>
                  <a:lnTo>
                    <a:pt x="171" y="893"/>
                  </a:lnTo>
                  <a:close/>
                  <a:moveTo>
                    <a:pt x="4" y="478"/>
                  </a:moveTo>
                  <a:lnTo>
                    <a:pt x="6" y="478"/>
                  </a:lnTo>
                  <a:lnTo>
                    <a:pt x="6" y="480"/>
                  </a:lnTo>
                  <a:lnTo>
                    <a:pt x="8" y="480"/>
                  </a:lnTo>
                  <a:lnTo>
                    <a:pt x="8" y="482"/>
                  </a:lnTo>
                  <a:lnTo>
                    <a:pt x="10" y="482"/>
                  </a:lnTo>
                  <a:lnTo>
                    <a:pt x="10" y="484"/>
                  </a:lnTo>
                  <a:lnTo>
                    <a:pt x="8" y="484"/>
                  </a:lnTo>
                  <a:lnTo>
                    <a:pt x="8" y="482"/>
                  </a:lnTo>
                  <a:lnTo>
                    <a:pt x="6" y="482"/>
                  </a:lnTo>
                  <a:lnTo>
                    <a:pt x="4" y="482"/>
                  </a:lnTo>
                  <a:lnTo>
                    <a:pt x="4" y="480"/>
                  </a:lnTo>
                  <a:lnTo>
                    <a:pt x="6" y="480"/>
                  </a:lnTo>
                  <a:lnTo>
                    <a:pt x="4" y="480"/>
                  </a:lnTo>
                  <a:lnTo>
                    <a:pt x="6" y="480"/>
                  </a:lnTo>
                  <a:lnTo>
                    <a:pt x="4" y="480"/>
                  </a:lnTo>
                  <a:lnTo>
                    <a:pt x="4" y="478"/>
                  </a:lnTo>
                  <a:lnTo>
                    <a:pt x="4" y="480"/>
                  </a:lnTo>
                  <a:lnTo>
                    <a:pt x="4" y="478"/>
                  </a:lnTo>
                  <a:close/>
                  <a:moveTo>
                    <a:pt x="104" y="607"/>
                  </a:moveTo>
                  <a:lnTo>
                    <a:pt x="104" y="609"/>
                  </a:lnTo>
                  <a:lnTo>
                    <a:pt x="104" y="607"/>
                  </a:lnTo>
                  <a:lnTo>
                    <a:pt x="106" y="607"/>
                  </a:lnTo>
                  <a:lnTo>
                    <a:pt x="106" y="609"/>
                  </a:lnTo>
                  <a:lnTo>
                    <a:pt x="104" y="609"/>
                  </a:lnTo>
                  <a:lnTo>
                    <a:pt x="102" y="609"/>
                  </a:lnTo>
                  <a:lnTo>
                    <a:pt x="102" y="611"/>
                  </a:lnTo>
                  <a:lnTo>
                    <a:pt x="102" y="609"/>
                  </a:lnTo>
                  <a:lnTo>
                    <a:pt x="102" y="611"/>
                  </a:lnTo>
                  <a:lnTo>
                    <a:pt x="100" y="611"/>
                  </a:lnTo>
                  <a:lnTo>
                    <a:pt x="100" y="609"/>
                  </a:lnTo>
                  <a:lnTo>
                    <a:pt x="102" y="609"/>
                  </a:lnTo>
                  <a:lnTo>
                    <a:pt x="102" y="607"/>
                  </a:lnTo>
                  <a:lnTo>
                    <a:pt x="104" y="607"/>
                  </a:lnTo>
                  <a:lnTo>
                    <a:pt x="104" y="609"/>
                  </a:lnTo>
                  <a:lnTo>
                    <a:pt x="104" y="607"/>
                  </a:lnTo>
                  <a:close/>
                  <a:moveTo>
                    <a:pt x="106" y="655"/>
                  </a:moveTo>
                  <a:lnTo>
                    <a:pt x="106" y="657"/>
                  </a:lnTo>
                  <a:lnTo>
                    <a:pt x="104" y="657"/>
                  </a:lnTo>
                  <a:lnTo>
                    <a:pt x="104" y="659"/>
                  </a:lnTo>
                  <a:lnTo>
                    <a:pt x="104" y="657"/>
                  </a:lnTo>
                  <a:lnTo>
                    <a:pt x="104" y="659"/>
                  </a:lnTo>
                  <a:lnTo>
                    <a:pt x="104" y="657"/>
                  </a:lnTo>
                  <a:lnTo>
                    <a:pt x="104" y="659"/>
                  </a:lnTo>
                  <a:lnTo>
                    <a:pt x="102" y="659"/>
                  </a:lnTo>
                  <a:lnTo>
                    <a:pt x="104" y="659"/>
                  </a:lnTo>
                  <a:lnTo>
                    <a:pt x="102" y="659"/>
                  </a:lnTo>
                  <a:lnTo>
                    <a:pt x="102" y="657"/>
                  </a:lnTo>
                  <a:lnTo>
                    <a:pt x="102" y="659"/>
                  </a:lnTo>
                  <a:lnTo>
                    <a:pt x="102" y="657"/>
                  </a:lnTo>
                  <a:lnTo>
                    <a:pt x="102" y="659"/>
                  </a:lnTo>
                  <a:lnTo>
                    <a:pt x="102" y="657"/>
                  </a:lnTo>
                  <a:lnTo>
                    <a:pt x="102" y="659"/>
                  </a:lnTo>
                  <a:lnTo>
                    <a:pt x="100" y="659"/>
                  </a:lnTo>
                  <a:lnTo>
                    <a:pt x="100" y="657"/>
                  </a:lnTo>
                  <a:lnTo>
                    <a:pt x="102" y="657"/>
                  </a:lnTo>
                  <a:lnTo>
                    <a:pt x="104" y="657"/>
                  </a:lnTo>
                  <a:lnTo>
                    <a:pt x="104" y="655"/>
                  </a:lnTo>
                  <a:lnTo>
                    <a:pt x="104" y="657"/>
                  </a:lnTo>
                  <a:lnTo>
                    <a:pt x="104" y="655"/>
                  </a:lnTo>
                  <a:lnTo>
                    <a:pt x="106" y="655"/>
                  </a:lnTo>
                  <a:close/>
                  <a:moveTo>
                    <a:pt x="83" y="814"/>
                  </a:moveTo>
                  <a:lnTo>
                    <a:pt x="83" y="816"/>
                  </a:lnTo>
                  <a:lnTo>
                    <a:pt x="83" y="814"/>
                  </a:lnTo>
                  <a:lnTo>
                    <a:pt x="83" y="816"/>
                  </a:lnTo>
                  <a:lnTo>
                    <a:pt x="85" y="816"/>
                  </a:lnTo>
                  <a:lnTo>
                    <a:pt x="83" y="816"/>
                  </a:lnTo>
                  <a:lnTo>
                    <a:pt x="85" y="816"/>
                  </a:lnTo>
                  <a:lnTo>
                    <a:pt x="83" y="816"/>
                  </a:lnTo>
                  <a:lnTo>
                    <a:pt x="85" y="816"/>
                  </a:lnTo>
                  <a:lnTo>
                    <a:pt x="85" y="818"/>
                  </a:lnTo>
                  <a:lnTo>
                    <a:pt x="83" y="818"/>
                  </a:lnTo>
                  <a:lnTo>
                    <a:pt x="85" y="818"/>
                  </a:lnTo>
                  <a:lnTo>
                    <a:pt x="83" y="818"/>
                  </a:lnTo>
                  <a:lnTo>
                    <a:pt x="83" y="816"/>
                  </a:lnTo>
                  <a:lnTo>
                    <a:pt x="83" y="818"/>
                  </a:lnTo>
                  <a:lnTo>
                    <a:pt x="83" y="816"/>
                  </a:lnTo>
                  <a:lnTo>
                    <a:pt x="83" y="818"/>
                  </a:lnTo>
                  <a:lnTo>
                    <a:pt x="81" y="818"/>
                  </a:lnTo>
                  <a:lnTo>
                    <a:pt x="81" y="816"/>
                  </a:lnTo>
                  <a:lnTo>
                    <a:pt x="81" y="818"/>
                  </a:lnTo>
                  <a:lnTo>
                    <a:pt x="81" y="816"/>
                  </a:lnTo>
                  <a:lnTo>
                    <a:pt x="81" y="818"/>
                  </a:lnTo>
                  <a:lnTo>
                    <a:pt x="81" y="816"/>
                  </a:lnTo>
                  <a:lnTo>
                    <a:pt x="81" y="818"/>
                  </a:lnTo>
                  <a:lnTo>
                    <a:pt x="81" y="816"/>
                  </a:lnTo>
                  <a:lnTo>
                    <a:pt x="81" y="814"/>
                  </a:lnTo>
                  <a:lnTo>
                    <a:pt x="83" y="814"/>
                  </a:lnTo>
                  <a:close/>
                  <a:moveTo>
                    <a:pt x="31" y="402"/>
                  </a:moveTo>
                  <a:lnTo>
                    <a:pt x="33" y="402"/>
                  </a:lnTo>
                  <a:lnTo>
                    <a:pt x="33" y="404"/>
                  </a:lnTo>
                  <a:lnTo>
                    <a:pt x="31" y="404"/>
                  </a:lnTo>
                  <a:lnTo>
                    <a:pt x="31" y="406"/>
                  </a:lnTo>
                  <a:lnTo>
                    <a:pt x="29" y="406"/>
                  </a:lnTo>
                  <a:lnTo>
                    <a:pt x="31" y="406"/>
                  </a:lnTo>
                  <a:lnTo>
                    <a:pt x="31" y="404"/>
                  </a:lnTo>
                  <a:lnTo>
                    <a:pt x="29" y="404"/>
                  </a:lnTo>
                  <a:lnTo>
                    <a:pt x="31" y="404"/>
                  </a:lnTo>
                  <a:lnTo>
                    <a:pt x="29" y="404"/>
                  </a:lnTo>
                  <a:lnTo>
                    <a:pt x="29" y="402"/>
                  </a:lnTo>
                  <a:lnTo>
                    <a:pt x="31" y="402"/>
                  </a:lnTo>
                  <a:close/>
                  <a:moveTo>
                    <a:pt x="141" y="824"/>
                  </a:moveTo>
                  <a:lnTo>
                    <a:pt x="141" y="826"/>
                  </a:lnTo>
                  <a:lnTo>
                    <a:pt x="143" y="826"/>
                  </a:lnTo>
                  <a:lnTo>
                    <a:pt x="143" y="828"/>
                  </a:lnTo>
                  <a:lnTo>
                    <a:pt x="143" y="826"/>
                  </a:lnTo>
                  <a:lnTo>
                    <a:pt x="141" y="826"/>
                  </a:lnTo>
                  <a:lnTo>
                    <a:pt x="141" y="828"/>
                  </a:lnTo>
                  <a:lnTo>
                    <a:pt x="139" y="828"/>
                  </a:lnTo>
                  <a:lnTo>
                    <a:pt x="139" y="826"/>
                  </a:lnTo>
                  <a:lnTo>
                    <a:pt x="139" y="824"/>
                  </a:lnTo>
                  <a:lnTo>
                    <a:pt x="141" y="824"/>
                  </a:lnTo>
                  <a:close/>
                  <a:moveTo>
                    <a:pt x="168" y="891"/>
                  </a:moveTo>
                  <a:lnTo>
                    <a:pt x="168" y="893"/>
                  </a:lnTo>
                  <a:lnTo>
                    <a:pt x="169" y="893"/>
                  </a:lnTo>
                  <a:lnTo>
                    <a:pt x="169" y="895"/>
                  </a:lnTo>
                  <a:lnTo>
                    <a:pt x="168" y="895"/>
                  </a:lnTo>
                  <a:lnTo>
                    <a:pt x="169" y="895"/>
                  </a:lnTo>
                  <a:lnTo>
                    <a:pt x="168" y="895"/>
                  </a:lnTo>
                  <a:lnTo>
                    <a:pt x="169" y="895"/>
                  </a:lnTo>
                  <a:lnTo>
                    <a:pt x="168" y="895"/>
                  </a:lnTo>
                  <a:lnTo>
                    <a:pt x="168" y="897"/>
                  </a:lnTo>
                  <a:lnTo>
                    <a:pt x="168" y="895"/>
                  </a:lnTo>
                  <a:lnTo>
                    <a:pt x="166" y="895"/>
                  </a:lnTo>
                  <a:lnTo>
                    <a:pt x="166" y="893"/>
                  </a:lnTo>
                  <a:lnTo>
                    <a:pt x="168" y="893"/>
                  </a:lnTo>
                  <a:lnTo>
                    <a:pt x="166" y="893"/>
                  </a:lnTo>
                  <a:lnTo>
                    <a:pt x="168" y="893"/>
                  </a:lnTo>
                  <a:lnTo>
                    <a:pt x="168" y="891"/>
                  </a:lnTo>
                  <a:lnTo>
                    <a:pt x="166" y="891"/>
                  </a:lnTo>
                  <a:lnTo>
                    <a:pt x="168" y="891"/>
                  </a:lnTo>
                  <a:close/>
                  <a:moveTo>
                    <a:pt x="162" y="866"/>
                  </a:moveTo>
                  <a:lnTo>
                    <a:pt x="164" y="868"/>
                  </a:lnTo>
                  <a:lnTo>
                    <a:pt x="162" y="868"/>
                  </a:lnTo>
                  <a:lnTo>
                    <a:pt x="162" y="870"/>
                  </a:lnTo>
                  <a:lnTo>
                    <a:pt x="164" y="870"/>
                  </a:lnTo>
                  <a:lnTo>
                    <a:pt x="164" y="872"/>
                  </a:lnTo>
                  <a:lnTo>
                    <a:pt x="164" y="874"/>
                  </a:lnTo>
                  <a:lnTo>
                    <a:pt x="164" y="872"/>
                  </a:lnTo>
                  <a:lnTo>
                    <a:pt x="164" y="874"/>
                  </a:lnTo>
                  <a:lnTo>
                    <a:pt x="162" y="874"/>
                  </a:lnTo>
                  <a:lnTo>
                    <a:pt x="162" y="872"/>
                  </a:lnTo>
                  <a:lnTo>
                    <a:pt x="162" y="870"/>
                  </a:lnTo>
                  <a:lnTo>
                    <a:pt x="162" y="868"/>
                  </a:lnTo>
                  <a:lnTo>
                    <a:pt x="162" y="866"/>
                  </a:lnTo>
                  <a:close/>
                  <a:moveTo>
                    <a:pt x="168" y="889"/>
                  </a:moveTo>
                  <a:lnTo>
                    <a:pt x="169" y="889"/>
                  </a:lnTo>
                  <a:lnTo>
                    <a:pt x="171" y="889"/>
                  </a:lnTo>
                  <a:lnTo>
                    <a:pt x="171" y="891"/>
                  </a:lnTo>
                  <a:lnTo>
                    <a:pt x="171" y="889"/>
                  </a:lnTo>
                  <a:lnTo>
                    <a:pt x="169" y="889"/>
                  </a:lnTo>
                  <a:lnTo>
                    <a:pt x="169" y="891"/>
                  </a:lnTo>
                  <a:lnTo>
                    <a:pt x="171" y="891"/>
                  </a:lnTo>
                  <a:lnTo>
                    <a:pt x="169" y="891"/>
                  </a:lnTo>
                  <a:lnTo>
                    <a:pt x="169" y="893"/>
                  </a:lnTo>
                  <a:lnTo>
                    <a:pt x="171" y="893"/>
                  </a:lnTo>
                  <a:lnTo>
                    <a:pt x="169" y="893"/>
                  </a:lnTo>
                  <a:lnTo>
                    <a:pt x="169" y="891"/>
                  </a:lnTo>
                  <a:lnTo>
                    <a:pt x="168" y="891"/>
                  </a:lnTo>
                  <a:lnTo>
                    <a:pt x="168" y="889"/>
                  </a:lnTo>
                  <a:close/>
                  <a:moveTo>
                    <a:pt x="79" y="778"/>
                  </a:moveTo>
                  <a:lnTo>
                    <a:pt x="79" y="780"/>
                  </a:lnTo>
                  <a:lnTo>
                    <a:pt x="81" y="780"/>
                  </a:lnTo>
                  <a:lnTo>
                    <a:pt x="79" y="780"/>
                  </a:lnTo>
                  <a:lnTo>
                    <a:pt x="81" y="780"/>
                  </a:lnTo>
                  <a:lnTo>
                    <a:pt x="79" y="780"/>
                  </a:lnTo>
                  <a:lnTo>
                    <a:pt x="79" y="782"/>
                  </a:lnTo>
                  <a:lnTo>
                    <a:pt x="77" y="782"/>
                  </a:lnTo>
                  <a:lnTo>
                    <a:pt x="75" y="782"/>
                  </a:lnTo>
                  <a:lnTo>
                    <a:pt x="77" y="782"/>
                  </a:lnTo>
                  <a:lnTo>
                    <a:pt x="77" y="780"/>
                  </a:lnTo>
                  <a:lnTo>
                    <a:pt x="79" y="780"/>
                  </a:lnTo>
                  <a:lnTo>
                    <a:pt x="77" y="780"/>
                  </a:lnTo>
                  <a:lnTo>
                    <a:pt x="77" y="782"/>
                  </a:lnTo>
                  <a:lnTo>
                    <a:pt x="77" y="780"/>
                  </a:lnTo>
                  <a:lnTo>
                    <a:pt x="77" y="782"/>
                  </a:lnTo>
                  <a:lnTo>
                    <a:pt x="77" y="780"/>
                  </a:lnTo>
                  <a:lnTo>
                    <a:pt x="75" y="780"/>
                  </a:lnTo>
                  <a:lnTo>
                    <a:pt x="77" y="780"/>
                  </a:lnTo>
                  <a:lnTo>
                    <a:pt x="79" y="780"/>
                  </a:lnTo>
                  <a:lnTo>
                    <a:pt x="79" y="778"/>
                  </a:lnTo>
                  <a:close/>
                  <a:moveTo>
                    <a:pt x="102" y="442"/>
                  </a:moveTo>
                  <a:lnTo>
                    <a:pt x="104" y="442"/>
                  </a:lnTo>
                  <a:lnTo>
                    <a:pt x="106" y="442"/>
                  </a:lnTo>
                  <a:lnTo>
                    <a:pt x="106" y="444"/>
                  </a:lnTo>
                  <a:lnTo>
                    <a:pt x="104" y="444"/>
                  </a:lnTo>
                  <a:lnTo>
                    <a:pt x="106" y="444"/>
                  </a:lnTo>
                  <a:lnTo>
                    <a:pt x="104" y="444"/>
                  </a:lnTo>
                  <a:lnTo>
                    <a:pt x="106" y="444"/>
                  </a:lnTo>
                  <a:lnTo>
                    <a:pt x="104" y="444"/>
                  </a:lnTo>
                  <a:lnTo>
                    <a:pt x="106" y="444"/>
                  </a:lnTo>
                  <a:lnTo>
                    <a:pt x="104" y="444"/>
                  </a:lnTo>
                  <a:lnTo>
                    <a:pt x="106" y="444"/>
                  </a:lnTo>
                  <a:lnTo>
                    <a:pt x="104" y="444"/>
                  </a:lnTo>
                  <a:lnTo>
                    <a:pt x="106" y="444"/>
                  </a:lnTo>
                  <a:lnTo>
                    <a:pt x="104" y="444"/>
                  </a:lnTo>
                  <a:lnTo>
                    <a:pt x="104" y="446"/>
                  </a:lnTo>
                  <a:lnTo>
                    <a:pt x="102" y="446"/>
                  </a:lnTo>
                  <a:lnTo>
                    <a:pt x="102" y="444"/>
                  </a:lnTo>
                  <a:lnTo>
                    <a:pt x="102" y="446"/>
                  </a:lnTo>
                  <a:lnTo>
                    <a:pt x="102" y="444"/>
                  </a:lnTo>
                  <a:lnTo>
                    <a:pt x="102" y="446"/>
                  </a:lnTo>
                  <a:lnTo>
                    <a:pt x="102" y="444"/>
                  </a:lnTo>
                  <a:lnTo>
                    <a:pt x="102" y="442"/>
                  </a:lnTo>
                  <a:lnTo>
                    <a:pt x="104" y="442"/>
                  </a:lnTo>
                  <a:lnTo>
                    <a:pt x="102" y="442"/>
                  </a:lnTo>
                  <a:close/>
                  <a:moveTo>
                    <a:pt x="89" y="680"/>
                  </a:moveTo>
                  <a:lnTo>
                    <a:pt x="89" y="682"/>
                  </a:lnTo>
                  <a:lnTo>
                    <a:pt x="91" y="682"/>
                  </a:lnTo>
                  <a:lnTo>
                    <a:pt x="89" y="682"/>
                  </a:lnTo>
                  <a:lnTo>
                    <a:pt x="91" y="682"/>
                  </a:lnTo>
                  <a:lnTo>
                    <a:pt x="93" y="682"/>
                  </a:lnTo>
                  <a:lnTo>
                    <a:pt x="91" y="682"/>
                  </a:lnTo>
                  <a:lnTo>
                    <a:pt x="93" y="682"/>
                  </a:lnTo>
                  <a:lnTo>
                    <a:pt x="91" y="682"/>
                  </a:lnTo>
                  <a:lnTo>
                    <a:pt x="91" y="684"/>
                  </a:lnTo>
                  <a:lnTo>
                    <a:pt x="89" y="684"/>
                  </a:lnTo>
                  <a:lnTo>
                    <a:pt x="89" y="682"/>
                  </a:lnTo>
                  <a:lnTo>
                    <a:pt x="87" y="682"/>
                  </a:lnTo>
                  <a:lnTo>
                    <a:pt x="89" y="682"/>
                  </a:lnTo>
                  <a:lnTo>
                    <a:pt x="87" y="682"/>
                  </a:lnTo>
                  <a:lnTo>
                    <a:pt x="89" y="682"/>
                  </a:lnTo>
                  <a:lnTo>
                    <a:pt x="89" y="680"/>
                  </a:lnTo>
                  <a:lnTo>
                    <a:pt x="89" y="682"/>
                  </a:lnTo>
                  <a:lnTo>
                    <a:pt x="89" y="680"/>
                  </a:lnTo>
                  <a:lnTo>
                    <a:pt x="89" y="682"/>
                  </a:lnTo>
                  <a:lnTo>
                    <a:pt x="89" y="680"/>
                  </a:lnTo>
                  <a:lnTo>
                    <a:pt x="89" y="682"/>
                  </a:lnTo>
                  <a:lnTo>
                    <a:pt x="89" y="680"/>
                  </a:lnTo>
                  <a:close/>
                  <a:moveTo>
                    <a:pt x="16" y="503"/>
                  </a:moveTo>
                  <a:lnTo>
                    <a:pt x="16" y="505"/>
                  </a:lnTo>
                  <a:lnTo>
                    <a:pt x="18" y="505"/>
                  </a:lnTo>
                  <a:lnTo>
                    <a:pt x="20" y="505"/>
                  </a:lnTo>
                  <a:lnTo>
                    <a:pt x="20" y="507"/>
                  </a:lnTo>
                  <a:lnTo>
                    <a:pt x="18" y="507"/>
                  </a:lnTo>
                  <a:lnTo>
                    <a:pt x="16" y="507"/>
                  </a:lnTo>
                  <a:lnTo>
                    <a:pt x="16" y="505"/>
                  </a:lnTo>
                  <a:lnTo>
                    <a:pt x="16" y="503"/>
                  </a:lnTo>
                  <a:lnTo>
                    <a:pt x="14" y="503"/>
                  </a:lnTo>
                  <a:lnTo>
                    <a:pt x="16" y="503"/>
                  </a:lnTo>
                  <a:lnTo>
                    <a:pt x="14" y="503"/>
                  </a:lnTo>
                  <a:lnTo>
                    <a:pt x="16" y="503"/>
                  </a:lnTo>
                  <a:close/>
                  <a:moveTo>
                    <a:pt x="106" y="438"/>
                  </a:moveTo>
                  <a:lnTo>
                    <a:pt x="106" y="440"/>
                  </a:lnTo>
                  <a:lnTo>
                    <a:pt x="106" y="442"/>
                  </a:lnTo>
                  <a:lnTo>
                    <a:pt x="104" y="442"/>
                  </a:lnTo>
                  <a:lnTo>
                    <a:pt x="106" y="442"/>
                  </a:lnTo>
                  <a:lnTo>
                    <a:pt x="104" y="442"/>
                  </a:lnTo>
                  <a:lnTo>
                    <a:pt x="106" y="442"/>
                  </a:lnTo>
                  <a:lnTo>
                    <a:pt x="104" y="442"/>
                  </a:lnTo>
                  <a:lnTo>
                    <a:pt x="104" y="440"/>
                  </a:lnTo>
                  <a:lnTo>
                    <a:pt x="102" y="440"/>
                  </a:lnTo>
                  <a:lnTo>
                    <a:pt x="104" y="440"/>
                  </a:lnTo>
                  <a:lnTo>
                    <a:pt x="104" y="438"/>
                  </a:lnTo>
                  <a:lnTo>
                    <a:pt x="104" y="440"/>
                  </a:lnTo>
                  <a:lnTo>
                    <a:pt x="104" y="438"/>
                  </a:lnTo>
                  <a:lnTo>
                    <a:pt x="104" y="440"/>
                  </a:lnTo>
                  <a:lnTo>
                    <a:pt x="104" y="438"/>
                  </a:lnTo>
                  <a:lnTo>
                    <a:pt x="104" y="440"/>
                  </a:lnTo>
                  <a:lnTo>
                    <a:pt x="104" y="438"/>
                  </a:lnTo>
                  <a:lnTo>
                    <a:pt x="104" y="440"/>
                  </a:lnTo>
                  <a:lnTo>
                    <a:pt x="104" y="438"/>
                  </a:lnTo>
                  <a:lnTo>
                    <a:pt x="106" y="438"/>
                  </a:lnTo>
                  <a:close/>
                  <a:moveTo>
                    <a:pt x="93" y="615"/>
                  </a:moveTo>
                  <a:lnTo>
                    <a:pt x="93" y="617"/>
                  </a:lnTo>
                  <a:lnTo>
                    <a:pt x="91" y="617"/>
                  </a:lnTo>
                  <a:lnTo>
                    <a:pt x="91" y="619"/>
                  </a:lnTo>
                  <a:lnTo>
                    <a:pt x="89" y="619"/>
                  </a:lnTo>
                  <a:lnTo>
                    <a:pt x="89" y="617"/>
                  </a:lnTo>
                  <a:lnTo>
                    <a:pt x="89" y="619"/>
                  </a:lnTo>
                  <a:lnTo>
                    <a:pt x="89" y="617"/>
                  </a:lnTo>
                  <a:lnTo>
                    <a:pt x="89" y="619"/>
                  </a:lnTo>
                  <a:lnTo>
                    <a:pt x="89" y="617"/>
                  </a:lnTo>
                  <a:lnTo>
                    <a:pt x="91" y="617"/>
                  </a:lnTo>
                  <a:lnTo>
                    <a:pt x="89" y="617"/>
                  </a:lnTo>
                  <a:lnTo>
                    <a:pt x="91" y="617"/>
                  </a:lnTo>
                  <a:lnTo>
                    <a:pt x="89" y="617"/>
                  </a:lnTo>
                  <a:lnTo>
                    <a:pt x="91" y="617"/>
                  </a:lnTo>
                  <a:lnTo>
                    <a:pt x="91" y="615"/>
                  </a:lnTo>
                  <a:lnTo>
                    <a:pt x="93" y="615"/>
                  </a:lnTo>
                  <a:lnTo>
                    <a:pt x="93" y="617"/>
                  </a:lnTo>
                  <a:lnTo>
                    <a:pt x="93" y="615"/>
                  </a:lnTo>
                  <a:lnTo>
                    <a:pt x="93" y="617"/>
                  </a:lnTo>
                  <a:lnTo>
                    <a:pt x="93" y="615"/>
                  </a:lnTo>
                  <a:close/>
                  <a:moveTo>
                    <a:pt x="108" y="849"/>
                  </a:moveTo>
                  <a:lnTo>
                    <a:pt x="108" y="851"/>
                  </a:lnTo>
                  <a:lnTo>
                    <a:pt x="106" y="851"/>
                  </a:lnTo>
                  <a:lnTo>
                    <a:pt x="104" y="851"/>
                  </a:lnTo>
                  <a:lnTo>
                    <a:pt x="104" y="849"/>
                  </a:lnTo>
                  <a:lnTo>
                    <a:pt x="104" y="851"/>
                  </a:lnTo>
                  <a:lnTo>
                    <a:pt x="104" y="849"/>
                  </a:lnTo>
                  <a:lnTo>
                    <a:pt x="104" y="851"/>
                  </a:lnTo>
                  <a:lnTo>
                    <a:pt x="104" y="849"/>
                  </a:lnTo>
                  <a:lnTo>
                    <a:pt x="104" y="851"/>
                  </a:lnTo>
                  <a:lnTo>
                    <a:pt x="104" y="849"/>
                  </a:lnTo>
                  <a:lnTo>
                    <a:pt x="104" y="851"/>
                  </a:lnTo>
                  <a:lnTo>
                    <a:pt x="104" y="849"/>
                  </a:lnTo>
                  <a:lnTo>
                    <a:pt x="106" y="849"/>
                  </a:lnTo>
                  <a:lnTo>
                    <a:pt x="104" y="849"/>
                  </a:lnTo>
                  <a:lnTo>
                    <a:pt x="106" y="849"/>
                  </a:lnTo>
                  <a:lnTo>
                    <a:pt x="108" y="849"/>
                  </a:lnTo>
                  <a:close/>
                  <a:moveTo>
                    <a:pt x="104" y="596"/>
                  </a:moveTo>
                  <a:lnTo>
                    <a:pt x="104" y="597"/>
                  </a:lnTo>
                  <a:lnTo>
                    <a:pt x="104" y="596"/>
                  </a:lnTo>
                  <a:lnTo>
                    <a:pt x="104" y="597"/>
                  </a:lnTo>
                  <a:lnTo>
                    <a:pt x="104" y="596"/>
                  </a:lnTo>
                  <a:lnTo>
                    <a:pt x="104" y="597"/>
                  </a:lnTo>
                  <a:lnTo>
                    <a:pt x="104" y="596"/>
                  </a:lnTo>
                  <a:lnTo>
                    <a:pt x="104" y="597"/>
                  </a:lnTo>
                  <a:lnTo>
                    <a:pt x="106" y="597"/>
                  </a:lnTo>
                  <a:lnTo>
                    <a:pt x="104" y="597"/>
                  </a:lnTo>
                  <a:lnTo>
                    <a:pt x="104" y="599"/>
                  </a:lnTo>
                  <a:lnTo>
                    <a:pt x="102" y="599"/>
                  </a:lnTo>
                  <a:lnTo>
                    <a:pt x="104" y="599"/>
                  </a:lnTo>
                  <a:lnTo>
                    <a:pt x="102" y="599"/>
                  </a:lnTo>
                  <a:lnTo>
                    <a:pt x="102" y="597"/>
                  </a:lnTo>
                  <a:lnTo>
                    <a:pt x="104" y="597"/>
                  </a:lnTo>
                  <a:lnTo>
                    <a:pt x="102" y="597"/>
                  </a:lnTo>
                  <a:lnTo>
                    <a:pt x="102" y="596"/>
                  </a:lnTo>
                  <a:lnTo>
                    <a:pt x="104" y="596"/>
                  </a:lnTo>
                  <a:close/>
                  <a:moveTo>
                    <a:pt x="152" y="774"/>
                  </a:moveTo>
                  <a:lnTo>
                    <a:pt x="154" y="774"/>
                  </a:lnTo>
                  <a:lnTo>
                    <a:pt x="154" y="776"/>
                  </a:lnTo>
                  <a:lnTo>
                    <a:pt x="152" y="776"/>
                  </a:lnTo>
                  <a:lnTo>
                    <a:pt x="152" y="778"/>
                  </a:lnTo>
                  <a:lnTo>
                    <a:pt x="150" y="778"/>
                  </a:lnTo>
                  <a:lnTo>
                    <a:pt x="150" y="776"/>
                  </a:lnTo>
                  <a:lnTo>
                    <a:pt x="152" y="776"/>
                  </a:lnTo>
                  <a:lnTo>
                    <a:pt x="150" y="776"/>
                  </a:lnTo>
                  <a:lnTo>
                    <a:pt x="152" y="776"/>
                  </a:lnTo>
                  <a:lnTo>
                    <a:pt x="152" y="774"/>
                  </a:lnTo>
                  <a:close/>
                  <a:moveTo>
                    <a:pt x="152" y="766"/>
                  </a:moveTo>
                  <a:lnTo>
                    <a:pt x="152" y="768"/>
                  </a:lnTo>
                  <a:lnTo>
                    <a:pt x="152" y="770"/>
                  </a:lnTo>
                  <a:lnTo>
                    <a:pt x="150" y="770"/>
                  </a:lnTo>
                  <a:lnTo>
                    <a:pt x="148" y="770"/>
                  </a:lnTo>
                  <a:lnTo>
                    <a:pt x="150" y="770"/>
                  </a:lnTo>
                  <a:lnTo>
                    <a:pt x="150" y="768"/>
                  </a:lnTo>
                  <a:lnTo>
                    <a:pt x="150" y="766"/>
                  </a:lnTo>
                  <a:lnTo>
                    <a:pt x="152" y="766"/>
                  </a:lnTo>
                  <a:close/>
                  <a:moveTo>
                    <a:pt x="18" y="521"/>
                  </a:moveTo>
                  <a:lnTo>
                    <a:pt x="18" y="523"/>
                  </a:lnTo>
                  <a:lnTo>
                    <a:pt x="18" y="521"/>
                  </a:lnTo>
                  <a:lnTo>
                    <a:pt x="18" y="523"/>
                  </a:lnTo>
                  <a:lnTo>
                    <a:pt x="20" y="523"/>
                  </a:lnTo>
                  <a:lnTo>
                    <a:pt x="20" y="521"/>
                  </a:lnTo>
                  <a:lnTo>
                    <a:pt x="20" y="523"/>
                  </a:lnTo>
                  <a:lnTo>
                    <a:pt x="20" y="525"/>
                  </a:lnTo>
                  <a:lnTo>
                    <a:pt x="18" y="525"/>
                  </a:lnTo>
                  <a:lnTo>
                    <a:pt x="18" y="523"/>
                  </a:lnTo>
                  <a:lnTo>
                    <a:pt x="18" y="521"/>
                  </a:lnTo>
                  <a:close/>
                  <a:moveTo>
                    <a:pt x="96" y="459"/>
                  </a:moveTo>
                  <a:lnTo>
                    <a:pt x="98" y="459"/>
                  </a:lnTo>
                  <a:lnTo>
                    <a:pt x="98" y="461"/>
                  </a:lnTo>
                  <a:lnTo>
                    <a:pt x="98" y="459"/>
                  </a:lnTo>
                  <a:lnTo>
                    <a:pt x="98" y="461"/>
                  </a:lnTo>
                  <a:lnTo>
                    <a:pt x="98" y="463"/>
                  </a:lnTo>
                  <a:lnTo>
                    <a:pt x="96" y="463"/>
                  </a:lnTo>
                  <a:lnTo>
                    <a:pt x="96" y="461"/>
                  </a:lnTo>
                  <a:lnTo>
                    <a:pt x="96" y="459"/>
                  </a:lnTo>
                  <a:lnTo>
                    <a:pt x="96" y="461"/>
                  </a:lnTo>
                  <a:lnTo>
                    <a:pt x="96" y="459"/>
                  </a:lnTo>
                  <a:close/>
                  <a:moveTo>
                    <a:pt x="91" y="480"/>
                  </a:moveTo>
                  <a:lnTo>
                    <a:pt x="93" y="480"/>
                  </a:lnTo>
                  <a:lnTo>
                    <a:pt x="93" y="482"/>
                  </a:lnTo>
                  <a:lnTo>
                    <a:pt x="93" y="480"/>
                  </a:lnTo>
                  <a:lnTo>
                    <a:pt x="93" y="482"/>
                  </a:lnTo>
                  <a:lnTo>
                    <a:pt x="91" y="482"/>
                  </a:lnTo>
                  <a:lnTo>
                    <a:pt x="91" y="480"/>
                  </a:lnTo>
                  <a:lnTo>
                    <a:pt x="89" y="480"/>
                  </a:lnTo>
                  <a:lnTo>
                    <a:pt x="91" y="480"/>
                  </a:lnTo>
                  <a:lnTo>
                    <a:pt x="89" y="480"/>
                  </a:lnTo>
                  <a:lnTo>
                    <a:pt x="91" y="480"/>
                  </a:lnTo>
                  <a:close/>
                  <a:moveTo>
                    <a:pt x="93" y="551"/>
                  </a:moveTo>
                  <a:lnTo>
                    <a:pt x="93" y="553"/>
                  </a:lnTo>
                  <a:lnTo>
                    <a:pt x="93" y="555"/>
                  </a:lnTo>
                  <a:lnTo>
                    <a:pt x="91" y="555"/>
                  </a:lnTo>
                  <a:lnTo>
                    <a:pt x="91" y="553"/>
                  </a:lnTo>
                  <a:lnTo>
                    <a:pt x="91" y="551"/>
                  </a:lnTo>
                  <a:lnTo>
                    <a:pt x="93" y="551"/>
                  </a:lnTo>
                  <a:close/>
                  <a:moveTo>
                    <a:pt x="100" y="724"/>
                  </a:moveTo>
                  <a:lnTo>
                    <a:pt x="100" y="726"/>
                  </a:lnTo>
                  <a:lnTo>
                    <a:pt x="100" y="724"/>
                  </a:lnTo>
                  <a:lnTo>
                    <a:pt x="100" y="726"/>
                  </a:lnTo>
                  <a:lnTo>
                    <a:pt x="100" y="724"/>
                  </a:lnTo>
                  <a:lnTo>
                    <a:pt x="100" y="726"/>
                  </a:lnTo>
                  <a:lnTo>
                    <a:pt x="102" y="726"/>
                  </a:lnTo>
                  <a:lnTo>
                    <a:pt x="100" y="726"/>
                  </a:lnTo>
                  <a:lnTo>
                    <a:pt x="102" y="726"/>
                  </a:lnTo>
                  <a:lnTo>
                    <a:pt x="102" y="728"/>
                  </a:lnTo>
                  <a:lnTo>
                    <a:pt x="100" y="728"/>
                  </a:lnTo>
                  <a:lnTo>
                    <a:pt x="100" y="726"/>
                  </a:lnTo>
                  <a:lnTo>
                    <a:pt x="100" y="724"/>
                  </a:lnTo>
                  <a:lnTo>
                    <a:pt x="98" y="724"/>
                  </a:lnTo>
                  <a:lnTo>
                    <a:pt x="100" y="724"/>
                  </a:lnTo>
                  <a:close/>
                  <a:moveTo>
                    <a:pt x="91" y="469"/>
                  </a:moveTo>
                  <a:lnTo>
                    <a:pt x="91" y="471"/>
                  </a:lnTo>
                  <a:lnTo>
                    <a:pt x="91" y="473"/>
                  </a:lnTo>
                  <a:lnTo>
                    <a:pt x="89" y="473"/>
                  </a:lnTo>
                  <a:lnTo>
                    <a:pt x="89" y="471"/>
                  </a:lnTo>
                  <a:lnTo>
                    <a:pt x="89" y="473"/>
                  </a:lnTo>
                  <a:lnTo>
                    <a:pt x="89" y="471"/>
                  </a:lnTo>
                  <a:lnTo>
                    <a:pt x="89" y="473"/>
                  </a:lnTo>
                  <a:lnTo>
                    <a:pt x="91" y="473"/>
                  </a:lnTo>
                  <a:lnTo>
                    <a:pt x="89" y="473"/>
                  </a:lnTo>
                  <a:lnTo>
                    <a:pt x="89" y="471"/>
                  </a:lnTo>
                  <a:lnTo>
                    <a:pt x="91" y="469"/>
                  </a:lnTo>
                  <a:lnTo>
                    <a:pt x="91" y="471"/>
                  </a:lnTo>
                  <a:lnTo>
                    <a:pt x="91" y="469"/>
                  </a:lnTo>
                  <a:close/>
                  <a:moveTo>
                    <a:pt x="20" y="475"/>
                  </a:moveTo>
                  <a:lnTo>
                    <a:pt x="22" y="475"/>
                  </a:lnTo>
                  <a:lnTo>
                    <a:pt x="23" y="475"/>
                  </a:lnTo>
                  <a:lnTo>
                    <a:pt x="22" y="475"/>
                  </a:lnTo>
                  <a:lnTo>
                    <a:pt x="23" y="475"/>
                  </a:lnTo>
                  <a:lnTo>
                    <a:pt x="22" y="475"/>
                  </a:lnTo>
                  <a:lnTo>
                    <a:pt x="23" y="475"/>
                  </a:lnTo>
                  <a:lnTo>
                    <a:pt x="23" y="477"/>
                  </a:lnTo>
                  <a:lnTo>
                    <a:pt x="22" y="475"/>
                  </a:lnTo>
                  <a:lnTo>
                    <a:pt x="22" y="477"/>
                  </a:lnTo>
                  <a:lnTo>
                    <a:pt x="22" y="475"/>
                  </a:lnTo>
                  <a:lnTo>
                    <a:pt x="22" y="477"/>
                  </a:lnTo>
                  <a:lnTo>
                    <a:pt x="22" y="475"/>
                  </a:lnTo>
                  <a:lnTo>
                    <a:pt x="20" y="475"/>
                  </a:lnTo>
                  <a:close/>
                  <a:moveTo>
                    <a:pt x="114" y="525"/>
                  </a:moveTo>
                  <a:lnTo>
                    <a:pt x="116" y="525"/>
                  </a:lnTo>
                  <a:lnTo>
                    <a:pt x="116" y="526"/>
                  </a:lnTo>
                  <a:lnTo>
                    <a:pt x="114" y="526"/>
                  </a:lnTo>
                  <a:lnTo>
                    <a:pt x="114" y="528"/>
                  </a:lnTo>
                  <a:lnTo>
                    <a:pt x="114" y="526"/>
                  </a:lnTo>
                  <a:lnTo>
                    <a:pt x="114" y="525"/>
                  </a:lnTo>
                  <a:close/>
                  <a:moveTo>
                    <a:pt x="93" y="536"/>
                  </a:moveTo>
                  <a:lnTo>
                    <a:pt x="93" y="538"/>
                  </a:lnTo>
                  <a:lnTo>
                    <a:pt x="93" y="540"/>
                  </a:lnTo>
                  <a:lnTo>
                    <a:pt x="91" y="540"/>
                  </a:lnTo>
                  <a:lnTo>
                    <a:pt x="91" y="538"/>
                  </a:lnTo>
                  <a:lnTo>
                    <a:pt x="91" y="536"/>
                  </a:lnTo>
                  <a:lnTo>
                    <a:pt x="93" y="536"/>
                  </a:lnTo>
                  <a:close/>
                  <a:moveTo>
                    <a:pt x="112" y="718"/>
                  </a:moveTo>
                  <a:lnTo>
                    <a:pt x="114" y="718"/>
                  </a:lnTo>
                  <a:lnTo>
                    <a:pt x="114" y="720"/>
                  </a:lnTo>
                  <a:lnTo>
                    <a:pt x="116" y="720"/>
                  </a:lnTo>
                  <a:lnTo>
                    <a:pt x="114" y="720"/>
                  </a:lnTo>
                  <a:lnTo>
                    <a:pt x="112" y="720"/>
                  </a:lnTo>
                  <a:lnTo>
                    <a:pt x="112" y="718"/>
                  </a:lnTo>
                  <a:lnTo>
                    <a:pt x="110" y="718"/>
                  </a:lnTo>
                  <a:lnTo>
                    <a:pt x="112" y="718"/>
                  </a:lnTo>
                  <a:close/>
                  <a:moveTo>
                    <a:pt x="98" y="634"/>
                  </a:moveTo>
                  <a:lnTo>
                    <a:pt x="100" y="634"/>
                  </a:lnTo>
                  <a:lnTo>
                    <a:pt x="98" y="634"/>
                  </a:lnTo>
                  <a:lnTo>
                    <a:pt x="98" y="636"/>
                  </a:lnTo>
                  <a:lnTo>
                    <a:pt x="96" y="636"/>
                  </a:lnTo>
                  <a:lnTo>
                    <a:pt x="96" y="638"/>
                  </a:lnTo>
                  <a:lnTo>
                    <a:pt x="96" y="636"/>
                  </a:lnTo>
                  <a:lnTo>
                    <a:pt x="98" y="636"/>
                  </a:lnTo>
                  <a:lnTo>
                    <a:pt x="96" y="636"/>
                  </a:lnTo>
                  <a:lnTo>
                    <a:pt x="96" y="634"/>
                  </a:lnTo>
                  <a:lnTo>
                    <a:pt x="98" y="634"/>
                  </a:lnTo>
                  <a:lnTo>
                    <a:pt x="98" y="636"/>
                  </a:lnTo>
                  <a:lnTo>
                    <a:pt x="98" y="634"/>
                  </a:lnTo>
                  <a:close/>
                  <a:moveTo>
                    <a:pt x="108" y="717"/>
                  </a:moveTo>
                  <a:lnTo>
                    <a:pt x="110" y="717"/>
                  </a:lnTo>
                  <a:lnTo>
                    <a:pt x="110" y="718"/>
                  </a:lnTo>
                  <a:lnTo>
                    <a:pt x="110" y="717"/>
                  </a:lnTo>
                  <a:lnTo>
                    <a:pt x="110" y="718"/>
                  </a:lnTo>
                  <a:lnTo>
                    <a:pt x="108" y="718"/>
                  </a:lnTo>
                  <a:lnTo>
                    <a:pt x="108" y="717"/>
                  </a:lnTo>
                  <a:close/>
                  <a:moveTo>
                    <a:pt x="89" y="534"/>
                  </a:moveTo>
                  <a:lnTo>
                    <a:pt x="91" y="534"/>
                  </a:lnTo>
                  <a:lnTo>
                    <a:pt x="91" y="536"/>
                  </a:lnTo>
                  <a:lnTo>
                    <a:pt x="91" y="538"/>
                  </a:lnTo>
                  <a:lnTo>
                    <a:pt x="89" y="538"/>
                  </a:lnTo>
                  <a:lnTo>
                    <a:pt x="91" y="538"/>
                  </a:lnTo>
                  <a:lnTo>
                    <a:pt x="89" y="538"/>
                  </a:lnTo>
                  <a:lnTo>
                    <a:pt x="89" y="536"/>
                  </a:lnTo>
                  <a:lnTo>
                    <a:pt x="89" y="538"/>
                  </a:lnTo>
                  <a:lnTo>
                    <a:pt x="89" y="536"/>
                  </a:lnTo>
                  <a:lnTo>
                    <a:pt x="89" y="534"/>
                  </a:lnTo>
                  <a:lnTo>
                    <a:pt x="89" y="536"/>
                  </a:lnTo>
                  <a:lnTo>
                    <a:pt x="89" y="534"/>
                  </a:lnTo>
                  <a:lnTo>
                    <a:pt x="89" y="532"/>
                  </a:lnTo>
                  <a:lnTo>
                    <a:pt x="89" y="534"/>
                  </a:lnTo>
                  <a:close/>
                  <a:moveTo>
                    <a:pt x="110" y="720"/>
                  </a:moveTo>
                  <a:lnTo>
                    <a:pt x="108" y="720"/>
                  </a:lnTo>
                  <a:lnTo>
                    <a:pt x="110" y="720"/>
                  </a:lnTo>
                  <a:lnTo>
                    <a:pt x="110" y="722"/>
                  </a:lnTo>
                  <a:lnTo>
                    <a:pt x="108" y="722"/>
                  </a:lnTo>
                  <a:lnTo>
                    <a:pt x="108" y="720"/>
                  </a:lnTo>
                  <a:lnTo>
                    <a:pt x="106" y="720"/>
                  </a:lnTo>
                  <a:lnTo>
                    <a:pt x="108" y="720"/>
                  </a:lnTo>
                  <a:lnTo>
                    <a:pt x="110" y="720"/>
                  </a:lnTo>
                  <a:close/>
                  <a:moveTo>
                    <a:pt x="95" y="634"/>
                  </a:moveTo>
                  <a:lnTo>
                    <a:pt x="96" y="634"/>
                  </a:lnTo>
                  <a:lnTo>
                    <a:pt x="95" y="634"/>
                  </a:lnTo>
                  <a:lnTo>
                    <a:pt x="96" y="634"/>
                  </a:lnTo>
                  <a:lnTo>
                    <a:pt x="95" y="634"/>
                  </a:lnTo>
                  <a:lnTo>
                    <a:pt x="96" y="634"/>
                  </a:lnTo>
                  <a:lnTo>
                    <a:pt x="96" y="636"/>
                  </a:lnTo>
                  <a:lnTo>
                    <a:pt x="95" y="636"/>
                  </a:lnTo>
                  <a:lnTo>
                    <a:pt x="93" y="636"/>
                  </a:lnTo>
                  <a:lnTo>
                    <a:pt x="95" y="636"/>
                  </a:lnTo>
                  <a:lnTo>
                    <a:pt x="93" y="636"/>
                  </a:lnTo>
                  <a:lnTo>
                    <a:pt x="93" y="634"/>
                  </a:lnTo>
                  <a:lnTo>
                    <a:pt x="95" y="634"/>
                  </a:lnTo>
                  <a:close/>
                  <a:moveTo>
                    <a:pt x="106" y="436"/>
                  </a:moveTo>
                  <a:lnTo>
                    <a:pt x="106" y="438"/>
                  </a:lnTo>
                  <a:lnTo>
                    <a:pt x="104" y="438"/>
                  </a:lnTo>
                  <a:lnTo>
                    <a:pt x="106" y="438"/>
                  </a:lnTo>
                  <a:lnTo>
                    <a:pt x="104" y="438"/>
                  </a:lnTo>
                  <a:lnTo>
                    <a:pt x="102" y="438"/>
                  </a:lnTo>
                  <a:lnTo>
                    <a:pt x="104" y="438"/>
                  </a:lnTo>
                  <a:lnTo>
                    <a:pt x="104" y="436"/>
                  </a:lnTo>
                  <a:lnTo>
                    <a:pt x="104" y="438"/>
                  </a:lnTo>
                  <a:lnTo>
                    <a:pt x="104" y="436"/>
                  </a:lnTo>
                  <a:lnTo>
                    <a:pt x="104" y="438"/>
                  </a:lnTo>
                  <a:lnTo>
                    <a:pt x="106" y="438"/>
                  </a:lnTo>
                  <a:lnTo>
                    <a:pt x="106" y="436"/>
                  </a:lnTo>
                  <a:close/>
                  <a:moveTo>
                    <a:pt x="106" y="528"/>
                  </a:moveTo>
                  <a:lnTo>
                    <a:pt x="108" y="528"/>
                  </a:lnTo>
                  <a:lnTo>
                    <a:pt x="108" y="530"/>
                  </a:lnTo>
                  <a:lnTo>
                    <a:pt x="106" y="530"/>
                  </a:lnTo>
                  <a:lnTo>
                    <a:pt x="106" y="532"/>
                  </a:lnTo>
                  <a:lnTo>
                    <a:pt x="104" y="532"/>
                  </a:lnTo>
                  <a:lnTo>
                    <a:pt x="104" y="530"/>
                  </a:lnTo>
                  <a:lnTo>
                    <a:pt x="106" y="530"/>
                  </a:lnTo>
                  <a:lnTo>
                    <a:pt x="106" y="528"/>
                  </a:lnTo>
                  <a:close/>
                  <a:moveTo>
                    <a:pt x="93" y="482"/>
                  </a:moveTo>
                  <a:lnTo>
                    <a:pt x="95" y="482"/>
                  </a:lnTo>
                  <a:lnTo>
                    <a:pt x="95" y="484"/>
                  </a:lnTo>
                  <a:lnTo>
                    <a:pt x="93" y="484"/>
                  </a:lnTo>
                  <a:lnTo>
                    <a:pt x="93" y="482"/>
                  </a:lnTo>
                  <a:lnTo>
                    <a:pt x="93" y="484"/>
                  </a:lnTo>
                  <a:lnTo>
                    <a:pt x="93" y="482"/>
                  </a:lnTo>
                  <a:close/>
                  <a:moveTo>
                    <a:pt x="139" y="515"/>
                  </a:moveTo>
                  <a:lnTo>
                    <a:pt x="139" y="517"/>
                  </a:lnTo>
                  <a:lnTo>
                    <a:pt x="137" y="517"/>
                  </a:lnTo>
                  <a:lnTo>
                    <a:pt x="139" y="517"/>
                  </a:lnTo>
                  <a:lnTo>
                    <a:pt x="137" y="517"/>
                  </a:lnTo>
                  <a:lnTo>
                    <a:pt x="137" y="515"/>
                  </a:lnTo>
                  <a:lnTo>
                    <a:pt x="139" y="515"/>
                  </a:lnTo>
                  <a:close/>
                  <a:moveTo>
                    <a:pt x="98" y="655"/>
                  </a:moveTo>
                  <a:lnTo>
                    <a:pt x="98" y="657"/>
                  </a:lnTo>
                  <a:lnTo>
                    <a:pt x="98" y="655"/>
                  </a:lnTo>
                  <a:lnTo>
                    <a:pt x="98" y="657"/>
                  </a:lnTo>
                  <a:lnTo>
                    <a:pt x="100" y="657"/>
                  </a:lnTo>
                  <a:lnTo>
                    <a:pt x="98" y="657"/>
                  </a:lnTo>
                  <a:lnTo>
                    <a:pt x="98" y="659"/>
                  </a:lnTo>
                  <a:lnTo>
                    <a:pt x="98" y="657"/>
                  </a:lnTo>
                  <a:lnTo>
                    <a:pt x="98" y="659"/>
                  </a:lnTo>
                  <a:lnTo>
                    <a:pt x="98" y="657"/>
                  </a:lnTo>
                  <a:lnTo>
                    <a:pt x="96" y="657"/>
                  </a:lnTo>
                  <a:lnTo>
                    <a:pt x="98" y="657"/>
                  </a:lnTo>
                  <a:lnTo>
                    <a:pt x="96" y="657"/>
                  </a:lnTo>
                  <a:lnTo>
                    <a:pt x="98" y="657"/>
                  </a:lnTo>
                  <a:lnTo>
                    <a:pt x="96" y="657"/>
                  </a:lnTo>
                  <a:lnTo>
                    <a:pt x="98" y="657"/>
                  </a:lnTo>
                  <a:lnTo>
                    <a:pt x="96" y="657"/>
                  </a:lnTo>
                  <a:lnTo>
                    <a:pt x="98" y="657"/>
                  </a:lnTo>
                  <a:lnTo>
                    <a:pt x="96" y="657"/>
                  </a:lnTo>
                  <a:lnTo>
                    <a:pt x="98" y="657"/>
                  </a:lnTo>
                  <a:lnTo>
                    <a:pt x="96" y="657"/>
                  </a:lnTo>
                  <a:lnTo>
                    <a:pt x="96" y="655"/>
                  </a:lnTo>
                  <a:lnTo>
                    <a:pt x="98" y="655"/>
                  </a:lnTo>
                  <a:close/>
                  <a:moveTo>
                    <a:pt x="160" y="872"/>
                  </a:moveTo>
                  <a:lnTo>
                    <a:pt x="160" y="874"/>
                  </a:lnTo>
                  <a:lnTo>
                    <a:pt x="160" y="872"/>
                  </a:lnTo>
                  <a:lnTo>
                    <a:pt x="160" y="874"/>
                  </a:lnTo>
                  <a:lnTo>
                    <a:pt x="160" y="876"/>
                  </a:lnTo>
                  <a:lnTo>
                    <a:pt x="160" y="874"/>
                  </a:lnTo>
                  <a:lnTo>
                    <a:pt x="160" y="876"/>
                  </a:lnTo>
                  <a:lnTo>
                    <a:pt x="158" y="876"/>
                  </a:lnTo>
                  <a:lnTo>
                    <a:pt x="158" y="874"/>
                  </a:lnTo>
                  <a:lnTo>
                    <a:pt x="158" y="872"/>
                  </a:lnTo>
                  <a:lnTo>
                    <a:pt x="160" y="872"/>
                  </a:lnTo>
                  <a:close/>
                  <a:moveTo>
                    <a:pt x="110" y="703"/>
                  </a:moveTo>
                  <a:lnTo>
                    <a:pt x="110" y="705"/>
                  </a:lnTo>
                  <a:lnTo>
                    <a:pt x="112" y="705"/>
                  </a:lnTo>
                  <a:lnTo>
                    <a:pt x="112" y="707"/>
                  </a:lnTo>
                  <a:lnTo>
                    <a:pt x="110" y="705"/>
                  </a:lnTo>
                  <a:lnTo>
                    <a:pt x="110" y="707"/>
                  </a:lnTo>
                  <a:lnTo>
                    <a:pt x="110" y="705"/>
                  </a:lnTo>
                  <a:lnTo>
                    <a:pt x="108" y="705"/>
                  </a:lnTo>
                  <a:lnTo>
                    <a:pt x="110" y="705"/>
                  </a:lnTo>
                  <a:lnTo>
                    <a:pt x="108" y="705"/>
                  </a:lnTo>
                  <a:lnTo>
                    <a:pt x="108" y="703"/>
                  </a:lnTo>
                  <a:lnTo>
                    <a:pt x="110" y="703"/>
                  </a:lnTo>
                  <a:lnTo>
                    <a:pt x="108" y="703"/>
                  </a:lnTo>
                  <a:lnTo>
                    <a:pt x="110" y="703"/>
                  </a:lnTo>
                  <a:close/>
                  <a:moveTo>
                    <a:pt x="146" y="511"/>
                  </a:moveTo>
                  <a:lnTo>
                    <a:pt x="146" y="513"/>
                  </a:lnTo>
                  <a:lnTo>
                    <a:pt x="144" y="513"/>
                  </a:lnTo>
                  <a:lnTo>
                    <a:pt x="144" y="511"/>
                  </a:lnTo>
                  <a:lnTo>
                    <a:pt x="146" y="511"/>
                  </a:lnTo>
                  <a:close/>
                  <a:moveTo>
                    <a:pt x="171" y="409"/>
                  </a:moveTo>
                  <a:lnTo>
                    <a:pt x="169" y="409"/>
                  </a:lnTo>
                  <a:lnTo>
                    <a:pt x="169" y="411"/>
                  </a:lnTo>
                  <a:lnTo>
                    <a:pt x="169" y="413"/>
                  </a:lnTo>
                  <a:lnTo>
                    <a:pt x="168" y="413"/>
                  </a:lnTo>
                  <a:lnTo>
                    <a:pt x="169" y="413"/>
                  </a:lnTo>
                  <a:lnTo>
                    <a:pt x="169" y="411"/>
                  </a:lnTo>
                  <a:lnTo>
                    <a:pt x="169" y="413"/>
                  </a:lnTo>
                  <a:lnTo>
                    <a:pt x="168" y="413"/>
                  </a:lnTo>
                  <a:lnTo>
                    <a:pt x="169" y="413"/>
                  </a:lnTo>
                  <a:lnTo>
                    <a:pt x="169" y="411"/>
                  </a:lnTo>
                  <a:lnTo>
                    <a:pt x="168" y="411"/>
                  </a:lnTo>
                  <a:lnTo>
                    <a:pt x="169" y="411"/>
                  </a:lnTo>
                  <a:lnTo>
                    <a:pt x="168" y="411"/>
                  </a:lnTo>
                  <a:lnTo>
                    <a:pt x="169" y="411"/>
                  </a:lnTo>
                  <a:lnTo>
                    <a:pt x="168" y="411"/>
                  </a:lnTo>
                  <a:lnTo>
                    <a:pt x="169" y="411"/>
                  </a:lnTo>
                  <a:lnTo>
                    <a:pt x="169" y="409"/>
                  </a:lnTo>
                  <a:lnTo>
                    <a:pt x="171" y="409"/>
                  </a:lnTo>
                  <a:close/>
                  <a:moveTo>
                    <a:pt x="45" y="672"/>
                  </a:moveTo>
                  <a:lnTo>
                    <a:pt x="45" y="674"/>
                  </a:lnTo>
                  <a:lnTo>
                    <a:pt x="45" y="672"/>
                  </a:lnTo>
                  <a:lnTo>
                    <a:pt x="45" y="674"/>
                  </a:lnTo>
                  <a:lnTo>
                    <a:pt x="47" y="674"/>
                  </a:lnTo>
                  <a:lnTo>
                    <a:pt x="47" y="676"/>
                  </a:lnTo>
                  <a:lnTo>
                    <a:pt x="47" y="674"/>
                  </a:lnTo>
                  <a:lnTo>
                    <a:pt x="45" y="674"/>
                  </a:lnTo>
                  <a:lnTo>
                    <a:pt x="45" y="672"/>
                  </a:lnTo>
                  <a:lnTo>
                    <a:pt x="45" y="674"/>
                  </a:lnTo>
                  <a:lnTo>
                    <a:pt x="45" y="672"/>
                  </a:lnTo>
                  <a:close/>
                  <a:moveTo>
                    <a:pt x="100" y="611"/>
                  </a:moveTo>
                  <a:lnTo>
                    <a:pt x="98" y="611"/>
                  </a:lnTo>
                  <a:lnTo>
                    <a:pt x="100" y="611"/>
                  </a:lnTo>
                  <a:lnTo>
                    <a:pt x="98" y="611"/>
                  </a:lnTo>
                  <a:lnTo>
                    <a:pt x="100" y="611"/>
                  </a:lnTo>
                  <a:lnTo>
                    <a:pt x="98" y="611"/>
                  </a:lnTo>
                  <a:lnTo>
                    <a:pt x="98" y="613"/>
                  </a:lnTo>
                  <a:lnTo>
                    <a:pt x="98" y="611"/>
                  </a:lnTo>
                  <a:lnTo>
                    <a:pt x="98" y="613"/>
                  </a:lnTo>
                  <a:lnTo>
                    <a:pt x="98" y="611"/>
                  </a:lnTo>
                  <a:lnTo>
                    <a:pt x="98" y="613"/>
                  </a:lnTo>
                  <a:lnTo>
                    <a:pt x="98" y="611"/>
                  </a:lnTo>
                  <a:lnTo>
                    <a:pt x="98" y="613"/>
                  </a:lnTo>
                  <a:lnTo>
                    <a:pt x="96" y="613"/>
                  </a:lnTo>
                  <a:lnTo>
                    <a:pt x="98" y="613"/>
                  </a:lnTo>
                  <a:lnTo>
                    <a:pt x="98" y="611"/>
                  </a:lnTo>
                  <a:lnTo>
                    <a:pt x="96" y="611"/>
                  </a:lnTo>
                  <a:lnTo>
                    <a:pt x="98" y="611"/>
                  </a:lnTo>
                  <a:lnTo>
                    <a:pt x="100" y="611"/>
                  </a:lnTo>
                  <a:lnTo>
                    <a:pt x="100" y="609"/>
                  </a:lnTo>
                  <a:lnTo>
                    <a:pt x="100" y="611"/>
                  </a:lnTo>
                  <a:close/>
                  <a:moveTo>
                    <a:pt x="102" y="425"/>
                  </a:moveTo>
                  <a:lnTo>
                    <a:pt x="102" y="427"/>
                  </a:lnTo>
                  <a:lnTo>
                    <a:pt x="100" y="427"/>
                  </a:lnTo>
                  <a:lnTo>
                    <a:pt x="102" y="427"/>
                  </a:lnTo>
                  <a:lnTo>
                    <a:pt x="100" y="427"/>
                  </a:lnTo>
                  <a:lnTo>
                    <a:pt x="100" y="425"/>
                  </a:lnTo>
                  <a:lnTo>
                    <a:pt x="102" y="425"/>
                  </a:lnTo>
                  <a:lnTo>
                    <a:pt x="100" y="425"/>
                  </a:lnTo>
                  <a:lnTo>
                    <a:pt x="102" y="425"/>
                  </a:lnTo>
                  <a:close/>
                  <a:moveTo>
                    <a:pt x="146" y="795"/>
                  </a:moveTo>
                  <a:lnTo>
                    <a:pt x="144" y="795"/>
                  </a:lnTo>
                  <a:lnTo>
                    <a:pt x="144" y="797"/>
                  </a:lnTo>
                  <a:lnTo>
                    <a:pt x="144" y="795"/>
                  </a:lnTo>
                  <a:lnTo>
                    <a:pt x="144" y="793"/>
                  </a:lnTo>
                  <a:lnTo>
                    <a:pt x="144" y="795"/>
                  </a:lnTo>
                  <a:lnTo>
                    <a:pt x="146" y="795"/>
                  </a:lnTo>
                  <a:close/>
                  <a:moveTo>
                    <a:pt x="114" y="469"/>
                  </a:moveTo>
                  <a:lnTo>
                    <a:pt x="114" y="471"/>
                  </a:lnTo>
                  <a:lnTo>
                    <a:pt x="112" y="471"/>
                  </a:lnTo>
                  <a:lnTo>
                    <a:pt x="112" y="469"/>
                  </a:lnTo>
                  <a:lnTo>
                    <a:pt x="114" y="469"/>
                  </a:lnTo>
                  <a:close/>
                  <a:moveTo>
                    <a:pt x="160" y="876"/>
                  </a:moveTo>
                  <a:lnTo>
                    <a:pt x="160" y="878"/>
                  </a:lnTo>
                  <a:lnTo>
                    <a:pt x="158" y="878"/>
                  </a:lnTo>
                  <a:lnTo>
                    <a:pt x="158" y="876"/>
                  </a:lnTo>
                  <a:lnTo>
                    <a:pt x="160" y="876"/>
                  </a:lnTo>
                  <a:close/>
                  <a:moveTo>
                    <a:pt x="189" y="851"/>
                  </a:moveTo>
                  <a:lnTo>
                    <a:pt x="191" y="851"/>
                  </a:lnTo>
                  <a:lnTo>
                    <a:pt x="189" y="851"/>
                  </a:lnTo>
                  <a:lnTo>
                    <a:pt x="191" y="851"/>
                  </a:lnTo>
                  <a:lnTo>
                    <a:pt x="189" y="851"/>
                  </a:lnTo>
                  <a:lnTo>
                    <a:pt x="189" y="853"/>
                  </a:lnTo>
                  <a:lnTo>
                    <a:pt x="189" y="851"/>
                  </a:lnTo>
                  <a:close/>
                  <a:moveTo>
                    <a:pt x="14" y="503"/>
                  </a:moveTo>
                  <a:lnTo>
                    <a:pt x="14" y="505"/>
                  </a:lnTo>
                  <a:lnTo>
                    <a:pt x="14" y="507"/>
                  </a:lnTo>
                  <a:lnTo>
                    <a:pt x="14" y="505"/>
                  </a:lnTo>
                  <a:lnTo>
                    <a:pt x="14" y="503"/>
                  </a:lnTo>
                  <a:close/>
                  <a:moveTo>
                    <a:pt x="123" y="730"/>
                  </a:moveTo>
                  <a:lnTo>
                    <a:pt x="123" y="732"/>
                  </a:lnTo>
                  <a:lnTo>
                    <a:pt x="121" y="732"/>
                  </a:lnTo>
                  <a:lnTo>
                    <a:pt x="121" y="730"/>
                  </a:lnTo>
                  <a:lnTo>
                    <a:pt x="123" y="730"/>
                  </a:lnTo>
                  <a:close/>
                  <a:moveTo>
                    <a:pt x="168" y="895"/>
                  </a:moveTo>
                  <a:lnTo>
                    <a:pt x="169" y="895"/>
                  </a:lnTo>
                  <a:lnTo>
                    <a:pt x="169" y="897"/>
                  </a:lnTo>
                  <a:lnTo>
                    <a:pt x="169" y="899"/>
                  </a:lnTo>
                  <a:lnTo>
                    <a:pt x="169" y="897"/>
                  </a:lnTo>
                  <a:lnTo>
                    <a:pt x="169" y="899"/>
                  </a:lnTo>
                  <a:lnTo>
                    <a:pt x="169" y="897"/>
                  </a:lnTo>
                  <a:lnTo>
                    <a:pt x="168" y="897"/>
                  </a:lnTo>
                  <a:lnTo>
                    <a:pt x="168" y="895"/>
                  </a:lnTo>
                  <a:close/>
                  <a:moveTo>
                    <a:pt x="162" y="901"/>
                  </a:moveTo>
                  <a:lnTo>
                    <a:pt x="162" y="903"/>
                  </a:lnTo>
                  <a:lnTo>
                    <a:pt x="162" y="905"/>
                  </a:lnTo>
                  <a:lnTo>
                    <a:pt x="162" y="903"/>
                  </a:lnTo>
                  <a:lnTo>
                    <a:pt x="162" y="901"/>
                  </a:lnTo>
                  <a:lnTo>
                    <a:pt x="160" y="901"/>
                  </a:lnTo>
                  <a:lnTo>
                    <a:pt x="162" y="901"/>
                  </a:lnTo>
                  <a:lnTo>
                    <a:pt x="160" y="901"/>
                  </a:lnTo>
                  <a:lnTo>
                    <a:pt x="162" y="901"/>
                  </a:lnTo>
                  <a:lnTo>
                    <a:pt x="160" y="901"/>
                  </a:lnTo>
                  <a:lnTo>
                    <a:pt x="162" y="901"/>
                  </a:lnTo>
                  <a:lnTo>
                    <a:pt x="160" y="901"/>
                  </a:lnTo>
                  <a:lnTo>
                    <a:pt x="162" y="901"/>
                  </a:lnTo>
                  <a:lnTo>
                    <a:pt x="162" y="899"/>
                  </a:lnTo>
                  <a:lnTo>
                    <a:pt x="162" y="901"/>
                  </a:lnTo>
                  <a:close/>
                  <a:moveTo>
                    <a:pt x="43" y="670"/>
                  </a:moveTo>
                  <a:lnTo>
                    <a:pt x="45" y="670"/>
                  </a:lnTo>
                  <a:lnTo>
                    <a:pt x="45" y="672"/>
                  </a:lnTo>
                  <a:lnTo>
                    <a:pt x="43" y="672"/>
                  </a:lnTo>
                  <a:lnTo>
                    <a:pt x="45" y="672"/>
                  </a:lnTo>
                  <a:lnTo>
                    <a:pt x="43" y="672"/>
                  </a:lnTo>
                  <a:lnTo>
                    <a:pt x="43" y="670"/>
                  </a:lnTo>
                  <a:lnTo>
                    <a:pt x="43" y="672"/>
                  </a:lnTo>
                  <a:lnTo>
                    <a:pt x="43" y="670"/>
                  </a:lnTo>
                  <a:close/>
                  <a:moveTo>
                    <a:pt x="100" y="659"/>
                  </a:moveTo>
                  <a:lnTo>
                    <a:pt x="102" y="659"/>
                  </a:lnTo>
                  <a:lnTo>
                    <a:pt x="100" y="659"/>
                  </a:lnTo>
                  <a:lnTo>
                    <a:pt x="102" y="659"/>
                  </a:lnTo>
                  <a:lnTo>
                    <a:pt x="100" y="659"/>
                  </a:lnTo>
                  <a:lnTo>
                    <a:pt x="100" y="661"/>
                  </a:lnTo>
                  <a:lnTo>
                    <a:pt x="100" y="659"/>
                  </a:lnTo>
                  <a:lnTo>
                    <a:pt x="98" y="659"/>
                  </a:lnTo>
                  <a:lnTo>
                    <a:pt x="100" y="659"/>
                  </a:lnTo>
                  <a:lnTo>
                    <a:pt x="98" y="659"/>
                  </a:lnTo>
                  <a:lnTo>
                    <a:pt x="100" y="659"/>
                  </a:lnTo>
                  <a:close/>
                  <a:moveTo>
                    <a:pt x="108" y="726"/>
                  </a:moveTo>
                  <a:lnTo>
                    <a:pt x="110" y="726"/>
                  </a:lnTo>
                  <a:lnTo>
                    <a:pt x="110" y="728"/>
                  </a:lnTo>
                  <a:lnTo>
                    <a:pt x="108" y="728"/>
                  </a:lnTo>
                  <a:lnTo>
                    <a:pt x="108" y="726"/>
                  </a:lnTo>
                  <a:lnTo>
                    <a:pt x="108" y="728"/>
                  </a:lnTo>
                  <a:lnTo>
                    <a:pt x="108" y="726"/>
                  </a:lnTo>
                  <a:lnTo>
                    <a:pt x="108" y="728"/>
                  </a:lnTo>
                  <a:lnTo>
                    <a:pt x="108" y="726"/>
                  </a:lnTo>
                  <a:close/>
                  <a:moveTo>
                    <a:pt x="152" y="807"/>
                  </a:moveTo>
                  <a:lnTo>
                    <a:pt x="152" y="809"/>
                  </a:lnTo>
                  <a:lnTo>
                    <a:pt x="150" y="809"/>
                  </a:lnTo>
                  <a:lnTo>
                    <a:pt x="150" y="807"/>
                  </a:lnTo>
                  <a:lnTo>
                    <a:pt x="152" y="807"/>
                  </a:lnTo>
                  <a:close/>
                  <a:moveTo>
                    <a:pt x="144" y="788"/>
                  </a:moveTo>
                  <a:lnTo>
                    <a:pt x="144" y="789"/>
                  </a:lnTo>
                  <a:lnTo>
                    <a:pt x="143" y="789"/>
                  </a:lnTo>
                  <a:lnTo>
                    <a:pt x="143" y="788"/>
                  </a:lnTo>
                  <a:lnTo>
                    <a:pt x="144" y="788"/>
                  </a:lnTo>
                  <a:close/>
                  <a:moveTo>
                    <a:pt x="85" y="801"/>
                  </a:moveTo>
                  <a:lnTo>
                    <a:pt x="87" y="801"/>
                  </a:lnTo>
                  <a:lnTo>
                    <a:pt x="87" y="803"/>
                  </a:lnTo>
                  <a:lnTo>
                    <a:pt x="85" y="803"/>
                  </a:lnTo>
                  <a:lnTo>
                    <a:pt x="85" y="801"/>
                  </a:lnTo>
                  <a:close/>
                  <a:moveTo>
                    <a:pt x="75" y="492"/>
                  </a:moveTo>
                  <a:lnTo>
                    <a:pt x="77" y="492"/>
                  </a:lnTo>
                  <a:lnTo>
                    <a:pt x="75" y="492"/>
                  </a:lnTo>
                  <a:lnTo>
                    <a:pt x="77" y="492"/>
                  </a:lnTo>
                  <a:lnTo>
                    <a:pt x="75" y="492"/>
                  </a:lnTo>
                  <a:lnTo>
                    <a:pt x="75" y="494"/>
                  </a:lnTo>
                  <a:lnTo>
                    <a:pt x="75" y="492"/>
                  </a:lnTo>
                  <a:lnTo>
                    <a:pt x="75" y="494"/>
                  </a:lnTo>
                  <a:lnTo>
                    <a:pt x="75" y="492"/>
                  </a:lnTo>
                  <a:lnTo>
                    <a:pt x="75" y="494"/>
                  </a:lnTo>
                  <a:lnTo>
                    <a:pt x="75" y="492"/>
                  </a:lnTo>
                  <a:close/>
                  <a:moveTo>
                    <a:pt x="121" y="436"/>
                  </a:moveTo>
                  <a:lnTo>
                    <a:pt x="123" y="436"/>
                  </a:lnTo>
                  <a:lnTo>
                    <a:pt x="123" y="438"/>
                  </a:lnTo>
                  <a:lnTo>
                    <a:pt x="121" y="438"/>
                  </a:lnTo>
                  <a:lnTo>
                    <a:pt x="121" y="436"/>
                  </a:lnTo>
                  <a:close/>
                  <a:moveTo>
                    <a:pt x="164" y="822"/>
                  </a:moveTo>
                  <a:lnTo>
                    <a:pt x="166" y="822"/>
                  </a:lnTo>
                  <a:lnTo>
                    <a:pt x="166" y="824"/>
                  </a:lnTo>
                  <a:lnTo>
                    <a:pt x="164" y="824"/>
                  </a:lnTo>
                  <a:lnTo>
                    <a:pt x="164" y="822"/>
                  </a:lnTo>
                  <a:lnTo>
                    <a:pt x="164" y="824"/>
                  </a:lnTo>
                  <a:lnTo>
                    <a:pt x="164" y="822"/>
                  </a:lnTo>
                  <a:lnTo>
                    <a:pt x="164" y="824"/>
                  </a:lnTo>
                  <a:lnTo>
                    <a:pt x="164" y="822"/>
                  </a:lnTo>
                  <a:lnTo>
                    <a:pt x="164" y="824"/>
                  </a:lnTo>
                  <a:lnTo>
                    <a:pt x="162" y="824"/>
                  </a:lnTo>
                  <a:lnTo>
                    <a:pt x="162" y="822"/>
                  </a:lnTo>
                  <a:lnTo>
                    <a:pt x="164" y="822"/>
                  </a:lnTo>
                  <a:lnTo>
                    <a:pt x="162" y="822"/>
                  </a:lnTo>
                  <a:lnTo>
                    <a:pt x="162" y="824"/>
                  </a:lnTo>
                  <a:lnTo>
                    <a:pt x="162" y="822"/>
                  </a:lnTo>
                  <a:lnTo>
                    <a:pt x="162" y="824"/>
                  </a:lnTo>
                  <a:lnTo>
                    <a:pt x="162" y="822"/>
                  </a:lnTo>
                  <a:lnTo>
                    <a:pt x="162" y="824"/>
                  </a:lnTo>
                  <a:lnTo>
                    <a:pt x="162" y="822"/>
                  </a:lnTo>
                  <a:lnTo>
                    <a:pt x="164" y="822"/>
                  </a:lnTo>
                  <a:close/>
                  <a:moveTo>
                    <a:pt x="164" y="839"/>
                  </a:moveTo>
                  <a:lnTo>
                    <a:pt x="164" y="841"/>
                  </a:lnTo>
                  <a:lnTo>
                    <a:pt x="164" y="839"/>
                  </a:lnTo>
                  <a:lnTo>
                    <a:pt x="164" y="841"/>
                  </a:lnTo>
                  <a:lnTo>
                    <a:pt x="164" y="843"/>
                  </a:lnTo>
                  <a:lnTo>
                    <a:pt x="164" y="841"/>
                  </a:lnTo>
                  <a:lnTo>
                    <a:pt x="164" y="839"/>
                  </a:lnTo>
                  <a:close/>
                  <a:moveTo>
                    <a:pt x="166" y="887"/>
                  </a:moveTo>
                  <a:lnTo>
                    <a:pt x="166" y="889"/>
                  </a:lnTo>
                  <a:lnTo>
                    <a:pt x="166" y="891"/>
                  </a:lnTo>
                  <a:lnTo>
                    <a:pt x="166" y="889"/>
                  </a:lnTo>
                  <a:lnTo>
                    <a:pt x="166" y="891"/>
                  </a:lnTo>
                  <a:lnTo>
                    <a:pt x="166" y="889"/>
                  </a:lnTo>
                  <a:lnTo>
                    <a:pt x="166" y="891"/>
                  </a:lnTo>
                  <a:lnTo>
                    <a:pt x="166" y="889"/>
                  </a:lnTo>
                  <a:lnTo>
                    <a:pt x="164" y="889"/>
                  </a:lnTo>
                  <a:lnTo>
                    <a:pt x="166" y="889"/>
                  </a:lnTo>
                  <a:lnTo>
                    <a:pt x="164" y="889"/>
                  </a:lnTo>
                  <a:lnTo>
                    <a:pt x="166" y="889"/>
                  </a:lnTo>
                  <a:lnTo>
                    <a:pt x="164" y="889"/>
                  </a:lnTo>
                  <a:lnTo>
                    <a:pt x="166" y="889"/>
                  </a:lnTo>
                  <a:lnTo>
                    <a:pt x="164" y="889"/>
                  </a:lnTo>
                  <a:lnTo>
                    <a:pt x="166" y="889"/>
                  </a:lnTo>
                  <a:lnTo>
                    <a:pt x="164" y="889"/>
                  </a:lnTo>
                  <a:lnTo>
                    <a:pt x="166" y="889"/>
                  </a:lnTo>
                  <a:lnTo>
                    <a:pt x="164" y="889"/>
                  </a:lnTo>
                  <a:lnTo>
                    <a:pt x="164" y="887"/>
                  </a:lnTo>
                  <a:lnTo>
                    <a:pt x="166" y="887"/>
                  </a:lnTo>
                  <a:lnTo>
                    <a:pt x="166" y="889"/>
                  </a:lnTo>
                  <a:lnTo>
                    <a:pt x="166" y="887"/>
                  </a:lnTo>
                  <a:close/>
                  <a:moveTo>
                    <a:pt x="108" y="847"/>
                  </a:moveTo>
                  <a:lnTo>
                    <a:pt x="110" y="847"/>
                  </a:lnTo>
                  <a:lnTo>
                    <a:pt x="108" y="847"/>
                  </a:lnTo>
                  <a:close/>
                  <a:moveTo>
                    <a:pt x="102" y="722"/>
                  </a:moveTo>
                  <a:lnTo>
                    <a:pt x="102" y="724"/>
                  </a:lnTo>
                  <a:lnTo>
                    <a:pt x="102" y="722"/>
                  </a:lnTo>
                  <a:lnTo>
                    <a:pt x="102" y="724"/>
                  </a:lnTo>
                  <a:lnTo>
                    <a:pt x="104" y="724"/>
                  </a:lnTo>
                  <a:lnTo>
                    <a:pt x="104" y="726"/>
                  </a:lnTo>
                  <a:lnTo>
                    <a:pt x="104" y="724"/>
                  </a:lnTo>
                  <a:lnTo>
                    <a:pt x="102" y="724"/>
                  </a:lnTo>
                  <a:lnTo>
                    <a:pt x="102" y="722"/>
                  </a:lnTo>
                  <a:close/>
                  <a:moveTo>
                    <a:pt x="104" y="573"/>
                  </a:moveTo>
                  <a:lnTo>
                    <a:pt x="104" y="574"/>
                  </a:lnTo>
                  <a:lnTo>
                    <a:pt x="104" y="576"/>
                  </a:lnTo>
                  <a:lnTo>
                    <a:pt x="102" y="576"/>
                  </a:lnTo>
                  <a:lnTo>
                    <a:pt x="102" y="574"/>
                  </a:lnTo>
                  <a:lnTo>
                    <a:pt x="104" y="574"/>
                  </a:lnTo>
                  <a:lnTo>
                    <a:pt x="102" y="574"/>
                  </a:lnTo>
                  <a:lnTo>
                    <a:pt x="104" y="573"/>
                  </a:lnTo>
                  <a:close/>
                  <a:moveTo>
                    <a:pt x="118" y="440"/>
                  </a:moveTo>
                  <a:lnTo>
                    <a:pt x="118" y="442"/>
                  </a:lnTo>
                  <a:lnTo>
                    <a:pt x="118" y="440"/>
                  </a:lnTo>
                  <a:lnTo>
                    <a:pt x="118" y="442"/>
                  </a:lnTo>
                  <a:lnTo>
                    <a:pt x="116" y="442"/>
                  </a:lnTo>
                  <a:lnTo>
                    <a:pt x="118" y="442"/>
                  </a:lnTo>
                  <a:lnTo>
                    <a:pt x="118" y="440"/>
                  </a:lnTo>
                  <a:lnTo>
                    <a:pt x="118" y="442"/>
                  </a:lnTo>
                  <a:lnTo>
                    <a:pt x="118" y="440"/>
                  </a:lnTo>
                  <a:close/>
                  <a:moveTo>
                    <a:pt x="179" y="855"/>
                  </a:moveTo>
                  <a:lnTo>
                    <a:pt x="179" y="857"/>
                  </a:lnTo>
                  <a:lnTo>
                    <a:pt x="181" y="857"/>
                  </a:lnTo>
                  <a:lnTo>
                    <a:pt x="179" y="857"/>
                  </a:lnTo>
                  <a:lnTo>
                    <a:pt x="177" y="857"/>
                  </a:lnTo>
                  <a:lnTo>
                    <a:pt x="179" y="857"/>
                  </a:lnTo>
                  <a:lnTo>
                    <a:pt x="179" y="855"/>
                  </a:lnTo>
                  <a:close/>
                  <a:moveTo>
                    <a:pt x="104" y="599"/>
                  </a:moveTo>
                  <a:lnTo>
                    <a:pt x="106" y="599"/>
                  </a:lnTo>
                  <a:lnTo>
                    <a:pt x="104" y="599"/>
                  </a:lnTo>
                  <a:lnTo>
                    <a:pt x="104" y="601"/>
                  </a:lnTo>
                  <a:lnTo>
                    <a:pt x="102" y="601"/>
                  </a:lnTo>
                  <a:lnTo>
                    <a:pt x="102" y="599"/>
                  </a:lnTo>
                  <a:lnTo>
                    <a:pt x="102" y="601"/>
                  </a:lnTo>
                  <a:lnTo>
                    <a:pt x="102" y="599"/>
                  </a:lnTo>
                  <a:lnTo>
                    <a:pt x="104" y="599"/>
                  </a:lnTo>
                  <a:lnTo>
                    <a:pt x="104" y="601"/>
                  </a:lnTo>
                  <a:lnTo>
                    <a:pt x="104" y="599"/>
                  </a:lnTo>
                  <a:close/>
                  <a:moveTo>
                    <a:pt x="164" y="895"/>
                  </a:moveTo>
                  <a:lnTo>
                    <a:pt x="164" y="897"/>
                  </a:lnTo>
                  <a:lnTo>
                    <a:pt x="166" y="897"/>
                  </a:lnTo>
                  <a:lnTo>
                    <a:pt x="164" y="897"/>
                  </a:lnTo>
                  <a:lnTo>
                    <a:pt x="164" y="899"/>
                  </a:lnTo>
                  <a:lnTo>
                    <a:pt x="164" y="897"/>
                  </a:lnTo>
                  <a:lnTo>
                    <a:pt x="164" y="895"/>
                  </a:lnTo>
                  <a:close/>
                  <a:moveTo>
                    <a:pt x="100" y="613"/>
                  </a:moveTo>
                  <a:lnTo>
                    <a:pt x="100" y="615"/>
                  </a:lnTo>
                  <a:lnTo>
                    <a:pt x="100" y="613"/>
                  </a:lnTo>
                  <a:lnTo>
                    <a:pt x="100" y="615"/>
                  </a:lnTo>
                  <a:lnTo>
                    <a:pt x="100" y="613"/>
                  </a:lnTo>
                  <a:lnTo>
                    <a:pt x="100" y="615"/>
                  </a:lnTo>
                  <a:lnTo>
                    <a:pt x="100" y="613"/>
                  </a:lnTo>
                  <a:lnTo>
                    <a:pt x="100" y="615"/>
                  </a:lnTo>
                  <a:lnTo>
                    <a:pt x="100" y="613"/>
                  </a:lnTo>
                  <a:lnTo>
                    <a:pt x="100" y="615"/>
                  </a:lnTo>
                  <a:lnTo>
                    <a:pt x="100" y="613"/>
                  </a:lnTo>
                  <a:lnTo>
                    <a:pt x="100" y="615"/>
                  </a:lnTo>
                  <a:lnTo>
                    <a:pt x="100" y="613"/>
                  </a:lnTo>
                  <a:lnTo>
                    <a:pt x="100" y="615"/>
                  </a:lnTo>
                  <a:lnTo>
                    <a:pt x="98" y="615"/>
                  </a:lnTo>
                  <a:lnTo>
                    <a:pt x="98" y="613"/>
                  </a:lnTo>
                  <a:lnTo>
                    <a:pt x="100" y="613"/>
                  </a:lnTo>
                  <a:close/>
                  <a:moveTo>
                    <a:pt x="98" y="607"/>
                  </a:moveTo>
                  <a:lnTo>
                    <a:pt x="98" y="609"/>
                  </a:lnTo>
                  <a:lnTo>
                    <a:pt x="98" y="607"/>
                  </a:lnTo>
                  <a:lnTo>
                    <a:pt x="98" y="609"/>
                  </a:lnTo>
                  <a:lnTo>
                    <a:pt x="96" y="609"/>
                  </a:lnTo>
                  <a:lnTo>
                    <a:pt x="98" y="609"/>
                  </a:lnTo>
                  <a:lnTo>
                    <a:pt x="96" y="609"/>
                  </a:lnTo>
                  <a:lnTo>
                    <a:pt x="96" y="607"/>
                  </a:lnTo>
                  <a:lnTo>
                    <a:pt x="98" y="607"/>
                  </a:lnTo>
                  <a:close/>
                  <a:moveTo>
                    <a:pt x="16" y="528"/>
                  </a:moveTo>
                  <a:lnTo>
                    <a:pt x="16" y="530"/>
                  </a:lnTo>
                  <a:lnTo>
                    <a:pt x="14" y="530"/>
                  </a:lnTo>
                  <a:lnTo>
                    <a:pt x="14" y="528"/>
                  </a:lnTo>
                  <a:lnTo>
                    <a:pt x="16" y="528"/>
                  </a:lnTo>
                  <a:close/>
                  <a:moveTo>
                    <a:pt x="79" y="692"/>
                  </a:moveTo>
                  <a:lnTo>
                    <a:pt x="81" y="692"/>
                  </a:lnTo>
                  <a:lnTo>
                    <a:pt x="79" y="692"/>
                  </a:lnTo>
                  <a:lnTo>
                    <a:pt x="81" y="692"/>
                  </a:lnTo>
                  <a:lnTo>
                    <a:pt x="81" y="693"/>
                  </a:lnTo>
                  <a:lnTo>
                    <a:pt x="79" y="693"/>
                  </a:lnTo>
                  <a:lnTo>
                    <a:pt x="81" y="693"/>
                  </a:lnTo>
                  <a:lnTo>
                    <a:pt x="79" y="693"/>
                  </a:lnTo>
                  <a:lnTo>
                    <a:pt x="81" y="693"/>
                  </a:lnTo>
                  <a:lnTo>
                    <a:pt x="79" y="693"/>
                  </a:lnTo>
                  <a:lnTo>
                    <a:pt x="79" y="692"/>
                  </a:lnTo>
                  <a:close/>
                  <a:moveTo>
                    <a:pt x="106" y="722"/>
                  </a:moveTo>
                  <a:lnTo>
                    <a:pt x="106" y="724"/>
                  </a:lnTo>
                  <a:lnTo>
                    <a:pt x="106" y="722"/>
                  </a:lnTo>
                  <a:lnTo>
                    <a:pt x="106" y="724"/>
                  </a:lnTo>
                  <a:lnTo>
                    <a:pt x="108" y="724"/>
                  </a:lnTo>
                  <a:lnTo>
                    <a:pt x="106" y="724"/>
                  </a:lnTo>
                  <a:lnTo>
                    <a:pt x="106" y="722"/>
                  </a:lnTo>
                  <a:close/>
                  <a:moveTo>
                    <a:pt x="100" y="609"/>
                  </a:moveTo>
                  <a:lnTo>
                    <a:pt x="100" y="611"/>
                  </a:lnTo>
                  <a:lnTo>
                    <a:pt x="98" y="611"/>
                  </a:lnTo>
                  <a:lnTo>
                    <a:pt x="98" y="609"/>
                  </a:lnTo>
                  <a:lnTo>
                    <a:pt x="100" y="609"/>
                  </a:lnTo>
                  <a:close/>
                  <a:moveTo>
                    <a:pt x="68" y="709"/>
                  </a:moveTo>
                  <a:lnTo>
                    <a:pt x="68" y="711"/>
                  </a:lnTo>
                  <a:lnTo>
                    <a:pt x="68" y="709"/>
                  </a:lnTo>
                  <a:lnTo>
                    <a:pt x="68" y="711"/>
                  </a:lnTo>
                  <a:lnTo>
                    <a:pt x="68" y="709"/>
                  </a:lnTo>
                  <a:lnTo>
                    <a:pt x="70" y="709"/>
                  </a:lnTo>
                  <a:lnTo>
                    <a:pt x="70" y="711"/>
                  </a:lnTo>
                  <a:lnTo>
                    <a:pt x="68" y="711"/>
                  </a:lnTo>
                  <a:lnTo>
                    <a:pt x="68" y="709"/>
                  </a:lnTo>
                  <a:close/>
                  <a:moveTo>
                    <a:pt x="106" y="523"/>
                  </a:moveTo>
                  <a:lnTo>
                    <a:pt x="106" y="525"/>
                  </a:lnTo>
                  <a:lnTo>
                    <a:pt x="106" y="523"/>
                  </a:lnTo>
                  <a:close/>
                  <a:moveTo>
                    <a:pt x="93" y="463"/>
                  </a:moveTo>
                  <a:lnTo>
                    <a:pt x="95" y="463"/>
                  </a:lnTo>
                  <a:lnTo>
                    <a:pt x="93" y="463"/>
                  </a:lnTo>
                  <a:lnTo>
                    <a:pt x="95" y="463"/>
                  </a:lnTo>
                  <a:lnTo>
                    <a:pt x="93" y="463"/>
                  </a:lnTo>
                  <a:lnTo>
                    <a:pt x="93" y="465"/>
                  </a:lnTo>
                  <a:lnTo>
                    <a:pt x="93" y="463"/>
                  </a:lnTo>
                  <a:lnTo>
                    <a:pt x="93" y="465"/>
                  </a:lnTo>
                  <a:lnTo>
                    <a:pt x="93" y="463"/>
                  </a:lnTo>
                  <a:lnTo>
                    <a:pt x="93" y="465"/>
                  </a:lnTo>
                  <a:lnTo>
                    <a:pt x="93" y="463"/>
                  </a:lnTo>
                  <a:close/>
                  <a:moveTo>
                    <a:pt x="77" y="774"/>
                  </a:moveTo>
                  <a:lnTo>
                    <a:pt x="77" y="776"/>
                  </a:lnTo>
                  <a:lnTo>
                    <a:pt x="77" y="778"/>
                  </a:lnTo>
                  <a:lnTo>
                    <a:pt x="77" y="776"/>
                  </a:lnTo>
                  <a:lnTo>
                    <a:pt x="75" y="776"/>
                  </a:lnTo>
                  <a:lnTo>
                    <a:pt x="77" y="776"/>
                  </a:lnTo>
                  <a:lnTo>
                    <a:pt x="75" y="776"/>
                  </a:lnTo>
                  <a:lnTo>
                    <a:pt x="77" y="776"/>
                  </a:lnTo>
                  <a:lnTo>
                    <a:pt x="77" y="774"/>
                  </a:lnTo>
                  <a:close/>
                  <a:moveTo>
                    <a:pt x="133" y="521"/>
                  </a:moveTo>
                  <a:lnTo>
                    <a:pt x="133" y="523"/>
                  </a:lnTo>
                  <a:lnTo>
                    <a:pt x="131" y="523"/>
                  </a:lnTo>
                  <a:lnTo>
                    <a:pt x="133" y="523"/>
                  </a:lnTo>
                  <a:lnTo>
                    <a:pt x="133" y="521"/>
                  </a:lnTo>
                  <a:close/>
                  <a:moveTo>
                    <a:pt x="148" y="799"/>
                  </a:moveTo>
                  <a:lnTo>
                    <a:pt x="150" y="799"/>
                  </a:lnTo>
                  <a:lnTo>
                    <a:pt x="150" y="801"/>
                  </a:lnTo>
                  <a:lnTo>
                    <a:pt x="148" y="801"/>
                  </a:lnTo>
                  <a:lnTo>
                    <a:pt x="148" y="799"/>
                  </a:lnTo>
                  <a:lnTo>
                    <a:pt x="146" y="799"/>
                  </a:lnTo>
                  <a:lnTo>
                    <a:pt x="146" y="797"/>
                  </a:lnTo>
                  <a:lnTo>
                    <a:pt x="146" y="799"/>
                  </a:lnTo>
                  <a:lnTo>
                    <a:pt x="148" y="799"/>
                  </a:lnTo>
                  <a:close/>
                  <a:moveTo>
                    <a:pt x="68" y="741"/>
                  </a:moveTo>
                  <a:lnTo>
                    <a:pt x="70" y="741"/>
                  </a:lnTo>
                  <a:lnTo>
                    <a:pt x="70" y="743"/>
                  </a:lnTo>
                  <a:lnTo>
                    <a:pt x="68" y="743"/>
                  </a:lnTo>
                  <a:lnTo>
                    <a:pt x="68" y="741"/>
                  </a:lnTo>
                  <a:close/>
                  <a:moveTo>
                    <a:pt x="110" y="582"/>
                  </a:moveTo>
                  <a:lnTo>
                    <a:pt x="110" y="584"/>
                  </a:lnTo>
                  <a:lnTo>
                    <a:pt x="110" y="582"/>
                  </a:lnTo>
                  <a:close/>
                  <a:moveTo>
                    <a:pt x="16" y="413"/>
                  </a:moveTo>
                  <a:lnTo>
                    <a:pt x="16" y="415"/>
                  </a:lnTo>
                  <a:lnTo>
                    <a:pt x="14" y="415"/>
                  </a:lnTo>
                  <a:lnTo>
                    <a:pt x="16" y="415"/>
                  </a:lnTo>
                  <a:lnTo>
                    <a:pt x="14" y="415"/>
                  </a:lnTo>
                  <a:lnTo>
                    <a:pt x="14" y="413"/>
                  </a:lnTo>
                  <a:lnTo>
                    <a:pt x="16" y="413"/>
                  </a:lnTo>
                  <a:lnTo>
                    <a:pt x="14" y="413"/>
                  </a:lnTo>
                  <a:lnTo>
                    <a:pt x="16" y="413"/>
                  </a:lnTo>
                  <a:lnTo>
                    <a:pt x="14" y="413"/>
                  </a:lnTo>
                  <a:lnTo>
                    <a:pt x="16" y="413"/>
                  </a:lnTo>
                  <a:lnTo>
                    <a:pt x="14" y="413"/>
                  </a:lnTo>
                  <a:lnTo>
                    <a:pt x="16" y="413"/>
                  </a:lnTo>
                  <a:close/>
                  <a:moveTo>
                    <a:pt x="95" y="626"/>
                  </a:moveTo>
                  <a:lnTo>
                    <a:pt x="95" y="628"/>
                  </a:lnTo>
                  <a:lnTo>
                    <a:pt x="95" y="626"/>
                  </a:lnTo>
                  <a:lnTo>
                    <a:pt x="95" y="628"/>
                  </a:lnTo>
                  <a:lnTo>
                    <a:pt x="95" y="626"/>
                  </a:lnTo>
                  <a:lnTo>
                    <a:pt x="95" y="628"/>
                  </a:lnTo>
                  <a:lnTo>
                    <a:pt x="96" y="628"/>
                  </a:lnTo>
                  <a:lnTo>
                    <a:pt x="95" y="628"/>
                  </a:lnTo>
                  <a:lnTo>
                    <a:pt x="95" y="626"/>
                  </a:lnTo>
                  <a:close/>
                  <a:moveTo>
                    <a:pt x="93" y="626"/>
                  </a:moveTo>
                  <a:lnTo>
                    <a:pt x="95" y="626"/>
                  </a:lnTo>
                  <a:lnTo>
                    <a:pt x="93" y="626"/>
                  </a:lnTo>
                  <a:lnTo>
                    <a:pt x="95" y="626"/>
                  </a:lnTo>
                  <a:lnTo>
                    <a:pt x="93" y="626"/>
                  </a:lnTo>
                  <a:lnTo>
                    <a:pt x="95" y="626"/>
                  </a:lnTo>
                  <a:lnTo>
                    <a:pt x="93" y="626"/>
                  </a:lnTo>
                  <a:lnTo>
                    <a:pt x="95" y="626"/>
                  </a:lnTo>
                  <a:lnTo>
                    <a:pt x="93" y="626"/>
                  </a:lnTo>
                  <a:lnTo>
                    <a:pt x="95" y="626"/>
                  </a:lnTo>
                  <a:lnTo>
                    <a:pt x="93" y="626"/>
                  </a:lnTo>
                  <a:lnTo>
                    <a:pt x="93" y="628"/>
                  </a:lnTo>
                  <a:lnTo>
                    <a:pt x="93" y="626"/>
                  </a:lnTo>
                  <a:lnTo>
                    <a:pt x="93" y="628"/>
                  </a:lnTo>
                  <a:lnTo>
                    <a:pt x="93" y="626"/>
                  </a:lnTo>
                  <a:close/>
                  <a:moveTo>
                    <a:pt x="6" y="436"/>
                  </a:moveTo>
                  <a:lnTo>
                    <a:pt x="6" y="438"/>
                  </a:lnTo>
                  <a:lnTo>
                    <a:pt x="6" y="436"/>
                  </a:lnTo>
                  <a:lnTo>
                    <a:pt x="6" y="438"/>
                  </a:lnTo>
                  <a:lnTo>
                    <a:pt x="6" y="440"/>
                  </a:lnTo>
                  <a:lnTo>
                    <a:pt x="6" y="438"/>
                  </a:lnTo>
                  <a:lnTo>
                    <a:pt x="6" y="436"/>
                  </a:lnTo>
                  <a:lnTo>
                    <a:pt x="6" y="438"/>
                  </a:lnTo>
                  <a:lnTo>
                    <a:pt x="6" y="436"/>
                  </a:lnTo>
                  <a:close/>
                  <a:moveTo>
                    <a:pt x="20" y="473"/>
                  </a:moveTo>
                  <a:lnTo>
                    <a:pt x="22" y="473"/>
                  </a:lnTo>
                  <a:lnTo>
                    <a:pt x="20" y="473"/>
                  </a:lnTo>
                  <a:lnTo>
                    <a:pt x="20" y="471"/>
                  </a:lnTo>
                  <a:lnTo>
                    <a:pt x="20" y="473"/>
                  </a:lnTo>
                  <a:close/>
                  <a:moveTo>
                    <a:pt x="22" y="509"/>
                  </a:moveTo>
                  <a:lnTo>
                    <a:pt x="20" y="509"/>
                  </a:lnTo>
                  <a:lnTo>
                    <a:pt x="20" y="507"/>
                  </a:lnTo>
                  <a:lnTo>
                    <a:pt x="22" y="507"/>
                  </a:lnTo>
                  <a:lnTo>
                    <a:pt x="22" y="509"/>
                  </a:lnTo>
                  <a:close/>
                  <a:moveTo>
                    <a:pt x="104" y="724"/>
                  </a:moveTo>
                  <a:lnTo>
                    <a:pt x="106" y="724"/>
                  </a:lnTo>
                  <a:lnTo>
                    <a:pt x="106" y="726"/>
                  </a:lnTo>
                  <a:lnTo>
                    <a:pt x="104" y="726"/>
                  </a:lnTo>
                  <a:lnTo>
                    <a:pt x="104" y="724"/>
                  </a:lnTo>
                  <a:close/>
                  <a:moveTo>
                    <a:pt x="95" y="720"/>
                  </a:moveTo>
                  <a:lnTo>
                    <a:pt x="96" y="720"/>
                  </a:lnTo>
                  <a:lnTo>
                    <a:pt x="96" y="722"/>
                  </a:lnTo>
                  <a:lnTo>
                    <a:pt x="95" y="722"/>
                  </a:lnTo>
                  <a:lnTo>
                    <a:pt x="95" y="720"/>
                  </a:lnTo>
                  <a:close/>
                  <a:moveTo>
                    <a:pt x="104" y="544"/>
                  </a:moveTo>
                  <a:lnTo>
                    <a:pt x="102" y="544"/>
                  </a:lnTo>
                  <a:lnTo>
                    <a:pt x="104" y="544"/>
                  </a:lnTo>
                  <a:lnTo>
                    <a:pt x="102" y="544"/>
                  </a:lnTo>
                  <a:lnTo>
                    <a:pt x="104" y="544"/>
                  </a:lnTo>
                  <a:lnTo>
                    <a:pt x="102" y="544"/>
                  </a:lnTo>
                  <a:lnTo>
                    <a:pt x="104" y="544"/>
                  </a:lnTo>
                  <a:close/>
                  <a:moveTo>
                    <a:pt x="81" y="782"/>
                  </a:moveTo>
                  <a:lnTo>
                    <a:pt x="83" y="782"/>
                  </a:lnTo>
                  <a:lnTo>
                    <a:pt x="83" y="784"/>
                  </a:lnTo>
                  <a:lnTo>
                    <a:pt x="83" y="782"/>
                  </a:lnTo>
                  <a:lnTo>
                    <a:pt x="81" y="782"/>
                  </a:lnTo>
                  <a:close/>
                  <a:moveTo>
                    <a:pt x="118" y="732"/>
                  </a:moveTo>
                  <a:lnTo>
                    <a:pt x="118" y="734"/>
                  </a:lnTo>
                  <a:lnTo>
                    <a:pt x="116" y="734"/>
                  </a:lnTo>
                  <a:lnTo>
                    <a:pt x="116" y="732"/>
                  </a:lnTo>
                  <a:lnTo>
                    <a:pt x="118" y="732"/>
                  </a:lnTo>
                  <a:close/>
                  <a:moveTo>
                    <a:pt x="123" y="597"/>
                  </a:moveTo>
                  <a:lnTo>
                    <a:pt x="121" y="597"/>
                  </a:lnTo>
                  <a:lnTo>
                    <a:pt x="120" y="597"/>
                  </a:lnTo>
                  <a:lnTo>
                    <a:pt x="121" y="597"/>
                  </a:lnTo>
                  <a:lnTo>
                    <a:pt x="121" y="596"/>
                  </a:lnTo>
                  <a:lnTo>
                    <a:pt x="121" y="597"/>
                  </a:lnTo>
                  <a:lnTo>
                    <a:pt x="121" y="596"/>
                  </a:lnTo>
                  <a:lnTo>
                    <a:pt x="123" y="597"/>
                  </a:lnTo>
                  <a:close/>
                  <a:moveTo>
                    <a:pt x="66" y="765"/>
                  </a:moveTo>
                  <a:lnTo>
                    <a:pt x="66" y="766"/>
                  </a:lnTo>
                  <a:lnTo>
                    <a:pt x="68" y="766"/>
                  </a:lnTo>
                  <a:lnTo>
                    <a:pt x="66" y="766"/>
                  </a:lnTo>
                  <a:lnTo>
                    <a:pt x="66" y="765"/>
                  </a:lnTo>
                  <a:lnTo>
                    <a:pt x="66" y="766"/>
                  </a:lnTo>
                  <a:lnTo>
                    <a:pt x="66" y="765"/>
                  </a:lnTo>
                  <a:close/>
                  <a:moveTo>
                    <a:pt x="108" y="597"/>
                  </a:moveTo>
                  <a:lnTo>
                    <a:pt x="108" y="599"/>
                  </a:lnTo>
                  <a:lnTo>
                    <a:pt x="106" y="599"/>
                  </a:lnTo>
                  <a:lnTo>
                    <a:pt x="108" y="599"/>
                  </a:lnTo>
                  <a:lnTo>
                    <a:pt x="106" y="599"/>
                  </a:lnTo>
                  <a:lnTo>
                    <a:pt x="106" y="597"/>
                  </a:lnTo>
                  <a:lnTo>
                    <a:pt x="108" y="597"/>
                  </a:lnTo>
                  <a:close/>
                  <a:moveTo>
                    <a:pt x="93" y="536"/>
                  </a:moveTo>
                  <a:lnTo>
                    <a:pt x="91" y="536"/>
                  </a:lnTo>
                  <a:lnTo>
                    <a:pt x="93" y="536"/>
                  </a:lnTo>
                  <a:close/>
                  <a:moveTo>
                    <a:pt x="20" y="519"/>
                  </a:moveTo>
                  <a:lnTo>
                    <a:pt x="18" y="519"/>
                  </a:lnTo>
                  <a:lnTo>
                    <a:pt x="20" y="519"/>
                  </a:lnTo>
                  <a:lnTo>
                    <a:pt x="18" y="519"/>
                  </a:lnTo>
                  <a:lnTo>
                    <a:pt x="18" y="521"/>
                  </a:lnTo>
                  <a:lnTo>
                    <a:pt x="16" y="521"/>
                  </a:lnTo>
                  <a:lnTo>
                    <a:pt x="18" y="521"/>
                  </a:lnTo>
                  <a:lnTo>
                    <a:pt x="16" y="521"/>
                  </a:lnTo>
                  <a:lnTo>
                    <a:pt x="16" y="519"/>
                  </a:lnTo>
                  <a:lnTo>
                    <a:pt x="18" y="519"/>
                  </a:lnTo>
                  <a:lnTo>
                    <a:pt x="20" y="519"/>
                  </a:lnTo>
                  <a:close/>
                  <a:moveTo>
                    <a:pt x="98" y="621"/>
                  </a:moveTo>
                  <a:lnTo>
                    <a:pt x="98" y="622"/>
                  </a:lnTo>
                  <a:lnTo>
                    <a:pt x="96" y="622"/>
                  </a:lnTo>
                  <a:lnTo>
                    <a:pt x="98" y="622"/>
                  </a:lnTo>
                  <a:lnTo>
                    <a:pt x="96" y="622"/>
                  </a:lnTo>
                  <a:lnTo>
                    <a:pt x="96" y="621"/>
                  </a:lnTo>
                  <a:lnTo>
                    <a:pt x="96" y="622"/>
                  </a:lnTo>
                  <a:lnTo>
                    <a:pt x="96" y="621"/>
                  </a:lnTo>
                  <a:lnTo>
                    <a:pt x="98" y="621"/>
                  </a:lnTo>
                  <a:lnTo>
                    <a:pt x="96" y="621"/>
                  </a:lnTo>
                  <a:lnTo>
                    <a:pt x="98" y="621"/>
                  </a:lnTo>
                  <a:close/>
                  <a:moveTo>
                    <a:pt x="96" y="622"/>
                  </a:moveTo>
                  <a:lnTo>
                    <a:pt x="96" y="624"/>
                  </a:lnTo>
                  <a:lnTo>
                    <a:pt x="95" y="624"/>
                  </a:lnTo>
                  <a:lnTo>
                    <a:pt x="96" y="624"/>
                  </a:lnTo>
                  <a:lnTo>
                    <a:pt x="95" y="624"/>
                  </a:lnTo>
                  <a:lnTo>
                    <a:pt x="95" y="622"/>
                  </a:lnTo>
                  <a:lnTo>
                    <a:pt x="96" y="622"/>
                  </a:lnTo>
                  <a:close/>
                  <a:moveTo>
                    <a:pt x="108" y="718"/>
                  </a:moveTo>
                  <a:lnTo>
                    <a:pt x="110" y="718"/>
                  </a:lnTo>
                  <a:lnTo>
                    <a:pt x="110" y="720"/>
                  </a:lnTo>
                  <a:lnTo>
                    <a:pt x="108" y="720"/>
                  </a:lnTo>
                  <a:lnTo>
                    <a:pt x="108" y="718"/>
                  </a:lnTo>
                  <a:close/>
                  <a:moveTo>
                    <a:pt x="81" y="693"/>
                  </a:moveTo>
                  <a:lnTo>
                    <a:pt x="81" y="695"/>
                  </a:lnTo>
                  <a:lnTo>
                    <a:pt x="81" y="693"/>
                  </a:lnTo>
                  <a:close/>
                  <a:moveTo>
                    <a:pt x="164" y="832"/>
                  </a:moveTo>
                  <a:lnTo>
                    <a:pt x="166" y="832"/>
                  </a:lnTo>
                  <a:lnTo>
                    <a:pt x="166" y="834"/>
                  </a:lnTo>
                  <a:lnTo>
                    <a:pt x="166" y="832"/>
                  </a:lnTo>
                  <a:lnTo>
                    <a:pt x="166" y="834"/>
                  </a:lnTo>
                  <a:lnTo>
                    <a:pt x="164" y="834"/>
                  </a:lnTo>
                  <a:lnTo>
                    <a:pt x="164" y="832"/>
                  </a:lnTo>
                  <a:close/>
                  <a:moveTo>
                    <a:pt x="116" y="713"/>
                  </a:moveTo>
                  <a:lnTo>
                    <a:pt x="118" y="713"/>
                  </a:lnTo>
                  <a:lnTo>
                    <a:pt x="116" y="713"/>
                  </a:lnTo>
                  <a:lnTo>
                    <a:pt x="116" y="715"/>
                  </a:lnTo>
                  <a:lnTo>
                    <a:pt x="118" y="715"/>
                  </a:lnTo>
                  <a:lnTo>
                    <a:pt x="116" y="715"/>
                  </a:lnTo>
                  <a:lnTo>
                    <a:pt x="118" y="715"/>
                  </a:lnTo>
                  <a:lnTo>
                    <a:pt x="116" y="715"/>
                  </a:lnTo>
                  <a:lnTo>
                    <a:pt x="116" y="713"/>
                  </a:lnTo>
                  <a:close/>
                  <a:moveTo>
                    <a:pt x="160" y="903"/>
                  </a:moveTo>
                  <a:lnTo>
                    <a:pt x="160" y="901"/>
                  </a:lnTo>
                  <a:lnTo>
                    <a:pt x="158" y="901"/>
                  </a:lnTo>
                  <a:lnTo>
                    <a:pt x="160" y="901"/>
                  </a:lnTo>
                  <a:lnTo>
                    <a:pt x="160" y="903"/>
                  </a:lnTo>
                  <a:close/>
                  <a:moveTo>
                    <a:pt x="156" y="857"/>
                  </a:moveTo>
                  <a:lnTo>
                    <a:pt x="156" y="859"/>
                  </a:lnTo>
                  <a:lnTo>
                    <a:pt x="156" y="857"/>
                  </a:lnTo>
                  <a:close/>
                  <a:moveTo>
                    <a:pt x="106" y="473"/>
                  </a:moveTo>
                  <a:lnTo>
                    <a:pt x="106" y="475"/>
                  </a:lnTo>
                  <a:lnTo>
                    <a:pt x="104" y="475"/>
                  </a:lnTo>
                  <a:lnTo>
                    <a:pt x="104" y="473"/>
                  </a:lnTo>
                  <a:lnTo>
                    <a:pt x="106" y="473"/>
                  </a:lnTo>
                  <a:close/>
                  <a:moveTo>
                    <a:pt x="154" y="791"/>
                  </a:moveTo>
                  <a:lnTo>
                    <a:pt x="156" y="791"/>
                  </a:lnTo>
                  <a:lnTo>
                    <a:pt x="154" y="791"/>
                  </a:lnTo>
                  <a:close/>
                  <a:moveTo>
                    <a:pt x="104" y="851"/>
                  </a:moveTo>
                  <a:lnTo>
                    <a:pt x="102" y="851"/>
                  </a:lnTo>
                  <a:lnTo>
                    <a:pt x="104" y="851"/>
                  </a:lnTo>
                  <a:close/>
                  <a:moveTo>
                    <a:pt x="96" y="461"/>
                  </a:moveTo>
                  <a:lnTo>
                    <a:pt x="96" y="463"/>
                  </a:lnTo>
                  <a:lnTo>
                    <a:pt x="96" y="461"/>
                  </a:lnTo>
                  <a:lnTo>
                    <a:pt x="96" y="463"/>
                  </a:lnTo>
                  <a:lnTo>
                    <a:pt x="95" y="463"/>
                  </a:lnTo>
                  <a:lnTo>
                    <a:pt x="96" y="463"/>
                  </a:lnTo>
                  <a:lnTo>
                    <a:pt x="95" y="463"/>
                  </a:lnTo>
                  <a:lnTo>
                    <a:pt x="96" y="463"/>
                  </a:lnTo>
                  <a:lnTo>
                    <a:pt x="95" y="463"/>
                  </a:lnTo>
                  <a:lnTo>
                    <a:pt x="96" y="463"/>
                  </a:lnTo>
                  <a:lnTo>
                    <a:pt x="95" y="463"/>
                  </a:lnTo>
                  <a:lnTo>
                    <a:pt x="96" y="463"/>
                  </a:lnTo>
                  <a:lnTo>
                    <a:pt x="96" y="461"/>
                  </a:lnTo>
                  <a:lnTo>
                    <a:pt x="96" y="463"/>
                  </a:lnTo>
                  <a:lnTo>
                    <a:pt x="96" y="461"/>
                  </a:lnTo>
                  <a:close/>
                  <a:moveTo>
                    <a:pt x="16" y="517"/>
                  </a:moveTo>
                  <a:lnTo>
                    <a:pt x="18" y="517"/>
                  </a:lnTo>
                  <a:lnTo>
                    <a:pt x="18" y="519"/>
                  </a:lnTo>
                  <a:lnTo>
                    <a:pt x="16" y="519"/>
                  </a:lnTo>
                  <a:lnTo>
                    <a:pt x="16" y="517"/>
                  </a:lnTo>
                  <a:close/>
                  <a:moveTo>
                    <a:pt x="104" y="469"/>
                  </a:moveTo>
                  <a:lnTo>
                    <a:pt x="106" y="469"/>
                  </a:lnTo>
                  <a:lnTo>
                    <a:pt x="106" y="471"/>
                  </a:lnTo>
                  <a:lnTo>
                    <a:pt x="104" y="471"/>
                  </a:lnTo>
                  <a:lnTo>
                    <a:pt x="104" y="469"/>
                  </a:lnTo>
                  <a:close/>
                  <a:moveTo>
                    <a:pt x="98" y="649"/>
                  </a:moveTo>
                  <a:lnTo>
                    <a:pt x="100" y="649"/>
                  </a:lnTo>
                  <a:lnTo>
                    <a:pt x="98" y="649"/>
                  </a:lnTo>
                  <a:close/>
                  <a:moveTo>
                    <a:pt x="146" y="791"/>
                  </a:moveTo>
                  <a:lnTo>
                    <a:pt x="146" y="793"/>
                  </a:lnTo>
                  <a:lnTo>
                    <a:pt x="146" y="791"/>
                  </a:lnTo>
                  <a:close/>
                  <a:moveTo>
                    <a:pt x="89" y="619"/>
                  </a:moveTo>
                  <a:lnTo>
                    <a:pt x="89" y="621"/>
                  </a:lnTo>
                  <a:lnTo>
                    <a:pt x="89" y="619"/>
                  </a:lnTo>
                  <a:close/>
                  <a:moveTo>
                    <a:pt x="100" y="434"/>
                  </a:moveTo>
                  <a:lnTo>
                    <a:pt x="100" y="436"/>
                  </a:lnTo>
                  <a:lnTo>
                    <a:pt x="100" y="434"/>
                  </a:lnTo>
                  <a:close/>
                  <a:moveTo>
                    <a:pt x="96" y="634"/>
                  </a:moveTo>
                  <a:lnTo>
                    <a:pt x="98" y="634"/>
                  </a:lnTo>
                  <a:lnTo>
                    <a:pt x="96" y="634"/>
                  </a:lnTo>
                  <a:lnTo>
                    <a:pt x="98" y="634"/>
                  </a:lnTo>
                  <a:lnTo>
                    <a:pt x="96" y="634"/>
                  </a:lnTo>
                  <a:lnTo>
                    <a:pt x="96" y="636"/>
                  </a:lnTo>
                  <a:lnTo>
                    <a:pt x="96" y="634"/>
                  </a:lnTo>
                  <a:lnTo>
                    <a:pt x="96" y="636"/>
                  </a:lnTo>
                  <a:lnTo>
                    <a:pt x="96" y="634"/>
                  </a:lnTo>
                  <a:lnTo>
                    <a:pt x="96" y="636"/>
                  </a:lnTo>
                  <a:lnTo>
                    <a:pt x="96" y="634"/>
                  </a:lnTo>
                  <a:close/>
                  <a:moveTo>
                    <a:pt x="156" y="836"/>
                  </a:moveTo>
                  <a:lnTo>
                    <a:pt x="156" y="837"/>
                  </a:lnTo>
                  <a:lnTo>
                    <a:pt x="156" y="836"/>
                  </a:lnTo>
                  <a:close/>
                  <a:moveTo>
                    <a:pt x="104" y="571"/>
                  </a:moveTo>
                  <a:lnTo>
                    <a:pt x="104" y="573"/>
                  </a:lnTo>
                  <a:lnTo>
                    <a:pt x="102" y="573"/>
                  </a:lnTo>
                  <a:lnTo>
                    <a:pt x="104" y="573"/>
                  </a:lnTo>
                  <a:lnTo>
                    <a:pt x="104" y="571"/>
                  </a:lnTo>
                  <a:close/>
                  <a:moveTo>
                    <a:pt x="98" y="647"/>
                  </a:moveTo>
                  <a:lnTo>
                    <a:pt x="98" y="649"/>
                  </a:lnTo>
                  <a:lnTo>
                    <a:pt x="98" y="647"/>
                  </a:lnTo>
                  <a:lnTo>
                    <a:pt x="98" y="649"/>
                  </a:lnTo>
                  <a:lnTo>
                    <a:pt x="98" y="647"/>
                  </a:lnTo>
                  <a:close/>
                  <a:moveTo>
                    <a:pt x="108" y="705"/>
                  </a:moveTo>
                  <a:lnTo>
                    <a:pt x="108" y="707"/>
                  </a:lnTo>
                  <a:lnTo>
                    <a:pt x="108" y="705"/>
                  </a:lnTo>
                  <a:close/>
                  <a:moveTo>
                    <a:pt x="135" y="528"/>
                  </a:moveTo>
                  <a:lnTo>
                    <a:pt x="135" y="530"/>
                  </a:lnTo>
                  <a:lnTo>
                    <a:pt x="133" y="530"/>
                  </a:lnTo>
                  <a:lnTo>
                    <a:pt x="133" y="528"/>
                  </a:lnTo>
                  <a:lnTo>
                    <a:pt x="135" y="528"/>
                  </a:lnTo>
                  <a:close/>
                  <a:moveTo>
                    <a:pt x="27" y="442"/>
                  </a:moveTo>
                  <a:lnTo>
                    <a:pt x="25" y="442"/>
                  </a:lnTo>
                  <a:lnTo>
                    <a:pt x="27" y="442"/>
                  </a:lnTo>
                  <a:close/>
                  <a:moveTo>
                    <a:pt x="20" y="475"/>
                  </a:moveTo>
                  <a:lnTo>
                    <a:pt x="20" y="477"/>
                  </a:lnTo>
                  <a:lnTo>
                    <a:pt x="18" y="477"/>
                  </a:lnTo>
                  <a:lnTo>
                    <a:pt x="18" y="475"/>
                  </a:lnTo>
                  <a:lnTo>
                    <a:pt x="20" y="475"/>
                  </a:lnTo>
                  <a:close/>
                  <a:moveTo>
                    <a:pt x="95" y="500"/>
                  </a:moveTo>
                  <a:lnTo>
                    <a:pt x="93" y="500"/>
                  </a:lnTo>
                  <a:lnTo>
                    <a:pt x="95" y="500"/>
                  </a:lnTo>
                  <a:close/>
                  <a:moveTo>
                    <a:pt x="93" y="453"/>
                  </a:moveTo>
                  <a:lnTo>
                    <a:pt x="95" y="453"/>
                  </a:lnTo>
                  <a:lnTo>
                    <a:pt x="93" y="453"/>
                  </a:lnTo>
                  <a:lnTo>
                    <a:pt x="95" y="453"/>
                  </a:lnTo>
                  <a:lnTo>
                    <a:pt x="93" y="453"/>
                  </a:lnTo>
                  <a:lnTo>
                    <a:pt x="95" y="453"/>
                  </a:lnTo>
                  <a:lnTo>
                    <a:pt x="93" y="453"/>
                  </a:lnTo>
                  <a:lnTo>
                    <a:pt x="95" y="453"/>
                  </a:lnTo>
                  <a:lnTo>
                    <a:pt x="93" y="453"/>
                  </a:lnTo>
                  <a:lnTo>
                    <a:pt x="93" y="455"/>
                  </a:lnTo>
                  <a:lnTo>
                    <a:pt x="93" y="453"/>
                  </a:lnTo>
                  <a:close/>
                  <a:moveTo>
                    <a:pt x="95" y="628"/>
                  </a:moveTo>
                  <a:lnTo>
                    <a:pt x="95" y="630"/>
                  </a:lnTo>
                  <a:lnTo>
                    <a:pt x="95" y="628"/>
                  </a:lnTo>
                  <a:lnTo>
                    <a:pt x="95" y="630"/>
                  </a:lnTo>
                  <a:lnTo>
                    <a:pt x="93" y="630"/>
                  </a:lnTo>
                  <a:lnTo>
                    <a:pt x="95" y="630"/>
                  </a:lnTo>
                  <a:lnTo>
                    <a:pt x="93" y="630"/>
                  </a:lnTo>
                  <a:lnTo>
                    <a:pt x="95" y="630"/>
                  </a:lnTo>
                  <a:lnTo>
                    <a:pt x="93" y="630"/>
                  </a:lnTo>
                  <a:lnTo>
                    <a:pt x="95" y="630"/>
                  </a:lnTo>
                  <a:lnTo>
                    <a:pt x="93" y="630"/>
                  </a:lnTo>
                  <a:lnTo>
                    <a:pt x="95" y="630"/>
                  </a:lnTo>
                  <a:lnTo>
                    <a:pt x="95" y="628"/>
                  </a:lnTo>
                  <a:close/>
                  <a:moveTo>
                    <a:pt x="95" y="455"/>
                  </a:moveTo>
                  <a:lnTo>
                    <a:pt x="95" y="457"/>
                  </a:lnTo>
                  <a:lnTo>
                    <a:pt x="93" y="457"/>
                  </a:lnTo>
                  <a:lnTo>
                    <a:pt x="95" y="457"/>
                  </a:lnTo>
                  <a:lnTo>
                    <a:pt x="95" y="455"/>
                  </a:lnTo>
                  <a:lnTo>
                    <a:pt x="95" y="457"/>
                  </a:lnTo>
                  <a:lnTo>
                    <a:pt x="93" y="457"/>
                  </a:lnTo>
                  <a:lnTo>
                    <a:pt x="93" y="455"/>
                  </a:lnTo>
                  <a:lnTo>
                    <a:pt x="95" y="455"/>
                  </a:lnTo>
                  <a:lnTo>
                    <a:pt x="93" y="455"/>
                  </a:lnTo>
                  <a:lnTo>
                    <a:pt x="95" y="455"/>
                  </a:lnTo>
                  <a:lnTo>
                    <a:pt x="93" y="455"/>
                  </a:lnTo>
                  <a:lnTo>
                    <a:pt x="95" y="455"/>
                  </a:lnTo>
                  <a:close/>
                  <a:moveTo>
                    <a:pt x="108" y="605"/>
                  </a:moveTo>
                  <a:lnTo>
                    <a:pt x="108" y="607"/>
                  </a:lnTo>
                  <a:lnTo>
                    <a:pt x="108" y="605"/>
                  </a:lnTo>
                  <a:lnTo>
                    <a:pt x="108" y="607"/>
                  </a:lnTo>
                  <a:lnTo>
                    <a:pt x="108" y="605"/>
                  </a:lnTo>
                  <a:close/>
                  <a:moveTo>
                    <a:pt x="169" y="413"/>
                  </a:moveTo>
                  <a:lnTo>
                    <a:pt x="169" y="415"/>
                  </a:lnTo>
                  <a:lnTo>
                    <a:pt x="168" y="415"/>
                  </a:lnTo>
                  <a:lnTo>
                    <a:pt x="166" y="415"/>
                  </a:lnTo>
                  <a:lnTo>
                    <a:pt x="168" y="415"/>
                  </a:lnTo>
                  <a:lnTo>
                    <a:pt x="168" y="413"/>
                  </a:lnTo>
                  <a:lnTo>
                    <a:pt x="168" y="415"/>
                  </a:lnTo>
                  <a:lnTo>
                    <a:pt x="168" y="413"/>
                  </a:lnTo>
                  <a:lnTo>
                    <a:pt x="169" y="413"/>
                  </a:lnTo>
                  <a:close/>
                  <a:moveTo>
                    <a:pt x="60" y="734"/>
                  </a:moveTo>
                  <a:lnTo>
                    <a:pt x="60" y="736"/>
                  </a:lnTo>
                  <a:lnTo>
                    <a:pt x="58" y="736"/>
                  </a:lnTo>
                  <a:lnTo>
                    <a:pt x="58" y="734"/>
                  </a:lnTo>
                  <a:lnTo>
                    <a:pt x="60" y="734"/>
                  </a:lnTo>
                  <a:lnTo>
                    <a:pt x="60" y="736"/>
                  </a:lnTo>
                  <a:lnTo>
                    <a:pt x="60" y="734"/>
                  </a:lnTo>
                  <a:lnTo>
                    <a:pt x="58" y="734"/>
                  </a:lnTo>
                  <a:lnTo>
                    <a:pt x="60" y="734"/>
                  </a:lnTo>
                  <a:lnTo>
                    <a:pt x="58" y="734"/>
                  </a:lnTo>
                  <a:lnTo>
                    <a:pt x="60" y="734"/>
                  </a:lnTo>
                  <a:close/>
                  <a:moveTo>
                    <a:pt x="96" y="501"/>
                  </a:moveTo>
                  <a:lnTo>
                    <a:pt x="98" y="501"/>
                  </a:lnTo>
                  <a:lnTo>
                    <a:pt x="98" y="503"/>
                  </a:lnTo>
                  <a:lnTo>
                    <a:pt x="96" y="503"/>
                  </a:lnTo>
                  <a:lnTo>
                    <a:pt x="96" y="501"/>
                  </a:lnTo>
                  <a:lnTo>
                    <a:pt x="96" y="503"/>
                  </a:lnTo>
                  <a:lnTo>
                    <a:pt x="96" y="501"/>
                  </a:lnTo>
                  <a:close/>
                  <a:moveTo>
                    <a:pt x="12" y="509"/>
                  </a:moveTo>
                  <a:lnTo>
                    <a:pt x="12" y="511"/>
                  </a:lnTo>
                  <a:lnTo>
                    <a:pt x="12" y="509"/>
                  </a:lnTo>
                  <a:lnTo>
                    <a:pt x="12" y="511"/>
                  </a:lnTo>
                  <a:lnTo>
                    <a:pt x="12" y="509"/>
                  </a:lnTo>
                  <a:close/>
                  <a:moveTo>
                    <a:pt x="85" y="559"/>
                  </a:moveTo>
                  <a:lnTo>
                    <a:pt x="83" y="559"/>
                  </a:lnTo>
                  <a:lnTo>
                    <a:pt x="85" y="559"/>
                  </a:lnTo>
                  <a:lnTo>
                    <a:pt x="83" y="559"/>
                  </a:lnTo>
                  <a:lnTo>
                    <a:pt x="85" y="559"/>
                  </a:lnTo>
                  <a:close/>
                  <a:moveTo>
                    <a:pt x="96" y="847"/>
                  </a:moveTo>
                  <a:lnTo>
                    <a:pt x="96" y="849"/>
                  </a:lnTo>
                  <a:lnTo>
                    <a:pt x="96" y="847"/>
                  </a:lnTo>
                  <a:close/>
                  <a:moveTo>
                    <a:pt x="118" y="559"/>
                  </a:moveTo>
                  <a:lnTo>
                    <a:pt x="118" y="561"/>
                  </a:lnTo>
                  <a:lnTo>
                    <a:pt x="116" y="561"/>
                  </a:lnTo>
                  <a:lnTo>
                    <a:pt x="118" y="561"/>
                  </a:lnTo>
                  <a:lnTo>
                    <a:pt x="116" y="561"/>
                  </a:lnTo>
                  <a:lnTo>
                    <a:pt x="118" y="561"/>
                  </a:lnTo>
                  <a:lnTo>
                    <a:pt x="116" y="561"/>
                  </a:lnTo>
                  <a:lnTo>
                    <a:pt x="118" y="561"/>
                  </a:lnTo>
                  <a:lnTo>
                    <a:pt x="118" y="559"/>
                  </a:lnTo>
                  <a:close/>
                  <a:moveTo>
                    <a:pt x="25" y="503"/>
                  </a:moveTo>
                  <a:lnTo>
                    <a:pt x="27" y="503"/>
                  </a:lnTo>
                  <a:lnTo>
                    <a:pt x="25" y="503"/>
                  </a:lnTo>
                  <a:lnTo>
                    <a:pt x="25" y="505"/>
                  </a:lnTo>
                  <a:lnTo>
                    <a:pt x="25" y="503"/>
                  </a:lnTo>
                  <a:close/>
                  <a:moveTo>
                    <a:pt x="85" y="692"/>
                  </a:moveTo>
                  <a:lnTo>
                    <a:pt x="85" y="693"/>
                  </a:lnTo>
                  <a:lnTo>
                    <a:pt x="85" y="692"/>
                  </a:lnTo>
                  <a:close/>
                  <a:moveTo>
                    <a:pt x="158" y="864"/>
                  </a:moveTo>
                  <a:lnTo>
                    <a:pt x="160" y="864"/>
                  </a:lnTo>
                  <a:lnTo>
                    <a:pt x="160" y="866"/>
                  </a:lnTo>
                  <a:lnTo>
                    <a:pt x="160" y="864"/>
                  </a:lnTo>
                  <a:lnTo>
                    <a:pt x="158" y="864"/>
                  </a:lnTo>
                  <a:close/>
                  <a:moveTo>
                    <a:pt x="162" y="895"/>
                  </a:moveTo>
                  <a:lnTo>
                    <a:pt x="164" y="895"/>
                  </a:lnTo>
                  <a:lnTo>
                    <a:pt x="162" y="895"/>
                  </a:lnTo>
                  <a:close/>
                  <a:moveTo>
                    <a:pt x="85" y="807"/>
                  </a:moveTo>
                  <a:lnTo>
                    <a:pt x="85" y="809"/>
                  </a:lnTo>
                  <a:lnTo>
                    <a:pt x="83" y="809"/>
                  </a:lnTo>
                  <a:lnTo>
                    <a:pt x="83" y="807"/>
                  </a:lnTo>
                  <a:lnTo>
                    <a:pt x="85" y="807"/>
                  </a:lnTo>
                  <a:close/>
                  <a:moveTo>
                    <a:pt x="106" y="478"/>
                  </a:moveTo>
                  <a:lnTo>
                    <a:pt x="106" y="480"/>
                  </a:lnTo>
                  <a:lnTo>
                    <a:pt x="106" y="478"/>
                  </a:lnTo>
                  <a:lnTo>
                    <a:pt x="106" y="480"/>
                  </a:lnTo>
                  <a:lnTo>
                    <a:pt x="104" y="480"/>
                  </a:lnTo>
                  <a:lnTo>
                    <a:pt x="104" y="478"/>
                  </a:lnTo>
                  <a:lnTo>
                    <a:pt x="106" y="478"/>
                  </a:lnTo>
                  <a:close/>
                  <a:moveTo>
                    <a:pt x="14" y="459"/>
                  </a:moveTo>
                  <a:lnTo>
                    <a:pt x="16" y="459"/>
                  </a:lnTo>
                  <a:lnTo>
                    <a:pt x="16" y="461"/>
                  </a:lnTo>
                  <a:lnTo>
                    <a:pt x="14" y="461"/>
                  </a:lnTo>
                  <a:lnTo>
                    <a:pt x="14" y="459"/>
                  </a:lnTo>
                  <a:close/>
                  <a:moveTo>
                    <a:pt x="27" y="446"/>
                  </a:moveTo>
                  <a:lnTo>
                    <a:pt x="29" y="446"/>
                  </a:lnTo>
                  <a:lnTo>
                    <a:pt x="29" y="448"/>
                  </a:lnTo>
                  <a:lnTo>
                    <a:pt x="27" y="448"/>
                  </a:lnTo>
                  <a:lnTo>
                    <a:pt x="27" y="446"/>
                  </a:lnTo>
                  <a:lnTo>
                    <a:pt x="29" y="446"/>
                  </a:lnTo>
                  <a:lnTo>
                    <a:pt x="27" y="446"/>
                  </a:lnTo>
                  <a:close/>
                  <a:moveTo>
                    <a:pt x="58" y="734"/>
                  </a:moveTo>
                  <a:lnTo>
                    <a:pt x="58" y="736"/>
                  </a:lnTo>
                  <a:lnTo>
                    <a:pt x="58" y="734"/>
                  </a:lnTo>
                  <a:lnTo>
                    <a:pt x="58" y="736"/>
                  </a:lnTo>
                  <a:lnTo>
                    <a:pt x="58" y="734"/>
                  </a:lnTo>
                  <a:lnTo>
                    <a:pt x="58" y="736"/>
                  </a:lnTo>
                  <a:lnTo>
                    <a:pt x="58" y="734"/>
                  </a:lnTo>
                  <a:close/>
                  <a:moveTo>
                    <a:pt x="93" y="484"/>
                  </a:moveTo>
                  <a:lnTo>
                    <a:pt x="91" y="484"/>
                  </a:lnTo>
                  <a:lnTo>
                    <a:pt x="93" y="484"/>
                  </a:lnTo>
                  <a:close/>
                  <a:moveTo>
                    <a:pt x="100" y="655"/>
                  </a:moveTo>
                  <a:lnTo>
                    <a:pt x="98" y="655"/>
                  </a:lnTo>
                  <a:lnTo>
                    <a:pt x="100" y="655"/>
                  </a:lnTo>
                  <a:close/>
                  <a:moveTo>
                    <a:pt x="93" y="496"/>
                  </a:moveTo>
                  <a:lnTo>
                    <a:pt x="93" y="498"/>
                  </a:lnTo>
                  <a:lnTo>
                    <a:pt x="91" y="498"/>
                  </a:lnTo>
                  <a:lnTo>
                    <a:pt x="91" y="496"/>
                  </a:lnTo>
                  <a:lnTo>
                    <a:pt x="93" y="496"/>
                  </a:lnTo>
                  <a:close/>
                  <a:moveTo>
                    <a:pt x="96" y="603"/>
                  </a:moveTo>
                  <a:lnTo>
                    <a:pt x="96" y="605"/>
                  </a:lnTo>
                  <a:lnTo>
                    <a:pt x="95" y="605"/>
                  </a:lnTo>
                  <a:lnTo>
                    <a:pt x="96" y="605"/>
                  </a:lnTo>
                  <a:lnTo>
                    <a:pt x="96" y="603"/>
                  </a:lnTo>
                  <a:lnTo>
                    <a:pt x="96" y="605"/>
                  </a:lnTo>
                  <a:lnTo>
                    <a:pt x="96" y="603"/>
                  </a:lnTo>
                  <a:close/>
                  <a:moveTo>
                    <a:pt x="171" y="893"/>
                  </a:moveTo>
                  <a:lnTo>
                    <a:pt x="171" y="891"/>
                  </a:lnTo>
                  <a:lnTo>
                    <a:pt x="171" y="893"/>
                  </a:lnTo>
                  <a:close/>
                  <a:moveTo>
                    <a:pt x="112" y="718"/>
                  </a:moveTo>
                  <a:lnTo>
                    <a:pt x="110" y="718"/>
                  </a:lnTo>
                  <a:lnTo>
                    <a:pt x="112" y="718"/>
                  </a:lnTo>
                  <a:close/>
                  <a:moveTo>
                    <a:pt x="98" y="851"/>
                  </a:moveTo>
                  <a:lnTo>
                    <a:pt x="100" y="851"/>
                  </a:lnTo>
                  <a:lnTo>
                    <a:pt x="100" y="853"/>
                  </a:lnTo>
                  <a:lnTo>
                    <a:pt x="98" y="853"/>
                  </a:lnTo>
                  <a:lnTo>
                    <a:pt x="100" y="853"/>
                  </a:lnTo>
                  <a:lnTo>
                    <a:pt x="98" y="853"/>
                  </a:lnTo>
                  <a:lnTo>
                    <a:pt x="100" y="853"/>
                  </a:lnTo>
                  <a:lnTo>
                    <a:pt x="98" y="851"/>
                  </a:lnTo>
                  <a:lnTo>
                    <a:pt x="100" y="851"/>
                  </a:lnTo>
                  <a:lnTo>
                    <a:pt x="98" y="851"/>
                  </a:lnTo>
                  <a:close/>
                  <a:moveTo>
                    <a:pt x="110" y="718"/>
                  </a:moveTo>
                  <a:lnTo>
                    <a:pt x="110" y="720"/>
                  </a:lnTo>
                  <a:lnTo>
                    <a:pt x="110" y="718"/>
                  </a:lnTo>
                  <a:close/>
                  <a:moveTo>
                    <a:pt x="160" y="866"/>
                  </a:moveTo>
                  <a:lnTo>
                    <a:pt x="160" y="868"/>
                  </a:lnTo>
                  <a:lnTo>
                    <a:pt x="160" y="866"/>
                  </a:lnTo>
                  <a:close/>
                  <a:moveTo>
                    <a:pt x="98" y="615"/>
                  </a:moveTo>
                  <a:lnTo>
                    <a:pt x="98" y="617"/>
                  </a:lnTo>
                  <a:lnTo>
                    <a:pt x="96" y="617"/>
                  </a:lnTo>
                  <a:lnTo>
                    <a:pt x="98" y="617"/>
                  </a:lnTo>
                  <a:lnTo>
                    <a:pt x="98" y="615"/>
                  </a:lnTo>
                  <a:close/>
                  <a:moveTo>
                    <a:pt x="87" y="824"/>
                  </a:moveTo>
                  <a:lnTo>
                    <a:pt x="89" y="824"/>
                  </a:lnTo>
                  <a:lnTo>
                    <a:pt x="89" y="826"/>
                  </a:lnTo>
                  <a:lnTo>
                    <a:pt x="87" y="826"/>
                  </a:lnTo>
                  <a:lnTo>
                    <a:pt x="87" y="824"/>
                  </a:lnTo>
                  <a:close/>
                  <a:moveTo>
                    <a:pt x="112" y="463"/>
                  </a:moveTo>
                  <a:lnTo>
                    <a:pt x="110" y="463"/>
                  </a:lnTo>
                  <a:lnTo>
                    <a:pt x="112" y="463"/>
                  </a:lnTo>
                  <a:lnTo>
                    <a:pt x="110" y="463"/>
                  </a:lnTo>
                  <a:lnTo>
                    <a:pt x="112" y="463"/>
                  </a:lnTo>
                  <a:lnTo>
                    <a:pt x="110" y="463"/>
                  </a:lnTo>
                  <a:lnTo>
                    <a:pt x="112" y="463"/>
                  </a:lnTo>
                  <a:lnTo>
                    <a:pt x="110" y="463"/>
                  </a:lnTo>
                  <a:lnTo>
                    <a:pt x="110" y="461"/>
                  </a:lnTo>
                  <a:lnTo>
                    <a:pt x="110" y="463"/>
                  </a:lnTo>
                  <a:lnTo>
                    <a:pt x="110" y="461"/>
                  </a:lnTo>
                  <a:lnTo>
                    <a:pt x="110" y="463"/>
                  </a:lnTo>
                  <a:lnTo>
                    <a:pt x="110" y="461"/>
                  </a:lnTo>
                  <a:lnTo>
                    <a:pt x="112" y="461"/>
                  </a:lnTo>
                  <a:lnTo>
                    <a:pt x="112" y="463"/>
                  </a:lnTo>
                  <a:close/>
                  <a:moveTo>
                    <a:pt x="106" y="471"/>
                  </a:moveTo>
                  <a:lnTo>
                    <a:pt x="106" y="473"/>
                  </a:lnTo>
                  <a:lnTo>
                    <a:pt x="104" y="473"/>
                  </a:lnTo>
                  <a:lnTo>
                    <a:pt x="104" y="471"/>
                  </a:lnTo>
                  <a:lnTo>
                    <a:pt x="106" y="471"/>
                  </a:lnTo>
                  <a:close/>
                  <a:moveTo>
                    <a:pt x="81" y="486"/>
                  </a:moveTo>
                  <a:lnTo>
                    <a:pt x="83" y="486"/>
                  </a:lnTo>
                  <a:lnTo>
                    <a:pt x="83" y="488"/>
                  </a:lnTo>
                  <a:lnTo>
                    <a:pt x="81" y="488"/>
                  </a:lnTo>
                  <a:lnTo>
                    <a:pt x="81" y="486"/>
                  </a:lnTo>
                  <a:close/>
                  <a:moveTo>
                    <a:pt x="123" y="548"/>
                  </a:moveTo>
                  <a:lnTo>
                    <a:pt x="125" y="548"/>
                  </a:lnTo>
                  <a:lnTo>
                    <a:pt x="125" y="549"/>
                  </a:lnTo>
                  <a:lnTo>
                    <a:pt x="123" y="549"/>
                  </a:lnTo>
                  <a:lnTo>
                    <a:pt x="123" y="548"/>
                  </a:lnTo>
                  <a:close/>
                  <a:moveTo>
                    <a:pt x="102" y="596"/>
                  </a:moveTo>
                  <a:lnTo>
                    <a:pt x="102" y="597"/>
                  </a:lnTo>
                  <a:lnTo>
                    <a:pt x="102" y="596"/>
                  </a:lnTo>
                  <a:close/>
                  <a:moveTo>
                    <a:pt x="100" y="619"/>
                  </a:moveTo>
                  <a:lnTo>
                    <a:pt x="100" y="621"/>
                  </a:lnTo>
                  <a:lnTo>
                    <a:pt x="100" y="619"/>
                  </a:lnTo>
                  <a:lnTo>
                    <a:pt x="100" y="621"/>
                  </a:lnTo>
                  <a:lnTo>
                    <a:pt x="98" y="621"/>
                  </a:lnTo>
                  <a:lnTo>
                    <a:pt x="98" y="619"/>
                  </a:lnTo>
                  <a:lnTo>
                    <a:pt x="98" y="621"/>
                  </a:lnTo>
                  <a:lnTo>
                    <a:pt x="98" y="619"/>
                  </a:lnTo>
                  <a:lnTo>
                    <a:pt x="100" y="619"/>
                  </a:lnTo>
                  <a:lnTo>
                    <a:pt x="98" y="619"/>
                  </a:lnTo>
                  <a:lnTo>
                    <a:pt x="100" y="619"/>
                  </a:lnTo>
                  <a:close/>
                  <a:moveTo>
                    <a:pt x="81" y="496"/>
                  </a:moveTo>
                  <a:lnTo>
                    <a:pt x="83" y="496"/>
                  </a:lnTo>
                  <a:lnTo>
                    <a:pt x="81" y="496"/>
                  </a:lnTo>
                  <a:close/>
                  <a:moveTo>
                    <a:pt x="87" y="693"/>
                  </a:moveTo>
                  <a:lnTo>
                    <a:pt x="87" y="695"/>
                  </a:lnTo>
                  <a:lnTo>
                    <a:pt x="87" y="693"/>
                  </a:lnTo>
                  <a:lnTo>
                    <a:pt x="85" y="693"/>
                  </a:lnTo>
                  <a:lnTo>
                    <a:pt x="87" y="693"/>
                  </a:lnTo>
                  <a:close/>
                  <a:moveTo>
                    <a:pt x="85" y="690"/>
                  </a:moveTo>
                  <a:lnTo>
                    <a:pt x="85" y="692"/>
                  </a:lnTo>
                  <a:lnTo>
                    <a:pt x="85" y="690"/>
                  </a:lnTo>
                  <a:close/>
                  <a:moveTo>
                    <a:pt x="162" y="839"/>
                  </a:moveTo>
                  <a:lnTo>
                    <a:pt x="164" y="839"/>
                  </a:lnTo>
                  <a:lnTo>
                    <a:pt x="164" y="841"/>
                  </a:lnTo>
                  <a:lnTo>
                    <a:pt x="164" y="839"/>
                  </a:lnTo>
                  <a:lnTo>
                    <a:pt x="162" y="839"/>
                  </a:lnTo>
                  <a:close/>
                  <a:moveTo>
                    <a:pt x="98" y="501"/>
                  </a:moveTo>
                  <a:lnTo>
                    <a:pt x="100" y="501"/>
                  </a:lnTo>
                  <a:lnTo>
                    <a:pt x="100" y="503"/>
                  </a:lnTo>
                  <a:lnTo>
                    <a:pt x="100" y="501"/>
                  </a:lnTo>
                  <a:lnTo>
                    <a:pt x="100" y="503"/>
                  </a:lnTo>
                  <a:lnTo>
                    <a:pt x="100" y="501"/>
                  </a:lnTo>
                  <a:lnTo>
                    <a:pt x="98" y="501"/>
                  </a:lnTo>
                  <a:lnTo>
                    <a:pt x="98" y="503"/>
                  </a:lnTo>
                  <a:lnTo>
                    <a:pt x="100" y="503"/>
                  </a:lnTo>
                  <a:lnTo>
                    <a:pt x="98" y="503"/>
                  </a:lnTo>
                  <a:lnTo>
                    <a:pt x="100" y="503"/>
                  </a:lnTo>
                  <a:lnTo>
                    <a:pt x="98" y="503"/>
                  </a:lnTo>
                  <a:lnTo>
                    <a:pt x="98" y="501"/>
                  </a:lnTo>
                  <a:close/>
                  <a:moveTo>
                    <a:pt x="93" y="461"/>
                  </a:moveTo>
                  <a:lnTo>
                    <a:pt x="93" y="463"/>
                  </a:lnTo>
                  <a:lnTo>
                    <a:pt x="91" y="463"/>
                  </a:lnTo>
                  <a:lnTo>
                    <a:pt x="93" y="463"/>
                  </a:lnTo>
                  <a:lnTo>
                    <a:pt x="93" y="461"/>
                  </a:lnTo>
                  <a:lnTo>
                    <a:pt x="93" y="463"/>
                  </a:lnTo>
                  <a:lnTo>
                    <a:pt x="93" y="461"/>
                  </a:lnTo>
                  <a:close/>
                  <a:moveTo>
                    <a:pt x="150" y="774"/>
                  </a:moveTo>
                  <a:lnTo>
                    <a:pt x="150" y="776"/>
                  </a:lnTo>
                  <a:lnTo>
                    <a:pt x="148" y="776"/>
                  </a:lnTo>
                  <a:lnTo>
                    <a:pt x="150" y="776"/>
                  </a:lnTo>
                  <a:lnTo>
                    <a:pt x="148" y="776"/>
                  </a:lnTo>
                  <a:lnTo>
                    <a:pt x="150" y="776"/>
                  </a:lnTo>
                  <a:lnTo>
                    <a:pt x="150" y="774"/>
                  </a:lnTo>
                  <a:close/>
                  <a:moveTo>
                    <a:pt x="98" y="501"/>
                  </a:moveTo>
                  <a:lnTo>
                    <a:pt x="96" y="501"/>
                  </a:lnTo>
                  <a:lnTo>
                    <a:pt x="98" y="501"/>
                  </a:lnTo>
                  <a:close/>
                  <a:moveTo>
                    <a:pt x="95" y="707"/>
                  </a:moveTo>
                  <a:lnTo>
                    <a:pt x="95" y="709"/>
                  </a:lnTo>
                  <a:lnTo>
                    <a:pt x="96" y="709"/>
                  </a:lnTo>
                  <a:lnTo>
                    <a:pt x="95" y="709"/>
                  </a:lnTo>
                  <a:lnTo>
                    <a:pt x="95" y="707"/>
                  </a:lnTo>
                  <a:close/>
                  <a:moveTo>
                    <a:pt x="171" y="824"/>
                  </a:moveTo>
                  <a:lnTo>
                    <a:pt x="173" y="824"/>
                  </a:lnTo>
                  <a:lnTo>
                    <a:pt x="173" y="826"/>
                  </a:lnTo>
                  <a:lnTo>
                    <a:pt x="171" y="826"/>
                  </a:lnTo>
                  <a:lnTo>
                    <a:pt x="171" y="824"/>
                  </a:lnTo>
                  <a:close/>
                  <a:moveTo>
                    <a:pt x="83" y="820"/>
                  </a:moveTo>
                  <a:lnTo>
                    <a:pt x="81" y="820"/>
                  </a:lnTo>
                  <a:lnTo>
                    <a:pt x="83" y="820"/>
                  </a:lnTo>
                  <a:lnTo>
                    <a:pt x="81" y="820"/>
                  </a:lnTo>
                  <a:lnTo>
                    <a:pt x="83" y="820"/>
                  </a:lnTo>
                  <a:lnTo>
                    <a:pt x="81" y="820"/>
                  </a:lnTo>
                  <a:lnTo>
                    <a:pt x="83" y="820"/>
                  </a:lnTo>
                  <a:close/>
                  <a:moveTo>
                    <a:pt x="112" y="718"/>
                  </a:moveTo>
                  <a:lnTo>
                    <a:pt x="114" y="718"/>
                  </a:lnTo>
                  <a:lnTo>
                    <a:pt x="112" y="718"/>
                  </a:lnTo>
                  <a:close/>
                  <a:moveTo>
                    <a:pt x="162" y="897"/>
                  </a:moveTo>
                  <a:lnTo>
                    <a:pt x="160" y="897"/>
                  </a:lnTo>
                  <a:lnTo>
                    <a:pt x="162" y="897"/>
                  </a:lnTo>
                  <a:lnTo>
                    <a:pt x="160" y="897"/>
                  </a:lnTo>
                  <a:lnTo>
                    <a:pt x="162" y="897"/>
                  </a:lnTo>
                  <a:close/>
                  <a:moveTo>
                    <a:pt x="127" y="434"/>
                  </a:moveTo>
                  <a:lnTo>
                    <a:pt x="125" y="434"/>
                  </a:lnTo>
                  <a:lnTo>
                    <a:pt x="127" y="434"/>
                  </a:lnTo>
                  <a:lnTo>
                    <a:pt x="125" y="434"/>
                  </a:lnTo>
                  <a:lnTo>
                    <a:pt x="127" y="434"/>
                  </a:lnTo>
                  <a:close/>
                  <a:moveTo>
                    <a:pt x="81" y="496"/>
                  </a:moveTo>
                  <a:lnTo>
                    <a:pt x="81" y="498"/>
                  </a:lnTo>
                  <a:lnTo>
                    <a:pt x="81" y="496"/>
                  </a:lnTo>
                  <a:close/>
                  <a:moveTo>
                    <a:pt x="96" y="722"/>
                  </a:moveTo>
                  <a:lnTo>
                    <a:pt x="96" y="724"/>
                  </a:lnTo>
                  <a:lnTo>
                    <a:pt x="96" y="722"/>
                  </a:lnTo>
                  <a:close/>
                  <a:moveTo>
                    <a:pt x="95" y="669"/>
                  </a:moveTo>
                  <a:lnTo>
                    <a:pt x="93" y="669"/>
                  </a:lnTo>
                  <a:lnTo>
                    <a:pt x="95" y="669"/>
                  </a:lnTo>
                  <a:close/>
                  <a:moveTo>
                    <a:pt x="89" y="532"/>
                  </a:moveTo>
                  <a:lnTo>
                    <a:pt x="87" y="532"/>
                  </a:lnTo>
                  <a:lnTo>
                    <a:pt x="89" y="532"/>
                  </a:lnTo>
                  <a:lnTo>
                    <a:pt x="87" y="532"/>
                  </a:lnTo>
                  <a:lnTo>
                    <a:pt x="89" y="532"/>
                  </a:lnTo>
                  <a:lnTo>
                    <a:pt x="87" y="532"/>
                  </a:lnTo>
                  <a:lnTo>
                    <a:pt x="89" y="532"/>
                  </a:lnTo>
                  <a:lnTo>
                    <a:pt x="87" y="532"/>
                  </a:lnTo>
                  <a:lnTo>
                    <a:pt x="89" y="532"/>
                  </a:lnTo>
                  <a:lnTo>
                    <a:pt x="87" y="532"/>
                  </a:lnTo>
                  <a:lnTo>
                    <a:pt x="89" y="532"/>
                  </a:lnTo>
                  <a:lnTo>
                    <a:pt x="87" y="532"/>
                  </a:lnTo>
                  <a:lnTo>
                    <a:pt x="89" y="532"/>
                  </a:lnTo>
                  <a:lnTo>
                    <a:pt x="87" y="532"/>
                  </a:lnTo>
                  <a:lnTo>
                    <a:pt x="89" y="532"/>
                  </a:lnTo>
                  <a:lnTo>
                    <a:pt x="87" y="532"/>
                  </a:lnTo>
                  <a:lnTo>
                    <a:pt x="89" y="532"/>
                  </a:lnTo>
                  <a:close/>
                  <a:moveTo>
                    <a:pt x="77" y="772"/>
                  </a:moveTo>
                  <a:lnTo>
                    <a:pt x="77" y="774"/>
                  </a:lnTo>
                  <a:lnTo>
                    <a:pt x="77" y="772"/>
                  </a:lnTo>
                  <a:close/>
                  <a:moveTo>
                    <a:pt x="83" y="695"/>
                  </a:moveTo>
                  <a:lnTo>
                    <a:pt x="81" y="695"/>
                  </a:lnTo>
                  <a:lnTo>
                    <a:pt x="83" y="695"/>
                  </a:lnTo>
                  <a:close/>
                  <a:moveTo>
                    <a:pt x="104" y="442"/>
                  </a:moveTo>
                  <a:lnTo>
                    <a:pt x="102" y="442"/>
                  </a:lnTo>
                  <a:lnTo>
                    <a:pt x="104" y="442"/>
                  </a:lnTo>
                  <a:lnTo>
                    <a:pt x="102" y="442"/>
                  </a:lnTo>
                  <a:lnTo>
                    <a:pt x="104" y="440"/>
                  </a:lnTo>
                  <a:lnTo>
                    <a:pt x="104" y="442"/>
                  </a:lnTo>
                  <a:close/>
                  <a:moveTo>
                    <a:pt x="102" y="707"/>
                  </a:moveTo>
                  <a:lnTo>
                    <a:pt x="104" y="707"/>
                  </a:lnTo>
                  <a:lnTo>
                    <a:pt x="102" y="707"/>
                  </a:lnTo>
                  <a:lnTo>
                    <a:pt x="104" y="709"/>
                  </a:lnTo>
                  <a:lnTo>
                    <a:pt x="102" y="709"/>
                  </a:lnTo>
                  <a:lnTo>
                    <a:pt x="102" y="707"/>
                  </a:lnTo>
                  <a:close/>
                  <a:moveTo>
                    <a:pt x="6" y="549"/>
                  </a:moveTo>
                  <a:lnTo>
                    <a:pt x="8" y="549"/>
                  </a:lnTo>
                  <a:lnTo>
                    <a:pt x="6" y="549"/>
                  </a:lnTo>
                  <a:lnTo>
                    <a:pt x="8" y="549"/>
                  </a:lnTo>
                  <a:lnTo>
                    <a:pt x="6" y="549"/>
                  </a:lnTo>
                  <a:lnTo>
                    <a:pt x="6" y="551"/>
                  </a:lnTo>
                  <a:lnTo>
                    <a:pt x="6" y="549"/>
                  </a:lnTo>
                  <a:close/>
                  <a:moveTo>
                    <a:pt x="10" y="436"/>
                  </a:moveTo>
                  <a:lnTo>
                    <a:pt x="10" y="434"/>
                  </a:lnTo>
                  <a:lnTo>
                    <a:pt x="10" y="436"/>
                  </a:lnTo>
                  <a:close/>
                  <a:moveTo>
                    <a:pt x="110" y="613"/>
                  </a:moveTo>
                  <a:lnTo>
                    <a:pt x="110" y="615"/>
                  </a:lnTo>
                  <a:lnTo>
                    <a:pt x="110" y="613"/>
                  </a:lnTo>
                  <a:close/>
                  <a:moveTo>
                    <a:pt x="110" y="452"/>
                  </a:moveTo>
                  <a:lnTo>
                    <a:pt x="108" y="452"/>
                  </a:lnTo>
                  <a:lnTo>
                    <a:pt x="110" y="452"/>
                  </a:lnTo>
                  <a:close/>
                  <a:moveTo>
                    <a:pt x="121" y="436"/>
                  </a:moveTo>
                  <a:lnTo>
                    <a:pt x="121" y="438"/>
                  </a:lnTo>
                  <a:lnTo>
                    <a:pt x="121" y="436"/>
                  </a:lnTo>
                  <a:close/>
                  <a:moveTo>
                    <a:pt x="77" y="686"/>
                  </a:moveTo>
                  <a:lnTo>
                    <a:pt x="75" y="686"/>
                  </a:lnTo>
                  <a:lnTo>
                    <a:pt x="77" y="686"/>
                  </a:lnTo>
                  <a:close/>
                  <a:moveTo>
                    <a:pt x="60" y="741"/>
                  </a:moveTo>
                  <a:lnTo>
                    <a:pt x="58" y="741"/>
                  </a:lnTo>
                  <a:lnTo>
                    <a:pt x="58" y="743"/>
                  </a:lnTo>
                  <a:lnTo>
                    <a:pt x="58" y="741"/>
                  </a:lnTo>
                  <a:lnTo>
                    <a:pt x="60" y="741"/>
                  </a:lnTo>
                  <a:close/>
                  <a:moveTo>
                    <a:pt x="89" y="473"/>
                  </a:moveTo>
                  <a:lnTo>
                    <a:pt x="89" y="475"/>
                  </a:lnTo>
                  <a:lnTo>
                    <a:pt x="89" y="473"/>
                  </a:lnTo>
                  <a:close/>
                  <a:moveTo>
                    <a:pt x="106" y="477"/>
                  </a:moveTo>
                  <a:lnTo>
                    <a:pt x="106" y="478"/>
                  </a:lnTo>
                  <a:lnTo>
                    <a:pt x="106" y="477"/>
                  </a:lnTo>
                  <a:close/>
                  <a:moveTo>
                    <a:pt x="89" y="667"/>
                  </a:moveTo>
                  <a:lnTo>
                    <a:pt x="87" y="667"/>
                  </a:lnTo>
                  <a:lnTo>
                    <a:pt x="89" y="667"/>
                  </a:lnTo>
                  <a:close/>
                  <a:moveTo>
                    <a:pt x="98" y="851"/>
                  </a:moveTo>
                  <a:lnTo>
                    <a:pt x="98" y="853"/>
                  </a:lnTo>
                  <a:lnTo>
                    <a:pt x="98" y="851"/>
                  </a:lnTo>
                  <a:close/>
                  <a:moveTo>
                    <a:pt x="104" y="845"/>
                  </a:moveTo>
                  <a:lnTo>
                    <a:pt x="102" y="845"/>
                  </a:lnTo>
                  <a:lnTo>
                    <a:pt x="104" y="845"/>
                  </a:lnTo>
                  <a:lnTo>
                    <a:pt x="102" y="845"/>
                  </a:lnTo>
                  <a:lnTo>
                    <a:pt x="104" y="845"/>
                  </a:lnTo>
                  <a:close/>
                  <a:moveTo>
                    <a:pt x="93" y="498"/>
                  </a:moveTo>
                  <a:lnTo>
                    <a:pt x="93" y="500"/>
                  </a:lnTo>
                  <a:lnTo>
                    <a:pt x="93" y="498"/>
                  </a:lnTo>
                  <a:close/>
                  <a:moveTo>
                    <a:pt x="98" y="659"/>
                  </a:moveTo>
                  <a:lnTo>
                    <a:pt x="98" y="661"/>
                  </a:lnTo>
                  <a:lnTo>
                    <a:pt x="98" y="659"/>
                  </a:lnTo>
                  <a:close/>
                  <a:moveTo>
                    <a:pt x="93" y="667"/>
                  </a:moveTo>
                  <a:lnTo>
                    <a:pt x="95" y="667"/>
                  </a:lnTo>
                  <a:lnTo>
                    <a:pt x="95" y="669"/>
                  </a:lnTo>
                  <a:lnTo>
                    <a:pt x="93" y="669"/>
                  </a:lnTo>
                  <a:lnTo>
                    <a:pt x="93" y="667"/>
                  </a:lnTo>
                  <a:lnTo>
                    <a:pt x="93" y="669"/>
                  </a:lnTo>
                  <a:lnTo>
                    <a:pt x="93" y="667"/>
                  </a:lnTo>
                  <a:lnTo>
                    <a:pt x="93" y="669"/>
                  </a:lnTo>
                  <a:lnTo>
                    <a:pt x="93" y="667"/>
                  </a:lnTo>
                  <a:lnTo>
                    <a:pt x="93" y="669"/>
                  </a:lnTo>
                  <a:lnTo>
                    <a:pt x="93" y="667"/>
                  </a:lnTo>
                  <a:close/>
                  <a:moveTo>
                    <a:pt x="96" y="845"/>
                  </a:moveTo>
                  <a:lnTo>
                    <a:pt x="96" y="847"/>
                  </a:lnTo>
                  <a:lnTo>
                    <a:pt x="96" y="845"/>
                  </a:lnTo>
                  <a:lnTo>
                    <a:pt x="96" y="847"/>
                  </a:lnTo>
                  <a:lnTo>
                    <a:pt x="96" y="845"/>
                  </a:lnTo>
                  <a:close/>
                  <a:moveTo>
                    <a:pt x="102" y="709"/>
                  </a:moveTo>
                  <a:lnTo>
                    <a:pt x="102" y="711"/>
                  </a:lnTo>
                  <a:lnTo>
                    <a:pt x="102" y="709"/>
                  </a:lnTo>
                  <a:close/>
                  <a:moveTo>
                    <a:pt x="95" y="626"/>
                  </a:moveTo>
                  <a:lnTo>
                    <a:pt x="95" y="628"/>
                  </a:lnTo>
                  <a:lnTo>
                    <a:pt x="95" y="626"/>
                  </a:lnTo>
                  <a:lnTo>
                    <a:pt x="95" y="628"/>
                  </a:lnTo>
                  <a:lnTo>
                    <a:pt x="95" y="626"/>
                  </a:lnTo>
                  <a:close/>
                  <a:moveTo>
                    <a:pt x="108" y="436"/>
                  </a:moveTo>
                  <a:lnTo>
                    <a:pt x="108" y="438"/>
                  </a:lnTo>
                  <a:lnTo>
                    <a:pt x="106" y="438"/>
                  </a:lnTo>
                  <a:lnTo>
                    <a:pt x="108" y="438"/>
                  </a:lnTo>
                  <a:lnTo>
                    <a:pt x="106" y="438"/>
                  </a:lnTo>
                  <a:lnTo>
                    <a:pt x="108" y="436"/>
                  </a:lnTo>
                  <a:close/>
                  <a:moveTo>
                    <a:pt x="91" y="628"/>
                  </a:moveTo>
                  <a:lnTo>
                    <a:pt x="93" y="628"/>
                  </a:lnTo>
                  <a:lnTo>
                    <a:pt x="93" y="630"/>
                  </a:lnTo>
                  <a:lnTo>
                    <a:pt x="91" y="630"/>
                  </a:lnTo>
                  <a:lnTo>
                    <a:pt x="91" y="628"/>
                  </a:lnTo>
                  <a:close/>
                  <a:moveTo>
                    <a:pt x="96" y="845"/>
                  </a:moveTo>
                  <a:lnTo>
                    <a:pt x="98" y="845"/>
                  </a:lnTo>
                  <a:lnTo>
                    <a:pt x="96" y="845"/>
                  </a:lnTo>
                  <a:close/>
                  <a:moveTo>
                    <a:pt x="96" y="657"/>
                  </a:moveTo>
                  <a:lnTo>
                    <a:pt x="96" y="659"/>
                  </a:lnTo>
                  <a:lnTo>
                    <a:pt x="96" y="657"/>
                  </a:lnTo>
                  <a:lnTo>
                    <a:pt x="96" y="659"/>
                  </a:lnTo>
                  <a:lnTo>
                    <a:pt x="96" y="657"/>
                  </a:lnTo>
                  <a:close/>
                  <a:moveTo>
                    <a:pt x="91" y="555"/>
                  </a:moveTo>
                  <a:lnTo>
                    <a:pt x="89" y="555"/>
                  </a:lnTo>
                  <a:lnTo>
                    <a:pt x="91" y="555"/>
                  </a:lnTo>
                  <a:lnTo>
                    <a:pt x="89" y="555"/>
                  </a:lnTo>
                  <a:lnTo>
                    <a:pt x="91" y="555"/>
                  </a:lnTo>
                  <a:lnTo>
                    <a:pt x="89" y="555"/>
                  </a:lnTo>
                  <a:lnTo>
                    <a:pt x="91" y="555"/>
                  </a:lnTo>
                  <a:close/>
                  <a:moveTo>
                    <a:pt x="112" y="717"/>
                  </a:moveTo>
                  <a:lnTo>
                    <a:pt x="112" y="718"/>
                  </a:lnTo>
                  <a:lnTo>
                    <a:pt x="110" y="718"/>
                  </a:lnTo>
                  <a:lnTo>
                    <a:pt x="110" y="717"/>
                  </a:lnTo>
                  <a:lnTo>
                    <a:pt x="112" y="717"/>
                  </a:lnTo>
                  <a:close/>
                  <a:moveTo>
                    <a:pt x="96" y="532"/>
                  </a:moveTo>
                  <a:lnTo>
                    <a:pt x="96" y="534"/>
                  </a:lnTo>
                  <a:lnTo>
                    <a:pt x="95" y="534"/>
                  </a:lnTo>
                  <a:lnTo>
                    <a:pt x="96" y="534"/>
                  </a:lnTo>
                  <a:lnTo>
                    <a:pt x="95" y="534"/>
                  </a:lnTo>
                  <a:lnTo>
                    <a:pt x="95" y="532"/>
                  </a:lnTo>
                  <a:lnTo>
                    <a:pt x="96" y="532"/>
                  </a:lnTo>
                  <a:close/>
                  <a:moveTo>
                    <a:pt x="104" y="722"/>
                  </a:moveTo>
                  <a:lnTo>
                    <a:pt x="106" y="722"/>
                  </a:lnTo>
                  <a:lnTo>
                    <a:pt x="106" y="724"/>
                  </a:lnTo>
                  <a:lnTo>
                    <a:pt x="104" y="724"/>
                  </a:lnTo>
                  <a:lnTo>
                    <a:pt x="104" y="722"/>
                  </a:lnTo>
                  <a:close/>
                  <a:moveTo>
                    <a:pt x="114" y="609"/>
                  </a:moveTo>
                  <a:lnTo>
                    <a:pt x="114" y="611"/>
                  </a:lnTo>
                  <a:lnTo>
                    <a:pt x="114" y="609"/>
                  </a:lnTo>
                  <a:lnTo>
                    <a:pt x="114" y="611"/>
                  </a:lnTo>
                  <a:lnTo>
                    <a:pt x="114" y="609"/>
                  </a:lnTo>
                  <a:lnTo>
                    <a:pt x="114" y="611"/>
                  </a:lnTo>
                  <a:lnTo>
                    <a:pt x="114" y="609"/>
                  </a:lnTo>
                  <a:close/>
                  <a:moveTo>
                    <a:pt x="98" y="622"/>
                  </a:moveTo>
                  <a:lnTo>
                    <a:pt x="96" y="622"/>
                  </a:lnTo>
                  <a:lnTo>
                    <a:pt x="96" y="624"/>
                  </a:lnTo>
                  <a:lnTo>
                    <a:pt x="96" y="622"/>
                  </a:lnTo>
                  <a:lnTo>
                    <a:pt x="98" y="622"/>
                  </a:lnTo>
                  <a:lnTo>
                    <a:pt x="96" y="622"/>
                  </a:lnTo>
                  <a:lnTo>
                    <a:pt x="98" y="622"/>
                  </a:lnTo>
                  <a:close/>
                  <a:moveTo>
                    <a:pt x="108" y="718"/>
                  </a:moveTo>
                  <a:lnTo>
                    <a:pt x="106" y="718"/>
                  </a:lnTo>
                  <a:lnTo>
                    <a:pt x="108" y="718"/>
                  </a:lnTo>
                  <a:lnTo>
                    <a:pt x="106" y="718"/>
                  </a:lnTo>
                  <a:lnTo>
                    <a:pt x="108" y="718"/>
                  </a:lnTo>
                  <a:close/>
                  <a:moveTo>
                    <a:pt x="33" y="661"/>
                  </a:moveTo>
                  <a:lnTo>
                    <a:pt x="31" y="661"/>
                  </a:lnTo>
                  <a:lnTo>
                    <a:pt x="33" y="661"/>
                  </a:lnTo>
                  <a:lnTo>
                    <a:pt x="31" y="661"/>
                  </a:lnTo>
                  <a:lnTo>
                    <a:pt x="33" y="661"/>
                  </a:lnTo>
                  <a:lnTo>
                    <a:pt x="31" y="661"/>
                  </a:lnTo>
                  <a:lnTo>
                    <a:pt x="33" y="661"/>
                  </a:lnTo>
                  <a:lnTo>
                    <a:pt x="31" y="661"/>
                  </a:lnTo>
                  <a:lnTo>
                    <a:pt x="33" y="661"/>
                  </a:lnTo>
                  <a:close/>
                  <a:moveTo>
                    <a:pt x="96" y="615"/>
                  </a:moveTo>
                  <a:lnTo>
                    <a:pt x="98" y="615"/>
                  </a:lnTo>
                  <a:lnTo>
                    <a:pt x="96" y="615"/>
                  </a:lnTo>
                  <a:lnTo>
                    <a:pt x="96" y="617"/>
                  </a:lnTo>
                  <a:lnTo>
                    <a:pt x="96" y="615"/>
                  </a:lnTo>
                  <a:close/>
                  <a:moveTo>
                    <a:pt x="179" y="859"/>
                  </a:moveTo>
                  <a:lnTo>
                    <a:pt x="177" y="859"/>
                  </a:lnTo>
                  <a:lnTo>
                    <a:pt x="179" y="859"/>
                  </a:lnTo>
                  <a:lnTo>
                    <a:pt x="177" y="859"/>
                  </a:lnTo>
                  <a:lnTo>
                    <a:pt x="179" y="859"/>
                  </a:lnTo>
                  <a:close/>
                  <a:moveTo>
                    <a:pt x="8" y="498"/>
                  </a:moveTo>
                  <a:lnTo>
                    <a:pt x="8" y="500"/>
                  </a:lnTo>
                  <a:lnTo>
                    <a:pt x="8" y="498"/>
                  </a:lnTo>
                  <a:close/>
                  <a:moveTo>
                    <a:pt x="112" y="580"/>
                  </a:moveTo>
                  <a:lnTo>
                    <a:pt x="110" y="580"/>
                  </a:lnTo>
                  <a:lnTo>
                    <a:pt x="112" y="580"/>
                  </a:lnTo>
                  <a:close/>
                  <a:moveTo>
                    <a:pt x="100" y="839"/>
                  </a:moveTo>
                  <a:lnTo>
                    <a:pt x="100" y="841"/>
                  </a:lnTo>
                  <a:lnTo>
                    <a:pt x="98" y="841"/>
                  </a:lnTo>
                  <a:lnTo>
                    <a:pt x="100" y="841"/>
                  </a:lnTo>
                  <a:lnTo>
                    <a:pt x="98" y="841"/>
                  </a:lnTo>
                  <a:lnTo>
                    <a:pt x="98" y="839"/>
                  </a:lnTo>
                  <a:lnTo>
                    <a:pt x="98" y="841"/>
                  </a:lnTo>
                  <a:lnTo>
                    <a:pt x="98" y="839"/>
                  </a:lnTo>
                  <a:lnTo>
                    <a:pt x="100" y="839"/>
                  </a:lnTo>
                  <a:close/>
                  <a:moveTo>
                    <a:pt x="120" y="738"/>
                  </a:moveTo>
                  <a:lnTo>
                    <a:pt x="120" y="740"/>
                  </a:lnTo>
                  <a:lnTo>
                    <a:pt x="118" y="740"/>
                  </a:lnTo>
                  <a:lnTo>
                    <a:pt x="118" y="738"/>
                  </a:lnTo>
                  <a:lnTo>
                    <a:pt x="120" y="738"/>
                  </a:lnTo>
                  <a:close/>
                  <a:moveTo>
                    <a:pt x="162" y="874"/>
                  </a:moveTo>
                  <a:lnTo>
                    <a:pt x="162" y="876"/>
                  </a:lnTo>
                  <a:lnTo>
                    <a:pt x="162" y="874"/>
                  </a:lnTo>
                  <a:close/>
                  <a:moveTo>
                    <a:pt x="89" y="619"/>
                  </a:moveTo>
                  <a:lnTo>
                    <a:pt x="87" y="619"/>
                  </a:lnTo>
                  <a:lnTo>
                    <a:pt x="89" y="619"/>
                  </a:lnTo>
                  <a:lnTo>
                    <a:pt x="87" y="619"/>
                  </a:lnTo>
                  <a:lnTo>
                    <a:pt x="89" y="619"/>
                  </a:lnTo>
                  <a:close/>
                  <a:moveTo>
                    <a:pt x="160" y="868"/>
                  </a:moveTo>
                  <a:lnTo>
                    <a:pt x="162" y="868"/>
                  </a:lnTo>
                  <a:lnTo>
                    <a:pt x="162" y="870"/>
                  </a:lnTo>
                  <a:lnTo>
                    <a:pt x="160" y="870"/>
                  </a:lnTo>
                  <a:lnTo>
                    <a:pt x="160" y="868"/>
                  </a:lnTo>
                  <a:close/>
                  <a:moveTo>
                    <a:pt x="93" y="638"/>
                  </a:moveTo>
                  <a:lnTo>
                    <a:pt x="95" y="638"/>
                  </a:lnTo>
                  <a:lnTo>
                    <a:pt x="93" y="638"/>
                  </a:lnTo>
                  <a:close/>
                  <a:moveTo>
                    <a:pt x="154" y="834"/>
                  </a:moveTo>
                  <a:lnTo>
                    <a:pt x="154" y="836"/>
                  </a:lnTo>
                  <a:lnTo>
                    <a:pt x="154" y="834"/>
                  </a:lnTo>
                  <a:close/>
                  <a:moveTo>
                    <a:pt x="60" y="740"/>
                  </a:moveTo>
                  <a:lnTo>
                    <a:pt x="60" y="741"/>
                  </a:lnTo>
                  <a:lnTo>
                    <a:pt x="60" y="740"/>
                  </a:lnTo>
                  <a:lnTo>
                    <a:pt x="60" y="741"/>
                  </a:lnTo>
                  <a:lnTo>
                    <a:pt x="60" y="740"/>
                  </a:lnTo>
                  <a:close/>
                  <a:moveTo>
                    <a:pt x="14" y="528"/>
                  </a:moveTo>
                  <a:lnTo>
                    <a:pt x="14" y="530"/>
                  </a:lnTo>
                  <a:lnTo>
                    <a:pt x="12" y="530"/>
                  </a:lnTo>
                  <a:lnTo>
                    <a:pt x="12" y="528"/>
                  </a:lnTo>
                  <a:lnTo>
                    <a:pt x="14" y="528"/>
                  </a:lnTo>
                  <a:close/>
                  <a:moveTo>
                    <a:pt x="100" y="847"/>
                  </a:moveTo>
                  <a:lnTo>
                    <a:pt x="98" y="847"/>
                  </a:lnTo>
                  <a:lnTo>
                    <a:pt x="100" y="847"/>
                  </a:lnTo>
                  <a:lnTo>
                    <a:pt x="98" y="847"/>
                  </a:lnTo>
                  <a:lnTo>
                    <a:pt x="100" y="847"/>
                  </a:lnTo>
                  <a:close/>
                  <a:moveTo>
                    <a:pt x="85" y="693"/>
                  </a:moveTo>
                  <a:lnTo>
                    <a:pt x="87" y="693"/>
                  </a:lnTo>
                  <a:lnTo>
                    <a:pt x="87" y="695"/>
                  </a:lnTo>
                  <a:lnTo>
                    <a:pt x="85" y="695"/>
                  </a:lnTo>
                  <a:lnTo>
                    <a:pt x="85" y="693"/>
                  </a:lnTo>
                  <a:close/>
                  <a:moveTo>
                    <a:pt x="98" y="845"/>
                  </a:moveTo>
                  <a:lnTo>
                    <a:pt x="100" y="845"/>
                  </a:lnTo>
                  <a:lnTo>
                    <a:pt x="100" y="847"/>
                  </a:lnTo>
                  <a:lnTo>
                    <a:pt x="98" y="847"/>
                  </a:lnTo>
                  <a:lnTo>
                    <a:pt x="98" y="845"/>
                  </a:lnTo>
                  <a:close/>
                  <a:moveTo>
                    <a:pt x="98" y="839"/>
                  </a:moveTo>
                  <a:lnTo>
                    <a:pt x="98" y="841"/>
                  </a:lnTo>
                  <a:lnTo>
                    <a:pt x="98" y="839"/>
                  </a:lnTo>
                  <a:close/>
                  <a:moveTo>
                    <a:pt x="104" y="728"/>
                  </a:moveTo>
                  <a:lnTo>
                    <a:pt x="102" y="728"/>
                  </a:lnTo>
                  <a:lnTo>
                    <a:pt x="104" y="728"/>
                  </a:lnTo>
                  <a:close/>
                  <a:moveTo>
                    <a:pt x="162" y="878"/>
                  </a:moveTo>
                  <a:lnTo>
                    <a:pt x="162" y="880"/>
                  </a:lnTo>
                  <a:lnTo>
                    <a:pt x="162" y="878"/>
                  </a:lnTo>
                  <a:close/>
                  <a:moveTo>
                    <a:pt x="135" y="521"/>
                  </a:moveTo>
                  <a:lnTo>
                    <a:pt x="137" y="521"/>
                  </a:lnTo>
                  <a:lnTo>
                    <a:pt x="135" y="521"/>
                  </a:lnTo>
                  <a:close/>
                  <a:moveTo>
                    <a:pt x="96" y="459"/>
                  </a:moveTo>
                  <a:lnTo>
                    <a:pt x="95" y="459"/>
                  </a:lnTo>
                  <a:lnTo>
                    <a:pt x="96" y="459"/>
                  </a:lnTo>
                  <a:close/>
                  <a:moveTo>
                    <a:pt x="79" y="814"/>
                  </a:moveTo>
                  <a:lnTo>
                    <a:pt x="79" y="816"/>
                  </a:lnTo>
                  <a:lnTo>
                    <a:pt x="79" y="814"/>
                  </a:lnTo>
                  <a:close/>
                  <a:moveTo>
                    <a:pt x="31" y="442"/>
                  </a:moveTo>
                  <a:lnTo>
                    <a:pt x="29" y="442"/>
                  </a:lnTo>
                  <a:lnTo>
                    <a:pt x="31" y="442"/>
                  </a:lnTo>
                  <a:close/>
                  <a:moveTo>
                    <a:pt x="162" y="905"/>
                  </a:moveTo>
                  <a:lnTo>
                    <a:pt x="162" y="907"/>
                  </a:lnTo>
                  <a:lnTo>
                    <a:pt x="160" y="907"/>
                  </a:lnTo>
                  <a:lnTo>
                    <a:pt x="162" y="907"/>
                  </a:lnTo>
                  <a:lnTo>
                    <a:pt x="160" y="907"/>
                  </a:lnTo>
                  <a:lnTo>
                    <a:pt x="160" y="905"/>
                  </a:lnTo>
                  <a:lnTo>
                    <a:pt x="162" y="905"/>
                  </a:lnTo>
                  <a:close/>
                  <a:moveTo>
                    <a:pt x="89" y="571"/>
                  </a:moveTo>
                  <a:lnTo>
                    <a:pt x="89" y="573"/>
                  </a:lnTo>
                  <a:lnTo>
                    <a:pt x="89" y="571"/>
                  </a:lnTo>
                  <a:close/>
                  <a:moveTo>
                    <a:pt x="89" y="571"/>
                  </a:moveTo>
                  <a:lnTo>
                    <a:pt x="87" y="571"/>
                  </a:lnTo>
                  <a:lnTo>
                    <a:pt x="89" y="571"/>
                  </a:lnTo>
                  <a:lnTo>
                    <a:pt x="87" y="571"/>
                  </a:lnTo>
                  <a:lnTo>
                    <a:pt x="89" y="571"/>
                  </a:lnTo>
                  <a:close/>
                  <a:moveTo>
                    <a:pt x="114" y="621"/>
                  </a:moveTo>
                  <a:lnTo>
                    <a:pt x="116" y="621"/>
                  </a:lnTo>
                  <a:lnTo>
                    <a:pt x="116" y="622"/>
                  </a:lnTo>
                  <a:lnTo>
                    <a:pt x="114" y="622"/>
                  </a:lnTo>
                  <a:lnTo>
                    <a:pt x="114" y="621"/>
                  </a:lnTo>
                  <a:close/>
                  <a:moveTo>
                    <a:pt x="96" y="622"/>
                  </a:moveTo>
                  <a:lnTo>
                    <a:pt x="98" y="622"/>
                  </a:lnTo>
                  <a:lnTo>
                    <a:pt x="96" y="622"/>
                  </a:lnTo>
                  <a:close/>
                  <a:moveTo>
                    <a:pt x="108" y="655"/>
                  </a:moveTo>
                  <a:lnTo>
                    <a:pt x="106" y="655"/>
                  </a:lnTo>
                  <a:lnTo>
                    <a:pt x="108" y="655"/>
                  </a:lnTo>
                  <a:close/>
                  <a:moveTo>
                    <a:pt x="106" y="726"/>
                  </a:moveTo>
                  <a:lnTo>
                    <a:pt x="108" y="726"/>
                  </a:lnTo>
                  <a:lnTo>
                    <a:pt x="106" y="726"/>
                  </a:lnTo>
                  <a:close/>
                  <a:moveTo>
                    <a:pt x="96" y="843"/>
                  </a:moveTo>
                  <a:lnTo>
                    <a:pt x="96" y="845"/>
                  </a:lnTo>
                  <a:lnTo>
                    <a:pt x="98" y="845"/>
                  </a:lnTo>
                  <a:lnTo>
                    <a:pt x="96" y="845"/>
                  </a:lnTo>
                  <a:lnTo>
                    <a:pt x="96" y="843"/>
                  </a:lnTo>
                  <a:lnTo>
                    <a:pt x="96" y="845"/>
                  </a:lnTo>
                  <a:lnTo>
                    <a:pt x="96" y="843"/>
                  </a:lnTo>
                  <a:close/>
                  <a:moveTo>
                    <a:pt x="100" y="851"/>
                  </a:moveTo>
                  <a:lnTo>
                    <a:pt x="100" y="853"/>
                  </a:lnTo>
                  <a:lnTo>
                    <a:pt x="100" y="851"/>
                  </a:lnTo>
                  <a:close/>
                  <a:moveTo>
                    <a:pt x="102" y="657"/>
                  </a:moveTo>
                  <a:lnTo>
                    <a:pt x="100" y="657"/>
                  </a:lnTo>
                  <a:lnTo>
                    <a:pt x="102" y="657"/>
                  </a:lnTo>
                  <a:close/>
                  <a:moveTo>
                    <a:pt x="98" y="434"/>
                  </a:moveTo>
                  <a:lnTo>
                    <a:pt x="98" y="436"/>
                  </a:lnTo>
                  <a:lnTo>
                    <a:pt x="98" y="434"/>
                  </a:lnTo>
                  <a:close/>
                  <a:moveTo>
                    <a:pt x="83" y="559"/>
                  </a:moveTo>
                  <a:lnTo>
                    <a:pt x="83" y="561"/>
                  </a:lnTo>
                  <a:lnTo>
                    <a:pt x="83" y="559"/>
                  </a:lnTo>
                  <a:lnTo>
                    <a:pt x="83" y="561"/>
                  </a:lnTo>
                  <a:lnTo>
                    <a:pt x="83" y="559"/>
                  </a:lnTo>
                  <a:close/>
                  <a:moveTo>
                    <a:pt x="93" y="697"/>
                  </a:moveTo>
                  <a:lnTo>
                    <a:pt x="95" y="697"/>
                  </a:lnTo>
                  <a:lnTo>
                    <a:pt x="93" y="697"/>
                  </a:lnTo>
                  <a:close/>
                  <a:moveTo>
                    <a:pt x="106" y="442"/>
                  </a:moveTo>
                  <a:lnTo>
                    <a:pt x="106" y="444"/>
                  </a:lnTo>
                  <a:lnTo>
                    <a:pt x="106" y="442"/>
                  </a:lnTo>
                  <a:lnTo>
                    <a:pt x="106" y="444"/>
                  </a:lnTo>
                  <a:lnTo>
                    <a:pt x="106" y="442"/>
                  </a:lnTo>
                  <a:close/>
                  <a:moveTo>
                    <a:pt x="91" y="478"/>
                  </a:moveTo>
                  <a:lnTo>
                    <a:pt x="91" y="480"/>
                  </a:lnTo>
                  <a:lnTo>
                    <a:pt x="91" y="478"/>
                  </a:lnTo>
                  <a:close/>
                  <a:moveTo>
                    <a:pt x="100" y="657"/>
                  </a:moveTo>
                  <a:lnTo>
                    <a:pt x="100" y="659"/>
                  </a:lnTo>
                  <a:lnTo>
                    <a:pt x="100" y="657"/>
                  </a:lnTo>
                  <a:close/>
                  <a:moveTo>
                    <a:pt x="64" y="741"/>
                  </a:moveTo>
                  <a:lnTo>
                    <a:pt x="64" y="743"/>
                  </a:lnTo>
                  <a:lnTo>
                    <a:pt x="66" y="743"/>
                  </a:lnTo>
                  <a:lnTo>
                    <a:pt x="64" y="743"/>
                  </a:lnTo>
                  <a:lnTo>
                    <a:pt x="64" y="741"/>
                  </a:lnTo>
                  <a:close/>
                  <a:moveTo>
                    <a:pt x="202" y="866"/>
                  </a:moveTo>
                  <a:lnTo>
                    <a:pt x="202" y="864"/>
                  </a:lnTo>
                  <a:lnTo>
                    <a:pt x="202" y="866"/>
                  </a:lnTo>
                  <a:close/>
                  <a:moveTo>
                    <a:pt x="150" y="836"/>
                  </a:moveTo>
                  <a:lnTo>
                    <a:pt x="150" y="837"/>
                  </a:lnTo>
                  <a:lnTo>
                    <a:pt x="152" y="837"/>
                  </a:lnTo>
                  <a:lnTo>
                    <a:pt x="150" y="837"/>
                  </a:lnTo>
                  <a:lnTo>
                    <a:pt x="152" y="837"/>
                  </a:lnTo>
                  <a:lnTo>
                    <a:pt x="150" y="837"/>
                  </a:lnTo>
                  <a:lnTo>
                    <a:pt x="152" y="837"/>
                  </a:lnTo>
                  <a:lnTo>
                    <a:pt x="150" y="837"/>
                  </a:lnTo>
                  <a:lnTo>
                    <a:pt x="150" y="836"/>
                  </a:lnTo>
                  <a:close/>
                  <a:moveTo>
                    <a:pt x="91" y="526"/>
                  </a:moveTo>
                  <a:lnTo>
                    <a:pt x="89" y="526"/>
                  </a:lnTo>
                  <a:lnTo>
                    <a:pt x="91" y="526"/>
                  </a:lnTo>
                  <a:lnTo>
                    <a:pt x="89" y="526"/>
                  </a:lnTo>
                  <a:lnTo>
                    <a:pt x="91" y="526"/>
                  </a:lnTo>
                  <a:close/>
                  <a:moveTo>
                    <a:pt x="108" y="718"/>
                  </a:moveTo>
                  <a:lnTo>
                    <a:pt x="108" y="720"/>
                  </a:lnTo>
                  <a:lnTo>
                    <a:pt x="108" y="718"/>
                  </a:lnTo>
                  <a:lnTo>
                    <a:pt x="108" y="720"/>
                  </a:lnTo>
                  <a:lnTo>
                    <a:pt x="108" y="718"/>
                  </a:lnTo>
                  <a:lnTo>
                    <a:pt x="108" y="720"/>
                  </a:lnTo>
                  <a:lnTo>
                    <a:pt x="108" y="718"/>
                  </a:lnTo>
                  <a:close/>
                  <a:moveTo>
                    <a:pt x="100" y="647"/>
                  </a:moveTo>
                  <a:lnTo>
                    <a:pt x="100" y="649"/>
                  </a:lnTo>
                  <a:lnTo>
                    <a:pt x="100" y="647"/>
                  </a:lnTo>
                  <a:close/>
                  <a:moveTo>
                    <a:pt x="95" y="465"/>
                  </a:moveTo>
                  <a:lnTo>
                    <a:pt x="93" y="465"/>
                  </a:lnTo>
                  <a:lnTo>
                    <a:pt x="93" y="467"/>
                  </a:lnTo>
                  <a:lnTo>
                    <a:pt x="93" y="465"/>
                  </a:lnTo>
                  <a:lnTo>
                    <a:pt x="95" y="465"/>
                  </a:lnTo>
                  <a:close/>
                  <a:moveTo>
                    <a:pt x="98" y="613"/>
                  </a:moveTo>
                  <a:lnTo>
                    <a:pt x="98" y="615"/>
                  </a:lnTo>
                  <a:lnTo>
                    <a:pt x="98" y="613"/>
                  </a:lnTo>
                  <a:close/>
                  <a:moveTo>
                    <a:pt x="100" y="632"/>
                  </a:moveTo>
                  <a:lnTo>
                    <a:pt x="100" y="634"/>
                  </a:lnTo>
                  <a:lnTo>
                    <a:pt x="98" y="634"/>
                  </a:lnTo>
                  <a:lnTo>
                    <a:pt x="98" y="632"/>
                  </a:lnTo>
                  <a:lnTo>
                    <a:pt x="100" y="632"/>
                  </a:lnTo>
                  <a:lnTo>
                    <a:pt x="98" y="632"/>
                  </a:lnTo>
                  <a:lnTo>
                    <a:pt x="100" y="632"/>
                  </a:lnTo>
                  <a:close/>
                  <a:moveTo>
                    <a:pt x="89" y="478"/>
                  </a:moveTo>
                  <a:lnTo>
                    <a:pt x="89" y="480"/>
                  </a:lnTo>
                  <a:lnTo>
                    <a:pt x="89" y="478"/>
                  </a:lnTo>
                  <a:lnTo>
                    <a:pt x="89" y="480"/>
                  </a:lnTo>
                  <a:lnTo>
                    <a:pt x="89" y="478"/>
                  </a:lnTo>
                  <a:close/>
                  <a:moveTo>
                    <a:pt x="156" y="836"/>
                  </a:moveTo>
                  <a:lnTo>
                    <a:pt x="156" y="837"/>
                  </a:lnTo>
                  <a:lnTo>
                    <a:pt x="156" y="836"/>
                  </a:lnTo>
                  <a:close/>
                  <a:moveTo>
                    <a:pt x="2" y="477"/>
                  </a:moveTo>
                  <a:lnTo>
                    <a:pt x="4" y="477"/>
                  </a:lnTo>
                  <a:lnTo>
                    <a:pt x="4" y="478"/>
                  </a:lnTo>
                  <a:lnTo>
                    <a:pt x="4" y="477"/>
                  </a:lnTo>
                  <a:lnTo>
                    <a:pt x="4" y="478"/>
                  </a:lnTo>
                  <a:lnTo>
                    <a:pt x="4" y="477"/>
                  </a:lnTo>
                  <a:lnTo>
                    <a:pt x="2" y="477"/>
                  </a:lnTo>
                  <a:lnTo>
                    <a:pt x="4" y="477"/>
                  </a:lnTo>
                  <a:lnTo>
                    <a:pt x="2" y="477"/>
                  </a:lnTo>
                  <a:close/>
                  <a:moveTo>
                    <a:pt x="156" y="859"/>
                  </a:moveTo>
                  <a:lnTo>
                    <a:pt x="156" y="861"/>
                  </a:lnTo>
                  <a:lnTo>
                    <a:pt x="156" y="859"/>
                  </a:lnTo>
                  <a:lnTo>
                    <a:pt x="156" y="861"/>
                  </a:lnTo>
                  <a:lnTo>
                    <a:pt x="156" y="859"/>
                  </a:lnTo>
                  <a:close/>
                  <a:moveTo>
                    <a:pt x="87" y="680"/>
                  </a:moveTo>
                  <a:lnTo>
                    <a:pt x="89" y="680"/>
                  </a:lnTo>
                  <a:lnTo>
                    <a:pt x="87" y="680"/>
                  </a:lnTo>
                  <a:lnTo>
                    <a:pt x="89" y="680"/>
                  </a:lnTo>
                  <a:lnTo>
                    <a:pt x="87" y="680"/>
                  </a:lnTo>
                  <a:lnTo>
                    <a:pt x="89" y="680"/>
                  </a:lnTo>
                  <a:lnTo>
                    <a:pt x="87" y="680"/>
                  </a:lnTo>
                  <a:close/>
                  <a:moveTo>
                    <a:pt x="12" y="532"/>
                  </a:moveTo>
                  <a:lnTo>
                    <a:pt x="12" y="530"/>
                  </a:lnTo>
                  <a:lnTo>
                    <a:pt x="12" y="532"/>
                  </a:lnTo>
                  <a:close/>
                  <a:moveTo>
                    <a:pt x="110" y="567"/>
                  </a:moveTo>
                  <a:lnTo>
                    <a:pt x="108" y="567"/>
                  </a:lnTo>
                  <a:lnTo>
                    <a:pt x="110" y="567"/>
                  </a:lnTo>
                  <a:close/>
                  <a:moveTo>
                    <a:pt x="183" y="849"/>
                  </a:moveTo>
                  <a:lnTo>
                    <a:pt x="183" y="851"/>
                  </a:lnTo>
                  <a:lnTo>
                    <a:pt x="183" y="849"/>
                  </a:lnTo>
                  <a:close/>
                  <a:moveTo>
                    <a:pt x="108" y="613"/>
                  </a:moveTo>
                  <a:lnTo>
                    <a:pt x="110" y="613"/>
                  </a:lnTo>
                  <a:lnTo>
                    <a:pt x="108" y="613"/>
                  </a:lnTo>
                  <a:close/>
                  <a:moveTo>
                    <a:pt x="83" y="703"/>
                  </a:moveTo>
                  <a:lnTo>
                    <a:pt x="85" y="703"/>
                  </a:lnTo>
                  <a:lnTo>
                    <a:pt x="85" y="705"/>
                  </a:lnTo>
                  <a:lnTo>
                    <a:pt x="83" y="705"/>
                  </a:lnTo>
                  <a:lnTo>
                    <a:pt x="83" y="703"/>
                  </a:lnTo>
                  <a:lnTo>
                    <a:pt x="83" y="705"/>
                  </a:lnTo>
                  <a:lnTo>
                    <a:pt x="83" y="703"/>
                  </a:lnTo>
                  <a:close/>
                  <a:moveTo>
                    <a:pt x="108" y="630"/>
                  </a:moveTo>
                  <a:lnTo>
                    <a:pt x="106" y="630"/>
                  </a:lnTo>
                  <a:lnTo>
                    <a:pt x="108" y="630"/>
                  </a:lnTo>
                  <a:close/>
                  <a:moveTo>
                    <a:pt x="81" y="695"/>
                  </a:moveTo>
                  <a:lnTo>
                    <a:pt x="81" y="697"/>
                  </a:lnTo>
                  <a:lnTo>
                    <a:pt x="81" y="695"/>
                  </a:lnTo>
                  <a:close/>
                  <a:moveTo>
                    <a:pt x="83" y="695"/>
                  </a:moveTo>
                  <a:lnTo>
                    <a:pt x="83" y="697"/>
                  </a:lnTo>
                  <a:lnTo>
                    <a:pt x="83" y="695"/>
                  </a:lnTo>
                  <a:close/>
                  <a:moveTo>
                    <a:pt x="114" y="728"/>
                  </a:moveTo>
                  <a:lnTo>
                    <a:pt x="116" y="730"/>
                  </a:lnTo>
                  <a:lnTo>
                    <a:pt x="114" y="730"/>
                  </a:lnTo>
                  <a:lnTo>
                    <a:pt x="114" y="728"/>
                  </a:lnTo>
                  <a:close/>
                  <a:moveTo>
                    <a:pt x="89" y="617"/>
                  </a:moveTo>
                  <a:lnTo>
                    <a:pt x="89" y="619"/>
                  </a:lnTo>
                  <a:lnTo>
                    <a:pt x="89" y="617"/>
                  </a:lnTo>
                  <a:close/>
                  <a:moveTo>
                    <a:pt x="100" y="605"/>
                  </a:moveTo>
                  <a:lnTo>
                    <a:pt x="100" y="607"/>
                  </a:lnTo>
                  <a:lnTo>
                    <a:pt x="100" y="605"/>
                  </a:lnTo>
                  <a:close/>
                  <a:moveTo>
                    <a:pt x="123" y="429"/>
                  </a:moveTo>
                  <a:lnTo>
                    <a:pt x="121" y="429"/>
                  </a:lnTo>
                  <a:lnTo>
                    <a:pt x="123" y="429"/>
                  </a:lnTo>
                  <a:close/>
                  <a:moveTo>
                    <a:pt x="121" y="732"/>
                  </a:moveTo>
                  <a:lnTo>
                    <a:pt x="120" y="732"/>
                  </a:lnTo>
                  <a:lnTo>
                    <a:pt x="121" y="732"/>
                  </a:lnTo>
                  <a:close/>
                  <a:moveTo>
                    <a:pt x="118" y="718"/>
                  </a:moveTo>
                  <a:lnTo>
                    <a:pt x="116" y="718"/>
                  </a:lnTo>
                  <a:lnTo>
                    <a:pt x="118" y="718"/>
                  </a:lnTo>
                  <a:lnTo>
                    <a:pt x="116" y="718"/>
                  </a:lnTo>
                  <a:lnTo>
                    <a:pt x="118" y="718"/>
                  </a:lnTo>
                  <a:close/>
                  <a:moveTo>
                    <a:pt x="14" y="536"/>
                  </a:moveTo>
                  <a:lnTo>
                    <a:pt x="14" y="538"/>
                  </a:lnTo>
                  <a:lnTo>
                    <a:pt x="14" y="536"/>
                  </a:lnTo>
                  <a:lnTo>
                    <a:pt x="12" y="536"/>
                  </a:lnTo>
                  <a:lnTo>
                    <a:pt x="14" y="536"/>
                  </a:lnTo>
                  <a:close/>
                  <a:moveTo>
                    <a:pt x="95" y="480"/>
                  </a:moveTo>
                  <a:lnTo>
                    <a:pt x="96" y="480"/>
                  </a:lnTo>
                  <a:lnTo>
                    <a:pt x="95" y="480"/>
                  </a:lnTo>
                  <a:lnTo>
                    <a:pt x="96" y="480"/>
                  </a:lnTo>
                  <a:lnTo>
                    <a:pt x="95" y="480"/>
                  </a:lnTo>
                  <a:close/>
                  <a:moveTo>
                    <a:pt x="83" y="507"/>
                  </a:moveTo>
                  <a:lnTo>
                    <a:pt x="83" y="509"/>
                  </a:lnTo>
                  <a:lnTo>
                    <a:pt x="83" y="507"/>
                  </a:lnTo>
                  <a:close/>
                  <a:moveTo>
                    <a:pt x="83" y="705"/>
                  </a:moveTo>
                  <a:lnTo>
                    <a:pt x="85" y="705"/>
                  </a:lnTo>
                  <a:lnTo>
                    <a:pt x="83" y="705"/>
                  </a:lnTo>
                  <a:close/>
                  <a:moveTo>
                    <a:pt x="106" y="436"/>
                  </a:moveTo>
                  <a:lnTo>
                    <a:pt x="104" y="436"/>
                  </a:lnTo>
                  <a:lnTo>
                    <a:pt x="106" y="436"/>
                  </a:lnTo>
                  <a:lnTo>
                    <a:pt x="104" y="436"/>
                  </a:lnTo>
                  <a:lnTo>
                    <a:pt x="106" y="436"/>
                  </a:lnTo>
                  <a:close/>
                  <a:moveTo>
                    <a:pt x="83" y="818"/>
                  </a:moveTo>
                  <a:lnTo>
                    <a:pt x="83" y="820"/>
                  </a:lnTo>
                  <a:lnTo>
                    <a:pt x="83" y="818"/>
                  </a:lnTo>
                  <a:close/>
                  <a:moveTo>
                    <a:pt x="81" y="699"/>
                  </a:moveTo>
                  <a:lnTo>
                    <a:pt x="83" y="699"/>
                  </a:lnTo>
                  <a:lnTo>
                    <a:pt x="81" y="699"/>
                  </a:lnTo>
                  <a:lnTo>
                    <a:pt x="83" y="699"/>
                  </a:lnTo>
                  <a:lnTo>
                    <a:pt x="81" y="699"/>
                  </a:lnTo>
                  <a:close/>
                  <a:moveTo>
                    <a:pt x="83" y="496"/>
                  </a:moveTo>
                  <a:lnTo>
                    <a:pt x="81" y="496"/>
                  </a:lnTo>
                  <a:lnTo>
                    <a:pt x="83" y="496"/>
                  </a:lnTo>
                  <a:lnTo>
                    <a:pt x="81" y="496"/>
                  </a:lnTo>
                  <a:lnTo>
                    <a:pt x="83" y="496"/>
                  </a:lnTo>
                  <a:close/>
                  <a:moveTo>
                    <a:pt x="162" y="870"/>
                  </a:moveTo>
                  <a:lnTo>
                    <a:pt x="160" y="870"/>
                  </a:lnTo>
                  <a:lnTo>
                    <a:pt x="162" y="870"/>
                  </a:lnTo>
                  <a:close/>
                  <a:moveTo>
                    <a:pt x="108" y="715"/>
                  </a:moveTo>
                  <a:lnTo>
                    <a:pt x="106" y="715"/>
                  </a:lnTo>
                  <a:lnTo>
                    <a:pt x="108" y="715"/>
                  </a:lnTo>
                  <a:close/>
                  <a:moveTo>
                    <a:pt x="156" y="880"/>
                  </a:moveTo>
                  <a:lnTo>
                    <a:pt x="158" y="880"/>
                  </a:lnTo>
                  <a:lnTo>
                    <a:pt x="156" y="880"/>
                  </a:lnTo>
                  <a:close/>
                  <a:moveTo>
                    <a:pt x="96" y="621"/>
                  </a:moveTo>
                  <a:lnTo>
                    <a:pt x="95" y="621"/>
                  </a:lnTo>
                  <a:lnTo>
                    <a:pt x="96" y="621"/>
                  </a:lnTo>
                  <a:close/>
                  <a:moveTo>
                    <a:pt x="98" y="561"/>
                  </a:moveTo>
                  <a:lnTo>
                    <a:pt x="98" y="563"/>
                  </a:lnTo>
                  <a:lnTo>
                    <a:pt x="98" y="561"/>
                  </a:lnTo>
                  <a:close/>
                  <a:moveTo>
                    <a:pt x="93" y="630"/>
                  </a:moveTo>
                  <a:lnTo>
                    <a:pt x="93" y="628"/>
                  </a:lnTo>
                  <a:lnTo>
                    <a:pt x="93" y="630"/>
                  </a:lnTo>
                  <a:close/>
                  <a:moveTo>
                    <a:pt x="102" y="647"/>
                  </a:moveTo>
                  <a:lnTo>
                    <a:pt x="102" y="649"/>
                  </a:lnTo>
                  <a:lnTo>
                    <a:pt x="100" y="649"/>
                  </a:lnTo>
                  <a:lnTo>
                    <a:pt x="102" y="649"/>
                  </a:lnTo>
                  <a:lnTo>
                    <a:pt x="100" y="649"/>
                  </a:lnTo>
                  <a:lnTo>
                    <a:pt x="102" y="649"/>
                  </a:lnTo>
                  <a:lnTo>
                    <a:pt x="102" y="647"/>
                  </a:lnTo>
                  <a:close/>
                  <a:moveTo>
                    <a:pt x="104" y="726"/>
                  </a:moveTo>
                  <a:lnTo>
                    <a:pt x="106" y="726"/>
                  </a:lnTo>
                  <a:lnTo>
                    <a:pt x="104" y="726"/>
                  </a:lnTo>
                  <a:close/>
                  <a:moveTo>
                    <a:pt x="89" y="534"/>
                  </a:moveTo>
                  <a:lnTo>
                    <a:pt x="91" y="534"/>
                  </a:lnTo>
                  <a:lnTo>
                    <a:pt x="89" y="534"/>
                  </a:lnTo>
                  <a:close/>
                  <a:moveTo>
                    <a:pt x="81" y="496"/>
                  </a:moveTo>
                  <a:lnTo>
                    <a:pt x="81" y="498"/>
                  </a:lnTo>
                  <a:lnTo>
                    <a:pt x="81" y="496"/>
                  </a:lnTo>
                  <a:close/>
                  <a:moveTo>
                    <a:pt x="150" y="795"/>
                  </a:moveTo>
                  <a:lnTo>
                    <a:pt x="150" y="797"/>
                  </a:lnTo>
                  <a:lnTo>
                    <a:pt x="150" y="795"/>
                  </a:lnTo>
                  <a:close/>
                  <a:moveTo>
                    <a:pt x="37" y="444"/>
                  </a:moveTo>
                  <a:lnTo>
                    <a:pt x="35" y="444"/>
                  </a:lnTo>
                  <a:lnTo>
                    <a:pt x="37" y="444"/>
                  </a:lnTo>
                  <a:close/>
                  <a:moveTo>
                    <a:pt x="6" y="457"/>
                  </a:moveTo>
                  <a:lnTo>
                    <a:pt x="8" y="457"/>
                  </a:lnTo>
                  <a:lnTo>
                    <a:pt x="6" y="457"/>
                  </a:lnTo>
                  <a:close/>
                  <a:moveTo>
                    <a:pt x="4" y="475"/>
                  </a:moveTo>
                  <a:lnTo>
                    <a:pt x="4" y="477"/>
                  </a:lnTo>
                  <a:lnTo>
                    <a:pt x="4" y="475"/>
                  </a:lnTo>
                  <a:close/>
                  <a:moveTo>
                    <a:pt x="85" y="697"/>
                  </a:moveTo>
                  <a:lnTo>
                    <a:pt x="85" y="699"/>
                  </a:lnTo>
                  <a:lnTo>
                    <a:pt x="83" y="699"/>
                  </a:lnTo>
                  <a:lnTo>
                    <a:pt x="83" y="697"/>
                  </a:lnTo>
                  <a:lnTo>
                    <a:pt x="85" y="697"/>
                  </a:lnTo>
                  <a:lnTo>
                    <a:pt x="83" y="697"/>
                  </a:lnTo>
                  <a:lnTo>
                    <a:pt x="85" y="697"/>
                  </a:lnTo>
                  <a:close/>
                  <a:moveTo>
                    <a:pt x="83" y="690"/>
                  </a:moveTo>
                  <a:lnTo>
                    <a:pt x="83" y="692"/>
                  </a:lnTo>
                  <a:lnTo>
                    <a:pt x="83" y="690"/>
                  </a:lnTo>
                  <a:close/>
                  <a:moveTo>
                    <a:pt x="87" y="811"/>
                  </a:moveTo>
                  <a:lnTo>
                    <a:pt x="85" y="811"/>
                  </a:lnTo>
                  <a:lnTo>
                    <a:pt x="87" y="811"/>
                  </a:lnTo>
                  <a:close/>
                  <a:moveTo>
                    <a:pt x="116" y="732"/>
                  </a:moveTo>
                  <a:lnTo>
                    <a:pt x="116" y="734"/>
                  </a:lnTo>
                  <a:lnTo>
                    <a:pt x="116" y="732"/>
                  </a:lnTo>
                  <a:close/>
                  <a:moveTo>
                    <a:pt x="98" y="659"/>
                  </a:moveTo>
                  <a:lnTo>
                    <a:pt x="96" y="659"/>
                  </a:lnTo>
                  <a:lnTo>
                    <a:pt x="98" y="659"/>
                  </a:lnTo>
                  <a:lnTo>
                    <a:pt x="96" y="659"/>
                  </a:lnTo>
                  <a:lnTo>
                    <a:pt x="98" y="659"/>
                  </a:lnTo>
                  <a:close/>
                  <a:moveTo>
                    <a:pt x="120" y="438"/>
                  </a:moveTo>
                  <a:lnTo>
                    <a:pt x="120" y="440"/>
                  </a:lnTo>
                  <a:lnTo>
                    <a:pt x="120" y="438"/>
                  </a:lnTo>
                  <a:close/>
                  <a:moveTo>
                    <a:pt x="100" y="584"/>
                  </a:moveTo>
                  <a:lnTo>
                    <a:pt x="98" y="584"/>
                  </a:lnTo>
                  <a:lnTo>
                    <a:pt x="100" y="584"/>
                  </a:lnTo>
                  <a:lnTo>
                    <a:pt x="98" y="584"/>
                  </a:lnTo>
                  <a:lnTo>
                    <a:pt x="100" y="584"/>
                  </a:lnTo>
                  <a:close/>
                  <a:moveTo>
                    <a:pt x="23" y="500"/>
                  </a:moveTo>
                  <a:lnTo>
                    <a:pt x="25" y="500"/>
                  </a:lnTo>
                  <a:lnTo>
                    <a:pt x="23" y="500"/>
                  </a:lnTo>
                  <a:close/>
                  <a:moveTo>
                    <a:pt x="2" y="461"/>
                  </a:moveTo>
                  <a:lnTo>
                    <a:pt x="4" y="461"/>
                  </a:lnTo>
                  <a:lnTo>
                    <a:pt x="4" y="463"/>
                  </a:lnTo>
                  <a:lnTo>
                    <a:pt x="4" y="461"/>
                  </a:lnTo>
                  <a:lnTo>
                    <a:pt x="4" y="463"/>
                  </a:lnTo>
                  <a:lnTo>
                    <a:pt x="4" y="461"/>
                  </a:lnTo>
                  <a:lnTo>
                    <a:pt x="4" y="463"/>
                  </a:lnTo>
                  <a:lnTo>
                    <a:pt x="2" y="463"/>
                  </a:lnTo>
                  <a:lnTo>
                    <a:pt x="2" y="461"/>
                  </a:lnTo>
                  <a:close/>
                  <a:moveTo>
                    <a:pt x="70" y="761"/>
                  </a:moveTo>
                  <a:lnTo>
                    <a:pt x="72" y="761"/>
                  </a:lnTo>
                  <a:lnTo>
                    <a:pt x="70" y="761"/>
                  </a:lnTo>
                  <a:lnTo>
                    <a:pt x="72" y="761"/>
                  </a:lnTo>
                  <a:lnTo>
                    <a:pt x="70" y="761"/>
                  </a:lnTo>
                  <a:close/>
                  <a:moveTo>
                    <a:pt x="104" y="596"/>
                  </a:moveTo>
                  <a:lnTo>
                    <a:pt x="102" y="596"/>
                  </a:lnTo>
                  <a:lnTo>
                    <a:pt x="104" y="596"/>
                  </a:lnTo>
                  <a:lnTo>
                    <a:pt x="102" y="596"/>
                  </a:lnTo>
                  <a:lnTo>
                    <a:pt x="104" y="596"/>
                  </a:lnTo>
                  <a:close/>
                  <a:moveTo>
                    <a:pt x="108" y="459"/>
                  </a:moveTo>
                  <a:lnTo>
                    <a:pt x="106" y="459"/>
                  </a:lnTo>
                  <a:lnTo>
                    <a:pt x="108" y="459"/>
                  </a:lnTo>
                  <a:lnTo>
                    <a:pt x="106" y="459"/>
                  </a:lnTo>
                  <a:lnTo>
                    <a:pt x="108" y="459"/>
                  </a:lnTo>
                  <a:close/>
                  <a:moveTo>
                    <a:pt x="98" y="582"/>
                  </a:moveTo>
                  <a:lnTo>
                    <a:pt x="98" y="584"/>
                  </a:lnTo>
                  <a:lnTo>
                    <a:pt x="96" y="584"/>
                  </a:lnTo>
                  <a:lnTo>
                    <a:pt x="96" y="582"/>
                  </a:lnTo>
                  <a:lnTo>
                    <a:pt x="98" y="582"/>
                  </a:lnTo>
                  <a:close/>
                  <a:moveTo>
                    <a:pt x="31" y="446"/>
                  </a:moveTo>
                  <a:lnTo>
                    <a:pt x="29" y="446"/>
                  </a:lnTo>
                  <a:lnTo>
                    <a:pt x="31" y="446"/>
                  </a:lnTo>
                  <a:close/>
                  <a:moveTo>
                    <a:pt x="100" y="609"/>
                  </a:moveTo>
                  <a:lnTo>
                    <a:pt x="100" y="611"/>
                  </a:lnTo>
                  <a:lnTo>
                    <a:pt x="100" y="609"/>
                  </a:lnTo>
                  <a:close/>
                  <a:moveTo>
                    <a:pt x="89" y="478"/>
                  </a:moveTo>
                  <a:lnTo>
                    <a:pt x="89" y="480"/>
                  </a:lnTo>
                  <a:lnTo>
                    <a:pt x="89" y="478"/>
                  </a:lnTo>
                  <a:close/>
                  <a:moveTo>
                    <a:pt x="108" y="471"/>
                  </a:moveTo>
                  <a:lnTo>
                    <a:pt x="106" y="471"/>
                  </a:lnTo>
                  <a:lnTo>
                    <a:pt x="108" y="471"/>
                  </a:lnTo>
                  <a:close/>
                  <a:moveTo>
                    <a:pt x="14" y="517"/>
                  </a:moveTo>
                  <a:lnTo>
                    <a:pt x="14" y="519"/>
                  </a:lnTo>
                  <a:lnTo>
                    <a:pt x="14" y="517"/>
                  </a:lnTo>
                  <a:lnTo>
                    <a:pt x="14" y="519"/>
                  </a:lnTo>
                  <a:lnTo>
                    <a:pt x="14" y="517"/>
                  </a:lnTo>
                  <a:close/>
                  <a:moveTo>
                    <a:pt x="98" y="722"/>
                  </a:moveTo>
                  <a:lnTo>
                    <a:pt x="98" y="724"/>
                  </a:lnTo>
                  <a:lnTo>
                    <a:pt x="98" y="722"/>
                  </a:lnTo>
                  <a:close/>
                  <a:moveTo>
                    <a:pt x="141" y="766"/>
                  </a:moveTo>
                  <a:lnTo>
                    <a:pt x="143" y="766"/>
                  </a:lnTo>
                  <a:lnTo>
                    <a:pt x="141" y="766"/>
                  </a:lnTo>
                  <a:close/>
                  <a:moveTo>
                    <a:pt x="95" y="847"/>
                  </a:moveTo>
                  <a:lnTo>
                    <a:pt x="95" y="849"/>
                  </a:lnTo>
                  <a:lnTo>
                    <a:pt x="95" y="847"/>
                  </a:lnTo>
                  <a:close/>
                  <a:moveTo>
                    <a:pt x="91" y="477"/>
                  </a:moveTo>
                  <a:lnTo>
                    <a:pt x="93" y="477"/>
                  </a:lnTo>
                  <a:lnTo>
                    <a:pt x="91" y="477"/>
                  </a:lnTo>
                  <a:close/>
                  <a:moveTo>
                    <a:pt x="158" y="789"/>
                  </a:moveTo>
                  <a:lnTo>
                    <a:pt x="158" y="791"/>
                  </a:lnTo>
                  <a:lnTo>
                    <a:pt x="158" y="789"/>
                  </a:lnTo>
                  <a:lnTo>
                    <a:pt x="156" y="789"/>
                  </a:lnTo>
                  <a:lnTo>
                    <a:pt x="158" y="789"/>
                  </a:lnTo>
                  <a:close/>
                  <a:moveTo>
                    <a:pt x="89" y="525"/>
                  </a:moveTo>
                  <a:lnTo>
                    <a:pt x="89" y="526"/>
                  </a:lnTo>
                  <a:lnTo>
                    <a:pt x="89" y="525"/>
                  </a:lnTo>
                  <a:close/>
                  <a:moveTo>
                    <a:pt x="91" y="525"/>
                  </a:moveTo>
                  <a:lnTo>
                    <a:pt x="91" y="526"/>
                  </a:lnTo>
                  <a:lnTo>
                    <a:pt x="91" y="525"/>
                  </a:lnTo>
                  <a:close/>
                  <a:moveTo>
                    <a:pt x="91" y="576"/>
                  </a:moveTo>
                  <a:lnTo>
                    <a:pt x="89" y="576"/>
                  </a:lnTo>
                  <a:lnTo>
                    <a:pt x="91" y="576"/>
                  </a:lnTo>
                  <a:close/>
                  <a:moveTo>
                    <a:pt x="102" y="851"/>
                  </a:moveTo>
                  <a:lnTo>
                    <a:pt x="100" y="851"/>
                  </a:lnTo>
                  <a:lnTo>
                    <a:pt x="102" y="851"/>
                  </a:lnTo>
                  <a:close/>
                  <a:moveTo>
                    <a:pt x="106" y="726"/>
                  </a:moveTo>
                  <a:lnTo>
                    <a:pt x="106" y="728"/>
                  </a:lnTo>
                  <a:lnTo>
                    <a:pt x="106" y="726"/>
                  </a:lnTo>
                  <a:close/>
                  <a:moveTo>
                    <a:pt x="114" y="594"/>
                  </a:moveTo>
                  <a:lnTo>
                    <a:pt x="114" y="596"/>
                  </a:lnTo>
                  <a:lnTo>
                    <a:pt x="112" y="596"/>
                  </a:lnTo>
                  <a:lnTo>
                    <a:pt x="112" y="594"/>
                  </a:lnTo>
                  <a:lnTo>
                    <a:pt x="114" y="594"/>
                  </a:lnTo>
                  <a:close/>
                  <a:moveTo>
                    <a:pt x="16" y="536"/>
                  </a:moveTo>
                  <a:lnTo>
                    <a:pt x="16" y="538"/>
                  </a:lnTo>
                  <a:lnTo>
                    <a:pt x="16" y="536"/>
                  </a:lnTo>
                  <a:lnTo>
                    <a:pt x="16" y="538"/>
                  </a:lnTo>
                  <a:lnTo>
                    <a:pt x="16" y="536"/>
                  </a:lnTo>
                  <a:close/>
                  <a:moveTo>
                    <a:pt x="166" y="839"/>
                  </a:moveTo>
                  <a:lnTo>
                    <a:pt x="166" y="837"/>
                  </a:lnTo>
                  <a:lnTo>
                    <a:pt x="166" y="839"/>
                  </a:lnTo>
                  <a:close/>
                  <a:moveTo>
                    <a:pt x="91" y="473"/>
                  </a:moveTo>
                  <a:lnTo>
                    <a:pt x="91" y="475"/>
                  </a:lnTo>
                  <a:lnTo>
                    <a:pt x="91" y="473"/>
                  </a:lnTo>
                  <a:close/>
                  <a:moveTo>
                    <a:pt x="89" y="555"/>
                  </a:moveTo>
                  <a:lnTo>
                    <a:pt x="89" y="557"/>
                  </a:lnTo>
                  <a:lnTo>
                    <a:pt x="89" y="555"/>
                  </a:lnTo>
                  <a:lnTo>
                    <a:pt x="89" y="557"/>
                  </a:lnTo>
                  <a:lnTo>
                    <a:pt x="87" y="557"/>
                  </a:lnTo>
                  <a:lnTo>
                    <a:pt x="87" y="555"/>
                  </a:lnTo>
                  <a:lnTo>
                    <a:pt x="89" y="555"/>
                  </a:lnTo>
                  <a:close/>
                  <a:moveTo>
                    <a:pt x="31" y="406"/>
                  </a:moveTo>
                  <a:lnTo>
                    <a:pt x="29" y="406"/>
                  </a:lnTo>
                  <a:lnTo>
                    <a:pt x="31" y="406"/>
                  </a:lnTo>
                  <a:close/>
                  <a:moveTo>
                    <a:pt x="81" y="569"/>
                  </a:moveTo>
                  <a:lnTo>
                    <a:pt x="81" y="571"/>
                  </a:lnTo>
                  <a:lnTo>
                    <a:pt x="81" y="569"/>
                  </a:lnTo>
                  <a:close/>
                  <a:moveTo>
                    <a:pt x="89" y="686"/>
                  </a:moveTo>
                  <a:lnTo>
                    <a:pt x="89" y="688"/>
                  </a:lnTo>
                  <a:lnTo>
                    <a:pt x="89" y="686"/>
                  </a:lnTo>
                  <a:close/>
                  <a:moveTo>
                    <a:pt x="104" y="436"/>
                  </a:moveTo>
                  <a:lnTo>
                    <a:pt x="104" y="438"/>
                  </a:lnTo>
                  <a:lnTo>
                    <a:pt x="102" y="438"/>
                  </a:lnTo>
                  <a:lnTo>
                    <a:pt x="102" y="436"/>
                  </a:lnTo>
                  <a:lnTo>
                    <a:pt x="102" y="438"/>
                  </a:lnTo>
                  <a:lnTo>
                    <a:pt x="102" y="436"/>
                  </a:lnTo>
                  <a:lnTo>
                    <a:pt x="104" y="436"/>
                  </a:lnTo>
                  <a:close/>
                  <a:moveTo>
                    <a:pt x="135" y="513"/>
                  </a:moveTo>
                  <a:lnTo>
                    <a:pt x="135" y="511"/>
                  </a:lnTo>
                  <a:lnTo>
                    <a:pt x="135" y="513"/>
                  </a:lnTo>
                  <a:close/>
                  <a:moveTo>
                    <a:pt x="62" y="743"/>
                  </a:moveTo>
                  <a:lnTo>
                    <a:pt x="62" y="741"/>
                  </a:lnTo>
                  <a:lnTo>
                    <a:pt x="62" y="743"/>
                  </a:lnTo>
                  <a:close/>
                  <a:moveTo>
                    <a:pt x="116" y="720"/>
                  </a:moveTo>
                  <a:lnTo>
                    <a:pt x="118" y="720"/>
                  </a:lnTo>
                  <a:lnTo>
                    <a:pt x="116" y="720"/>
                  </a:lnTo>
                  <a:lnTo>
                    <a:pt x="118" y="720"/>
                  </a:lnTo>
                  <a:lnTo>
                    <a:pt x="116" y="720"/>
                  </a:lnTo>
                  <a:close/>
                  <a:moveTo>
                    <a:pt x="60" y="743"/>
                  </a:moveTo>
                  <a:lnTo>
                    <a:pt x="60" y="741"/>
                  </a:lnTo>
                  <a:lnTo>
                    <a:pt x="60" y="743"/>
                  </a:lnTo>
                  <a:lnTo>
                    <a:pt x="60" y="741"/>
                  </a:lnTo>
                  <a:lnTo>
                    <a:pt x="60" y="743"/>
                  </a:lnTo>
                  <a:close/>
                  <a:moveTo>
                    <a:pt x="89" y="528"/>
                  </a:moveTo>
                  <a:lnTo>
                    <a:pt x="89" y="530"/>
                  </a:lnTo>
                  <a:lnTo>
                    <a:pt x="89" y="528"/>
                  </a:lnTo>
                  <a:lnTo>
                    <a:pt x="89" y="530"/>
                  </a:lnTo>
                  <a:lnTo>
                    <a:pt x="89" y="528"/>
                  </a:lnTo>
                  <a:close/>
                  <a:moveTo>
                    <a:pt x="156" y="784"/>
                  </a:moveTo>
                  <a:lnTo>
                    <a:pt x="156" y="786"/>
                  </a:lnTo>
                  <a:lnTo>
                    <a:pt x="156" y="784"/>
                  </a:lnTo>
                  <a:close/>
                  <a:moveTo>
                    <a:pt x="108" y="730"/>
                  </a:moveTo>
                  <a:lnTo>
                    <a:pt x="110" y="730"/>
                  </a:lnTo>
                  <a:lnTo>
                    <a:pt x="108" y="730"/>
                  </a:lnTo>
                  <a:close/>
                  <a:moveTo>
                    <a:pt x="58" y="734"/>
                  </a:moveTo>
                  <a:lnTo>
                    <a:pt x="56" y="734"/>
                  </a:lnTo>
                  <a:lnTo>
                    <a:pt x="58" y="734"/>
                  </a:lnTo>
                  <a:lnTo>
                    <a:pt x="56" y="734"/>
                  </a:lnTo>
                  <a:lnTo>
                    <a:pt x="58" y="734"/>
                  </a:lnTo>
                  <a:lnTo>
                    <a:pt x="56" y="734"/>
                  </a:lnTo>
                  <a:lnTo>
                    <a:pt x="58" y="734"/>
                  </a:lnTo>
                  <a:close/>
                  <a:moveTo>
                    <a:pt x="91" y="638"/>
                  </a:moveTo>
                  <a:lnTo>
                    <a:pt x="93" y="638"/>
                  </a:lnTo>
                  <a:lnTo>
                    <a:pt x="91" y="638"/>
                  </a:lnTo>
                  <a:lnTo>
                    <a:pt x="93" y="638"/>
                  </a:lnTo>
                  <a:lnTo>
                    <a:pt x="91" y="638"/>
                  </a:lnTo>
                  <a:close/>
                  <a:moveTo>
                    <a:pt x="75" y="780"/>
                  </a:moveTo>
                  <a:lnTo>
                    <a:pt x="77" y="780"/>
                  </a:lnTo>
                  <a:lnTo>
                    <a:pt x="75" y="780"/>
                  </a:lnTo>
                  <a:lnTo>
                    <a:pt x="77" y="780"/>
                  </a:lnTo>
                  <a:lnTo>
                    <a:pt x="75" y="780"/>
                  </a:lnTo>
                  <a:close/>
                  <a:moveTo>
                    <a:pt x="148" y="768"/>
                  </a:moveTo>
                  <a:lnTo>
                    <a:pt x="150" y="768"/>
                  </a:lnTo>
                  <a:lnTo>
                    <a:pt x="148" y="768"/>
                  </a:lnTo>
                  <a:close/>
                  <a:moveTo>
                    <a:pt x="77" y="782"/>
                  </a:moveTo>
                  <a:lnTo>
                    <a:pt x="75" y="782"/>
                  </a:lnTo>
                  <a:lnTo>
                    <a:pt x="77" y="782"/>
                  </a:lnTo>
                  <a:close/>
                  <a:moveTo>
                    <a:pt x="112" y="718"/>
                  </a:moveTo>
                  <a:lnTo>
                    <a:pt x="110" y="718"/>
                  </a:lnTo>
                  <a:lnTo>
                    <a:pt x="112" y="718"/>
                  </a:lnTo>
                  <a:close/>
                  <a:moveTo>
                    <a:pt x="102" y="551"/>
                  </a:moveTo>
                  <a:lnTo>
                    <a:pt x="102" y="553"/>
                  </a:lnTo>
                  <a:lnTo>
                    <a:pt x="100" y="553"/>
                  </a:lnTo>
                  <a:lnTo>
                    <a:pt x="100" y="551"/>
                  </a:lnTo>
                  <a:lnTo>
                    <a:pt x="102" y="551"/>
                  </a:lnTo>
                  <a:close/>
                  <a:moveTo>
                    <a:pt x="144" y="778"/>
                  </a:moveTo>
                  <a:lnTo>
                    <a:pt x="146" y="778"/>
                  </a:lnTo>
                  <a:lnTo>
                    <a:pt x="144" y="778"/>
                  </a:lnTo>
                  <a:close/>
                  <a:moveTo>
                    <a:pt x="96" y="630"/>
                  </a:moveTo>
                  <a:lnTo>
                    <a:pt x="95" y="630"/>
                  </a:lnTo>
                  <a:lnTo>
                    <a:pt x="96" y="630"/>
                  </a:lnTo>
                  <a:close/>
                  <a:moveTo>
                    <a:pt x="56" y="717"/>
                  </a:moveTo>
                  <a:lnTo>
                    <a:pt x="56" y="718"/>
                  </a:lnTo>
                  <a:lnTo>
                    <a:pt x="54" y="718"/>
                  </a:lnTo>
                  <a:lnTo>
                    <a:pt x="54" y="717"/>
                  </a:lnTo>
                  <a:lnTo>
                    <a:pt x="56" y="717"/>
                  </a:lnTo>
                  <a:close/>
                  <a:moveTo>
                    <a:pt x="93" y="665"/>
                  </a:moveTo>
                  <a:lnTo>
                    <a:pt x="93" y="667"/>
                  </a:lnTo>
                  <a:lnTo>
                    <a:pt x="93" y="665"/>
                  </a:lnTo>
                  <a:lnTo>
                    <a:pt x="91" y="665"/>
                  </a:lnTo>
                  <a:lnTo>
                    <a:pt x="93" y="665"/>
                  </a:lnTo>
                  <a:close/>
                  <a:moveTo>
                    <a:pt x="110" y="605"/>
                  </a:moveTo>
                  <a:lnTo>
                    <a:pt x="108" y="605"/>
                  </a:lnTo>
                  <a:lnTo>
                    <a:pt x="110" y="605"/>
                  </a:lnTo>
                  <a:close/>
                  <a:moveTo>
                    <a:pt x="110" y="622"/>
                  </a:moveTo>
                  <a:lnTo>
                    <a:pt x="108" y="622"/>
                  </a:lnTo>
                  <a:lnTo>
                    <a:pt x="108" y="624"/>
                  </a:lnTo>
                  <a:lnTo>
                    <a:pt x="108" y="622"/>
                  </a:lnTo>
                  <a:lnTo>
                    <a:pt x="110" y="622"/>
                  </a:lnTo>
                  <a:close/>
                  <a:moveTo>
                    <a:pt x="98" y="459"/>
                  </a:moveTo>
                  <a:lnTo>
                    <a:pt x="96" y="459"/>
                  </a:lnTo>
                  <a:lnTo>
                    <a:pt x="98" y="459"/>
                  </a:lnTo>
                  <a:close/>
                  <a:moveTo>
                    <a:pt x="89" y="569"/>
                  </a:moveTo>
                  <a:lnTo>
                    <a:pt x="89" y="571"/>
                  </a:lnTo>
                  <a:lnTo>
                    <a:pt x="89" y="569"/>
                  </a:lnTo>
                  <a:close/>
                  <a:moveTo>
                    <a:pt x="91" y="837"/>
                  </a:moveTo>
                  <a:lnTo>
                    <a:pt x="89" y="837"/>
                  </a:lnTo>
                  <a:lnTo>
                    <a:pt x="91" y="837"/>
                  </a:lnTo>
                  <a:close/>
                  <a:moveTo>
                    <a:pt x="98" y="841"/>
                  </a:moveTo>
                  <a:lnTo>
                    <a:pt x="96" y="841"/>
                  </a:lnTo>
                  <a:lnTo>
                    <a:pt x="98" y="841"/>
                  </a:lnTo>
                  <a:lnTo>
                    <a:pt x="96" y="841"/>
                  </a:lnTo>
                  <a:lnTo>
                    <a:pt x="98" y="841"/>
                  </a:lnTo>
                  <a:close/>
                  <a:moveTo>
                    <a:pt x="89" y="571"/>
                  </a:moveTo>
                  <a:lnTo>
                    <a:pt x="89" y="569"/>
                  </a:lnTo>
                  <a:lnTo>
                    <a:pt x="89" y="571"/>
                  </a:lnTo>
                  <a:close/>
                  <a:moveTo>
                    <a:pt x="95" y="611"/>
                  </a:moveTo>
                  <a:lnTo>
                    <a:pt x="95" y="613"/>
                  </a:lnTo>
                  <a:lnTo>
                    <a:pt x="95" y="611"/>
                  </a:lnTo>
                  <a:lnTo>
                    <a:pt x="95" y="613"/>
                  </a:lnTo>
                  <a:lnTo>
                    <a:pt x="95" y="611"/>
                  </a:lnTo>
                  <a:close/>
                  <a:moveTo>
                    <a:pt x="10" y="544"/>
                  </a:moveTo>
                  <a:lnTo>
                    <a:pt x="10" y="546"/>
                  </a:lnTo>
                  <a:lnTo>
                    <a:pt x="10" y="544"/>
                  </a:lnTo>
                  <a:close/>
                  <a:moveTo>
                    <a:pt x="169" y="891"/>
                  </a:moveTo>
                  <a:lnTo>
                    <a:pt x="171" y="893"/>
                  </a:lnTo>
                  <a:lnTo>
                    <a:pt x="169" y="893"/>
                  </a:lnTo>
                  <a:lnTo>
                    <a:pt x="169" y="891"/>
                  </a:lnTo>
                  <a:lnTo>
                    <a:pt x="171" y="891"/>
                  </a:lnTo>
                  <a:lnTo>
                    <a:pt x="169" y="891"/>
                  </a:lnTo>
                  <a:close/>
                  <a:moveTo>
                    <a:pt x="81" y="492"/>
                  </a:moveTo>
                  <a:lnTo>
                    <a:pt x="79" y="492"/>
                  </a:lnTo>
                  <a:lnTo>
                    <a:pt x="81" y="492"/>
                  </a:lnTo>
                  <a:close/>
                  <a:moveTo>
                    <a:pt x="77" y="780"/>
                  </a:moveTo>
                  <a:lnTo>
                    <a:pt x="77" y="782"/>
                  </a:lnTo>
                  <a:lnTo>
                    <a:pt x="75" y="782"/>
                  </a:lnTo>
                  <a:lnTo>
                    <a:pt x="75" y="780"/>
                  </a:lnTo>
                  <a:lnTo>
                    <a:pt x="77" y="780"/>
                  </a:lnTo>
                  <a:close/>
                  <a:moveTo>
                    <a:pt x="96" y="628"/>
                  </a:moveTo>
                  <a:lnTo>
                    <a:pt x="98" y="628"/>
                  </a:lnTo>
                  <a:lnTo>
                    <a:pt x="96" y="628"/>
                  </a:lnTo>
                  <a:close/>
                  <a:moveTo>
                    <a:pt x="83" y="559"/>
                  </a:moveTo>
                  <a:lnTo>
                    <a:pt x="83" y="561"/>
                  </a:lnTo>
                  <a:lnTo>
                    <a:pt x="81" y="561"/>
                  </a:lnTo>
                  <a:lnTo>
                    <a:pt x="83" y="561"/>
                  </a:lnTo>
                  <a:lnTo>
                    <a:pt x="83" y="559"/>
                  </a:lnTo>
                  <a:close/>
                  <a:moveTo>
                    <a:pt x="146" y="761"/>
                  </a:moveTo>
                  <a:lnTo>
                    <a:pt x="144" y="761"/>
                  </a:lnTo>
                  <a:lnTo>
                    <a:pt x="146" y="761"/>
                  </a:lnTo>
                  <a:close/>
                  <a:moveTo>
                    <a:pt x="100" y="724"/>
                  </a:moveTo>
                  <a:lnTo>
                    <a:pt x="98" y="724"/>
                  </a:lnTo>
                  <a:lnTo>
                    <a:pt x="100" y="724"/>
                  </a:lnTo>
                  <a:lnTo>
                    <a:pt x="98" y="724"/>
                  </a:lnTo>
                  <a:lnTo>
                    <a:pt x="100" y="724"/>
                  </a:lnTo>
                  <a:close/>
                  <a:moveTo>
                    <a:pt x="98" y="661"/>
                  </a:moveTo>
                  <a:lnTo>
                    <a:pt x="98" y="663"/>
                  </a:lnTo>
                  <a:lnTo>
                    <a:pt x="96" y="663"/>
                  </a:lnTo>
                  <a:lnTo>
                    <a:pt x="96" y="661"/>
                  </a:lnTo>
                  <a:lnTo>
                    <a:pt x="96" y="663"/>
                  </a:lnTo>
                  <a:lnTo>
                    <a:pt x="96" y="661"/>
                  </a:lnTo>
                  <a:lnTo>
                    <a:pt x="98" y="661"/>
                  </a:lnTo>
                  <a:close/>
                  <a:moveTo>
                    <a:pt x="125" y="430"/>
                  </a:moveTo>
                  <a:lnTo>
                    <a:pt x="123" y="430"/>
                  </a:lnTo>
                  <a:lnTo>
                    <a:pt x="123" y="432"/>
                  </a:lnTo>
                  <a:lnTo>
                    <a:pt x="123" y="430"/>
                  </a:lnTo>
                  <a:lnTo>
                    <a:pt x="125" y="430"/>
                  </a:lnTo>
                  <a:close/>
                  <a:moveTo>
                    <a:pt x="98" y="619"/>
                  </a:moveTo>
                  <a:lnTo>
                    <a:pt x="98" y="621"/>
                  </a:lnTo>
                  <a:lnTo>
                    <a:pt x="98" y="619"/>
                  </a:lnTo>
                  <a:close/>
                  <a:moveTo>
                    <a:pt x="96" y="638"/>
                  </a:moveTo>
                  <a:lnTo>
                    <a:pt x="98" y="638"/>
                  </a:lnTo>
                  <a:lnTo>
                    <a:pt x="96" y="638"/>
                  </a:lnTo>
                  <a:close/>
                  <a:moveTo>
                    <a:pt x="91" y="576"/>
                  </a:moveTo>
                  <a:lnTo>
                    <a:pt x="91" y="578"/>
                  </a:lnTo>
                  <a:lnTo>
                    <a:pt x="91" y="576"/>
                  </a:lnTo>
                  <a:close/>
                  <a:moveTo>
                    <a:pt x="106" y="718"/>
                  </a:moveTo>
                  <a:lnTo>
                    <a:pt x="108" y="718"/>
                  </a:lnTo>
                  <a:lnTo>
                    <a:pt x="106" y="718"/>
                  </a:lnTo>
                  <a:close/>
                  <a:moveTo>
                    <a:pt x="144" y="914"/>
                  </a:moveTo>
                  <a:lnTo>
                    <a:pt x="143" y="914"/>
                  </a:lnTo>
                  <a:lnTo>
                    <a:pt x="144" y="914"/>
                  </a:lnTo>
                  <a:close/>
                  <a:moveTo>
                    <a:pt x="14" y="523"/>
                  </a:moveTo>
                  <a:lnTo>
                    <a:pt x="14" y="521"/>
                  </a:lnTo>
                  <a:lnTo>
                    <a:pt x="14" y="523"/>
                  </a:lnTo>
                  <a:close/>
                  <a:moveTo>
                    <a:pt x="70" y="722"/>
                  </a:moveTo>
                  <a:lnTo>
                    <a:pt x="70" y="720"/>
                  </a:lnTo>
                  <a:lnTo>
                    <a:pt x="70" y="722"/>
                  </a:lnTo>
                  <a:close/>
                  <a:moveTo>
                    <a:pt x="27" y="442"/>
                  </a:moveTo>
                  <a:lnTo>
                    <a:pt x="25" y="444"/>
                  </a:lnTo>
                  <a:lnTo>
                    <a:pt x="25" y="442"/>
                  </a:lnTo>
                  <a:lnTo>
                    <a:pt x="27" y="442"/>
                  </a:lnTo>
                  <a:close/>
                  <a:moveTo>
                    <a:pt x="160" y="878"/>
                  </a:moveTo>
                  <a:lnTo>
                    <a:pt x="160" y="880"/>
                  </a:lnTo>
                  <a:lnTo>
                    <a:pt x="158" y="880"/>
                  </a:lnTo>
                  <a:lnTo>
                    <a:pt x="160" y="880"/>
                  </a:lnTo>
                  <a:lnTo>
                    <a:pt x="160" y="878"/>
                  </a:lnTo>
                  <a:close/>
                  <a:moveTo>
                    <a:pt x="91" y="553"/>
                  </a:moveTo>
                  <a:lnTo>
                    <a:pt x="91" y="555"/>
                  </a:lnTo>
                  <a:lnTo>
                    <a:pt x="91" y="553"/>
                  </a:lnTo>
                  <a:close/>
                  <a:moveTo>
                    <a:pt x="89" y="559"/>
                  </a:moveTo>
                  <a:lnTo>
                    <a:pt x="91" y="559"/>
                  </a:lnTo>
                  <a:lnTo>
                    <a:pt x="89" y="559"/>
                  </a:lnTo>
                  <a:close/>
                  <a:moveTo>
                    <a:pt x="95" y="482"/>
                  </a:moveTo>
                  <a:lnTo>
                    <a:pt x="96" y="482"/>
                  </a:lnTo>
                  <a:lnTo>
                    <a:pt x="95" y="482"/>
                  </a:lnTo>
                  <a:close/>
                  <a:moveTo>
                    <a:pt x="152" y="795"/>
                  </a:moveTo>
                  <a:lnTo>
                    <a:pt x="152" y="797"/>
                  </a:lnTo>
                  <a:lnTo>
                    <a:pt x="152" y="795"/>
                  </a:lnTo>
                  <a:close/>
                  <a:moveTo>
                    <a:pt x="98" y="843"/>
                  </a:moveTo>
                  <a:lnTo>
                    <a:pt x="98" y="845"/>
                  </a:lnTo>
                  <a:lnTo>
                    <a:pt x="98" y="843"/>
                  </a:lnTo>
                  <a:close/>
                  <a:moveTo>
                    <a:pt x="95" y="480"/>
                  </a:moveTo>
                  <a:lnTo>
                    <a:pt x="95" y="482"/>
                  </a:lnTo>
                  <a:lnTo>
                    <a:pt x="95" y="480"/>
                  </a:lnTo>
                  <a:lnTo>
                    <a:pt x="95" y="482"/>
                  </a:lnTo>
                  <a:lnTo>
                    <a:pt x="95" y="480"/>
                  </a:lnTo>
                  <a:lnTo>
                    <a:pt x="95" y="482"/>
                  </a:lnTo>
                  <a:lnTo>
                    <a:pt x="95" y="480"/>
                  </a:lnTo>
                  <a:close/>
                  <a:moveTo>
                    <a:pt x="100" y="674"/>
                  </a:moveTo>
                  <a:lnTo>
                    <a:pt x="98" y="674"/>
                  </a:lnTo>
                  <a:lnTo>
                    <a:pt x="98" y="672"/>
                  </a:lnTo>
                  <a:lnTo>
                    <a:pt x="100" y="674"/>
                  </a:lnTo>
                  <a:close/>
                  <a:moveTo>
                    <a:pt x="98" y="661"/>
                  </a:moveTo>
                  <a:lnTo>
                    <a:pt x="98" y="659"/>
                  </a:lnTo>
                  <a:lnTo>
                    <a:pt x="98" y="661"/>
                  </a:lnTo>
                  <a:close/>
                  <a:moveTo>
                    <a:pt x="102" y="649"/>
                  </a:moveTo>
                  <a:lnTo>
                    <a:pt x="102" y="651"/>
                  </a:lnTo>
                  <a:lnTo>
                    <a:pt x="102" y="649"/>
                  </a:lnTo>
                  <a:close/>
                  <a:moveTo>
                    <a:pt x="91" y="682"/>
                  </a:moveTo>
                  <a:lnTo>
                    <a:pt x="91" y="680"/>
                  </a:lnTo>
                  <a:lnTo>
                    <a:pt x="91" y="682"/>
                  </a:lnTo>
                  <a:close/>
                  <a:moveTo>
                    <a:pt x="95" y="588"/>
                  </a:moveTo>
                  <a:lnTo>
                    <a:pt x="95" y="590"/>
                  </a:lnTo>
                  <a:lnTo>
                    <a:pt x="95" y="588"/>
                  </a:lnTo>
                  <a:close/>
                  <a:moveTo>
                    <a:pt x="143" y="770"/>
                  </a:moveTo>
                  <a:lnTo>
                    <a:pt x="144" y="770"/>
                  </a:lnTo>
                  <a:lnTo>
                    <a:pt x="143" y="770"/>
                  </a:lnTo>
                  <a:close/>
                  <a:moveTo>
                    <a:pt x="104" y="651"/>
                  </a:moveTo>
                  <a:lnTo>
                    <a:pt x="102" y="651"/>
                  </a:lnTo>
                  <a:lnTo>
                    <a:pt x="104" y="651"/>
                  </a:lnTo>
                  <a:lnTo>
                    <a:pt x="102" y="651"/>
                  </a:lnTo>
                  <a:lnTo>
                    <a:pt x="104" y="651"/>
                  </a:lnTo>
                  <a:close/>
                  <a:moveTo>
                    <a:pt x="110" y="613"/>
                  </a:moveTo>
                  <a:lnTo>
                    <a:pt x="108" y="613"/>
                  </a:lnTo>
                  <a:lnTo>
                    <a:pt x="110" y="613"/>
                  </a:lnTo>
                  <a:close/>
                  <a:moveTo>
                    <a:pt x="100" y="659"/>
                  </a:moveTo>
                  <a:lnTo>
                    <a:pt x="98" y="659"/>
                  </a:lnTo>
                  <a:lnTo>
                    <a:pt x="100" y="659"/>
                  </a:lnTo>
                  <a:close/>
                  <a:moveTo>
                    <a:pt x="100" y="584"/>
                  </a:moveTo>
                  <a:lnTo>
                    <a:pt x="98" y="584"/>
                  </a:lnTo>
                  <a:lnTo>
                    <a:pt x="100" y="584"/>
                  </a:lnTo>
                  <a:close/>
                  <a:moveTo>
                    <a:pt x="100" y="611"/>
                  </a:moveTo>
                  <a:lnTo>
                    <a:pt x="100" y="613"/>
                  </a:lnTo>
                  <a:lnTo>
                    <a:pt x="100" y="611"/>
                  </a:lnTo>
                  <a:close/>
                  <a:moveTo>
                    <a:pt x="125" y="728"/>
                  </a:moveTo>
                  <a:lnTo>
                    <a:pt x="127" y="728"/>
                  </a:lnTo>
                  <a:lnTo>
                    <a:pt x="127" y="730"/>
                  </a:lnTo>
                  <a:lnTo>
                    <a:pt x="127" y="728"/>
                  </a:lnTo>
                  <a:lnTo>
                    <a:pt x="125" y="730"/>
                  </a:lnTo>
                  <a:lnTo>
                    <a:pt x="125" y="728"/>
                  </a:lnTo>
                  <a:close/>
                  <a:moveTo>
                    <a:pt x="89" y="684"/>
                  </a:moveTo>
                  <a:lnTo>
                    <a:pt x="91" y="684"/>
                  </a:lnTo>
                  <a:lnTo>
                    <a:pt x="89" y="684"/>
                  </a:lnTo>
                  <a:close/>
                  <a:moveTo>
                    <a:pt x="83" y="811"/>
                  </a:moveTo>
                  <a:lnTo>
                    <a:pt x="81" y="811"/>
                  </a:lnTo>
                  <a:lnTo>
                    <a:pt x="83" y="811"/>
                  </a:lnTo>
                  <a:close/>
                  <a:moveTo>
                    <a:pt x="91" y="580"/>
                  </a:moveTo>
                  <a:lnTo>
                    <a:pt x="89" y="580"/>
                  </a:lnTo>
                  <a:lnTo>
                    <a:pt x="91" y="580"/>
                  </a:lnTo>
                  <a:close/>
                  <a:moveTo>
                    <a:pt x="56" y="730"/>
                  </a:moveTo>
                  <a:lnTo>
                    <a:pt x="56" y="732"/>
                  </a:lnTo>
                  <a:lnTo>
                    <a:pt x="56" y="730"/>
                  </a:lnTo>
                  <a:close/>
                  <a:moveTo>
                    <a:pt x="60" y="707"/>
                  </a:moveTo>
                  <a:lnTo>
                    <a:pt x="60" y="709"/>
                  </a:lnTo>
                  <a:lnTo>
                    <a:pt x="60" y="707"/>
                  </a:lnTo>
                  <a:close/>
                  <a:moveTo>
                    <a:pt x="158" y="791"/>
                  </a:moveTo>
                  <a:lnTo>
                    <a:pt x="156" y="791"/>
                  </a:lnTo>
                  <a:lnTo>
                    <a:pt x="158" y="791"/>
                  </a:lnTo>
                  <a:close/>
                  <a:moveTo>
                    <a:pt x="79" y="686"/>
                  </a:moveTo>
                  <a:lnTo>
                    <a:pt x="79" y="688"/>
                  </a:lnTo>
                  <a:lnTo>
                    <a:pt x="77" y="688"/>
                  </a:lnTo>
                  <a:lnTo>
                    <a:pt x="77" y="686"/>
                  </a:lnTo>
                  <a:lnTo>
                    <a:pt x="79" y="686"/>
                  </a:lnTo>
                  <a:close/>
                  <a:moveTo>
                    <a:pt x="106" y="847"/>
                  </a:moveTo>
                  <a:lnTo>
                    <a:pt x="106" y="849"/>
                  </a:lnTo>
                  <a:lnTo>
                    <a:pt x="106" y="847"/>
                  </a:lnTo>
                  <a:close/>
                  <a:moveTo>
                    <a:pt x="18" y="471"/>
                  </a:moveTo>
                  <a:lnTo>
                    <a:pt x="18" y="473"/>
                  </a:lnTo>
                  <a:lnTo>
                    <a:pt x="18" y="471"/>
                  </a:lnTo>
                  <a:close/>
                  <a:moveTo>
                    <a:pt x="164" y="899"/>
                  </a:moveTo>
                  <a:lnTo>
                    <a:pt x="162" y="899"/>
                  </a:lnTo>
                  <a:lnTo>
                    <a:pt x="164" y="899"/>
                  </a:lnTo>
                  <a:close/>
                  <a:moveTo>
                    <a:pt x="114" y="596"/>
                  </a:moveTo>
                  <a:lnTo>
                    <a:pt x="114" y="597"/>
                  </a:lnTo>
                  <a:lnTo>
                    <a:pt x="114" y="596"/>
                  </a:lnTo>
                  <a:lnTo>
                    <a:pt x="114" y="597"/>
                  </a:lnTo>
                  <a:lnTo>
                    <a:pt x="114" y="596"/>
                  </a:lnTo>
                  <a:close/>
                  <a:moveTo>
                    <a:pt x="81" y="795"/>
                  </a:moveTo>
                  <a:lnTo>
                    <a:pt x="79" y="795"/>
                  </a:lnTo>
                  <a:lnTo>
                    <a:pt x="81" y="795"/>
                  </a:lnTo>
                  <a:close/>
                  <a:moveTo>
                    <a:pt x="102" y="442"/>
                  </a:moveTo>
                  <a:lnTo>
                    <a:pt x="100" y="442"/>
                  </a:lnTo>
                  <a:lnTo>
                    <a:pt x="102" y="442"/>
                  </a:lnTo>
                  <a:close/>
                  <a:moveTo>
                    <a:pt x="116" y="674"/>
                  </a:moveTo>
                  <a:lnTo>
                    <a:pt x="114" y="674"/>
                  </a:lnTo>
                  <a:lnTo>
                    <a:pt x="116" y="674"/>
                  </a:lnTo>
                  <a:close/>
                  <a:moveTo>
                    <a:pt x="96" y="536"/>
                  </a:moveTo>
                  <a:lnTo>
                    <a:pt x="95" y="536"/>
                  </a:lnTo>
                  <a:lnTo>
                    <a:pt x="96" y="536"/>
                  </a:lnTo>
                  <a:close/>
                  <a:moveTo>
                    <a:pt x="110" y="720"/>
                  </a:moveTo>
                  <a:lnTo>
                    <a:pt x="112" y="720"/>
                  </a:lnTo>
                  <a:lnTo>
                    <a:pt x="110" y="720"/>
                  </a:lnTo>
                  <a:close/>
                  <a:moveTo>
                    <a:pt x="144" y="770"/>
                  </a:moveTo>
                  <a:lnTo>
                    <a:pt x="144" y="772"/>
                  </a:lnTo>
                  <a:lnTo>
                    <a:pt x="144" y="770"/>
                  </a:lnTo>
                  <a:close/>
                  <a:moveTo>
                    <a:pt x="102" y="701"/>
                  </a:moveTo>
                  <a:lnTo>
                    <a:pt x="102" y="703"/>
                  </a:lnTo>
                  <a:lnTo>
                    <a:pt x="102" y="701"/>
                  </a:lnTo>
                  <a:close/>
                  <a:moveTo>
                    <a:pt x="144" y="772"/>
                  </a:moveTo>
                  <a:lnTo>
                    <a:pt x="144" y="774"/>
                  </a:lnTo>
                  <a:lnTo>
                    <a:pt x="143" y="774"/>
                  </a:lnTo>
                  <a:lnTo>
                    <a:pt x="143" y="772"/>
                  </a:lnTo>
                  <a:lnTo>
                    <a:pt x="144" y="772"/>
                  </a:lnTo>
                  <a:close/>
                  <a:moveTo>
                    <a:pt x="12" y="549"/>
                  </a:moveTo>
                  <a:lnTo>
                    <a:pt x="12" y="548"/>
                  </a:lnTo>
                  <a:lnTo>
                    <a:pt x="12" y="549"/>
                  </a:lnTo>
                  <a:close/>
                  <a:moveTo>
                    <a:pt x="56" y="701"/>
                  </a:moveTo>
                  <a:lnTo>
                    <a:pt x="58" y="701"/>
                  </a:lnTo>
                  <a:lnTo>
                    <a:pt x="56" y="701"/>
                  </a:lnTo>
                  <a:close/>
                  <a:moveTo>
                    <a:pt x="158" y="791"/>
                  </a:moveTo>
                  <a:lnTo>
                    <a:pt x="156" y="791"/>
                  </a:lnTo>
                  <a:lnTo>
                    <a:pt x="158" y="791"/>
                  </a:lnTo>
                  <a:lnTo>
                    <a:pt x="156" y="791"/>
                  </a:lnTo>
                  <a:lnTo>
                    <a:pt x="158" y="791"/>
                  </a:lnTo>
                  <a:close/>
                  <a:moveTo>
                    <a:pt x="91" y="528"/>
                  </a:moveTo>
                  <a:lnTo>
                    <a:pt x="91" y="526"/>
                  </a:lnTo>
                  <a:lnTo>
                    <a:pt x="91" y="528"/>
                  </a:lnTo>
                  <a:close/>
                  <a:moveTo>
                    <a:pt x="89" y="693"/>
                  </a:moveTo>
                  <a:lnTo>
                    <a:pt x="91" y="693"/>
                  </a:lnTo>
                  <a:lnTo>
                    <a:pt x="89" y="693"/>
                  </a:lnTo>
                  <a:close/>
                  <a:moveTo>
                    <a:pt x="95" y="480"/>
                  </a:moveTo>
                  <a:lnTo>
                    <a:pt x="93" y="480"/>
                  </a:lnTo>
                  <a:lnTo>
                    <a:pt x="95" y="480"/>
                  </a:lnTo>
                  <a:close/>
                  <a:moveTo>
                    <a:pt x="85" y="649"/>
                  </a:moveTo>
                  <a:lnTo>
                    <a:pt x="85" y="647"/>
                  </a:lnTo>
                  <a:lnTo>
                    <a:pt x="87" y="647"/>
                  </a:lnTo>
                  <a:lnTo>
                    <a:pt x="87" y="649"/>
                  </a:lnTo>
                  <a:lnTo>
                    <a:pt x="85" y="649"/>
                  </a:lnTo>
                  <a:close/>
                  <a:moveTo>
                    <a:pt x="85" y="816"/>
                  </a:moveTo>
                  <a:lnTo>
                    <a:pt x="85" y="814"/>
                  </a:lnTo>
                  <a:lnTo>
                    <a:pt x="85" y="816"/>
                  </a:lnTo>
                  <a:close/>
                  <a:moveTo>
                    <a:pt x="14" y="549"/>
                  </a:moveTo>
                  <a:lnTo>
                    <a:pt x="12" y="549"/>
                  </a:lnTo>
                  <a:lnTo>
                    <a:pt x="14" y="549"/>
                  </a:lnTo>
                  <a:close/>
                  <a:moveTo>
                    <a:pt x="95" y="628"/>
                  </a:moveTo>
                  <a:lnTo>
                    <a:pt x="95" y="630"/>
                  </a:lnTo>
                  <a:lnTo>
                    <a:pt x="95" y="628"/>
                  </a:lnTo>
                  <a:close/>
                  <a:moveTo>
                    <a:pt x="102" y="440"/>
                  </a:moveTo>
                  <a:lnTo>
                    <a:pt x="102" y="442"/>
                  </a:lnTo>
                  <a:lnTo>
                    <a:pt x="102" y="440"/>
                  </a:lnTo>
                  <a:lnTo>
                    <a:pt x="102" y="442"/>
                  </a:lnTo>
                  <a:lnTo>
                    <a:pt x="102" y="440"/>
                  </a:lnTo>
                  <a:close/>
                  <a:moveTo>
                    <a:pt x="96" y="669"/>
                  </a:moveTo>
                  <a:lnTo>
                    <a:pt x="95" y="669"/>
                  </a:lnTo>
                  <a:lnTo>
                    <a:pt x="96" y="669"/>
                  </a:lnTo>
                  <a:close/>
                  <a:moveTo>
                    <a:pt x="85" y="818"/>
                  </a:moveTo>
                  <a:lnTo>
                    <a:pt x="85" y="820"/>
                  </a:lnTo>
                  <a:lnTo>
                    <a:pt x="85" y="818"/>
                  </a:lnTo>
                  <a:close/>
                  <a:moveTo>
                    <a:pt x="177" y="857"/>
                  </a:moveTo>
                  <a:lnTo>
                    <a:pt x="177" y="859"/>
                  </a:lnTo>
                  <a:lnTo>
                    <a:pt x="177" y="857"/>
                  </a:lnTo>
                  <a:close/>
                  <a:moveTo>
                    <a:pt x="83" y="797"/>
                  </a:moveTo>
                  <a:lnTo>
                    <a:pt x="81" y="797"/>
                  </a:lnTo>
                  <a:lnTo>
                    <a:pt x="83" y="797"/>
                  </a:lnTo>
                  <a:close/>
                  <a:moveTo>
                    <a:pt x="100" y="647"/>
                  </a:moveTo>
                  <a:lnTo>
                    <a:pt x="100" y="645"/>
                  </a:lnTo>
                  <a:lnTo>
                    <a:pt x="100" y="647"/>
                  </a:lnTo>
                  <a:close/>
                  <a:moveTo>
                    <a:pt x="100" y="619"/>
                  </a:moveTo>
                  <a:lnTo>
                    <a:pt x="100" y="621"/>
                  </a:lnTo>
                  <a:lnTo>
                    <a:pt x="100" y="619"/>
                  </a:lnTo>
                  <a:lnTo>
                    <a:pt x="100" y="621"/>
                  </a:lnTo>
                  <a:lnTo>
                    <a:pt x="100" y="619"/>
                  </a:lnTo>
                  <a:close/>
                  <a:moveTo>
                    <a:pt x="91" y="478"/>
                  </a:moveTo>
                  <a:lnTo>
                    <a:pt x="91" y="480"/>
                  </a:lnTo>
                  <a:lnTo>
                    <a:pt x="91" y="478"/>
                  </a:lnTo>
                  <a:close/>
                  <a:moveTo>
                    <a:pt x="112" y="596"/>
                  </a:moveTo>
                  <a:lnTo>
                    <a:pt x="112" y="597"/>
                  </a:lnTo>
                  <a:lnTo>
                    <a:pt x="112" y="596"/>
                  </a:lnTo>
                  <a:close/>
                  <a:moveTo>
                    <a:pt x="95" y="607"/>
                  </a:moveTo>
                  <a:lnTo>
                    <a:pt x="95" y="609"/>
                  </a:lnTo>
                  <a:lnTo>
                    <a:pt x="95" y="607"/>
                  </a:lnTo>
                  <a:close/>
                  <a:moveTo>
                    <a:pt x="96" y="567"/>
                  </a:moveTo>
                  <a:lnTo>
                    <a:pt x="96" y="565"/>
                  </a:lnTo>
                  <a:lnTo>
                    <a:pt x="96" y="567"/>
                  </a:lnTo>
                  <a:close/>
                  <a:moveTo>
                    <a:pt x="146" y="784"/>
                  </a:moveTo>
                  <a:lnTo>
                    <a:pt x="144" y="784"/>
                  </a:lnTo>
                  <a:lnTo>
                    <a:pt x="146" y="784"/>
                  </a:lnTo>
                  <a:close/>
                  <a:moveTo>
                    <a:pt x="104" y="619"/>
                  </a:moveTo>
                  <a:lnTo>
                    <a:pt x="102" y="619"/>
                  </a:lnTo>
                  <a:lnTo>
                    <a:pt x="104" y="619"/>
                  </a:lnTo>
                  <a:lnTo>
                    <a:pt x="102" y="619"/>
                  </a:lnTo>
                  <a:lnTo>
                    <a:pt x="104" y="619"/>
                  </a:lnTo>
                  <a:close/>
                  <a:moveTo>
                    <a:pt x="169" y="820"/>
                  </a:moveTo>
                  <a:lnTo>
                    <a:pt x="169" y="822"/>
                  </a:lnTo>
                  <a:lnTo>
                    <a:pt x="169" y="820"/>
                  </a:lnTo>
                  <a:lnTo>
                    <a:pt x="169" y="822"/>
                  </a:lnTo>
                  <a:lnTo>
                    <a:pt x="169" y="820"/>
                  </a:lnTo>
                  <a:close/>
                  <a:moveTo>
                    <a:pt x="95" y="515"/>
                  </a:moveTo>
                  <a:lnTo>
                    <a:pt x="93" y="515"/>
                  </a:lnTo>
                  <a:lnTo>
                    <a:pt x="95" y="515"/>
                  </a:lnTo>
                  <a:close/>
                  <a:moveTo>
                    <a:pt x="81" y="486"/>
                  </a:moveTo>
                  <a:lnTo>
                    <a:pt x="81" y="488"/>
                  </a:lnTo>
                  <a:lnTo>
                    <a:pt x="81" y="486"/>
                  </a:lnTo>
                  <a:lnTo>
                    <a:pt x="81" y="488"/>
                  </a:lnTo>
                  <a:lnTo>
                    <a:pt x="81" y="486"/>
                  </a:lnTo>
                  <a:close/>
                  <a:moveTo>
                    <a:pt x="85" y="496"/>
                  </a:moveTo>
                  <a:lnTo>
                    <a:pt x="83" y="496"/>
                  </a:lnTo>
                  <a:lnTo>
                    <a:pt x="85" y="496"/>
                  </a:lnTo>
                  <a:close/>
                  <a:moveTo>
                    <a:pt x="98" y="672"/>
                  </a:moveTo>
                  <a:lnTo>
                    <a:pt x="98" y="674"/>
                  </a:lnTo>
                  <a:lnTo>
                    <a:pt x="98" y="672"/>
                  </a:lnTo>
                  <a:lnTo>
                    <a:pt x="98" y="674"/>
                  </a:lnTo>
                  <a:lnTo>
                    <a:pt x="98" y="672"/>
                  </a:lnTo>
                  <a:lnTo>
                    <a:pt x="98" y="674"/>
                  </a:lnTo>
                  <a:lnTo>
                    <a:pt x="98" y="672"/>
                  </a:lnTo>
                  <a:close/>
                  <a:moveTo>
                    <a:pt x="20" y="519"/>
                  </a:moveTo>
                  <a:lnTo>
                    <a:pt x="18" y="519"/>
                  </a:lnTo>
                  <a:lnTo>
                    <a:pt x="20" y="519"/>
                  </a:lnTo>
                  <a:close/>
                  <a:moveTo>
                    <a:pt x="81" y="820"/>
                  </a:moveTo>
                  <a:lnTo>
                    <a:pt x="83" y="820"/>
                  </a:lnTo>
                  <a:lnTo>
                    <a:pt x="81" y="820"/>
                  </a:lnTo>
                  <a:lnTo>
                    <a:pt x="83" y="820"/>
                  </a:lnTo>
                  <a:lnTo>
                    <a:pt x="81" y="820"/>
                  </a:lnTo>
                  <a:close/>
                  <a:moveTo>
                    <a:pt x="95" y="697"/>
                  </a:moveTo>
                  <a:lnTo>
                    <a:pt x="95" y="699"/>
                  </a:lnTo>
                  <a:lnTo>
                    <a:pt x="95" y="697"/>
                  </a:lnTo>
                  <a:close/>
                  <a:moveTo>
                    <a:pt x="6" y="546"/>
                  </a:moveTo>
                  <a:lnTo>
                    <a:pt x="6" y="548"/>
                  </a:lnTo>
                  <a:lnTo>
                    <a:pt x="6" y="546"/>
                  </a:lnTo>
                  <a:lnTo>
                    <a:pt x="6" y="548"/>
                  </a:lnTo>
                  <a:lnTo>
                    <a:pt x="6" y="546"/>
                  </a:lnTo>
                  <a:close/>
                  <a:moveTo>
                    <a:pt x="121" y="427"/>
                  </a:moveTo>
                  <a:lnTo>
                    <a:pt x="121" y="429"/>
                  </a:lnTo>
                  <a:lnTo>
                    <a:pt x="121" y="427"/>
                  </a:lnTo>
                  <a:close/>
                  <a:moveTo>
                    <a:pt x="102" y="609"/>
                  </a:moveTo>
                  <a:lnTo>
                    <a:pt x="100" y="609"/>
                  </a:lnTo>
                  <a:lnTo>
                    <a:pt x="102" y="609"/>
                  </a:lnTo>
                  <a:lnTo>
                    <a:pt x="100" y="609"/>
                  </a:lnTo>
                  <a:lnTo>
                    <a:pt x="102" y="609"/>
                  </a:lnTo>
                  <a:close/>
                  <a:moveTo>
                    <a:pt x="95" y="630"/>
                  </a:moveTo>
                  <a:lnTo>
                    <a:pt x="95" y="632"/>
                  </a:lnTo>
                  <a:lnTo>
                    <a:pt x="95" y="630"/>
                  </a:lnTo>
                  <a:lnTo>
                    <a:pt x="95" y="632"/>
                  </a:lnTo>
                  <a:lnTo>
                    <a:pt x="95" y="630"/>
                  </a:lnTo>
                  <a:close/>
                  <a:moveTo>
                    <a:pt x="85" y="818"/>
                  </a:moveTo>
                  <a:lnTo>
                    <a:pt x="87" y="818"/>
                  </a:lnTo>
                  <a:lnTo>
                    <a:pt x="85" y="818"/>
                  </a:lnTo>
                  <a:close/>
                  <a:moveTo>
                    <a:pt x="112" y="847"/>
                  </a:moveTo>
                  <a:lnTo>
                    <a:pt x="112" y="849"/>
                  </a:lnTo>
                  <a:lnTo>
                    <a:pt x="112" y="847"/>
                  </a:lnTo>
                  <a:close/>
                  <a:moveTo>
                    <a:pt x="68" y="761"/>
                  </a:moveTo>
                  <a:lnTo>
                    <a:pt x="70" y="761"/>
                  </a:lnTo>
                  <a:lnTo>
                    <a:pt x="68" y="761"/>
                  </a:lnTo>
                  <a:close/>
                  <a:moveTo>
                    <a:pt x="91" y="684"/>
                  </a:moveTo>
                  <a:lnTo>
                    <a:pt x="89" y="684"/>
                  </a:lnTo>
                  <a:lnTo>
                    <a:pt x="91" y="684"/>
                  </a:lnTo>
                  <a:lnTo>
                    <a:pt x="89" y="684"/>
                  </a:lnTo>
                  <a:lnTo>
                    <a:pt x="91" y="684"/>
                  </a:lnTo>
                  <a:close/>
                  <a:moveTo>
                    <a:pt x="156" y="914"/>
                  </a:moveTo>
                  <a:lnTo>
                    <a:pt x="154" y="914"/>
                  </a:lnTo>
                  <a:lnTo>
                    <a:pt x="156" y="914"/>
                  </a:lnTo>
                  <a:close/>
                  <a:moveTo>
                    <a:pt x="93" y="478"/>
                  </a:moveTo>
                  <a:lnTo>
                    <a:pt x="93" y="480"/>
                  </a:lnTo>
                  <a:lnTo>
                    <a:pt x="93" y="478"/>
                  </a:lnTo>
                  <a:close/>
                  <a:moveTo>
                    <a:pt x="98" y="582"/>
                  </a:moveTo>
                  <a:lnTo>
                    <a:pt x="98" y="584"/>
                  </a:lnTo>
                  <a:lnTo>
                    <a:pt x="98" y="582"/>
                  </a:lnTo>
                  <a:close/>
                  <a:moveTo>
                    <a:pt x="96" y="847"/>
                  </a:moveTo>
                  <a:lnTo>
                    <a:pt x="96" y="849"/>
                  </a:lnTo>
                  <a:lnTo>
                    <a:pt x="96" y="847"/>
                  </a:lnTo>
                  <a:close/>
                  <a:moveTo>
                    <a:pt x="102" y="455"/>
                  </a:moveTo>
                  <a:lnTo>
                    <a:pt x="102" y="457"/>
                  </a:lnTo>
                  <a:lnTo>
                    <a:pt x="102" y="455"/>
                  </a:lnTo>
                  <a:close/>
                  <a:moveTo>
                    <a:pt x="106" y="634"/>
                  </a:moveTo>
                  <a:lnTo>
                    <a:pt x="104" y="634"/>
                  </a:lnTo>
                  <a:lnTo>
                    <a:pt x="106" y="634"/>
                  </a:lnTo>
                  <a:close/>
                  <a:moveTo>
                    <a:pt x="141" y="772"/>
                  </a:moveTo>
                  <a:lnTo>
                    <a:pt x="139" y="772"/>
                  </a:lnTo>
                  <a:lnTo>
                    <a:pt x="141" y="772"/>
                  </a:lnTo>
                  <a:close/>
                  <a:moveTo>
                    <a:pt x="18" y="509"/>
                  </a:moveTo>
                  <a:lnTo>
                    <a:pt x="18" y="507"/>
                  </a:lnTo>
                  <a:lnTo>
                    <a:pt x="18" y="509"/>
                  </a:lnTo>
                  <a:close/>
                  <a:moveTo>
                    <a:pt x="116" y="736"/>
                  </a:moveTo>
                  <a:lnTo>
                    <a:pt x="116" y="738"/>
                  </a:lnTo>
                  <a:lnTo>
                    <a:pt x="116" y="736"/>
                  </a:lnTo>
                  <a:close/>
                  <a:moveTo>
                    <a:pt x="81" y="498"/>
                  </a:moveTo>
                  <a:lnTo>
                    <a:pt x="81" y="500"/>
                  </a:lnTo>
                  <a:lnTo>
                    <a:pt x="81" y="498"/>
                  </a:lnTo>
                  <a:close/>
                  <a:moveTo>
                    <a:pt x="106" y="532"/>
                  </a:moveTo>
                  <a:lnTo>
                    <a:pt x="108" y="532"/>
                  </a:lnTo>
                  <a:lnTo>
                    <a:pt x="106" y="532"/>
                  </a:lnTo>
                  <a:close/>
                  <a:moveTo>
                    <a:pt x="168" y="845"/>
                  </a:moveTo>
                  <a:lnTo>
                    <a:pt x="169" y="845"/>
                  </a:lnTo>
                  <a:lnTo>
                    <a:pt x="169" y="847"/>
                  </a:lnTo>
                  <a:lnTo>
                    <a:pt x="168" y="847"/>
                  </a:lnTo>
                  <a:lnTo>
                    <a:pt x="168" y="845"/>
                  </a:lnTo>
                  <a:close/>
                  <a:moveTo>
                    <a:pt x="18" y="528"/>
                  </a:moveTo>
                  <a:lnTo>
                    <a:pt x="16" y="528"/>
                  </a:lnTo>
                  <a:lnTo>
                    <a:pt x="18" y="528"/>
                  </a:lnTo>
                  <a:close/>
                  <a:moveTo>
                    <a:pt x="108" y="853"/>
                  </a:moveTo>
                  <a:lnTo>
                    <a:pt x="106" y="853"/>
                  </a:lnTo>
                  <a:lnTo>
                    <a:pt x="108" y="853"/>
                  </a:lnTo>
                  <a:close/>
                  <a:moveTo>
                    <a:pt x="98" y="659"/>
                  </a:moveTo>
                  <a:lnTo>
                    <a:pt x="96" y="659"/>
                  </a:lnTo>
                  <a:lnTo>
                    <a:pt x="98" y="659"/>
                  </a:lnTo>
                  <a:close/>
                  <a:moveTo>
                    <a:pt x="98" y="845"/>
                  </a:moveTo>
                  <a:lnTo>
                    <a:pt x="98" y="847"/>
                  </a:lnTo>
                  <a:lnTo>
                    <a:pt x="98" y="845"/>
                  </a:lnTo>
                  <a:close/>
                  <a:moveTo>
                    <a:pt x="96" y="722"/>
                  </a:moveTo>
                  <a:lnTo>
                    <a:pt x="98" y="722"/>
                  </a:lnTo>
                  <a:lnTo>
                    <a:pt x="96" y="722"/>
                  </a:lnTo>
                  <a:close/>
                  <a:moveTo>
                    <a:pt x="96" y="847"/>
                  </a:moveTo>
                  <a:lnTo>
                    <a:pt x="95" y="847"/>
                  </a:lnTo>
                  <a:lnTo>
                    <a:pt x="96" y="847"/>
                  </a:lnTo>
                  <a:close/>
                  <a:moveTo>
                    <a:pt x="95" y="621"/>
                  </a:moveTo>
                  <a:lnTo>
                    <a:pt x="95" y="622"/>
                  </a:lnTo>
                  <a:lnTo>
                    <a:pt x="95" y="621"/>
                  </a:lnTo>
                  <a:close/>
                  <a:moveTo>
                    <a:pt x="95" y="634"/>
                  </a:moveTo>
                  <a:lnTo>
                    <a:pt x="93" y="634"/>
                  </a:lnTo>
                  <a:lnTo>
                    <a:pt x="95" y="634"/>
                  </a:lnTo>
                  <a:close/>
                  <a:moveTo>
                    <a:pt x="83" y="507"/>
                  </a:moveTo>
                  <a:lnTo>
                    <a:pt x="83" y="505"/>
                  </a:lnTo>
                  <a:lnTo>
                    <a:pt x="83" y="507"/>
                  </a:lnTo>
                  <a:close/>
                  <a:moveTo>
                    <a:pt x="100" y="657"/>
                  </a:moveTo>
                  <a:lnTo>
                    <a:pt x="98" y="657"/>
                  </a:lnTo>
                  <a:lnTo>
                    <a:pt x="100" y="657"/>
                  </a:lnTo>
                  <a:close/>
                  <a:moveTo>
                    <a:pt x="64" y="732"/>
                  </a:moveTo>
                  <a:lnTo>
                    <a:pt x="62" y="732"/>
                  </a:lnTo>
                  <a:lnTo>
                    <a:pt x="64" y="732"/>
                  </a:lnTo>
                  <a:close/>
                  <a:moveTo>
                    <a:pt x="108" y="847"/>
                  </a:moveTo>
                  <a:lnTo>
                    <a:pt x="106" y="847"/>
                  </a:lnTo>
                  <a:lnTo>
                    <a:pt x="108" y="847"/>
                  </a:lnTo>
                  <a:close/>
                  <a:moveTo>
                    <a:pt x="152" y="505"/>
                  </a:moveTo>
                  <a:lnTo>
                    <a:pt x="154" y="505"/>
                  </a:lnTo>
                  <a:lnTo>
                    <a:pt x="152" y="505"/>
                  </a:lnTo>
                  <a:close/>
                  <a:moveTo>
                    <a:pt x="160" y="876"/>
                  </a:moveTo>
                  <a:lnTo>
                    <a:pt x="162" y="876"/>
                  </a:lnTo>
                  <a:lnTo>
                    <a:pt x="160" y="876"/>
                  </a:lnTo>
                  <a:close/>
                  <a:moveTo>
                    <a:pt x="106" y="465"/>
                  </a:moveTo>
                  <a:lnTo>
                    <a:pt x="106" y="467"/>
                  </a:lnTo>
                  <a:lnTo>
                    <a:pt x="106" y="465"/>
                  </a:lnTo>
                  <a:close/>
                  <a:moveTo>
                    <a:pt x="83" y="561"/>
                  </a:moveTo>
                  <a:lnTo>
                    <a:pt x="83" y="559"/>
                  </a:lnTo>
                  <a:lnTo>
                    <a:pt x="83" y="561"/>
                  </a:lnTo>
                  <a:close/>
                  <a:moveTo>
                    <a:pt x="123" y="429"/>
                  </a:moveTo>
                  <a:lnTo>
                    <a:pt x="123" y="430"/>
                  </a:lnTo>
                  <a:lnTo>
                    <a:pt x="121" y="430"/>
                  </a:lnTo>
                  <a:lnTo>
                    <a:pt x="123" y="429"/>
                  </a:lnTo>
                  <a:lnTo>
                    <a:pt x="121" y="429"/>
                  </a:lnTo>
                  <a:lnTo>
                    <a:pt x="123" y="429"/>
                  </a:lnTo>
                  <a:close/>
                  <a:moveTo>
                    <a:pt x="96" y="822"/>
                  </a:moveTo>
                  <a:lnTo>
                    <a:pt x="96" y="824"/>
                  </a:lnTo>
                  <a:lnTo>
                    <a:pt x="96" y="822"/>
                  </a:lnTo>
                  <a:close/>
                  <a:moveTo>
                    <a:pt x="20" y="500"/>
                  </a:moveTo>
                  <a:lnTo>
                    <a:pt x="20" y="501"/>
                  </a:lnTo>
                  <a:lnTo>
                    <a:pt x="20" y="500"/>
                  </a:lnTo>
                  <a:close/>
                  <a:moveTo>
                    <a:pt x="95" y="463"/>
                  </a:moveTo>
                  <a:lnTo>
                    <a:pt x="95" y="465"/>
                  </a:lnTo>
                  <a:lnTo>
                    <a:pt x="95" y="463"/>
                  </a:lnTo>
                  <a:lnTo>
                    <a:pt x="95" y="465"/>
                  </a:lnTo>
                  <a:lnTo>
                    <a:pt x="95" y="463"/>
                  </a:lnTo>
                  <a:close/>
                  <a:moveTo>
                    <a:pt x="87" y="813"/>
                  </a:moveTo>
                  <a:lnTo>
                    <a:pt x="87" y="814"/>
                  </a:lnTo>
                  <a:lnTo>
                    <a:pt x="87" y="813"/>
                  </a:lnTo>
                  <a:close/>
                  <a:moveTo>
                    <a:pt x="148" y="782"/>
                  </a:moveTo>
                  <a:lnTo>
                    <a:pt x="146" y="782"/>
                  </a:lnTo>
                  <a:lnTo>
                    <a:pt x="148" y="782"/>
                  </a:lnTo>
                  <a:close/>
                  <a:moveTo>
                    <a:pt x="110" y="732"/>
                  </a:moveTo>
                  <a:lnTo>
                    <a:pt x="108" y="732"/>
                  </a:lnTo>
                  <a:lnTo>
                    <a:pt x="110" y="732"/>
                  </a:lnTo>
                  <a:close/>
                  <a:moveTo>
                    <a:pt x="108" y="722"/>
                  </a:moveTo>
                  <a:lnTo>
                    <a:pt x="108" y="724"/>
                  </a:lnTo>
                  <a:lnTo>
                    <a:pt x="108" y="722"/>
                  </a:lnTo>
                  <a:close/>
                  <a:moveTo>
                    <a:pt x="154" y="872"/>
                  </a:moveTo>
                  <a:lnTo>
                    <a:pt x="154" y="870"/>
                  </a:lnTo>
                  <a:lnTo>
                    <a:pt x="154" y="872"/>
                  </a:lnTo>
                  <a:close/>
                  <a:moveTo>
                    <a:pt x="98" y="501"/>
                  </a:moveTo>
                  <a:lnTo>
                    <a:pt x="100" y="501"/>
                  </a:lnTo>
                  <a:lnTo>
                    <a:pt x="98" y="501"/>
                  </a:lnTo>
                  <a:close/>
                  <a:moveTo>
                    <a:pt x="98" y="621"/>
                  </a:moveTo>
                  <a:lnTo>
                    <a:pt x="98" y="622"/>
                  </a:lnTo>
                  <a:lnTo>
                    <a:pt x="98" y="621"/>
                  </a:lnTo>
                  <a:lnTo>
                    <a:pt x="98" y="622"/>
                  </a:lnTo>
                  <a:lnTo>
                    <a:pt x="98" y="621"/>
                  </a:lnTo>
                  <a:close/>
                  <a:moveTo>
                    <a:pt x="120" y="569"/>
                  </a:moveTo>
                  <a:lnTo>
                    <a:pt x="120" y="567"/>
                  </a:lnTo>
                  <a:lnTo>
                    <a:pt x="120" y="569"/>
                  </a:lnTo>
                  <a:close/>
                  <a:moveTo>
                    <a:pt x="64" y="743"/>
                  </a:moveTo>
                  <a:lnTo>
                    <a:pt x="62" y="743"/>
                  </a:lnTo>
                  <a:lnTo>
                    <a:pt x="64" y="743"/>
                  </a:lnTo>
                  <a:close/>
                  <a:moveTo>
                    <a:pt x="110" y="463"/>
                  </a:moveTo>
                  <a:lnTo>
                    <a:pt x="108" y="463"/>
                  </a:lnTo>
                  <a:lnTo>
                    <a:pt x="110" y="463"/>
                  </a:lnTo>
                  <a:close/>
                  <a:moveTo>
                    <a:pt x="83" y="680"/>
                  </a:moveTo>
                  <a:lnTo>
                    <a:pt x="83" y="682"/>
                  </a:lnTo>
                  <a:lnTo>
                    <a:pt x="83" y="680"/>
                  </a:lnTo>
                  <a:close/>
                  <a:moveTo>
                    <a:pt x="91" y="574"/>
                  </a:moveTo>
                  <a:lnTo>
                    <a:pt x="91" y="576"/>
                  </a:lnTo>
                  <a:lnTo>
                    <a:pt x="91" y="574"/>
                  </a:lnTo>
                  <a:lnTo>
                    <a:pt x="91" y="576"/>
                  </a:lnTo>
                  <a:lnTo>
                    <a:pt x="91" y="574"/>
                  </a:lnTo>
                  <a:close/>
                  <a:moveTo>
                    <a:pt x="98" y="436"/>
                  </a:moveTo>
                  <a:lnTo>
                    <a:pt x="100" y="436"/>
                  </a:lnTo>
                  <a:lnTo>
                    <a:pt x="98" y="436"/>
                  </a:lnTo>
                  <a:close/>
                  <a:moveTo>
                    <a:pt x="100" y="609"/>
                  </a:moveTo>
                  <a:lnTo>
                    <a:pt x="98" y="609"/>
                  </a:lnTo>
                  <a:lnTo>
                    <a:pt x="100" y="609"/>
                  </a:lnTo>
                  <a:close/>
                  <a:moveTo>
                    <a:pt x="164" y="864"/>
                  </a:moveTo>
                  <a:lnTo>
                    <a:pt x="164" y="866"/>
                  </a:lnTo>
                  <a:lnTo>
                    <a:pt x="164" y="864"/>
                  </a:lnTo>
                  <a:close/>
                  <a:moveTo>
                    <a:pt x="121" y="430"/>
                  </a:moveTo>
                  <a:lnTo>
                    <a:pt x="121" y="429"/>
                  </a:lnTo>
                  <a:lnTo>
                    <a:pt x="121" y="430"/>
                  </a:lnTo>
                  <a:close/>
                  <a:moveTo>
                    <a:pt x="16" y="536"/>
                  </a:moveTo>
                  <a:lnTo>
                    <a:pt x="16" y="538"/>
                  </a:lnTo>
                  <a:lnTo>
                    <a:pt x="16" y="536"/>
                  </a:lnTo>
                  <a:close/>
                  <a:moveTo>
                    <a:pt x="108" y="720"/>
                  </a:moveTo>
                  <a:lnTo>
                    <a:pt x="106" y="720"/>
                  </a:lnTo>
                  <a:lnTo>
                    <a:pt x="108" y="720"/>
                  </a:lnTo>
                  <a:close/>
                  <a:moveTo>
                    <a:pt x="98" y="438"/>
                  </a:moveTo>
                  <a:lnTo>
                    <a:pt x="98" y="440"/>
                  </a:lnTo>
                  <a:lnTo>
                    <a:pt x="98" y="438"/>
                  </a:lnTo>
                  <a:close/>
                  <a:moveTo>
                    <a:pt x="100" y="649"/>
                  </a:moveTo>
                  <a:lnTo>
                    <a:pt x="100" y="651"/>
                  </a:lnTo>
                  <a:lnTo>
                    <a:pt x="100" y="649"/>
                  </a:lnTo>
                  <a:close/>
                  <a:moveTo>
                    <a:pt x="154" y="849"/>
                  </a:moveTo>
                  <a:lnTo>
                    <a:pt x="154" y="851"/>
                  </a:lnTo>
                  <a:lnTo>
                    <a:pt x="154" y="849"/>
                  </a:lnTo>
                  <a:close/>
                  <a:moveTo>
                    <a:pt x="158" y="791"/>
                  </a:moveTo>
                  <a:lnTo>
                    <a:pt x="160" y="791"/>
                  </a:lnTo>
                  <a:lnTo>
                    <a:pt x="158" y="791"/>
                  </a:lnTo>
                  <a:lnTo>
                    <a:pt x="160" y="791"/>
                  </a:lnTo>
                  <a:lnTo>
                    <a:pt x="158" y="791"/>
                  </a:lnTo>
                  <a:close/>
                  <a:moveTo>
                    <a:pt x="96" y="459"/>
                  </a:moveTo>
                  <a:lnTo>
                    <a:pt x="96" y="461"/>
                  </a:lnTo>
                  <a:lnTo>
                    <a:pt x="96" y="459"/>
                  </a:lnTo>
                  <a:close/>
                  <a:moveTo>
                    <a:pt x="93" y="477"/>
                  </a:moveTo>
                  <a:lnTo>
                    <a:pt x="91" y="477"/>
                  </a:lnTo>
                  <a:lnTo>
                    <a:pt x="91" y="475"/>
                  </a:lnTo>
                  <a:lnTo>
                    <a:pt x="93" y="475"/>
                  </a:lnTo>
                  <a:lnTo>
                    <a:pt x="93" y="477"/>
                  </a:lnTo>
                  <a:close/>
                  <a:moveTo>
                    <a:pt x="93" y="473"/>
                  </a:moveTo>
                  <a:lnTo>
                    <a:pt x="93" y="475"/>
                  </a:lnTo>
                  <a:lnTo>
                    <a:pt x="93" y="473"/>
                  </a:lnTo>
                  <a:close/>
                  <a:moveTo>
                    <a:pt x="91" y="574"/>
                  </a:moveTo>
                  <a:lnTo>
                    <a:pt x="91" y="576"/>
                  </a:lnTo>
                  <a:lnTo>
                    <a:pt x="91" y="574"/>
                  </a:lnTo>
                  <a:lnTo>
                    <a:pt x="91" y="576"/>
                  </a:lnTo>
                  <a:lnTo>
                    <a:pt x="89" y="576"/>
                  </a:lnTo>
                  <a:lnTo>
                    <a:pt x="89" y="574"/>
                  </a:lnTo>
                  <a:lnTo>
                    <a:pt x="91" y="574"/>
                  </a:lnTo>
                  <a:close/>
                  <a:moveTo>
                    <a:pt x="68" y="738"/>
                  </a:moveTo>
                  <a:lnTo>
                    <a:pt x="70" y="738"/>
                  </a:lnTo>
                  <a:lnTo>
                    <a:pt x="68" y="738"/>
                  </a:lnTo>
                  <a:close/>
                  <a:moveTo>
                    <a:pt x="100" y="582"/>
                  </a:moveTo>
                  <a:lnTo>
                    <a:pt x="102" y="582"/>
                  </a:lnTo>
                  <a:lnTo>
                    <a:pt x="100" y="582"/>
                  </a:lnTo>
                  <a:lnTo>
                    <a:pt x="102" y="582"/>
                  </a:lnTo>
                  <a:lnTo>
                    <a:pt x="100" y="582"/>
                  </a:lnTo>
                  <a:lnTo>
                    <a:pt x="100" y="580"/>
                  </a:lnTo>
                  <a:lnTo>
                    <a:pt x="100" y="582"/>
                  </a:lnTo>
                  <a:close/>
                  <a:moveTo>
                    <a:pt x="93" y="478"/>
                  </a:moveTo>
                  <a:lnTo>
                    <a:pt x="95" y="478"/>
                  </a:lnTo>
                  <a:lnTo>
                    <a:pt x="93" y="478"/>
                  </a:lnTo>
                  <a:close/>
                  <a:moveTo>
                    <a:pt x="95" y="630"/>
                  </a:moveTo>
                  <a:lnTo>
                    <a:pt x="95" y="632"/>
                  </a:lnTo>
                  <a:lnTo>
                    <a:pt x="95" y="630"/>
                  </a:lnTo>
                  <a:lnTo>
                    <a:pt x="95" y="632"/>
                  </a:lnTo>
                  <a:lnTo>
                    <a:pt x="93" y="632"/>
                  </a:lnTo>
                  <a:lnTo>
                    <a:pt x="95" y="632"/>
                  </a:lnTo>
                  <a:lnTo>
                    <a:pt x="93" y="632"/>
                  </a:lnTo>
                  <a:lnTo>
                    <a:pt x="93" y="630"/>
                  </a:lnTo>
                  <a:lnTo>
                    <a:pt x="95" y="630"/>
                  </a:lnTo>
                  <a:close/>
                  <a:moveTo>
                    <a:pt x="14" y="427"/>
                  </a:moveTo>
                  <a:lnTo>
                    <a:pt x="14" y="429"/>
                  </a:lnTo>
                  <a:lnTo>
                    <a:pt x="14" y="427"/>
                  </a:lnTo>
                  <a:close/>
                  <a:moveTo>
                    <a:pt x="100" y="724"/>
                  </a:moveTo>
                  <a:lnTo>
                    <a:pt x="98" y="724"/>
                  </a:lnTo>
                  <a:lnTo>
                    <a:pt x="100" y="724"/>
                  </a:lnTo>
                  <a:lnTo>
                    <a:pt x="98" y="724"/>
                  </a:lnTo>
                  <a:lnTo>
                    <a:pt x="100" y="724"/>
                  </a:lnTo>
                  <a:close/>
                  <a:moveTo>
                    <a:pt x="83" y="763"/>
                  </a:moveTo>
                  <a:lnTo>
                    <a:pt x="83" y="765"/>
                  </a:lnTo>
                  <a:lnTo>
                    <a:pt x="83" y="763"/>
                  </a:lnTo>
                  <a:close/>
                  <a:moveTo>
                    <a:pt x="27" y="498"/>
                  </a:moveTo>
                  <a:lnTo>
                    <a:pt x="27" y="500"/>
                  </a:lnTo>
                  <a:lnTo>
                    <a:pt x="27" y="498"/>
                  </a:lnTo>
                  <a:close/>
                  <a:moveTo>
                    <a:pt x="27" y="442"/>
                  </a:moveTo>
                  <a:lnTo>
                    <a:pt x="29" y="442"/>
                  </a:lnTo>
                  <a:lnTo>
                    <a:pt x="27" y="442"/>
                  </a:lnTo>
                  <a:close/>
                  <a:moveTo>
                    <a:pt x="81" y="494"/>
                  </a:moveTo>
                  <a:lnTo>
                    <a:pt x="81" y="496"/>
                  </a:lnTo>
                  <a:lnTo>
                    <a:pt x="81" y="494"/>
                  </a:lnTo>
                  <a:close/>
                  <a:moveTo>
                    <a:pt x="118" y="740"/>
                  </a:moveTo>
                  <a:lnTo>
                    <a:pt x="118" y="738"/>
                  </a:lnTo>
                  <a:lnTo>
                    <a:pt x="118" y="740"/>
                  </a:lnTo>
                  <a:close/>
                  <a:moveTo>
                    <a:pt x="83" y="559"/>
                  </a:moveTo>
                  <a:lnTo>
                    <a:pt x="83" y="561"/>
                  </a:lnTo>
                  <a:lnTo>
                    <a:pt x="83" y="559"/>
                  </a:lnTo>
                  <a:close/>
                  <a:moveTo>
                    <a:pt x="93" y="542"/>
                  </a:moveTo>
                  <a:lnTo>
                    <a:pt x="93" y="540"/>
                  </a:lnTo>
                  <a:lnTo>
                    <a:pt x="93" y="542"/>
                  </a:lnTo>
                  <a:close/>
                  <a:moveTo>
                    <a:pt x="83" y="505"/>
                  </a:moveTo>
                  <a:lnTo>
                    <a:pt x="83" y="507"/>
                  </a:lnTo>
                  <a:lnTo>
                    <a:pt x="83" y="505"/>
                  </a:lnTo>
                  <a:lnTo>
                    <a:pt x="83" y="507"/>
                  </a:lnTo>
                  <a:lnTo>
                    <a:pt x="83" y="505"/>
                  </a:lnTo>
                  <a:close/>
                  <a:moveTo>
                    <a:pt x="60" y="736"/>
                  </a:moveTo>
                  <a:lnTo>
                    <a:pt x="60" y="734"/>
                  </a:lnTo>
                  <a:lnTo>
                    <a:pt x="60" y="736"/>
                  </a:lnTo>
                  <a:close/>
                  <a:moveTo>
                    <a:pt x="89" y="484"/>
                  </a:moveTo>
                  <a:lnTo>
                    <a:pt x="91" y="484"/>
                  </a:lnTo>
                  <a:lnTo>
                    <a:pt x="89" y="484"/>
                  </a:lnTo>
                  <a:close/>
                  <a:moveTo>
                    <a:pt x="85" y="559"/>
                  </a:moveTo>
                  <a:lnTo>
                    <a:pt x="83" y="559"/>
                  </a:lnTo>
                  <a:lnTo>
                    <a:pt x="85" y="559"/>
                  </a:lnTo>
                  <a:lnTo>
                    <a:pt x="83" y="559"/>
                  </a:lnTo>
                  <a:lnTo>
                    <a:pt x="85" y="559"/>
                  </a:lnTo>
                  <a:lnTo>
                    <a:pt x="83" y="559"/>
                  </a:lnTo>
                  <a:lnTo>
                    <a:pt x="85" y="559"/>
                  </a:lnTo>
                  <a:close/>
                  <a:moveTo>
                    <a:pt x="106" y="707"/>
                  </a:moveTo>
                  <a:lnTo>
                    <a:pt x="104" y="707"/>
                  </a:lnTo>
                  <a:lnTo>
                    <a:pt x="106" y="707"/>
                  </a:lnTo>
                  <a:close/>
                  <a:moveTo>
                    <a:pt x="91" y="695"/>
                  </a:moveTo>
                  <a:lnTo>
                    <a:pt x="91" y="697"/>
                  </a:lnTo>
                  <a:lnTo>
                    <a:pt x="93" y="697"/>
                  </a:lnTo>
                  <a:lnTo>
                    <a:pt x="91" y="697"/>
                  </a:lnTo>
                  <a:lnTo>
                    <a:pt x="91" y="695"/>
                  </a:lnTo>
                  <a:close/>
                  <a:moveTo>
                    <a:pt x="133" y="728"/>
                  </a:moveTo>
                  <a:lnTo>
                    <a:pt x="133" y="730"/>
                  </a:lnTo>
                  <a:lnTo>
                    <a:pt x="133" y="728"/>
                  </a:lnTo>
                  <a:close/>
                  <a:moveTo>
                    <a:pt x="114" y="720"/>
                  </a:moveTo>
                  <a:lnTo>
                    <a:pt x="116" y="720"/>
                  </a:lnTo>
                  <a:lnTo>
                    <a:pt x="114" y="720"/>
                  </a:lnTo>
                  <a:close/>
                  <a:moveTo>
                    <a:pt x="168" y="847"/>
                  </a:moveTo>
                  <a:lnTo>
                    <a:pt x="168" y="845"/>
                  </a:lnTo>
                  <a:lnTo>
                    <a:pt x="168" y="847"/>
                  </a:lnTo>
                  <a:close/>
                  <a:moveTo>
                    <a:pt x="96" y="615"/>
                  </a:moveTo>
                  <a:lnTo>
                    <a:pt x="98" y="615"/>
                  </a:lnTo>
                  <a:lnTo>
                    <a:pt x="96" y="615"/>
                  </a:lnTo>
                  <a:lnTo>
                    <a:pt x="98" y="615"/>
                  </a:lnTo>
                  <a:lnTo>
                    <a:pt x="96" y="615"/>
                  </a:lnTo>
                  <a:close/>
                  <a:moveTo>
                    <a:pt x="83" y="697"/>
                  </a:moveTo>
                  <a:lnTo>
                    <a:pt x="85" y="697"/>
                  </a:lnTo>
                  <a:lnTo>
                    <a:pt x="83" y="697"/>
                  </a:lnTo>
                  <a:close/>
                  <a:moveTo>
                    <a:pt x="85" y="559"/>
                  </a:moveTo>
                  <a:lnTo>
                    <a:pt x="85" y="557"/>
                  </a:lnTo>
                  <a:lnTo>
                    <a:pt x="85" y="559"/>
                  </a:lnTo>
                  <a:close/>
                  <a:moveTo>
                    <a:pt x="70" y="713"/>
                  </a:moveTo>
                  <a:lnTo>
                    <a:pt x="68" y="713"/>
                  </a:lnTo>
                  <a:lnTo>
                    <a:pt x="70" y="713"/>
                  </a:lnTo>
                  <a:close/>
                  <a:moveTo>
                    <a:pt x="118" y="718"/>
                  </a:moveTo>
                  <a:lnTo>
                    <a:pt x="118" y="720"/>
                  </a:lnTo>
                  <a:lnTo>
                    <a:pt x="118" y="718"/>
                  </a:lnTo>
                  <a:close/>
                  <a:moveTo>
                    <a:pt x="104" y="659"/>
                  </a:moveTo>
                  <a:lnTo>
                    <a:pt x="102" y="659"/>
                  </a:lnTo>
                  <a:lnTo>
                    <a:pt x="104" y="659"/>
                  </a:lnTo>
                  <a:close/>
                  <a:moveTo>
                    <a:pt x="98" y="580"/>
                  </a:moveTo>
                  <a:lnTo>
                    <a:pt x="98" y="582"/>
                  </a:lnTo>
                  <a:lnTo>
                    <a:pt x="98" y="580"/>
                  </a:lnTo>
                  <a:close/>
                  <a:moveTo>
                    <a:pt x="89" y="580"/>
                  </a:moveTo>
                  <a:lnTo>
                    <a:pt x="89" y="578"/>
                  </a:lnTo>
                  <a:lnTo>
                    <a:pt x="89" y="580"/>
                  </a:lnTo>
                  <a:close/>
                  <a:moveTo>
                    <a:pt x="96" y="845"/>
                  </a:moveTo>
                  <a:lnTo>
                    <a:pt x="98" y="845"/>
                  </a:lnTo>
                  <a:lnTo>
                    <a:pt x="96" y="845"/>
                  </a:lnTo>
                  <a:close/>
                  <a:moveTo>
                    <a:pt x="56" y="734"/>
                  </a:moveTo>
                  <a:lnTo>
                    <a:pt x="56" y="736"/>
                  </a:lnTo>
                  <a:lnTo>
                    <a:pt x="56" y="734"/>
                  </a:lnTo>
                  <a:lnTo>
                    <a:pt x="58" y="736"/>
                  </a:lnTo>
                  <a:lnTo>
                    <a:pt x="56" y="736"/>
                  </a:lnTo>
                  <a:lnTo>
                    <a:pt x="58" y="736"/>
                  </a:lnTo>
                  <a:lnTo>
                    <a:pt x="56" y="736"/>
                  </a:lnTo>
                  <a:lnTo>
                    <a:pt x="56" y="734"/>
                  </a:lnTo>
                  <a:lnTo>
                    <a:pt x="56" y="736"/>
                  </a:lnTo>
                  <a:lnTo>
                    <a:pt x="56" y="734"/>
                  </a:lnTo>
                  <a:close/>
                  <a:moveTo>
                    <a:pt x="102" y="839"/>
                  </a:moveTo>
                  <a:lnTo>
                    <a:pt x="100" y="839"/>
                  </a:lnTo>
                  <a:lnTo>
                    <a:pt x="102" y="839"/>
                  </a:lnTo>
                  <a:close/>
                  <a:moveTo>
                    <a:pt x="96" y="605"/>
                  </a:moveTo>
                  <a:lnTo>
                    <a:pt x="95" y="605"/>
                  </a:lnTo>
                  <a:lnTo>
                    <a:pt x="96" y="605"/>
                  </a:lnTo>
                  <a:close/>
                  <a:moveTo>
                    <a:pt x="91" y="475"/>
                  </a:moveTo>
                  <a:lnTo>
                    <a:pt x="91" y="477"/>
                  </a:lnTo>
                  <a:lnTo>
                    <a:pt x="91" y="475"/>
                  </a:lnTo>
                  <a:close/>
                  <a:moveTo>
                    <a:pt x="81" y="822"/>
                  </a:moveTo>
                  <a:lnTo>
                    <a:pt x="83" y="822"/>
                  </a:lnTo>
                  <a:lnTo>
                    <a:pt x="81" y="822"/>
                  </a:lnTo>
                  <a:close/>
                  <a:moveTo>
                    <a:pt x="60" y="741"/>
                  </a:moveTo>
                  <a:lnTo>
                    <a:pt x="60" y="743"/>
                  </a:lnTo>
                  <a:lnTo>
                    <a:pt x="60" y="741"/>
                  </a:lnTo>
                  <a:close/>
                  <a:moveTo>
                    <a:pt x="110" y="722"/>
                  </a:moveTo>
                  <a:lnTo>
                    <a:pt x="110" y="724"/>
                  </a:lnTo>
                  <a:lnTo>
                    <a:pt x="108" y="724"/>
                  </a:lnTo>
                  <a:lnTo>
                    <a:pt x="108" y="722"/>
                  </a:lnTo>
                  <a:lnTo>
                    <a:pt x="110" y="722"/>
                  </a:lnTo>
                  <a:close/>
                  <a:moveTo>
                    <a:pt x="120" y="429"/>
                  </a:moveTo>
                  <a:lnTo>
                    <a:pt x="120" y="430"/>
                  </a:lnTo>
                  <a:lnTo>
                    <a:pt x="120" y="429"/>
                  </a:lnTo>
                  <a:close/>
                  <a:moveTo>
                    <a:pt x="91" y="525"/>
                  </a:moveTo>
                  <a:lnTo>
                    <a:pt x="91" y="526"/>
                  </a:lnTo>
                  <a:lnTo>
                    <a:pt x="91" y="525"/>
                  </a:lnTo>
                  <a:close/>
                  <a:moveTo>
                    <a:pt x="143" y="912"/>
                  </a:moveTo>
                  <a:lnTo>
                    <a:pt x="141" y="912"/>
                  </a:lnTo>
                  <a:lnTo>
                    <a:pt x="143" y="912"/>
                  </a:lnTo>
                  <a:close/>
                  <a:moveTo>
                    <a:pt x="156" y="861"/>
                  </a:moveTo>
                  <a:lnTo>
                    <a:pt x="156" y="862"/>
                  </a:lnTo>
                  <a:lnTo>
                    <a:pt x="154" y="862"/>
                  </a:lnTo>
                  <a:lnTo>
                    <a:pt x="154" y="861"/>
                  </a:lnTo>
                  <a:lnTo>
                    <a:pt x="156" y="861"/>
                  </a:lnTo>
                  <a:close/>
                  <a:moveTo>
                    <a:pt x="91" y="663"/>
                  </a:moveTo>
                  <a:lnTo>
                    <a:pt x="91" y="665"/>
                  </a:lnTo>
                  <a:lnTo>
                    <a:pt x="91" y="663"/>
                  </a:lnTo>
                  <a:close/>
                  <a:moveTo>
                    <a:pt x="79" y="776"/>
                  </a:moveTo>
                  <a:lnTo>
                    <a:pt x="79" y="778"/>
                  </a:lnTo>
                  <a:lnTo>
                    <a:pt x="79" y="776"/>
                  </a:lnTo>
                  <a:close/>
                  <a:moveTo>
                    <a:pt x="164" y="903"/>
                  </a:moveTo>
                  <a:lnTo>
                    <a:pt x="162" y="903"/>
                  </a:lnTo>
                  <a:lnTo>
                    <a:pt x="164" y="903"/>
                  </a:lnTo>
                  <a:close/>
                  <a:moveTo>
                    <a:pt x="54" y="728"/>
                  </a:moveTo>
                  <a:lnTo>
                    <a:pt x="54" y="730"/>
                  </a:lnTo>
                  <a:lnTo>
                    <a:pt x="54" y="728"/>
                  </a:lnTo>
                  <a:lnTo>
                    <a:pt x="54" y="730"/>
                  </a:lnTo>
                  <a:lnTo>
                    <a:pt x="54" y="728"/>
                  </a:lnTo>
                  <a:close/>
                  <a:moveTo>
                    <a:pt x="23" y="507"/>
                  </a:moveTo>
                  <a:lnTo>
                    <a:pt x="25" y="507"/>
                  </a:lnTo>
                  <a:lnTo>
                    <a:pt x="23" y="507"/>
                  </a:lnTo>
                  <a:close/>
                  <a:moveTo>
                    <a:pt x="91" y="576"/>
                  </a:moveTo>
                  <a:lnTo>
                    <a:pt x="89" y="576"/>
                  </a:lnTo>
                  <a:lnTo>
                    <a:pt x="91" y="576"/>
                  </a:lnTo>
                  <a:close/>
                  <a:moveTo>
                    <a:pt x="81" y="496"/>
                  </a:moveTo>
                  <a:lnTo>
                    <a:pt x="83" y="496"/>
                  </a:lnTo>
                  <a:lnTo>
                    <a:pt x="81" y="496"/>
                  </a:lnTo>
                  <a:close/>
                  <a:moveTo>
                    <a:pt x="106" y="728"/>
                  </a:moveTo>
                  <a:lnTo>
                    <a:pt x="106" y="726"/>
                  </a:lnTo>
                  <a:lnTo>
                    <a:pt x="106" y="728"/>
                  </a:lnTo>
                  <a:close/>
                  <a:moveTo>
                    <a:pt x="35" y="444"/>
                  </a:moveTo>
                  <a:lnTo>
                    <a:pt x="35" y="442"/>
                  </a:lnTo>
                  <a:lnTo>
                    <a:pt x="35" y="444"/>
                  </a:lnTo>
                  <a:close/>
                  <a:moveTo>
                    <a:pt x="83" y="690"/>
                  </a:moveTo>
                  <a:lnTo>
                    <a:pt x="85" y="690"/>
                  </a:lnTo>
                  <a:lnTo>
                    <a:pt x="83" y="690"/>
                  </a:lnTo>
                  <a:close/>
                  <a:moveTo>
                    <a:pt x="68" y="763"/>
                  </a:moveTo>
                  <a:lnTo>
                    <a:pt x="70" y="763"/>
                  </a:lnTo>
                  <a:lnTo>
                    <a:pt x="68" y="763"/>
                  </a:lnTo>
                  <a:close/>
                  <a:moveTo>
                    <a:pt x="91" y="528"/>
                  </a:moveTo>
                  <a:lnTo>
                    <a:pt x="91" y="530"/>
                  </a:lnTo>
                  <a:lnTo>
                    <a:pt x="91" y="528"/>
                  </a:lnTo>
                  <a:close/>
                  <a:moveTo>
                    <a:pt x="83" y="797"/>
                  </a:moveTo>
                  <a:lnTo>
                    <a:pt x="81" y="797"/>
                  </a:lnTo>
                  <a:lnTo>
                    <a:pt x="83" y="797"/>
                  </a:lnTo>
                  <a:lnTo>
                    <a:pt x="83" y="795"/>
                  </a:lnTo>
                  <a:lnTo>
                    <a:pt x="83" y="797"/>
                  </a:lnTo>
                  <a:close/>
                  <a:moveTo>
                    <a:pt x="96" y="621"/>
                  </a:moveTo>
                  <a:lnTo>
                    <a:pt x="96" y="622"/>
                  </a:lnTo>
                  <a:lnTo>
                    <a:pt x="96" y="621"/>
                  </a:lnTo>
                  <a:lnTo>
                    <a:pt x="96" y="622"/>
                  </a:lnTo>
                  <a:lnTo>
                    <a:pt x="95" y="622"/>
                  </a:lnTo>
                  <a:lnTo>
                    <a:pt x="96" y="622"/>
                  </a:lnTo>
                  <a:lnTo>
                    <a:pt x="96" y="621"/>
                  </a:lnTo>
                  <a:close/>
                  <a:moveTo>
                    <a:pt x="18" y="471"/>
                  </a:moveTo>
                  <a:lnTo>
                    <a:pt x="16" y="471"/>
                  </a:lnTo>
                  <a:lnTo>
                    <a:pt x="18" y="471"/>
                  </a:lnTo>
                  <a:close/>
                  <a:moveTo>
                    <a:pt x="158" y="876"/>
                  </a:moveTo>
                  <a:lnTo>
                    <a:pt x="158" y="874"/>
                  </a:lnTo>
                  <a:lnTo>
                    <a:pt x="158" y="876"/>
                  </a:lnTo>
                  <a:lnTo>
                    <a:pt x="158" y="874"/>
                  </a:lnTo>
                  <a:lnTo>
                    <a:pt x="158" y="876"/>
                  </a:lnTo>
                  <a:close/>
                  <a:moveTo>
                    <a:pt x="152" y="851"/>
                  </a:moveTo>
                  <a:lnTo>
                    <a:pt x="154" y="851"/>
                  </a:lnTo>
                  <a:lnTo>
                    <a:pt x="152" y="851"/>
                  </a:lnTo>
                  <a:close/>
                  <a:moveTo>
                    <a:pt x="96" y="621"/>
                  </a:moveTo>
                  <a:lnTo>
                    <a:pt x="95" y="621"/>
                  </a:lnTo>
                  <a:lnTo>
                    <a:pt x="96" y="621"/>
                  </a:lnTo>
                  <a:close/>
                  <a:moveTo>
                    <a:pt x="96" y="567"/>
                  </a:moveTo>
                  <a:lnTo>
                    <a:pt x="96" y="565"/>
                  </a:lnTo>
                  <a:lnTo>
                    <a:pt x="96" y="567"/>
                  </a:lnTo>
                  <a:close/>
                  <a:moveTo>
                    <a:pt x="98" y="632"/>
                  </a:moveTo>
                  <a:lnTo>
                    <a:pt x="98" y="634"/>
                  </a:lnTo>
                  <a:lnTo>
                    <a:pt x="98" y="632"/>
                  </a:lnTo>
                  <a:close/>
                  <a:moveTo>
                    <a:pt x="73" y="786"/>
                  </a:moveTo>
                  <a:lnTo>
                    <a:pt x="72" y="786"/>
                  </a:lnTo>
                  <a:lnTo>
                    <a:pt x="73" y="786"/>
                  </a:lnTo>
                  <a:close/>
                  <a:moveTo>
                    <a:pt x="89" y="532"/>
                  </a:moveTo>
                  <a:lnTo>
                    <a:pt x="89" y="534"/>
                  </a:lnTo>
                  <a:lnTo>
                    <a:pt x="89" y="532"/>
                  </a:lnTo>
                  <a:close/>
                  <a:moveTo>
                    <a:pt x="41" y="670"/>
                  </a:moveTo>
                  <a:lnTo>
                    <a:pt x="39" y="670"/>
                  </a:lnTo>
                  <a:lnTo>
                    <a:pt x="41" y="670"/>
                  </a:lnTo>
                  <a:close/>
                  <a:moveTo>
                    <a:pt x="98" y="697"/>
                  </a:moveTo>
                  <a:lnTo>
                    <a:pt x="98" y="699"/>
                  </a:lnTo>
                  <a:lnTo>
                    <a:pt x="98" y="697"/>
                  </a:lnTo>
                  <a:close/>
                  <a:moveTo>
                    <a:pt x="98" y="659"/>
                  </a:moveTo>
                  <a:lnTo>
                    <a:pt x="96" y="659"/>
                  </a:lnTo>
                  <a:lnTo>
                    <a:pt x="98" y="659"/>
                  </a:lnTo>
                  <a:close/>
                  <a:moveTo>
                    <a:pt x="93" y="594"/>
                  </a:moveTo>
                  <a:lnTo>
                    <a:pt x="93" y="592"/>
                  </a:lnTo>
                  <a:lnTo>
                    <a:pt x="93" y="594"/>
                  </a:lnTo>
                  <a:close/>
                  <a:moveTo>
                    <a:pt x="108" y="715"/>
                  </a:moveTo>
                  <a:lnTo>
                    <a:pt x="106" y="715"/>
                  </a:lnTo>
                  <a:lnTo>
                    <a:pt x="108" y="715"/>
                  </a:lnTo>
                  <a:close/>
                  <a:moveTo>
                    <a:pt x="100" y="582"/>
                  </a:moveTo>
                  <a:lnTo>
                    <a:pt x="102" y="582"/>
                  </a:lnTo>
                  <a:lnTo>
                    <a:pt x="100" y="582"/>
                  </a:lnTo>
                  <a:close/>
                  <a:moveTo>
                    <a:pt x="68" y="763"/>
                  </a:moveTo>
                  <a:lnTo>
                    <a:pt x="68" y="761"/>
                  </a:lnTo>
                  <a:lnTo>
                    <a:pt x="68" y="763"/>
                  </a:lnTo>
                  <a:close/>
                  <a:moveTo>
                    <a:pt x="93" y="536"/>
                  </a:moveTo>
                  <a:lnTo>
                    <a:pt x="91" y="536"/>
                  </a:lnTo>
                  <a:lnTo>
                    <a:pt x="93" y="536"/>
                  </a:lnTo>
                  <a:close/>
                  <a:moveTo>
                    <a:pt x="95" y="482"/>
                  </a:moveTo>
                  <a:lnTo>
                    <a:pt x="95" y="480"/>
                  </a:lnTo>
                  <a:lnTo>
                    <a:pt x="95" y="482"/>
                  </a:lnTo>
                  <a:close/>
                  <a:moveTo>
                    <a:pt x="89" y="478"/>
                  </a:moveTo>
                  <a:lnTo>
                    <a:pt x="89" y="480"/>
                  </a:lnTo>
                  <a:lnTo>
                    <a:pt x="89" y="478"/>
                  </a:lnTo>
                  <a:lnTo>
                    <a:pt x="89" y="480"/>
                  </a:lnTo>
                  <a:lnTo>
                    <a:pt x="89" y="478"/>
                  </a:lnTo>
                  <a:close/>
                  <a:moveTo>
                    <a:pt x="79" y="492"/>
                  </a:moveTo>
                  <a:lnTo>
                    <a:pt x="81" y="492"/>
                  </a:lnTo>
                  <a:lnTo>
                    <a:pt x="79" y="492"/>
                  </a:lnTo>
                  <a:close/>
                  <a:moveTo>
                    <a:pt x="27" y="442"/>
                  </a:moveTo>
                  <a:lnTo>
                    <a:pt x="27" y="444"/>
                  </a:lnTo>
                  <a:lnTo>
                    <a:pt x="27" y="442"/>
                  </a:lnTo>
                  <a:close/>
                  <a:moveTo>
                    <a:pt x="154" y="862"/>
                  </a:moveTo>
                  <a:lnTo>
                    <a:pt x="154" y="861"/>
                  </a:lnTo>
                  <a:lnTo>
                    <a:pt x="154" y="862"/>
                  </a:lnTo>
                  <a:close/>
                  <a:moveTo>
                    <a:pt x="191" y="885"/>
                  </a:moveTo>
                  <a:lnTo>
                    <a:pt x="191" y="884"/>
                  </a:lnTo>
                  <a:lnTo>
                    <a:pt x="191" y="885"/>
                  </a:lnTo>
                  <a:close/>
                  <a:moveTo>
                    <a:pt x="93" y="478"/>
                  </a:moveTo>
                  <a:lnTo>
                    <a:pt x="93" y="480"/>
                  </a:lnTo>
                  <a:lnTo>
                    <a:pt x="93" y="478"/>
                  </a:lnTo>
                  <a:close/>
                  <a:moveTo>
                    <a:pt x="4" y="519"/>
                  </a:moveTo>
                  <a:lnTo>
                    <a:pt x="6" y="519"/>
                  </a:lnTo>
                  <a:lnTo>
                    <a:pt x="4" y="519"/>
                  </a:lnTo>
                  <a:lnTo>
                    <a:pt x="6" y="519"/>
                  </a:lnTo>
                  <a:lnTo>
                    <a:pt x="4" y="519"/>
                  </a:lnTo>
                  <a:close/>
                  <a:moveTo>
                    <a:pt x="95" y="634"/>
                  </a:moveTo>
                  <a:lnTo>
                    <a:pt x="93" y="634"/>
                  </a:lnTo>
                  <a:lnTo>
                    <a:pt x="95" y="634"/>
                  </a:lnTo>
                  <a:close/>
                  <a:moveTo>
                    <a:pt x="110" y="452"/>
                  </a:moveTo>
                  <a:lnTo>
                    <a:pt x="108" y="452"/>
                  </a:lnTo>
                  <a:lnTo>
                    <a:pt x="110" y="452"/>
                  </a:lnTo>
                  <a:close/>
                  <a:moveTo>
                    <a:pt x="25" y="446"/>
                  </a:moveTo>
                  <a:lnTo>
                    <a:pt x="25" y="448"/>
                  </a:lnTo>
                  <a:lnTo>
                    <a:pt x="25" y="446"/>
                  </a:lnTo>
                  <a:close/>
                  <a:moveTo>
                    <a:pt x="158" y="912"/>
                  </a:moveTo>
                  <a:lnTo>
                    <a:pt x="158" y="914"/>
                  </a:lnTo>
                  <a:lnTo>
                    <a:pt x="158" y="912"/>
                  </a:lnTo>
                  <a:lnTo>
                    <a:pt x="158" y="914"/>
                  </a:lnTo>
                  <a:lnTo>
                    <a:pt x="158" y="912"/>
                  </a:lnTo>
                  <a:close/>
                  <a:moveTo>
                    <a:pt x="98" y="663"/>
                  </a:moveTo>
                  <a:lnTo>
                    <a:pt x="96" y="663"/>
                  </a:lnTo>
                  <a:lnTo>
                    <a:pt x="98" y="663"/>
                  </a:lnTo>
                  <a:lnTo>
                    <a:pt x="96" y="663"/>
                  </a:lnTo>
                  <a:lnTo>
                    <a:pt x="98" y="663"/>
                  </a:lnTo>
                  <a:close/>
                  <a:moveTo>
                    <a:pt x="98" y="582"/>
                  </a:moveTo>
                  <a:lnTo>
                    <a:pt x="96" y="582"/>
                  </a:lnTo>
                  <a:lnTo>
                    <a:pt x="98" y="582"/>
                  </a:lnTo>
                  <a:lnTo>
                    <a:pt x="96" y="582"/>
                  </a:lnTo>
                  <a:lnTo>
                    <a:pt x="98" y="582"/>
                  </a:lnTo>
                  <a:close/>
                  <a:moveTo>
                    <a:pt x="83" y="507"/>
                  </a:moveTo>
                  <a:lnTo>
                    <a:pt x="85" y="507"/>
                  </a:lnTo>
                  <a:lnTo>
                    <a:pt x="83" y="507"/>
                  </a:lnTo>
                  <a:close/>
                  <a:moveTo>
                    <a:pt x="83" y="496"/>
                  </a:moveTo>
                  <a:lnTo>
                    <a:pt x="81" y="496"/>
                  </a:lnTo>
                  <a:lnTo>
                    <a:pt x="83" y="496"/>
                  </a:lnTo>
                  <a:close/>
                  <a:moveTo>
                    <a:pt x="110" y="722"/>
                  </a:moveTo>
                  <a:lnTo>
                    <a:pt x="110" y="720"/>
                  </a:lnTo>
                  <a:lnTo>
                    <a:pt x="110" y="722"/>
                  </a:lnTo>
                  <a:close/>
                  <a:moveTo>
                    <a:pt x="91" y="559"/>
                  </a:moveTo>
                  <a:lnTo>
                    <a:pt x="89" y="559"/>
                  </a:lnTo>
                  <a:lnTo>
                    <a:pt x="91" y="559"/>
                  </a:lnTo>
                  <a:close/>
                  <a:moveTo>
                    <a:pt x="41" y="442"/>
                  </a:moveTo>
                  <a:lnTo>
                    <a:pt x="39" y="442"/>
                  </a:lnTo>
                  <a:lnTo>
                    <a:pt x="41" y="442"/>
                  </a:lnTo>
                  <a:close/>
                  <a:moveTo>
                    <a:pt x="100" y="659"/>
                  </a:moveTo>
                  <a:lnTo>
                    <a:pt x="98" y="659"/>
                  </a:lnTo>
                  <a:lnTo>
                    <a:pt x="100" y="659"/>
                  </a:lnTo>
                  <a:lnTo>
                    <a:pt x="98" y="659"/>
                  </a:lnTo>
                  <a:lnTo>
                    <a:pt x="100" y="659"/>
                  </a:lnTo>
                  <a:close/>
                  <a:moveTo>
                    <a:pt x="98" y="626"/>
                  </a:moveTo>
                  <a:lnTo>
                    <a:pt x="98" y="628"/>
                  </a:lnTo>
                  <a:lnTo>
                    <a:pt x="98" y="626"/>
                  </a:lnTo>
                  <a:close/>
                  <a:moveTo>
                    <a:pt x="89" y="690"/>
                  </a:moveTo>
                  <a:lnTo>
                    <a:pt x="89" y="692"/>
                  </a:lnTo>
                  <a:lnTo>
                    <a:pt x="89" y="690"/>
                  </a:lnTo>
                  <a:close/>
                  <a:moveTo>
                    <a:pt x="18" y="542"/>
                  </a:moveTo>
                  <a:lnTo>
                    <a:pt x="16" y="542"/>
                  </a:lnTo>
                  <a:lnTo>
                    <a:pt x="18" y="542"/>
                  </a:lnTo>
                  <a:lnTo>
                    <a:pt x="16" y="542"/>
                  </a:lnTo>
                  <a:lnTo>
                    <a:pt x="18" y="542"/>
                  </a:lnTo>
                  <a:close/>
                  <a:moveTo>
                    <a:pt x="169" y="847"/>
                  </a:moveTo>
                  <a:lnTo>
                    <a:pt x="168" y="847"/>
                  </a:lnTo>
                  <a:lnTo>
                    <a:pt x="169" y="847"/>
                  </a:lnTo>
                  <a:close/>
                  <a:moveTo>
                    <a:pt x="89" y="478"/>
                  </a:moveTo>
                  <a:lnTo>
                    <a:pt x="89" y="480"/>
                  </a:lnTo>
                  <a:lnTo>
                    <a:pt x="89" y="478"/>
                  </a:lnTo>
                  <a:close/>
                  <a:moveTo>
                    <a:pt x="114" y="676"/>
                  </a:moveTo>
                  <a:lnTo>
                    <a:pt x="114" y="674"/>
                  </a:lnTo>
                  <a:lnTo>
                    <a:pt x="114" y="676"/>
                  </a:lnTo>
                  <a:close/>
                  <a:moveTo>
                    <a:pt x="89" y="525"/>
                  </a:moveTo>
                  <a:lnTo>
                    <a:pt x="89" y="526"/>
                  </a:lnTo>
                  <a:lnTo>
                    <a:pt x="89" y="525"/>
                  </a:lnTo>
                  <a:close/>
                  <a:moveTo>
                    <a:pt x="166" y="832"/>
                  </a:moveTo>
                  <a:lnTo>
                    <a:pt x="164" y="832"/>
                  </a:lnTo>
                  <a:lnTo>
                    <a:pt x="166" y="832"/>
                  </a:lnTo>
                  <a:close/>
                  <a:moveTo>
                    <a:pt x="56" y="718"/>
                  </a:moveTo>
                  <a:lnTo>
                    <a:pt x="56" y="717"/>
                  </a:lnTo>
                  <a:lnTo>
                    <a:pt x="56" y="718"/>
                  </a:lnTo>
                  <a:close/>
                  <a:moveTo>
                    <a:pt x="102" y="549"/>
                  </a:moveTo>
                  <a:lnTo>
                    <a:pt x="102" y="551"/>
                  </a:lnTo>
                  <a:lnTo>
                    <a:pt x="102" y="549"/>
                  </a:lnTo>
                  <a:close/>
                  <a:moveTo>
                    <a:pt x="23" y="477"/>
                  </a:moveTo>
                  <a:lnTo>
                    <a:pt x="22" y="477"/>
                  </a:lnTo>
                  <a:lnTo>
                    <a:pt x="23" y="477"/>
                  </a:lnTo>
                  <a:close/>
                  <a:moveTo>
                    <a:pt x="25" y="448"/>
                  </a:moveTo>
                  <a:lnTo>
                    <a:pt x="25" y="446"/>
                  </a:lnTo>
                  <a:lnTo>
                    <a:pt x="27" y="448"/>
                  </a:lnTo>
                  <a:lnTo>
                    <a:pt x="25" y="448"/>
                  </a:lnTo>
                  <a:close/>
                  <a:moveTo>
                    <a:pt x="98" y="663"/>
                  </a:moveTo>
                  <a:lnTo>
                    <a:pt x="96" y="663"/>
                  </a:lnTo>
                  <a:lnTo>
                    <a:pt x="98" y="663"/>
                  </a:lnTo>
                  <a:close/>
                  <a:moveTo>
                    <a:pt x="89" y="836"/>
                  </a:moveTo>
                  <a:lnTo>
                    <a:pt x="87" y="836"/>
                  </a:lnTo>
                  <a:lnTo>
                    <a:pt x="89" y="836"/>
                  </a:lnTo>
                  <a:close/>
                  <a:moveTo>
                    <a:pt x="108" y="732"/>
                  </a:moveTo>
                  <a:lnTo>
                    <a:pt x="108" y="730"/>
                  </a:lnTo>
                  <a:lnTo>
                    <a:pt x="108" y="732"/>
                  </a:lnTo>
                  <a:close/>
                  <a:moveTo>
                    <a:pt x="98" y="580"/>
                  </a:moveTo>
                  <a:lnTo>
                    <a:pt x="96" y="580"/>
                  </a:lnTo>
                  <a:lnTo>
                    <a:pt x="96" y="582"/>
                  </a:lnTo>
                  <a:lnTo>
                    <a:pt x="96" y="580"/>
                  </a:lnTo>
                  <a:lnTo>
                    <a:pt x="98" y="580"/>
                  </a:lnTo>
                  <a:close/>
                  <a:moveTo>
                    <a:pt x="102" y="703"/>
                  </a:moveTo>
                  <a:lnTo>
                    <a:pt x="100" y="703"/>
                  </a:lnTo>
                  <a:lnTo>
                    <a:pt x="102" y="703"/>
                  </a:lnTo>
                  <a:close/>
                  <a:moveTo>
                    <a:pt x="102" y="574"/>
                  </a:moveTo>
                  <a:lnTo>
                    <a:pt x="102" y="573"/>
                  </a:lnTo>
                  <a:lnTo>
                    <a:pt x="102" y="574"/>
                  </a:lnTo>
                  <a:close/>
                  <a:moveTo>
                    <a:pt x="93" y="695"/>
                  </a:moveTo>
                  <a:lnTo>
                    <a:pt x="91" y="695"/>
                  </a:lnTo>
                  <a:lnTo>
                    <a:pt x="93" y="695"/>
                  </a:lnTo>
                  <a:close/>
                  <a:moveTo>
                    <a:pt x="152" y="791"/>
                  </a:moveTo>
                  <a:lnTo>
                    <a:pt x="150" y="791"/>
                  </a:lnTo>
                  <a:lnTo>
                    <a:pt x="152" y="791"/>
                  </a:lnTo>
                  <a:close/>
                  <a:moveTo>
                    <a:pt x="118" y="609"/>
                  </a:moveTo>
                  <a:lnTo>
                    <a:pt x="120" y="609"/>
                  </a:lnTo>
                  <a:lnTo>
                    <a:pt x="118" y="609"/>
                  </a:lnTo>
                  <a:lnTo>
                    <a:pt x="120" y="609"/>
                  </a:lnTo>
                  <a:lnTo>
                    <a:pt x="118" y="609"/>
                  </a:lnTo>
                  <a:close/>
                  <a:moveTo>
                    <a:pt x="112" y="705"/>
                  </a:moveTo>
                  <a:lnTo>
                    <a:pt x="110" y="705"/>
                  </a:lnTo>
                  <a:lnTo>
                    <a:pt x="112" y="705"/>
                  </a:lnTo>
                  <a:close/>
                  <a:moveTo>
                    <a:pt x="112" y="711"/>
                  </a:moveTo>
                  <a:lnTo>
                    <a:pt x="112" y="713"/>
                  </a:lnTo>
                  <a:lnTo>
                    <a:pt x="110" y="713"/>
                  </a:lnTo>
                  <a:lnTo>
                    <a:pt x="112" y="711"/>
                  </a:lnTo>
                  <a:close/>
                  <a:moveTo>
                    <a:pt x="93" y="594"/>
                  </a:moveTo>
                  <a:lnTo>
                    <a:pt x="93" y="592"/>
                  </a:lnTo>
                  <a:lnTo>
                    <a:pt x="93" y="594"/>
                  </a:lnTo>
                  <a:close/>
                  <a:moveTo>
                    <a:pt x="87" y="693"/>
                  </a:moveTo>
                  <a:lnTo>
                    <a:pt x="85" y="693"/>
                  </a:lnTo>
                  <a:lnTo>
                    <a:pt x="87" y="693"/>
                  </a:lnTo>
                  <a:close/>
                  <a:moveTo>
                    <a:pt x="102" y="578"/>
                  </a:moveTo>
                  <a:lnTo>
                    <a:pt x="102" y="580"/>
                  </a:lnTo>
                  <a:lnTo>
                    <a:pt x="102" y="578"/>
                  </a:lnTo>
                  <a:close/>
                  <a:moveTo>
                    <a:pt x="27" y="446"/>
                  </a:moveTo>
                  <a:lnTo>
                    <a:pt x="25" y="446"/>
                  </a:lnTo>
                  <a:lnTo>
                    <a:pt x="27" y="446"/>
                  </a:lnTo>
                  <a:close/>
                  <a:moveTo>
                    <a:pt x="154" y="862"/>
                  </a:moveTo>
                  <a:lnTo>
                    <a:pt x="156" y="862"/>
                  </a:lnTo>
                  <a:lnTo>
                    <a:pt x="154" y="862"/>
                  </a:lnTo>
                  <a:lnTo>
                    <a:pt x="156" y="862"/>
                  </a:lnTo>
                  <a:lnTo>
                    <a:pt x="154" y="862"/>
                  </a:lnTo>
                  <a:close/>
                  <a:moveTo>
                    <a:pt x="98" y="582"/>
                  </a:moveTo>
                  <a:lnTo>
                    <a:pt x="96" y="582"/>
                  </a:lnTo>
                  <a:lnTo>
                    <a:pt x="98" y="582"/>
                  </a:lnTo>
                  <a:lnTo>
                    <a:pt x="96" y="582"/>
                  </a:lnTo>
                  <a:lnTo>
                    <a:pt x="98" y="582"/>
                  </a:lnTo>
                  <a:close/>
                  <a:moveTo>
                    <a:pt x="91" y="576"/>
                  </a:moveTo>
                  <a:lnTo>
                    <a:pt x="91" y="574"/>
                  </a:lnTo>
                  <a:lnTo>
                    <a:pt x="91" y="576"/>
                  </a:lnTo>
                  <a:close/>
                  <a:moveTo>
                    <a:pt x="150" y="795"/>
                  </a:moveTo>
                  <a:lnTo>
                    <a:pt x="148" y="795"/>
                  </a:lnTo>
                  <a:lnTo>
                    <a:pt x="150" y="795"/>
                  </a:lnTo>
                  <a:close/>
                  <a:moveTo>
                    <a:pt x="164" y="899"/>
                  </a:moveTo>
                  <a:lnTo>
                    <a:pt x="164" y="901"/>
                  </a:lnTo>
                  <a:lnTo>
                    <a:pt x="164" y="899"/>
                  </a:lnTo>
                  <a:close/>
                  <a:moveTo>
                    <a:pt x="106" y="720"/>
                  </a:moveTo>
                  <a:lnTo>
                    <a:pt x="106" y="722"/>
                  </a:lnTo>
                  <a:lnTo>
                    <a:pt x="106" y="720"/>
                  </a:lnTo>
                  <a:close/>
                  <a:moveTo>
                    <a:pt x="91" y="559"/>
                  </a:moveTo>
                  <a:lnTo>
                    <a:pt x="89" y="559"/>
                  </a:lnTo>
                  <a:lnTo>
                    <a:pt x="91" y="559"/>
                  </a:lnTo>
                  <a:close/>
                  <a:moveTo>
                    <a:pt x="16" y="471"/>
                  </a:moveTo>
                  <a:lnTo>
                    <a:pt x="16" y="473"/>
                  </a:lnTo>
                  <a:lnTo>
                    <a:pt x="16" y="471"/>
                  </a:lnTo>
                  <a:close/>
                  <a:moveTo>
                    <a:pt x="64" y="741"/>
                  </a:moveTo>
                  <a:lnTo>
                    <a:pt x="64" y="743"/>
                  </a:lnTo>
                  <a:lnTo>
                    <a:pt x="64" y="741"/>
                  </a:lnTo>
                  <a:lnTo>
                    <a:pt x="64" y="743"/>
                  </a:lnTo>
                  <a:lnTo>
                    <a:pt x="64" y="741"/>
                  </a:lnTo>
                  <a:close/>
                  <a:moveTo>
                    <a:pt x="14" y="517"/>
                  </a:moveTo>
                  <a:lnTo>
                    <a:pt x="14" y="519"/>
                  </a:lnTo>
                  <a:lnTo>
                    <a:pt x="14" y="517"/>
                  </a:lnTo>
                  <a:close/>
                  <a:moveTo>
                    <a:pt x="2" y="475"/>
                  </a:moveTo>
                  <a:lnTo>
                    <a:pt x="2" y="477"/>
                  </a:lnTo>
                  <a:lnTo>
                    <a:pt x="2" y="475"/>
                  </a:lnTo>
                  <a:close/>
                  <a:moveTo>
                    <a:pt x="102" y="601"/>
                  </a:moveTo>
                  <a:lnTo>
                    <a:pt x="104" y="601"/>
                  </a:lnTo>
                  <a:lnTo>
                    <a:pt x="102" y="601"/>
                  </a:lnTo>
                  <a:close/>
                  <a:moveTo>
                    <a:pt x="89" y="571"/>
                  </a:moveTo>
                  <a:lnTo>
                    <a:pt x="87" y="571"/>
                  </a:lnTo>
                  <a:lnTo>
                    <a:pt x="89" y="571"/>
                  </a:lnTo>
                  <a:lnTo>
                    <a:pt x="89" y="569"/>
                  </a:lnTo>
                  <a:lnTo>
                    <a:pt x="89" y="571"/>
                  </a:lnTo>
                  <a:close/>
                  <a:moveTo>
                    <a:pt x="93" y="484"/>
                  </a:moveTo>
                  <a:lnTo>
                    <a:pt x="91" y="484"/>
                  </a:lnTo>
                  <a:lnTo>
                    <a:pt x="93" y="484"/>
                  </a:lnTo>
                  <a:close/>
                  <a:moveTo>
                    <a:pt x="102" y="726"/>
                  </a:moveTo>
                  <a:lnTo>
                    <a:pt x="100" y="726"/>
                  </a:lnTo>
                  <a:lnTo>
                    <a:pt x="102" y="726"/>
                  </a:lnTo>
                  <a:lnTo>
                    <a:pt x="100" y="726"/>
                  </a:lnTo>
                  <a:lnTo>
                    <a:pt x="102" y="726"/>
                  </a:lnTo>
                  <a:lnTo>
                    <a:pt x="102" y="724"/>
                  </a:lnTo>
                  <a:lnTo>
                    <a:pt x="102" y="726"/>
                  </a:lnTo>
                  <a:close/>
                  <a:moveTo>
                    <a:pt x="162" y="876"/>
                  </a:moveTo>
                  <a:lnTo>
                    <a:pt x="162" y="878"/>
                  </a:lnTo>
                  <a:lnTo>
                    <a:pt x="162" y="876"/>
                  </a:lnTo>
                  <a:close/>
                  <a:moveTo>
                    <a:pt x="166" y="889"/>
                  </a:moveTo>
                  <a:lnTo>
                    <a:pt x="166" y="891"/>
                  </a:lnTo>
                  <a:lnTo>
                    <a:pt x="166" y="889"/>
                  </a:lnTo>
                  <a:lnTo>
                    <a:pt x="164" y="889"/>
                  </a:lnTo>
                  <a:lnTo>
                    <a:pt x="166" y="889"/>
                  </a:lnTo>
                  <a:close/>
                  <a:moveTo>
                    <a:pt x="106" y="720"/>
                  </a:moveTo>
                  <a:lnTo>
                    <a:pt x="106" y="718"/>
                  </a:lnTo>
                  <a:lnTo>
                    <a:pt x="106" y="720"/>
                  </a:lnTo>
                  <a:close/>
                  <a:moveTo>
                    <a:pt x="106" y="843"/>
                  </a:moveTo>
                  <a:lnTo>
                    <a:pt x="106" y="845"/>
                  </a:lnTo>
                  <a:lnTo>
                    <a:pt x="106" y="843"/>
                  </a:lnTo>
                  <a:close/>
                  <a:moveTo>
                    <a:pt x="95" y="638"/>
                  </a:moveTo>
                  <a:lnTo>
                    <a:pt x="93" y="638"/>
                  </a:lnTo>
                  <a:lnTo>
                    <a:pt x="95" y="638"/>
                  </a:lnTo>
                  <a:close/>
                  <a:moveTo>
                    <a:pt x="98" y="611"/>
                  </a:moveTo>
                  <a:lnTo>
                    <a:pt x="96" y="611"/>
                  </a:lnTo>
                  <a:lnTo>
                    <a:pt x="98" y="611"/>
                  </a:lnTo>
                  <a:close/>
                  <a:moveTo>
                    <a:pt x="20" y="519"/>
                  </a:moveTo>
                  <a:lnTo>
                    <a:pt x="20" y="517"/>
                  </a:lnTo>
                  <a:lnTo>
                    <a:pt x="20" y="519"/>
                  </a:lnTo>
                  <a:close/>
                  <a:moveTo>
                    <a:pt x="91" y="484"/>
                  </a:moveTo>
                  <a:lnTo>
                    <a:pt x="91" y="482"/>
                  </a:lnTo>
                  <a:lnTo>
                    <a:pt x="91" y="484"/>
                  </a:lnTo>
                  <a:close/>
                  <a:moveTo>
                    <a:pt x="110" y="730"/>
                  </a:moveTo>
                  <a:lnTo>
                    <a:pt x="110" y="732"/>
                  </a:lnTo>
                  <a:lnTo>
                    <a:pt x="110" y="730"/>
                  </a:lnTo>
                  <a:lnTo>
                    <a:pt x="110" y="732"/>
                  </a:lnTo>
                  <a:lnTo>
                    <a:pt x="110" y="730"/>
                  </a:lnTo>
                  <a:close/>
                  <a:moveTo>
                    <a:pt x="104" y="430"/>
                  </a:moveTo>
                  <a:lnTo>
                    <a:pt x="104" y="429"/>
                  </a:lnTo>
                  <a:lnTo>
                    <a:pt x="104" y="430"/>
                  </a:lnTo>
                  <a:close/>
                  <a:moveTo>
                    <a:pt x="148" y="834"/>
                  </a:moveTo>
                  <a:lnTo>
                    <a:pt x="150" y="834"/>
                  </a:lnTo>
                  <a:lnTo>
                    <a:pt x="148" y="834"/>
                  </a:lnTo>
                  <a:close/>
                  <a:moveTo>
                    <a:pt x="91" y="841"/>
                  </a:moveTo>
                  <a:lnTo>
                    <a:pt x="91" y="839"/>
                  </a:lnTo>
                  <a:lnTo>
                    <a:pt x="91" y="841"/>
                  </a:lnTo>
                  <a:close/>
                  <a:moveTo>
                    <a:pt x="106" y="469"/>
                  </a:moveTo>
                  <a:lnTo>
                    <a:pt x="106" y="467"/>
                  </a:lnTo>
                  <a:lnTo>
                    <a:pt x="106" y="469"/>
                  </a:lnTo>
                  <a:close/>
                  <a:moveTo>
                    <a:pt x="108" y="628"/>
                  </a:moveTo>
                  <a:lnTo>
                    <a:pt x="110" y="628"/>
                  </a:lnTo>
                  <a:lnTo>
                    <a:pt x="108" y="628"/>
                  </a:lnTo>
                  <a:lnTo>
                    <a:pt x="110" y="628"/>
                  </a:lnTo>
                  <a:lnTo>
                    <a:pt x="108" y="628"/>
                  </a:lnTo>
                  <a:close/>
                  <a:moveTo>
                    <a:pt x="98" y="722"/>
                  </a:moveTo>
                  <a:lnTo>
                    <a:pt x="98" y="724"/>
                  </a:lnTo>
                  <a:lnTo>
                    <a:pt x="98" y="722"/>
                  </a:lnTo>
                  <a:lnTo>
                    <a:pt x="98" y="724"/>
                  </a:lnTo>
                  <a:lnTo>
                    <a:pt x="98" y="722"/>
                  </a:lnTo>
                  <a:close/>
                  <a:moveTo>
                    <a:pt x="98" y="613"/>
                  </a:moveTo>
                  <a:lnTo>
                    <a:pt x="96" y="613"/>
                  </a:lnTo>
                  <a:lnTo>
                    <a:pt x="98" y="613"/>
                  </a:lnTo>
                  <a:close/>
                  <a:moveTo>
                    <a:pt x="100" y="605"/>
                  </a:moveTo>
                  <a:lnTo>
                    <a:pt x="98" y="605"/>
                  </a:lnTo>
                  <a:lnTo>
                    <a:pt x="100" y="605"/>
                  </a:lnTo>
                  <a:close/>
                  <a:moveTo>
                    <a:pt x="98" y="857"/>
                  </a:moveTo>
                  <a:lnTo>
                    <a:pt x="98" y="859"/>
                  </a:lnTo>
                  <a:lnTo>
                    <a:pt x="98" y="857"/>
                  </a:lnTo>
                  <a:close/>
                  <a:moveTo>
                    <a:pt x="100" y="603"/>
                  </a:moveTo>
                  <a:lnTo>
                    <a:pt x="100" y="605"/>
                  </a:lnTo>
                  <a:lnTo>
                    <a:pt x="100" y="603"/>
                  </a:lnTo>
                  <a:close/>
                  <a:moveTo>
                    <a:pt x="89" y="530"/>
                  </a:moveTo>
                  <a:lnTo>
                    <a:pt x="89" y="532"/>
                  </a:lnTo>
                  <a:lnTo>
                    <a:pt x="89" y="530"/>
                  </a:lnTo>
                  <a:close/>
                  <a:moveTo>
                    <a:pt x="108" y="849"/>
                  </a:moveTo>
                  <a:lnTo>
                    <a:pt x="108" y="851"/>
                  </a:lnTo>
                  <a:lnTo>
                    <a:pt x="108" y="849"/>
                  </a:lnTo>
                  <a:close/>
                  <a:moveTo>
                    <a:pt x="95" y="628"/>
                  </a:moveTo>
                  <a:lnTo>
                    <a:pt x="95" y="630"/>
                  </a:lnTo>
                  <a:lnTo>
                    <a:pt x="95" y="628"/>
                  </a:lnTo>
                  <a:close/>
                  <a:moveTo>
                    <a:pt x="98" y="613"/>
                  </a:moveTo>
                  <a:lnTo>
                    <a:pt x="96" y="613"/>
                  </a:lnTo>
                  <a:lnTo>
                    <a:pt x="98" y="613"/>
                  </a:lnTo>
                  <a:close/>
                  <a:moveTo>
                    <a:pt x="98" y="617"/>
                  </a:moveTo>
                  <a:lnTo>
                    <a:pt x="98" y="619"/>
                  </a:lnTo>
                  <a:lnTo>
                    <a:pt x="98" y="617"/>
                  </a:lnTo>
                  <a:lnTo>
                    <a:pt x="98" y="619"/>
                  </a:lnTo>
                  <a:lnTo>
                    <a:pt x="98" y="617"/>
                  </a:lnTo>
                  <a:close/>
                  <a:moveTo>
                    <a:pt x="89" y="569"/>
                  </a:moveTo>
                  <a:lnTo>
                    <a:pt x="89" y="567"/>
                  </a:lnTo>
                  <a:lnTo>
                    <a:pt x="89" y="569"/>
                  </a:lnTo>
                  <a:close/>
                  <a:moveTo>
                    <a:pt x="83" y="705"/>
                  </a:moveTo>
                  <a:lnTo>
                    <a:pt x="85" y="705"/>
                  </a:lnTo>
                  <a:lnTo>
                    <a:pt x="83" y="705"/>
                  </a:lnTo>
                  <a:close/>
                  <a:moveTo>
                    <a:pt x="108" y="715"/>
                  </a:moveTo>
                  <a:lnTo>
                    <a:pt x="106" y="715"/>
                  </a:lnTo>
                  <a:lnTo>
                    <a:pt x="108" y="715"/>
                  </a:lnTo>
                  <a:close/>
                  <a:moveTo>
                    <a:pt x="91" y="822"/>
                  </a:moveTo>
                  <a:lnTo>
                    <a:pt x="89" y="822"/>
                  </a:lnTo>
                  <a:lnTo>
                    <a:pt x="91" y="822"/>
                  </a:lnTo>
                  <a:close/>
                  <a:moveTo>
                    <a:pt x="108" y="726"/>
                  </a:moveTo>
                  <a:lnTo>
                    <a:pt x="108" y="724"/>
                  </a:lnTo>
                  <a:lnTo>
                    <a:pt x="108" y="726"/>
                  </a:lnTo>
                  <a:close/>
                  <a:moveTo>
                    <a:pt x="158" y="837"/>
                  </a:moveTo>
                  <a:lnTo>
                    <a:pt x="158" y="836"/>
                  </a:lnTo>
                  <a:lnTo>
                    <a:pt x="158" y="837"/>
                  </a:lnTo>
                  <a:close/>
                  <a:moveTo>
                    <a:pt x="106" y="720"/>
                  </a:moveTo>
                  <a:lnTo>
                    <a:pt x="106" y="718"/>
                  </a:lnTo>
                  <a:lnTo>
                    <a:pt x="108" y="718"/>
                  </a:lnTo>
                  <a:lnTo>
                    <a:pt x="108" y="720"/>
                  </a:lnTo>
                  <a:lnTo>
                    <a:pt x="106" y="720"/>
                  </a:lnTo>
                  <a:close/>
                  <a:moveTo>
                    <a:pt x="104" y="465"/>
                  </a:moveTo>
                  <a:lnTo>
                    <a:pt x="102" y="465"/>
                  </a:lnTo>
                  <a:lnTo>
                    <a:pt x="104" y="465"/>
                  </a:lnTo>
                  <a:close/>
                  <a:moveTo>
                    <a:pt x="112" y="720"/>
                  </a:moveTo>
                  <a:lnTo>
                    <a:pt x="110" y="720"/>
                  </a:lnTo>
                  <a:lnTo>
                    <a:pt x="112" y="720"/>
                  </a:lnTo>
                  <a:close/>
                  <a:moveTo>
                    <a:pt x="89" y="653"/>
                  </a:moveTo>
                  <a:lnTo>
                    <a:pt x="89" y="655"/>
                  </a:lnTo>
                  <a:lnTo>
                    <a:pt x="89" y="653"/>
                  </a:lnTo>
                  <a:close/>
                  <a:moveTo>
                    <a:pt x="85" y="695"/>
                  </a:moveTo>
                  <a:lnTo>
                    <a:pt x="85" y="693"/>
                  </a:lnTo>
                  <a:lnTo>
                    <a:pt x="85" y="695"/>
                  </a:lnTo>
                  <a:close/>
                  <a:moveTo>
                    <a:pt x="60" y="734"/>
                  </a:moveTo>
                  <a:lnTo>
                    <a:pt x="60" y="736"/>
                  </a:lnTo>
                  <a:lnTo>
                    <a:pt x="60" y="734"/>
                  </a:lnTo>
                  <a:close/>
                  <a:moveTo>
                    <a:pt x="64" y="743"/>
                  </a:moveTo>
                  <a:lnTo>
                    <a:pt x="62" y="743"/>
                  </a:lnTo>
                  <a:lnTo>
                    <a:pt x="64" y="743"/>
                  </a:lnTo>
                  <a:close/>
                  <a:moveTo>
                    <a:pt x="91" y="540"/>
                  </a:moveTo>
                  <a:lnTo>
                    <a:pt x="93" y="540"/>
                  </a:lnTo>
                  <a:lnTo>
                    <a:pt x="91" y="540"/>
                  </a:lnTo>
                  <a:close/>
                  <a:moveTo>
                    <a:pt x="175" y="830"/>
                  </a:moveTo>
                  <a:lnTo>
                    <a:pt x="173" y="830"/>
                  </a:lnTo>
                  <a:lnTo>
                    <a:pt x="175" y="830"/>
                  </a:lnTo>
                  <a:close/>
                  <a:moveTo>
                    <a:pt x="83" y="690"/>
                  </a:moveTo>
                  <a:lnTo>
                    <a:pt x="83" y="692"/>
                  </a:lnTo>
                  <a:lnTo>
                    <a:pt x="83" y="690"/>
                  </a:lnTo>
                  <a:close/>
                  <a:moveTo>
                    <a:pt x="93" y="697"/>
                  </a:moveTo>
                  <a:lnTo>
                    <a:pt x="95" y="697"/>
                  </a:lnTo>
                  <a:lnTo>
                    <a:pt x="93" y="697"/>
                  </a:lnTo>
                  <a:close/>
                  <a:moveTo>
                    <a:pt x="81" y="496"/>
                  </a:moveTo>
                  <a:lnTo>
                    <a:pt x="79" y="496"/>
                  </a:lnTo>
                  <a:lnTo>
                    <a:pt x="81" y="496"/>
                  </a:lnTo>
                  <a:close/>
                  <a:moveTo>
                    <a:pt x="93" y="843"/>
                  </a:moveTo>
                  <a:lnTo>
                    <a:pt x="91" y="843"/>
                  </a:lnTo>
                  <a:lnTo>
                    <a:pt x="93" y="843"/>
                  </a:lnTo>
                  <a:close/>
                  <a:moveTo>
                    <a:pt x="98" y="853"/>
                  </a:moveTo>
                  <a:lnTo>
                    <a:pt x="96" y="853"/>
                  </a:lnTo>
                  <a:lnTo>
                    <a:pt x="98" y="853"/>
                  </a:lnTo>
                  <a:close/>
                  <a:moveTo>
                    <a:pt x="96" y="661"/>
                  </a:moveTo>
                  <a:lnTo>
                    <a:pt x="96" y="663"/>
                  </a:lnTo>
                  <a:lnTo>
                    <a:pt x="96" y="661"/>
                  </a:lnTo>
                  <a:close/>
                  <a:moveTo>
                    <a:pt x="106" y="442"/>
                  </a:moveTo>
                  <a:lnTo>
                    <a:pt x="104" y="442"/>
                  </a:lnTo>
                  <a:lnTo>
                    <a:pt x="106" y="442"/>
                  </a:lnTo>
                  <a:close/>
                  <a:moveTo>
                    <a:pt x="39" y="419"/>
                  </a:moveTo>
                  <a:lnTo>
                    <a:pt x="39" y="421"/>
                  </a:lnTo>
                  <a:lnTo>
                    <a:pt x="39" y="419"/>
                  </a:lnTo>
                  <a:close/>
                  <a:moveTo>
                    <a:pt x="108" y="526"/>
                  </a:moveTo>
                  <a:lnTo>
                    <a:pt x="106" y="526"/>
                  </a:lnTo>
                  <a:lnTo>
                    <a:pt x="108" y="526"/>
                  </a:lnTo>
                  <a:close/>
                  <a:moveTo>
                    <a:pt x="95" y="686"/>
                  </a:moveTo>
                  <a:lnTo>
                    <a:pt x="95" y="688"/>
                  </a:lnTo>
                  <a:lnTo>
                    <a:pt x="95" y="686"/>
                  </a:lnTo>
                  <a:close/>
                  <a:moveTo>
                    <a:pt x="152" y="849"/>
                  </a:moveTo>
                  <a:lnTo>
                    <a:pt x="152" y="851"/>
                  </a:lnTo>
                  <a:lnTo>
                    <a:pt x="152" y="849"/>
                  </a:lnTo>
                  <a:close/>
                  <a:moveTo>
                    <a:pt x="87" y="540"/>
                  </a:moveTo>
                  <a:lnTo>
                    <a:pt x="87" y="542"/>
                  </a:lnTo>
                  <a:lnTo>
                    <a:pt x="87" y="540"/>
                  </a:lnTo>
                  <a:lnTo>
                    <a:pt x="87" y="542"/>
                  </a:lnTo>
                  <a:lnTo>
                    <a:pt x="87" y="540"/>
                  </a:lnTo>
                  <a:close/>
                  <a:moveTo>
                    <a:pt x="89" y="576"/>
                  </a:moveTo>
                  <a:lnTo>
                    <a:pt x="91" y="576"/>
                  </a:lnTo>
                  <a:lnTo>
                    <a:pt x="89" y="576"/>
                  </a:lnTo>
                  <a:close/>
                  <a:moveTo>
                    <a:pt x="108" y="655"/>
                  </a:moveTo>
                  <a:lnTo>
                    <a:pt x="108" y="653"/>
                  </a:lnTo>
                  <a:lnTo>
                    <a:pt x="108" y="655"/>
                  </a:lnTo>
                  <a:close/>
                  <a:moveTo>
                    <a:pt x="100" y="722"/>
                  </a:moveTo>
                  <a:lnTo>
                    <a:pt x="98" y="722"/>
                  </a:lnTo>
                  <a:lnTo>
                    <a:pt x="100" y="722"/>
                  </a:lnTo>
                  <a:close/>
                  <a:moveTo>
                    <a:pt x="68" y="763"/>
                  </a:moveTo>
                  <a:lnTo>
                    <a:pt x="68" y="761"/>
                  </a:lnTo>
                  <a:lnTo>
                    <a:pt x="68" y="763"/>
                  </a:lnTo>
                  <a:close/>
                  <a:moveTo>
                    <a:pt x="100" y="607"/>
                  </a:moveTo>
                  <a:lnTo>
                    <a:pt x="100" y="609"/>
                  </a:lnTo>
                  <a:lnTo>
                    <a:pt x="100" y="607"/>
                  </a:lnTo>
                  <a:close/>
                  <a:moveTo>
                    <a:pt x="95" y="505"/>
                  </a:moveTo>
                  <a:lnTo>
                    <a:pt x="96" y="505"/>
                  </a:lnTo>
                  <a:lnTo>
                    <a:pt x="95" y="505"/>
                  </a:lnTo>
                  <a:close/>
                  <a:moveTo>
                    <a:pt x="96" y="628"/>
                  </a:moveTo>
                  <a:lnTo>
                    <a:pt x="96" y="630"/>
                  </a:lnTo>
                  <a:lnTo>
                    <a:pt x="96" y="628"/>
                  </a:lnTo>
                  <a:close/>
                  <a:moveTo>
                    <a:pt x="83" y="507"/>
                  </a:moveTo>
                  <a:lnTo>
                    <a:pt x="85" y="507"/>
                  </a:lnTo>
                  <a:lnTo>
                    <a:pt x="83" y="507"/>
                  </a:lnTo>
                  <a:close/>
                  <a:moveTo>
                    <a:pt x="148" y="763"/>
                  </a:moveTo>
                  <a:lnTo>
                    <a:pt x="148" y="765"/>
                  </a:lnTo>
                  <a:lnTo>
                    <a:pt x="148" y="763"/>
                  </a:lnTo>
                  <a:close/>
                  <a:moveTo>
                    <a:pt x="108" y="430"/>
                  </a:moveTo>
                  <a:lnTo>
                    <a:pt x="110" y="430"/>
                  </a:lnTo>
                  <a:lnTo>
                    <a:pt x="108" y="430"/>
                  </a:lnTo>
                  <a:close/>
                  <a:moveTo>
                    <a:pt x="95" y="532"/>
                  </a:moveTo>
                  <a:lnTo>
                    <a:pt x="96" y="532"/>
                  </a:lnTo>
                  <a:lnTo>
                    <a:pt x="95" y="532"/>
                  </a:lnTo>
                  <a:close/>
                  <a:moveTo>
                    <a:pt x="79" y="816"/>
                  </a:moveTo>
                  <a:lnTo>
                    <a:pt x="79" y="814"/>
                  </a:lnTo>
                  <a:lnTo>
                    <a:pt x="79" y="816"/>
                  </a:lnTo>
                  <a:close/>
                  <a:moveTo>
                    <a:pt x="54" y="722"/>
                  </a:moveTo>
                  <a:lnTo>
                    <a:pt x="52" y="722"/>
                  </a:lnTo>
                  <a:lnTo>
                    <a:pt x="54" y="722"/>
                  </a:lnTo>
                  <a:close/>
                  <a:moveTo>
                    <a:pt x="152" y="847"/>
                  </a:moveTo>
                  <a:lnTo>
                    <a:pt x="152" y="849"/>
                  </a:lnTo>
                  <a:lnTo>
                    <a:pt x="152" y="847"/>
                  </a:lnTo>
                  <a:close/>
                  <a:moveTo>
                    <a:pt x="89" y="578"/>
                  </a:moveTo>
                  <a:lnTo>
                    <a:pt x="89" y="580"/>
                  </a:lnTo>
                  <a:lnTo>
                    <a:pt x="89" y="578"/>
                  </a:lnTo>
                  <a:close/>
                  <a:moveTo>
                    <a:pt x="114" y="611"/>
                  </a:moveTo>
                  <a:lnTo>
                    <a:pt x="112" y="611"/>
                  </a:lnTo>
                  <a:lnTo>
                    <a:pt x="114" y="611"/>
                  </a:lnTo>
                  <a:close/>
                  <a:moveTo>
                    <a:pt x="96" y="661"/>
                  </a:moveTo>
                  <a:lnTo>
                    <a:pt x="96" y="663"/>
                  </a:lnTo>
                  <a:lnTo>
                    <a:pt x="96" y="661"/>
                  </a:lnTo>
                  <a:close/>
                  <a:moveTo>
                    <a:pt x="70" y="740"/>
                  </a:moveTo>
                  <a:lnTo>
                    <a:pt x="70" y="741"/>
                  </a:lnTo>
                  <a:lnTo>
                    <a:pt x="70" y="740"/>
                  </a:lnTo>
                  <a:close/>
                  <a:moveTo>
                    <a:pt x="83" y="697"/>
                  </a:moveTo>
                  <a:lnTo>
                    <a:pt x="85" y="697"/>
                  </a:lnTo>
                  <a:lnTo>
                    <a:pt x="83" y="697"/>
                  </a:lnTo>
                  <a:lnTo>
                    <a:pt x="85" y="697"/>
                  </a:lnTo>
                  <a:lnTo>
                    <a:pt x="83" y="697"/>
                  </a:lnTo>
                  <a:close/>
                  <a:moveTo>
                    <a:pt x="83" y="496"/>
                  </a:moveTo>
                  <a:lnTo>
                    <a:pt x="81" y="496"/>
                  </a:lnTo>
                  <a:lnTo>
                    <a:pt x="83" y="496"/>
                  </a:lnTo>
                  <a:close/>
                  <a:moveTo>
                    <a:pt x="22" y="473"/>
                  </a:moveTo>
                  <a:lnTo>
                    <a:pt x="22" y="471"/>
                  </a:lnTo>
                  <a:lnTo>
                    <a:pt x="22" y="473"/>
                  </a:lnTo>
                  <a:close/>
                  <a:moveTo>
                    <a:pt x="116" y="720"/>
                  </a:moveTo>
                  <a:lnTo>
                    <a:pt x="118" y="720"/>
                  </a:lnTo>
                  <a:lnTo>
                    <a:pt x="116" y="720"/>
                  </a:lnTo>
                  <a:close/>
                  <a:moveTo>
                    <a:pt x="72" y="743"/>
                  </a:moveTo>
                  <a:lnTo>
                    <a:pt x="70" y="743"/>
                  </a:lnTo>
                  <a:lnTo>
                    <a:pt x="72" y="743"/>
                  </a:lnTo>
                  <a:close/>
                  <a:moveTo>
                    <a:pt x="154" y="849"/>
                  </a:moveTo>
                  <a:lnTo>
                    <a:pt x="154" y="851"/>
                  </a:lnTo>
                  <a:lnTo>
                    <a:pt x="154" y="849"/>
                  </a:lnTo>
                  <a:close/>
                  <a:moveTo>
                    <a:pt x="91" y="628"/>
                  </a:moveTo>
                  <a:lnTo>
                    <a:pt x="91" y="630"/>
                  </a:lnTo>
                  <a:lnTo>
                    <a:pt x="91" y="628"/>
                  </a:lnTo>
                  <a:close/>
                  <a:moveTo>
                    <a:pt x="96" y="624"/>
                  </a:moveTo>
                  <a:lnTo>
                    <a:pt x="96" y="622"/>
                  </a:lnTo>
                  <a:lnTo>
                    <a:pt x="96" y="624"/>
                  </a:lnTo>
                  <a:close/>
                  <a:moveTo>
                    <a:pt x="93" y="453"/>
                  </a:moveTo>
                  <a:lnTo>
                    <a:pt x="93" y="455"/>
                  </a:lnTo>
                  <a:lnTo>
                    <a:pt x="93" y="453"/>
                  </a:lnTo>
                  <a:lnTo>
                    <a:pt x="93" y="455"/>
                  </a:lnTo>
                  <a:lnTo>
                    <a:pt x="93" y="453"/>
                  </a:lnTo>
                  <a:close/>
                  <a:moveTo>
                    <a:pt x="116" y="563"/>
                  </a:moveTo>
                  <a:lnTo>
                    <a:pt x="114" y="563"/>
                  </a:lnTo>
                  <a:lnTo>
                    <a:pt x="116" y="563"/>
                  </a:lnTo>
                  <a:close/>
                  <a:moveTo>
                    <a:pt x="164" y="887"/>
                  </a:moveTo>
                  <a:lnTo>
                    <a:pt x="162" y="887"/>
                  </a:lnTo>
                  <a:lnTo>
                    <a:pt x="164" y="887"/>
                  </a:lnTo>
                  <a:lnTo>
                    <a:pt x="162" y="887"/>
                  </a:lnTo>
                  <a:lnTo>
                    <a:pt x="164" y="887"/>
                  </a:lnTo>
                  <a:close/>
                  <a:moveTo>
                    <a:pt x="4" y="461"/>
                  </a:moveTo>
                  <a:lnTo>
                    <a:pt x="4" y="463"/>
                  </a:lnTo>
                  <a:lnTo>
                    <a:pt x="4" y="461"/>
                  </a:lnTo>
                  <a:close/>
                  <a:moveTo>
                    <a:pt x="169" y="411"/>
                  </a:moveTo>
                  <a:lnTo>
                    <a:pt x="169" y="409"/>
                  </a:lnTo>
                  <a:lnTo>
                    <a:pt x="169" y="411"/>
                  </a:lnTo>
                  <a:close/>
                  <a:moveTo>
                    <a:pt x="81" y="565"/>
                  </a:moveTo>
                  <a:lnTo>
                    <a:pt x="79" y="565"/>
                  </a:lnTo>
                  <a:lnTo>
                    <a:pt x="81" y="565"/>
                  </a:lnTo>
                  <a:close/>
                  <a:moveTo>
                    <a:pt x="14" y="536"/>
                  </a:moveTo>
                  <a:lnTo>
                    <a:pt x="12" y="536"/>
                  </a:lnTo>
                  <a:lnTo>
                    <a:pt x="14" y="536"/>
                  </a:lnTo>
                  <a:close/>
                  <a:moveTo>
                    <a:pt x="10" y="551"/>
                  </a:moveTo>
                  <a:lnTo>
                    <a:pt x="8" y="551"/>
                  </a:lnTo>
                  <a:lnTo>
                    <a:pt x="10" y="551"/>
                  </a:lnTo>
                  <a:close/>
                  <a:moveTo>
                    <a:pt x="96" y="607"/>
                  </a:moveTo>
                  <a:lnTo>
                    <a:pt x="96" y="609"/>
                  </a:lnTo>
                  <a:lnTo>
                    <a:pt x="96" y="607"/>
                  </a:lnTo>
                  <a:close/>
                  <a:moveTo>
                    <a:pt x="16" y="473"/>
                  </a:moveTo>
                  <a:lnTo>
                    <a:pt x="16" y="471"/>
                  </a:lnTo>
                  <a:lnTo>
                    <a:pt x="16" y="473"/>
                  </a:lnTo>
                  <a:close/>
                  <a:moveTo>
                    <a:pt x="98" y="615"/>
                  </a:moveTo>
                  <a:lnTo>
                    <a:pt x="96" y="615"/>
                  </a:lnTo>
                  <a:lnTo>
                    <a:pt x="98" y="615"/>
                  </a:lnTo>
                  <a:close/>
                  <a:moveTo>
                    <a:pt x="98" y="621"/>
                  </a:moveTo>
                  <a:lnTo>
                    <a:pt x="98" y="619"/>
                  </a:lnTo>
                  <a:lnTo>
                    <a:pt x="98" y="621"/>
                  </a:lnTo>
                  <a:close/>
                  <a:moveTo>
                    <a:pt x="110" y="720"/>
                  </a:moveTo>
                  <a:lnTo>
                    <a:pt x="112" y="720"/>
                  </a:lnTo>
                  <a:lnTo>
                    <a:pt x="110" y="720"/>
                  </a:lnTo>
                  <a:close/>
                  <a:moveTo>
                    <a:pt x="102" y="525"/>
                  </a:moveTo>
                  <a:lnTo>
                    <a:pt x="102" y="523"/>
                  </a:lnTo>
                  <a:lnTo>
                    <a:pt x="102" y="525"/>
                  </a:lnTo>
                  <a:close/>
                  <a:moveTo>
                    <a:pt x="100" y="503"/>
                  </a:moveTo>
                  <a:lnTo>
                    <a:pt x="100" y="501"/>
                  </a:lnTo>
                  <a:lnTo>
                    <a:pt x="100" y="503"/>
                  </a:lnTo>
                  <a:close/>
                  <a:moveTo>
                    <a:pt x="154" y="872"/>
                  </a:moveTo>
                  <a:lnTo>
                    <a:pt x="156" y="872"/>
                  </a:lnTo>
                  <a:lnTo>
                    <a:pt x="154" y="872"/>
                  </a:lnTo>
                  <a:close/>
                  <a:moveTo>
                    <a:pt x="158" y="722"/>
                  </a:moveTo>
                  <a:lnTo>
                    <a:pt x="156" y="722"/>
                  </a:lnTo>
                  <a:lnTo>
                    <a:pt x="158" y="722"/>
                  </a:lnTo>
                  <a:close/>
                  <a:moveTo>
                    <a:pt x="120" y="429"/>
                  </a:moveTo>
                  <a:lnTo>
                    <a:pt x="120" y="430"/>
                  </a:lnTo>
                  <a:lnTo>
                    <a:pt x="120" y="429"/>
                  </a:lnTo>
                  <a:close/>
                  <a:moveTo>
                    <a:pt x="125" y="427"/>
                  </a:moveTo>
                  <a:lnTo>
                    <a:pt x="125" y="429"/>
                  </a:lnTo>
                  <a:lnTo>
                    <a:pt x="125" y="427"/>
                  </a:lnTo>
                  <a:close/>
                </a:path>
              </a:pathLst>
            </a:custGeom>
            <a:solidFill>
              <a:srgbClr val="816767"/>
            </a:solidFill>
            <a:ln w="3175">
              <a:solidFill>
                <a:sysClr val="window" lastClr="FFFF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black"/>
                </a:solidFill>
                <a:effectLst/>
                <a:uLnTx/>
                <a:uFillTx/>
                <a:ea typeface="宋体" panose="02010600030101010101" pitchFamily="2" charset="-122"/>
              </a:endParaRPr>
            </a:p>
          </p:txBody>
        </p:sp>
        <p:sp>
          <p:nvSpPr>
            <p:cNvPr id="63" name="Freeform 2799">
              <a:extLst>
                <a:ext uri="{FF2B5EF4-FFF2-40B4-BE49-F238E27FC236}">
                  <a16:creationId xmlns:a16="http://schemas.microsoft.com/office/drawing/2014/main" id="{D7764841-0414-6E47-E864-96261FF7458A}"/>
                </a:ext>
              </a:extLst>
            </p:cNvPr>
            <p:cNvSpPr>
              <a:spLocks/>
            </p:cNvSpPr>
            <p:nvPr/>
          </p:nvSpPr>
          <p:spPr bwMode="auto">
            <a:xfrm>
              <a:off x="2846388" y="2757488"/>
              <a:ext cx="722313" cy="1212850"/>
            </a:xfrm>
            <a:custGeom>
              <a:avLst/>
              <a:gdLst>
                <a:gd name="T0" fmla="*/ 438 w 455"/>
                <a:gd name="T1" fmla="*/ 171 h 764"/>
                <a:gd name="T2" fmla="*/ 426 w 455"/>
                <a:gd name="T3" fmla="*/ 209 h 764"/>
                <a:gd name="T4" fmla="*/ 405 w 455"/>
                <a:gd name="T5" fmla="*/ 278 h 764"/>
                <a:gd name="T6" fmla="*/ 390 w 455"/>
                <a:gd name="T7" fmla="*/ 330 h 764"/>
                <a:gd name="T8" fmla="*/ 376 w 455"/>
                <a:gd name="T9" fmla="*/ 376 h 764"/>
                <a:gd name="T10" fmla="*/ 363 w 455"/>
                <a:gd name="T11" fmla="*/ 424 h 764"/>
                <a:gd name="T12" fmla="*/ 353 w 455"/>
                <a:gd name="T13" fmla="*/ 461 h 764"/>
                <a:gd name="T14" fmla="*/ 344 w 455"/>
                <a:gd name="T15" fmla="*/ 491 h 764"/>
                <a:gd name="T16" fmla="*/ 336 w 455"/>
                <a:gd name="T17" fmla="*/ 516 h 764"/>
                <a:gd name="T18" fmla="*/ 328 w 455"/>
                <a:gd name="T19" fmla="*/ 543 h 764"/>
                <a:gd name="T20" fmla="*/ 319 w 455"/>
                <a:gd name="T21" fmla="*/ 574 h 764"/>
                <a:gd name="T22" fmla="*/ 309 w 455"/>
                <a:gd name="T23" fmla="*/ 606 h 764"/>
                <a:gd name="T24" fmla="*/ 300 w 455"/>
                <a:gd name="T25" fmla="*/ 637 h 764"/>
                <a:gd name="T26" fmla="*/ 292 w 455"/>
                <a:gd name="T27" fmla="*/ 668 h 764"/>
                <a:gd name="T28" fmla="*/ 284 w 455"/>
                <a:gd name="T29" fmla="*/ 697 h 764"/>
                <a:gd name="T30" fmla="*/ 275 w 455"/>
                <a:gd name="T31" fmla="*/ 729 h 764"/>
                <a:gd name="T32" fmla="*/ 255 w 455"/>
                <a:gd name="T33" fmla="*/ 762 h 764"/>
                <a:gd name="T34" fmla="*/ 204 w 455"/>
                <a:gd name="T35" fmla="*/ 745 h 764"/>
                <a:gd name="T36" fmla="*/ 175 w 455"/>
                <a:gd name="T37" fmla="*/ 735 h 764"/>
                <a:gd name="T38" fmla="*/ 131 w 455"/>
                <a:gd name="T39" fmla="*/ 722 h 764"/>
                <a:gd name="T40" fmla="*/ 102 w 455"/>
                <a:gd name="T41" fmla="*/ 706 h 764"/>
                <a:gd name="T42" fmla="*/ 96 w 455"/>
                <a:gd name="T43" fmla="*/ 691 h 764"/>
                <a:gd name="T44" fmla="*/ 94 w 455"/>
                <a:gd name="T45" fmla="*/ 672 h 764"/>
                <a:gd name="T46" fmla="*/ 100 w 455"/>
                <a:gd name="T47" fmla="*/ 654 h 764"/>
                <a:gd name="T48" fmla="*/ 104 w 455"/>
                <a:gd name="T49" fmla="*/ 635 h 764"/>
                <a:gd name="T50" fmla="*/ 104 w 455"/>
                <a:gd name="T51" fmla="*/ 618 h 764"/>
                <a:gd name="T52" fmla="*/ 92 w 455"/>
                <a:gd name="T53" fmla="*/ 603 h 764"/>
                <a:gd name="T54" fmla="*/ 88 w 455"/>
                <a:gd name="T55" fmla="*/ 585 h 764"/>
                <a:gd name="T56" fmla="*/ 85 w 455"/>
                <a:gd name="T57" fmla="*/ 564 h 764"/>
                <a:gd name="T58" fmla="*/ 79 w 455"/>
                <a:gd name="T59" fmla="*/ 553 h 764"/>
                <a:gd name="T60" fmla="*/ 75 w 455"/>
                <a:gd name="T61" fmla="*/ 534 h 764"/>
                <a:gd name="T62" fmla="*/ 69 w 455"/>
                <a:gd name="T63" fmla="*/ 510 h 764"/>
                <a:gd name="T64" fmla="*/ 58 w 455"/>
                <a:gd name="T65" fmla="*/ 505 h 764"/>
                <a:gd name="T66" fmla="*/ 54 w 455"/>
                <a:gd name="T67" fmla="*/ 486 h 764"/>
                <a:gd name="T68" fmla="*/ 42 w 455"/>
                <a:gd name="T69" fmla="*/ 462 h 764"/>
                <a:gd name="T70" fmla="*/ 31 w 455"/>
                <a:gd name="T71" fmla="*/ 455 h 764"/>
                <a:gd name="T72" fmla="*/ 33 w 455"/>
                <a:gd name="T73" fmla="*/ 426 h 764"/>
                <a:gd name="T74" fmla="*/ 27 w 455"/>
                <a:gd name="T75" fmla="*/ 405 h 764"/>
                <a:gd name="T76" fmla="*/ 21 w 455"/>
                <a:gd name="T77" fmla="*/ 397 h 764"/>
                <a:gd name="T78" fmla="*/ 8 w 455"/>
                <a:gd name="T79" fmla="*/ 376 h 764"/>
                <a:gd name="T80" fmla="*/ 4 w 455"/>
                <a:gd name="T81" fmla="*/ 361 h 764"/>
                <a:gd name="T82" fmla="*/ 6 w 455"/>
                <a:gd name="T83" fmla="*/ 349 h 764"/>
                <a:gd name="T84" fmla="*/ 33 w 455"/>
                <a:gd name="T85" fmla="*/ 288 h 764"/>
                <a:gd name="T86" fmla="*/ 48 w 455"/>
                <a:gd name="T87" fmla="*/ 253 h 764"/>
                <a:gd name="T88" fmla="*/ 60 w 455"/>
                <a:gd name="T89" fmla="*/ 228 h 764"/>
                <a:gd name="T90" fmla="*/ 75 w 455"/>
                <a:gd name="T91" fmla="*/ 196 h 764"/>
                <a:gd name="T92" fmla="*/ 106 w 455"/>
                <a:gd name="T93" fmla="*/ 132 h 764"/>
                <a:gd name="T94" fmla="*/ 133 w 455"/>
                <a:gd name="T95" fmla="*/ 75 h 764"/>
                <a:gd name="T96" fmla="*/ 177 w 455"/>
                <a:gd name="T97" fmla="*/ 2 h 764"/>
                <a:gd name="T98" fmla="*/ 198 w 455"/>
                <a:gd name="T99" fmla="*/ 13 h 764"/>
                <a:gd name="T100" fmla="*/ 223 w 455"/>
                <a:gd name="T101" fmla="*/ 23 h 764"/>
                <a:gd name="T102" fmla="*/ 246 w 455"/>
                <a:gd name="T103" fmla="*/ 34 h 764"/>
                <a:gd name="T104" fmla="*/ 271 w 455"/>
                <a:gd name="T105" fmla="*/ 44 h 764"/>
                <a:gd name="T106" fmla="*/ 294 w 455"/>
                <a:gd name="T107" fmla="*/ 54 h 764"/>
                <a:gd name="T108" fmla="*/ 319 w 455"/>
                <a:gd name="T109" fmla="*/ 63 h 764"/>
                <a:gd name="T110" fmla="*/ 344 w 455"/>
                <a:gd name="T111" fmla="*/ 71 h 764"/>
                <a:gd name="T112" fmla="*/ 369 w 455"/>
                <a:gd name="T113" fmla="*/ 80 h 764"/>
                <a:gd name="T114" fmla="*/ 394 w 455"/>
                <a:gd name="T115" fmla="*/ 88 h 764"/>
                <a:gd name="T116" fmla="*/ 417 w 455"/>
                <a:gd name="T117" fmla="*/ 98 h 764"/>
                <a:gd name="T118" fmla="*/ 444 w 455"/>
                <a:gd name="T119" fmla="*/ 105 h 7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55" h="764">
                  <a:moveTo>
                    <a:pt x="455" y="111"/>
                  </a:moveTo>
                  <a:lnTo>
                    <a:pt x="453" y="115"/>
                  </a:lnTo>
                  <a:lnTo>
                    <a:pt x="453" y="119"/>
                  </a:lnTo>
                  <a:lnTo>
                    <a:pt x="451" y="123"/>
                  </a:lnTo>
                  <a:lnTo>
                    <a:pt x="451" y="125"/>
                  </a:lnTo>
                  <a:lnTo>
                    <a:pt x="451" y="126"/>
                  </a:lnTo>
                  <a:lnTo>
                    <a:pt x="449" y="132"/>
                  </a:lnTo>
                  <a:lnTo>
                    <a:pt x="448" y="136"/>
                  </a:lnTo>
                  <a:lnTo>
                    <a:pt x="448" y="138"/>
                  </a:lnTo>
                  <a:lnTo>
                    <a:pt x="448" y="140"/>
                  </a:lnTo>
                  <a:lnTo>
                    <a:pt x="446" y="144"/>
                  </a:lnTo>
                  <a:lnTo>
                    <a:pt x="446" y="146"/>
                  </a:lnTo>
                  <a:lnTo>
                    <a:pt x="444" y="150"/>
                  </a:lnTo>
                  <a:lnTo>
                    <a:pt x="444" y="153"/>
                  </a:lnTo>
                  <a:lnTo>
                    <a:pt x="438" y="167"/>
                  </a:lnTo>
                  <a:lnTo>
                    <a:pt x="438" y="169"/>
                  </a:lnTo>
                  <a:lnTo>
                    <a:pt x="438" y="171"/>
                  </a:lnTo>
                  <a:lnTo>
                    <a:pt x="438" y="173"/>
                  </a:lnTo>
                  <a:lnTo>
                    <a:pt x="436" y="173"/>
                  </a:lnTo>
                  <a:lnTo>
                    <a:pt x="436" y="174"/>
                  </a:lnTo>
                  <a:lnTo>
                    <a:pt x="436" y="176"/>
                  </a:lnTo>
                  <a:lnTo>
                    <a:pt x="434" y="180"/>
                  </a:lnTo>
                  <a:lnTo>
                    <a:pt x="434" y="182"/>
                  </a:lnTo>
                  <a:lnTo>
                    <a:pt x="434" y="184"/>
                  </a:lnTo>
                  <a:lnTo>
                    <a:pt x="434" y="186"/>
                  </a:lnTo>
                  <a:lnTo>
                    <a:pt x="432" y="186"/>
                  </a:lnTo>
                  <a:lnTo>
                    <a:pt x="432" y="190"/>
                  </a:lnTo>
                  <a:lnTo>
                    <a:pt x="430" y="196"/>
                  </a:lnTo>
                  <a:lnTo>
                    <a:pt x="430" y="198"/>
                  </a:lnTo>
                  <a:lnTo>
                    <a:pt x="428" y="199"/>
                  </a:lnTo>
                  <a:lnTo>
                    <a:pt x="428" y="201"/>
                  </a:lnTo>
                  <a:lnTo>
                    <a:pt x="428" y="203"/>
                  </a:lnTo>
                  <a:lnTo>
                    <a:pt x="428" y="205"/>
                  </a:lnTo>
                  <a:lnTo>
                    <a:pt x="426" y="209"/>
                  </a:lnTo>
                  <a:lnTo>
                    <a:pt x="426" y="211"/>
                  </a:lnTo>
                  <a:lnTo>
                    <a:pt x="424" y="213"/>
                  </a:lnTo>
                  <a:lnTo>
                    <a:pt x="424" y="215"/>
                  </a:lnTo>
                  <a:lnTo>
                    <a:pt x="424" y="219"/>
                  </a:lnTo>
                  <a:lnTo>
                    <a:pt x="423" y="221"/>
                  </a:lnTo>
                  <a:lnTo>
                    <a:pt x="423" y="224"/>
                  </a:lnTo>
                  <a:lnTo>
                    <a:pt x="421" y="226"/>
                  </a:lnTo>
                  <a:lnTo>
                    <a:pt x="421" y="230"/>
                  </a:lnTo>
                  <a:lnTo>
                    <a:pt x="417" y="242"/>
                  </a:lnTo>
                  <a:lnTo>
                    <a:pt x="413" y="253"/>
                  </a:lnTo>
                  <a:lnTo>
                    <a:pt x="413" y="255"/>
                  </a:lnTo>
                  <a:lnTo>
                    <a:pt x="411" y="259"/>
                  </a:lnTo>
                  <a:lnTo>
                    <a:pt x="411" y="263"/>
                  </a:lnTo>
                  <a:lnTo>
                    <a:pt x="411" y="265"/>
                  </a:lnTo>
                  <a:lnTo>
                    <a:pt x="409" y="269"/>
                  </a:lnTo>
                  <a:lnTo>
                    <a:pt x="409" y="270"/>
                  </a:lnTo>
                  <a:lnTo>
                    <a:pt x="405" y="278"/>
                  </a:lnTo>
                  <a:lnTo>
                    <a:pt x="405" y="284"/>
                  </a:lnTo>
                  <a:lnTo>
                    <a:pt x="403" y="286"/>
                  </a:lnTo>
                  <a:lnTo>
                    <a:pt x="403" y="288"/>
                  </a:lnTo>
                  <a:lnTo>
                    <a:pt x="403" y="290"/>
                  </a:lnTo>
                  <a:lnTo>
                    <a:pt x="401" y="295"/>
                  </a:lnTo>
                  <a:lnTo>
                    <a:pt x="400" y="301"/>
                  </a:lnTo>
                  <a:lnTo>
                    <a:pt x="400" y="303"/>
                  </a:lnTo>
                  <a:lnTo>
                    <a:pt x="398" y="305"/>
                  </a:lnTo>
                  <a:lnTo>
                    <a:pt x="398" y="311"/>
                  </a:lnTo>
                  <a:lnTo>
                    <a:pt x="396" y="311"/>
                  </a:lnTo>
                  <a:lnTo>
                    <a:pt x="396" y="315"/>
                  </a:lnTo>
                  <a:lnTo>
                    <a:pt x="394" y="318"/>
                  </a:lnTo>
                  <a:lnTo>
                    <a:pt x="394" y="320"/>
                  </a:lnTo>
                  <a:lnTo>
                    <a:pt x="394" y="324"/>
                  </a:lnTo>
                  <a:lnTo>
                    <a:pt x="392" y="328"/>
                  </a:lnTo>
                  <a:lnTo>
                    <a:pt x="392" y="330"/>
                  </a:lnTo>
                  <a:lnTo>
                    <a:pt x="390" y="330"/>
                  </a:lnTo>
                  <a:lnTo>
                    <a:pt x="390" y="332"/>
                  </a:lnTo>
                  <a:lnTo>
                    <a:pt x="388" y="340"/>
                  </a:lnTo>
                  <a:lnTo>
                    <a:pt x="388" y="342"/>
                  </a:lnTo>
                  <a:lnTo>
                    <a:pt x="386" y="343"/>
                  </a:lnTo>
                  <a:lnTo>
                    <a:pt x="386" y="345"/>
                  </a:lnTo>
                  <a:lnTo>
                    <a:pt x="384" y="351"/>
                  </a:lnTo>
                  <a:lnTo>
                    <a:pt x="384" y="353"/>
                  </a:lnTo>
                  <a:lnTo>
                    <a:pt x="384" y="355"/>
                  </a:lnTo>
                  <a:lnTo>
                    <a:pt x="382" y="359"/>
                  </a:lnTo>
                  <a:lnTo>
                    <a:pt x="382" y="361"/>
                  </a:lnTo>
                  <a:lnTo>
                    <a:pt x="382" y="363"/>
                  </a:lnTo>
                  <a:lnTo>
                    <a:pt x="380" y="365"/>
                  </a:lnTo>
                  <a:lnTo>
                    <a:pt x="380" y="366"/>
                  </a:lnTo>
                  <a:lnTo>
                    <a:pt x="378" y="370"/>
                  </a:lnTo>
                  <a:lnTo>
                    <a:pt x="378" y="372"/>
                  </a:lnTo>
                  <a:lnTo>
                    <a:pt x="378" y="374"/>
                  </a:lnTo>
                  <a:lnTo>
                    <a:pt x="376" y="376"/>
                  </a:lnTo>
                  <a:lnTo>
                    <a:pt x="376" y="378"/>
                  </a:lnTo>
                  <a:lnTo>
                    <a:pt x="375" y="384"/>
                  </a:lnTo>
                  <a:lnTo>
                    <a:pt x="375" y="388"/>
                  </a:lnTo>
                  <a:lnTo>
                    <a:pt x="373" y="390"/>
                  </a:lnTo>
                  <a:lnTo>
                    <a:pt x="373" y="391"/>
                  </a:lnTo>
                  <a:lnTo>
                    <a:pt x="373" y="393"/>
                  </a:lnTo>
                  <a:lnTo>
                    <a:pt x="371" y="395"/>
                  </a:lnTo>
                  <a:lnTo>
                    <a:pt x="371" y="399"/>
                  </a:lnTo>
                  <a:lnTo>
                    <a:pt x="371" y="401"/>
                  </a:lnTo>
                  <a:lnTo>
                    <a:pt x="369" y="401"/>
                  </a:lnTo>
                  <a:lnTo>
                    <a:pt x="369" y="405"/>
                  </a:lnTo>
                  <a:lnTo>
                    <a:pt x="369" y="407"/>
                  </a:lnTo>
                  <a:lnTo>
                    <a:pt x="367" y="413"/>
                  </a:lnTo>
                  <a:lnTo>
                    <a:pt x="367" y="414"/>
                  </a:lnTo>
                  <a:lnTo>
                    <a:pt x="365" y="418"/>
                  </a:lnTo>
                  <a:lnTo>
                    <a:pt x="363" y="422"/>
                  </a:lnTo>
                  <a:lnTo>
                    <a:pt x="363" y="424"/>
                  </a:lnTo>
                  <a:lnTo>
                    <a:pt x="363" y="426"/>
                  </a:lnTo>
                  <a:lnTo>
                    <a:pt x="361" y="434"/>
                  </a:lnTo>
                  <a:lnTo>
                    <a:pt x="359" y="434"/>
                  </a:lnTo>
                  <a:lnTo>
                    <a:pt x="359" y="436"/>
                  </a:lnTo>
                  <a:lnTo>
                    <a:pt x="359" y="438"/>
                  </a:lnTo>
                  <a:lnTo>
                    <a:pt x="359" y="439"/>
                  </a:lnTo>
                  <a:lnTo>
                    <a:pt x="357" y="441"/>
                  </a:lnTo>
                  <a:lnTo>
                    <a:pt x="357" y="443"/>
                  </a:lnTo>
                  <a:lnTo>
                    <a:pt x="357" y="445"/>
                  </a:lnTo>
                  <a:lnTo>
                    <a:pt x="357" y="447"/>
                  </a:lnTo>
                  <a:lnTo>
                    <a:pt x="355" y="447"/>
                  </a:lnTo>
                  <a:lnTo>
                    <a:pt x="355" y="449"/>
                  </a:lnTo>
                  <a:lnTo>
                    <a:pt x="355" y="453"/>
                  </a:lnTo>
                  <a:lnTo>
                    <a:pt x="353" y="455"/>
                  </a:lnTo>
                  <a:lnTo>
                    <a:pt x="353" y="457"/>
                  </a:lnTo>
                  <a:lnTo>
                    <a:pt x="353" y="459"/>
                  </a:lnTo>
                  <a:lnTo>
                    <a:pt x="353" y="461"/>
                  </a:lnTo>
                  <a:lnTo>
                    <a:pt x="351" y="464"/>
                  </a:lnTo>
                  <a:lnTo>
                    <a:pt x="350" y="466"/>
                  </a:lnTo>
                  <a:lnTo>
                    <a:pt x="350" y="468"/>
                  </a:lnTo>
                  <a:lnTo>
                    <a:pt x="350" y="470"/>
                  </a:lnTo>
                  <a:lnTo>
                    <a:pt x="350" y="472"/>
                  </a:lnTo>
                  <a:lnTo>
                    <a:pt x="350" y="474"/>
                  </a:lnTo>
                  <a:lnTo>
                    <a:pt x="348" y="474"/>
                  </a:lnTo>
                  <a:lnTo>
                    <a:pt x="348" y="476"/>
                  </a:lnTo>
                  <a:lnTo>
                    <a:pt x="348" y="478"/>
                  </a:lnTo>
                  <a:lnTo>
                    <a:pt x="348" y="480"/>
                  </a:lnTo>
                  <a:lnTo>
                    <a:pt x="346" y="480"/>
                  </a:lnTo>
                  <a:lnTo>
                    <a:pt x="346" y="482"/>
                  </a:lnTo>
                  <a:lnTo>
                    <a:pt x="346" y="484"/>
                  </a:lnTo>
                  <a:lnTo>
                    <a:pt x="346" y="486"/>
                  </a:lnTo>
                  <a:lnTo>
                    <a:pt x="344" y="487"/>
                  </a:lnTo>
                  <a:lnTo>
                    <a:pt x="344" y="489"/>
                  </a:lnTo>
                  <a:lnTo>
                    <a:pt x="344" y="491"/>
                  </a:lnTo>
                  <a:lnTo>
                    <a:pt x="344" y="493"/>
                  </a:lnTo>
                  <a:lnTo>
                    <a:pt x="342" y="493"/>
                  </a:lnTo>
                  <a:lnTo>
                    <a:pt x="342" y="495"/>
                  </a:lnTo>
                  <a:lnTo>
                    <a:pt x="342" y="497"/>
                  </a:lnTo>
                  <a:lnTo>
                    <a:pt x="342" y="499"/>
                  </a:lnTo>
                  <a:lnTo>
                    <a:pt x="340" y="499"/>
                  </a:lnTo>
                  <a:lnTo>
                    <a:pt x="340" y="501"/>
                  </a:lnTo>
                  <a:lnTo>
                    <a:pt x="340" y="503"/>
                  </a:lnTo>
                  <a:lnTo>
                    <a:pt x="340" y="505"/>
                  </a:lnTo>
                  <a:lnTo>
                    <a:pt x="340" y="507"/>
                  </a:lnTo>
                  <a:lnTo>
                    <a:pt x="338" y="507"/>
                  </a:lnTo>
                  <a:lnTo>
                    <a:pt x="338" y="509"/>
                  </a:lnTo>
                  <a:lnTo>
                    <a:pt x="338" y="510"/>
                  </a:lnTo>
                  <a:lnTo>
                    <a:pt x="338" y="512"/>
                  </a:lnTo>
                  <a:lnTo>
                    <a:pt x="336" y="512"/>
                  </a:lnTo>
                  <a:lnTo>
                    <a:pt x="336" y="514"/>
                  </a:lnTo>
                  <a:lnTo>
                    <a:pt x="336" y="516"/>
                  </a:lnTo>
                  <a:lnTo>
                    <a:pt x="336" y="518"/>
                  </a:lnTo>
                  <a:lnTo>
                    <a:pt x="336" y="520"/>
                  </a:lnTo>
                  <a:lnTo>
                    <a:pt x="334" y="520"/>
                  </a:lnTo>
                  <a:lnTo>
                    <a:pt x="334" y="522"/>
                  </a:lnTo>
                  <a:lnTo>
                    <a:pt x="334" y="524"/>
                  </a:lnTo>
                  <a:lnTo>
                    <a:pt x="334" y="526"/>
                  </a:lnTo>
                  <a:lnTo>
                    <a:pt x="332" y="528"/>
                  </a:lnTo>
                  <a:lnTo>
                    <a:pt x="332" y="530"/>
                  </a:lnTo>
                  <a:lnTo>
                    <a:pt x="332" y="532"/>
                  </a:lnTo>
                  <a:lnTo>
                    <a:pt x="330" y="532"/>
                  </a:lnTo>
                  <a:lnTo>
                    <a:pt x="330" y="534"/>
                  </a:lnTo>
                  <a:lnTo>
                    <a:pt x="330" y="535"/>
                  </a:lnTo>
                  <a:lnTo>
                    <a:pt x="330" y="537"/>
                  </a:lnTo>
                  <a:lnTo>
                    <a:pt x="330" y="539"/>
                  </a:lnTo>
                  <a:lnTo>
                    <a:pt x="328" y="539"/>
                  </a:lnTo>
                  <a:lnTo>
                    <a:pt x="328" y="541"/>
                  </a:lnTo>
                  <a:lnTo>
                    <a:pt x="328" y="543"/>
                  </a:lnTo>
                  <a:lnTo>
                    <a:pt x="327" y="547"/>
                  </a:lnTo>
                  <a:lnTo>
                    <a:pt x="327" y="549"/>
                  </a:lnTo>
                  <a:lnTo>
                    <a:pt x="327" y="551"/>
                  </a:lnTo>
                  <a:lnTo>
                    <a:pt x="327" y="553"/>
                  </a:lnTo>
                  <a:lnTo>
                    <a:pt x="325" y="553"/>
                  </a:lnTo>
                  <a:lnTo>
                    <a:pt x="325" y="555"/>
                  </a:lnTo>
                  <a:lnTo>
                    <a:pt x="325" y="557"/>
                  </a:lnTo>
                  <a:lnTo>
                    <a:pt x="323" y="558"/>
                  </a:lnTo>
                  <a:lnTo>
                    <a:pt x="323" y="560"/>
                  </a:lnTo>
                  <a:lnTo>
                    <a:pt x="323" y="562"/>
                  </a:lnTo>
                  <a:lnTo>
                    <a:pt x="323" y="564"/>
                  </a:lnTo>
                  <a:lnTo>
                    <a:pt x="323" y="566"/>
                  </a:lnTo>
                  <a:lnTo>
                    <a:pt x="321" y="566"/>
                  </a:lnTo>
                  <a:lnTo>
                    <a:pt x="321" y="568"/>
                  </a:lnTo>
                  <a:lnTo>
                    <a:pt x="321" y="570"/>
                  </a:lnTo>
                  <a:lnTo>
                    <a:pt x="319" y="572"/>
                  </a:lnTo>
                  <a:lnTo>
                    <a:pt x="319" y="574"/>
                  </a:lnTo>
                  <a:lnTo>
                    <a:pt x="319" y="576"/>
                  </a:lnTo>
                  <a:lnTo>
                    <a:pt x="317" y="580"/>
                  </a:lnTo>
                  <a:lnTo>
                    <a:pt x="317" y="583"/>
                  </a:lnTo>
                  <a:lnTo>
                    <a:pt x="317" y="585"/>
                  </a:lnTo>
                  <a:lnTo>
                    <a:pt x="315" y="585"/>
                  </a:lnTo>
                  <a:lnTo>
                    <a:pt x="315" y="589"/>
                  </a:lnTo>
                  <a:lnTo>
                    <a:pt x="315" y="591"/>
                  </a:lnTo>
                  <a:lnTo>
                    <a:pt x="313" y="591"/>
                  </a:lnTo>
                  <a:lnTo>
                    <a:pt x="313" y="593"/>
                  </a:lnTo>
                  <a:lnTo>
                    <a:pt x="313" y="595"/>
                  </a:lnTo>
                  <a:lnTo>
                    <a:pt x="313" y="597"/>
                  </a:lnTo>
                  <a:lnTo>
                    <a:pt x="311" y="599"/>
                  </a:lnTo>
                  <a:lnTo>
                    <a:pt x="311" y="601"/>
                  </a:lnTo>
                  <a:lnTo>
                    <a:pt x="311" y="603"/>
                  </a:lnTo>
                  <a:lnTo>
                    <a:pt x="311" y="605"/>
                  </a:lnTo>
                  <a:lnTo>
                    <a:pt x="309" y="605"/>
                  </a:lnTo>
                  <a:lnTo>
                    <a:pt x="309" y="606"/>
                  </a:lnTo>
                  <a:lnTo>
                    <a:pt x="309" y="608"/>
                  </a:lnTo>
                  <a:lnTo>
                    <a:pt x="309" y="610"/>
                  </a:lnTo>
                  <a:lnTo>
                    <a:pt x="307" y="610"/>
                  </a:lnTo>
                  <a:lnTo>
                    <a:pt x="307" y="612"/>
                  </a:lnTo>
                  <a:lnTo>
                    <a:pt x="307" y="616"/>
                  </a:lnTo>
                  <a:lnTo>
                    <a:pt x="307" y="618"/>
                  </a:lnTo>
                  <a:lnTo>
                    <a:pt x="305" y="618"/>
                  </a:lnTo>
                  <a:lnTo>
                    <a:pt x="305" y="620"/>
                  </a:lnTo>
                  <a:lnTo>
                    <a:pt x="305" y="622"/>
                  </a:lnTo>
                  <a:lnTo>
                    <a:pt x="305" y="624"/>
                  </a:lnTo>
                  <a:lnTo>
                    <a:pt x="303" y="626"/>
                  </a:lnTo>
                  <a:lnTo>
                    <a:pt x="303" y="628"/>
                  </a:lnTo>
                  <a:lnTo>
                    <a:pt x="303" y="630"/>
                  </a:lnTo>
                  <a:lnTo>
                    <a:pt x="302" y="631"/>
                  </a:lnTo>
                  <a:lnTo>
                    <a:pt x="302" y="633"/>
                  </a:lnTo>
                  <a:lnTo>
                    <a:pt x="302" y="635"/>
                  </a:lnTo>
                  <a:lnTo>
                    <a:pt x="300" y="637"/>
                  </a:lnTo>
                  <a:lnTo>
                    <a:pt x="300" y="639"/>
                  </a:lnTo>
                  <a:lnTo>
                    <a:pt x="300" y="641"/>
                  </a:lnTo>
                  <a:lnTo>
                    <a:pt x="300" y="643"/>
                  </a:lnTo>
                  <a:lnTo>
                    <a:pt x="298" y="645"/>
                  </a:lnTo>
                  <a:lnTo>
                    <a:pt x="298" y="647"/>
                  </a:lnTo>
                  <a:lnTo>
                    <a:pt x="298" y="649"/>
                  </a:lnTo>
                  <a:lnTo>
                    <a:pt x="296" y="651"/>
                  </a:lnTo>
                  <a:lnTo>
                    <a:pt x="296" y="653"/>
                  </a:lnTo>
                  <a:lnTo>
                    <a:pt x="296" y="654"/>
                  </a:lnTo>
                  <a:lnTo>
                    <a:pt x="296" y="656"/>
                  </a:lnTo>
                  <a:lnTo>
                    <a:pt x="294" y="658"/>
                  </a:lnTo>
                  <a:lnTo>
                    <a:pt x="294" y="660"/>
                  </a:lnTo>
                  <a:lnTo>
                    <a:pt x="294" y="662"/>
                  </a:lnTo>
                  <a:lnTo>
                    <a:pt x="294" y="664"/>
                  </a:lnTo>
                  <a:lnTo>
                    <a:pt x="292" y="664"/>
                  </a:lnTo>
                  <a:lnTo>
                    <a:pt x="292" y="666"/>
                  </a:lnTo>
                  <a:lnTo>
                    <a:pt x="292" y="668"/>
                  </a:lnTo>
                  <a:lnTo>
                    <a:pt x="292" y="670"/>
                  </a:lnTo>
                  <a:lnTo>
                    <a:pt x="290" y="670"/>
                  </a:lnTo>
                  <a:lnTo>
                    <a:pt x="290" y="672"/>
                  </a:lnTo>
                  <a:lnTo>
                    <a:pt x="290" y="674"/>
                  </a:lnTo>
                  <a:lnTo>
                    <a:pt x="290" y="676"/>
                  </a:lnTo>
                  <a:lnTo>
                    <a:pt x="288" y="677"/>
                  </a:lnTo>
                  <a:lnTo>
                    <a:pt x="288" y="679"/>
                  </a:lnTo>
                  <a:lnTo>
                    <a:pt x="288" y="681"/>
                  </a:lnTo>
                  <a:lnTo>
                    <a:pt x="288" y="683"/>
                  </a:lnTo>
                  <a:lnTo>
                    <a:pt x="286" y="683"/>
                  </a:lnTo>
                  <a:lnTo>
                    <a:pt x="286" y="685"/>
                  </a:lnTo>
                  <a:lnTo>
                    <a:pt x="286" y="687"/>
                  </a:lnTo>
                  <a:lnTo>
                    <a:pt x="286" y="689"/>
                  </a:lnTo>
                  <a:lnTo>
                    <a:pt x="284" y="689"/>
                  </a:lnTo>
                  <a:lnTo>
                    <a:pt x="284" y="693"/>
                  </a:lnTo>
                  <a:lnTo>
                    <a:pt x="284" y="695"/>
                  </a:lnTo>
                  <a:lnTo>
                    <a:pt x="284" y="697"/>
                  </a:lnTo>
                  <a:lnTo>
                    <a:pt x="282" y="697"/>
                  </a:lnTo>
                  <a:lnTo>
                    <a:pt x="282" y="699"/>
                  </a:lnTo>
                  <a:lnTo>
                    <a:pt x="282" y="701"/>
                  </a:lnTo>
                  <a:lnTo>
                    <a:pt x="280" y="702"/>
                  </a:lnTo>
                  <a:lnTo>
                    <a:pt x="280" y="706"/>
                  </a:lnTo>
                  <a:lnTo>
                    <a:pt x="280" y="708"/>
                  </a:lnTo>
                  <a:lnTo>
                    <a:pt x="279" y="710"/>
                  </a:lnTo>
                  <a:lnTo>
                    <a:pt x="279" y="714"/>
                  </a:lnTo>
                  <a:lnTo>
                    <a:pt x="279" y="716"/>
                  </a:lnTo>
                  <a:lnTo>
                    <a:pt x="277" y="716"/>
                  </a:lnTo>
                  <a:lnTo>
                    <a:pt x="277" y="718"/>
                  </a:lnTo>
                  <a:lnTo>
                    <a:pt x="277" y="720"/>
                  </a:lnTo>
                  <a:lnTo>
                    <a:pt x="277" y="722"/>
                  </a:lnTo>
                  <a:lnTo>
                    <a:pt x="275" y="724"/>
                  </a:lnTo>
                  <a:lnTo>
                    <a:pt x="275" y="725"/>
                  </a:lnTo>
                  <a:lnTo>
                    <a:pt x="275" y="727"/>
                  </a:lnTo>
                  <a:lnTo>
                    <a:pt x="275" y="729"/>
                  </a:lnTo>
                  <a:lnTo>
                    <a:pt x="273" y="729"/>
                  </a:lnTo>
                  <a:lnTo>
                    <a:pt x="273" y="731"/>
                  </a:lnTo>
                  <a:lnTo>
                    <a:pt x="273" y="733"/>
                  </a:lnTo>
                  <a:lnTo>
                    <a:pt x="271" y="739"/>
                  </a:lnTo>
                  <a:lnTo>
                    <a:pt x="271" y="741"/>
                  </a:lnTo>
                  <a:lnTo>
                    <a:pt x="269" y="743"/>
                  </a:lnTo>
                  <a:lnTo>
                    <a:pt x="269" y="745"/>
                  </a:lnTo>
                  <a:lnTo>
                    <a:pt x="269" y="749"/>
                  </a:lnTo>
                  <a:lnTo>
                    <a:pt x="267" y="749"/>
                  </a:lnTo>
                  <a:lnTo>
                    <a:pt x="267" y="750"/>
                  </a:lnTo>
                  <a:lnTo>
                    <a:pt x="267" y="752"/>
                  </a:lnTo>
                  <a:lnTo>
                    <a:pt x="265" y="756"/>
                  </a:lnTo>
                  <a:lnTo>
                    <a:pt x="265" y="760"/>
                  </a:lnTo>
                  <a:lnTo>
                    <a:pt x="265" y="762"/>
                  </a:lnTo>
                  <a:lnTo>
                    <a:pt x="263" y="764"/>
                  </a:lnTo>
                  <a:lnTo>
                    <a:pt x="261" y="762"/>
                  </a:lnTo>
                  <a:lnTo>
                    <a:pt x="255" y="762"/>
                  </a:lnTo>
                  <a:lnTo>
                    <a:pt x="254" y="760"/>
                  </a:lnTo>
                  <a:lnTo>
                    <a:pt x="248" y="758"/>
                  </a:lnTo>
                  <a:lnTo>
                    <a:pt x="246" y="758"/>
                  </a:lnTo>
                  <a:lnTo>
                    <a:pt x="244" y="758"/>
                  </a:lnTo>
                  <a:lnTo>
                    <a:pt x="242" y="758"/>
                  </a:lnTo>
                  <a:lnTo>
                    <a:pt x="240" y="756"/>
                  </a:lnTo>
                  <a:lnTo>
                    <a:pt x="238" y="756"/>
                  </a:lnTo>
                  <a:lnTo>
                    <a:pt x="236" y="756"/>
                  </a:lnTo>
                  <a:lnTo>
                    <a:pt x="234" y="754"/>
                  </a:lnTo>
                  <a:lnTo>
                    <a:pt x="225" y="752"/>
                  </a:lnTo>
                  <a:lnTo>
                    <a:pt x="221" y="750"/>
                  </a:lnTo>
                  <a:lnTo>
                    <a:pt x="213" y="749"/>
                  </a:lnTo>
                  <a:lnTo>
                    <a:pt x="211" y="747"/>
                  </a:lnTo>
                  <a:lnTo>
                    <a:pt x="209" y="747"/>
                  </a:lnTo>
                  <a:lnTo>
                    <a:pt x="207" y="747"/>
                  </a:lnTo>
                  <a:lnTo>
                    <a:pt x="206" y="747"/>
                  </a:lnTo>
                  <a:lnTo>
                    <a:pt x="204" y="745"/>
                  </a:lnTo>
                  <a:lnTo>
                    <a:pt x="202" y="745"/>
                  </a:lnTo>
                  <a:lnTo>
                    <a:pt x="200" y="745"/>
                  </a:lnTo>
                  <a:lnTo>
                    <a:pt x="198" y="743"/>
                  </a:lnTo>
                  <a:lnTo>
                    <a:pt x="196" y="743"/>
                  </a:lnTo>
                  <a:lnTo>
                    <a:pt x="194" y="743"/>
                  </a:lnTo>
                  <a:lnTo>
                    <a:pt x="192" y="743"/>
                  </a:lnTo>
                  <a:lnTo>
                    <a:pt x="192" y="741"/>
                  </a:lnTo>
                  <a:lnTo>
                    <a:pt x="190" y="741"/>
                  </a:lnTo>
                  <a:lnTo>
                    <a:pt x="188" y="741"/>
                  </a:lnTo>
                  <a:lnTo>
                    <a:pt x="186" y="739"/>
                  </a:lnTo>
                  <a:lnTo>
                    <a:pt x="184" y="739"/>
                  </a:lnTo>
                  <a:lnTo>
                    <a:pt x="183" y="739"/>
                  </a:lnTo>
                  <a:lnTo>
                    <a:pt x="181" y="737"/>
                  </a:lnTo>
                  <a:lnTo>
                    <a:pt x="179" y="737"/>
                  </a:lnTo>
                  <a:lnTo>
                    <a:pt x="177" y="737"/>
                  </a:lnTo>
                  <a:lnTo>
                    <a:pt x="175" y="737"/>
                  </a:lnTo>
                  <a:lnTo>
                    <a:pt x="175" y="735"/>
                  </a:lnTo>
                  <a:lnTo>
                    <a:pt x="173" y="735"/>
                  </a:lnTo>
                  <a:lnTo>
                    <a:pt x="169" y="733"/>
                  </a:lnTo>
                  <a:lnTo>
                    <a:pt x="165" y="733"/>
                  </a:lnTo>
                  <a:lnTo>
                    <a:pt x="163" y="733"/>
                  </a:lnTo>
                  <a:lnTo>
                    <a:pt x="163" y="731"/>
                  </a:lnTo>
                  <a:lnTo>
                    <a:pt x="159" y="731"/>
                  </a:lnTo>
                  <a:lnTo>
                    <a:pt x="158" y="729"/>
                  </a:lnTo>
                  <a:lnTo>
                    <a:pt x="156" y="729"/>
                  </a:lnTo>
                  <a:lnTo>
                    <a:pt x="154" y="729"/>
                  </a:lnTo>
                  <a:lnTo>
                    <a:pt x="148" y="727"/>
                  </a:lnTo>
                  <a:lnTo>
                    <a:pt x="146" y="725"/>
                  </a:lnTo>
                  <a:lnTo>
                    <a:pt x="144" y="725"/>
                  </a:lnTo>
                  <a:lnTo>
                    <a:pt x="142" y="725"/>
                  </a:lnTo>
                  <a:lnTo>
                    <a:pt x="140" y="724"/>
                  </a:lnTo>
                  <a:lnTo>
                    <a:pt x="135" y="722"/>
                  </a:lnTo>
                  <a:lnTo>
                    <a:pt x="133" y="722"/>
                  </a:lnTo>
                  <a:lnTo>
                    <a:pt x="131" y="722"/>
                  </a:lnTo>
                  <a:lnTo>
                    <a:pt x="127" y="720"/>
                  </a:lnTo>
                  <a:lnTo>
                    <a:pt x="125" y="720"/>
                  </a:lnTo>
                  <a:lnTo>
                    <a:pt x="125" y="718"/>
                  </a:lnTo>
                  <a:lnTo>
                    <a:pt x="121" y="718"/>
                  </a:lnTo>
                  <a:lnTo>
                    <a:pt x="119" y="718"/>
                  </a:lnTo>
                  <a:lnTo>
                    <a:pt x="119" y="716"/>
                  </a:lnTo>
                  <a:lnTo>
                    <a:pt x="117" y="716"/>
                  </a:lnTo>
                  <a:lnTo>
                    <a:pt x="113" y="714"/>
                  </a:lnTo>
                  <a:lnTo>
                    <a:pt x="111" y="714"/>
                  </a:lnTo>
                  <a:lnTo>
                    <a:pt x="110" y="714"/>
                  </a:lnTo>
                  <a:lnTo>
                    <a:pt x="108" y="712"/>
                  </a:lnTo>
                  <a:lnTo>
                    <a:pt x="106" y="712"/>
                  </a:lnTo>
                  <a:lnTo>
                    <a:pt x="104" y="712"/>
                  </a:lnTo>
                  <a:lnTo>
                    <a:pt x="104" y="710"/>
                  </a:lnTo>
                  <a:lnTo>
                    <a:pt x="104" y="708"/>
                  </a:lnTo>
                  <a:lnTo>
                    <a:pt x="104" y="706"/>
                  </a:lnTo>
                  <a:lnTo>
                    <a:pt x="102" y="706"/>
                  </a:lnTo>
                  <a:lnTo>
                    <a:pt x="102" y="704"/>
                  </a:lnTo>
                  <a:lnTo>
                    <a:pt x="102" y="702"/>
                  </a:lnTo>
                  <a:lnTo>
                    <a:pt x="102" y="701"/>
                  </a:lnTo>
                  <a:lnTo>
                    <a:pt x="104" y="701"/>
                  </a:lnTo>
                  <a:lnTo>
                    <a:pt x="102" y="701"/>
                  </a:lnTo>
                  <a:lnTo>
                    <a:pt x="102" y="699"/>
                  </a:lnTo>
                  <a:lnTo>
                    <a:pt x="102" y="697"/>
                  </a:lnTo>
                  <a:lnTo>
                    <a:pt x="100" y="697"/>
                  </a:lnTo>
                  <a:lnTo>
                    <a:pt x="100" y="699"/>
                  </a:lnTo>
                  <a:lnTo>
                    <a:pt x="100" y="697"/>
                  </a:lnTo>
                  <a:lnTo>
                    <a:pt x="98" y="697"/>
                  </a:lnTo>
                  <a:lnTo>
                    <a:pt x="98" y="695"/>
                  </a:lnTo>
                  <a:lnTo>
                    <a:pt x="96" y="695"/>
                  </a:lnTo>
                  <a:lnTo>
                    <a:pt x="94" y="695"/>
                  </a:lnTo>
                  <a:lnTo>
                    <a:pt x="94" y="693"/>
                  </a:lnTo>
                  <a:lnTo>
                    <a:pt x="96" y="693"/>
                  </a:lnTo>
                  <a:lnTo>
                    <a:pt x="96" y="691"/>
                  </a:lnTo>
                  <a:lnTo>
                    <a:pt x="94" y="691"/>
                  </a:lnTo>
                  <a:lnTo>
                    <a:pt x="94" y="689"/>
                  </a:lnTo>
                  <a:lnTo>
                    <a:pt x="94" y="687"/>
                  </a:lnTo>
                  <a:lnTo>
                    <a:pt x="94" y="685"/>
                  </a:lnTo>
                  <a:lnTo>
                    <a:pt x="94" y="683"/>
                  </a:lnTo>
                  <a:lnTo>
                    <a:pt x="94" y="681"/>
                  </a:lnTo>
                  <a:lnTo>
                    <a:pt x="92" y="681"/>
                  </a:lnTo>
                  <a:lnTo>
                    <a:pt x="92" y="679"/>
                  </a:lnTo>
                  <a:lnTo>
                    <a:pt x="92" y="677"/>
                  </a:lnTo>
                  <a:lnTo>
                    <a:pt x="92" y="676"/>
                  </a:lnTo>
                  <a:lnTo>
                    <a:pt x="94" y="676"/>
                  </a:lnTo>
                  <a:lnTo>
                    <a:pt x="94" y="674"/>
                  </a:lnTo>
                  <a:lnTo>
                    <a:pt x="96" y="674"/>
                  </a:lnTo>
                  <a:lnTo>
                    <a:pt x="96" y="672"/>
                  </a:lnTo>
                  <a:lnTo>
                    <a:pt x="96" y="670"/>
                  </a:lnTo>
                  <a:lnTo>
                    <a:pt x="94" y="670"/>
                  </a:lnTo>
                  <a:lnTo>
                    <a:pt x="94" y="672"/>
                  </a:lnTo>
                  <a:lnTo>
                    <a:pt x="94" y="670"/>
                  </a:lnTo>
                  <a:lnTo>
                    <a:pt x="92" y="670"/>
                  </a:lnTo>
                  <a:lnTo>
                    <a:pt x="90" y="670"/>
                  </a:lnTo>
                  <a:lnTo>
                    <a:pt x="90" y="668"/>
                  </a:lnTo>
                  <a:lnTo>
                    <a:pt x="90" y="666"/>
                  </a:lnTo>
                  <a:lnTo>
                    <a:pt x="90" y="664"/>
                  </a:lnTo>
                  <a:lnTo>
                    <a:pt x="92" y="664"/>
                  </a:lnTo>
                  <a:lnTo>
                    <a:pt x="94" y="664"/>
                  </a:lnTo>
                  <a:lnTo>
                    <a:pt x="94" y="662"/>
                  </a:lnTo>
                  <a:lnTo>
                    <a:pt x="96" y="662"/>
                  </a:lnTo>
                  <a:lnTo>
                    <a:pt x="94" y="662"/>
                  </a:lnTo>
                  <a:lnTo>
                    <a:pt x="96" y="660"/>
                  </a:lnTo>
                  <a:lnTo>
                    <a:pt x="98" y="660"/>
                  </a:lnTo>
                  <a:lnTo>
                    <a:pt x="98" y="658"/>
                  </a:lnTo>
                  <a:lnTo>
                    <a:pt x="98" y="656"/>
                  </a:lnTo>
                  <a:lnTo>
                    <a:pt x="98" y="654"/>
                  </a:lnTo>
                  <a:lnTo>
                    <a:pt x="100" y="654"/>
                  </a:lnTo>
                  <a:lnTo>
                    <a:pt x="100" y="653"/>
                  </a:lnTo>
                  <a:lnTo>
                    <a:pt x="100" y="651"/>
                  </a:lnTo>
                  <a:lnTo>
                    <a:pt x="98" y="649"/>
                  </a:lnTo>
                  <a:lnTo>
                    <a:pt x="100" y="649"/>
                  </a:lnTo>
                  <a:lnTo>
                    <a:pt x="100" y="647"/>
                  </a:lnTo>
                  <a:lnTo>
                    <a:pt x="100" y="645"/>
                  </a:lnTo>
                  <a:lnTo>
                    <a:pt x="102" y="645"/>
                  </a:lnTo>
                  <a:lnTo>
                    <a:pt x="102" y="643"/>
                  </a:lnTo>
                  <a:lnTo>
                    <a:pt x="104" y="643"/>
                  </a:lnTo>
                  <a:lnTo>
                    <a:pt x="104" y="641"/>
                  </a:lnTo>
                  <a:lnTo>
                    <a:pt x="104" y="639"/>
                  </a:lnTo>
                  <a:lnTo>
                    <a:pt x="104" y="637"/>
                  </a:lnTo>
                  <a:lnTo>
                    <a:pt x="102" y="637"/>
                  </a:lnTo>
                  <a:lnTo>
                    <a:pt x="104" y="637"/>
                  </a:lnTo>
                  <a:lnTo>
                    <a:pt x="102" y="637"/>
                  </a:lnTo>
                  <a:lnTo>
                    <a:pt x="102" y="635"/>
                  </a:lnTo>
                  <a:lnTo>
                    <a:pt x="104" y="635"/>
                  </a:lnTo>
                  <a:lnTo>
                    <a:pt x="104" y="633"/>
                  </a:lnTo>
                  <a:lnTo>
                    <a:pt x="104" y="631"/>
                  </a:lnTo>
                  <a:lnTo>
                    <a:pt x="104" y="630"/>
                  </a:lnTo>
                  <a:lnTo>
                    <a:pt x="104" y="628"/>
                  </a:lnTo>
                  <a:lnTo>
                    <a:pt x="104" y="626"/>
                  </a:lnTo>
                  <a:lnTo>
                    <a:pt x="106" y="626"/>
                  </a:lnTo>
                  <a:lnTo>
                    <a:pt x="106" y="624"/>
                  </a:lnTo>
                  <a:lnTo>
                    <a:pt x="104" y="624"/>
                  </a:lnTo>
                  <a:lnTo>
                    <a:pt x="106" y="624"/>
                  </a:lnTo>
                  <a:lnTo>
                    <a:pt x="104" y="624"/>
                  </a:lnTo>
                  <a:lnTo>
                    <a:pt x="104" y="622"/>
                  </a:lnTo>
                  <a:lnTo>
                    <a:pt x="106" y="622"/>
                  </a:lnTo>
                  <a:lnTo>
                    <a:pt x="106" y="620"/>
                  </a:lnTo>
                  <a:lnTo>
                    <a:pt x="104" y="620"/>
                  </a:lnTo>
                  <a:lnTo>
                    <a:pt x="106" y="620"/>
                  </a:lnTo>
                  <a:lnTo>
                    <a:pt x="106" y="618"/>
                  </a:lnTo>
                  <a:lnTo>
                    <a:pt x="104" y="618"/>
                  </a:lnTo>
                  <a:lnTo>
                    <a:pt x="104" y="616"/>
                  </a:lnTo>
                  <a:lnTo>
                    <a:pt x="104" y="614"/>
                  </a:lnTo>
                  <a:lnTo>
                    <a:pt x="104" y="612"/>
                  </a:lnTo>
                  <a:lnTo>
                    <a:pt x="102" y="612"/>
                  </a:lnTo>
                  <a:lnTo>
                    <a:pt x="102" y="610"/>
                  </a:lnTo>
                  <a:lnTo>
                    <a:pt x="102" y="608"/>
                  </a:lnTo>
                  <a:lnTo>
                    <a:pt x="102" y="606"/>
                  </a:lnTo>
                  <a:lnTo>
                    <a:pt x="102" y="605"/>
                  </a:lnTo>
                  <a:lnTo>
                    <a:pt x="100" y="605"/>
                  </a:lnTo>
                  <a:lnTo>
                    <a:pt x="100" y="603"/>
                  </a:lnTo>
                  <a:lnTo>
                    <a:pt x="98" y="603"/>
                  </a:lnTo>
                  <a:lnTo>
                    <a:pt x="98" y="605"/>
                  </a:lnTo>
                  <a:lnTo>
                    <a:pt x="98" y="603"/>
                  </a:lnTo>
                  <a:lnTo>
                    <a:pt x="96" y="603"/>
                  </a:lnTo>
                  <a:lnTo>
                    <a:pt x="94" y="603"/>
                  </a:lnTo>
                  <a:lnTo>
                    <a:pt x="94" y="605"/>
                  </a:lnTo>
                  <a:lnTo>
                    <a:pt x="92" y="603"/>
                  </a:lnTo>
                  <a:lnTo>
                    <a:pt x="94" y="603"/>
                  </a:lnTo>
                  <a:lnTo>
                    <a:pt x="94" y="601"/>
                  </a:lnTo>
                  <a:lnTo>
                    <a:pt x="92" y="601"/>
                  </a:lnTo>
                  <a:lnTo>
                    <a:pt x="92" y="599"/>
                  </a:lnTo>
                  <a:lnTo>
                    <a:pt x="92" y="597"/>
                  </a:lnTo>
                  <a:lnTo>
                    <a:pt x="94" y="597"/>
                  </a:lnTo>
                  <a:lnTo>
                    <a:pt x="94" y="595"/>
                  </a:lnTo>
                  <a:lnTo>
                    <a:pt x="94" y="593"/>
                  </a:lnTo>
                  <a:lnTo>
                    <a:pt x="94" y="591"/>
                  </a:lnTo>
                  <a:lnTo>
                    <a:pt x="92" y="591"/>
                  </a:lnTo>
                  <a:lnTo>
                    <a:pt x="90" y="591"/>
                  </a:lnTo>
                  <a:lnTo>
                    <a:pt x="90" y="589"/>
                  </a:lnTo>
                  <a:lnTo>
                    <a:pt x="90" y="587"/>
                  </a:lnTo>
                  <a:lnTo>
                    <a:pt x="88" y="587"/>
                  </a:lnTo>
                  <a:lnTo>
                    <a:pt x="88" y="585"/>
                  </a:lnTo>
                  <a:lnTo>
                    <a:pt x="86" y="585"/>
                  </a:lnTo>
                  <a:lnTo>
                    <a:pt x="88" y="585"/>
                  </a:lnTo>
                  <a:lnTo>
                    <a:pt x="86" y="583"/>
                  </a:lnTo>
                  <a:lnTo>
                    <a:pt x="86" y="582"/>
                  </a:lnTo>
                  <a:lnTo>
                    <a:pt x="86" y="580"/>
                  </a:lnTo>
                  <a:lnTo>
                    <a:pt x="85" y="582"/>
                  </a:lnTo>
                  <a:lnTo>
                    <a:pt x="85" y="580"/>
                  </a:lnTo>
                  <a:lnTo>
                    <a:pt x="85" y="578"/>
                  </a:lnTo>
                  <a:lnTo>
                    <a:pt x="86" y="578"/>
                  </a:lnTo>
                  <a:lnTo>
                    <a:pt x="88" y="578"/>
                  </a:lnTo>
                  <a:lnTo>
                    <a:pt x="88" y="576"/>
                  </a:lnTo>
                  <a:lnTo>
                    <a:pt x="88" y="574"/>
                  </a:lnTo>
                  <a:lnTo>
                    <a:pt x="88" y="572"/>
                  </a:lnTo>
                  <a:lnTo>
                    <a:pt x="88" y="570"/>
                  </a:lnTo>
                  <a:lnTo>
                    <a:pt x="86" y="570"/>
                  </a:lnTo>
                  <a:lnTo>
                    <a:pt x="86" y="568"/>
                  </a:lnTo>
                  <a:lnTo>
                    <a:pt x="85" y="568"/>
                  </a:lnTo>
                  <a:lnTo>
                    <a:pt x="85" y="566"/>
                  </a:lnTo>
                  <a:lnTo>
                    <a:pt x="85" y="564"/>
                  </a:lnTo>
                  <a:lnTo>
                    <a:pt x="86" y="564"/>
                  </a:lnTo>
                  <a:lnTo>
                    <a:pt x="85" y="564"/>
                  </a:lnTo>
                  <a:lnTo>
                    <a:pt x="83" y="564"/>
                  </a:lnTo>
                  <a:lnTo>
                    <a:pt x="83" y="562"/>
                  </a:lnTo>
                  <a:lnTo>
                    <a:pt x="81" y="562"/>
                  </a:lnTo>
                  <a:lnTo>
                    <a:pt x="79" y="562"/>
                  </a:lnTo>
                  <a:lnTo>
                    <a:pt x="81" y="562"/>
                  </a:lnTo>
                  <a:lnTo>
                    <a:pt x="79" y="562"/>
                  </a:lnTo>
                  <a:lnTo>
                    <a:pt x="79" y="560"/>
                  </a:lnTo>
                  <a:lnTo>
                    <a:pt x="79" y="558"/>
                  </a:lnTo>
                  <a:lnTo>
                    <a:pt x="77" y="558"/>
                  </a:lnTo>
                  <a:lnTo>
                    <a:pt x="77" y="557"/>
                  </a:lnTo>
                  <a:lnTo>
                    <a:pt x="79" y="557"/>
                  </a:lnTo>
                  <a:lnTo>
                    <a:pt x="77" y="557"/>
                  </a:lnTo>
                  <a:lnTo>
                    <a:pt x="77" y="555"/>
                  </a:lnTo>
                  <a:lnTo>
                    <a:pt x="79" y="555"/>
                  </a:lnTo>
                  <a:lnTo>
                    <a:pt x="79" y="553"/>
                  </a:lnTo>
                  <a:lnTo>
                    <a:pt x="81" y="553"/>
                  </a:lnTo>
                  <a:lnTo>
                    <a:pt x="79" y="553"/>
                  </a:lnTo>
                  <a:lnTo>
                    <a:pt x="79" y="551"/>
                  </a:lnTo>
                  <a:lnTo>
                    <a:pt x="77" y="549"/>
                  </a:lnTo>
                  <a:lnTo>
                    <a:pt x="75" y="549"/>
                  </a:lnTo>
                  <a:lnTo>
                    <a:pt x="75" y="547"/>
                  </a:lnTo>
                  <a:lnTo>
                    <a:pt x="77" y="547"/>
                  </a:lnTo>
                  <a:lnTo>
                    <a:pt x="75" y="547"/>
                  </a:lnTo>
                  <a:lnTo>
                    <a:pt x="75" y="545"/>
                  </a:lnTo>
                  <a:lnTo>
                    <a:pt x="73" y="545"/>
                  </a:lnTo>
                  <a:lnTo>
                    <a:pt x="73" y="543"/>
                  </a:lnTo>
                  <a:lnTo>
                    <a:pt x="73" y="541"/>
                  </a:lnTo>
                  <a:lnTo>
                    <a:pt x="73" y="539"/>
                  </a:lnTo>
                  <a:lnTo>
                    <a:pt x="73" y="537"/>
                  </a:lnTo>
                  <a:lnTo>
                    <a:pt x="75" y="537"/>
                  </a:lnTo>
                  <a:lnTo>
                    <a:pt x="75" y="535"/>
                  </a:lnTo>
                  <a:lnTo>
                    <a:pt x="75" y="534"/>
                  </a:lnTo>
                  <a:lnTo>
                    <a:pt x="73" y="534"/>
                  </a:lnTo>
                  <a:lnTo>
                    <a:pt x="73" y="532"/>
                  </a:lnTo>
                  <a:lnTo>
                    <a:pt x="73" y="530"/>
                  </a:lnTo>
                  <a:lnTo>
                    <a:pt x="73" y="528"/>
                  </a:lnTo>
                  <a:lnTo>
                    <a:pt x="71" y="528"/>
                  </a:lnTo>
                  <a:lnTo>
                    <a:pt x="71" y="526"/>
                  </a:lnTo>
                  <a:lnTo>
                    <a:pt x="71" y="524"/>
                  </a:lnTo>
                  <a:lnTo>
                    <a:pt x="71" y="522"/>
                  </a:lnTo>
                  <a:lnTo>
                    <a:pt x="71" y="520"/>
                  </a:lnTo>
                  <a:lnTo>
                    <a:pt x="69" y="520"/>
                  </a:lnTo>
                  <a:lnTo>
                    <a:pt x="69" y="518"/>
                  </a:lnTo>
                  <a:lnTo>
                    <a:pt x="69" y="516"/>
                  </a:lnTo>
                  <a:lnTo>
                    <a:pt x="71" y="516"/>
                  </a:lnTo>
                  <a:lnTo>
                    <a:pt x="71" y="514"/>
                  </a:lnTo>
                  <a:lnTo>
                    <a:pt x="69" y="514"/>
                  </a:lnTo>
                  <a:lnTo>
                    <a:pt x="69" y="512"/>
                  </a:lnTo>
                  <a:lnTo>
                    <a:pt x="69" y="510"/>
                  </a:lnTo>
                  <a:lnTo>
                    <a:pt x="71" y="510"/>
                  </a:lnTo>
                  <a:lnTo>
                    <a:pt x="69" y="510"/>
                  </a:lnTo>
                  <a:lnTo>
                    <a:pt x="69" y="509"/>
                  </a:lnTo>
                  <a:lnTo>
                    <a:pt x="67" y="509"/>
                  </a:lnTo>
                  <a:lnTo>
                    <a:pt x="65" y="509"/>
                  </a:lnTo>
                  <a:lnTo>
                    <a:pt x="65" y="510"/>
                  </a:lnTo>
                  <a:lnTo>
                    <a:pt x="63" y="510"/>
                  </a:lnTo>
                  <a:lnTo>
                    <a:pt x="63" y="512"/>
                  </a:lnTo>
                  <a:lnTo>
                    <a:pt x="62" y="512"/>
                  </a:lnTo>
                  <a:lnTo>
                    <a:pt x="60" y="512"/>
                  </a:lnTo>
                  <a:lnTo>
                    <a:pt x="60" y="510"/>
                  </a:lnTo>
                  <a:lnTo>
                    <a:pt x="58" y="510"/>
                  </a:lnTo>
                  <a:lnTo>
                    <a:pt x="58" y="509"/>
                  </a:lnTo>
                  <a:lnTo>
                    <a:pt x="58" y="507"/>
                  </a:lnTo>
                  <a:lnTo>
                    <a:pt x="60" y="507"/>
                  </a:lnTo>
                  <a:lnTo>
                    <a:pt x="60" y="505"/>
                  </a:lnTo>
                  <a:lnTo>
                    <a:pt x="58" y="505"/>
                  </a:lnTo>
                  <a:lnTo>
                    <a:pt x="60" y="505"/>
                  </a:lnTo>
                  <a:lnTo>
                    <a:pt x="60" y="503"/>
                  </a:lnTo>
                  <a:lnTo>
                    <a:pt x="58" y="503"/>
                  </a:lnTo>
                  <a:lnTo>
                    <a:pt x="58" y="501"/>
                  </a:lnTo>
                  <a:lnTo>
                    <a:pt x="60" y="499"/>
                  </a:lnTo>
                  <a:lnTo>
                    <a:pt x="60" y="497"/>
                  </a:lnTo>
                  <a:lnTo>
                    <a:pt x="58" y="497"/>
                  </a:lnTo>
                  <a:lnTo>
                    <a:pt x="58" y="495"/>
                  </a:lnTo>
                  <a:lnTo>
                    <a:pt x="58" y="493"/>
                  </a:lnTo>
                  <a:lnTo>
                    <a:pt x="56" y="493"/>
                  </a:lnTo>
                  <a:lnTo>
                    <a:pt x="56" y="491"/>
                  </a:lnTo>
                  <a:lnTo>
                    <a:pt x="56" y="489"/>
                  </a:lnTo>
                  <a:lnTo>
                    <a:pt x="54" y="489"/>
                  </a:lnTo>
                  <a:lnTo>
                    <a:pt x="56" y="489"/>
                  </a:lnTo>
                  <a:lnTo>
                    <a:pt x="56" y="487"/>
                  </a:lnTo>
                  <a:lnTo>
                    <a:pt x="54" y="487"/>
                  </a:lnTo>
                  <a:lnTo>
                    <a:pt x="54" y="486"/>
                  </a:lnTo>
                  <a:lnTo>
                    <a:pt x="54" y="484"/>
                  </a:lnTo>
                  <a:lnTo>
                    <a:pt x="54" y="482"/>
                  </a:lnTo>
                  <a:lnTo>
                    <a:pt x="56" y="480"/>
                  </a:lnTo>
                  <a:lnTo>
                    <a:pt x="56" y="478"/>
                  </a:lnTo>
                  <a:lnTo>
                    <a:pt x="54" y="480"/>
                  </a:lnTo>
                  <a:lnTo>
                    <a:pt x="52" y="480"/>
                  </a:lnTo>
                  <a:lnTo>
                    <a:pt x="48" y="478"/>
                  </a:lnTo>
                  <a:lnTo>
                    <a:pt x="48" y="476"/>
                  </a:lnTo>
                  <a:lnTo>
                    <a:pt x="44" y="476"/>
                  </a:lnTo>
                  <a:lnTo>
                    <a:pt x="44" y="474"/>
                  </a:lnTo>
                  <a:lnTo>
                    <a:pt x="44" y="472"/>
                  </a:lnTo>
                  <a:lnTo>
                    <a:pt x="40" y="470"/>
                  </a:lnTo>
                  <a:lnTo>
                    <a:pt x="38" y="468"/>
                  </a:lnTo>
                  <a:lnTo>
                    <a:pt x="40" y="466"/>
                  </a:lnTo>
                  <a:lnTo>
                    <a:pt x="40" y="464"/>
                  </a:lnTo>
                  <a:lnTo>
                    <a:pt x="42" y="464"/>
                  </a:lnTo>
                  <a:lnTo>
                    <a:pt x="42" y="462"/>
                  </a:lnTo>
                  <a:lnTo>
                    <a:pt x="44" y="464"/>
                  </a:lnTo>
                  <a:lnTo>
                    <a:pt x="46" y="462"/>
                  </a:lnTo>
                  <a:lnTo>
                    <a:pt x="46" y="461"/>
                  </a:lnTo>
                  <a:lnTo>
                    <a:pt x="46" y="459"/>
                  </a:lnTo>
                  <a:lnTo>
                    <a:pt x="46" y="457"/>
                  </a:lnTo>
                  <a:lnTo>
                    <a:pt x="42" y="457"/>
                  </a:lnTo>
                  <a:lnTo>
                    <a:pt x="42" y="455"/>
                  </a:lnTo>
                  <a:lnTo>
                    <a:pt x="40" y="451"/>
                  </a:lnTo>
                  <a:lnTo>
                    <a:pt x="40" y="449"/>
                  </a:lnTo>
                  <a:lnTo>
                    <a:pt x="38" y="449"/>
                  </a:lnTo>
                  <a:lnTo>
                    <a:pt x="38" y="451"/>
                  </a:lnTo>
                  <a:lnTo>
                    <a:pt x="37" y="451"/>
                  </a:lnTo>
                  <a:lnTo>
                    <a:pt x="37" y="453"/>
                  </a:lnTo>
                  <a:lnTo>
                    <a:pt x="35" y="455"/>
                  </a:lnTo>
                  <a:lnTo>
                    <a:pt x="33" y="453"/>
                  </a:lnTo>
                  <a:lnTo>
                    <a:pt x="31" y="453"/>
                  </a:lnTo>
                  <a:lnTo>
                    <a:pt x="31" y="455"/>
                  </a:lnTo>
                  <a:lnTo>
                    <a:pt x="29" y="453"/>
                  </a:lnTo>
                  <a:lnTo>
                    <a:pt x="29" y="451"/>
                  </a:lnTo>
                  <a:lnTo>
                    <a:pt x="29" y="449"/>
                  </a:lnTo>
                  <a:lnTo>
                    <a:pt x="33" y="447"/>
                  </a:lnTo>
                  <a:lnTo>
                    <a:pt x="31" y="447"/>
                  </a:lnTo>
                  <a:lnTo>
                    <a:pt x="31" y="445"/>
                  </a:lnTo>
                  <a:lnTo>
                    <a:pt x="31" y="443"/>
                  </a:lnTo>
                  <a:lnTo>
                    <a:pt x="31" y="441"/>
                  </a:lnTo>
                  <a:lnTo>
                    <a:pt x="31" y="439"/>
                  </a:lnTo>
                  <a:lnTo>
                    <a:pt x="31" y="438"/>
                  </a:lnTo>
                  <a:lnTo>
                    <a:pt x="31" y="436"/>
                  </a:lnTo>
                  <a:lnTo>
                    <a:pt x="33" y="436"/>
                  </a:lnTo>
                  <a:lnTo>
                    <a:pt x="35" y="436"/>
                  </a:lnTo>
                  <a:lnTo>
                    <a:pt x="33" y="432"/>
                  </a:lnTo>
                  <a:lnTo>
                    <a:pt x="33" y="430"/>
                  </a:lnTo>
                  <a:lnTo>
                    <a:pt x="33" y="428"/>
                  </a:lnTo>
                  <a:lnTo>
                    <a:pt x="33" y="426"/>
                  </a:lnTo>
                  <a:lnTo>
                    <a:pt x="35" y="424"/>
                  </a:lnTo>
                  <a:lnTo>
                    <a:pt x="35" y="422"/>
                  </a:lnTo>
                  <a:lnTo>
                    <a:pt x="33" y="422"/>
                  </a:lnTo>
                  <a:lnTo>
                    <a:pt x="33" y="420"/>
                  </a:lnTo>
                  <a:lnTo>
                    <a:pt x="33" y="418"/>
                  </a:lnTo>
                  <a:lnTo>
                    <a:pt x="31" y="418"/>
                  </a:lnTo>
                  <a:lnTo>
                    <a:pt x="29" y="418"/>
                  </a:lnTo>
                  <a:lnTo>
                    <a:pt x="29" y="416"/>
                  </a:lnTo>
                  <a:lnTo>
                    <a:pt x="29" y="414"/>
                  </a:lnTo>
                  <a:lnTo>
                    <a:pt x="29" y="413"/>
                  </a:lnTo>
                  <a:lnTo>
                    <a:pt x="29" y="411"/>
                  </a:lnTo>
                  <a:lnTo>
                    <a:pt x="31" y="411"/>
                  </a:lnTo>
                  <a:lnTo>
                    <a:pt x="31" y="409"/>
                  </a:lnTo>
                  <a:lnTo>
                    <a:pt x="29" y="409"/>
                  </a:lnTo>
                  <a:lnTo>
                    <a:pt x="29" y="407"/>
                  </a:lnTo>
                  <a:lnTo>
                    <a:pt x="27" y="407"/>
                  </a:lnTo>
                  <a:lnTo>
                    <a:pt x="27" y="405"/>
                  </a:lnTo>
                  <a:lnTo>
                    <a:pt x="29" y="405"/>
                  </a:lnTo>
                  <a:lnTo>
                    <a:pt x="29" y="403"/>
                  </a:lnTo>
                  <a:lnTo>
                    <a:pt x="31" y="403"/>
                  </a:lnTo>
                  <a:lnTo>
                    <a:pt x="29" y="401"/>
                  </a:lnTo>
                  <a:lnTo>
                    <a:pt x="29" y="399"/>
                  </a:lnTo>
                  <a:lnTo>
                    <a:pt x="29" y="397"/>
                  </a:lnTo>
                  <a:lnTo>
                    <a:pt x="27" y="397"/>
                  </a:lnTo>
                  <a:lnTo>
                    <a:pt x="27" y="395"/>
                  </a:lnTo>
                  <a:lnTo>
                    <a:pt x="25" y="395"/>
                  </a:lnTo>
                  <a:lnTo>
                    <a:pt x="27" y="393"/>
                  </a:lnTo>
                  <a:lnTo>
                    <a:pt x="25" y="393"/>
                  </a:lnTo>
                  <a:lnTo>
                    <a:pt x="25" y="391"/>
                  </a:lnTo>
                  <a:lnTo>
                    <a:pt x="23" y="391"/>
                  </a:lnTo>
                  <a:lnTo>
                    <a:pt x="23" y="393"/>
                  </a:lnTo>
                  <a:lnTo>
                    <a:pt x="23" y="395"/>
                  </a:lnTo>
                  <a:lnTo>
                    <a:pt x="21" y="395"/>
                  </a:lnTo>
                  <a:lnTo>
                    <a:pt x="21" y="397"/>
                  </a:lnTo>
                  <a:lnTo>
                    <a:pt x="19" y="397"/>
                  </a:lnTo>
                  <a:lnTo>
                    <a:pt x="19" y="395"/>
                  </a:lnTo>
                  <a:lnTo>
                    <a:pt x="17" y="395"/>
                  </a:lnTo>
                  <a:lnTo>
                    <a:pt x="17" y="393"/>
                  </a:lnTo>
                  <a:lnTo>
                    <a:pt x="15" y="391"/>
                  </a:lnTo>
                  <a:lnTo>
                    <a:pt x="14" y="391"/>
                  </a:lnTo>
                  <a:lnTo>
                    <a:pt x="14" y="390"/>
                  </a:lnTo>
                  <a:lnTo>
                    <a:pt x="14" y="388"/>
                  </a:lnTo>
                  <a:lnTo>
                    <a:pt x="14" y="386"/>
                  </a:lnTo>
                  <a:lnTo>
                    <a:pt x="14" y="384"/>
                  </a:lnTo>
                  <a:lnTo>
                    <a:pt x="14" y="382"/>
                  </a:lnTo>
                  <a:lnTo>
                    <a:pt x="14" y="380"/>
                  </a:lnTo>
                  <a:lnTo>
                    <a:pt x="14" y="378"/>
                  </a:lnTo>
                  <a:lnTo>
                    <a:pt x="12" y="378"/>
                  </a:lnTo>
                  <a:lnTo>
                    <a:pt x="10" y="378"/>
                  </a:lnTo>
                  <a:lnTo>
                    <a:pt x="10" y="376"/>
                  </a:lnTo>
                  <a:lnTo>
                    <a:pt x="8" y="376"/>
                  </a:lnTo>
                  <a:lnTo>
                    <a:pt x="8" y="374"/>
                  </a:lnTo>
                  <a:lnTo>
                    <a:pt x="8" y="376"/>
                  </a:lnTo>
                  <a:lnTo>
                    <a:pt x="6" y="376"/>
                  </a:lnTo>
                  <a:lnTo>
                    <a:pt x="6" y="374"/>
                  </a:lnTo>
                  <a:lnTo>
                    <a:pt x="4" y="374"/>
                  </a:lnTo>
                  <a:lnTo>
                    <a:pt x="4" y="372"/>
                  </a:lnTo>
                  <a:lnTo>
                    <a:pt x="4" y="370"/>
                  </a:lnTo>
                  <a:lnTo>
                    <a:pt x="4" y="368"/>
                  </a:lnTo>
                  <a:lnTo>
                    <a:pt x="4" y="366"/>
                  </a:lnTo>
                  <a:lnTo>
                    <a:pt x="4" y="365"/>
                  </a:lnTo>
                  <a:lnTo>
                    <a:pt x="4" y="363"/>
                  </a:lnTo>
                  <a:lnTo>
                    <a:pt x="2" y="363"/>
                  </a:lnTo>
                  <a:lnTo>
                    <a:pt x="2" y="365"/>
                  </a:lnTo>
                  <a:lnTo>
                    <a:pt x="2" y="363"/>
                  </a:lnTo>
                  <a:lnTo>
                    <a:pt x="0" y="363"/>
                  </a:lnTo>
                  <a:lnTo>
                    <a:pt x="2" y="361"/>
                  </a:lnTo>
                  <a:lnTo>
                    <a:pt x="4" y="361"/>
                  </a:lnTo>
                  <a:lnTo>
                    <a:pt x="4" y="359"/>
                  </a:lnTo>
                  <a:lnTo>
                    <a:pt x="2" y="359"/>
                  </a:lnTo>
                  <a:lnTo>
                    <a:pt x="2" y="357"/>
                  </a:lnTo>
                  <a:lnTo>
                    <a:pt x="4" y="357"/>
                  </a:lnTo>
                  <a:lnTo>
                    <a:pt x="4" y="359"/>
                  </a:lnTo>
                  <a:lnTo>
                    <a:pt x="6" y="359"/>
                  </a:lnTo>
                  <a:lnTo>
                    <a:pt x="6" y="361"/>
                  </a:lnTo>
                  <a:lnTo>
                    <a:pt x="8" y="361"/>
                  </a:lnTo>
                  <a:lnTo>
                    <a:pt x="10" y="361"/>
                  </a:lnTo>
                  <a:lnTo>
                    <a:pt x="10" y="359"/>
                  </a:lnTo>
                  <a:lnTo>
                    <a:pt x="10" y="357"/>
                  </a:lnTo>
                  <a:lnTo>
                    <a:pt x="10" y="355"/>
                  </a:lnTo>
                  <a:lnTo>
                    <a:pt x="10" y="353"/>
                  </a:lnTo>
                  <a:lnTo>
                    <a:pt x="8" y="353"/>
                  </a:lnTo>
                  <a:lnTo>
                    <a:pt x="8" y="351"/>
                  </a:lnTo>
                  <a:lnTo>
                    <a:pt x="6" y="351"/>
                  </a:lnTo>
                  <a:lnTo>
                    <a:pt x="6" y="349"/>
                  </a:lnTo>
                  <a:lnTo>
                    <a:pt x="8" y="349"/>
                  </a:lnTo>
                  <a:lnTo>
                    <a:pt x="8" y="347"/>
                  </a:lnTo>
                  <a:lnTo>
                    <a:pt x="6" y="347"/>
                  </a:lnTo>
                  <a:lnTo>
                    <a:pt x="6" y="345"/>
                  </a:lnTo>
                  <a:lnTo>
                    <a:pt x="6" y="343"/>
                  </a:lnTo>
                  <a:lnTo>
                    <a:pt x="6" y="342"/>
                  </a:lnTo>
                  <a:lnTo>
                    <a:pt x="8" y="340"/>
                  </a:lnTo>
                  <a:lnTo>
                    <a:pt x="8" y="338"/>
                  </a:lnTo>
                  <a:lnTo>
                    <a:pt x="17" y="318"/>
                  </a:lnTo>
                  <a:lnTo>
                    <a:pt x="23" y="307"/>
                  </a:lnTo>
                  <a:lnTo>
                    <a:pt x="23" y="305"/>
                  </a:lnTo>
                  <a:lnTo>
                    <a:pt x="25" y="301"/>
                  </a:lnTo>
                  <a:lnTo>
                    <a:pt x="29" y="292"/>
                  </a:lnTo>
                  <a:lnTo>
                    <a:pt x="31" y="292"/>
                  </a:lnTo>
                  <a:lnTo>
                    <a:pt x="31" y="290"/>
                  </a:lnTo>
                  <a:lnTo>
                    <a:pt x="31" y="288"/>
                  </a:lnTo>
                  <a:lnTo>
                    <a:pt x="33" y="288"/>
                  </a:lnTo>
                  <a:lnTo>
                    <a:pt x="33" y="286"/>
                  </a:lnTo>
                  <a:lnTo>
                    <a:pt x="35" y="282"/>
                  </a:lnTo>
                  <a:lnTo>
                    <a:pt x="37" y="278"/>
                  </a:lnTo>
                  <a:lnTo>
                    <a:pt x="37" y="276"/>
                  </a:lnTo>
                  <a:lnTo>
                    <a:pt x="38" y="276"/>
                  </a:lnTo>
                  <a:lnTo>
                    <a:pt x="38" y="274"/>
                  </a:lnTo>
                  <a:lnTo>
                    <a:pt x="38" y="272"/>
                  </a:lnTo>
                  <a:lnTo>
                    <a:pt x="40" y="270"/>
                  </a:lnTo>
                  <a:lnTo>
                    <a:pt x="40" y="269"/>
                  </a:lnTo>
                  <a:lnTo>
                    <a:pt x="42" y="267"/>
                  </a:lnTo>
                  <a:lnTo>
                    <a:pt x="42" y="265"/>
                  </a:lnTo>
                  <a:lnTo>
                    <a:pt x="44" y="263"/>
                  </a:lnTo>
                  <a:lnTo>
                    <a:pt x="44" y="261"/>
                  </a:lnTo>
                  <a:lnTo>
                    <a:pt x="46" y="259"/>
                  </a:lnTo>
                  <a:lnTo>
                    <a:pt x="46" y="257"/>
                  </a:lnTo>
                  <a:lnTo>
                    <a:pt x="48" y="255"/>
                  </a:lnTo>
                  <a:lnTo>
                    <a:pt x="48" y="253"/>
                  </a:lnTo>
                  <a:lnTo>
                    <a:pt x="50" y="251"/>
                  </a:lnTo>
                  <a:lnTo>
                    <a:pt x="50" y="249"/>
                  </a:lnTo>
                  <a:lnTo>
                    <a:pt x="50" y="247"/>
                  </a:lnTo>
                  <a:lnTo>
                    <a:pt x="52" y="247"/>
                  </a:lnTo>
                  <a:lnTo>
                    <a:pt x="52" y="246"/>
                  </a:lnTo>
                  <a:lnTo>
                    <a:pt x="52" y="244"/>
                  </a:lnTo>
                  <a:lnTo>
                    <a:pt x="54" y="244"/>
                  </a:lnTo>
                  <a:lnTo>
                    <a:pt x="54" y="242"/>
                  </a:lnTo>
                  <a:lnTo>
                    <a:pt x="54" y="240"/>
                  </a:lnTo>
                  <a:lnTo>
                    <a:pt x="56" y="238"/>
                  </a:lnTo>
                  <a:lnTo>
                    <a:pt x="56" y="236"/>
                  </a:lnTo>
                  <a:lnTo>
                    <a:pt x="58" y="236"/>
                  </a:lnTo>
                  <a:lnTo>
                    <a:pt x="58" y="234"/>
                  </a:lnTo>
                  <a:lnTo>
                    <a:pt x="58" y="232"/>
                  </a:lnTo>
                  <a:lnTo>
                    <a:pt x="60" y="232"/>
                  </a:lnTo>
                  <a:lnTo>
                    <a:pt x="60" y="230"/>
                  </a:lnTo>
                  <a:lnTo>
                    <a:pt x="60" y="228"/>
                  </a:lnTo>
                  <a:lnTo>
                    <a:pt x="62" y="226"/>
                  </a:lnTo>
                  <a:lnTo>
                    <a:pt x="62" y="224"/>
                  </a:lnTo>
                  <a:lnTo>
                    <a:pt x="62" y="222"/>
                  </a:lnTo>
                  <a:lnTo>
                    <a:pt x="63" y="222"/>
                  </a:lnTo>
                  <a:lnTo>
                    <a:pt x="63" y="221"/>
                  </a:lnTo>
                  <a:lnTo>
                    <a:pt x="65" y="219"/>
                  </a:lnTo>
                  <a:lnTo>
                    <a:pt x="65" y="217"/>
                  </a:lnTo>
                  <a:lnTo>
                    <a:pt x="67" y="215"/>
                  </a:lnTo>
                  <a:lnTo>
                    <a:pt x="67" y="213"/>
                  </a:lnTo>
                  <a:lnTo>
                    <a:pt x="67" y="211"/>
                  </a:lnTo>
                  <a:lnTo>
                    <a:pt x="69" y="209"/>
                  </a:lnTo>
                  <a:lnTo>
                    <a:pt x="69" y="207"/>
                  </a:lnTo>
                  <a:lnTo>
                    <a:pt x="71" y="203"/>
                  </a:lnTo>
                  <a:lnTo>
                    <a:pt x="73" y="203"/>
                  </a:lnTo>
                  <a:lnTo>
                    <a:pt x="73" y="201"/>
                  </a:lnTo>
                  <a:lnTo>
                    <a:pt x="75" y="198"/>
                  </a:lnTo>
                  <a:lnTo>
                    <a:pt x="75" y="196"/>
                  </a:lnTo>
                  <a:lnTo>
                    <a:pt x="77" y="194"/>
                  </a:lnTo>
                  <a:lnTo>
                    <a:pt x="77" y="192"/>
                  </a:lnTo>
                  <a:lnTo>
                    <a:pt x="81" y="186"/>
                  </a:lnTo>
                  <a:lnTo>
                    <a:pt x="81" y="184"/>
                  </a:lnTo>
                  <a:lnTo>
                    <a:pt x="83" y="180"/>
                  </a:lnTo>
                  <a:lnTo>
                    <a:pt x="83" y="178"/>
                  </a:lnTo>
                  <a:lnTo>
                    <a:pt x="85" y="178"/>
                  </a:lnTo>
                  <a:lnTo>
                    <a:pt x="85" y="176"/>
                  </a:lnTo>
                  <a:lnTo>
                    <a:pt x="88" y="169"/>
                  </a:lnTo>
                  <a:lnTo>
                    <a:pt x="90" y="167"/>
                  </a:lnTo>
                  <a:lnTo>
                    <a:pt x="96" y="153"/>
                  </a:lnTo>
                  <a:lnTo>
                    <a:pt x="96" y="151"/>
                  </a:lnTo>
                  <a:lnTo>
                    <a:pt x="98" y="148"/>
                  </a:lnTo>
                  <a:lnTo>
                    <a:pt x="100" y="146"/>
                  </a:lnTo>
                  <a:lnTo>
                    <a:pt x="100" y="144"/>
                  </a:lnTo>
                  <a:lnTo>
                    <a:pt x="104" y="138"/>
                  </a:lnTo>
                  <a:lnTo>
                    <a:pt x="106" y="132"/>
                  </a:lnTo>
                  <a:lnTo>
                    <a:pt x="110" y="125"/>
                  </a:lnTo>
                  <a:lnTo>
                    <a:pt x="113" y="115"/>
                  </a:lnTo>
                  <a:lnTo>
                    <a:pt x="115" y="113"/>
                  </a:lnTo>
                  <a:lnTo>
                    <a:pt x="115" y="111"/>
                  </a:lnTo>
                  <a:lnTo>
                    <a:pt x="117" y="109"/>
                  </a:lnTo>
                  <a:lnTo>
                    <a:pt x="117" y="107"/>
                  </a:lnTo>
                  <a:lnTo>
                    <a:pt x="117" y="105"/>
                  </a:lnTo>
                  <a:lnTo>
                    <a:pt x="119" y="102"/>
                  </a:lnTo>
                  <a:lnTo>
                    <a:pt x="121" y="102"/>
                  </a:lnTo>
                  <a:lnTo>
                    <a:pt x="123" y="96"/>
                  </a:lnTo>
                  <a:lnTo>
                    <a:pt x="125" y="92"/>
                  </a:lnTo>
                  <a:lnTo>
                    <a:pt x="127" y="90"/>
                  </a:lnTo>
                  <a:lnTo>
                    <a:pt x="129" y="84"/>
                  </a:lnTo>
                  <a:lnTo>
                    <a:pt x="129" y="82"/>
                  </a:lnTo>
                  <a:lnTo>
                    <a:pt x="131" y="79"/>
                  </a:lnTo>
                  <a:lnTo>
                    <a:pt x="131" y="77"/>
                  </a:lnTo>
                  <a:lnTo>
                    <a:pt x="133" y="75"/>
                  </a:lnTo>
                  <a:lnTo>
                    <a:pt x="135" y="69"/>
                  </a:lnTo>
                  <a:lnTo>
                    <a:pt x="136" y="69"/>
                  </a:lnTo>
                  <a:lnTo>
                    <a:pt x="140" y="57"/>
                  </a:lnTo>
                  <a:lnTo>
                    <a:pt x="142" y="55"/>
                  </a:lnTo>
                  <a:lnTo>
                    <a:pt x="144" y="50"/>
                  </a:lnTo>
                  <a:lnTo>
                    <a:pt x="150" y="40"/>
                  </a:lnTo>
                  <a:lnTo>
                    <a:pt x="150" y="38"/>
                  </a:lnTo>
                  <a:lnTo>
                    <a:pt x="152" y="36"/>
                  </a:lnTo>
                  <a:lnTo>
                    <a:pt x="156" y="27"/>
                  </a:lnTo>
                  <a:lnTo>
                    <a:pt x="156" y="25"/>
                  </a:lnTo>
                  <a:lnTo>
                    <a:pt x="158" y="23"/>
                  </a:lnTo>
                  <a:lnTo>
                    <a:pt x="161" y="13"/>
                  </a:lnTo>
                  <a:lnTo>
                    <a:pt x="169" y="0"/>
                  </a:lnTo>
                  <a:lnTo>
                    <a:pt x="171" y="0"/>
                  </a:lnTo>
                  <a:lnTo>
                    <a:pt x="173" y="2"/>
                  </a:lnTo>
                  <a:lnTo>
                    <a:pt x="175" y="2"/>
                  </a:lnTo>
                  <a:lnTo>
                    <a:pt x="177" y="2"/>
                  </a:lnTo>
                  <a:lnTo>
                    <a:pt x="177" y="4"/>
                  </a:lnTo>
                  <a:lnTo>
                    <a:pt x="179" y="4"/>
                  </a:lnTo>
                  <a:lnTo>
                    <a:pt x="181" y="4"/>
                  </a:lnTo>
                  <a:lnTo>
                    <a:pt x="181" y="6"/>
                  </a:lnTo>
                  <a:lnTo>
                    <a:pt x="183" y="6"/>
                  </a:lnTo>
                  <a:lnTo>
                    <a:pt x="184" y="6"/>
                  </a:lnTo>
                  <a:lnTo>
                    <a:pt x="184" y="7"/>
                  </a:lnTo>
                  <a:lnTo>
                    <a:pt x="186" y="7"/>
                  </a:lnTo>
                  <a:lnTo>
                    <a:pt x="188" y="7"/>
                  </a:lnTo>
                  <a:lnTo>
                    <a:pt x="188" y="9"/>
                  </a:lnTo>
                  <a:lnTo>
                    <a:pt x="190" y="9"/>
                  </a:lnTo>
                  <a:lnTo>
                    <a:pt x="192" y="9"/>
                  </a:lnTo>
                  <a:lnTo>
                    <a:pt x="192" y="11"/>
                  </a:lnTo>
                  <a:lnTo>
                    <a:pt x="194" y="11"/>
                  </a:lnTo>
                  <a:lnTo>
                    <a:pt x="196" y="11"/>
                  </a:lnTo>
                  <a:lnTo>
                    <a:pt x="198" y="11"/>
                  </a:lnTo>
                  <a:lnTo>
                    <a:pt x="198" y="13"/>
                  </a:lnTo>
                  <a:lnTo>
                    <a:pt x="200" y="13"/>
                  </a:lnTo>
                  <a:lnTo>
                    <a:pt x="202" y="13"/>
                  </a:lnTo>
                  <a:lnTo>
                    <a:pt x="202" y="15"/>
                  </a:lnTo>
                  <a:lnTo>
                    <a:pt x="204" y="15"/>
                  </a:lnTo>
                  <a:lnTo>
                    <a:pt x="206" y="15"/>
                  </a:lnTo>
                  <a:lnTo>
                    <a:pt x="206" y="17"/>
                  </a:lnTo>
                  <a:lnTo>
                    <a:pt x="207" y="17"/>
                  </a:lnTo>
                  <a:lnTo>
                    <a:pt x="209" y="17"/>
                  </a:lnTo>
                  <a:lnTo>
                    <a:pt x="209" y="19"/>
                  </a:lnTo>
                  <a:lnTo>
                    <a:pt x="211" y="19"/>
                  </a:lnTo>
                  <a:lnTo>
                    <a:pt x="213" y="19"/>
                  </a:lnTo>
                  <a:lnTo>
                    <a:pt x="215" y="21"/>
                  </a:lnTo>
                  <a:lnTo>
                    <a:pt x="217" y="21"/>
                  </a:lnTo>
                  <a:lnTo>
                    <a:pt x="219" y="21"/>
                  </a:lnTo>
                  <a:lnTo>
                    <a:pt x="219" y="23"/>
                  </a:lnTo>
                  <a:lnTo>
                    <a:pt x="221" y="23"/>
                  </a:lnTo>
                  <a:lnTo>
                    <a:pt x="223" y="23"/>
                  </a:lnTo>
                  <a:lnTo>
                    <a:pt x="223" y="25"/>
                  </a:lnTo>
                  <a:lnTo>
                    <a:pt x="225" y="25"/>
                  </a:lnTo>
                  <a:lnTo>
                    <a:pt x="227" y="25"/>
                  </a:lnTo>
                  <a:lnTo>
                    <a:pt x="227" y="27"/>
                  </a:lnTo>
                  <a:lnTo>
                    <a:pt x="229" y="27"/>
                  </a:lnTo>
                  <a:lnTo>
                    <a:pt x="231" y="27"/>
                  </a:lnTo>
                  <a:lnTo>
                    <a:pt x="232" y="29"/>
                  </a:lnTo>
                  <a:lnTo>
                    <a:pt x="234" y="29"/>
                  </a:lnTo>
                  <a:lnTo>
                    <a:pt x="236" y="29"/>
                  </a:lnTo>
                  <a:lnTo>
                    <a:pt x="236" y="31"/>
                  </a:lnTo>
                  <a:lnTo>
                    <a:pt x="238" y="31"/>
                  </a:lnTo>
                  <a:lnTo>
                    <a:pt x="240" y="31"/>
                  </a:lnTo>
                  <a:lnTo>
                    <a:pt x="240" y="32"/>
                  </a:lnTo>
                  <a:lnTo>
                    <a:pt x="242" y="32"/>
                  </a:lnTo>
                  <a:lnTo>
                    <a:pt x="244" y="32"/>
                  </a:lnTo>
                  <a:lnTo>
                    <a:pt x="246" y="32"/>
                  </a:lnTo>
                  <a:lnTo>
                    <a:pt x="246" y="34"/>
                  </a:lnTo>
                  <a:lnTo>
                    <a:pt x="248" y="34"/>
                  </a:lnTo>
                  <a:lnTo>
                    <a:pt x="250" y="34"/>
                  </a:lnTo>
                  <a:lnTo>
                    <a:pt x="250" y="36"/>
                  </a:lnTo>
                  <a:lnTo>
                    <a:pt x="252" y="36"/>
                  </a:lnTo>
                  <a:lnTo>
                    <a:pt x="254" y="36"/>
                  </a:lnTo>
                  <a:lnTo>
                    <a:pt x="255" y="38"/>
                  </a:lnTo>
                  <a:lnTo>
                    <a:pt x="257" y="38"/>
                  </a:lnTo>
                  <a:lnTo>
                    <a:pt x="259" y="38"/>
                  </a:lnTo>
                  <a:lnTo>
                    <a:pt x="259" y="40"/>
                  </a:lnTo>
                  <a:lnTo>
                    <a:pt x="261" y="40"/>
                  </a:lnTo>
                  <a:lnTo>
                    <a:pt x="263" y="40"/>
                  </a:lnTo>
                  <a:lnTo>
                    <a:pt x="263" y="42"/>
                  </a:lnTo>
                  <a:lnTo>
                    <a:pt x="265" y="42"/>
                  </a:lnTo>
                  <a:lnTo>
                    <a:pt x="267" y="42"/>
                  </a:lnTo>
                  <a:lnTo>
                    <a:pt x="269" y="42"/>
                  </a:lnTo>
                  <a:lnTo>
                    <a:pt x="269" y="44"/>
                  </a:lnTo>
                  <a:lnTo>
                    <a:pt x="271" y="44"/>
                  </a:lnTo>
                  <a:lnTo>
                    <a:pt x="273" y="44"/>
                  </a:lnTo>
                  <a:lnTo>
                    <a:pt x="273" y="46"/>
                  </a:lnTo>
                  <a:lnTo>
                    <a:pt x="275" y="46"/>
                  </a:lnTo>
                  <a:lnTo>
                    <a:pt x="277" y="46"/>
                  </a:lnTo>
                  <a:lnTo>
                    <a:pt x="279" y="46"/>
                  </a:lnTo>
                  <a:lnTo>
                    <a:pt x="279" y="48"/>
                  </a:lnTo>
                  <a:lnTo>
                    <a:pt x="280" y="48"/>
                  </a:lnTo>
                  <a:lnTo>
                    <a:pt x="282" y="48"/>
                  </a:lnTo>
                  <a:lnTo>
                    <a:pt x="282" y="50"/>
                  </a:lnTo>
                  <a:lnTo>
                    <a:pt x="284" y="50"/>
                  </a:lnTo>
                  <a:lnTo>
                    <a:pt x="286" y="50"/>
                  </a:lnTo>
                  <a:lnTo>
                    <a:pt x="288" y="50"/>
                  </a:lnTo>
                  <a:lnTo>
                    <a:pt x="288" y="52"/>
                  </a:lnTo>
                  <a:lnTo>
                    <a:pt x="290" y="52"/>
                  </a:lnTo>
                  <a:lnTo>
                    <a:pt x="292" y="52"/>
                  </a:lnTo>
                  <a:lnTo>
                    <a:pt x="292" y="54"/>
                  </a:lnTo>
                  <a:lnTo>
                    <a:pt x="294" y="54"/>
                  </a:lnTo>
                  <a:lnTo>
                    <a:pt x="296" y="54"/>
                  </a:lnTo>
                  <a:lnTo>
                    <a:pt x="298" y="54"/>
                  </a:lnTo>
                  <a:lnTo>
                    <a:pt x="298" y="55"/>
                  </a:lnTo>
                  <a:lnTo>
                    <a:pt x="300" y="55"/>
                  </a:lnTo>
                  <a:lnTo>
                    <a:pt x="302" y="55"/>
                  </a:lnTo>
                  <a:lnTo>
                    <a:pt x="303" y="57"/>
                  </a:lnTo>
                  <a:lnTo>
                    <a:pt x="305" y="57"/>
                  </a:lnTo>
                  <a:lnTo>
                    <a:pt x="307" y="57"/>
                  </a:lnTo>
                  <a:lnTo>
                    <a:pt x="307" y="59"/>
                  </a:lnTo>
                  <a:lnTo>
                    <a:pt x="309" y="59"/>
                  </a:lnTo>
                  <a:lnTo>
                    <a:pt x="311" y="59"/>
                  </a:lnTo>
                  <a:lnTo>
                    <a:pt x="313" y="59"/>
                  </a:lnTo>
                  <a:lnTo>
                    <a:pt x="313" y="61"/>
                  </a:lnTo>
                  <a:lnTo>
                    <a:pt x="315" y="61"/>
                  </a:lnTo>
                  <a:lnTo>
                    <a:pt x="317" y="61"/>
                  </a:lnTo>
                  <a:lnTo>
                    <a:pt x="317" y="63"/>
                  </a:lnTo>
                  <a:lnTo>
                    <a:pt x="319" y="63"/>
                  </a:lnTo>
                  <a:lnTo>
                    <a:pt x="321" y="63"/>
                  </a:lnTo>
                  <a:lnTo>
                    <a:pt x="323" y="63"/>
                  </a:lnTo>
                  <a:lnTo>
                    <a:pt x="323" y="65"/>
                  </a:lnTo>
                  <a:lnTo>
                    <a:pt x="325" y="65"/>
                  </a:lnTo>
                  <a:lnTo>
                    <a:pt x="327" y="65"/>
                  </a:lnTo>
                  <a:lnTo>
                    <a:pt x="328" y="65"/>
                  </a:lnTo>
                  <a:lnTo>
                    <a:pt x="328" y="67"/>
                  </a:lnTo>
                  <a:lnTo>
                    <a:pt x="330" y="67"/>
                  </a:lnTo>
                  <a:lnTo>
                    <a:pt x="332" y="67"/>
                  </a:lnTo>
                  <a:lnTo>
                    <a:pt x="332" y="69"/>
                  </a:lnTo>
                  <a:lnTo>
                    <a:pt x="334" y="69"/>
                  </a:lnTo>
                  <a:lnTo>
                    <a:pt x="336" y="69"/>
                  </a:lnTo>
                  <a:lnTo>
                    <a:pt x="338" y="69"/>
                  </a:lnTo>
                  <a:lnTo>
                    <a:pt x="338" y="71"/>
                  </a:lnTo>
                  <a:lnTo>
                    <a:pt x="340" y="71"/>
                  </a:lnTo>
                  <a:lnTo>
                    <a:pt x="342" y="71"/>
                  </a:lnTo>
                  <a:lnTo>
                    <a:pt x="344" y="71"/>
                  </a:lnTo>
                  <a:lnTo>
                    <a:pt x="344" y="73"/>
                  </a:lnTo>
                  <a:lnTo>
                    <a:pt x="346" y="73"/>
                  </a:lnTo>
                  <a:lnTo>
                    <a:pt x="348" y="73"/>
                  </a:lnTo>
                  <a:lnTo>
                    <a:pt x="350" y="73"/>
                  </a:lnTo>
                  <a:lnTo>
                    <a:pt x="350" y="75"/>
                  </a:lnTo>
                  <a:lnTo>
                    <a:pt x="351" y="75"/>
                  </a:lnTo>
                  <a:lnTo>
                    <a:pt x="353" y="75"/>
                  </a:lnTo>
                  <a:lnTo>
                    <a:pt x="355" y="77"/>
                  </a:lnTo>
                  <a:lnTo>
                    <a:pt x="357" y="77"/>
                  </a:lnTo>
                  <a:lnTo>
                    <a:pt x="359" y="77"/>
                  </a:lnTo>
                  <a:lnTo>
                    <a:pt x="359" y="79"/>
                  </a:lnTo>
                  <a:lnTo>
                    <a:pt x="361" y="79"/>
                  </a:lnTo>
                  <a:lnTo>
                    <a:pt x="363" y="79"/>
                  </a:lnTo>
                  <a:lnTo>
                    <a:pt x="365" y="79"/>
                  </a:lnTo>
                  <a:lnTo>
                    <a:pt x="365" y="80"/>
                  </a:lnTo>
                  <a:lnTo>
                    <a:pt x="367" y="80"/>
                  </a:lnTo>
                  <a:lnTo>
                    <a:pt x="369" y="80"/>
                  </a:lnTo>
                  <a:lnTo>
                    <a:pt x="371" y="80"/>
                  </a:lnTo>
                  <a:lnTo>
                    <a:pt x="371" y="82"/>
                  </a:lnTo>
                  <a:lnTo>
                    <a:pt x="373" y="82"/>
                  </a:lnTo>
                  <a:lnTo>
                    <a:pt x="375" y="82"/>
                  </a:lnTo>
                  <a:lnTo>
                    <a:pt x="376" y="82"/>
                  </a:lnTo>
                  <a:lnTo>
                    <a:pt x="376" y="84"/>
                  </a:lnTo>
                  <a:lnTo>
                    <a:pt x="378" y="84"/>
                  </a:lnTo>
                  <a:lnTo>
                    <a:pt x="380" y="84"/>
                  </a:lnTo>
                  <a:lnTo>
                    <a:pt x="382" y="84"/>
                  </a:lnTo>
                  <a:lnTo>
                    <a:pt x="382" y="86"/>
                  </a:lnTo>
                  <a:lnTo>
                    <a:pt x="384" y="86"/>
                  </a:lnTo>
                  <a:lnTo>
                    <a:pt x="386" y="86"/>
                  </a:lnTo>
                  <a:lnTo>
                    <a:pt x="388" y="86"/>
                  </a:lnTo>
                  <a:lnTo>
                    <a:pt x="388" y="88"/>
                  </a:lnTo>
                  <a:lnTo>
                    <a:pt x="390" y="88"/>
                  </a:lnTo>
                  <a:lnTo>
                    <a:pt x="392" y="88"/>
                  </a:lnTo>
                  <a:lnTo>
                    <a:pt x="394" y="88"/>
                  </a:lnTo>
                  <a:lnTo>
                    <a:pt x="394" y="90"/>
                  </a:lnTo>
                  <a:lnTo>
                    <a:pt x="396" y="90"/>
                  </a:lnTo>
                  <a:lnTo>
                    <a:pt x="398" y="90"/>
                  </a:lnTo>
                  <a:lnTo>
                    <a:pt x="400" y="90"/>
                  </a:lnTo>
                  <a:lnTo>
                    <a:pt x="400" y="92"/>
                  </a:lnTo>
                  <a:lnTo>
                    <a:pt x="401" y="92"/>
                  </a:lnTo>
                  <a:lnTo>
                    <a:pt x="403" y="92"/>
                  </a:lnTo>
                  <a:lnTo>
                    <a:pt x="405" y="92"/>
                  </a:lnTo>
                  <a:lnTo>
                    <a:pt x="405" y="94"/>
                  </a:lnTo>
                  <a:lnTo>
                    <a:pt x="407" y="94"/>
                  </a:lnTo>
                  <a:lnTo>
                    <a:pt x="409" y="94"/>
                  </a:lnTo>
                  <a:lnTo>
                    <a:pt x="411" y="94"/>
                  </a:lnTo>
                  <a:lnTo>
                    <a:pt x="411" y="96"/>
                  </a:lnTo>
                  <a:lnTo>
                    <a:pt x="413" y="96"/>
                  </a:lnTo>
                  <a:lnTo>
                    <a:pt x="415" y="96"/>
                  </a:lnTo>
                  <a:lnTo>
                    <a:pt x="417" y="96"/>
                  </a:lnTo>
                  <a:lnTo>
                    <a:pt x="417" y="98"/>
                  </a:lnTo>
                  <a:lnTo>
                    <a:pt x="419" y="98"/>
                  </a:lnTo>
                  <a:lnTo>
                    <a:pt x="421" y="98"/>
                  </a:lnTo>
                  <a:lnTo>
                    <a:pt x="423" y="98"/>
                  </a:lnTo>
                  <a:lnTo>
                    <a:pt x="424" y="100"/>
                  </a:lnTo>
                  <a:lnTo>
                    <a:pt x="426" y="100"/>
                  </a:lnTo>
                  <a:lnTo>
                    <a:pt x="428" y="100"/>
                  </a:lnTo>
                  <a:lnTo>
                    <a:pt x="430" y="100"/>
                  </a:lnTo>
                  <a:lnTo>
                    <a:pt x="430" y="102"/>
                  </a:lnTo>
                  <a:lnTo>
                    <a:pt x="432" y="102"/>
                  </a:lnTo>
                  <a:lnTo>
                    <a:pt x="434" y="102"/>
                  </a:lnTo>
                  <a:lnTo>
                    <a:pt x="436" y="102"/>
                  </a:lnTo>
                  <a:lnTo>
                    <a:pt x="436" y="103"/>
                  </a:lnTo>
                  <a:lnTo>
                    <a:pt x="438" y="103"/>
                  </a:lnTo>
                  <a:lnTo>
                    <a:pt x="440" y="103"/>
                  </a:lnTo>
                  <a:lnTo>
                    <a:pt x="442" y="103"/>
                  </a:lnTo>
                  <a:lnTo>
                    <a:pt x="442" y="105"/>
                  </a:lnTo>
                  <a:lnTo>
                    <a:pt x="444" y="105"/>
                  </a:lnTo>
                  <a:lnTo>
                    <a:pt x="446" y="105"/>
                  </a:lnTo>
                  <a:lnTo>
                    <a:pt x="448" y="105"/>
                  </a:lnTo>
                  <a:lnTo>
                    <a:pt x="449" y="105"/>
                  </a:lnTo>
                  <a:lnTo>
                    <a:pt x="449" y="107"/>
                  </a:lnTo>
                  <a:lnTo>
                    <a:pt x="451" y="107"/>
                  </a:lnTo>
                  <a:lnTo>
                    <a:pt x="453" y="107"/>
                  </a:lnTo>
                  <a:lnTo>
                    <a:pt x="455" y="107"/>
                  </a:lnTo>
                  <a:lnTo>
                    <a:pt x="455" y="109"/>
                  </a:lnTo>
                  <a:lnTo>
                    <a:pt x="455" y="111"/>
                  </a:lnTo>
                  <a:close/>
                </a:path>
              </a:pathLst>
            </a:custGeom>
            <a:solidFill>
              <a:srgbClr val="FD685D"/>
            </a:solidFill>
            <a:ln w="3175">
              <a:solidFill>
                <a:sysClr val="window" lastClr="FFFF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black"/>
                </a:solidFill>
                <a:effectLst/>
                <a:uLnTx/>
                <a:uFillTx/>
                <a:ea typeface="宋体" panose="02010600030101010101" pitchFamily="2" charset="-122"/>
              </a:endParaRPr>
            </a:p>
          </p:txBody>
        </p:sp>
        <p:sp>
          <p:nvSpPr>
            <p:cNvPr id="64" name="Freeform 6">
              <a:extLst>
                <a:ext uri="{FF2B5EF4-FFF2-40B4-BE49-F238E27FC236}">
                  <a16:creationId xmlns:a16="http://schemas.microsoft.com/office/drawing/2014/main" id="{E5537DC4-EE08-667B-F0C3-E13B4C4D9270}"/>
                </a:ext>
              </a:extLst>
            </p:cNvPr>
            <p:cNvSpPr>
              <a:spLocks noEditPoints="1"/>
            </p:cNvSpPr>
            <p:nvPr/>
          </p:nvSpPr>
          <p:spPr bwMode="auto">
            <a:xfrm>
              <a:off x="5711825" y="2735263"/>
              <a:ext cx="1265238" cy="987425"/>
            </a:xfrm>
            <a:custGeom>
              <a:avLst/>
              <a:gdLst>
                <a:gd name="T0" fmla="*/ 473 w 797"/>
                <a:gd name="T1" fmla="*/ 242 h 622"/>
                <a:gd name="T2" fmla="*/ 482 w 797"/>
                <a:gd name="T3" fmla="*/ 294 h 622"/>
                <a:gd name="T4" fmla="*/ 499 w 797"/>
                <a:gd name="T5" fmla="*/ 359 h 622"/>
                <a:gd name="T6" fmla="*/ 223 w 797"/>
                <a:gd name="T7" fmla="*/ 423 h 622"/>
                <a:gd name="T8" fmla="*/ 156 w 797"/>
                <a:gd name="T9" fmla="*/ 492 h 622"/>
                <a:gd name="T10" fmla="*/ 102 w 797"/>
                <a:gd name="T11" fmla="*/ 425 h 622"/>
                <a:gd name="T12" fmla="*/ 73 w 797"/>
                <a:gd name="T13" fmla="*/ 331 h 622"/>
                <a:gd name="T14" fmla="*/ 177 w 797"/>
                <a:gd name="T15" fmla="*/ 292 h 622"/>
                <a:gd name="T16" fmla="*/ 108 w 797"/>
                <a:gd name="T17" fmla="*/ 165 h 622"/>
                <a:gd name="T18" fmla="*/ 31 w 797"/>
                <a:gd name="T19" fmla="*/ 58 h 622"/>
                <a:gd name="T20" fmla="*/ 35 w 797"/>
                <a:gd name="T21" fmla="*/ 27 h 622"/>
                <a:gd name="T22" fmla="*/ 79 w 797"/>
                <a:gd name="T23" fmla="*/ 64 h 622"/>
                <a:gd name="T24" fmla="*/ 106 w 797"/>
                <a:gd name="T25" fmla="*/ 114 h 622"/>
                <a:gd name="T26" fmla="*/ 163 w 797"/>
                <a:gd name="T27" fmla="*/ 131 h 622"/>
                <a:gd name="T28" fmla="*/ 186 w 797"/>
                <a:gd name="T29" fmla="*/ 185 h 622"/>
                <a:gd name="T30" fmla="*/ 240 w 797"/>
                <a:gd name="T31" fmla="*/ 206 h 622"/>
                <a:gd name="T32" fmla="*/ 279 w 797"/>
                <a:gd name="T33" fmla="*/ 229 h 622"/>
                <a:gd name="T34" fmla="*/ 315 w 797"/>
                <a:gd name="T35" fmla="*/ 208 h 622"/>
                <a:gd name="T36" fmla="*/ 367 w 797"/>
                <a:gd name="T37" fmla="*/ 231 h 622"/>
                <a:gd name="T38" fmla="*/ 338 w 797"/>
                <a:gd name="T39" fmla="*/ 309 h 622"/>
                <a:gd name="T40" fmla="*/ 536 w 797"/>
                <a:gd name="T41" fmla="*/ 350 h 622"/>
                <a:gd name="T42" fmla="*/ 547 w 797"/>
                <a:gd name="T43" fmla="*/ 388 h 622"/>
                <a:gd name="T44" fmla="*/ 567 w 797"/>
                <a:gd name="T45" fmla="*/ 427 h 622"/>
                <a:gd name="T46" fmla="*/ 594 w 797"/>
                <a:gd name="T47" fmla="*/ 446 h 622"/>
                <a:gd name="T48" fmla="*/ 619 w 797"/>
                <a:gd name="T49" fmla="*/ 432 h 622"/>
                <a:gd name="T50" fmla="*/ 655 w 797"/>
                <a:gd name="T51" fmla="*/ 428 h 622"/>
                <a:gd name="T52" fmla="*/ 688 w 797"/>
                <a:gd name="T53" fmla="*/ 438 h 622"/>
                <a:gd name="T54" fmla="*/ 711 w 797"/>
                <a:gd name="T55" fmla="*/ 453 h 622"/>
                <a:gd name="T56" fmla="*/ 724 w 797"/>
                <a:gd name="T57" fmla="*/ 461 h 622"/>
                <a:gd name="T58" fmla="*/ 741 w 797"/>
                <a:gd name="T59" fmla="*/ 473 h 622"/>
                <a:gd name="T60" fmla="*/ 766 w 797"/>
                <a:gd name="T61" fmla="*/ 463 h 622"/>
                <a:gd name="T62" fmla="*/ 763 w 797"/>
                <a:gd name="T63" fmla="*/ 517 h 622"/>
                <a:gd name="T64" fmla="*/ 718 w 797"/>
                <a:gd name="T65" fmla="*/ 521 h 622"/>
                <a:gd name="T66" fmla="*/ 699 w 797"/>
                <a:gd name="T67" fmla="*/ 574 h 622"/>
                <a:gd name="T68" fmla="*/ 676 w 797"/>
                <a:gd name="T69" fmla="*/ 532 h 622"/>
                <a:gd name="T70" fmla="*/ 661 w 797"/>
                <a:gd name="T71" fmla="*/ 538 h 622"/>
                <a:gd name="T72" fmla="*/ 632 w 797"/>
                <a:gd name="T73" fmla="*/ 569 h 622"/>
                <a:gd name="T74" fmla="*/ 567 w 797"/>
                <a:gd name="T75" fmla="*/ 603 h 622"/>
                <a:gd name="T76" fmla="*/ 536 w 797"/>
                <a:gd name="T77" fmla="*/ 555 h 622"/>
                <a:gd name="T78" fmla="*/ 521 w 797"/>
                <a:gd name="T79" fmla="*/ 500 h 622"/>
                <a:gd name="T80" fmla="*/ 509 w 797"/>
                <a:gd name="T81" fmla="*/ 386 h 622"/>
                <a:gd name="T82" fmla="*/ 194 w 797"/>
                <a:gd name="T83" fmla="*/ 165 h 622"/>
                <a:gd name="T84" fmla="*/ 632 w 797"/>
                <a:gd name="T85" fmla="*/ 421 h 622"/>
                <a:gd name="T86" fmla="*/ 169 w 797"/>
                <a:gd name="T87" fmla="*/ 129 h 622"/>
                <a:gd name="T88" fmla="*/ 469 w 797"/>
                <a:gd name="T89" fmla="*/ 235 h 622"/>
                <a:gd name="T90" fmla="*/ 388 w 797"/>
                <a:gd name="T91" fmla="*/ 206 h 622"/>
                <a:gd name="T92" fmla="*/ 8 w 797"/>
                <a:gd name="T93" fmla="*/ 2 h 622"/>
                <a:gd name="T94" fmla="*/ 645 w 797"/>
                <a:gd name="T95" fmla="*/ 407 h 622"/>
                <a:gd name="T96" fmla="*/ 509 w 797"/>
                <a:gd name="T97" fmla="*/ 405 h 622"/>
                <a:gd name="T98" fmla="*/ 643 w 797"/>
                <a:gd name="T99" fmla="*/ 421 h 622"/>
                <a:gd name="T100" fmla="*/ 530 w 797"/>
                <a:gd name="T101" fmla="*/ 517 h 622"/>
                <a:gd name="T102" fmla="*/ 726 w 797"/>
                <a:gd name="T103" fmla="*/ 461 h 622"/>
                <a:gd name="T104" fmla="*/ 761 w 797"/>
                <a:gd name="T105" fmla="*/ 517 h 622"/>
                <a:gd name="T106" fmla="*/ 386 w 797"/>
                <a:gd name="T107" fmla="*/ 204 h 622"/>
                <a:gd name="T108" fmla="*/ 691 w 797"/>
                <a:gd name="T109" fmla="*/ 425 h 622"/>
                <a:gd name="T110" fmla="*/ 263 w 797"/>
                <a:gd name="T111" fmla="*/ 194 h 622"/>
                <a:gd name="T112" fmla="*/ 209 w 797"/>
                <a:gd name="T113" fmla="*/ 160 h 622"/>
                <a:gd name="T114" fmla="*/ 227 w 797"/>
                <a:gd name="T115" fmla="*/ 185 h 622"/>
                <a:gd name="T116" fmla="*/ 722 w 797"/>
                <a:gd name="T117" fmla="*/ 507 h 622"/>
                <a:gd name="T118" fmla="*/ 419 w 797"/>
                <a:gd name="T119" fmla="*/ 238 h 622"/>
                <a:gd name="T120" fmla="*/ 519 w 797"/>
                <a:gd name="T121" fmla="*/ 465 h 622"/>
                <a:gd name="T122" fmla="*/ 565 w 797"/>
                <a:gd name="T123" fmla="*/ 442 h 622"/>
                <a:gd name="T124" fmla="*/ 726 w 797"/>
                <a:gd name="T125" fmla="*/ 461 h 6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797" h="622">
                  <a:moveTo>
                    <a:pt x="396" y="231"/>
                  </a:moveTo>
                  <a:lnTo>
                    <a:pt x="398" y="231"/>
                  </a:lnTo>
                  <a:lnTo>
                    <a:pt x="400" y="233"/>
                  </a:lnTo>
                  <a:lnTo>
                    <a:pt x="402" y="233"/>
                  </a:lnTo>
                  <a:lnTo>
                    <a:pt x="402" y="235"/>
                  </a:lnTo>
                  <a:lnTo>
                    <a:pt x="403" y="235"/>
                  </a:lnTo>
                  <a:lnTo>
                    <a:pt x="405" y="236"/>
                  </a:lnTo>
                  <a:lnTo>
                    <a:pt x="407" y="236"/>
                  </a:lnTo>
                  <a:lnTo>
                    <a:pt x="409" y="236"/>
                  </a:lnTo>
                  <a:lnTo>
                    <a:pt x="411" y="236"/>
                  </a:lnTo>
                  <a:lnTo>
                    <a:pt x="409" y="236"/>
                  </a:lnTo>
                  <a:lnTo>
                    <a:pt x="409" y="238"/>
                  </a:lnTo>
                  <a:lnTo>
                    <a:pt x="409" y="240"/>
                  </a:lnTo>
                  <a:lnTo>
                    <a:pt x="411" y="240"/>
                  </a:lnTo>
                  <a:lnTo>
                    <a:pt x="413" y="240"/>
                  </a:lnTo>
                  <a:lnTo>
                    <a:pt x="413" y="242"/>
                  </a:lnTo>
                  <a:lnTo>
                    <a:pt x="415" y="242"/>
                  </a:lnTo>
                  <a:lnTo>
                    <a:pt x="417" y="240"/>
                  </a:lnTo>
                  <a:lnTo>
                    <a:pt x="417" y="242"/>
                  </a:lnTo>
                  <a:lnTo>
                    <a:pt x="419" y="242"/>
                  </a:lnTo>
                  <a:lnTo>
                    <a:pt x="417" y="242"/>
                  </a:lnTo>
                  <a:lnTo>
                    <a:pt x="415" y="242"/>
                  </a:lnTo>
                  <a:lnTo>
                    <a:pt x="415" y="244"/>
                  </a:lnTo>
                  <a:lnTo>
                    <a:pt x="413" y="244"/>
                  </a:lnTo>
                  <a:lnTo>
                    <a:pt x="415" y="244"/>
                  </a:lnTo>
                  <a:lnTo>
                    <a:pt x="415" y="242"/>
                  </a:lnTo>
                  <a:lnTo>
                    <a:pt x="417" y="242"/>
                  </a:lnTo>
                  <a:lnTo>
                    <a:pt x="417" y="244"/>
                  </a:lnTo>
                  <a:lnTo>
                    <a:pt x="415" y="244"/>
                  </a:lnTo>
                  <a:lnTo>
                    <a:pt x="417" y="246"/>
                  </a:lnTo>
                  <a:lnTo>
                    <a:pt x="419" y="246"/>
                  </a:lnTo>
                  <a:lnTo>
                    <a:pt x="419" y="248"/>
                  </a:lnTo>
                  <a:lnTo>
                    <a:pt x="417" y="248"/>
                  </a:lnTo>
                  <a:lnTo>
                    <a:pt x="419" y="248"/>
                  </a:lnTo>
                  <a:lnTo>
                    <a:pt x="417" y="248"/>
                  </a:lnTo>
                  <a:lnTo>
                    <a:pt x="417" y="250"/>
                  </a:lnTo>
                  <a:lnTo>
                    <a:pt x="417" y="252"/>
                  </a:lnTo>
                  <a:lnTo>
                    <a:pt x="415" y="252"/>
                  </a:lnTo>
                  <a:lnTo>
                    <a:pt x="415" y="254"/>
                  </a:lnTo>
                  <a:lnTo>
                    <a:pt x="413" y="256"/>
                  </a:lnTo>
                  <a:lnTo>
                    <a:pt x="413" y="258"/>
                  </a:lnTo>
                  <a:lnTo>
                    <a:pt x="413" y="260"/>
                  </a:lnTo>
                  <a:lnTo>
                    <a:pt x="411" y="260"/>
                  </a:lnTo>
                  <a:lnTo>
                    <a:pt x="411" y="261"/>
                  </a:lnTo>
                  <a:lnTo>
                    <a:pt x="411" y="263"/>
                  </a:lnTo>
                  <a:lnTo>
                    <a:pt x="411" y="261"/>
                  </a:lnTo>
                  <a:lnTo>
                    <a:pt x="411" y="260"/>
                  </a:lnTo>
                  <a:lnTo>
                    <a:pt x="413" y="260"/>
                  </a:lnTo>
                  <a:lnTo>
                    <a:pt x="413" y="261"/>
                  </a:lnTo>
                  <a:lnTo>
                    <a:pt x="415" y="261"/>
                  </a:lnTo>
                  <a:lnTo>
                    <a:pt x="415" y="260"/>
                  </a:lnTo>
                  <a:lnTo>
                    <a:pt x="417" y="260"/>
                  </a:lnTo>
                  <a:lnTo>
                    <a:pt x="415" y="258"/>
                  </a:lnTo>
                  <a:lnTo>
                    <a:pt x="417" y="258"/>
                  </a:lnTo>
                  <a:lnTo>
                    <a:pt x="417" y="260"/>
                  </a:lnTo>
                  <a:lnTo>
                    <a:pt x="417" y="258"/>
                  </a:lnTo>
                  <a:lnTo>
                    <a:pt x="417" y="260"/>
                  </a:lnTo>
                  <a:lnTo>
                    <a:pt x="419" y="260"/>
                  </a:lnTo>
                  <a:lnTo>
                    <a:pt x="419" y="261"/>
                  </a:lnTo>
                  <a:lnTo>
                    <a:pt x="421" y="261"/>
                  </a:lnTo>
                  <a:lnTo>
                    <a:pt x="421" y="263"/>
                  </a:lnTo>
                  <a:lnTo>
                    <a:pt x="423" y="265"/>
                  </a:lnTo>
                  <a:lnTo>
                    <a:pt x="423" y="263"/>
                  </a:lnTo>
                  <a:lnTo>
                    <a:pt x="423" y="261"/>
                  </a:lnTo>
                  <a:lnTo>
                    <a:pt x="425" y="261"/>
                  </a:lnTo>
                  <a:lnTo>
                    <a:pt x="425" y="260"/>
                  </a:lnTo>
                  <a:lnTo>
                    <a:pt x="425" y="258"/>
                  </a:lnTo>
                  <a:lnTo>
                    <a:pt x="425" y="256"/>
                  </a:lnTo>
                  <a:lnTo>
                    <a:pt x="423" y="258"/>
                  </a:lnTo>
                  <a:lnTo>
                    <a:pt x="423" y="256"/>
                  </a:lnTo>
                  <a:lnTo>
                    <a:pt x="423" y="254"/>
                  </a:lnTo>
                  <a:lnTo>
                    <a:pt x="421" y="254"/>
                  </a:lnTo>
                  <a:lnTo>
                    <a:pt x="423" y="252"/>
                  </a:lnTo>
                  <a:lnTo>
                    <a:pt x="425" y="252"/>
                  </a:lnTo>
                  <a:lnTo>
                    <a:pt x="425" y="250"/>
                  </a:lnTo>
                  <a:lnTo>
                    <a:pt x="423" y="250"/>
                  </a:lnTo>
                  <a:lnTo>
                    <a:pt x="423" y="248"/>
                  </a:lnTo>
                  <a:lnTo>
                    <a:pt x="423" y="246"/>
                  </a:lnTo>
                  <a:lnTo>
                    <a:pt x="423" y="244"/>
                  </a:lnTo>
                  <a:lnTo>
                    <a:pt x="425" y="244"/>
                  </a:lnTo>
                  <a:lnTo>
                    <a:pt x="426" y="244"/>
                  </a:lnTo>
                  <a:lnTo>
                    <a:pt x="428" y="242"/>
                  </a:lnTo>
                  <a:lnTo>
                    <a:pt x="428" y="240"/>
                  </a:lnTo>
                  <a:lnTo>
                    <a:pt x="428" y="242"/>
                  </a:lnTo>
                  <a:lnTo>
                    <a:pt x="428" y="240"/>
                  </a:lnTo>
                  <a:lnTo>
                    <a:pt x="430" y="240"/>
                  </a:lnTo>
                  <a:lnTo>
                    <a:pt x="430" y="242"/>
                  </a:lnTo>
                  <a:lnTo>
                    <a:pt x="430" y="240"/>
                  </a:lnTo>
                  <a:lnTo>
                    <a:pt x="430" y="238"/>
                  </a:lnTo>
                  <a:lnTo>
                    <a:pt x="432" y="238"/>
                  </a:lnTo>
                  <a:lnTo>
                    <a:pt x="434" y="238"/>
                  </a:lnTo>
                  <a:lnTo>
                    <a:pt x="436" y="238"/>
                  </a:lnTo>
                  <a:lnTo>
                    <a:pt x="434" y="238"/>
                  </a:lnTo>
                  <a:lnTo>
                    <a:pt x="434" y="236"/>
                  </a:lnTo>
                  <a:lnTo>
                    <a:pt x="436" y="235"/>
                  </a:lnTo>
                  <a:lnTo>
                    <a:pt x="438" y="235"/>
                  </a:lnTo>
                  <a:lnTo>
                    <a:pt x="436" y="235"/>
                  </a:lnTo>
                  <a:lnTo>
                    <a:pt x="436" y="233"/>
                  </a:lnTo>
                  <a:lnTo>
                    <a:pt x="438" y="233"/>
                  </a:lnTo>
                  <a:lnTo>
                    <a:pt x="436" y="233"/>
                  </a:lnTo>
                  <a:lnTo>
                    <a:pt x="438" y="233"/>
                  </a:lnTo>
                  <a:lnTo>
                    <a:pt x="440" y="233"/>
                  </a:lnTo>
                  <a:lnTo>
                    <a:pt x="440" y="235"/>
                  </a:lnTo>
                  <a:lnTo>
                    <a:pt x="442" y="235"/>
                  </a:lnTo>
                  <a:lnTo>
                    <a:pt x="440" y="235"/>
                  </a:lnTo>
                  <a:lnTo>
                    <a:pt x="440" y="236"/>
                  </a:lnTo>
                  <a:lnTo>
                    <a:pt x="438" y="236"/>
                  </a:lnTo>
                  <a:lnTo>
                    <a:pt x="438" y="238"/>
                  </a:lnTo>
                  <a:lnTo>
                    <a:pt x="436" y="238"/>
                  </a:lnTo>
                  <a:lnTo>
                    <a:pt x="438" y="238"/>
                  </a:lnTo>
                  <a:lnTo>
                    <a:pt x="438" y="240"/>
                  </a:lnTo>
                  <a:lnTo>
                    <a:pt x="436" y="240"/>
                  </a:lnTo>
                  <a:lnTo>
                    <a:pt x="434" y="240"/>
                  </a:lnTo>
                  <a:lnTo>
                    <a:pt x="434" y="242"/>
                  </a:lnTo>
                  <a:lnTo>
                    <a:pt x="434" y="240"/>
                  </a:lnTo>
                  <a:lnTo>
                    <a:pt x="432" y="242"/>
                  </a:lnTo>
                  <a:lnTo>
                    <a:pt x="434" y="242"/>
                  </a:lnTo>
                  <a:lnTo>
                    <a:pt x="436" y="242"/>
                  </a:lnTo>
                  <a:lnTo>
                    <a:pt x="436" y="240"/>
                  </a:lnTo>
                  <a:lnTo>
                    <a:pt x="436" y="242"/>
                  </a:lnTo>
                  <a:lnTo>
                    <a:pt x="438" y="242"/>
                  </a:lnTo>
                  <a:lnTo>
                    <a:pt x="438" y="240"/>
                  </a:lnTo>
                  <a:lnTo>
                    <a:pt x="440" y="240"/>
                  </a:lnTo>
                  <a:lnTo>
                    <a:pt x="442" y="242"/>
                  </a:lnTo>
                  <a:lnTo>
                    <a:pt x="442" y="240"/>
                  </a:lnTo>
                  <a:lnTo>
                    <a:pt x="444" y="240"/>
                  </a:lnTo>
                  <a:lnTo>
                    <a:pt x="446" y="240"/>
                  </a:lnTo>
                  <a:lnTo>
                    <a:pt x="446" y="238"/>
                  </a:lnTo>
                  <a:lnTo>
                    <a:pt x="446" y="236"/>
                  </a:lnTo>
                  <a:lnTo>
                    <a:pt x="448" y="236"/>
                  </a:lnTo>
                  <a:lnTo>
                    <a:pt x="450" y="236"/>
                  </a:lnTo>
                  <a:lnTo>
                    <a:pt x="450" y="238"/>
                  </a:lnTo>
                  <a:lnTo>
                    <a:pt x="448" y="238"/>
                  </a:lnTo>
                  <a:lnTo>
                    <a:pt x="448" y="240"/>
                  </a:lnTo>
                  <a:lnTo>
                    <a:pt x="446" y="240"/>
                  </a:lnTo>
                  <a:lnTo>
                    <a:pt x="448" y="240"/>
                  </a:lnTo>
                  <a:lnTo>
                    <a:pt x="448" y="242"/>
                  </a:lnTo>
                  <a:lnTo>
                    <a:pt x="448" y="244"/>
                  </a:lnTo>
                  <a:lnTo>
                    <a:pt x="446" y="244"/>
                  </a:lnTo>
                  <a:lnTo>
                    <a:pt x="446" y="246"/>
                  </a:lnTo>
                  <a:lnTo>
                    <a:pt x="448" y="244"/>
                  </a:lnTo>
                  <a:lnTo>
                    <a:pt x="448" y="242"/>
                  </a:lnTo>
                  <a:lnTo>
                    <a:pt x="448" y="240"/>
                  </a:lnTo>
                  <a:lnTo>
                    <a:pt x="450" y="240"/>
                  </a:lnTo>
                  <a:lnTo>
                    <a:pt x="448" y="240"/>
                  </a:lnTo>
                  <a:lnTo>
                    <a:pt x="450" y="238"/>
                  </a:lnTo>
                  <a:lnTo>
                    <a:pt x="451" y="238"/>
                  </a:lnTo>
                  <a:lnTo>
                    <a:pt x="453" y="238"/>
                  </a:lnTo>
                  <a:lnTo>
                    <a:pt x="453" y="236"/>
                  </a:lnTo>
                  <a:lnTo>
                    <a:pt x="455" y="236"/>
                  </a:lnTo>
                  <a:lnTo>
                    <a:pt x="455" y="235"/>
                  </a:lnTo>
                  <a:lnTo>
                    <a:pt x="457" y="235"/>
                  </a:lnTo>
                  <a:lnTo>
                    <a:pt x="459" y="235"/>
                  </a:lnTo>
                  <a:lnTo>
                    <a:pt x="461" y="235"/>
                  </a:lnTo>
                  <a:lnTo>
                    <a:pt x="461" y="236"/>
                  </a:lnTo>
                  <a:lnTo>
                    <a:pt x="459" y="236"/>
                  </a:lnTo>
                  <a:lnTo>
                    <a:pt x="461" y="236"/>
                  </a:lnTo>
                  <a:lnTo>
                    <a:pt x="461" y="238"/>
                  </a:lnTo>
                  <a:lnTo>
                    <a:pt x="461" y="236"/>
                  </a:lnTo>
                  <a:lnTo>
                    <a:pt x="459" y="238"/>
                  </a:lnTo>
                  <a:lnTo>
                    <a:pt x="459" y="236"/>
                  </a:lnTo>
                  <a:lnTo>
                    <a:pt x="459" y="238"/>
                  </a:lnTo>
                  <a:lnTo>
                    <a:pt x="461" y="236"/>
                  </a:lnTo>
                  <a:lnTo>
                    <a:pt x="459" y="236"/>
                  </a:lnTo>
                  <a:lnTo>
                    <a:pt x="459" y="238"/>
                  </a:lnTo>
                  <a:lnTo>
                    <a:pt x="459" y="236"/>
                  </a:lnTo>
                  <a:lnTo>
                    <a:pt x="457" y="236"/>
                  </a:lnTo>
                  <a:lnTo>
                    <a:pt x="457" y="238"/>
                  </a:lnTo>
                  <a:lnTo>
                    <a:pt x="455" y="238"/>
                  </a:lnTo>
                  <a:lnTo>
                    <a:pt x="453" y="238"/>
                  </a:lnTo>
                  <a:lnTo>
                    <a:pt x="451" y="240"/>
                  </a:lnTo>
                  <a:lnTo>
                    <a:pt x="453" y="240"/>
                  </a:lnTo>
                  <a:lnTo>
                    <a:pt x="455" y="240"/>
                  </a:lnTo>
                  <a:lnTo>
                    <a:pt x="457" y="240"/>
                  </a:lnTo>
                  <a:lnTo>
                    <a:pt x="459" y="240"/>
                  </a:lnTo>
                  <a:lnTo>
                    <a:pt x="461" y="240"/>
                  </a:lnTo>
                  <a:lnTo>
                    <a:pt x="463" y="240"/>
                  </a:lnTo>
                  <a:lnTo>
                    <a:pt x="463" y="242"/>
                  </a:lnTo>
                  <a:lnTo>
                    <a:pt x="461" y="242"/>
                  </a:lnTo>
                  <a:lnTo>
                    <a:pt x="463" y="242"/>
                  </a:lnTo>
                  <a:lnTo>
                    <a:pt x="465" y="242"/>
                  </a:lnTo>
                  <a:lnTo>
                    <a:pt x="467" y="242"/>
                  </a:lnTo>
                  <a:lnTo>
                    <a:pt x="465" y="242"/>
                  </a:lnTo>
                  <a:lnTo>
                    <a:pt x="465" y="244"/>
                  </a:lnTo>
                  <a:lnTo>
                    <a:pt x="467" y="244"/>
                  </a:lnTo>
                  <a:lnTo>
                    <a:pt x="467" y="242"/>
                  </a:lnTo>
                  <a:lnTo>
                    <a:pt x="469" y="242"/>
                  </a:lnTo>
                  <a:lnTo>
                    <a:pt x="471" y="242"/>
                  </a:lnTo>
                  <a:lnTo>
                    <a:pt x="471" y="244"/>
                  </a:lnTo>
                  <a:lnTo>
                    <a:pt x="469" y="244"/>
                  </a:lnTo>
                  <a:lnTo>
                    <a:pt x="471" y="244"/>
                  </a:lnTo>
                  <a:lnTo>
                    <a:pt x="473" y="242"/>
                  </a:lnTo>
                  <a:lnTo>
                    <a:pt x="474" y="242"/>
                  </a:lnTo>
                  <a:lnTo>
                    <a:pt x="473" y="242"/>
                  </a:lnTo>
                  <a:lnTo>
                    <a:pt x="473" y="244"/>
                  </a:lnTo>
                  <a:lnTo>
                    <a:pt x="473" y="246"/>
                  </a:lnTo>
                  <a:lnTo>
                    <a:pt x="471" y="246"/>
                  </a:lnTo>
                  <a:lnTo>
                    <a:pt x="473" y="246"/>
                  </a:lnTo>
                  <a:lnTo>
                    <a:pt x="474" y="246"/>
                  </a:lnTo>
                  <a:lnTo>
                    <a:pt x="474" y="244"/>
                  </a:lnTo>
                  <a:lnTo>
                    <a:pt x="474" y="246"/>
                  </a:lnTo>
                  <a:lnTo>
                    <a:pt x="476" y="246"/>
                  </a:lnTo>
                  <a:lnTo>
                    <a:pt x="474" y="248"/>
                  </a:lnTo>
                  <a:lnTo>
                    <a:pt x="476" y="248"/>
                  </a:lnTo>
                  <a:lnTo>
                    <a:pt x="478" y="248"/>
                  </a:lnTo>
                  <a:lnTo>
                    <a:pt x="476" y="248"/>
                  </a:lnTo>
                  <a:lnTo>
                    <a:pt x="476" y="246"/>
                  </a:lnTo>
                  <a:lnTo>
                    <a:pt x="478" y="246"/>
                  </a:lnTo>
                  <a:lnTo>
                    <a:pt x="476" y="246"/>
                  </a:lnTo>
                  <a:lnTo>
                    <a:pt x="478" y="246"/>
                  </a:lnTo>
                  <a:lnTo>
                    <a:pt x="478" y="248"/>
                  </a:lnTo>
                  <a:lnTo>
                    <a:pt x="478" y="250"/>
                  </a:lnTo>
                  <a:lnTo>
                    <a:pt x="476" y="250"/>
                  </a:lnTo>
                  <a:lnTo>
                    <a:pt x="478" y="250"/>
                  </a:lnTo>
                  <a:lnTo>
                    <a:pt x="480" y="250"/>
                  </a:lnTo>
                  <a:lnTo>
                    <a:pt x="480" y="252"/>
                  </a:lnTo>
                  <a:lnTo>
                    <a:pt x="482" y="252"/>
                  </a:lnTo>
                  <a:lnTo>
                    <a:pt x="480" y="252"/>
                  </a:lnTo>
                  <a:lnTo>
                    <a:pt x="482" y="252"/>
                  </a:lnTo>
                  <a:lnTo>
                    <a:pt x="480" y="254"/>
                  </a:lnTo>
                  <a:lnTo>
                    <a:pt x="480" y="256"/>
                  </a:lnTo>
                  <a:lnTo>
                    <a:pt x="478" y="256"/>
                  </a:lnTo>
                  <a:lnTo>
                    <a:pt x="476" y="256"/>
                  </a:lnTo>
                  <a:lnTo>
                    <a:pt x="476" y="254"/>
                  </a:lnTo>
                  <a:lnTo>
                    <a:pt x="476" y="256"/>
                  </a:lnTo>
                  <a:lnTo>
                    <a:pt x="476" y="258"/>
                  </a:lnTo>
                  <a:lnTo>
                    <a:pt x="476" y="256"/>
                  </a:lnTo>
                  <a:lnTo>
                    <a:pt x="478" y="256"/>
                  </a:lnTo>
                  <a:lnTo>
                    <a:pt x="480" y="256"/>
                  </a:lnTo>
                  <a:lnTo>
                    <a:pt x="480" y="258"/>
                  </a:lnTo>
                  <a:lnTo>
                    <a:pt x="480" y="260"/>
                  </a:lnTo>
                  <a:lnTo>
                    <a:pt x="480" y="261"/>
                  </a:lnTo>
                  <a:lnTo>
                    <a:pt x="480" y="260"/>
                  </a:lnTo>
                  <a:lnTo>
                    <a:pt x="478" y="261"/>
                  </a:lnTo>
                  <a:lnTo>
                    <a:pt x="478" y="263"/>
                  </a:lnTo>
                  <a:lnTo>
                    <a:pt x="476" y="263"/>
                  </a:lnTo>
                  <a:lnTo>
                    <a:pt x="474" y="263"/>
                  </a:lnTo>
                  <a:lnTo>
                    <a:pt x="474" y="261"/>
                  </a:lnTo>
                  <a:lnTo>
                    <a:pt x="474" y="263"/>
                  </a:lnTo>
                  <a:lnTo>
                    <a:pt x="473" y="263"/>
                  </a:lnTo>
                  <a:lnTo>
                    <a:pt x="473" y="265"/>
                  </a:lnTo>
                  <a:lnTo>
                    <a:pt x="471" y="265"/>
                  </a:lnTo>
                  <a:lnTo>
                    <a:pt x="473" y="265"/>
                  </a:lnTo>
                  <a:lnTo>
                    <a:pt x="474" y="265"/>
                  </a:lnTo>
                  <a:lnTo>
                    <a:pt x="474" y="263"/>
                  </a:lnTo>
                  <a:lnTo>
                    <a:pt x="476" y="263"/>
                  </a:lnTo>
                  <a:lnTo>
                    <a:pt x="474" y="263"/>
                  </a:lnTo>
                  <a:lnTo>
                    <a:pt x="476" y="263"/>
                  </a:lnTo>
                  <a:lnTo>
                    <a:pt x="476" y="265"/>
                  </a:lnTo>
                  <a:lnTo>
                    <a:pt x="474" y="265"/>
                  </a:lnTo>
                  <a:lnTo>
                    <a:pt x="476" y="265"/>
                  </a:lnTo>
                  <a:lnTo>
                    <a:pt x="474" y="265"/>
                  </a:lnTo>
                  <a:lnTo>
                    <a:pt x="476" y="267"/>
                  </a:lnTo>
                  <a:lnTo>
                    <a:pt x="474" y="267"/>
                  </a:lnTo>
                  <a:lnTo>
                    <a:pt x="474" y="269"/>
                  </a:lnTo>
                  <a:lnTo>
                    <a:pt x="476" y="269"/>
                  </a:lnTo>
                  <a:lnTo>
                    <a:pt x="476" y="267"/>
                  </a:lnTo>
                  <a:lnTo>
                    <a:pt x="476" y="265"/>
                  </a:lnTo>
                  <a:lnTo>
                    <a:pt x="478" y="263"/>
                  </a:lnTo>
                  <a:lnTo>
                    <a:pt x="480" y="263"/>
                  </a:lnTo>
                  <a:lnTo>
                    <a:pt x="480" y="261"/>
                  </a:lnTo>
                  <a:lnTo>
                    <a:pt x="482" y="261"/>
                  </a:lnTo>
                  <a:lnTo>
                    <a:pt x="480" y="261"/>
                  </a:lnTo>
                  <a:lnTo>
                    <a:pt x="480" y="263"/>
                  </a:lnTo>
                  <a:lnTo>
                    <a:pt x="482" y="263"/>
                  </a:lnTo>
                  <a:lnTo>
                    <a:pt x="484" y="263"/>
                  </a:lnTo>
                  <a:lnTo>
                    <a:pt x="482" y="263"/>
                  </a:lnTo>
                  <a:lnTo>
                    <a:pt x="484" y="263"/>
                  </a:lnTo>
                  <a:lnTo>
                    <a:pt x="484" y="265"/>
                  </a:lnTo>
                  <a:lnTo>
                    <a:pt x="486" y="265"/>
                  </a:lnTo>
                  <a:lnTo>
                    <a:pt x="486" y="267"/>
                  </a:lnTo>
                  <a:lnTo>
                    <a:pt x="488" y="267"/>
                  </a:lnTo>
                  <a:lnTo>
                    <a:pt x="486" y="265"/>
                  </a:lnTo>
                  <a:lnTo>
                    <a:pt x="488" y="265"/>
                  </a:lnTo>
                  <a:lnTo>
                    <a:pt x="488" y="267"/>
                  </a:lnTo>
                  <a:lnTo>
                    <a:pt x="490" y="267"/>
                  </a:lnTo>
                  <a:lnTo>
                    <a:pt x="490" y="269"/>
                  </a:lnTo>
                  <a:lnTo>
                    <a:pt x="488" y="269"/>
                  </a:lnTo>
                  <a:lnTo>
                    <a:pt x="486" y="269"/>
                  </a:lnTo>
                  <a:lnTo>
                    <a:pt x="488" y="269"/>
                  </a:lnTo>
                  <a:lnTo>
                    <a:pt x="488" y="271"/>
                  </a:lnTo>
                  <a:lnTo>
                    <a:pt x="486" y="271"/>
                  </a:lnTo>
                  <a:lnTo>
                    <a:pt x="486" y="269"/>
                  </a:lnTo>
                  <a:lnTo>
                    <a:pt x="486" y="271"/>
                  </a:lnTo>
                  <a:lnTo>
                    <a:pt x="486" y="273"/>
                  </a:lnTo>
                  <a:lnTo>
                    <a:pt x="484" y="273"/>
                  </a:lnTo>
                  <a:lnTo>
                    <a:pt x="486" y="275"/>
                  </a:lnTo>
                  <a:lnTo>
                    <a:pt x="486" y="273"/>
                  </a:lnTo>
                  <a:lnTo>
                    <a:pt x="488" y="273"/>
                  </a:lnTo>
                  <a:lnTo>
                    <a:pt x="488" y="275"/>
                  </a:lnTo>
                  <a:lnTo>
                    <a:pt x="486" y="275"/>
                  </a:lnTo>
                  <a:lnTo>
                    <a:pt x="484" y="275"/>
                  </a:lnTo>
                  <a:lnTo>
                    <a:pt x="486" y="275"/>
                  </a:lnTo>
                  <a:lnTo>
                    <a:pt x="484" y="275"/>
                  </a:lnTo>
                  <a:lnTo>
                    <a:pt x="482" y="275"/>
                  </a:lnTo>
                  <a:lnTo>
                    <a:pt x="482" y="277"/>
                  </a:lnTo>
                  <a:lnTo>
                    <a:pt x="480" y="277"/>
                  </a:lnTo>
                  <a:lnTo>
                    <a:pt x="478" y="277"/>
                  </a:lnTo>
                  <a:lnTo>
                    <a:pt x="478" y="275"/>
                  </a:lnTo>
                  <a:lnTo>
                    <a:pt x="476" y="277"/>
                  </a:lnTo>
                  <a:lnTo>
                    <a:pt x="478" y="277"/>
                  </a:lnTo>
                  <a:lnTo>
                    <a:pt x="480" y="277"/>
                  </a:lnTo>
                  <a:lnTo>
                    <a:pt x="482" y="277"/>
                  </a:lnTo>
                  <a:lnTo>
                    <a:pt x="482" y="279"/>
                  </a:lnTo>
                  <a:lnTo>
                    <a:pt x="482" y="277"/>
                  </a:lnTo>
                  <a:lnTo>
                    <a:pt x="482" y="279"/>
                  </a:lnTo>
                  <a:lnTo>
                    <a:pt x="484" y="277"/>
                  </a:lnTo>
                  <a:lnTo>
                    <a:pt x="482" y="277"/>
                  </a:lnTo>
                  <a:lnTo>
                    <a:pt x="484" y="277"/>
                  </a:lnTo>
                  <a:lnTo>
                    <a:pt x="486" y="279"/>
                  </a:lnTo>
                  <a:lnTo>
                    <a:pt x="486" y="277"/>
                  </a:lnTo>
                  <a:lnTo>
                    <a:pt x="486" y="279"/>
                  </a:lnTo>
                  <a:lnTo>
                    <a:pt x="488" y="281"/>
                  </a:lnTo>
                  <a:lnTo>
                    <a:pt x="488" y="279"/>
                  </a:lnTo>
                  <a:lnTo>
                    <a:pt x="490" y="279"/>
                  </a:lnTo>
                  <a:lnTo>
                    <a:pt x="490" y="281"/>
                  </a:lnTo>
                  <a:lnTo>
                    <a:pt x="492" y="279"/>
                  </a:lnTo>
                  <a:lnTo>
                    <a:pt x="492" y="277"/>
                  </a:lnTo>
                  <a:lnTo>
                    <a:pt x="492" y="279"/>
                  </a:lnTo>
                  <a:lnTo>
                    <a:pt x="492" y="277"/>
                  </a:lnTo>
                  <a:lnTo>
                    <a:pt x="494" y="277"/>
                  </a:lnTo>
                  <a:lnTo>
                    <a:pt x="494" y="275"/>
                  </a:lnTo>
                  <a:lnTo>
                    <a:pt x="496" y="275"/>
                  </a:lnTo>
                  <a:lnTo>
                    <a:pt x="496" y="277"/>
                  </a:lnTo>
                  <a:lnTo>
                    <a:pt x="496" y="279"/>
                  </a:lnTo>
                  <a:lnTo>
                    <a:pt x="494" y="279"/>
                  </a:lnTo>
                  <a:lnTo>
                    <a:pt x="494" y="281"/>
                  </a:lnTo>
                  <a:lnTo>
                    <a:pt x="492" y="281"/>
                  </a:lnTo>
                  <a:lnTo>
                    <a:pt x="494" y="281"/>
                  </a:lnTo>
                  <a:lnTo>
                    <a:pt x="496" y="281"/>
                  </a:lnTo>
                  <a:lnTo>
                    <a:pt x="496" y="279"/>
                  </a:lnTo>
                  <a:lnTo>
                    <a:pt x="496" y="277"/>
                  </a:lnTo>
                  <a:lnTo>
                    <a:pt x="498" y="277"/>
                  </a:lnTo>
                  <a:lnTo>
                    <a:pt x="498" y="279"/>
                  </a:lnTo>
                  <a:lnTo>
                    <a:pt x="496" y="279"/>
                  </a:lnTo>
                  <a:lnTo>
                    <a:pt x="498" y="279"/>
                  </a:lnTo>
                  <a:lnTo>
                    <a:pt x="499" y="279"/>
                  </a:lnTo>
                  <a:lnTo>
                    <a:pt x="498" y="279"/>
                  </a:lnTo>
                  <a:lnTo>
                    <a:pt x="499" y="279"/>
                  </a:lnTo>
                  <a:lnTo>
                    <a:pt x="498" y="279"/>
                  </a:lnTo>
                  <a:lnTo>
                    <a:pt x="499" y="279"/>
                  </a:lnTo>
                  <a:lnTo>
                    <a:pt x="499" y="281"/>
                  </a:lnTo>
                  <a:lnTo>
                    <a:pt x="498" y="281"/>
                  </a:lnTo>
                  <a:lnTo>
                    <a:pt x="496" y="281"/>
                  </a:lnTo>
                  <a:lnTo>
                    <a:pt x="496" y="283"/>
                  </a:lnTo>
                  <a:lnTo>
                    <a:pt x="494" y="283"/>
                  </a:lnTo>
                  <a:lnTo>
                    <a:pt x="492" y="283"/>
                  </a:lnTo>
                  <a:lnTo>
                    <a:pt x="492" y="281"/>
                  </a:lnTo>
                  <a:lnTo>
                    <a:pt x="490" y="283"/>
                  </a:lnTo>
                  <a:lnTo>
                    <a:pt x="488" y="283"/>
                  </a:lnTo>
                  <a:lnTo>
                    <a:pt x="486" y="284"/>
                  </a:lnTo>
                  <a:lnTo>
                    <a:pt x="484" y="284"/>
                  </a:lnTo>
                  <a:lnTo>
                    <a:pt x="486" y="284"/>
                  </a:lnTo>
                  <a:lnTo>
                    <a:pt x="488" y="284"/>
                  </a:lnTo>
                  <a:lnTo>
                    <a:pt x="490" y="284"/>
                  </a:lnTo>
                  <a:lnTo>
                    <a:pt x="490" y="283"/>
                  </a:lnTo>
                  <a:lnTo>
                    <a:pt x="492" y="283"/>
                  </a:lnTo>
                  <a:lnTo>
                    <a:pt x="492" y="284"/>
                  </a:lnTo>
                  <a:lnTo>
                    <a:pt x="490" y="284"/>
                  </a:lnTo>
                  <a:lnTo>
                    <a:pt x="492" y="284"/>
                  </a:lnTo>
                  <a:lnTo>
                    <a:pt x="492" y="286"/>
                  </a:lnTo>
                  <a:lnTo>
                    <a:pt x="490" y="286"/>
                  </a:lnTo>
                  <a:lnTo>
                    <a:pt x="492" y="286"/>
                  </a:lnTo>
                  <a:lnTo>
                    <a:pt x="494" y="286"/>
                  </a:lnTo>
                  <a:lnTo>
                    <a:pt x="492" y="286"/>
                  </a:lnTo>
                  <a:lnTo>
                    <a:pt x="492" y="288"/>
                  </a:lnTo>
                  <a:lnTo>
                    <a:pt x="490" y="288"/>
                  </a:lnTo>
                  <a:lnTo>
                    <a:pt x="488" y="288"/>
                  </a:lnTo>
                  <a:lnTo>
                    <a:pt x="488" y="290"/>
                  </a:lnTo>
                  <a:lnTo>
                    <a:pt x="488" y="292"/>
                  </a:lnTo>
                  <a:lnTo>
                    <a:pt x="484" y="292"/>
                  </a:lnTo>
                  <a:lnTo>
                    <a:pt x="484" y="294"/>
                  </a:lnTo>
                  <a:lnTo>
                    <a:pt x="484" y="292"/>
                  </a:lnTo>
                  <a:lnTo>
                    <a:pt x="482" y="292"/>
                  </a:lnTo>
                  <a:lnTo>
                    <a:pt x="480" y="292"/>
                  </a:lnTo>
                  <a:lnTo>
                    <a:pt x="480" y="294"/>
                  </a:lnTo>
                  <a:lnTo>
                    <a:pt x="478" y="294"/>
                  </a:lnTo>
                  <a:lnTo>
                    <a:pt x="476" y="294"/>
                  </a:lnTo>
                  <a:lnTo>
                    <a:pt x="474" y="296"/>
                  </a:lnTo>
                  <a:lnTo>
                    <a:pt x="476" y="296"/>
                  </a:lnTo>
                  <a:lnTo>
                    <a:pt x="478" y="296"/>
                  </a:lnTo>
                  <a:lnTo>
                    <a:pt x="478" y="294"/>
                  </a:lnTo>
                  <a:lnTo>
                    <a:pt x="480" y="294"/>
                  </a:lnTo>
                  <a:lnTo>
                    <a:pt x="482" y="294"/>
                  </a:lnTo>
                  <a:lnTo>
                    <a:pt x="484" y="294"/>
                  </a:lnTo>
                  <a:lnTo>
                    <a:pt x="486" y="294"/>
                  </a:lnTo>
                  <a:lnTo>
                    <a:pt x="486" y="292"/>
                  </a:lnTo>
                  <a:lnTo>
                    <a:pt x="488" y="292"/>
                  </a:lnTo>
                  <a:lnTo>
                    <a:pt x="488" y="290"/>
                  </a:lnTo>
                  <a:lnTo>
                    <a:pt x="490" y="290"/>
                  </a:lnTo>
                  <a:lnTo>
                    <a:pt x="492" y="290"/>
                  </a:lnTo>
                  <a:lnTo>
                    <a:pt x="492" y="288"/>
                  </a:lnTo>
                  <a:lnTo>
                    <a:pt x="494" y="288"/>
                  </a:lnTo>
                  <a:lnTo>
                    <a:pt x="492" y="290"/>
                  </a:lnTo>
                  <a:lnTo>
                    <a:pt x="494" y="290"/>
                  </a:lnTo>
                  <a:lnTo>
                    <a:pt x="492" y="290"/>
                  </a:lnTo>
                  <a:lnTo>
                    <a:pt x="492" y="292"/>
                  </a:lnTo>
                  <a:lnTo>
                    <a:pt x="492" y="290"/>
                  </a:lnTo>
                  <a:lnTo>
                    <a:pt x="494" y="290"/>
                  </a:lnTo>
                  <a:lnTo>
                    <a:pt x="494" y="288"/>
                  </a:lnTo>
                  <a:lnTo>
                    <a:pt x="494" y="290"/>
                  </a:lnTo>
                  <a:lnTo>
                    <a:pt x="496" y="290"/>
                  </a:lnTo>
                  <a:lnTo>
                    <a:pt x="496" y="288"/>
                  </a:lnTo>
                  <a:lnTo>
                    <a:pt x="498" y="288"/>
                  </a:lnTo>
                  <a:lnTo>
                    <a:pt x="498" y="286"/>
                  </a:lnTo>
                  <a:lnTo>
                    <a:pt x="499" y="286"/>
                  </a:lnTo>
                  <a:lnTo>
                    <a:pt x="499" y="288"/>
                  </a:lnTo>
                  <a:lnTo>
                    <a:pt x="501" y="286"/>
                  </a:lnTo>
                  <a:lnTo>
                    <a:pt x="499" y="286"/>
                  </a:lnTo>
                  <a:lnTo>
                    <a:pt x="501" y="286"/>
                  </a:lnTo>
                  <a:lnTo>
                    <a:pt x="503" y="286"/>
                  </a:lnTo>
                  <a:lnTo>
                    <a:pt x="503" y="284"/>
                  </a:lnTo>
                  <a:lnTo>
                    <a:pt x="503" y="286"/>
                  </a:lnTo>
                  <a:lnTo>
                    <a:pt x="505" y="286"/>
                  </a:lnTo>
                  <a:lnTo>
                    <a:pt x="503" y="286"/>
                  </a:lnTo>
                  <a:lnTo>
                    <a:pt x="503" y="288"/>
                  </a:lnTo>
                  <a:lnTo>
                    <a:pt x="503" y="286"/>
                  </a:lnTo>
                  <a:lnTo>
                    <a:pt x="505" y="286"/>
                  </a:lnTo>
                  <a:lnTo>
                    <a:pt x="503" y="288"/>
                  </a:lnTo>
                  <a:lnTo>
                    <a:pt x="505" y="288"/>
                  </a:lnTo>
                  <a:lnTo>
                    <a:pt x="505" y="286"/>
                  </a:lnTo>
                  <a:lnTo>
                    <a:pt x="507" y="286"/>
                  </a:lnTo>
                  <a:lnTo>
                    <a:pt x="505" y="286"/>
                  </a:lnTo>
                  <a:lnTo>
                    <a:pt x="507" y="286"/>
                  </a:lnTo>
                  <a:lnTo>
                    <a:pt x="509" y="286"/>
                  </a:lnTo>
                  <a:lnTo>
                    <a:pt x="507" y="286"/>
                  </a:lnTo>
                  <a:lnTo>
                    <a:pt x="509" y="286"/>
                  </a:lnTo>
                  <a:lnTo>
                    <a:pt x="509" y="288"/>
                  </a:lnTo>
                  <a:lnTo>
                    <a:pt x="507" y="288"/>
                  </a:lnTo>
                  <a:lnTo>
                    <a:pt x="509" y="288"/>
                  </a:lnTo>
                  <a:lnTo>
                    <a:pt x="511" y="288"/>
                  </a:lnTo>
                  <a:lnTo>
                    <a:pt x="511" y="290"/>
                  </a:lnTo>
                  <a:lnTo>
                    <a:pt x="511" y="292"/>
                  </a:lnTo>
                  <a:lnTo>
                    <a:pt x="509" y="292"/>
                  </a:lnTo>
                  <a:lnTo>
                    <a:pt x="509" y="290"/>
                  </a:lnTo>
                  <a:lnTo>
                    <a:pt x="509" y="292"/>
                  </a:lnTo>
                  <a:lnTo>
                    <a:pt x="507" y="292"/>
                  </a:lnTo>
                  <a:lnTo>
                    <a:pt x="509" y="292"/>
                  </a:lnTo>
                  <a:lnTo>
                    <a:pt x="509" y="290"/>
                  </a:lnTo>
                  <a:lnTo>
                    <a:pt x="507" y="292"/>
                  </a:lnTo>
                  <a:lnTo>
                    <a:pt x="507" y="290"/>
                  </a:lnTo>
                  <a:lnTo>
                    <a:pt x="507" y="292"/>
                  </a:lnTo>
                  <a:lnTo>
                    <a:pt x="505" y="292"/>
                  </a:lnTo>
                  <a:lnTo>
                    <a:pt x="503" y="292"/>
                  </a:lnTo>
                  <a:lnTo>
                    <a:pt x="503" y="294"/>
                  </a:lnTo>
                  <a:lnTo>
                    <a:pt x="503" y="292"/>
                  </a:lnTo>
                  <a:lnTo>
                    <a:pt x="505" y="292"/>
                  </a:lnTo>
                  <a:lnTo>
                    <a:pt x="507" y="292"/>
                  </a:lnTo>
                  <a:lnTo>
                    <a:pt x="507" y="294"/>
                  </a:lnTo>
                  <a:lnTo>
                    <a:pt x="505" y="294"/>
                  </a:lnTo>
                  <a:lnTo>
                    <a:pt x="503" y="294"/>
                  </a:lnTo>
                  <a:lnTo>
                    <a:pt x="505" y="294"/>
                  </a:lnTo>
                  <a:lnTo>
                    <a:pt x="507" y="294"/>
                  </a:lnTo>
                  <a:lnTo>
                    <a:pt x="505" y="296"/>
                  </a:lnTo>
                  <a:lnTo>
                    <a:pt x="503" y="296"/>
                  </a:lnTo>
                  <a:lnTo>
                    <a:pt x="499" y="296"/>
                  </a:lnTo>
                  <a:lnTo>
                    <a:pt x="498" y="296"/>
                  </a:lnTo>
                  <a:lnTo>
                    <a:pt x="496" y="296"/>
                  </a:lnTo>
                  <a:lnTo>
                    <a:pt x="494" y="296"/>
                  </a:lnTo>
                  <a:lnTo>
                    <a:pt x="492" y="296"/>
                  </a:lnTo>
                  <a:lnTo>
                    <a:pt x="492" y="298"/>
                  </a:lnTo>
                  <a:lnTo>
                    <a:pt x="490" y="298"/>
                  </a:lnTo>
                  <a:lnTo>
                    <a:pt x="488" y="298"/>
                  </a:lnTo>
                  <a:lnTo>
                    <a:pt x="490" y="298"/>
                  </a:lnTo>
                  <a:lnTo>
                    <a:pt x="492" y="298"/>
                  </a:lnTo>
                  <a:lnTo>
                    <a:pt x="494" y="298"/>
                  </a:lnTo>
                  <a:lnTo>
                    <a:pt x="496" y="298"/>
                  </a:lnTo>
                  <a:lnTo>
                    <a:pt x="496" y="296"/>
                  </a:lnTo>
                  <a:lnTo>
                    <a:pt x="498" y="296"/>
                  </a:lnTo>
                  <a:lnTo>
                    <a:pt x="499" y="296"/>
                  </a:lnTo>
                  <a:lnTo>
                    <a:pt x="501" y="296"/>
                  </a:lnTo>
                  <a:lnTo>
                    <a:pt x="501" y="298"/>
                  </a:lnTo>
                  <a:lnTo>
                    <a:pt x="499" y="298"/>
                  </a:lnTo>
                  <a:lnTo>
                    <a:pt x="501" y="298"/>
                  </a:lnTo>
                  <a:lnTo>
                    <a:pt x="503" y="296"/>
                  </a:lnTo>
                  <a:lnTo>
                    <a:pt x="503" y="298"/>
                  </a:lnTo>
                  <a:lnTo>
                    <a:pt x="505" y="296"/>
                  </a:lnTo>
                  <a:lnTo>
                    <a:pt x="507" y="296"/>
                  </a:lnTo>
                  <a:lnTo>
                    <a:pt x="507" y="298"/>
                  </a:lnTo>
                  <a:lnTo>
                    <a:pt x="507" y="296"/>
                  </a:lnTo>
                  <a:lnTo>
                    <a:pt x="507" y="298"/>
                  </a:lnTo>
                  <a:lnTo>
                    <a:pt x="509" y="298"/>
                  </a:lnTo>
                  <a:lnTo>
                    <a:pt x="509" y="296"/>
                  </a:lnTo>
                  <a:lnTo>
                    <a:pt x="509" y="298"/>
                  </a:lnTo>
                  <a:lnTo>
                    <a:pt x="511" y="298"/>
                  </a:lnTo>
                  <a:lnTo>
                    <a:pt x="511" y="296"/>
                  </a:lnTo>
                  <a:lnTo>
                    <a:pt x="511" y="298"/>
                  </a:lnTo>
                  <a:lnTo>
                    <a:pt x="509" y="300"/>
                  </a:lnTo>
                  <a:lnTo>
                    <a:pt x="509" y="302"/>
                  </a:lnTo>
                  <a:lnTo>
                    <a:pt x="509" y="300"/>
                  </a:lnTo>
                  <a:lnTo>
                    <a:pt x="511" y="300"/>
                  </a:lnTo>
                  <a:lnTo>
                    <a:pt x="511" y="298"/>
                  </a:lnTo>
                  <a:lnTo>
                    <a:pt x="513" y="298"/>
                  </a:lnTo>
                  <a:lnTo>
                    <a:pt x="515" y="298"/>
                  </a:lnTo>
                  <a:lnTo>
                    <a:pt x="517" y="298"/>
                  </a:lnTo>
                  <a:lnTo>
                    <a:pt x="517" y="300"/>
                  </a:lnTo>
                  <a:lnTo>
                    <a:pt x="515" y="300"/>
                  </a:lnTo>
                  <a:lnTo>
                    <a:pt x="513" y="300"/>
                  </a:lnTo>
                  <a:lnTo>
                    <a:pt x="515" y="300"/>
                  </a:lnTo>
                  <a:lnTo>
                    <a:pt x="513" y="300"/>
                  </a:lnTo>
                  <a:lnTo>
                    <a:pt x="511" y="302"/>
                  </a:lnTo>
                  <a:lnTo>
                    <a:pt x="513" y="302"/>
                  </a:lnTo>
                  <a:lnTo>
                    <a:pt x="515" y="302"/>
                  </a:lnTo>
                  <a:lnTo>
                    <a:pt x="517" y="302"/>
                  </a:lnTo>
                  <a:lnTo>
                    <a:pt x="515" y="302"/>
                  </a:lnTo>
                  <a:lnTo>
                    <a:pt x="517" y="302"/>
                  </a:lnTo>
                  <a:lnTo>
                    <a:pt x="517" y="304"/>
                  </a:lnTo>
                  <a:lnTo>
                    <a:pt x="517" y="306"/>
                  </a:lnTo>
                  <a:lnTo>
                    <a:pt x="519" y="306"/>
                  </a:lnTo>
                  <a:lnTo>
                    <a:pt x="517" y="306"/>
                  </a:lnTo>
                  <a:lnTo>
                    <a:pt x="517" y="308"/>
                  </a:lnTo>
                  <a:lnTo>
                    <a:pt x="515" y="308"/>
                  </a:lnTo>
                  <a:lnTo>
                    <a:pt x="517" y="308"/>
                  </a:lnTo>
                  <a:lnTo>
                    <a:pt x="517" y="309"/>
                  </a:lnTo>
                  <a:lnTo>
                    <a:pt x="517" y="311"/>
                  </a:lnTo>
                  <a:lnTo>
                    <a:pt x="517" y="313"/>
                  </a:lnTo>
                  <a:lnTo>
                    <a:pt x="515" y="313"/>
                  </a:lnTo>
                  <a:lnTo>
                    <a:pt x="517" y="313"/>
                  </a:lnTo>
                  <a:lnTo>
                    <a:pt x="515" y="313"/>
                  </a:lnTo>
                  <a:lnTo>
                    <a:pt x="515" y="315"/>
                  </a:lnTo>
                  <a:lnTo>
                    <a:pt x="513" y="313"/>
                  </a:lnTo>
                  <a:lnTo>
                    <a:pt x="513" y="315"/>
                  </a:lnTo>
                  <a:lnTo>
                    <a:pt x="511" y="315"/>
                  </a:lnTo>
                  <a:lnTo>
                    <a:pt x="513" y="315"/>
                  </a:lnTo>
                  <a:lnTo>
                    <a:pt x="515" y="315"/>
                  </a:lnTo>
                  <a:lnTo>
                    <a:pt x="515" y="317"/>
                  </a:lnTo>
                  <a:lnTo>
                    <a:pt x="515" y="315"/>
                  </a:lnTo>
                  <a:lnTo>
                    <a:pt x="517" y="315"/>
                  </a:lnTo>
                  <a:lnTo>
                    <a:pt x="517" y="317"/>
                  </a:lnTo>
                  <a:lnTo>
                    <a:pt x="515" y="317"/>
                  </a:lnTo>
                  <a:lnTo>
                    <a:pt x="515" y="319"/>
                  </a:lnTo>
                  <a:lnTo>
                    <a:pt x="515" y="321"/>
                  </a:lnTo>
                  <a:lnTo>
                    <a:pt x="515" y="323"/>
                  </a:lnTo>
                  <a:lnTo>
                    <a:pt x="513" y="323"/>
                  </a:lnTo>
                  <a:lnTo>
                    <a:pt x="513" y="325"/>
                  </a:lnTo>
                  <a:lnTo>
                    <a:pt x="513" y="327"/>
                  </a:lnTo>
                  <a:lnTo>
                    <a:pt x="511" y="327"/>
                  </a:lnTo>
                  <a:lnTo>
                    <a:pt x="511" y="329"/>
                  </a:lnTo>
                  <a:lnTo>
                    <a:pt x="513" y="329"/>
                  </a:lnTo>
                  <a:lnTo>
                    <a:pt x="511" y="329"/>
                  </a:lnTo>
                  <a:lnTo>
                    <a:pt x="511" y="331"/>
                  </a:lnTo>
                  <a:lnTo>
                    <a:pt x="511" y="332"/>
                  </a:lnTo>
                  <a:lnTo>
                    <a:pt x="511" y="334"/>
                  </a:lnTo>
                  <a:lnTo>
                    <a:pt x="509" y="334"/>
                  </a:lnTo>
                  <a:lnTo>
                    <a:pt x="507" y="334"/>
                  </a:lnTo>
                  <a:lnTo>
                    <a:pt x="507" y="336"/>
                  </a:lnTo>
                  <a:lnTo>
                    <a:pt x="509" y="336"/>
                  </a:lnTo>
                  <a:lnTo>
                    <a:pt x="507" y="336"/>
                  </a:lnTo>
                  <a:lnTo>
                    <a:pt x="509" y="336"/>
                  </a:lnTo>
                  <a:lnTo>
                    <a:pt x="509" y="338"/>
                  </a:lnTo>
                  <a:lnTo>
                    <a:pt x="507" y="338"/>
                  </a:lnTo>
                  <a:lnTo>
                    <a:pt x="509" y="338"/>
                  </a:lnTo>
                  <a:lnTo>
                    <a:pt x="507" y="338"/>
                  </a:lnTo>
                  <a:lnTo>
                    <a:pt x="507" y="340"/>
                  </a:lnTo>
                  <a:lnTo>
                    <a:pt x="505" y="340"/>
                  </a:lnTo>
                  <a:lnTo>
                    <a:pt x="505" y="338"/>
                  </a:lnTo>
                  <a:lnTo>
                    <a:pt x="505" y="340"/>
                  </a:lnTo>
                  <a:lnTo>
                    <a:pt x="505" y="342"/>
                  </a:lnTo>
                  <a:lnTo>
                    <a:pt x="505" y="340"/>
                  </a:lnTo>
                  <a:lnTo>
                    <a:pt x="505" y="342"/>
                  </a:lnTo>
                  <a:lnTo>
                    <a:pt x="505" y="344"/>
                  </a:lnTo>
                  <a:lnTo>
                    <a:pt x="503" y="344"/>
                  </a:lnTo>
                  <a:lnTo>
                    <a:pt x="503" y="346"/>
                  </a:lnTo>
                  <a:lnTo>
                    <a:pt x="503" y="348"/>
                  </a:lnTo>
                  <a:lnTo>
                    <a:pt x="501" y="348"/>
                  </a:lnTo>
                  <a:lnTo>
                    <a:pt x="501" y="350"/>
                  </a:lnTo>
                  <a:lnTo>
                    <a:pt x="499" y="350"/>
                  </a:lnTo>
                  <a:lnTo>
                    <a:pt x="499" y="352"/>
                  </a:lnTo>
                  <a:lnTo>
                    <a:pt x="501" y="352"/>
                  </a:lnTo>
                  <a:lnTo>
                    <a:pt x="499" y="352"/>
                  </a:lnTo>
                  <a:lnTo>
                    <a:pt x="501" y="352"/>
                  </a:lnTo>
                  <a:lnTo>
                    <a:pt x="501" y="354"/>
                  </a:lnTo>
                  <a:lnTo>
                    <a:pt x="501" y="356"/>
                  </a:lnTo>
                  <a:lnTo>
                    <a:pt x="501" y="357"/>
                  </a:lnTo>
                  <a:lnTo>
                    <a:pt x="499" y="357"/>
                  </a:lnTo>
                  <a:lnTo>
                    <a:pt x="499" y="359"/>
                  </a:lnTo>
                  <a:lnTo>
                    <a:pt x="501" y="359"/>
                  </a:lnTo>
                  <a:lnTo>
                    <a:pt x="501" y="361"/>
                  </a:lnTo>
                  <a:lnTo>
                    <a:pt x="501" y="363"/>
                  </a:lnTo>
                  <a:lnTo>
                    <a:pt x="499" y="363"/>
                  </a:lnTo>
                  <a:lnTo>
                    <a:pt x="498" y="363"/>
                  </a:lnTo>
                  <a:lnTo>
                    <a:pt x="496" y="363"/>
                  </a:lnTo>
                  <a:lnTo>
                    <a:pt x="498" y="363"/>
                  </a:lnTo>
                  <a:lnTo>
                    <a:pt x="498" y="365"/>
                  </a:lnTo>
                  <a:lnTo>
                    <a:pt x="499" y="365"/>
                  </a:lnTo>
                  <a:lnTo>
                    <a:pt x="499" y="367"/>
                  </a:lnTo>
                  <a:lnTo>
                    <a:pt x="498" y="367"/>
                  </a:lnTo>
                  <a:lnTo>
                    <a:pt x="498" y="369"/>
                  </a:lnTo>
                  <a:lnTo>
                    <a:pt x="496" y="369"/>
                  </a:lnTo>
                  <a:lnTo>
                    <a:pt x="494" y="369"/>
                  </a:lnTo>
                  <a:lnTo>
                    <a:pt x="494" y="371"/>
                  </a:lnTo>
                  <a:lnTo>
                    <a:pt x="494" y="369"/>
                  </a:lnTo>
                  <a:lnTo>
                    <a:pt x="492" y="369"/>
                  </a:lnTo>
                  <a:lnTo>
                    <a:pt x="492" y="367"/>
                  </a:lnTo>
                  <a:lnTo>
                    <a:pt x="492" y="365"/>
                  </a:lnTo>
                  <a:lnTo>
                    <a:pt x="490" y="365"/>
                  </a:lnTo>
                  <a:lnTo>
                    <a:pt x="490" y="363"/>
                  </a:lnTo>
                  <a:lnTo>
                    <a:pt x="488" y="361"/>
                  </a:lnTo>
                  <a:lnTo>
                    <a:pt x="488" y="359"/>
                  </a:lnTo>
                  <a:lnTo>
                    <a:pt x="486" y="359"/>
                  </a:lnTo>
                  <a:lnTo>
                    <a:pt x="486" y="357"/>
                  </a:lnTo>
                  <a:lnTo>
                    <a:pt x="484" y="356"/>
                  </a:lnTo>
                  <a:lnTo>
                    <a:pt x="484" y="354"/>
                  </a:lnTo>
                  <a:lnTo>
                    <a:pt x="482" y="352"/>
                  </a:lnTo>
                  <a:lnTo>
                    <a:pt x="482" y="350"/>
                  </a:lnTo>
                  <a:lnTo>
                    <a:pt x="480" y="348"/>
                  </a:lnTo>
                  <a:lnTo>
                    <a:pt x="476" y="344"/>
                  </a:lnTo>
                  <a:lnTo>
                    <a:pt x="476" y="342"/>
                  </a:lnTo>
                  <a:lnTo>
                    <a:pt x="476" y="340"/>
                  </a:lnTo>
                  <a:lnTo>
                    <a:pt x="474" y="340"/>
                  </a:lnTo>
                  <a:lnTo>
                    <a:pt x="474" y="338"/>
                  </a:lnTo>
                  <a:lnTo>
                    <a:pt x="474" y="340"/>
                  </a:lnTo>
                  <a:lnTo>
                    <a:pt x="473" y="340"/>
                  </a:lnTo>
                  <a:lnTo>
                    <a:pt x="471" y="342"/>
                  </a:lnTo>
                  <a:lnTo>
                    <a:pt x="469" y="342"/>
                  </a:lnTo>
                  <a:lnTo>
                    <a:pt x="469" y="344"/>
                  </a:lnTo>
                  <a:lnTo>
                    <a:pt x="463" y="346"/>
                  </a:lnTo>
                  <a:lnTo>
                    <a:pt x="461" y="348"/>
                  </a:lnTo>
                  <a:lnTo>
                    <a:pt x="459" y="348"/>
                  </a:lnTo>
                  <a:lnTo>
                    <a:pt x="457" y="350"/>
                  </a:lnTo>
                  <a:lnTo>
                    <a:pt x="455" y="350"/>
                  </a:lnTo>
                  <a:lnTo>
                    <a:pt x="455" y="352"/>
                  </a:lnTo>
                  <a:lnTo>
                    <a:pt x="453" y="354"/>
                  </a:lnTo>
                  <a:lnTo>
                    <a:pt x="451" y="354"/>
                  </a:lnTo>
                  <a:lnTo>
                    <a:pt x="450" y="356"/>
                  </a:lnTo>
                  <a:lnTo>
                    <a:pt x="446" y="356"/>
                  </a:lnTo>
                  <a:lnTo>
                    <a:pt x="446" y="357"/>
                  </a:lnTo>
                  <a:lnTo>
                    <a:pt x="440" y="359"/>
                  </a:lnTo>
                  <a:lnTo>
                    <a:pt x="434" y="363"/>
                  </a:lnTo>
                  <a:lnTo>
                    <a:pt x="428" y="367"/>
                  </a:lnTo>
                  <a:lnTo>
                    <a:pt x="425" y="369"/>
                  </a:lnTo>
                  <a:lnTo>
                    <a:pt x="423" y="371"/>
                  </a:lnTo>
                  <a:lnTo>
                    <a:pt x="419" y="373"/>
                  </a:lnTo>
                  <a:lnTo>
                    <a:pt x="413" y="377"/>
                  </a:lnTo>
                  <a:lnTo>
                    <a:pt x="411" y="377"/>
                  </a:lnTo>
                  <a:lnTo>
                    <a:pt x="407" y="379"/>
                  </a:lnTo>
                  <a:lnTo>
                    <a:pt x="403" y="380"/>
                  </a:lnTo>
                  <a:lnTo>
                    <a:pt x="400" y="382"/>
                  </a:lnTo>
                  <a:lnTo>
                    <a:pt x="400" y="384"/>
                  </a:lnTo>
                  <a:lnTo>
                    <a:pt x="396" y="386"/>
                  </a:lnTo>
                  <a:lnTo>
                    <a:pt x="386" y="390"/>
                  </a:lnTo>
                  <a:lnTo>
                    <a:pt x="382" y="392"/>
                  </a:lnTo>
                  <a:lnTo>
                    <a:pt x="380" y="394"/>
                  </a:lnTo>
                  <a:lnTo>
                    <a:pt x="378" y="396"/>
                  </a:lnTo>
                  <a:lnTo>
                    <a:pt x="375" y="396"/>
                  </a:lnTo>
                  <a:lnTo>
                    <a:pt x="373" y="398"/>
                  </a:lnTo>
                  <a:lnTo>
                    <a:pt x="371" y="398"/>
                  </a:lnTo>
                  <a:lnTo>
                    <a:pt x="371" y="400"/>
                  </a:lnTo>
                  <a:lnTo>
                    <a:pt x="363" y="404"/>
                  </a:lnTo>
                  <a:lnTo>
                    <a:pt x="361" y="404"/>
                  </a:lnTo>
                  <a:lnTo>
                    <a:pt x="352" y="409"/>
                  </a:lnTo>
                  <a:lnTo>
                    <a:pt x="348" y="411"/>
                  </a:lnTo>
                  <a:lnTo>
                    <a:pt x="344" y="413"/>
                  </a:lnTo>
                  <a:lnTo>
                    <a:pt x="340" y="415"/>
                  </a:lnTo>
                  <a:lnTo>
                    <a:pt x="338" y="417"/>
                  </a:lnTo>
                  <a:lnTo>
                    <a:pt x="336" y="417"/>
                  </a:lnTo>
                  <a:lnTo>
                    <a:pt x="332" y="419"/>
                  </a:lnTo>
                  <a:lnTo>
                    <a:pt x="330" y="421"/>
                  </a:lnTo>
                  <a:lnTo>
                    <a:pt x="329" y="421"/>
                  </a:lnTo>
                  <a:lnTo>
                    <a:pt x="327" y="423"/>
                  </a:lnTo>
                  <a:lnTo>
                    <a:pt x="323" y="425"/>
                  </a:lnTo>
                  <a:lnTo>
                    <a:pt x="319" y="427"/>
                  </a:lnTo>
                  <a:lnTo>
                    <a:pt x="317" y="428"/>
                  </a:lnTo>
                  <a:lnTo>
                    <a:pt x="309" y="430"/>
                  </a:lnTo>
                  <a:lnTo>
                    <a:pt x="305" y="434"/>
                  </a:lnTo>
                  <a:lnTo>
                    <a:pt x="298" y="436"/>
                  </a:lnTo>
                  <a:lnTo>
                    <a:pt x="292" y="440"/>
                  </a:lnTo>
                  <a:lnTo>
                    <a:pt x="286" y="444"/>
                  </a:lnTo>
                  <a:lnTo>
                    <a:pt x="281" y="446"/>
                  </a:lnTo>
                  <a:lnTo>
                    <a:pt x="279" y="446"/>
                  </a:lnTo>
                  <a:lnTo>
                    <a:pt x="277" y="448"/>
                  </a:lnTo>
                  <a:lnTo>
                    <a:pt x="275" y="448"/>
                  </a:lnTo>
                  <a:lnTo>
                    <a:pt x="271" y="450"/>
                  </a:lnTo>
                  <a:lnTo>
                    <a:pt x="269" y="452"/>
                  </a:lnTo>
                  <a:lnTo>
                    <a:pt x="267" y="452"/>
                  </a:lnTo>
                  <a:lnTo>
                    <a:pt x="263" y="453"/>
                  </a:lnTo>
                  <a:lnTo>
                    <a:pt x="263" y="455"/>
                  </a:lnTo>
                  <a:lnTo>
                    <a:pt x="257" y="457"/>
                  </a:lnTo>
                  <a:lnTo>
                    <a:pt x="256" y="457"/>
                  </a:lnTo>
                  <a:lnTo>
                    <a:pt x="252" y="459"/>
                  </a:lnTo>
                  <a:lnTo>
                    <a:pt x="250" y="461"/>
                  </a:lnTo>
                  <a:lnTo>
                    <a:pt x="248" y="461"/>
                  </a:lnTo>
                  <a:lnTo>
                    <a:pt x="246" y="459"/>
                  </a:lnTo>
                  <a:lnTo>
                    <a:pt x="244" y="457"/>
                  </a:lnTo>
                  <a:lnTo>
                    <a:pt x="246" y="457"/>
                  </a:lnTo>
                  <a:lnTo>
                    <a:pt x="246" y="455"/>
                  </a:lnTo>
                  <a:lnTo>
                    <a:pt x="248" y="457"/>
                  </a:lnTo>
                  <a:lnTo>
                    <a:pt x="250" y="457"/>
                  </a:lnTo>
                  <a:lnTo>
                    <a:pt x="250" y="455"/>
                  </a:lnTo>
                  <a:lnTo>
                    <a:pt x="252" y="455"/>
                  </a:lnTo>
                  <a:lnTo>
                    <a:pt x="252" y="457"/>
                  </a:lnTo>
                  <a:lnTo>
                    <a:pt x="252" y="455"/>
                  </a:lnTo>
                  <a:lnTo>
                    <a:pt x="250" y="455"/>
                  </a:lnTo>
                  <a:lnTo>
                    <a:pt x="248" y="453"/>
                  </a:lnTo>
                  <a:lnTo>
                    <a:pt x="248" y="452"/>
                  </a:lnTo>
                  <a:lnTo>
                    <a:pt x="246" y="450"/>
                  </a:lnTo>
                  <a:lnTo>
                    <a:pt x="244" y="448"/>
                  </a:lnTo>
                  <a:lnTo>
                    <a:pt x="242" y="446"/>
                  </a:lnTo>
                  <a:lnTo>
                    <a:pt x="240" y="446"/>
                  </a:lnTo>
                  <a:lnTo>
                    <a:pt x="242" y="446"/>
                  </a:lnTo>
                  <a:lnTo>
                    <a:pt x="242" y="444"/>
                  </a:lnTo>
                  <a:lnTo>
                    <a:pt x="240" y="444"/>
                  </a:lnTo>
                  <a:lnTo>
                    <a:pt x="238" y="444"/>
                  </a:lnTo>
                  <a:lnTo>
                    <a:pt x="240" y="444"/>
                  </a:lnTo>
                  <a:lnTo>
                    <a:pt x="242" y="444"/>
                  </a:lnTo>
                  <a:lnTo>
                    <a:pt x="242" y="442"/>
                  </a:lnTo>
                  <a:lnTo>
                    <a:pt x="240" y="442"/>
                  </a:lnTo>
                  <a:lnTo>
                    <a:pt x="238" y="444"/>
                  </a:lnTo>
                  <a:lnTo>
                    <a:pt x="236" y="444"/>
                  </a:lnTo>
                  <a:lnTo>
                    <a:pt x="234" y="444"/>
                  </a:lnTo>
                  <a:lnTo>
                    <a:pt x="233" y="444"/>
                  </a:lnTo>
                  <a:lnTo>
                    <a:pt x="231" y="444"/>
                  </a:lnTo>
                  <a:lnTo>
                    <a:pt x="229" y="444"/>
                  </a:lnTo>
                  <a:lnTo>
                    <a:pt x="229" y="442"/>
                  </a:lnTo>
                  <a:lnTo>
                    <a:pt x="227" y="442"/>
                  </a:lnTo>
                  <a:lnTo>
                    <a:pt x="227" y="440"/>
                  </a:lnTo>
                  <a:lnTo>
                    <a:pt x="225" y="440"/>
                  </a:lnTo>
                  <a:lnTo>
                    <a:pt x="225" y="438"/>
                  </a:lnTo>
                  <a:lnTo>
                    <a:pt x="225" y="436"/>
                  </a:lnTo>
                  <a:lnTo>
                    <a:pt x="225" y="434"/>
                  </a:lnTo>
                  <a:lnTo>
                    <a:pt x="225" y="432"/>
                  </a:lnTo>
                  <a:lnTo>
                    <a:pt x="227" y="430"/>
                  </a:lnTo>
                  <a:lnTo>
                    <a:pt x="227" y="428"/>
                  </a:lnTo>
                  <a:lnTo>
                    <a:pt x="229" y="428"/>
                  </a:lnTo>
                  <a:lnTo>
                    <a:pt x="229" y="427"/>
                  </a:lnTo>
                  <a:lnTo>
                    <a:pt x="231" y="427"/>
                  </a:lnTo>
                  <a:lnTo>
                    <a:pt x="233" y="425"/>
                  </a:lnTo>
                  <a:lnTo>
                    <a:pt x="234" y="425"/>
                  </a:lnTo>
                  <a:lnTo>
                    <a:pt x="236" y="423"/>
                  </a:lnTo>
                  <a:lnTo>
                    <a:pt x="236" y="421"/>
                  </a:lnTo>
                  <a:lnTo>
                    <a:pt x="238" y="421"/>
                  </a:lnTo>
                  <a:lnTo>
                    <a:pt x="240" y="421"/>
                  </a:lnTo>
                  <a:lnTo>
                    <a:pt x="240" y="419"/>
                  </a:lnTo>
                  <a:lnTo>
                    <a:pt x="242" y="419"/>
                  </a:lnTo>
                  <a:lnTo>
                    <a:pt x="244" y="419"/>
                  </a:lnTo>
                  <a:lnTo>
                    <a:pt x="244" y="417"/>
                  </a:lnTo>
                  <a:lnTo>
                    <a:pt x="242" y="417"/>
                  </a:lnTo>
                  <a:lnTo>
                    <a:pt x="242" y="415"/>
                  </a:lnTo>
                  <a:lnTo>
                    <a:pt x="240" y="415"/>
                  </a:lnTo>
                  <a:lnTo>
                    <a:pt x="238" y="415"/>
                  </a:lnTo>
                  <a:lnTo>
                    <a:pt x="236" y="415"/>
                  </a:lnTo>
                  <a:lnTo>
                    <a:pt x="234" y="415"/>
                  </a:lnTo>
                  <a:lnTo>
                    <a:pt x="233" y="415"/>
                  </a:lnTo>
                  <a:lnTo>
                    <a:pt x="233" y="413"/>
                  </a:lnTo>
                  <a:lnTo>
                    <a:pt x="234" y="413"/>
                  </a:lnTo>
                  <a:lnTo>
                    <a:pt x="233" y="413"/>
                  </a:lnTo>
                  <a:lnTo>
                    <a:pt x="233" y="411"/>
                  </a:lnTo>
                  <a:lnTo>
                    <a:pt x="233" y="409"/>
                  </a:lnTo>
                  <a:lnTo>
                    <a:pt x="231" y="409"/>
                  </a:lnTo>
                  <a:lnTo>
                    <a:pt x="233" y="409"/>
                  </a:lnTo>
                  <a:lnTo>
                    <a:pt x="233" y="411"/>
                  </a:lnTo>
                  <a:lnTo>
                    <a:pt x="231" y="411"/>
                  </a:lnTo>
                  <a:lnTo>
                    <a:pt x="229" y="411"/>
                  </a:lnTo>
                  <a:lnTo>
                    <a:pt x="231" y="411"/>
                  </a:lnTo>
                  <a:lnTo>
                    <a:pt x="231" y="413"/>
                  </a:lnTo>
                  <a:lnTo>
                    <a:pt x="231" y="415"/>
                  </a:lnTo>
                  <a:lnTo>
                    <a:pt x="229" y="415"/>
                  </a:lnTo>
                  <a:lnTo>
                    <a:pt x="231" y="415"/>
                  </a:lnTo>
                  <a:lnTo>
                    <a:pt x="229" y="415"/>
                  </a:lnTo>
                  <a:lnTo>
                    <a:pt x="229" y="417"/>
                  </a:lnTo>
                  <a:lnTo>
                    <a:pt x="231" y="417"/>
                  </a:lnTo>
                  <a:lnTo>
                    <a:pt x="229" y="417"/>
                  </a:lnTo>
                  <a:lnTo>
                    <a:pt x="227" y="419"/>
                  </a:lnTo>
                  <a:lnTo>
                    <a:pt x="225" y="419"/>
                  </a:lnTo>
                  <a:lnTo>
                    <a:pt x="225" y="421"/>
                  </a:lnTo>
                  <a:lnTo>
                    <a:pt x="223" y="421"/>
                  </a:lnTo>
                  <a:lnTo>
                    <a:pt x="225" y="421"/>
                  </a:lnTo>
                  <a:lnTo>
                    <a:pt x="223" y="423"/>
                  </a:lnTo>
                  <a:lnTo>
                    <a:pt x="221" y="423"/>
                  </a:lnTo>
                  <a:lnTo>
                    <a:pt x="219" y="423"/>
                  </a:lnTo>
                  <a:lnTo>
                    <a:pt x="221" y="425"/>
                  </a:lnTo>
                  <a:lnTo>
                    <a:pt x="219" y="425"/>
                  </a:lnTo>
                  <a:lnTo>
                    <a:pt x="217" y="425"/>
                  </a:lnTo>
                  <a:lnTo>
                    <a:pt x="217" y="427"/>
                  </a:lnTo>
                  <a:lnTo>
                    <a:pt x="219" y="427"/>
                  </a:lnTo>
                  <a:lnTo>
                    <a:pt x="219" y="428"/>
                  </a:lnTo>
                  <a:lnTo>
                    <a:pt x="217" y="428"/>
                  </a:lnTo>
                  <a:lnTo>
                    <a:pt x="217" y="430"/>
                  </a:lnTo>
                  <a:lnTo>
                    <a:pt x="219" y="430"/>
                  </a:lnTo>
                  <a:lnTo>
                    <a:pt x="219" y="432"/>
                  </a:lnTo>
                  <a:lnTo>
                    <a:pt x="219" y="434"/>
                  </a:lnTo>
                  <a:lnTo>
                    <a:pt x="219" y="436"/>
                  </a:lnTo>
                  <a:lnTo>
                    <a:pt x="217" y="436"/>
                  </a:lnTo>
                  <a:lnTo>
                    <a:pt x="219" y="436"/>
                  </a:lnTo>
                  <a:lnTo>
                    <a:pt x="221" y="436"/>
                  </a:lnTo>
                  <a:lnTo>
                    <a:pt x="221" y="438"/>
                  </a:lnTo>
                  <a:lnTo>
                    <a:pt x="223" y="438"/>
                  </a:lnTo>
                  <a:lnTo>
                    <a:pt x="223" y="440"/>
                  </a:lnTo>
                  <a:lnTo>
                    <a:pt x="225" y="440"/>
                  </a:lnTo>
                  <a:lnTo>
                    <a:pt x="225" y="442"/>
                  </a:lnTo>
                  <a:lnTo>
                    <a:pt x="227" y="442"/>
                  </a:lnTo>
                  <a:lnTo>
                    <a:pt x="227" y="444"/>
                  </a:lnTo>
                  <a:lnTo>
                    <a:pt x="227" y="446"/>
                  </a:lnTo>
                  <a:lnTo>
                    <a:pt x="225" y="446"/>
                  </a:lnTo>
                  <a:lnTo>
                    <a:pt x="225" y="448"/>
                  </a:lnTo>
                  <a:lnTo>
                    <a:pt x="227" y="448"/>
                  </a:lnTo>
                  <a:lnTo>
                    <a:pt x="225" y="448"/>
                  </a:lnTo>
                  <a:lnTo>
                    <a:pt x="225" y="450"/>
                  </a:lnTo>
                  <a:lnTo>
                    <a:pt x="227" y="448"/>
                  </a:lnTo>
                  <a:lnTo>
                    <a:pt x="227" y="450"/>
                  </a:lnTo>
                  <a:lnTo>
                    <a:pt x="227" y="452"/>
                  </a:lnTo>
                  <a:lnTo>
                    <a:pt x="227" y="450"/>
                  </a:lnTo>
                  <a:lnTo>
                    <a:pt x="225" y="450"/>
                  </a:lnTo>
                  <a:lnTo>
                    <a:pt x="225" y="452"/>
                  </a:lnTo>
                  <a:lnTo>
                    <a:pt x="227" y="452"/>
                  </a:lnTo>
                  <a:lnTo>
                    <a:pt x="225" y="452"/>
                  </a:lnTo>
                  <a:lnTo>
                    <a:pt x="225" y="453"/>
                  </a:lnTo>
                  <a:lnTo>
                    <a:pt x="227" y="453"/>
                  </a:lnTo>
                  <a:lnTo>
                    <a:pt x="227" y="455"/>
                  </a:lnTo>
                  <a:lnTo>
                    <a:pt x="229" y="455"/>
                  </a:lnTo>
                  <a:lnTo>
                    <a:pt x="229" y="457"/>
                  </a:lnTo>
                  <a:lnTo>
                    <a:pt x="231" y="459"/>
                  </a:lnTo>
                  <a:lnTo>
                    <a:pt x="233" y="461"/>
                  </a:lnTo>
                  <a:lnTo>
                    <a:pt x="231" y="461"/>
                  </a:lnTo>
                  <a:lnTo>
                    <a:pt x="229" y="461"/>
                  </a:lnTo>
                  <a:lnTo>
                    <a:pt x="229" y="463"/>
                  </a:lnTo>
                  <a:lnTo>
                    <a:pt x="231" y="463"/>
                  </a:lnTo>
                  <a:lnTo>
                    <a:pt x="231" y="465"/>
                  </a:lnTo>
                  <a:lnTo>
                    <a:pt x="229" y="465"/>
                  </a:lnTo>
                  <a:lnTo>
                    <a:pt x="231" y="467"/>
                  </a:lnTo>
                  <a:lnTo>
                    <a:pt x="233" y="469"/>
                  </a:lnTo>
                  <a:lnTo>
                    <a:pt x="233" y="471"/>
                  </a:lnTo>
                  <a:lnTo>
                    <a:pt x="231" y="471"/>
                  </a:lnTo>
                  <a:lnTo>
                    <a:pt x="229" y="471"/>
                  </a:lnTo>
                  <a:lnTo>
                    <a:pt x="229" y="469"/>
                  </a:lnTo>
                  <a:lnTo>
                    <a:pt x="229" y="471"/>
                  </a:lnTo>
                  <a:lnTo>
                    <a:pt x="231" y="473"/>
                  </a:lnTo>
                  <a:lnTo>
                    <a:pt x="231" y="475"/>
                  </a:lnTo>
                  <a:lnTo>
                    <a:pt x="233" y="476"/>
                  </a:lnTo>
                  <a:lnTo>
                    <a:pt x="231" y="476"/>
                  </a:lnTo>
                  <a:lnTo>
                    <a:pt x="233" y="476"/>
                  </a:lnTo>
                  <a:lnTo>
                    <a:pt x="233" y="478"/>
                  </a:lnTo>
                  <a:lnTo>
                    <a:pt x="233" y="480"/>
                  </a:lnTo>
                  <a:lnTo>
                    <a:pt x="234" y="480"/>
                  </a:lnTo>
                  <a:lnTo>
                    <a:pt x="236" y="480"/>
                  </a:lnTo>
                  <a:lnTo>
                    <a:pt x="236" y="482"/>
                  </a:lnTo>
                  <a:lnTo>
                    <a:pt x="236" y="484"/>
                  </a:lnTo>
                  <a:lnTo>
                    <a:pt x="238" y="484"/>
                  </a:lnTo>
                  <a:lnTo>
                    <a:pt x="238" y="486"/>
                  </a:lnTo>
                  <a:lnTo>
                    <a:pt x="238" y="488"/>
                  </a:lnTo>
                  <a:lnTo>
                    <a:pt x="238" y="490"/>
                  </a:lnTo>
                  <a:lnTo>
                    <a:pt x="236" y="490"/>
                  </a:lnTo>
                  <a:lnTo>
                    <a:pt x="234" y="490"/>
                  </a:lnTo>
                  <a:lnTo>
                    <a:pt x="234" y="492"/>
                  </a:lnTo>
                  <a:lnTo>
                    <a:pt x="234" y="494"/>
                  </a:lnTo>
                  <a:lnTo>
                    <a:pt x="234" y="496"/>
                  </a:lnTo>
                  <a:lnTo>
                    <a:pt x="233" y="496"/>
                  </a:lnTo>
                  <a:lnTo>
                    <a:pt x="233" y="498"/>
                  </a:lnTo>
                  <a:lnTo>
                    <a:pt x="231" y="496"/>
                  </a:lnTo>
                  <a:lnTo>
                    <a:pt x="229" y="496"/>
                  </a:lnTo>
                  <a:lnTo>
                    <a:pt x="229" y="494"/>
                  </a:lnTo>
                  <a:lnTo>
                    <a:pt x="227" y="494"/>
                  </a:lnTo>
                  <a:lnTo>
                    <a:pt x="227" y="492"/>
                  </a:lnTo>
                  <a:lnTo>
                    <a:pt x="225" y="492"/>
                  </a:lnTo>
                  <a:lnTo>
                    <a:pt x="223" y="492"/>
                  </a:lnTo>
                  <a:lnTo>
                    <a:pt x="223" y="490"/>
                  </a:lnTo>
                  <a:lnTo>
                    <a:pt x="221" y="490"/>
                  </a:lnTo>
                  <a:lnTo>
                    <a:pt x="221" y="492"/>
                  </a:lnTo>
                  <a:lnTo>
                    <a:pt x="219" y="492"/>
                  </a:lnTo>
                  <a:lnTo>
                    <a:pt x="219" y="490"/>
                  </a:lnTo>
                  <a:lnTo>
                    <a:pt x="217" y="490"/>
                  </a:lnTo>
                  <a:lnTo>
                    <a:pt x="217" y="492"/>
                  </a:lnTo>
                  <a:lnTo>
                    <a:pt x="215" y="492"/>
                  </a:lnTo>
                  <a:lnTo>
                    <a:pt x="213" y="492"/>
                  </a:lnTo>
                  <a:lnTo>
                    <a:pt x="213" y="494"/>
                  </a:lnTo>
                  <a:lnTo>
                    <a:pt x="215" y="494"/>
                  </a:lnTo>
                  <a:lnTo>
                    <a:pt x="215" y="496"/>
                  </a:lnTo>
                  <a:lnTo>
                    <a:pt x="213" y="496"/>
                  </a:lnTo>
                  <a:lnTo>
                    <a:pt x="211" y="496"/>
                  </a:lnTo>
                  <a:lnTo>
                    <a:pt x="211" y="494"/>
                  </a:lnTo>
                  <a:lnTo>
                    <a:pt x="209" y="494"/>
                  </a:lnTo>
                  <a:lnTo>
                    <a:pt x="209" y="496"/>
                  </a:lnTo>
                  <a:lnTo>
                    <a:pt x="208" y="496"/>
                  </a:lnTo>
                  <a:lnTo>
                    <a:pt x="206" y="496"/>
                  </a:lnTo>
                  <a:lnTo>
                    <a:pt x="206" y="498"/>
                  </a:lnTo>
                  <a:lnTo>
                    <a:pt x="206" y="496"/>
                  </a:lnTo>
                  <a:lnTo>
                    <a:pt x="206" y="494"/>
                  </a:lnTo>
                  <a:lnTo>
                    <a:pt x="204" y="494"/>
                  </a:lnTo>
                  <a:lnTo>
                    <a:pt x="202" y="494"/>
                  </a:lnTo>
                  <a:lnTo>
                    <a:pt x="202" y="496"/>
                  </a:lnTo>
                  <a:lnTo>
                    <a:pt x="202" y="494"/>
                  </a:lnTo>
                  <a:lnTo>
                    <a:pt x="200" y="494"/>
                  </a:lnTo>
                  <a:lnTo>
                    <a:pt x="200" y="492"/>
                  </a:lnTo>
                  <a:lnTo>
                    <a:pt x="198" y="492"/>
                  </a:lnTo>
                  <a:lnTo>
                    <a:pt x="198" y="494"/>
                  </a:lnTo>
                  <a:lnTo>
                    <a:pt x="198" y="496"/>
                  </a:lnTo>
                  <a:lnTo>
                    <a:pt x="196" y="494"/>
                  </a:lnTo>
                  <a:lnTo>
                    <a:pt x="194" y="494"/>
                  </a:lnTo>
                  <a:lnTo>
                    <a:pt x="194" y="492"/>
                  </a:lnTo>
                  <a:lnTo>
                    <a:pt x="194" y="490"/>
                  </a:lnTo>
                  <a:lnTo>
                    <a:pt x="194" y="488"/>
                  </a:lnTo>
                  <a:lnTo>
                    <a:pt x="192" y="486"/>
                  </a:lnTo>
                  <a:lnTo>
                    <a:pt x="192" y="488"/>
                  </a:lnTo>
                  <a:lnTo>
                    <a:pt x="194" y="488"/>
                  </a:lnTo>
                  <a:lnTo>
                    <a:pt x="192" y="488"/>
                  </a:lnTo>
                  <a:lnTo>
                    <a:pt x="190" y="488"/>
                  </a:lnTo>
                  <a:lnTo>
                    <a:pt x="190" y="486"/>
                  </a:lnTo>
                  <a:lnTo>
                    <a:pt x="190" y="488"/>
                  </a:lnTo>
                  <a:lnTo>
                    <a:pt x="186" y="486"/>
                  </a:lnTo>
                  <a:lnTo>
                    <a:pt x="186" y="484"/>
                  </a:lnTo>
                  <a:lnTo>
                    <a:pt x="186" y="482"/>
                  </a:lnTo>
                  <a:lnTo>
                    <a:pt x="185" y="482"/>
                  </a:lnTo>
                  <a:lnTo>
                    <a:pt x="186" y="482"/>
                  </a:lnTo>
                  <a:lnTo>
                    <a:pt x="186" y="484"/>
                  </a:lnTo>
                  <a:lnTo>
                    <a:pt x="185" y="484"/>
                  </a:lnTo>
                  <a:lnTo>
                    <a:pt x="186" y="486"/>
                  </a:lnTo>
                  <a:lnTo>
                    <a:pt x="185" y="488"/>
                  </a:lnTo>
                  <a:lnTo>
                    <a:pt x="183" y="488"/>
                  </a:lnTo>
                  <a:lnTo>
                    <a:pt x="183" y="490"/>
                  </a:lnTo>
                  <a:lnTo>
                    <a:pt x="183" y="492"/>
                  </a:lnTo>
                  <a:lnTo>
                    <a:pt x="183" y="490"/>
                  </a:lnTo>
                  <a:lnTo>
                    <a:pt x="181" y="490"/>
                  </a:lnTo>
                  <a:lnTo>
                    <a:pt x="181" y="488"/>
                  </a:lnTo>
                  <a:lnTo>
                    <a:pt x="181" y="486"/>
                  </a:lnTo>
                  <a:lnTo>
                    <a:pt x="179" y="484"/>
                  </a:lnTo>
                  <a:lnTo>
                    <a:pt x="179" y="486"/>
                  </a:lnTo>
                  <a:lnTo>
                    <a:pt x="179" y="488"/>
                  </a:lnTo>
                  <a:lnTo>
                    <a:pt x="177" y="488"/>
                  </a:lnTo>
                  <a:lnTo>
                    <a:pt x="177" y="486"/>
                  </a:lnTo>
                  <a:lnTo>
                    <a:pt x="175" y="486"/>
                  </a:lnTo>
                  <a:lnTo>
                    <a:pt x="175" y="488"/>
                  </a:lnTo>
                  <a:lnTo>
                    <a:pt x="173" y="488"/>
                  </a:lnTo>
                  <a:lnTo>
                    <a:pt x="173" y="486"/>
                  </a:lnTo>
                  <a:lnTo>
                    <a:pt x="173" y="488"/>
                  </a:lnTo>
                  <a:lnTo>
                    <a:pt x="171" y="488"/>
                  </a:lnTo>
                  <a:lnTo>
                    <a:pt x="173" y="488"/>
                  </a:lnTo>
                  <a:lnTo>
                    <a:pt x="173" y="490"/>
                  </a:lnTo>
                  <a:lnTo>
                    <a:pt x="171" y="490"/>
                  </a:lnTo>
                  <a:lnTo>
                    <a:pt x="169" y="490"/>
                  </a:lnTo>
                  <a:lnTo>
                    <a:pt x="169" y="492"/>
                  </a:lnTo>
                  <a:lnTo>
                    <a:pt x="171" y="492"/>
                  </a:lnTo>
                  <a:lnTo>
                    <a:pt x="169" y="492"/>
                  </a:lnTo>
                  <a:lnTo>
                    <a:pt x="169" y="494"/>
                  </a:lnTo>
                  <a:lnTo>
                    <a:pt x="169" y="492"/>
                  </a:lnTo>
                  <a:lnTo>
                    <a:pt x="167" y="492"/>
                  </a:lnTo>
                  <a:lnTo>
                    <a:pt x="165" y="492"/>
                  </a:lnTo>
                  <a:lnTo>
                    <a:pt x="165" y="490"/>
                  </a:lnTo>
                  <a:lnTo>
                    <a:pt x="163" y="490"/>
                  </a:lnTo>
                  <a:lnTo>
                    <a:pt x="163" y="488"/>
                  </a:lnTo>
                  <a:lnTo>
                    <a:pt x="161" y="486"/>
                  </a:lnTo>
                  <a:lnTo>
                    <a:pt x="160" y="486"/>
                  </a:lnTo>
                  <a:lnTo>
                    <a:pt x="158" y="486"/>
                  </a:lnTo>
                  <a:lnTo>
                    <a:pt x="158" y="484"/>
                  </a:lnTo>
                  <a:lnTo>
                    <a:pt x="156" y="484"/>
                  </a:lnTo>
                  <a:lnTo>
                    <a:pt x="154" y="484"/>
                  </a:lnTo>
                  <a:lnTo>
                    <a:pt x="154" y="482"/>
                  </a:lnTo>
                  <a:lnTo>
                    <a:pt x="152" y="482"/>
                  </a:lnTo>
                  <a:lnTo>
                    <a:pt x="154" y="482"/>
                  </a:lnTo>
                  <a:lnTo>
                    <a:pt x="154" y="484"/>
                  </a:lnTo>
                  <a:lnTo>
                    <a:pt x="152" y="484"/>
                  </a:lnTo>
                  <a:lnTo>
                    <a:pt x="154" y="484"/>
                  </a:lnTo>
                  <a:lnTo>
                    <a:pt x="154" y="486"/>
                  </a:lnTo>
                  <a:lnTo>
                    <a:pt x="154" y="488"/>
                  </a:lnTo>
                  <a:lnTo>
                    <a:pt x="156" y="488"/>
                  </a:lnTo>
                  <a:lnTo>
                    <a:pt x="156" y="490"/>
                  </a:lnTo>
                  <a:lnTo>
                    <a:pt x="158" y="490"/>
                  </a:lnTo>
                  <a:lnTo>
                    <a:pt x="158" y="492"/>
                  </a:lnTo>
                  <a:lnTo>
                    <a:pt x="156" y="492"/>
                  </a:lnTo>
                  <a:lnTo>
                    <a:pt x="156" y="494"/>
                  </a:lnTo>
                  <a:lnTo>
                    <a:pt x="156" y="492"/>
                  </a:lnTo>
                  <a:lnTo>
                    <a:pt x="154" y="494"/>
                  </a:lnTo>
                  <a:lnTo>
                    <a:pt x="154" y="492"/>
                  </a:lnTo>
                  <a:lnTo>
                    <a:pt x="152" y="492"/>
                  </a:lnTo>
                  <a:lnTo>
                    <a:pt x="152" y="490"/>
                  </a:lnTo>
                  <a:lnTo>
                    <a:pt x="150" y="490"/>
                  </a:lnTo>
                  <a:lnTo>
                    <a:pt x="148" y="490"/>
                  </a:lnTo>
                  <a:lnTo>
                    <a:pt x="148" y="488"/>
                  </a:lnTo>
                  <a:lnTo>
                    <a:pt x="148" y="486"/>
                  </a:lnTo>
                  <a:lnTo>
                    <a:pt x="146" y="486"/>
                  </a:lnTo>
                  <a:lnTo>
                    <a:pt x="148" y="486"/>
                  </a:lnTo>
                  <a:lnTo>
                    <a:pt x="146" y="486"/>
                  </a:lnTo>
                  <a:lnTo>
                    <a:pt x="146" y="484"/>
                  </a:lnTo>
                  <a:lnTo>
                    <a:pt x="144" y="484"/>
                  </a:lnTo>
                  <a:lnTo>
                    <a:pt x="144" y="482"/>
                  </a:lnTo>
                  <a:lnTo>
                    <a:pt x="146" y="482"/>
                  </a:lnTo>
                  <a:lnTo>
                    <a:pt x="146" y="480"/>
                  </a:lnTo>
                  <a:lnTo>
                    <a:pt x="148" y="480"/>
                  </a:lnTo>
                  <a:lnTo>
                    <a:pt x="148" y="482"/>
                  </a:lnTo>
                  <a:lnTo>
                    <a:pt x="150" y="482"/>
                  </a:lnTo>
                  <a:lnTo>
                    <a:pt x="150" y="480"/>
                  </a:lnTo>
                  <a:lnTo>
                    <a:pt x="148" y="480"/>
                  </a:lnTo>
                  <a:lnTo>
                    <a:pt x="148" y="478"/>
                  </a:lnTo>
                  <a:lnTo>
                    <a:pt x="148" y="476"/>
                  </a:lnTo>
                  <a:lnTo>
                    <a:pt x="146" y="476"/>
                  </a:lnTo>
                  <a:lnTo>
                    <a:pt x="146" y="475"/>
                  </a:lnTo>
                  <a:lnTo>
                    <a:pt x="144" y="475"/>
                  </a:lnTo>
                  <a:lnTo>
                    <a:pt x="146" y="475"/>
                  </a:lnTo>
                  <a:lnTo>
                    <a:pt x="146" y="473"/>
                  </a:lnTo>
                  <a:lnTo>
                    <a:pt x="144" y="473"/>
                  </a:lnTo>
                  <a:lnTo>
                    <a:pt x="144" y="471"/>
                  </a:lnTo>
                  <a:lnTo>
                    <a:pt x="144" y="469"/>
                  </a:lnTo>
                  <a:lnTo>
                    <a:pt x="142" y="469"/>
                  </a:lnTo>
                  <a:lnTo>
                    <a:pt x="140" y="467"/>
                  </a:lnTo>
                  <a:lnTo>
                    <a:pt x="140" y="465"/>
                  </a:lnTo>
                  <a:lnTo>
                    <a:pt x="140" y="463"/>
                  </a:lnTo>
                  <a:lnTo>
                    <a:pt x="142" y="463"/>
                  </a:lnTo>
                  <a:lnTo>
                    <a:pt x="142" y="465"/>
                  </a:lnTo>
                  <a:lnTo>
                    <a:pt x="144" y="465"/>
                  </a:lnTo>
                  <a:lnTo>
                    <a:pt x="144" y="467"/>
                  </a:lnTo>
                  <a:lnTo>
                    <a:pt x="146" y="467"/>
                  </a:lnTo>
                  <a:lnTo>
                    <a:pt x="146" y="465"/>
                  </a:lnTo>
                  <a:lnTo>
                    <a:pt x="146" y="463"/>
                  </a:lnTo>
                  <a:lnTo>
                    <a:pt x="144" y="465"/>
                  </a:lnTo>
                  <a:lnTo>
                    <a:pt x="144" y="463"/>
                  </a:lnTo>
                  <a:lnTo>
                    <a:pt x="142" y="463"/>
                  </a:lnTo>
                  <a:lnTo>
                    <a:pt x="142" y="461"/>
                  </a:lnTo>
                  <a:lnTo>
                    <a:pt x="142" y="459"/>
                  </a:lnTo>
                  <a:lnTo>
                    <a:pt x="140" y="459"/>
                  </a:lnTo>
                  <a:lnTo>
                    <a:pt x="140" y="457"/>
                  </a:lnTo>
                  <a:lnTo>
                    <a:pt x="138" y="457"/>
                  </a:lnTo>
                  <a:lnTo>
                    <a:pt x="138" y="455"/>
                  </a:lnTo>
                  <a:lnTo>
                    <a:pt x="137" y="455"/>
                  </a:lnTo>
                  <a:lnTo>
                    <a:pt x="137" y="453"/>
                  </a:lnTo>
                  <a:lnTo>
                    <a:pt x="135" y="453"/>
                  </a:lnTo>
                  <a:lnTo>
                    <a:pt x="135" y="452"/>
                  </a:lnTo>
                  <a:lnTo>
                    <a:pt x="137" y="452"/>
                  </a:lnTo>
                  <a:lnTo>
                    <a:pt x="138" y="452"/>
                  </a:lnTo>
                  <a:lnTo>
                    <a:pt x="140" y="453"/>
                  </a:lnTo>
                  <a:lnTo>
                    <a:pt x="140" y="452"/>
                  </a:lnTo>
                  <a:lnTo>
                    <a:pt x="138" y="452"/>
                  </a:lnTo>
                  <a:lnTo>
                    <a:pt x="140" y="452"/>
                  </a:lnTo>
                  <a:lnTo>
                    <a:pt x="140" y="450"/>
                  </a:lnTo>
                  <a:lnTo>
                    <a:pt x="138" y="450"/>
                  </a:lnTo>
                  <a:lnTo>
                    <a:pt x="138" y="448"/>
                  </a:lnTo>
                  <a:lnTo>
                    <a:pt x="137" y="448"/>
                  </a:lnTo>
                  <a:lnTo>
                    <a:pt x="137" y="446"/>
                  </a:lnTo>
                  <a:lnTo>
                    <a:pt x="135" y="446"/>
                  </a:lnTo>
                  <a:lnTo>
                    <a:pt x="135" y="444"/>
                  </a:lnTo>
                  <a:lnTo>
                    <a:pt x="133" y="444"/>
                  </a:lnTo>
                  <a:lnTo>
                    <a:pt x="131" y="444"/>
                  </a:lnTo>
                  <a:lnTo>
                    <a:pt x="131" y="442"/>
                  </a:lnTo>
                  <a:lnTo>
                    <a:pt x="129" y="442"/>
                  </a:lnTo>
                  <a:lnTo>
                    <a:pt x="129" y="444"/>
                  </a:lnTo>
                  <a:lnTo>
                    <a:pt x="129" y="446"/>
                  </a:lnTo>
                  <a:lnTo>
                    <a:pt x="131" y="446"/>
                  </a:lnTo>
                  <a:lnTo>
                    <a:pt x="129" y="446"/>
                  </a:lnTo>
                  <a:lnTo>
                    <a:pt x="129" y="448"/>
                  </a:lnTo>
                  <a:lnTo>
                    <a:pt x="131" y="448"/>
                  </a:lnTo>
                  <a:lnTo>
                    <a:pt x="131" y="450"/>
                  </a:lnTo>
                  <a:lnTo>
                    <a:pt x="129" y="450"/>
                  </a:lnTo>
                  <a:lnTo>
                    <a:pt x="129" y="448"/>
                  </a:lnTo>
                  <a:lnTo>
                    <a:pt x="129" y="450"/>
                  </a:lnTo>
                  <a:lnTo>
                    <a:pt x="127" y="450"/>
                  </a:lnTo>
                  <a:lnTo>
                    <a:pt x="127" y="452"/>
                  </a:lnTo>
                  <a:lnTo>
                    <a:pt x="125" y="452"/>
                  </a:lnTo>
                  <a:lnTo>
                    <a:pt x="125" y="453"/>
                  </a:lnTo>
                  <a:lnTo>
                    <a:pt x="127" y="453"/>
                  </a:lnTo>
                  <a:lnTo>
                    <a:pt x="125" y="453"/>
                  </a:lnTo>
                  <a:lnTo>
                    <a:pt x="125" y="455"/>
                  </a:lnTo>
                  <a:lnTo>
                    <a:pt x="127" y="455"/>
                  </a:lnTo>
                  <a:lnTo>
                    <a:pt x="127" y="457"/>
                  </a:lnTo>
                  <a:lnTo>
                    <a:pt x="127" y="459"/>
                  </a:lnTo>
                  <a:lnTo>
                    <a:pt x="129" y="459"/>
                  </a:lnTo>
                  <a:lnTo>
                    <a:pt x="129" y="461"/>
                  </a:lnTo>
                  <a:lnTo>
                    <a:pt x="127" y="461"/>
                  </a:lnTo>
                  <a:lnTo>
                    <a:pt x="127" y="463"/>
                  </a:lnTo>
                  <a:lnTo>
                    <a:pt x="125" y="463"/>
                  </a:lnTo>
                  <a:lnTo>
                    <a:pt x="125" y="461"/>
                  </a:lnTo>
                  <a:lnTo>
                    <a:pt x="123" y="461"/>
                  </a:lnTo>
                  <a:lnTo>
                    <a:pt x="123" y="463"/>
                  </a:lnTo>
                  <a:lnTo>
                    <a:pt x="125" y="463"/>
                  </a:lnTo>
                  <a:lnTo>
                    <a:pt x="125" y="465"/>
                  </a:lnTo>
                  <a:lnTo>
                    <a:pt x="127" y="465"/>
                  </a:lnTo>
                  <a:lnTo>
                    <a:pt x="127" y="467"/>
                  </a:lnTo>
                  <a:lnTo>
                    <a:pt x="127" y="469"/>
                  </a:lnTo>
                  <a:lnTo>
                    <a:pt x="125" y="467"/>
                  </a:lnTo>
                  <a:lnTo>
                    <a:pt x="123" y="467"/>
                  </a:lnTo>
                  <a:lnTo>
                    <a:pt x="123" y="465"/>
                  </a:lnTo>
                  <a:lnTo>
                    <a:pt x="121" y="465"/>
                  </a:lnTo>
                  <a:lnTo>
                    <a:pt x="123" y="465"/>
                  </a:lnTo>
                  <a:lnTo>
                    <a:pt x="123" y="467"/>
                  </a:lnTo>
                  <a:lnTo>
                    <a:pt x="121" y="467"/>
                  </a:lnTo>
                  <a:lnTo>
                    <a:pt x="123" y="469"/>
                  </a:lnTo>
                  <a:lnTo>
                    <a:pt x="125" y="471"/>
                  </a:lnTo>
                  <a:lnTo>
                    <a:pt x="123" y="471"/>
                  </a:lnTo>
                  <a:lnTo>
                    <a:pt x="121" y="469"/>
                  </a:lnTo>
                  <a:lnTo>
                    <a:pt x="119" y="469"/>
                  </a:lnTo>
                  <a:lnTo>
                    <a:pt x="119" y="467"/>
                  </a:lnTo>
                  <a:lnTo>
                    <a:pt x="117" y="467"/>
                  </a:lnTo>
                  <a:lnTo>
                    <a:pt x="117" y="469"/>
                  </a:lnTo>
                  <a:lnTo>
                    <a:pt x="117" y="467"/>
                  </a:lnTo>
                  <a:lnTo>
                    <a:pt x="115" y="469"/>
                  </a:lnTo>
                  <a:lnTo>
                    <a:pt x="115" y="467"/>
                  </a:lnTo>
                  <a:lnTo>
                    <a:pt x="113" y="467"/>
                  </a:lnTo>
                  <a:lnTo>
                    <a:pt x="113" y="465"/>
                  </a:lnTo>
                  <a:lnTo>
                    <a:pt x="113" y="463"/>
                  </a:lnTo>
                  <a:lnTo>
                    <a:pt x="113" y="461"/>
                  </a:lnTo>
                  <a:lnTo>
                    <a:pt x="112" y="461"/>
                  </a:lnTo>
                  <a:lnTo>
                    <a:pt x="112" y="463"/>
                  </a:lnTo>
                  <a:lnTo>
                    <a:pt x="110" y="463"/>
                  </a:lnTo>
                  <a:lnTo>
                    <a:pt x="110" y="465"/>
                  </a:lnTo>
                  <a:lnTo>
                    <a:pt x="110" y="467"/>
                  </a:lnTo>
                  <a:lnTo>
                    <a:pt x="110" y="465"/>
                  </a:lnTo>
                  <a:lnTo>
                    <a:pt x="108" y="465"/>
                  </a:lnTo>
                  <a:lnTo>
                    <a:pt x="106" y="465"/>
                  </a:lnTo>
                  <a:lnTo>
                    <a:pt x="104" y="465"/>
                  </a:lnTo>
                  <a:lnTo>
                    <a:pt x="102" y="465"/>
                  </a:lnTo>
                  <a:lnTo>
                    <a:pt x="102" y="463"/>
                  </a:lnTo>
                  <a:lnTo>
                    <a:pt x="100" y="463"/>
                  </a:lnTo>
                  <a:lnTo>
                    <a:pt x="100" y="461"/>
                  </a:lnTo>
                  <a:lnTo>
                    <a:pt x="100" y="459"/>
                  </a:lnTo>
                  <a:lnTo>
                    <a:pt x="102" y="459"/>
                  </a:lnTo>
                  <a:lnTo>
                    <a:pt x="104" y="459"/>
                  </a:lnTo>
                  <a:lnTo>
                    <a:pt x="104" y="457"/>
                  </a:lnTo>
                  <a:lnTo>
                    <a:pt x="102" y="459"/>
                  </a:lnTo>
                  <a:lnTo>
                    <a:pt x="100" y="459"/>
                  </a:lnTo>
                  <a:lnTo>
                    <a:pt x="98" y="459"/>
                  </a:lnTo>
                  <a:lnTo>
                    <a:pt x="98" y="457"/>
                  </a:lnTo>
                  <a:lnTo>
                    <a:pt x="96" y="455"/>
                  </a:lnTo>
                  <a:lnTo>
                    <a:pt x="96" y="453"/>
                  </a:lnTo>
                  <a:lnTo>
                    <a:pt x="94" y="452"/>
                  </a:lnTo>
                  <a:lnTo>
                    <a:pt x="96" y="452"/>
                  </a:lnTo>
                  <a:lnTo>
                    <a:pt x="98" y="450"/>
                  </a:lnTo>
                  <a:lnTo>
                    <a:pt x="96" y="448"/>
                  </a:lnTo>
                  <a:lnTo>
                    <a:pt x="98" y="448"/>
                  </a:lnTo>
                  <a:lnTo>
                    <a:pt x="100" y="448"/>
                  </a:lnTo>
                  <a:lnTo>
                    <a:pt x="102" y="448"/>
                  </a:lnTo>
                  <a:lnTo>
                    <a:pt x="104" y="448"/>
                  </a:lnTo>
                  <a:lnTo>
                    <a:pt x="104" y="450"/>
                  </a:lnTo>
                  <a:lnTo>
                    <a:pt x="104" y="448"/>
                  </a:lnTo>
                  <a:lnTo>
                    <a:pt x="106" y="448"/>
                  </a:lnTo>
                  <a:lnTo>
                    <a:pt x="106" y="446"/>
                  </a:lnTo>
                  <a:lnTo>
                    <a:pt x="106" y="448"/>
                  </a:lnTo>
                  <a:lnTo>
                    <a:pt x="108" y="448"/>
                  </a:lnTo>
                  <a:lnTo>
                    <a:pt x="106" y="448"/>
                  </a:lnTo>
                  <a:lnTo>
                    <a:pt x="106" y="450"/>
                  </a:lnTo>
                  <a:lnTo>
                    <a:pt x="108" y="450"/>
                  </a:lnTo>
                  <a:lnTo>
                    <a:pt x="110" y="450"/>
                  </a:lnTo>
                  <a:lnTo>
                    <a:pt x="110" y="448"/>
                  </a:lnTo>
                  <a:lnTo>
                    <a:pt x="110" y="446"/>
                  </a:lnTo>
                  <a:lnTo>
                    <a:pt x="108" y="446"/>
                  </a:lnTo>
                  <a:lnTo>
                    <a:pt x="108" y="444"/>
                  </a:lnTo>
                  <a:lnTo>
                    <a:pt x="108" y="442"/>
                  </a:lnTo>
                  <a:lnTo>
                    <a:pt x="108" y="440"/>
                  </a:lnTo>
                  <a:lnTo>
                    <a:pt x="106" y="440"/>
                  </a:lnTo>
                  <a:lnTo>
                    <a:pt x="106" y="438"/>
                  </a:lnTo>
                  <a:lnTo>
                    <a:pt x="106" y="436"/>
                  </a:lnTo>
                  <a:lnTo>
                    <a:pt x="106" y="434"/>
                  </a:lnTo>
                  <a:lnTo>
                    <a:pt x="104" y="434"/>
                  </a:lnTo>
                  <a:lnTo>
                    <a:pt x="104" y="436"/>
                  </a:lnTo>
                  <a:lnTo>
                    <a:pt x="102" y="434"/>
                  </a:lnTo>
                  <a:lnTo>
                    <a:pt x="104" y="432"/>
                  </a:lnTo>
                  <a:lnTo>
                    <a:pt x="102" y="432"/>
                  </a:lnTo>
                  <a:lnTo>
                    <a:pt x="104" y="432"/>
                  </a:lnTo>
                  <a:lnTo>
                    <a:pt x="104" y="430"/>
                  </a:lnTo>
                  <a:lnTo>
                    <a:pt x="104" y="428"/>
                  </a:lnTo>
                  <a:lnTo>
                    <a:pt x="106" y="430"/>
                  </a:lnTo>
                  <a:lnTo>
                    <a:pt x="106" y="428"/>
                  </a:lnTo>
                  <a:lnTo>
                    <a:pt x="104" y="428"/>
                  </a:lnTo>
                  <a:lnTo>
                    <a:pt x="104" y="427"/>
                  </a:lnTo>
                  <a:lnTo>
                    <a:pt x="102" y="427"/>
                  </a:lnTo>
                  <a:lnTo>
                    <a:pt x="102" y="425"/>
                  </a:lnTo>
                  <a:lnTo>
                    <a:pt x="102" y="427"/>
                  </a:lnTo>
                  <a:lnTo>
                    <a:pt x="100" y="427"/>
                  </a:lnTo>
                  <a:lnTo>
                    <a:pt x="100" y="425"/>
                  </a:lnTo>
                  <a:lnTo>
                    <a:pt x="98" y="425"/>
                  </a:lnTo>
                  <a:lnTo>
                    <a:pt x="98" y="423"/>
                  </a:lnTo>
                  <a:lnTo>
                    <a:pt x="98" y="425"/>
                  </a:lnTo>
                  <a:lnTo>
                    <a:pt x="96" y="425"/>
                  </a:lnTo>
                  <a:lnTo>
                    <a:pt x="96" y="423"/>
                  </a:lnTo>
                  <a:lnTo>
                    <a:pt x="96" y="425"/>
                  </a:lnTo>
                  <a:lnTo>
                    <a:pt x="94" y="425"/>
                  </a:lnTo>
                  <a:lnTo>
                    <a:pt x="92" y="425"/>
                  </a:lnTo>
                  <a:lnTo>
                    <a:pt x="92" y="427"/>
                  </a:lnTo>
                  <a:lnTo>
                    <a:pt x="90" y="427"/>
                  </a:lnTo>
                  <a:lnTo>
                    <a:pt x="90" y="425"/>
                  </a:lnTo>
                  <a:lnTo>
                    <a:pt x="89" y="425"/>
                  </a:lnTo>
                  <a:lnTo>
                    <a:pt x="89" y="427"/>
                  </a:lnTo>
                  <a:lnTo>
                    <a:pt x="87" y="427"/>
                  </a:lnTo>
                  <a:lnTo>
                    <a:pt x="87" y="425"/>
                  </a:lnTo>
                  <a:lnTo>
                    <a:pt x="85" y="425"/>
                  </a:lnTo>
                  <a:lnTo>
                    <a:pt x="85" y="423"/>
                  </a:lnTo>
                  <a:lnTo>
                    <a:pt x="83" y="423"/>
                  </a:lnTo>
                  <a:lnTo>
                    <a:pt x="83" y="421"/>
                  </a:lnTo>
                  <a:lnTo>
                    <a:pt x="81" y="421"/>
                  </a:lnTo>
                  <a:lnTo>
                    <a:pt x="81" y="419"/>
                  </a:lnTo>
                  <a:lnTo>
                    <a:pt x="79" y="419"/>
                  </a:lnTo>
                  <a:lnTo>
                    <a:pt x="81" y="419"/>
                  </a:lnTo>
                  <a:lnTo>
                    <a:pt x="79" y="417"/>
                  </a:lnTo>
                  <a:lnTo>
                    <a:pt x="79" y="419"/>
                  </a:lnTo>
                  <a:lnTo>
                    <a:pt x="77" y="419"/>
                  </a:lnTo>
                  <a:lnTo>
                    <a:pt x="77" y="417"/>
                  </a:lnTo>
                  <a:lnTo>
                    <a:pt x="75" y="417"/>
                  </a:lnTo>
                  <a:lnTo>
                    <a:pt x="73" y="417"/>
                  </a:lnTo>
                  <a:lnTo>
                    <a:pt x="73" y="419"/>
                  </a:lnTo>
                  <a:lnTo>
                    <a:pt x="73" y="417"/>
                  </a:lnTo>
                  <a:lnTo>
                    <a:pt x="71" y="417"/>
                  </a:lnTo>
                  <a:lnTo>
                    <a:pt x="73" y="415"/>
                  </a:lnTo>
                  <a:lnTo>
                    <a:pt x="75" y="413"/>
                  </a:lnTo>
                  <a:lnTo>
                    <a:pt x="73" y="413"/>
                  </a:lnTo>
                  <a:lnTo>
                    <a:pt x="71" y="413"/>
                  </a:lnTo>
                  <a:lnTo>
                    <a:pt x="71" y="411"/>
                  </a:lnTo>
                  <a:lnTo>
                    <a:pt x="69" y="411"/>
                  </a:lnTo>
                  <a:lnTo>
                    <a:pt x="69" y="409"/>
                  </a:lnTo>
                  <a:lnTo>
                    <a:pt x="67" y="409"/>
                  </a:lnTo>
                  <a:lnTo>
                    <a:pt x="65" y="409"/>
                  </a:lnTo>
                  <a:lnTo>
                    <a:pt x="65" y="407"/>
                  </a:lnTo>
                  <a:lnTo>
                    <a:pt x="64" y="407"/>
                  </a:lnTo>
                  <a:lnTo>
                    <a:pt x="62" y="407"/>
                  </a:lnTo>
                  <a:lnTo>
                    <a:pt x="62" y="405"/>
                  </a:lnTo>
                  <a:lnTo>
                    <a:pt x="62" y="407"/>
                  </a:lnTo>
                  <a:lnTo>
                    <a:pt x="62" y="405"/>
                  </a:lnTo>
                  <a:lnTo>
                    <a:pt x="60" y="405"/>
                  </a:lnTo>
                  <a:lnTo>
                    <a:pt x="60" y="404"/>
                  </a:lnTo>
                  <a:lnTo>
                    <a:pt x="60" y="402"/>
                  </a:lnTo>
                  <a:lnTo>
                    <a:pt x="58" y="402"/>
                  </a:lnTo>
                  <a:lnTo>
                    <a:pt x="58" y="400"/>
                  </a:lnTo>
                  <a:lnTo>
                    <a:pt x="58" y="398"/>
                  </a:lnTo>
                  <a:lnTo>
                    <a:pt x="60" y="398"/>
                  </a:lnTo>
                  <a:lnTo>
                    <a:pt x="60" y="396"/>
                  </a:lnTo>
                  <a:lnTo>
                    <a:pt x="62" y="396"/>
                  </a:lnTo>
                  <a:lnTo>
                    <a:pt x="62" y="394"/>
                  </a:lnTo>
                  <a:lnTo>
                    <a:pt x="62" y="392"/>
                  </a:lnTo>
                  <a:lnTo>
                    <a:pt x="60" y="392"/>
                  </a:lnTo>
                  <a:lnTo>
                    <a:pt x="60" y="390"/>
                  </a:lnTo>
                  <a:lnTo>
                    <a:pt x="58" y="390"/>
                  </a:lnTo>
                  <a:lnTo>
                    <a:pt x="58" y="388"/>
                  </a:lnTo>
                  <a:lnTo>
                    <a:pt x="58" y="386"/>
                  </a:lnTo>
                  <a:lnTo>
                    <a:pt x="56" y="386"/>
                  </a:lnTo>
                  <a:lnTo>
                    <a:pt x="54" y="386"/>
                  </a:lnTo>
                  <a:lnTo>
                    <a:pt x="54" y="384"/>
                  </a:lnTo>
                  <a:lnTo>
                    <a:pt x="54" y="382"/>
                  </a:lnTo>
                  <a:lnTo>
                    <a:pt x="52" y="382"/>
                  </a:lnTo>
                  <a:lnTo>
                    <a:pt x="52" y="380"/>
                  </a:lnTo>
                  <a:lnTo>
                    <a:pt x="54" y="379"/>
                  </a:lnTo>
                  <a:lnTo>
                    <a:pt x="54" y="380"/>
                  </a:lnTo>
                  <a:lnTo>
                    <a:pt x="54" y="379"/>
                  </a:lnTo>
                  <a:lnTo>
                    <a:pt x="54" y="377"/>
                  </a:lnTo>
                  <a:lnTo>
                    <a:pt x="54" y="375"/>
                  </a:lnTo>
                  <a:lnTo>
                    <a:pt x="54" y="377"/>
                  </a:lnTo>
                  <a:lnTo>
                    <a:pt x="56" y="377"/>
                  </a:lnTo>
                  <a:lnTo>
                    <a:pt x="56" y="375"/>
                  </a:lnTo>
                  <a:lnTo>
                    <a:pt x="58" y="375"/>
                  </a:lnTo>
                  <a:lnTo>
                    <a:pt x="60" y="375"/>
                  </a:lnTo>
                  <a:lnTo>
                    <a:pt x="60" y="373"/>
                  </a:lnTo>
                  <a:lnTo>
                    <a:pt x="58" y="371"/>
                  </a:lnTo>
                  <a:lnTo>
                    <a:pt x="56" y="371"/>
                  </a:lnTo>
                  <a:lnTo>
                    <a:pt x="58" y="369"/>
                  </a:lnTo>
                  <a:lnTo>
                    <a:pt x="60" y="369"/>
                  </a:lnTo>
                  <a:lnTo>
                    <a:pt x="62" y="369"/>
                  </a:lnTo>
                  <a:lnTo>
                    <a:pt x="62" y="371"/>
                  </a:lnTo>
                  <a:lnTo>
                    <a:pt x="64" y="371"/>
                  </a:lnTo>
                  <a:lnTo>
                    <a:pt x="65" y="371"/>
                  </a:lnTo>
                  <a:lnTo>
                    <a:pt x="67" y="371"/>
                  </a:lnTo>
                  <a:lnTo>
                    <a:pt x="67" y="373"/>
                  </a:lnTo>
                  <a:lnTo>
                    <a:pt x="67" y="371"/>
                  </a:lnTo>
                  <a:lnTo>
                    <a:pt x="67" y="369"/>
                  </a:lnTo>
                  <a:lnTo>
                    <a:pt x="65" y="369"/>
                  </a:lnTo>
                  <a:lnTo>
                    <a:pt x="65" y="367"/>
                  </a:lnTo>
                  <a:lnTo>
                    <a:pt x="65" y="369"/>
                  </a:lnTo>
                  <a:lnTo>
                    <a:pt x="64" y="369"/>
                  </a:lnTo>
                  <a:lnTo>
                    <a:pt x="65" y="367"/>
                  </a:lnTo>
                  <a:lnTo>
                    <a:pt x="64" y="367"/>
                  </a:lnTo>
                  <a:lnTo>
                    <a:pt x="64" y="365"/>
                  </a:lnTo>
                  <a:lnTo>
                    <a:pt x="65" y="365"/>
                  </a:lnTo>
                  <a:lnTo>
                    <a:pt x="65" y="363"/>
                  </a:lnTo>
                  <a:lnTo>
                    <a:pt x="67" y="363"/>
                  </a:lnTo>
                  <a:lnTo>
                    <a:pt x="67" y="361"/>
                  </a:lnTo>
                  <a:lnTo>
                    <a:pt x="67" y="359"/>
                  </a:lnTo>
                  <a:lnTo>
                    <a:pt x="69" y="359"/>
                  </a:lnTo>
                  <a:lnTo>
                    <a:pt x="69" y="357"/>
                  </a:lnTo>
                  <a:lnTo>
                    <a:pt x="67" y="356"/>
                  </a:lnTo>
                  <a:lnTo>
                    <a:pt x="65" y="356"/>
                  </a:lnTo>
                  <a:lnTo>
                    <a:pt x="64" y="356"/>
                  </a:lnTo>
                  <a:lnTo>
                    <a:pt x="64" y="354"/>
                  </a:lnTo>
                  <a:lnTo>
                    <a:pt x="64" y="356"/>
                  </a:lnTo>
                  <a:lnTo>
                    <a:pt x="64" y="354"/>
                  </a:lnTo>
                  <a:lnTo>
                    <a:pt x="62" y="354"/>
                  </a:lnTo>
                  <a:lnTo>
                    <a:pt x="62" y="352"/>
                  </a:lnTo>
                  <a:lnTo>
                    <a:pt x="60" y="352"/>
                  </a:lnTo>
                  <a:lnTo>
                    <a:pt x="58" y="352"/>
                  </a:lnTo>
                  <a:lnTo>
                    <a:pt x="58" y="350"/>
                  </a:lnTo>
                  <a:lnTo>
                    <a:pt x="56" y="350"/>
                  </a:lnTo>
                  <a:lnTo>
                    <a:pt x="56" y="348"/>
                  </a:lnTo>
                  <a:lnTo>
                    <a:pt x="54" y="348"/>
                  </a:lnTo>
                  <a:lnTo>
                    <a:pt x="52" y="346"/>
                  </a:lnTo>
                  <a:lnTo>
                    <a:pt x="50" y="346"/>
                  </a:lnTo>
                  <a:lnTo>
                    <a:pt x="50" y="344"/>
                  </a:lnTo>
                  <a:lnTo>
                    <a:pt x="48" y="344"/>
                  </a:lnTo>
                  <a:lnTo>
                    <a:pt x="48" y="342"/>
                  </a:lnTo>
                  <a:lnTo>
                    <a:pt x="46" y="342"/>
                  </a:lnTo>
                  <a:lnTo>
                    <a:pt x="48" y="340"/>
                  </a:lnTo>
                  <a:lnTo>
                    <a:pt x="48" y="338"/>
                  </a:lnTo>
                  <a:lnTo>
                    <a:pt x="50" y="338"/>
                  </a:lnTo>
                  <a:lnTo>
                    <a:pt x="52" y="338"/>
                  </a:lnTo>
                  <a:lnTo>
                    <a:pt x="54" y="338"/>
                  </a:lnTo>
                  <a:lnTo>
                    <a:pt x="56" y="338"/>
                  </a:lnTo>
                  <a:lnTo>
                    <a:pt x="56" y="340"/>
                  </a:lnTo>
                  <a:lnTo>
                    <a:pt x="54" y="340"/>
                  </a:lnTo>
                  <a:lnTo>
                    <a:pt x="56" y="340"/>
                  </a:lnTo>
                  <a:lnTo>
                    <a:pt x="56" y="342"/>
                  </a:lnTo>
                  <a:lnTo>
                    <a:pt x="58" y="342"/>
                  </a:lnTo>
                  <a:lnTo>
                    <a:pt x="60" y="342"/>
                  </a:lnTo>
                  <a:lnTo>
                    <a:pt x="60" y="344"/>
                  </a:lnTo>
                  <a:lnTo>
                    <a:pt x="62" y="344"/>
                  </a:lnTo>
                  <a:lnTo>
                    <a:pt x="64" y="344"/>
                  </a:lnTo>
                  <a:lnTo>
                    <a:pt x="64" y="346"/>
                  </a:lnTo>
                  <a:lnTo>
                    <a:pt x="65" y="346"/>
                  </a:lnTo>
                  <a:lnTo>
                    <a:pt x="65" y="348"/>
                  </a:lnTo>
                  <a:lnTo>
                    <a:pt x="67" y="348"/>
                  </a:lnTo>
                  <a:lnTo>
                    <a:pt x="69" y="348"/>
                  </a:lnTo>
                  <a:lnTo>
                    <a:pt x="71" y="348"/>
                  </a:lnTo>
                  <a:lnTo>
                    <a:pt x="71" y="350"/>
                  </a:lnTo>
                  <a:lnTo>
                    <a:pt x="71" y="348"/>
                  </a:lnTo>
                  <a:lnTo>
                    <a:pt x="73" y="348"/>
                  </a:lnTo>
                  <a:lnTo>
                    <a:pt x="75" y="348"/>
                  </a:lnTo>
                  <a:lnTo>
                    <a:pt x="77" y="348"/>
                  </a:lnTo>
                  <a:lnTo>
                    <a:pt x="77" y="350"/>
                  </a:lnTo>
                  <a:lnTo>
                    <a:pt x="79" y="350"/>
                  </a:lnTo>
                  <a:lnTo>
                    <a:pt x="81" y="350"/>
                  </a:lnTo>
                  <a:lnTo>
                    <a:pt x="81" y="352"/>
                  </a:lnTo>
                  <a:lnTo>
                    <a:pt x="81" y="350"/>
                  </a:lnTo>
                  <a:lnTo>
                    <a:pt x="83" y="350"/>
                  </a:lnTo>
                  <a:lnTo>
                    <a:pt x="81" y="350"/>
                  </a:lnTo>
                  <a:lnTo>
                    <a:pt x="81" y="348"/>
                  </a:lnTo>
                  <a:lnTo>
                    <a:pt x="79" y="348"/>
                  </a:lnTo>
                  <a:lnTo>
                    <a:pt x="77" y="346"/>
                  </a:lnTo>
                  <a:lnTo>
                    <a:pt x="79" y="346"/>
                  </a:lnTo>
                  <a:lnTo>
                    <a:pt x="81" y="348"/>
                  </a:lnTo>
                  <a:lnTo>
                    <a:pt x="81" y="346"/>
                  </a:lnTo>
                  <a:lnTo>
                    <a:pt x="81" y="344"/>
                  </a:lnTo>
                  <a:lnTo>
                    <a:pt x="81" y="342"/>
                  </a:lnTo>
                  <a:lnTo>
                    <a:pt x="79" y="342"/>
                  </a:lnTo>
                  <a:lnTo>
                    <a:pt x="79" y="340"/>
                  </a:lnTo>
                  <a:lnTo>
                    <a:pt x="77" y="340"/>
                  </a:lnTo>
                  <a:lnTo>
                    <a:pt x="77" y="338"/>
                  </a:lnTo>
                  <a:lnTo>
                    <a:pt x="75" y="338"/>
                  </a:lnTo>
                  <a:lnTo>
                    <a:pt x="75" y="336"/>
                  </a:lnTo>
                  <a:lnTo>
                    <a:pt x="73" y="336"/>
                  </a:lnTo>
                  <a:lnTo>
                    <a:pt x="71" y="336"/>
                  </a:lnTo>
                  <a:lnTo>
                    <a:pt x="71" y="334"/>
                  </a:lnTo>
                  <a:lnTo>
                    <a:pt x="73" y="334"/>
                  </a:lnTo>
                  <a:lnTo>
                    <a:pt x="71" y="334"/>
                  </a:lnTo>
                  <a:lnTo>
                    <a:pt x="73" y="334"/>
                  </a:lnTo>
                  <a:lnTo>
                    <a:pt x="75" y="334"/>
                  </a:lnTo>
                  <a:lnTo>
                    <a:pt x="77" y="334"/>
                  </a:lnTo>
                  <a:lnTo>
                    <a:pt x="75" y="334"/>
                  </a:lnTo>
                  <a:lnTo>
                    <a:pt x="75" y="332"/>
                  </a:lnTo>
                  <a:lnTo>
                    <a:pt x="73" y="332"/>
                  </a:lnTo>
                  <a:lnTo>
                    <a:pt x="71" y="332"/>
                  </a:lnTo>
                  <a:lnTo>
                    <a:pt x="71" y="331"/>
                  </a:lnTo>
                  <a:lnTo>
                    <a:pt x="69" y="331"/>
                  </a:lnTo>
                  <a:lnTo>
                    <a:pt x="71" y="331"/>
                  </a:lnTo>
                  <a:lnTo>
                    <a:pt x="73" y="331"/>
                  </a:lnTo>
                  <a:lnTo>
                    <a:pt x="71" y="331"/>
                  </a:lnTo>
                  <a:lnTo>
                    <a:pt x="71" y="329"/>
                  </a:lnTo>
                  <a:lnTo>
                    <a:pt x="69" y="329"/>
                  </a:lnTo>
                  <a:lnTo>
                    <a:pt x="67" y="329"/>
                  </a:lnTo>
                  <a:lnTo>
                    <a:pt x="69" y="329"/>
                  </a:lnTo>
                  <a:lnTo>
                    <a:pt x="67" y="329"/>
                  </a:lnTo>
                  <a:lnTo>
                    <a:pt x="67" y="327"/>
                  </a:lnTo>
                  <a:lnTo>
                    <a:pt x="69" y="327"/>
                  </a:lnTo>
                  <a:lnTo>
                    <a:pt x="67" y="325"/>
                  </a:lnTo>
                  <a:lnTo>
                    <a:pt x="67" y="323"/>
                  </a:lnTo>
                  <a:lnTo>
                    <a:pt x="69" y="323"/>
                  </a:lnTo>
                  <a:lnTo>
                    <a:pt x="71" y="325"/>
                  </a:lnTo>
                  <a:lnTo>
                    <a:pt x="71" y="323"/>
                  </a:lnTo>
                  <a:lnTo>
                    <a:pt x="69" y="323"/>
                  </a:lnTo>
                  <a:lnTo>
                    <a:pt x="67" y="321"/>
                  </a:lnTo>
                  <a:lnTo>
                    <a:pt x="65" y="321"/>
                  </a:lnTo>
                  <a:lnTo>
                    <a:pt x="64" y="321"/>
                  </a:lnTo>
                  <a:lnTo>
                    <a:pt x="64" y="319"/>
                  </a:lnTo>
                  <a:lnTo>
                    <a:pt x="62" y="319"/>
                  </a:lnTo>
                  <a:lnTo>
                    <a:pt x="62" y="317"/>
                  </a:lnTo>
                  <a:lnTo>
                    <a:pt x="64" y="317"/>
                  </a:lnTo>
                  <a:lnTo>
                    <a:pt x="62" y="317"/>
                  </a:lnTo>
                  <a:lnTo>
                    <a:pt x="62" y="315"/>
                  </a:lnTo>
                  <a:lnTo>
                    <a:pt x="64" y="315"/>
                  </a:lnTo>
                  <a:lnTo>
                    <a:pt x="65" y="317"/>
                  </a:lnTo>
                  <a:lnTo>
                    <a:pt x="67" y="317"/>
                  </a:lnTo>
                  <a:lnTo>
                    <a:pt x="67" y="319"/>
                  </a:lnTo>
                  <a:lnTo>
                    <a:pt x="69" y="319"/>
                  </a:lnTo>
                  <a:lnTo>
                    <a:pt x="69" y="317"/>
                  </a:lnTo>
                  <a:lnTo>
                    <a:pt x="71" y="317"/>
                  </a:lnTo>
                  <a:lnTo>
                    <a:pt x="71" y="319"/>
                  </a:lnTo>
                  <a:lnTo>
                    <a:pt x="73" y="319"/>
                  </a:lnTo>
                  <a:lnTo>
                    <a:pt x="75" y="319"/>
                  </a:lnTo>
                  <a:lnTo>
                    <a:pt x="75" y="321"/>
                  </a:lnTo>
                  <a:lnTo>
                    <a:pt x="77" y="321"/>
                  </a:lnTo>
                  <a:lnTo>
                    <a:pt x="77" y="323"/>
                  </a:lnTo>
                  <a:lnTo>
                    <a:pt x="79" y="323"/>
                  </a:lnTo>
                  <a:lnTo>
                    <a:pt x="81" y="323"/>
                  </a:lnTo>
                  <a:lnTo>
                    <a:pt x="81" y="325"/>
                  </a:lnTo>
                  <a:lnTo>
                    <a:pt x="83" y="325"/>
                  </a:lnTo>
                  <a:lnTo>
                    <a:pt x="85" y="325"/>
                  </a:lnTo>
                  <a:lnTo>
                    <a:pt x="85" y="327"/>
                  </a:lnTo>
                  <a:lnTo>
                    <a:pt x="87" y="327"/>
                  </a:lnTo>
                  <a:lnTo>
                    <a:pt x="89" y="329"/>
                  </a:lnTo>
                  <a:lnTo>
                    <a:pt x="89" y="331"/>
                  </a:lnTo>
                  <a:lnTo>
                    <a:pt x="89" y="329"/>
                  </a:lnTo>
                  <a:lnTo>
                    <a:pt x="90" y="329"/>
                  </a:lnTo>
                  <a:lnTo>
                    <a:pt x="92" y="329"/>
                  </a:lnTo>
                  <a:lnTo>
                    <a:pt x="94" y="329"/>
                  </a:lnTo>
                  <a:lnTo>
                    <a:pt x="96" y="329"/>
                  </a:lnTo>
                  <a:lnTo>
                    <a:pt x="96" y="331"/>
                  </a:lnTo>
                  <a:lnTo>
                    <a:pt x="98" y="331"/>
                  </a:lnTo>
                  <a:lnTo>
                    <a:pt x="98" y="329"/>
                  </a:lnTo>
                  <a:lnTo>
                    <a:pt x="96" y="329"/>
                  </a:lnTo>
                  <a:lnTo>
                    <a:pt x="98" y="329"/>
                  </a:lnTo>
                  <a:lnTo>
                    <a:pt x="100" y="329"/>
                  </a:lnTo>
                  <a:lnTo>
                    <a:pt x="100" y="327"/>
                  </a:lnTo>
                  <a:lnTo>
                    <a:pt x="102" y="327"/>
                  </a:lnTo>
                  <a:lnTo>
                    <a:pt x="104" y="327"/>
                  </a:lnTo>
                  <a:lnTo>
                    <a:pt x="104" y="329"/>
                  </a:lnTo>
                  <a:lnTo>
                    <a:pt x="106" y="329"/>
                  </a:lnTo>
                  <a:lnTo>
                    <a:pt x="106" y="331"/>
                  </a:lnTo>
                  <a:lnTo>
                    <a:pt x="106" y="332"/>
                  </a:lnTo>
                  <a:lnTo>
                    <a:pt x="108" y="332"/>
                  </a:lnTo>
                  <a:lnTo>
                    <a:pt x="110" y="332"/>
                  </a:lnTo>
                  <a:lnTo>
                    <a:pt x="110" y="334"/>
                  </a:lnTo>
                  <a:lnTo>
                    <a:pt x="112" y="334"/>
                  </a:lnTo>
                  <a:lnTo>
                    <a:pt x="113" y="336"/>
                  </a:lnTo>
                  <a:lnTo>
                    <a:pt x="115" y="336"/>
                  </a:lnTo>
                  <a:lnTo>
                    <a:pt x="115" y="334"/>
                  </a:lnTo>
                  <a:lnTo>
                    <a:pt x="113" y="334"/>
                  </a:lnTo>
                  <a:lnTo>
                    <a:pt x="115" y="334"/>
                  </a:lnTo>
                  <a:lnTo>
                    <a:pt x="117" y="334"/>
                  </a:lnTo>
                  <a:lnTo>
                    <a:pt x="117" y="332"/>
                  </a:lnTo>
                  <a:lnTo>
                    <a:pt x="117" y="334"/>
                  </a:lnTo>
                  <a:lnTo>
                    <a:pt x="119" y="334"/>
                  </a:lnTo>
                  <a:lnTo>
                    <a:pt x="119" y="332"/>
                  </a:lnTo>
                  <a:lnTo>
                    <a:pt x="121" y="332"/>
                  </a:lnTo>
                  <a:lnTo>
                    <a:pt x="121" y="331"/>
                  </a:lnTo>
                  <a:lnTo>
                    <a:pt x="121" y="329"/>
                  </a:lnTo>
                  <a:lnTo>
                    <a:pt x="119" y="329"/>
                  </a:lnTo>
                  <a:lnTo>
                    <a:pt x="117" y="329"/>
                  </a:lnTo>
                  <a:lnTo>
                    <a:pt x="117" y="327"/>
                  </a:lnTo>
                  <a:lnTo>
                    <a:pt x="119" y="325"/>
                  </a:lnTo>
                  <a:lnTo>
                    <a:pt x="119" y="327"/>
                  </a:lnTo>
                  <a:lnTo>
                    <a:pt x="121" y="327"/>
                  </a:lnTo>
                  <a:lnTo>
                    <a:pt x="121" y="325"/>
                  </a:lnTo>
                  <a:lnTo>
                    <a:pt x="121" y="327"/>
                  </a:lnTo>
                  <a:lnTo>
                    <a:pt x="123" y="327"/>
                  </a:lnTo>
                  <a:lnTo>
                    <a:pt x="123" y="325"/>
                  </a:lnTo>
                  <a:lnTo>
                    <a:pt x="121" y="325"/>
                  </a:lnTo>
                  <a:lnTo>
                    <a:pt x="123" y="323"/>
                  </a:lnTo>
                  <a:lnTo>
                    <a:pt x="123" y="325"/>
                  </a:lnTo>
                  <a:lnTo>
                    <a:pt x="125" y="325"/>
                  </a:lnTo>
                  <a:lnTo>
                    <a:pt x="123" y="323"/>
                  </a:lnTo>
                  <a:lnTo>
                    <a:pt x="125" y="323"/>
                  </a:lnTo>
                  <a:lnTo>
                    <a:pt x="127" y="323"/>
                  </a:lnTo>
                  <a:lnTo>
                    <a:pt x="127" y="321"/>
                  </a:lnTo>
                  <a:lnTo>
                    <a:pt x="125" y="321"/>
                  </a:lnTo>
                  <a:lnTo>
                    <a:pt x="125" y="319"/>
                  </a:lnTo>
                  <a:lnTo>
                    <a:pt x="125" y="317"/>
                  </a:lnTo>
                  <a:lnTo>
                    <a:pt x="127" y="317"/>
                  </a:lnTo>
                  <a:lnTo>
                    <a:pt x="127" y="315"/>
                  </a:lnTo>
                  <a:lnTo>
                    <a:pt x="127" y="313"/>
                  </a:lnTo>
                  <a:lnTo>
                    <a:pt x="129" y="313"/>
                  </a:lnTo>
                  <a:lnTo>
                    <a:pt x="129" y="315"/>
                  </a:lnTo>
                  <a:lnTo>
                    <a:pt x="131" y="315"/>
                  </a:lnTo>
                  <a:lnTo>
                    <a:pt x="131" y="313"/>
                  </a:lnTo>
                  <a:lnTo>
                    <a:pt x="133" y="313"/>
                  </a:lnTo>
                  <a:lnTo>
                    <a:pt x="135" y="313"/>
                  </a:lnTo>
                  <a:lnTo>
                    <a:pt x="135" y="315"/>
                  </a:lnTo>
                  <a:lnTo>
                    <a:pt x="137" y="315"/>
                  </a:lnTo>
                  <a:lnTo>
                    <a:pt x="138" y="315"/>
                  </a:lnTo>
                  <a:lnTo>
                    <a:pt x="138" y="317"/>
                  </a:lnTo>
                  <a:lnTo>
                    <a:pt x="140" y="317"/>
                  </a:lnTo>
                  <a:lnTo>
                    <a:pt x="142" y="317"/>
                  </a:lnTo>
                  <a:lnTo>
                    <a:pt x="142" y="319"/>
                  </a:lnTo>
                  <a:lnTo>
                    <a:pt x="144" y="319"/>
                  </a:lnTo>
                  <a:lnTo>
                    <a:pt x="142" y="321"/>
                  </a:lnTo>
                  <a:lnTo>
                    <a:pt x="142" y="323"/>
                  </a:lnTo>
                  <a:lnTo>
                    <a:pt x="144" y="323"/>
                  </a:lnTo>
                  <a:lnTo>
                    <a:pt x="144" y="321"/>
                  </a:lnTo>
                  <a:lnTo>
                    <a:pt x="144" y="323"/>
                  </a:lnTo>
                  <a:lnTo>
                    <a:pt x="146" y="323"/>
                  </a:lnTo>
                  <a:lnTo>
                    <a:pt x="146" y="321"/>
                  </a:lnTo>
                  <a:lnTo>
                    <a:pt x="148" y="321"/>
                  </a:lnTo>
                  <a:lnTo>
                    <a:pt x="150" y="321"/>
                  </a:lnTo>
                  <a:lnTo>
                    <a:pt x="150" y="319"/>
                  </a:lnTo>
                  <a:lnTo>
                    <a:pt x="150" y="321"/>
                  </a:lnTo>
                  <a:lnTo>
                    <a:pt x="152" y="321"/>
                  </a:lnTo>
                  <a:lnTo>
                    <a:pt x="152" y="319"/>
                  </a:lnTo>
                  <a:lnTo>
                    <a:pt x="150" y="319"/>
                  </a:lnTo>
                  <a:lnTo>
                    <a:pt x="150" y="317"/>
                  </a:lnTo>
                  <a:lnTo>
                    <a:pt x="152" y="317"/>
                  </a:lnTo>
                  <a:lnTo>
                    <a:pt x="152" y="315"/>
                  </a:lnTo>
                  <a:lnTo>
                    <a:pt x="152" y="313"/>
                  </a:lnTo>
                  <a:lnTo>
                    <a:pt x="154" y="313"/>
                  </a:lnTo>
                  <a:lnTo>
                    <a:pt x="156" y="313"/>
                  </a:lnTo>
                  <a:lnTo>
                    <a:pt x="158" y="313"/>
                  </a:lnTo>
                  <a:lnTo>
                    <a:pt x="160" y="313"/>
                  </a:lnTo>
                  <a:lnTo>
                    <a:pt x="160" y="315"/>
                  </a:lnTo>
                  <a:lnTo>
                    <a:pt x="161" y="315"/>
                  </a:lnTo>
                  <a:lnTo>
                    <a:pt x="161" y="313"/>
                  </a:lnTo>
                  <a:lnTo>
                    <a:pt x="163" y="313"/>
                  </a:lnTo>
                  <a:lnTo>
                    <a:pt x="163" y="315"/>
                  </a:lnTo>
                  <a:lnTo>
                    <a:pt x="165" y="315"/>
                  </a:lnTo>
                  <a:lnTo>
                    <a:pt x="165" y="317"/>
                  </a:lnTo>
                  <a:lnTo>
                    <a:pt x="167" y="317"/>
                  </a:lnTo>
                  <a:lnTo>
                    <a:pt x="167" y="319"/>
                  </a:lnTo>
                  <a:lnTo>
                    <a:pt x="169" y="319"/>
                  </a:lnTo>
                  <a:lnTo>
                    <a:pt x="171" y="319"/>
                  </a:lnTo>
                  <a:lnTo>
                    <a:pt x="173" y="317"/>
                  </a:lnTo>
                  <a:lnTo>
                    <a:pt x="175" y="317"/>
                  </a:lnTo>
                  <a:lnTo>
                    <a:pt x="175" y="315"/>
                  </a:lnTo>
                  <a:lnTo>
                    <a:pt x="177" y="315"/>
                  </a:lnTo>
                  <a:lnTo>
                    <a:pt x="175" y="315"/>
                  </a:lnTo>
                  <a:lnTo>
                    <a:pt x="177" y="315"/>
                  </a:lnTo>
                  <a:lnTo>
                    <a:pt x="175" y="315"/>
                  </a:lnTo>
                  <a:lnTo>
                    <a:pt x="177" y="315"/>
                  </a:lnTo>
                  <a:lnTo>
                    <a:pt x="177" y="313"/>
                  </a:lnTo>
                  <a:lnTo>
                    <a:pt x="177" y="311"/>
                  </a:lnTo>
                  <a:lnTo>
                    <a:pt x="179" y="313"/>
                  </a:lnTo>
                  <a:lnTo>
                    <a:pt x="181" y="313"/>
                  </a:lnTo>
                  <a:lnTo>
                    <a:pt x="181" y="311"/>
                  </a:lnTo>
                  <a:lnTo>
                    <a:pt x="179" y="311"/>
                  </a:lnTo>
                  <a:lnTo>
                    <a:pt x="179" y="309"/>
                  </a:lnTo>
                  <a:lnTo>
                    <a:pt x="177" y="309"/>
                  </a:lnTo>
                  <a:lnTo>
                    <a:pt x="175" y="309"/>
                  </a:lnTo>
                  <a:lnTo>
                    <a:pt x="175" y="308"/>
                  </a:lnTo>
                  <a:lnTo>
                    <a:pt x="173" y="308"/>
                  </a:lnTo>
                  <a:lnTo>
                    <a:pt x="171" y="308"/>
                  </a:lnTo>
                  <a:lnTo>
                    <a:pt x="169" y="308"/>
                  </a:lnTo>
                  <a:lnTo>
                    <a:pt x="171" y="306"/>
                  </a:lnTo>
                  <a:lnTo>
                    <a:pt x="169" y="306"/>
                  </a:lnTo>
                  <a:lnTo>
                    <a:pt x="171" y="306"/>
                  </a:lnTo>
                  <a:lnTo>
                    <a:pt x="171" y="304"/>
                  </a:lnTo>
                  <a:lnTo>
                    <a:pt x="173" y="304"/>
                  </a:lnTo>
                  <a:lnTo>
                    <a:pt x="173" y="302"/>
                  </a:lnTo>
                  <a:lnTo>
                    <a:pt x="171" y="302"/>
                  </a:lnTo>
                  <a:lnTo>
                    <a:pt x="171" y="300"/>
                  </a:lnTo>
                  <a:lnTo>
                    <a:pt x="169" y="300"/>
                  </a:lnTo>
                  <a:lnTo>
                    <a:pt x="169" y="298"/>
                  </a:lnTo>
                  <a:lnTo>
                    <a:pt x="171" y="296"/>
                  </a:lnTo>
                  <a:lnTo>
                    <a:pt x="169" y="296"/>
                  </a:lnTo>
                  <a:lnTo>
                    <a:pt x="169" y="294"/>
                  </a:lnTo>
                  <a:lnTo>
                    <a:pt x="169" y="296"/>
                  </a:lnTo>
                  <a:lnTo>
                    <a:pt x="171" y="296"/>
                  </a:lnTo>
                  <a:lnTo>
                    <a:pt x="173" y="296"/>
                  </a:lnTo>
                  <a:lnTo>
                    <a:pt x="175" y="296"/>
                  </a:lnTo>
                  <a:lnTo>
                    <a:pt x="177" y="296"/>
                  </a:lnTo>
                  <a:lnTo>
                    <a:pt x="177" y="294"/>
                  </a:lnTo>
                  <a:lnTo>
                    <a:pt x="177" y="292"/>
                  </a:lnTo>
                  <a:lnTo>
                    <a:pt x="175" y="292"/>
                  </a:lnTo>
                  <a:lnTo>
                    <a:pt x="177" y="292"/>
                  </a:lnTo>
                  <a:lnTo>
                    <a:pt x="175" y="292"/>
                  </a:lnTo>
                  <a:lnTo>
                    <a:pt x="175" y="290"/>
                  </a:lnTo>
                  <a:lnTo>
                    <a:pt x="177" y="290"/>
                  </a:lnTo>
                  <a:lnTo>
                    <a:pt x="175" y="290"/>
                  </a:lnTo>
                  <a:lnTo>
                    <a:pt x="177" y="290"/>
                  </a:lnTo>
                  <a:lnTo>
                    <a:pt x="177" y="288"/>
                  </a:lnTo>
                  <a:lnTo>
                    <a:pt x="175" y="288"/>
                  </a:lnTo>
                  <a:lnTo>
                    <a:pt x="175" y="286"/>
                  </a:lnTo>
                  <a:lnTo>
                    <a:pt x="173" y="286"/>
                  </a:lnTo>
                  <a:lnTo>
                    <a:pt x="173" y="284"/>
                  </a:lnTo>
                  <a:lnTo>
                    <a:pt x="171" y="284"/>
                  </a:lnTo>
                  <a:lnTo>
                    <a:pt x="173" y="284"/>
                  </a:lnTo>
                  <a:lnTo>
                    <a:pt x="171" y="283"/>
                  </a:lnTo>
                  <a:lnTo>
                    <a:pt x="171" y="281"/>
                  </a:lnTo>
                  <a:lnTo>
                    <a:pt x="173" y="281"/>
                  </a:lnTo>
                  <a:lnTo>
                    <a:pt x="173" y="279"/>
                  </a:lnTo>
                  <a:lnTo>
                    <a:pt x="171" y="279"/>
                  </a:lnTo>
                  <a:lnTo>
                    <a:pt x="173" y="277"/>
                  </a:lnTo>
                  <a:lnTo>
                    <a:pt x="173" y="275"/>
                  </a:lnTo>
                  <a:lnTo>
                    <a:pt x="175" y="275"/>
                  </a:lnTo>
                  <a:lnTo>
                    <a:pt x="175" y="273"/>
                  </a:lnTo>
                  <a:lnTo>
                    <a:pt x="173" y="273"/>
                  </a:lnTo>
                  <a:lnTo>
                    <a:pt x="175" y="273"/>
                  </a:lnTo>
                  <a:lnTo>
                    <a:pt x="173" y="273"/>
                  </a:lnTo>
                  <a:lnTo>
                    <a:pt x="173" y="275"/>
                  </a:lnTo>
                  <a:lnTo>
                    <a:pt x="171" y="275"/>
                  </a:lnTo>
                  <a:lnTo>
                    <a:pt x="171" y="277"/>
                  </a:lnTo>
                  <a:lnTo>
                    <a:pt x="169" y="275"/>
                  </a:lnTo>
                  <a:lnTo>
                    <a:pt x="169" y="277"/>
                  </a:lnTo>
                  <a:lnTo>
                    <a:pt x="167" y="277"/>
                  </a:lnTo>
                  <a:lnTo>
                    <a:pt x="167" y="275"/>
                  </a:lnTo>
                  <a:lnTo>
                    <a:pt x="167" y="277"/>
                  </a:lnTo>
                  <a:lnTo>
                    <a:pt x="165" y="277"/>
                  </a:lnTo>
                  <a:lnTo>
                    <a:pt x="165" y="275"/>
                  </a:lnTo>
                  <a:lnTo>
                    <a:pt x="165" y="273"/>
                  </a:lnTo>
                  <a:lnTo>
                    <a:pt x="167" y="273"/>
                  </a:lnTo>
                  <a:lnTo>
                    <a:pt x="167" y="271"/>
                  </a:lnTo>
                  <a:lnTo>
                    <a:pt x="169" y="271"/>
                  </a:lnTo>
                  <a:lnTo>
                    <a:pt x="167" y="271"/>
                  </a:lnTo>
                  <a:lnTo>
                    <a:pt x="165" y="271"/>
                  </a:lnTo>
                  <a:lnTo>
                    <a:pt x="167" y="271"/>
                  </a:lnTo>
                  <a:lnTo>
                    <a:pt x="167" y="269"/>
                  </a:lnTo>
                  <a:lnTo>
                    <a:pt x="169" y="269"/>
                  </a:lnTo>
                  <a:lnTo>
                    <a:pt x="171" y="267"/>
                  </a:lnTo>
                  <a:lnTo>
                    <a:pt x="173" y="265"/>
                  </a:lnTo>
                  <a:lnTo>
                    <a:pt x="173" y="263"/>
                  </a:lnTo>
                  <a:lnTo>
                    <a:pt x="173" y="261"/>
                  </a:lnTo>
                  <a:lnTo>
                    <a:pt x="171" y="263"/>
                  </a:lnTo>
                  <a:lnTo>
                    <a:pt x="169" y="263"/>
                  </a:lnTo>
                  <a:lnTo>
                    <a:pt x="169" y="265"/>
                  </a:lnTo>
                  <a:lnTo>
                    <a:pt x="169" y="263"/>
                  </a:lnTo>
                  <a:lnTo>
                    <a:pt x="167" y="263"/>
                  </a:lnTo>
                  <a:lnTo>
                    <a:pt x="167" y="265"/>
                  </a:lnTo>
                  <a:lnTo>
                    <a:pt x="165" y="265"/>
                  </a:lnTo>
                  <a:lnTo>
                    <a:pt x="163" y="265"/>
                  </a:lnTo>
                  <a:lnTo>
                    <a:pt x="161" y="265"/>
                  </a:lnTo>
                  <a:lnTo>
                    <a:pt x="161" y="267"/>
                  </a:lnTo>
                  <a:lnTo>
                    <a:pt x="160" y="267"/>
                  </a:lnTo>
                  <a:lnTo>
                    <a:pt x="158" y="267"/>
                  </a:lnTo>
                  <a:lnTo>
                    <a:pt x="156" y="267"/>
                  </a:lnTo>
                  <a:lnTo>
                    <a:pt x="156" y="265"/>
                  </a:lnTo>
                  <a:lnTo>
                    <a:pt x="158" y="265"/>
                  </a:lnTo>
                  <a:lnTo>
                    <a:pt x="158" y="263"/>
                  </a:lnTo>
                  <a:lnTo>
                    <a:pt x="158" y="261"/>
                  </a:lnTo>
                  <a:lnTo>
                    <a:pt x="158" y="260"/>
                  </a:lnTo>
                  <a:lnTo>
                    <a:pt x="156" y="258"/>
                  </a:lnTo>
                  <a:lnTo>
                    <a:pt x="156" y="256"/>
                  </a:lnTo>
                  <a:lnTo>
                    <a:pt x="156" y="254"/>
                  </a:lnTo>
                  <a:lnTo>
                    <a:pt x="154" y="254"/>
                  </a:lnTo>
                  <a:lnTo>
                    <a:pt x="154" y="256"/>
                  </a:lnTo>
                  <a:lnTo>
                    <a:pt x="152" y="256"/>
                  </a:lnTo>
                  <a:lnTo>
                    <a:pt x="152" y="254"/>
                  </a:lnTo>
                  <a:lnTo>
                    <a:pt x="154" y="254"/>
                  </a:lnTo>
                  <a:lnTo>
                    <a:pt x="152" y="252"/>
                  </a:lnTo>
                  <a:lnTo>
                    <a:pt x="152" y="250"/>
                  </a:lnTo>
                  <a:lnTo>
                    <a:pt x="152" y="248"/>
                  </a:lnTo>
                  <a:lnTo>
                    <a:pt x="152" y="246"/>
                  </a:lnTo>
                  <a:lnTo>
                    <a:pt x="150" y="248"/>
                  </a:lnTo>
                  <a:lnTo>
                    <a:pt x="148" y="248"/>
                  </a:lnTo>
                  <a:lnTo>
                    <a:pt x="148" y="246"/>
                  </a:lnTo>
                  <a:lnTo>
                    <a:pt x="146" y="246"/>
                  </a:lnTo>
                  <a:lnTo>
                    <a:pt x="148" y="244"/>
                  </a:lnTo>
                  <a:lnTo>
                    <a:pt x="146" y="244"/>
                  </a:lnTo>
                  <a:lnTo>
                    <a:pt x="144" y="244"/>
                  </a:lnTo>
                  <a:lnTo>
                    <a:pt x="144" y="242"/>
                  </a:lnTo>
                  <a:lnTo>
                    <a:pt x="142" y="242"/>
                  </a:lnTo>
                  <a:lnTo>
                    <a:pt x="144" y="240"/>
                  </a:lnTo>
                  <a:lnTo>
                    <a:pt x="146" y="240"/>
                  </a:lnTo>
                  <a:lnTo>
                    <a:pt x="146" y="238"/>
                  </a:lnTo>
                  <a:lnTo>
                    <a:pt x="146" y="236"/>
                  </a:lnTo>
                  <a:lnTo>
                    <a:pt x="148" y="236"/>
                  </a:lnTo>
                  <a:lnTo>
                    <a:pt x="148" y="235"/>
                  </a:lnTo>
                  <a:lnTo>
                    <a:pt x="148" y="233"/>
                  </a:lnTo>
                  <a:lnTo>
                    <a:pt x="150" y="233"/>
                  </a:lnTo>
                  <a:lnTo>
                    <a:pt x="152" y="233"/>
                  </a:lnTo>
                  <a:lnTo>
                    <a:pt x="152" y="231"/>
                  </a:lnTo>
                  <a:lnTo>
                    <a:pt x="152" y="229"/>
                  </a:lnTo>
                  <a:lnTo>
                    <a:pt x="150" y="231"/>
                  </a:lnTo>
                  <a:lnTo>
                    <a:pt x="148" y="231"/>
                  </a:lnTo>
                  <a:lnTo>
                    <a:pt x="148" y="233"/>
                  </a:lnTo>
                  <a:lnTo>
                    <a:pt x="146" y="233"/>
                  </a:lnTo>
                  <a:lnTo>
                    <a:pt x="144" y="233"/>
                  </a:lnTo>
                  <a:lnTo>
                    <a:pt x="144" y="231"/>
                  </a:lnTo>
                  <a:lnTo>
                    <a:pt x="142" y="233"/>
                  </a:lnTo>
                  <a:lnTo>
                    <a:pt x="142" y="231"/>
                  </a:lnTo>
                  <a:lnTo>
                    <a:pt x="142" y="233"/>
                  </a:lnTo>
                  <a:lnTo>
                    <a:pt x="140" y="233"/>
                  </a:lnTo>
                  <a:lnTo>
                    <a:pt x="140" y="235"/>
                  </a:lnTo>
                  <a:lnTo>
                    <a:pt x="138" y="235"/>
                  </a:lnTo>
                  <a:lnTo>
                    <a:pt x="138" y="233"/>
                  </a:lnTo>
                  <a:lnTo>
                    <a:pt x="138" y="231"/>
                  </a:lnTo>
                  <a:lnTo>
                    <a:pt x="137" y="233"/>
                  </a:lnTo>
                  <a:lnTo>
                    <a:pt x="137" y="231"/>
                  </a:lnTo>
                  <a:lnTo>
                    <a:pt x="135" y="231"/>
                  </a:lnTo>
                  <a:lnTo>
                    <a:pt x="135" y="233"/>
                  </a:lnTo>
                  <a:lnTo>
                    <a:pt x="135" y="235"/>
                  </a:lnTo>
                  <a:lnTo>
                    <a:pt x="133" y="235"/>
                  </a:lnTo>
                  <a:lnTo>
                    <a:pt x="133" y="236"/>
                  </a:lnTo>
                  <a:lnTo>
                    <a:pt x="133" y="235"/>
                  </a:lnTo>
                  <a:lnTo>
                    <a:pt x="133" y="233"/>
                  </a:lnTo>
                  <a:lnTo>
                    <a:pt x="131" y="233"/>
                  </a:lnTo>
                  <a:lnTo>
                    <a:pt x="131" y="231"/>
                  </a:lnTo>
                  <a:lnTo>
                    <a:pt x="131" y="229"/>
                  </a:lnTo>
                  <a:lnTo>
                    <a:pt x="133" y="229"/>
                  </a:lnTo>
                  <a:lnTo>
                    <a:pt x="133" y="227"/>
                  </a:lnTo>
                  <a:lnTo>
                    <a:pt x="135" y="225"/>
                  </a:lnTo>
                  <a:lnTo>
                    <a:pt x="133" y="225"/>
                  </a:lnTo>
                  <a:lnTo>
                    <a:pt x="131" y="225"/>
                  </a:lnTo>
                  <a:lnTo>
                    <a:pt x="131" y="223"/>
                  </a:lnTo>
                  <a:lnTo>
                    <a:pt x="131" y="225"/>
                  </a:lnTo>
                  <a:lnTo>
                    <a:pt x="129" y="225"/>
                  </a:lnTo>
                  <a:lnTo>
                    <a:pt x="127" y="225"/>
                  </a:lnTo>
                  <a:lnTo>
                    <a:pt x="127" y="227"/>
                  </a:lnTo>
                  <a:lnTo>
                    <a:pt x="125" y="225"/>
                  </a:lnTo>
                  <a:lnTo>
                    <a:pt x="123" y="225"/>
                  </a:lnTo>
                  <a:lnTo>
                    <a:pt x="123" y="223"/>
                  </a:lnTo>
                  <a:lnTo>
                    <a:pt x="123" y="221"/>
                  </a:lnTo>
                  <a:lnTo>
                    <a:pt x="121" y="221"/>
                  </a:lnTo>
                  <a:lnTo>
                    <a:pt x="121" y="219"/>
                  </a:lnTo>
                  <a:lnTo>
                    <a:pt x="119" y="219"/>
                  </a:lnTo>
                  <a:lnTo>
                    <a:pt x="119" y="217"/>
                  </a:lnTo>
                  <a:lnTo>
                    <a:pt x="121" y="217"/>
                  </a:lnTo>
                  <a:lnTo>
                    <a:pt x="123" y="217"/>
                  </a:lnTo>
                  <a:lnTo>
                    <a:pt x="125" y="217"/>
                  </a:lnTo>
                  <a:lnTo>
                    <a:pt x="125" y="215"/>
                  </a:lnTo>
                  <a:lnTo>
                    <a:pt x="127" y="213"/>
                  </a:lnTo>
                  <a:lnTo>
                    <a:pt x="127" y="212"/>
                  </a:lnTo>
                  <a:lnTo>
                    <a:pt x="125" y="213"/>
                  </a:lnTo>
                  <a:lnTo>
                    <a:pt x="125" y="212"/>
                  </a:lnTo>
                  <a:lnTo>
                    <a:pt x="123" y="210"/>
                  </a:lnTo>
                  <a:lnTo>
                    <a:pt x="123" y="208"/>
                  </a:lnTo>
                  <a:lnTo>
                    <a:pt x="121" y="208"/>
                  </a:lnTo>
                  <a:lnTo>
                    <a:pt x="119" y="206"/>
                  </a:lnTo>
                  <a:lnTo>
                    <a:pt x="117" y="206"/>
                  </a:lnTo>
                  <a:lnTo>
                    <a:pt x="117" y="204"/>
                  </a:lnTo>
                  <a:lnTo>
                    <a:pt x="115" y="204"/>
                  </a:lnTo>
                  <a:lnTo>
                    <a:pt x="113" y="204"/>
                  </a:lnTo>
                  <a:lnTo>
                    <a:pt x="113" y="202"/>
                  </a:lnTo>
                  <a:lnTo>
                    <a:pt x="113" y="200"/>
                  </a:lnTo>
                  <a:lnTo>
                    <a:pt x="113" y="198"/>
                  </a:lnTo>
                  <a:lnTo>
                    <a:pt x="115" y="196"/>
                  </a:lnTo>
                  <a:lnTo>
                    <a:pt x="115" y="194"/>
                  </a:lnTo>
                  <a:lnTo>
                    <a:pt x="113" y="194"/>
                  </a:lnTo>
                  <a:lnTo>
                    <a:pt x="113" y="192"/>
                  </a:lnTo>
                  <a:lnTo>
                    <a:pt x="113" y="190"/>
                  </a:lnTo>
                  <a:lnTo>
                    <a:pt x="115" y="190"/>
                  </a:lnTo>
                  <a:lnTo>
                    <a:pt x="115" y="188"/>
                  </a:lnTo>
                  <a:lnTo>
                    <a:pt x="117" y="188"/>
                  </a:lnTo>
                  <a:lnTo>
                    <a:pt x="115" y="188"/>
                  </a:lnTo>
                  <a:lnTo>
                    <a:pt x="115" y="187"/>
                  </a:lnTo>
                  <a:lnTo>
                    <a:pt x="115" y="188"/>
                  </a:lnTo>
                  <a:lnTo>
                    <a:pt x="113" y="188"/>
                  </a:lnTo>
                  <a:lnTo>
                    <a:pt x="113" y="187"/>
                  </a:lnTo>
                  <a:lnTo>
                    <a:pt x="113" y="185"/>
                  </a:lnTo>
                  <a:lnTo>
                    <a:pt x="112" y="185"/>
                  </a:lnTo>
                  <a:lnTo>
                    <a:pt x="112" y="183"/>
                  </a:lnTo>
                  <a:lnTo>
                    <a:pt x="113" y="183"/>
                  </a:lnTo>
                  <a:lnTo>
                    <a:pt x="113" y="181"/>
                  </a:lnTo>
                  <a:lnTo>
                    <a:pt x="112" y="181"/>
                  </a:lnTo>
                  <a:lnTo>
                    <a:pt x="112" y="179"/>
                  </a:lnTo>
                  <a:lnTo>
                    <a:pt x="110" y="177"/>
                  </a:lnTo>
                  <a:lnTo>
                    <a:pt x="112" y="177"/>
                  </a:lnTo>
                  <a:lnTo>
                    <a:pt x="113" y="177"/>
                  </a:lnTo>
                  <a:lnTo>
                    <a:pt x="113" y="175"/>
                  </a:lnTo>
                  <a:lnTo>
                    <a:pt x="113" y="173"/>
                  </a:lnTo>
                  <a:lnTo>
                    <a:pt x="112" y="171"/>
                  </a:lnTo>
                  <a:lnTo>
                    <a:pt x="112" y="169"/>
                  </a:lnTo>
                  <a:lnTo>
                    <a:pt x="112" y="167"/>
                  </a:lnTo>
                  <a:lnTo>
                    <a:pt x="110" y="165"/>
                  </a:lnTo>
                  <a:lnTo>
                    <a:pt x="108" y="165"/>
                  </a:lnTo>
                  <a:lnTo>
                    <a:pt x="108" y="167"/>
                  </a:lnTo>
                  <a:lnTo>
                    <a:pt x="108" y="169"/>
                  </a:lnTo>
                  <a:lnTo>
                    <a:pt x="108" y="171"/>
                  </a:lnTo>
                  <a:lnTo>
                    <a:pt x="108" y="169"/>
                  </a:lnTo>
                  <a:lnTo>
                    <a:pt x="106" y="167"/>
                  </a:lnTo>
                  <a:lnTo>
                    <a:pt x="106" y="165"/>
                  </a:lnTo>
                  <a:lnTo>
                    <a:pt x="106" y="164"/>
                  </a:lnTo>
                  <a:lnTo>
                    <a:pt x="106" y="162"/>
                  </a:lnTo>
                  <a:lnTo>
                    <a:pt x="108" y="160"/>
                  </a:lnTo>
                  <a:lnTo>
                    <a:pt x="108" y="158"/>
                  </a:lnTo>
                  <a:lnTo>
                    <a:pt x="108" y="156"/>
                  </a:lnTo>
                  <a:lnTo>
                    <a:pt x="106" y="156"/>
                  </a:lnTo>
                  <a:lnTo>
                    <a:pt x="104" y="156"/>
                  </a:lnTo>
                  <a:lnTo>
                    <a:pt x="104" y="154"/>
                  </a:lnTo>
                  <a:lnTo>
                    <a:pt x="104" y="152"/>
                  </a:lnTo>
                  <a:lnTo>
                    <a:pt x="102" y="152"/>
                  </a:lnTo>
                  <a:lnTo>
                    <a:pt x="104" y="152"/>
                  </a:lnTo>
                  <a:lnTo>
                    <a:pt x="102" y="150"/>
                  </a:lnTo>
                  <a:lnTo>
                    <a:pt x="100" y="148"/>
                  </a:lnTo>
                  <a:lnTo>
                    <a:pt x="102" y="148"/>
                  </a:lnTo>
                  <a:lnTo>
                    <a:pt x="102" y="146"/>
                  </a:lnTo>
                  <a:lnTo>
                    <a:pt x="102" y="144"/>
                  </a:lnTo>
                  <a:lnTo>
                    <a:pt x="104" y="146"/>
                  </a:lnTo>
                  <a:lnTo>
                    <a:pt x="102" y="144"/>
                  </a:lnTo>
                  <a:lnTo>
                    <a:pt x="104" y="144"/>
                  </a:lnTo>
                  <a:lnTo>
                    <a:pt x="104" y="142"/>
                  </a:lnTo>
                  <a:lnTo>
                    <a:pt x="104" y="140"/>
                  </a:lnTo>
                  <a:lnTo>
                    <a:pt x="102" y="140"/>
                  </a:lnTo>
                  <a:lnTo>
                    <a:pt x="102" y="139"/>
                  </a:lnTo>
                  <a:lnTo>
                    <a:pt x="102" y="137"/>
                  </a:lnTo>
                  <a:lnTo>
                    <a:pt x="102" y="139"/>
                  </a:lnTo>
                  <a:lnTo>
                    <a:pt x="100" y="139"/>
                  </a:lnTo>
                  <a:lnTo>
                    <a:pt x="102" y="140"/>
                  </a:lnTo>
                  <a:lnTo>
                    <a:pt x="100" y="140"/>
                  </a:lnTo>
                  <a:lnTo>
                    <a:pt x="102" y="142"/>
                  </a:lnTo>
                  <a:lnTo>
                    <a:pt x="100" y="142"/>
                  </a:lnTo>
                  <a:lnTo>
                    <a:pt x="98" y="142"/>
                  </a:lnTo>
                  <a:lnTo>
                    <a:pt x="98" y="140"/>
                  </a:lnTo>
                  <a:lnTo>
                    <a:pt x="98" y="142"/>
                  </a:lnTo>
                  <a:lnTo>
                    <a:pt x="96" y="142"/>
                  </a:lnTo>
                  <a:lnTo>
                    <a:pt x="94" y="142"/>
                  </a:lnTo>
                  <a:lnTo>
                    <a:pt x="92" y="140"/>
                  </a:lnTo>
                  <a:lnTo>
                    <a:pt x="92" y="139"/>
                  </a:lnTo>
                  <a:lnTo>
                    <a:pt x="90" y="139"/>
                  </a:lnTo>
                  <a:lnTo>
                    <a:pt x="89" y="139"/>
                  </a:lnTo>
                  <a:lnTo>
                    <a:pt x="87" y="139"/>
                  </a:lnTo>
                  <a:lnTo>
                    <a:pt x="89" y="140"/>
                  </a:lnTo>
                  <a:lnTo>
                    <a:pt x="87" y="142"/>
                  </a:lnTo>
                  <a:lnTo>
                    <a:pt x="87" y="140"/>
                  </a:lnTo>
                  <a:lnTo>
                    <a:pt x="85" y="140"/>
                  </a:lnTo>
                  <a:lnTo>
                    <a:pt x="85" y="139"/>
                  </a:lnTo>
                  <a:lnTo>
                    <a:pt x="83" y="139"/>
                  </a:lnTo>
                  <a:lnTo>
                    <a:pt x="81" y="137"/>
                  </a:lnTo>
                  <a:lnTo>
                    <a:pt x="81" y="135"/>
                  </a:lnTo>
                  <a:lnTo>
                    <a:pt x="79" y="135"/>
                  </a:lnTo>
                  <a:lnTo>
                    <a:pt x="77" y="133"/>
                  </a:lnTo>
                  <a:lnTo>
                    <a:pt x="77" y="131"/>
                  </a:lnTo>
                  <a:lnTo>
                    <a:pt x="75" y="131"/>
                  </a:lnTo>
                  <a:lnTo>
                    <a:pt x="75" y="129"/>
                  </a:lnTo>
                  <a:lnTo>
                    <a:pt x="73" y="129"/>
                  </a:lnTo>
                  <a:lnTo>
                    <a:pt x="71" y="129"/>
                  </a:lnTo>
                  <a:lnTo>
                    <a:pt x="69" y="129"/>
                  </a:lnTo>
                  <a:lnTo>
                    <a:pt x="69" y="131"/>
                  </a:lnTo>
                  <a:lnTo>
                    <a:pt x="67" y="129"/>
                  </a:lnTo>
                  <a:lnTo>
                    <a:pt x="67" y="127"/>
                  </a:lnTo>
                  <a:lnTo>
                    <a:pt x="65" y="125"/>
                  </a:lnTo>
                  <a:lnTo>
                    <a:pt x="65" y="123"/>
                  </a:lnTo>
                  <a:lnTo>
                    <a:pt x="67" y="123"/>
                  </a:lnTo>
                  <a:lnTo>
                    <a:pt x="67" y="121"/>
                  </a:lnTo>
                  <a:lnTo>
                    <a:pt x="67" y="119"/>
                  </a:lnTo>
                  <a:lnTo>
                    <a:pt x="69" y="119"/>
                  </a:lnTo>
                  <a:lnTo>
                    <a:pt x="69" y="117"/>
                  </a:lnTo>
                  <a:lnTo>
                    <a:pt x="69" y="116"/>
                  </a:lnTo>
                  <a:lnTo>
                    <a:pt x="69" y="114"/>
                  </a:lnTo>
                  <a:lnTo>
                    <a:pt x="69" y="112"/>
                  </a:lnTo>
                  <a:lnTo>
                    <a:pt x="69" y="110"/>
                  </a:lnTo>
                  <a:lnTo>
                    <a:pt x="71" y="108"/>
                  </a:lnTo>
                  <a:lnTo>
                    <a:pt x="73" y="108"/>
                  </a:lnTo>
                  <a:lnTo>
                    <a:pt x="71" y="106"/>
                  </a:lnTo>
                  <a:lnTo>
                    <a:pt x="71" y="104"/>
                  </a:lnTo>
                  <a:lnTo>
                    <a:pt x="71" y="102"/>
                  </a:lnTo>
                  <a:lnTo>
                    <a:pt x="73" y="102"/>
                  </a:lnTo>
                  <a:lnTo>
                    <a:pt x="75" y="102"/>
                  </a:lnTo>
                  <a:lnTo>
                    <a:pt x="75" y="100"/>
                  </a:lnTo>
                  <a:lnTo>
                    <a:pt x="75" y="98"/>
                  </a:lnTo>
                  <a:lnTo>
                    <a:pt x="73" y="98"/>
                  </a:lnTo>
                  <a:lnTo>
                    <a:pt x="73" y="96"/>
                  </a:lnTo>
                  <a:lnTo>
                    <a:pt x="73" y="94"/>
                  </a:lnTo>
                  <a:lnTo>
                    <a:pt x="71" y="94"/>
                  </a:lnTo>
                  <a:lnTo>
                    <a:pt x="69" y="96"/>
                  </a:lnTo>
                  <a:lnTo>
                    <a:pt x="71" y="96"/>
                  </a:lnTo>
                  <a:lnTo>
                    <a:pt x="69" y="98"/>
                  </a:lnTo>
                  <a:lnTo>
                    <a:pt x="69" y="100"/>
                  </a:lnTo>
                  <a:lnTo>
                    <a:pt x="67" y="98"/>
                  </a:lnTo>
                  <a:lnTo>
                    <a:pt x="65" y="98"/>
                  </a:lnTo>
                  <a:lnTo>
                    <a:pt x="65" y="96"/>
                  </a:lnTo>
                  <a:lnTo>
                    <a:pt x="64" y="96"/>
                  </a:lnTo>
                  <a:lnTo>
                    <a:pt x="64" y="94"/>
                  </a:lnTo>
                  <a:lnTo>
                    <a:pt x="64" y="93"/>
                  </a:lnTo>
                  <a:lnTo>
                    <a:pt x="64" y="91"/>
                  </a:lnTo>
                  <a:lnTo>
                    <a:pt x="64" y="89"/>
                  </a:lnTo>
                  <a:lnTo>
                    <a:pt x="65" y="89"/>
                  </a:lnTo>
                  <a:lnTo>
                    <a:pt x="67" y="89"/>
                  </a:lnTo>
                  <a:lnTo>
                    <a:pt x="67" y="87"/>
                  </a:lnTo>
                  <a:lnTo>
                    <a:pt x="69" y="87"/>
                  </a:lnTo>
                  <a:lnTo>
                    <a:pt x="69" y="85"/>
                  </a:lnTo>
                  <a:lnTo>
                    <a:pt x="71" y="87"/>
                  </a:lnTo>
                  <a:lnTo>
                    <a:pt x="71" y="85"/>
                  </a:lnTo>
                  <a:lnTo>
                    <a:pt x="73" y="85"/>
                  </a:lnTo>
                  <a:lnTo>
                    <a:pt x="73" y="83"/>
                  </a:lnTo>
                  <a:lnTo>
                    <a:pt x="75" y="83"/>
                  </a:lnTo>
                  <a:lnTo>
                    <a:pt x="77" y="81"/>
                  </a:lnTo>
                  <a:lnTo>
                    <a:pt x="79" y="79"/>
                  </a:lnTo>
                  <a:lnTo>
                    <a:pt x="77" y="79"/>
                  </a:lnTo>
                  <a:lnTo>
                    <a:pt x="77" y="77"/>
                  </a:lnTo>
                  <a:lnTo>
                    <a:pt x="75" y="75"/>
                  </a:lnTo>
                  <a:lnTo>
                    <a:pt x="73" y="75"/>
                  </a:lnTo>
                  <a:lnTo>
                    <a:pt x="71" y="75"/>
                  </a:lnTo>
                  <a:lnTo>
                    <a:pt x="69" y="75"/>
                  </a:lnTo>
                  <a:lnTo>
                    <a:pt x="67" y="75"/>
                  </a:lnTo>
                  <a:lnTo>
                    <a:pt x="67" y="77"/>
                  </a:lnTo>
                  <a:lnTo>
                    <a:pt x="67" y="79"/>
                  </a:lnTo>
                  <a:lnTo>
                    <a:pt x="65" y="79"/>
                  </a:lnTo>
                  <a:lnTo>
                    <a:pt x="64" y="79"/>
                  </a:lnTo>
                  <a:lnTo>
                    <a:pt x="64" y="81"/>
                  </a:lnTo>
                  <a:lnTo>
                    <a:pt x="62" y="81"/>
                  </a:lnTo>
                  <a:lnTo>
                    <a:pt x="62" y="83"/>
                  </a:lnTo>
                  <a:lnTo>
                    <a:pt x="62" y="85"/>
                  </a:lnTo>
                  <a:lnTo>
                    <a:pt x="60" y="85"/>
                  </a:lnTo>
                  <a:lnTo>
                    <a:pt x="62" y="87"/>
                  </a:lnTo>
                  <a:lnTo>
                    <a:pt x="60" y="87"/>
                  </a:lnTo>
                  <a:lnTo>
                    <a:pt x="60" y="89"/>
                  </a:lnTo>
                  <a:lnTo>
                    <a:pt x="58" y="87"/>
                  </a:lnTo>
                  <a:lnTo>
                    <a:pt x="56" y="87"/>
                  </a:lnTo>
                  <a:lnTo>
                    <a:pt x="54" y="85"/>
                  </a:lnTo>
                  <a:lnTo>
                    <a:pt x="54" y="83"/>
                  </a:lnTo>
                  <a:lnTo>
                    <a:pt x="52" y="83"/>
                  </a:lnTo>
                  <a:lnTo>
                    <a:pt x="52" y="81"/>
                  </a:lnTo>
                  <a:lnTo>
                    <a:pt x="50" y="83"/>
                  </a:lnTo>
                  <a:lnTo>
                    <a:pt x="48" y="83"/>
                  </a:lnTo>
                  <a:lnTo>
                    <a:pt x="48" y="85"/>
                  </a:lnTo>
                  <a:lnTo>
                    <a:pt x="46" y="83"/>
                  </a:lnTo>
                  <a:lnTo>
                    <a:pt x="46" y="85"/>
                  </a:lnTo>
                  <a:lnTo>
                    <a:pt x="44" y="85"/>
                  </a:lnTo>
                  <a:lnTo>
                    <a:pt x="44" y="87"/>
                  </a:lnTo>
                  <a:lnTo>
                    <a:pt x="44" y="85"/>
                  </a:lnTo>
                  <a:lnTo>
                    <a:pt x="42" y="85"/>
                  </a:lnTo>
                  <a:lnTo>
                    <a:pt x="40" y="85"/>
                  </a:lnTo>
                  <a:lnTo>
                    <a:pt x="39" y="85"/>
                  </a:lnTo>
                  <a:lnTo>
                    <a:pt x="37" y="85"/>
                  </a:lnTo>
                  <a:lnTo>
                    <a:pt x="37" y="87"/>
                  </a:lnTo>
                  <a:lnTo>
                    <a:pt x="35" y="89"/>
                  </a:lnTo>
                  <a:lnTo>
                    <a:pt x="35" y="87"/>
                  </a:lnTo>
                  <a:lnTo>
                    <a:pt x="33" y="87"/>
                  </a:lnTo>
                  <a:lnTo>
                    <a:pt x="35" y="85"/>
                  </a:lnTo>
                  <a:lnTo>
                    <a:pt x="33" y="85"/>
                  </a:lnTo>
                  <a:lnTo>
                    <a:pt x="33" y="83"/>
                  </a:lnTo>
                  <a:lnTo>
                    <a:pt x="31" y="83"/>
                  </a:lnTo>
                  <a:lnTo>
                    <a:pt x="33" y="83"/>
                  </a:lnTo>
                  <a:lnTo>
                    <a:pt x="33" y="81"/>
                  </a:lnTo>
                  <a:lnTo>
                    <a:pt x="33" y="79"/>
                  </a:lnTo>
                  <a:lnTo>
                    <a:pt x="35" y="77"/>
                  </a:lnTo>
                  <a:lnTo>
                    <a:pt x="37" y="79"/>
                  </a:lnTo>
                  <a:lnTo>
                    <a:pt x="39" y="79"/>
                  </a:lnTo>
                  <a:lnTo>
                    <a:pt x="40" y="79"/>
                  </a:lnTo>
                  <a:lnTo>
                    <a:pt x="42" y="79"/>
                  </a:lnTo>
                  <a:lnTo>
                    <a:pt x="42" y="77"/>
                  </a:lnTo>
                  <a:lnTo>
                    <a:pt x="44" y="79"/>
                  </a:lnTo>
                  <a:lnTo>
                    <a:pt x="46" y="77"/>
                  </a:lnTo>
                  <a:lnTo>
                    <a:pt x="48" y="75"/>
                  </a:lnTo>
                  <a:lnTo>
                    <a:pt x="50" y="75"/>
                  </a:lnTo>
                  <a:lnTo>
                    <a:pt x="48" y="75"/>
                  </a:lnTo>
                  <a:lnTo>
                    <a:pt x="48" y="73"/>
                  </a:lnTo>
                  <a:lnTo>
                    <a:pt x="46" y="73"/>
                  </a:lnTo>
                  <a:lnTo>
                    <a:pt x="44" y="73"/>
                  </a:lnTo>
                  <a:lnTo>
                    <a:pt x="44" y="71"/>
                  </a:lnTo>
                  <a:lnTo>
                    <a:pt x="42" y="73"/>
                  </a:lnTo>
                  <a:lnTo>
                    <a:pt x="40" y="73"/>
                  </a:lnTo>
                  <a:lnTo>
                    <a:pt x="40" y="71"/>
                  </a:lnTo>
                  <a:lnTo>
                    <a:pt x="39" y="71"/>
                  </a:lnTo>
                  <a:lnTo>
                    <a:pt x="39" y="69"/>
                  </a:lnTo>
                  <a:lnTo>
                    <a:pt x="39" y="68"/>
                  </a:lnTo>
                  <a:lnTo>
                    <a:pt x="37" y="68"/>
                  </a:lnTo>
                  <a:lnTo>
                    <a:pt x="37" y="66"/>
                  </a:lnTo>
                  <a:lnTo>
                    <a:pt x="37" y="64"/>
                  </a:lnTo>
                  <a:lnTo>
                    <a:pt x="35" y="64"/>
                  </a:lnTo>
                  <a:lnTo>
                    <a:pt x="33" y="62"/>
                  </a:lnTo>
                  <a:lnTo>
                    <a:pt x="33" y="60"/>
                  </a:lnTo>
                  <a:lnTo>
                    <a:pt x="35" y="60"/>
                  </a:lnTo>
                  <a:lnTo>
                    <a:pt x="33" y="60"/>
                  </a:lnTo>
                  <a:lnTo>
                    <a:pt x="33" y="58"/>
                  </a:lnTo>
                  <a:lnTo>
                    <a:pt x="31" y="58"/>
                  </a:lnTo>
                  <a:lnTo>
                    <a:pt x="31" y="56"/>
                  </a:lnTo>
                  <a:lnTo>
                    <a:pt x="33" y="56"/>
                  </a:lnTo>
                  <a:lnTo>
                    <a:pt x="31" y="56"/>
                  </a:lnTo>
                  <a:lnTo>
                    <a:pt x="31" y="54"/>
                  </a:lnTo>
                  <a:lnTo>
                    <a:pt x="33" y="54"/>
                  </a:lnTo>
                  <a:lnTo>
                    <a:pt x="33" y="52"/>
                  </a:lnTo>
                  <a:lnTo>
                    <a:pt x="33" y="50"/>
                  </a:lnTo>
                  <a:lnTo>
                    <a:pt x="35" y="50"/>
                  </a:lnTo>
                  <a:lnTo>
                    <a:pt x="35" y="48"/>
                  </a:lnTo>
                  <a:lnTo>
                    <a:pt x="33" y="48"/>
                  </a:lnTo>
                  <a:lnTo>
                    <a:pt x="31" y="48"/>
                  </a:lnTo>
                  <a:lnTo>
                    <a:pt x="29" y="50"/>
                  </a:lnTo>
                  <a:lnTo>
                    <a:pt x="29" y="52"/>
                  </a:lnTo>
                  <a:lnTo>
                    <a:pt x="29" y="54"/>
                  </a:lnTo>
                  <a:lnTo>
                    <a:pt x="27" y="54"/>
                  </a:lnTo>
                  <a:lnTo>
                    <a:pt x="27" y="56"/>
                  </a:lnTo>
                  <a:lnTo>
                    <a:pt x="25" y="56"/>
                  </a:lnTo>
                  <a:lnTo>
                    <a:pt x="23" y="56"/>
                  </a:lnTo>
                  <a:lnTo>
                    <a:pt x="23" y="54"/>
                  </a:lnTo>
                  <a:lnTo>
                    <a:pt x="21" y="54"/>
                  </a:lnTo>
                  <a:lnTo>
                    <a:pt x="21" y="52"/>
                  </a:lnTo>
                  <a:lnTo>
                    <a:pt x="19" y="52"/>
                  </a:lnTo>
                  <a:lnTo>
                    <a:pt x="17" y="54"/>
                  </a:lnTo>
                  <a:lnTo>
                    <a:pt x="17" y="52"/>
                  </a:lnTo>
                  <a:lnTo>
                    <a:pt x="16" y="52"/>
                  </a:lnTo>
                  <a:lnTo>
                    <a:pt x="17" y="50"/>
                  </a:lnTo>
                  <a:lnTo>
                    <a:pt x="16" y="50"/>
                  </a:lnTo>
                  <a:lnTo>
                    <a:pt x="16" y="48"/>
                  </a:lnTo>
                  <a:lnTo>
                    <a:pt x="16" y="46"/>
                  </a:lnTo>
                  <a:lnTo>
                    <a:pt x="16" y="45"/>
                  </a:lnTo>
                  <a:lnTo>
                    <a:pt x="17" y="45"/>
                  </a:lnTo>
                  <a:lnTo>
                    <a:pt x="17" y="43"/>
                  </a:lnTo>
                  <a:lnTo>
                    <a:pt x="16" y="43"/>
                  </a:lnTo>
                  <a:lnTo>
                    <a:pt x="16" y="41"/>
                  </a:lnTo>
                  <a:lnTo>
                    <a:pt x="14" y="39"/>
                  </a:lnTo>
                  <a:lnTo>
                    <a:pt x="14" y="37"/>
                  </a:lnTo>
                  <a:lnTo>
                    <a:pt x="12" y="37"/>
                  </a:lnTo>
                  <a:lnTo>
                    <a:pt x="14" y="37"/>
                  </a:lnTo>
                  <a:lnTo>
                    <a:pt x="14" y="35"/>
                  </a:lnTo>
                  <a:lnTo>
                    <a:pt x="14" y="33"/>
                  </a:lnTo>
                  <a:lnTo>
                    <a:pt x="16" y="33"/>
                  </a:lnTo>
                  <a:lnTo>
                    <a:pt x="16" y="31"/>
                  </a:lnTo>
                  <a:lnTo>
                    <a:pt x="16" y="29"/>
                  </a:lnTo>
                  <a:lnTo>
                    <a:pt x="14" y="29"/>
                  </a:lnTo>
                  <a:lnTo>
                    <a:pt x="14" y="27"/>
                  </a:lnTo>
                  <a:lnTo>
                    <a:pt x="12" y="29"/>
                  </a:lnTo>
                  <a:lnTo>
                    <a:pt x="12" y="27"/>
                  </a:lnTo>
                  <a:lnTo>
                    <a:pt x="10" y="27"/>
                  </a:lnTo>
                  <a:lnTo>
                    <a:pt x="10" y="29"/>
                  </a:lnTo>
                  <a:lnTo>
                    <a:pt x="8" y="29"/>
                  </a:lnTo>
                  <a:lnTo>
                    <a:pt x="8" y="27"/>
                  </a:lnTo>
                  <a:lnTo>
                    <a:pt x="6" y="27"/>
                  </a:lnTo>
                  <a:lnTo>
                    <a:pt x="6" y="25"/>
                  </a:lnTo>
                  <a:lnTo>
                    <a:pt x="4" y="25"/>
                  </a:lnTo>
                  <a:lnTo>
                    <a:pt x="6" y="25"/>
                  </a:lnTo>
                  <a:lnTo>
                    <a:pt x="6" y="23"/>
                  </a:lnTo>
                  <a:lnTo>
                    <a:pt x="8" y="23"/>
                  </a:lnTo>
                  <a:lnTo>
                    <a:pt x="10" y="21"/>
                  </a:lnTo>
                  <a:lnTo>
                    <a:pt x="8" y="21"/>
                  </a:lnTo>
                  <a:lnTo>
                    <a:pt x="6" y="21"/>
                  </a:lnTo>
                  <a:lnTo>
                    <a:pt x="6" y="20"/>
                  </a:lnTo>
                  <a:lnTo>
                    <a:pt x="8" y="20"/>
                  </a:lnTo>
                  <a:lnTo>
                    <a:pt x="10" y="20"/>
                  </a:lnTo>
                  <a:lnTo>
                    <a:pt x="12" y="18"/>
                  </a:lnTo>
                  <a:lnTo>
                    <a:pt x="10" y="16"/>
                  </a:lnTo>
                  <a:lnTo>
                    <a:pt x="8" y="16"/>
                  </a:lnTo>
                  <a:lnTo>
                    <a:pt x="6" y="18"/>
                  </a:lnTo>
                  <a:lnTo>
                    <a:pt x="6" y="16"/>
                  </a:lnTo>
                  <a:lnTo>
                    <a:pt x="4" y="16"/>
                  </a:lnTo>
                  <a:lnTo>
                    <a:pt x="2" y="16"/>
                  </a:lnTo>
                  <a:lnTo>
                    <a:pt x="0" y="16"/>
                  </a:lnTo>
                  <a:lnTo>
                    <a:pt x="0" y="14"/>
                  </a:lnTo>
                  <a:lnTo>
                    <a:pt x="0" y="12"/>
                  </a:lnTo>
                  <a:lnTo>
                    <a:pt x="2" y="12"/>
                  </a:lnTo>
                  <a:lnTo>
                    <a:pt x="2" y="10"/>
                  </a:lnTo>
                  <a:lnTo>
                    <a:pt x="4" y="10"/>
                  </a:lnTo>
                  <a:lnTo>
                    <a:pt x="4" y="8"/>
                  </a:lnTo>
                  <a:lnTo>
                    <a:pt x="6" y="8"/>
                  </a:lnTo>
                  <a:lnTo>
                    <a:pt x="6" y="6"/>
                  </a:lnTo>
                  <a:lnTo>
                    <a:pt x="8" y="6"/>
                  </a:lnTo>
                  <a:lnTo>
                    <a:pt x="10" y="6"/>
                  </a:lnTo>
                  <a:lnTo>
                    <a:pt x="10" y="8"/>
                  </a:lnTo>
                  <a:lnTo>
                    <a:pt x="12" y="8"/>
                  </a:lnTo>
                  <a:lnTo>
                    <a:pt x="12" y="6"/>
                  </a:lnTo>
                  <a:lnTo>
                    <a:pt x="12" y="8"/>
                  </a:lnTo>
                  <a:lnTo>
                    <a:pt x="12" y="6"/>
                  </a:lnTo>
                  <a:lnTo>
                    <a:pt x="12" y="8"/>
                  </a:lnTo>
                  <a:lnTo>
                    <a:pt x="14" y="8"/>
                  </a:lnTo>
                  <a:lnTo>
                    <a:pt x="14" y="10"/>
                  </a:lnTo>
                  <a:lnTo>
                    <a:pt x="16" y="10"/>
                  </a:lnTo>
                  <a:lnTo>
                    <a:pt x="14" y="10"/>
                  </a:lnTo>
                  <a:lnTo>
                    <a:pt x="14" y="12"/>
                  </a:lnTo>
                  <a:lnTo>
                    <a:pt x="14" y="10"/>
                  </a:lnTo>
                  <a:lnTo>
                    <a:pt x="16" y="10"/>
                  </a:lnTo>
                  <a:lnTo>
                    <a:pt x="16" y="12"/>
                  </a:lnTo>
                  <a:lnTo>
                    <a:pt x="16" y="14"/>
                  </a:lnTo>
                  <a:lnTo>
                    <a:pt x="16" y="16"/>
                  </a:lnTo>
                  <a:lnTo>
                    <a:pt x="14" y="16"/>
                  </a:lnTo>
                  <a:lnTo>
                    <a:pt x="14" y="18"/>
                  </a:lnTo>
                  <a:lnTo>
                    <a:pt x="16" y="18"/>
                  </a:lnTo>
                  <a:lnTo>
                    <a:pt x="16" y="20"/>
                  </a:lnTo>
                  <a:lnTo>
                    <a:pt x="16" y="18"/>
                  </a:lnTo>
                  <a:lnTo>
                    <a:pt x="14" y="18"/>
                  </a:lnTo>
                  <a:lnTo>
                    <a:pt x="14" y="20"/>
                  </a:lnTo>
                  <a:lnTo>
                    <a:pt x="12" y="20"/>
                  </a:lnTo>
                  <a:lnTo>
                    <a:pt x="12" y="21"/>
                  </a:lnTo>
                  <a:lnTo>
                    <a:pt x="12" y="23"/>
                  </a:lnTo>
                  <a:lnTo>
                    <a:pt x="10" y="23"/>
                  </a:lnTo>
                  <a:lnTo>
                    <a:pt x="12" y="23"/>
                  </a:lnTo>
                  <a:lnTo>
                    <a:pt x="12" y="25"/>
                  </a:lnTo>
                  <a:lnTo>
                    <a:pt x="12" y="23"/>
                  </a:lnTo>
                  <a:lnTo>
                    <a:pt x="12" y="21"/>
                  </a:lnTo>
                  <a:lnTo>
                    <a:pt x="14" y="21"/>
                  </a:lnTo>
                  <a:lnTo>
                    <a:pt x="14" y="20"/>
                  </a:lnTo>
                  <a:lnTo>
                    <a:pt x="14" y="21"/>
                  </a:lnTo>
                  <a:lnTo>
                    <a:pt x="14" y="20"/>
                  </a:lnTo>
                  <a:lnTo>
                    <a:pt x="16" y="20"/>
                  </a:lnTo>
                  <a:lnTo>
                    <a:pt x="17" y="20"/>
                  </a:lnTo>
                  <a:lnTo>
                    <a:pt x="17" y="18"/>
                  </a:lnTo>
                  <a:lnTo>
                    <a:pt x="17" y="16"/>
                  </a:lnTo>
                  <a:lnTo>
                    <a:pt x="16" y="16"/>
                  </a:lnTo>
                  <a:lnTo>
                    <a:pt x="17" y="14"/>
                  </a:lnTo>
                  <a:lnTo>
                    <a:pt x="17" y="16"/>
                  </a:lnTo>
                  <a:lnTo>
                    <a:pt x="17" y="14"/>
                  </a:lnTo>
                  <a:lnTo>
                    <a:pt x="17" y="16"/>
                  </a:lnTo>
                  <a:lnTo>
                    <a:pt x="19" y="16"/>
                  </a:lnTo>
                  <a:lnTo>
                    <a:pt x="19" y="18"/>
                  </a:lnTo>
                  <a:lnTo>
                    <a:pt x="17" y="18"/>
                  </a:lnTo>
                  <a:lnTo>
                    <a:pt x="17" y="16"/>
                  </a:lnTo>
                  <a:lnTo>
                    <a:pt x="17" y="18"/>
                  </a:lnTo>
                  <a:lnTo>
                    <a:pt x="17" y="20"/>
                  </a:lnTo>
                  <a:lnTo>
                    <a:pt x="19" y="18"/>
                  </a:lnTo>
                  <a:lnTo>
                    <a:pt x="19" y="20"/>
                  </a:lnTo>
                  <a:lnTo>
                    <a:pt x="19" y="21"/>
                  </a:lnTo>
                  <a:lnTo>
                    <a:pt x="17" y="21"/>
                  </a:lnTo>
                  <a:lnTo>
                    <a:pt x="17" y="23"/>
                  </a:lnTo>
                  <a:lnTo>
                    <a:pt x="16" y="23"/>
                  </a:lnTo>
                  <a:lnTo>
                    <a:pt x="17" y="23"/>
                  </a:lnTo>
                  <a:lnTo>
                    <a:pt x="19" y="23"/>
                  </a:lnTo>
                  <a:lnTo>
                    <a:pt x="21" y="23"/>
                  </a:lnTo>
                  <a:lnTo>
                    <a:pt x="21" y="25"/>
                  </a:lnTo>
                  <a:lnTo>
                    <a:pt x="21" y="23"/>
                  </a:lnTo>
                  <a:lnTo>
                    <a:pt x="21" y="25"/>
                  </a:lnTo>
                  <a:lnTo>
                    <a:pt x="19" y="25"/>
                  </a:lnTo>
                  <a:lnTo>
                    <a:pt x="19" y="27"/>
                  </a:lnTo>
                  <a:lnTo>
                    <a:pt x="19" y="29"/>
                  </a:lnTo>
                  <a:lnTo>
                    <a:pt x="21" y="29"/>
                  </a:lnTo>
                  <a:lnTo>
                    <a:pt x="21" y="27"/>
                  </a:lnTo>
                  <a:lnTo>
                    <a:pt x="21" y="25"/>
                  </a:lnTo>
                  <a:lnTo>
                    <a:pt x="21" y="27"/>
                  </a:lnTo>
                  <a:lnTo>
                    <a:pt x="21" y="25"/>
                  </a:lnTo>
                  <a:lnTo>
                    <a:pt x="23" y="25"/>
                  </a:lnTo>
                  <a:lnTo>
                    <a:pt x="21" y="25"/>
                  </a:lnTo>
                  <a:lnTo>
                    <a:pt x="21" y="23"/>
                  </a:lnTo>
                  <a:lnTo>
                    <a:pt x="21" y="21"/>
                  </a:lnTo>
                  <a:lnTo>
                    <a:pt x="23" y="21"/>
                  </a:lnTo>
                  <a:lnTo>
                    <a:pt x="23" y="20"/>
                  </a:lnTo>
                  <a:lnTo>
                    <a:pt x="23" y="21"/>
                  </a:lnTo>
                  <a:lnTo>
                    <a:pt x="23" y="20"/>
                  </a:lnTo>
                  <a:lnTo>
                    <a:pt x="25" y="20"/>
                  </a:lnTo>
                  <a:lnTo>
                    <a:pt x="25" y="18"/>
                  </a:lnTo>
                  <a:lnTo>
                    <a:pt x="25" y="20"/>
                  </a:lnTo>
                  <a:lnTo>
                    <a:pt x="23" y="20"/>
                  </a:lnTo>
                  <a:lnTo>
                    <a:pt x="21" y="20"/>
                  </a:lnTo>
                  <a:lnTo>
                    <a:pt x="21" y="18"/>
                  </a:lnTo>
                  <a:lnTo>
                    <a:pt x="23" y="18"/>
                  </a:lnTo>
                  <a:lnTo>
                    <a:pt x="25" y="18"/>
                  </a:lnTo>
                  <a:lnTo>
                    <a:pt x="23" y="18"/>
                  </a:lnTo>
                  <a:lnTo>
                    <a:pt x="25" y="18"/>
                  </a:lnTo>
                  <a:lnTo>
                    <a:pt x="27" y="18"/>
                  </a:lnTo>
                  <a:lnTo>
                    <a:pt x="27" y="20"/>
                  </a:lnTo>
                  <a:lnTo>
                    <a:pt x="25" y="21"/>
                  </a:lnTo>
                  <a:lnTo>
                    <a:pt x="23" y="21"/>
                  </a:lnTo>
                  <a:lnTo>
                    <a:pt x="23" y="23"/>
                  </a:lnTo>
                  <a:lnTo>
                    <a:pt x="25" y="23"/>
                  </a:lnTo>
                  <a:lnTo>
                    <a:pt x="27" y="23"/>
                  </a:lnTo>
                  <a:lnTo>
                    <a:pt x="29" y="23"/>
                  </a:lnTo>
                  <a:lnTo>
                    <a:pt x="31" y="23"/>
                  </a:lnTo>
                  <a:lnTo>
                    <a:pt x="31" y="25"/>
                  </a:lnTo>
                  <a:lnTo>
                    <a:pt x="31" y="27"/>
                  </a:lnTo>
                  <a:lnTo>
                    <a:pt x="29" y="27"/>
                  </a:lnTo>
                  <a:lnTo>
                    <a:pt x="31" y="27"/>
                  </a:lnTo>
                  <a:lnTo>
                    <a:pt x="31" y="29"/>
                  </a:lnTo>
                  <a:lnTo>
                    <a:pt x="31" y="31"/>
                  </a:lnTo>
                  <a:lnTo>
                    <a:pt x="33" y="31"/>
                  </a:lnTo>
                  <a:lnTo>
                    <a:pt x="33" y="29"/>
                  </a:lnTo>
                  <a:lnTo>
                    <a:pt x="33" y="27"/>
                  </a:lnTo>
                  <a:lnTo>
                    <a:pt x="31" y="27"/>
                  </a:lnTo>
                  <a:lnTo>
                    <a:pt x="31" y="25"/>
                  </a:lnTo>
                  <a:lnTo>
                    <a:pt x="33" y="25"/>
                  </a:lnTo>
                  <a:lnTo>
                    <a:pt x="35" y="25"/>
                  </a:lnTo>
                  <a:lnTo>
                    <a:pt x="35" y="27"/>
                  </a:lnTo>
                  <a:lnTo>
                    <a:pt x="33" y="27"/>
                  </a:lnTo>
                  <a:lnTo>
                    <a:pt x="35" y="27"/>
                  </a:lnTo>
                  <a:lnTo>
                    <a:pt x="35" y="29"/>
                  </a:lnTo>
                  <a:lnTo>
                    <a:pt x="33" y="29"/>
                  </a:lnTo>
                  <a:lnTo>
                    <a:pt x="35" y="29"/>
                  </a:lnTo>
                  <a:lnTo>
                    <a:pt x="37" y="29"/>
                  </a:lnTo>
                  <a:lnTo>
                    <a:pt x="39" y="29"/>
                  </a:lnTo>
                  <a:lnTo>
                    <a:pt x="39" y="31"/>
                  </a:lnTo>
                  <a:lnTo>
                    <a:pt x="39" y="33"/>
                  </a:lnTo>
                  <a:lnTo>
                    <a:pt x="37" y="33"/>
                  </a:lnTo>
                  <a:lnTo>
                    <a:pt x="35" y="33"/>
                  </a:lnTo>
                  <a:lnTo>
                    <a:pt x="37" y="33"/>
                  </a:lnTo>
                  <a:lnTo>
                    <a:pt x="37" y="35"/>
                  </a:lnTo>
                  <a:lnTo>
                    <a:pt x="35" y="35"/>
                  </a:lnTo>
                  <a:lnTo>
                    <a:pt x="35" y="33"/>
                  </a:lnTo>
                  <a:lnTo>
                    <a:pt x="33" y="33"/>
                  </a:lnTo>
                  <a:lnTo>
                    <a:pt x="31" y="33"/>
                  </a:lnTo>
                  <a:lnTo>
                    <a:pt x="31" y="31"/>
                  </a:lnTo>
                  <a:lnTo>
                    <a:pt x="33" y="31"/>
                  </a:lnTo>
                  <a:lnTo>
                    <a:pt x="31" y="31"/>
                  </a:lnTo>
                  <a:lnTo>
                    <a:pt x="31" y="33"/>
                  </a:lnTo>
                  <a:lnTo>
                    <a:pt x="31" y="31"/>
                  </a:lnTo>
                  <a:lnTo>
                    <a:pt x="29" y="31"/>
                  </a:lnTo>
                  <a:lnTo>
                    <a:pt x="29" y="33"/>
                  </a:lnTo>
                  <a:lnTo>
                    <a:pt x="31" y="33"/>
                  </a:lnTo>
                  <a:lnTo>
                    <a:pt x="29" y="33"/>
                  </a:lnTo>
                  <a:lnTo>
                    <a:pt x="31" y="33"/>
                  </a:lnTo>
                  <a:lnTo>
                    <a:pt x="31" y="35"/>
                  </a:lnTo>
                  <a:lnTo>
                    <a:pt x="33" y="35"/>
                  </a:lnTo>
                  <a:lnTo>
                    <a:pt x="31" y="35"/>
                  </a:lnTo>
                  <a:lnTo>
                    <a:pt x="33" y="35"/>
                  </a:lnTo>
                  <a:lnTo>
                    <a:pt x="35" y="37"/>
                  </a:lnTo>
                  <a:lnTo>
                    <a:pt x="35" y="35"/>
                  </a:lnTo>
                  <a:lnTo>
                    <a:pt x="37" y="35"/>
                  </a:lnTo>
                  <a:lnTo>
                    <a:pt x="37" y="37"/>
                  </a:lnTo>
                  <a:lnTo>
                    <a:pt x="37" y="35"/>
                  </a:lnTo>
                  <a:lnTo>
                    <a:pt x="39" y="35"/>
                  </a:lnTo>
                  <a:lnTo>
                    <a:pt x="40" y="35"/>
                  </a:lnTo>
                  <a:lnTo>
                    <a:pt x="40" y="33"/>
                  </a:lnTo>
                  <a:lnTo>
                    <a:pt x="40" y="35"/>
                  </a:lnTo>
                  <a:lnTo>
                    <a:pt x="40" y="37"/>
                  </a:lnTo>
                  <a:lnTo>
                    <a:pt x="40" y="35"/>
                  </a:lnTo>
                  <a:lnTo>
                    <a:pt x="42" y="35"/>
                  </a:lnTo>
                  <a:lnTo>
                    <a:pt x="42" y="37"/>
                  </a:lnTo>
                  <a:lnTo>
                    <a:pt x="40" y="37"/>
                  </a:lnTo>
                  <a:lnTo>
                    <a:pt x="39" y="37"/>
                  </a:lnTo>
                  <a:lnTo>
                    <a:pt x="39" y="39"/>
                  </a:lnTo>
                  <a:lnTo>
                    <a:pt x="39" y="41"/>
                  </a:lnTo>
                  <a:lnTo>
                    <a:pt x="40" y="41"/>
                  </a:lnTo>
                  <a:lnTo>
                    <a:pt x="40" y="43"/>
                  </a:lnTo>
                  <a:lnTo>
                    <a:pt x="40" y="45"/>
                  </a:lnTo>
                  <a:lnTo>
                    <a:pt x="40" y="43"/>
                  </a:lnTo>
                  <a:lnTo>
                    <a:pt x="40" y="41"/>
                  </a:lnTo>
                  <a:lnTo>
                    <a:pt x="40" y="39"/>
                  </a:lnTo>
                  <a:lnTo>
                    <a:pt x="40" y="37"/>
                  </a:lnTo>
                  <a:lnTo>
                    <a:pt x="42" y="37"/>
                  </a:lnTo>
                  <a:lnTo>
                    <a:pt x="42" y="39"/>
                  </a:lnTo>
                  <a:lnTo>
                    <a:pt x="42" y="37"/>
                  </a:lnTo>
                  <a:lnTo>
                    <a:pt x="44" y="37"/>
                  </a:lnTo>
                  <a:lnTo>
                    <a:pt x="46" y="37"/>
                  </a:lnTo>
                  <a:lnTo>
                    <a:pt x="44" y="37"/>
                  </a:lnTo>
                  <a:lnTo>
                    <a:pt x="46" y="39"/>
                  </a:lnTo>
                  <a:lnTo>
                    <a:pt x="48" y="39"/>
                  </a:lnTo>
                  <a:lnTo>
                    <a:pt x="50" y="39"/>
                  </a:lnTo>
                  <a:lnTo>
                    <a:pt x="50" y="41"/>
                  </a:lnTo>
                  <a:lnTo>
                    <a:pt x="52" y="41"/>
                  </a:lnTo>
                  <a:lnTo>
                    <a:pt x="52" y="43"/>
                  </a:lnTo>
                  <a:lnTo>
                    <a:pt x="52" y="45"/>
                  </a:lnTo>
                  <a:lnTo>
                    <a:pt x="52" y="46"/>
                  </a:lnTo>
                  <a:lnTo>
                    <a:pt x="52" y="48"/>
                  </a:lnTo>
                  <a:lnTo>
                    <a:pt x="50" y="48"/>
                  </a:lnTo>
                  <a:lnTo>
                    <a:pt x="48" y="48"/>
                  </a:lnTo>
                  <a:lnTo>
                    <a:pt x="46" y="48"/>
                  </a:lnTo>
                  <a:lnTo>
                    <a:pt x="46" y="50"/>
                  </a:lnTo>
                  <a:lnTo>
                    <a:pt x="44" y="50"/>
                  </a:lnTo>
                  <a:lnTo>
                    <a:pt x="44" y="52"/>
                  </a:lnTo>
                  <a:lnTo>
                    <a:pt x="46" y="52"/>
                  </a:lnTo>
                  <a:lnTo>
                    <a:pt x="44" y="52"/>
                  </a:lnTo>
                  <a:lnTo>
                    <a:pt x="46" y="52"/>
                  </a:lnTo>
                  <a:lnTo>
                    <a:pt x="44" y="52"/>
                  </a:lnTo>
                  <a:lnTo>
                    <a:pt x="44" y="54"/>
                  </a:lnTo>
                  <a:lnTo>
                    <a:pt x="44" y="52"/>
                  </a:lnTo>
                  <a:lnTo>
                    <a:pt x="44" y="54"/>
                  </a:lnTo>
                  <a:lnTo>
                    <a:pt x="44" y="52"/>
                  </a:lnTo>
                  <a:lnTo>
                    <a:pt x="46" y="52"/>
                  </a:lnTo>
                  <a:lnTo>
                    <a:pt x="44" y="52"/>
                  </a:lnTo>
                  <a:lnTo>
                    <a:pt x="46" y="52"/>
                  </a:lnTo>
                  <a:lnTo>
                    <a:pt x="46" y="50"/>
                  </a:lnTo>
                  <a:lnTo>
                    <a:pt x="48" y="50"/>
                  </a:lnTo>
                  <a:lnTo>
                    <a:pt x="50" y="50"/>
                  </a:lnTo>
                  <a:lnTo>
                    <a:pt x="50" y="48"/>
                  </a:lnTo>
                  <a:lnTo>
                    <a:pt x="50" y="50"/>
                  </a:lnTo>
                  <a:lnTo>
                    <a:pt x="50" y="48"/>
                  </a:lnTo>
                  <a:lnTo>
                    <a:pt x="50" y="50"/>
                  </a:lnTo>
                  <a:lnTo>
                    <a:pt x="52" y="50"/>
                  </a:lnTo>
                  <a:lnTo>
                    <a:pt x="52" y="48"/>
                  </a:lnTo>
                  <a:lnTo>
                    <a:pt x="52" y="50"/>
                  </a:lnTo>
                  <a:lnTo>
                    <a:pt x="54" y="50"/>
                  </a:lnTo>
                  <a:lnTo>
                    <a:pt x="54" y="48"/>
                  </a:lnTo>
                  <a:lnTo>
                    <a:pt x="56" y="48"/>
                  </a:lnTo>
                  <a:lnTo>
                    <a:pt x="56" y="50"/>
                  </a:lnTo>
                  <a:lnTo>
                    <a:pt x="56" y="52"/>
                  </a:lnTo>
                  <a:lnTo>
                    <a:pt x="58" y="54"/>
                  </a:lnTo>
                  <a:lnTo>
                    <a:pt x="56" y="56"/>
                  </a:lnTo>
                  <a:lnTo>
                    <a:pt x="58" y="56"/>
                  </a:lnTo>
                  <a:lnTo>
                    <a:pt x="58" y="54"/>
                  </a:lnTo>
                  <a:lnTo>
                    <a:pt x="58" y="52"/>
                  </a:lnTo>
                  <a:lnTo>
                    <a:pt x="58" y="50"/>
                  </a:lnTo>
                  <a:lnTo>
                    <a:pt x="58" y="48"/>
                  </a:lnTo>
                  <a:lnTo>
                    <a:pt x="60" y="48"/>
                  </a:lnTo>
                  <a:lnTo>
                    <a:pt x="60" y="46"/>
                  </a:lnTo>
                  <a:lnTo>
                    <a:pt x="62" y="46"/>
                  </a:lnTo>
                  <a:lnTo>
                    <a:pt x="62" y="48"/>
                  </a:lnTo>
                  <a:lnTo>
                    <a:pt x="64" y="48"/>
                  </a:lnTo>
                  <a:lnTo>
                    <a:pt x="64" y="50"/>
                  </a:lnTo>
                  <a:lnTo>
                    <a:pt x="62" y="50"/>
                  </a:lnTo>
                  <a:lnTo>
                    <a:pt x="64" y="50"/>
                  </a:lnTo>
                  <a:lnTo>
                    <a:pt x="64" y="52"/>
                  </a:lnTo>
                  <a:lnTo>
                    <a:pt x="64" y="54"/>
                  </a:lnTo>
                  <a:lnTo>
                    <a:pt x="62" y="56"/>
                  </a:lnTo>
                  <a:lnTo>
                    <a:pt x="64" y="56"/>
                  </a:lnTo>
                  <a:lnTo>
                    <a:pt x="65" y="54"/>
                  </a:lnTo>
                  <a:lnTo>
                    <a:pt x="65" y="52"/>
                  </a:lnTo>
                  <a:lnTo>
                    <a:pt x="65" y="50"/>
                  </a:lnTo>
                  <a:lnTo>
                    <a:pt x="65" y="48"/>
                  </a:lnTo>
                  <a:lnTo>
                    <a:pt x="67" y="48"/>
                  </a:lnTo>
                  <a:lnTo>
                    <a:pt x="67" y="50"/>
                  </a:lnTo>
                  <a:lnTo>
                    <a:pt x="67" y="52"/>
                  </a:lnTo>
                  <a:lnTo>
                    <a:pt x="67" y="54"/>
                  </a:lnTo>
                  <a:lnTo>
                    <a:pt x="67" y="56"/>
                  </a:lnTo>
                  <a:lnTo>
                    <a:pt x="67" y="54"/>
                  </a:lnTo>
                  <a:lnTo>
                    <a:pt x="69" y="52"/>
                  </a:lnTo>
                  <a:lnTo>
                    <a:pt x="71" y="52"/>
                  </a:lnTo>
                  <a:lnTo>
                    <a:pt x="71" y="54"/>
                  </a:lnTo>
                  <a:lnTo>
                    <a:pt x="71" y="56"/>
                  </a:lnTo>
                  <a:lnTo>
                    <a:pt x="71" y="58"/>
                  </a:lnTo>
                  <a:lnTo>
                    <a:pt x="69" y="60"/>
                  </a:lnTo>
                  <a:lnTo>
                    <a:pt x="69" y="62"/>
                  </a:lnTo>
                  <a:lnTo>
                    <a:pt x="67" y="62"/>
                  </a:lnTo>
                  <a:lnTo>
                    <a:pt x="67" y="64"/>
                  </a:lnTo>
                  <a:lnTo>
                    <a:pt x="65" y="64"/>
                  </a:lnTo>
                  <a:lnTo>
                    <a:pt x="65" y="66"/>
                  </a:lnTo>
                  <a:lnTo>
                    <a:pt x="64" y="66"/>
                  </a:lnTo>
                  <a:lnTo>
                    <a:pt x="62" y="66"/>
                  </a:lnTo>
                  <a:lnTo>
                    <a:pt x="60" y="66"/>
                  </a:lnTo>
                  <a:lnTo>
                    <a:pt x="60" y="68"/>
                  </a:lnTo>
                  <a:lnTo>
                    <a:pt x="58" y="68"/>
                  </a:lnTo>
                  <a:lnTo>
                    <a:pt x="56" y="68"/>
                  </a:lnTo>
                  <a:lnTo>
                    <a:pt x="56" y="69"/>
                  </a:lnTo>
                  <a:lnTo>
                    <a:pt x="56" y="71"/>
                  </a:lnTo>
                  <a:lnTo>
                    <a:pt x="56" y="69"/>
                  </a:lnTo>
                  <a:lnTo>
                    <a:pt x="56" y="68"/>
                  </a:lnTo>
                  <a:lnTo>
                    <a:pt x="58" y="68"/>
                  </a:lnTo>
                  <a:lnTo>
                    <a:pt x="60" y="68"/>
                  </a:lnTo>
                  <a:lnTo>
                    <a:pt x="60" y="69"/>
                  </a:lnTo>
                  <a:lnTo>
                    <a:pt x="60" y="71"/>
                  </a:lnTo>
                  <a:lnTo>
                    <a:pt x="62" y="73"/>
                  </a:lnTo>
                  <a:lnTo>
                    <a:pt x="60" y="71"/>
                  </a:lnTo>
                  <a:lnTo>
                    <a:pt x="60" y="69"/>
                  </a:lnTo>
                  <a:lnTo>
                    <a:pt x="60" y="68"/>
                  </a:lnTo>
                  <a:lnTo>
                    <a:pt x="62" y="68"/>
                  </a:lnTo>
                  <a:lnTo>
                    <a:pt x="64" y="68"/>
                  </a:lnTo>
                  <a:lnTo>
                    <a:pt x="64" y="69"/>
                  </a:lnTo>
                  <a:lnTo>
                    <a:pt x="64" y="68"/>
                  </a:lnTo>
                  <a:lnTo>
                    <a:pt x="65" y="68"/>
                  </a:lnTo>
                  <a:lnTo>
                    <a:pt x="65" y="66"/>
                  </a:lnTo>
                  <a:lnTo>
                    <a:pt x="67" y="66"/>
                  </a:lnTo>
                  <a:lnTo>
                    <a:pt x="69" y="64"/>
                  </a:lnTo>
                  <a:lnTo>
                    <a:pt x="69" y="66"/>
                  </a:lnTo>
                  <a:lnTo>
                    <a:pt x="69" y="64"/>
                  </a:lnTo>
                  <a:lnTo>
                    <a:pt x="69" y="62"/>
                  </a:lnTo>
                  <a:lnTo>
                    <a:pt x="71" y="60"/>
                  </a:lnTo>
                  <a:lnTo>
                    <a:pt x="71" y="62"/>
                  </a:lnTo>
                  <a:lnTo>
                    <a:pt x="71" y="60"/>
                  </a:lnTo>
                  <a:lnTo>
                    <a:pt x="71" y="58"/>
                  </a:lnTo>
                  <a:lnTo>
                    <a:pt x="73" y="58"/>
                  </a:lnTo>
                  <a:lnTo>
                    <a:pt x="75" y="58"/>
                  </a:lnTo>
                  <a:lnTo>
                    <a:pt x="75" y="60"/>
                  </a:lnTo>
                  <a:lnTo>
                    <a:pt x="77" y="60"/>
                  </a:lnTo>
                  <a:lnTo>
                    <a:pt x="75" y="58"/>
                  </a:lnTo>
                  <a:lnTo>
                    <a:pt x="77" y="58"/>
                  </a:lnTo>
                  <a:lnTo>
                    <a:pt x="79" y="58"/>
                  </a:lnTo>
                  <a:lnTo>
                    <a:pt x="81" y="58"/>
                  </a:lnTo>
                  <a:lnTo>
                    <a:pt x="81" y="60"/>
                  </a:lnTo>
                  <a:lnTo>
                    <a:pt x="79" y="60"/>
                  </a:lnTo>
                  <a:lnTo>
                    <a:pt x="77" y="60"/>
                  </a:lnTo>
                  <a:lnTo>
                    <a:pt x="75" y="62"/>
                  </a:lnTo>
                  <a:lnTo>
                    <a:pt x="77" y="62"/>
                  </a:lnTo>
                  <a:lnTo>
                    <a:pt x="79" y="62"/>
                  </a:lnTo>
                  <a:lnTo>
                    <a:pt x="79" y="64"/>
                  </a:lnTo>
                  <a:lnTo>
                    <a:pt x="79" y="66"/>
                  </a:lnTo>
                  <a:lnTo>
                    <a:pt x="79" y="64"/>
                  </a:lnTo>
                  <a:lnTo>
                    <a:pt x="81" y="64"/>
                  </a:lnTo>
                  <a:lnTo>
                    <a:pt x="81" y="62"/>
                  </a:lnTo>
                  <a:lnTo>
                    <a:pt x="83" y="62"/>
                  </a:lnTo>
                  <a:lnTo>
                    <a:pt x="83" y="64"/>
                  </a:lnTo>
                  <a:lnTo>
                    <a:pt x="81" y="64"/>
                  </a:lnTo>
                  <a:lnTo>
                    <a:pt x="81" y="66"/>
                  </a:lnTo>
                  <a:lnTo>
                    <a:pt x="83" y="64"/>
                  </a:lnTo>
                  <a:lnTo>
                    <a:pt x="83" y="66"/>
                  </a:lnTo>
                  <a:lnTo>
                    <a:pt x="85" y="66"/>
                  </a:lnTo>
                  <a:lnTo>
                    <a:pt x="83" y="66"/>
                  </a:lnTo>
                  <a:lnTo>
                    <a:pt x="83" y="68"/>
                  </a:lnTo>
                  <a:lnTo>
                    <a:pt x="83" y="69"/>
                  </a:lnTo>
                  <a:lnTo>
                    <a:pt x="81" y="69"/>
                  </a:lnTo>
                  <a:lnTo>
                    <a:pt x="81" y="71"/>
                  </a:lnTo>
                  <a:lnTo>
                    <a:pt x="79" y="71"/>
                  </a:lnTo>
                  <a:lnTo>
                    <a:pt x="81" y="71"/>
                  </a:lnTo>
                  <a:lnTo>
                    <a:pt x="83" y="71"/>
                  </a:lnTo>
                  <a:lnTo>
                    <a:pt x="83" y="69"/>
                  </a:lnTo>
                  <a:lnTo>
                    <a:pt x="85" y="69"/>
                  </a:lnTo>
                  <a:lnTo>
                    <a:pt x="85" y="68"/>
                  </a:lnTo>
                  <a:lnTo>
                    <a:pt x="85" y="69"/>
                  </a:lnTo>
                  <a:lnTo>
                    <a:pt x="85" y="71"/>
                  </a:lnTo>
                  <a:lnTo>
                    <a:pt x="87" y="71"/>
                  </a:lnTo>
                  <a:lnTo>
                    <a:pt x="87" y="73"/>
                  </a:lnTo>
                  <a:lnTo>
                    <a:pt x="87" y="71"/>
                  </a:lnTo>
                  <a:lnTo>
                    <a:pt x="87" y="69"/>
                  </a:lnTo>
                  <a:lnTo>
                    <a:pt x="87" y="68"/>
                  </a:lnTo>
                  <a:lnTo>
                    <a:pt x="87" y="66"/>
                  </a:lnTo>
                  <a:lnTo>
                    <a:pt x="87" y="64"/>
                  </a:lnTo>
                  <a:lnTo>
                    <a:pt x="87" y="66"/>
                  </a:lnTo>
                  <a:lnTo>
                    <a:pt x="89" y="66"/>
                  </a:lnTo>
                  <a:lnTo>
                    <a:pt x="89" y="68"/>
                  </a:lnTo>
                  <a:lnTo>
                    <a:pt x="89" y="66"/>
                  </a:lnTo>
                  <a:lnTo>
                    <a:pt x="90" y="66"/>
                  </a:lnTo>
                  <a:lnTo>
                    <a:pt x="90" y="68"/>
                  </a:lnTo>
                  <a:lnTo>
                    <a:pt x="90" y="66"/>
                  </a:lnTo>
                  <a:lnTo>
                    <a:pt x="90" y="68"/>
                  </a:lnTo>
                  <a:lnTo>
                    <a:pt x="92" y="68"/>
                  </a:lnTo>
                  <a:lnTo>
                    <a:pt x="94" y="68"/>
                  </a:lnTo>
                  <a:lnTo>
                    <a:pt x="94" y="69"/>
                  </a:lnTo>
                  <a:lnTo>
                    <a:pt x="94" y="71"/>
                  </a:lnTo>
                  <a:lnTo>
                    <a:pt x="96" y="73"/>
                  </a:lnTo>
                  <a:lnTo>
                    <a:pt x="94" y="73"/>
                  </a:lnTo>
                  <a:lnTo>
                    <a:pt x="94" y="75"/>
                  </a:lnTo>
                  <a:lnTo>
                    <a:pt x="92" y="75"/>
                  </a:lnTo>
                  <a:lnTo>
                    <a:pt x="92" y="77"/>
                  </a:lnTo>
                  <a:lnTo>
                    <a:pt x="92" y="79"/>
                  </a:lnTo>
                  <a:lnTo>
                    <a:pt x="92" y="77"/>
                  </a:lnTo>
                  <a:lnTo>
                    <a:pt x="92" y="75"/>
                  </a:lnTo>
                  <a:lnTo>
                    <a:pt x="94" y="75"/>
                  </a:lnTo>
                  <a:lnTo>
                    <a:pt x="96" y="75"/>
                  </a:lnTo>
                  <a:lnTo>
                    <a:pt x="96" y="73"/>
                  </a:lnTo>
                  <a:lnTo>
                    <a:pt x="98" y="73"/>
                  </a:lnTo>
                  <a:lnTo>
                    <a:pt x="98" y="75"/>
                  </a:lnTo>
                  <a:lnTo>
                    <a:pt x="100" y="75"/>
                  </a:lnTo>
                  <a:lnTo>
                    <a:pt x="98" y="75"/>
                  </a:lnTo>
                  <a:lnTo>
                    <a:pt x="100" y="75"/>
                  </a:lnTo>
                  <a:lnTo>
                    <a:pt x="100" y="77"/>
                  </a:lnTo>
                  <a:lnTo>
                    <a:pt x="98" y="79"/>
                  </a:lnTo>
                  <a:lnTo>
                    <a:pt x="100" y="79"/>
                  </a:lnTo>
                  <a:lnTo>
                    <a:pt x="98" y="81"/>
                  </a:lnTo>
                  <a:lnTo>
                    <a:pt x="98" y="83"/>
                  </a:lnTo>
                  <a:lnTo>
                    <a:pt x="96" y="83"/>
                  </a:lnTo>
                  <a:lnTo>
                    <a:pt x="96" y="85"/>
                  </a:lnTo>
                  <a:lnTo>
                    <a:pt x="94" y="85"/>
                  </a:lnTo>
                  <a:lnTo>
                    <a:pt x="96" y="87"/>
                  </a:lnTo>
                  <a:lnTo>
                    <a:pt x="94" y="87"/>
                  </a:lnTo>
                  <a:lnTo>
                    <a:pt x="94" y="89"/>
                  </a:lnTo>
                  <a:lnTo>
                    <a:pt x="92" y="91"/>
                  </a:lnTo>
                  <a:lnTo>
                    <a:pt x="90" y="91"/>
                  </a:lnTo>
                  <a:lnTo>
                    <a:pt x="90" y="93"/>
                  </a:lnTo>
                  <a:lnTo>
                    <a:pt x="89" y="93"/>
                  </a:lnTo>
                  <a:lnTo>
                    <a:pt x="87" y="93"/>
                  </a:lnTo>
                  <a:lnTo>
                    <a:pt x="87" y="91"/>
                  </a:lnTo>
                  <a:lnTo>
                    <a:pt x="85" y="91"/>
                  </a:lnTo>
                  <a:lnTo>
                    <a:pt x="87" y="91"/>
                  </a:lnTo>
                  <a:lnTo>
                    <a:pt x="87" y="93"/>
                  </a:lnTo>
                  <a:lnTo>
                    <a:pt x="87" y="94"/>
                  </a:lnTo>
                  <a:lnTo>
                    <a:pt x="85" y="94"/>
                  </a:lnTo>
                  <a:lnTo>
                    <a:pt x="85" y="96"/>
                  </a:lnTo>
                  <a:lnTo>
                    <a:pt x="85" y="94"/>
                  </a:lnTo>
                  <a:lnTo>
                    <a:pt x="87" y="94"/>
                  </a:lnTo>
                  <a:lnTo>
                    <a:pt x="87" y="93"/>
                  </a:lnTo>
                  <a:lnTo>
                    <a:pt x="89" y="93"/>
                  </a:lnTo>
                  <a:lnTo>
                    <a:pt x="90" y="93"/>
                  </a:lnTo>
                  <a:lnTo>
                    <a:pt x="90" y="94"/>
                  </a:lnTo>
                  <a:lnTo>
                    <a:pt x="90" y="96"/>
                  </a:lnTo>
                  <a:lnTo>
                    <a:pt x="90" y="98"/>
                  </a:lnTo>
                  <a:lnTo>
                    <a:pt x="89" y="100"/>
                  </a:lnTo>
                  <a:lnTo>
                    <a:pt x="89" y="102"/>
                  </a:lnTo>
                  <a:lnTo>
                    <a:pt x="89" y="104"/>
                  </a:lnTo>
                  <a:lnTo>
                    <a:pt x="87" y="106"/>
                  </a:lnTo>
                  <a:lnTo>
                    <a:pt x="89" y="106"/>
                  </a:lnTo>
                  <a:lnTo>
                    <a:pt x="89" y="104"/>
                  </a:lnTo>
                  <a:lnTo>
                    <a:pt x="89" y="102"/>
                  </a:lnTo>
                  <a:lnTo>
                    <a:pt x="90" y="102"/>
                  </a:lnTo>
                  <a:lnTo>
                    <a:pt x="90" y="100"/>
                  </a:lnTo>
                  <a:lnTo>
                    <a:pt x="90" y="98"/>
                  </a:lnTo>
                  <a:lnTo>
                    <a:pt x="92" y="96"/>
                  </a:lnTo>
                  <a:lnTo>
                    <a:pt x="92" y="94"/>
                  </a:lnTo>
                  <a:lnTo>
                    <a:pt x="92" y="93"/>
                  </a:lnTo>
                  <a:lnTo>
                    <a:pt x="92" y="91"/>
                  </a:lnTo>
                  <a:lnTo>
                    <a:pt x="94" y="91"/>
                  </a:lnTo>
                  <a:lnTo>
                    <a:pt x="96" y="91"/>
                  </a:lnTo>
                  <a:lnTo>
                    <a:pt x="96" y="89"/>
                  </a:lnTo>
                  <a:lnTo>
                    <a:pt x="98" y="91"/>
                  </a:lnTo>
                  <a:lnTo>
                    <a:pt x="98" y="93"/>
                  </a:lnTo>
                  <a:lnTo>
                    <a:pt x="98" y="94"/>
                  </a:lnTo>
                  <a:lnTo>
                    <a:pt x="98" y="96"/>
                  </a:lnTo>
                  <a:lnTo>
                    <a:pt x="98" y="94"/>
                  </a:lnTo>
                  <a:lnTo>
                    <a:pt x="98" y="93"/>
                  </a:lnTo>
                  <a:lnTo>
                    <a:pt x="100" y="94"/>
                  </a:lnTo>
                  <a:lnTo>
                    <a:pt x="100" y="93"/>
                  </a:lnTo>
                  <a:lnTo>
                    <a:pt x="98" y="91"/>
                  </a:lnTo>
                  <a:lnTo>
                    <a:pt x="100" y="89"/>
                  </a:lnTo>
                  <a:lnTo>
                    <a:pt x="100" y="91"/>
                  </a:lnTo>
                  <a:lnTo>
                    <a:pt x="102" y="91"/>
                  </a:lnTo>
                  <a:lnTo>
                    <a:pt x="102" y="89"/>
                  </a:lnTo>
                  <a:lnTo>
                    <a:pt x="102" y="87"/>
                  </a:lnTo>
                  <a:lnTo>
                    <a:pt x="104" y="87"/>
                  </a:lnTo>
                  <a:lnTo>
                    <a:pt x="104" y="85"/>
                  </a:lnTo>
                  <a:lnTo>
                    <a:pt x="106" y="85"/>
                  </a:lnTo>
                  <a:lnTo>
                    <a:pt x="106" y="83"/>
                  </a:lnTo>
                  <a:lnTo>
                    <a:pt x="106" y="85"/>
                  </a:lnTo>
                  <a:lnTo>
                    <a:pt x="106" y="87"/>
                  </a:lnTo>
                  <a:lnTo>
                    <a:pt x="106" y="85"/>
                  </a:lnTo>
                  <a:lnTo>
                    <a:pt x="106" y="83"/>
                  </a:lnTo>
                  <a:lnTo>
                    <a:pt x="108" y="83"/>
                  </a:lnTo>
                  <a:lnTo>
                    <a:pt x="110" y="83"/>
                  </a:lnTo>
                  <a:lnTo>
                    <a:pt x="110" y="81"/>
                  </a:lnTo>
                  <a:lnTo>
                    <a:pt x="112" y="81"/>
                  </a:lnTo>
                  <a:lnTo>
                    <a:pt x="113" y="81"/>
                  </a:lnTo>
                  <a:lnTo>
                    <a:pt x="113" y="83"/>
                  </a:lnTo>
                  <a:lnTo>
                    <a:pt x="112" y="83"/>
                  </a:lnTo>
                  <a:lnTo>
                    <a:pt x="113" y="85"/>
                  </a:lnTo>
                  <a:lnTo>
                    <a:pt x="112" y="85"/>
                  </a:lnTo>
                  <a:lnTo>
                    <a:pt x="112" y="87"/>
                  </a:lnTo>
                  <a:lnTo>
                    <a:pt x="110" y="87"/>
                  </a:lnTo>
                  <a:lnTo>
                    <a:pt x="112" y="87"/>
                  </a:lnTo>
                  <a:lnTo>
                    <a:pt x="113" y="87"/>
                  </a:lnTo>
                  <a:lnTo>
                    <a:pt x="113" y="89"/>
                  </a:lnTo>
                  <a:lnTo>
                    <a:pt x="113" y="91"/>
                  </a:lnTo>
                  <a:lnTo>
                    <a:pt x="115" y="89"/>
                  </a:lnTo>
                  <a:lnTo>
                    <a:pt x="115" y="91"/>
                  </a:lnTo>
                  <a:lnTo>
                    <a:pt x="115" y="93"/>
                  </a:lnTo>
                  <a:lnTo>
                    <a:pt x="113" y="93"/>
                  </a:lnTo>
                  <a:lnTo>
                    <a:pt x="113" y="94"/>
                  </a:lnTo>
                  <a:lnTo>
                    <a:pt x="115" y="94"/>
                  </a:lnTo>
                  <a:lnTo>
                    <a:pt x="113" y="96"/>
                  </a:lnTo>
                  <a:lnTo>
                    <a:pt x="112" y="96"/>
                  </a:lnTo>
                  <a:lnTo>
                    <a:pt x="110" y="96"/>
                  </a:lnTo>
                  <a:lnTo>
                    <a:pt x="110" y="98"/>
                  </a:lnTo>
                  <a:lnTo>
                    <a:pt x="110" y="100"/>
                  </a:lnTo>
                  <a:lnTo>
                    <a:pt x="110" y="102"/>
                  </a:lnTo>
                  <a:lnTo>
                    <a:pt x="112" y="102"/>
                  </a:lnTo>
                  <a:lnTo>
                    <a:pt x="112" y="100"/>
                  </a:lnTo>
                  <a:lnTo>
                    <a:pt x="110" y="100"/>
                  </a:lnTo>
                  <a:lnTo>
                    <a:pt x="110" y="98"/>
                  </a:lnTo>
                  <a:lnTo>
                    <a:pt x="112" y="98"/>
                  </a:lnTo>
                  <a:lnTo>
                    <a:pt x="113" y="96"/>
                  </a:lnTo>
                  <a:lnTo>
                    <a:pt x="115" y="96"/>
                  </a:lnTo>
                  <a:lnTo>
                    <a:pt x="115" y="94"/>
                  </a:lnTo>
                  <a:lnTo>
                    <a:pt x="117" y="94"/>
                  </a:lnTo>
                  <a:lnTo>
                    <a:pt x="117" y="96"/>
                  </a:lnTo>
                  <a:lnTo>
                    <a:pt x="115" y="96"/>
                  </a:lnTo>
                  <a:lnTo>
                    <a:pt x="117" y="96"/>
                  </a:lnTo>
                  <a:lnTo>
                    <a:pt x="117" y="94"/>
                  </a:lnTo>
                  <a:lnTo>
                    <a:pt x="119" y="96"/>
                  </a:lnTo>
                  <a:lnTo>
                    <a:pt x="117" y="96"/>
                  </a:lnTo>
                  <a:lnTo>
                    <a:pt x="119" y="98"/>
                  </a:lnTo>
                  <a:lnTo>
                    <a:pt x="117" y="98"/>
                  </a:lnTo>
                  <a:lnTo>
                    <a:pt x="119" y="100"/>
                  </a:lnTo>
                  <a:lnTo>
                    <a:pt x="117" y="100"/>
                  </a:lnTo>
                  <a:lnTo>
                    <a:pt x="115" y="100"/>
                  </a:lnTo>
                  <a:lnTo>
                    <a:pt x="115" y="102"/>
                  </a:lnTo>
                  <a:lnTo>
                    <a:pt x="113" y="102"/>
                  </a:lnTo>
                  <a:lnTo>
                    <a:pt x="112" y="102"/>
                  </a:lnTo>
                  <a:lnTo>
                    <a:pt x="112" y="104"/>
                  </a:lnTo>
                  <a:lnTo>
                    <a:pt x="110" y="104"/>
                  </a:lnTo>
                  <a:lnTo>
                    <a:pt x="110" y="106"/>
                  </a:lnTo>
                  <a:lnTo>
                    <a:pt x="108" y="106"/>
                  </a:lnTo>
                  <a:lnTo>
                    <a:pt x="106" y="106"/>
                  </a:lnTo>
                  <a:lnTo>
                    <a:pt x="108" y="106"/>
                  </a:lnTo>
                  <a:lnTo>
                    <a:pt x="106" y="106"/>
                  </a:lnTo>
                  <a:lnTo>
                    <a:pt x="108" y="108"/>
                  </a:lnTo>
                  <a:lnTo>
                    <a:pt x="108" y="106"/>
                  </a:lnTo>
                  <a:lnTo>
                    <a:pt x="110" y="106"/>
                  </a:lnTo>
                  <a:lnTo>
                    <a:pt x="108" y="108"/>
                  </a:lnTo>
                  <a:lnTo>
                    <a:pt x="110" y="108"/>
                  </a:lnTo>
                  <a:lnTo>
                    <a:pt x="108" y="110"/>
                  </a:lnTo>
                  <a:lnTo>
                    <a:pt x="106" y="112"/>
                  </a:lnTo>
                  <a:lnTo>
                    <a:pt x="106" y="114"/>
                  </a:lnTo>
                  <a:lnTo>
                    <a:pt x="104" y="114"/>
                  </a:lnTo>
                  <a:lnTo>
                    <a:pt x="106" y="114"/>
                  </a:lnTo>
                  <a:lnTo>
                    <a:pt x="108" y="112"/>
                  </a:lnTo>
                  <a:lnTo>
                    <a:pt x="108" y="114"/>
                  </a:lnTo>
                  <a:lnTo>
                    <a:pt x="108" y="116"/>
                  </a:lnTo>
                  <a:lnTo>
                    <a:pt x="106" y="116"/>
                  </a:lnTo>
                  <a:lnTo>
                    <a:pt x="106" y="117"/>
                  </a:lnTo>
                  <a:lnTo>
                    <a:pt x="104" y="117"/>
                  </a:lnTo>
                  <a:lnTo>
                    <a:pt x="104" y="119"/>
                  </a:lnTo>
                  <a:lnTo>
                    <a:pt x="102" y="119"/>
                  </a:lnTo>
                  <a:lnTo>
                    <a:pt x="104" y="121"/>
                  </a:lnTo>
                  <a:lnTo>
                    <a:pt x="104" y="119"/>
                  </a:lnTo>
                  <a:lnTo>
                    <a:pt x="106" y="119"/>
                  </a:lnTo>
                  <a:lnTo>
                    <a:pt x="106" y="117"/>
                  </a:lnTo>
                  <a:lnTo>
                    <a:pt x="108" y="117"/>
                  </a:lnTo>
                  <a:lnTo>
                    <a:pt x="110" y="116"/>
                  </a:lnTo>
                  <a:lnTo>
                    <a:pt x="110" y="114"/>
                  </a:lnTo>
                  <a:lnTo>
                    <a:pt x="108" y="114"/>
                  </a:lnTo>
                  <a:lnTo>
                    <a:pt x="108" y="112"/>
                  </a:lnTo>
                  <a:lnTo>
                    <a:pt x="110" y="112"/>
                  </a:lnTo>
                  <a:lnTo>
                    <a:pt x="110" y="110"/>
                  </a:lnTo>
                  <a:lnTo>
                    <a:pt x="112" y="110"/>
                  </a:lnTo>
                  <a:lnTo>
                    <a:pt x="112" y="108"/>
                  </a:lnTo>
                  <a:lnTo>
                    <a:pt x="110" y="108"/>
                  </a:lnTo>
                  <a:lnTo>
                    <a:pt x="112" y="106"/>
                  </a:lnTo>
                  <a:lnTo>
                    <a:pt x="113" y="104"/>
                  </a:lnTo>
                  <a:lnTo>
                    <a:pt x="113" y="106"/>
                  </a:lnTo>
                  <a:lnTo>
                    <a:pt x="115" y="106"/>
                  </a:lnTo>
                  <a:lnTo>
                    <a:pt x="115" y="104"/>
                  </a:lnTo>
                  <a:lnTo>
                    <a:pt x="117" y="104"/>
                  </a:lnTo>
                  <a:lnTo>
                    <a:pt x="117" y="102"/>
                  </a:lnTo>
                  <a:lnTo>
                    <a:pt x="119" y="102"/>
                  </a:lnTo>
                  <a:lnTo>
                    <a:pt x="119" y="100"/>
                  </a:lnTo>
                  <a:lnTo>
                    <a:pt x="121" y="100"/>
                  </a:lnTo>
                  <a:lnTo>
                    <a:pt x="121" y="98"/>
                  </a:lnTo>
                  <a:lnTo>
                    <a:pt x="121" y="100"/>
                  </a:lnTo>
                  <a:lnTo>
                    <a:pt x="123" y="100"/>
                  </a:lnTo>
                  <a:lnTo>
                    <a:pt x="123" y="102"/>
                  </a:lnTo>
                  <a:lnTo>
                    <a:pt x="123" y="100"/>
                  </a:lnTo>
                  <a:lnTo>
                    <a:pt x="121" y="98"/>
                  </a:lnTo>
                  <a:lnTo>
                    <a:pt x="123" y="96"/>
                  </a:lnTo>
                  <a:lnTo>
                    <a:pt x="125" y="96"/>
                  </a:lnTo>
                  <a:lnTo>
                    <a:pt x="125" y="98"/>
                  </a:lnTo>
                  <a:lnTo>
                    <a:pt x="125" y="100"/>
                  </a:lnTo>
                  <a:lnTo>
                    <a:pt x="123" y="100"/>
                  </a:lnTo>
                  <a:lnTo>
                    <a:pt x="123" y="102"/>
                  </a:lnTo>
                  <a:lnTo>
                    <a:pt x="125" y="102"/>
                  </a:lnTo>
                  <a:lnTo>
                    <a:pt x="125" y="104"/>
                  </a:lnTo>
                  <a:lnTo>
                    <a:pt x="125" y="102"/>
                  </a:lnTo>
                  <a:lnTo>
                    <a:pt x="125" y="100"/>
                  </a:lnTo>
                  <a:lnTo>
                    <a:pt x="127" y="100"/>
                  </a:lnTo>
                  <a:lnTo>
                    <a:pt x="129" y="98"/>
                  </a:lnTo>
                  <a:lnTo>
                    <a:pt x="129" y="100"/>
                  </a:lnTo>
                  <a:lnTo>
                    <a:pt x="127" y="102"/>
                  </a:lnTo>
                  <a:lnTo>
                    <a:pt x="129" y="102"/>
                  </a:lnTo>
                  <a:lnTo>
                    <a:pt x="129" y="100"/>
                  </a:lnTo>
                  <a:lnTo>
                    <a:pt x="129" y="102"/>
                  </a:lnTo>
                  <a:lnTo>
                    <a:pt x="129" y="104"/>
                  </a:lnTo>
                  <a:lnTo>
                    <a:pt x="129" y="102"/>
                  </a:lnTo>
                  <a:lnTo>
                    <a:pt x="131" y="102"/>
                  </a:lnTo>
                  <a:lnTo>
                    <a:pt x="129" y="102"/>
                  </a:lnTo>
                  <a:lnTo>
                    <a:pt x="131" y="102"/>
                  </a:lnTo>
                  <a:lnTo>
                    <a:pt x="131" y="100"/>
                  </a:lnTo>
                  <a:lnTo>
                    <a:pt x="131" y="102"/>
                  </a:lnTo>
                  <a:lnTo>
                    <a:pt x="133" y="102"/>
                  </a:lnTo>
                  <a:lnTo>
                    <a:pt x="133" y="104"/>
                  </a:lnTo>
                  <a:lnTo>
                    <a:pt x="131" y="104"/>
                  </a:lnTo>
                  <a:lnTo>
                    <a:pt x="131" y="106"/>
                  </a:lnTo>
                  <a:lnTo>
                    <a:pt x="129" y="106"/>
                  </a:lnTo>
                  <a:lnTo>
                    <a:pt x="127" y="108"/>
                  </a:lnTo>
                  <a:lnTo>
                    <a:pt x="125" y="108"/>
                  </a:lnTo>
                  <a:lnTo>
                    <a:pt x="125" y="110"/>
                  </a:lnTo>
                  <a:lnTo>
                    <a:pt x="125" y="112"/>
                  </a:lnTo>
                  <a:lnTo>
                    <a:pt x="123" y="112"/>
                  </a:lnTo>
                  <a:lnTo>
                    <a:pt x="125" y="114"/>
                  </a:lnTo>
                  <a:lnTo>
                    <a:pt x="125" y="112"/>
                  </a:lnTo>
                  <a:lnTo>
                    <a:pt x="127" y="110"/>
                  </a:lnTo>
                  <a:lnTo>
                    <a:pt x="127" y="108"/>
                  </a:lnTo>
                  <a:lnTo>
                    <a:pt x="129" y="108"/>
                  </a:lnTo>
                  <a:lnTo>
                    <a:pt x="131" y="108"/>
                  </a:lnTo>
                  <a:lnTo>
                    <a:pt x="131" y="110"/>
                  </a:lnTo>
                  <a:lnTo>
                    <a:pt x="133" y="110"/>
                  </a:lnTo>
                  <a:lnTo>
                    <a:pt x="133" y="112"/>
                  </a:lnTo>
                  <a:lnTo>
                    <a:pt x="133" y="114"/>
                  </a:lnTo>
                  <a:lnTo>
                    <a:pt x="135" y="114"/>
                  </a:lnTo>
                  <a:lnTo>
                    <a:pt x="135" y="112"/>
                  </a:lnTo>
                  <a:lnTo>
                    <a:pt x="133" y="112"/>
                  </a:lnTo>
                  <a:lnTo>
                    <a:pt x="133" y="110"/>
                  </a:lnTo>
                  <a:lnTo>
                    <a:pt x="133" y="108"/>
                  </a:lnTo>
                  <a:lnTo>
                    <a:pt x="133" y="106"/>
                  </a:lnTo>
                  <a:lnTo>
                    <a:pt x="133" y="108"/>
                  </a:lnTo>
                  <a:lnTo>
                    <a:pt x="135" y="108"/>
                  </a:lnTo>
                  <a:lnTo>
                    <a:pt x="135" y="110"/>
                  </a:lnTo>
                  <a:lnTo>
                    <a:pt x="137" y="110"/>
                  </a:lnTo>
                  <a:lnTo>
                    <a:pt x="135" y="108"/>
                  </a:lnTo>
                  <a:lnTo>
                    <a:pt x="135" y="106"/>
                  </a:lnTo>
                  <a:lnTo>
                    <a:pt x="137" y="106"/>
                  </a:lnTo>
                  <a:lnTo>
                    <a:pt x="137" y="108"/>
                  </a:lnTo>
                  <a:lnTo>
                    <a:pt x="138" y="108"/>
                  </a:lnTo>
                  <a:lnTo>
                    <a:pt x="138" y="106"/>
                  </a:lnTo>
                  <a:lnTo>
                    <a:pt x="138" y="104"/>
                  </a:lnTo>
                  <a:lnTo>
                    <a:pt x="138" y="102"/>
                  </a:lnTo>
                  <a:lnTo>
                    <a:pt x="138" y="104"/>
                  </a:lnTo>
                  <a:lnTo>
                    <a:pt x="140" y="104"/>
                  </a:lnTo>
                  <a:lnTo>
                    <a:pt x="142" y="104"/>
                  </a:lnTo>
                  <a:lnTo>
                    <a:pt x="142" y="106"/>
                  </a:lnTo>
                  <a:lnTo>
                    <a:pt x="142" y="108"/>
                  </a:lnTo>
                  <a:lnTo>
                    <a:pt x="144" y="108"/>
                  </a:lnTo>
                  <a:lnTo>
                    <a:pt x="144" y="106"/>
                  </a:lnTo>
                  <a:lnTo>
                    <a:pt x="144" y="104"/>
                  </a:lnTo>
                  <a:lnTo>
                    <a:pt x="146" y="104"/>
                  </a:lnTo>
                  <a:lnTo>
                    <a:pt x="146" y="106"/>
                  </a:lnTo>
                  <a:lnTo>
                    <a:pt x="148" y="106"/>
                  </a:lnTo>
                  <a:lnTo>
                    <a:pt x="148" y="104"/>
                  </a:lnTo>
                  <a:lnTo>
                    <a:pt x="150" y="106"/>
                  </a:lnTo>
                  <a:lnTo>
                    <a:pt x="150" y="108"/>
                  </a:lnTo>
                  <a:lnTo>
                    <a:pt x="150" y="110"/>
                  </a:lnTo>
                  <a:lnTo>
                    <a:pt x="150" y="112"/>
                  </a:lnTo>
                  <a:lnTo>
                    <a:pt x="148" y="110"/>
                  </a:lnTo>
                  <a:lnTo>
                    <a:pt x="146" y="110"/>
                  </a:lnTo>
                  <a:lnTo>
                    <a:pt x="144" y="110"/>
                  </a:lnTo>
                  <a:lnTo>
                    <a:pt x="144" y="112"/>
                  </a:lnTo>
                  <a:lnTo>
                    <a:pt x="146" y="112"/>
                  </a:lnTo>
                  <a:lnTo>
                    <a:pt x="144" y="112"/>
                  </a:lnTo>
                  <a:lnTo>
                    <a:pt x="142" y="112"/>
                  </a:lnTo>
                  <a:lnTo>
                    <a:pt x="142" y="110"/>
                  </a:lnTo>
                  <a:lnTo>
                    <a:pt x="142" y="108"/>
                  </a:lnTo>
                  <a:lnTo>
                    <a:pt x="142" y="110"/>
                  </a:lnTo>
                  <a:lnTo>
                    <a:pt x="142" y="112"/>
                  </a:lnTo>
                  <a:lnTo>
                    <a:pt x="144" y="112"/>
                  </a:lnTo>
                  <a:lnTo>
                    <a:pt x="144" y="114"/>
                  </a:lnTo>
                  <a:lnTo>
                    <a:pt x="146" y="112"/>
                  </a:lnTo>
                  <a:lnTo>
                    <a:pt x="148" y="112"/>
                  </a:lnTo>
                  <a:lnTo>
                    <a:pt x="150" y="112"/>
                  </a:lnTo>
                  <a:lnTo>
                    <a:pt x="150" y="114"/>
                  </a:lnTo>
                  <a:lnTo>
                    <a:pt x="148" y="114"/>
                  </a:lnTo>
                  <a:lnTo>
                    <a:pt x="150" y="114"/>
                  </a:lnTo>
                  <a:lnTo>
                    <a:pt x="148" y="114"/>
                  </a:lnTo>
                  <a:lnTo>
                    <a:pt x="150" y="114"/>
                  </a:lnTo>
                  <a:lnTo>
                    <a:pt x="152" y="114"/>
                  </a:lnTo>
                  <a:lnTo>
                    <a:pt x="152" y="116"/>
                  </a:lnTo>
                  <a:lnTo>
                    <a:pt x="150" y="116"/>
                  </a:lnTo>
                  <a:lnTo>
                    <a:pt x="152" y="116"/>
                  </a:lnTo>
                  <a:lnTo>
                    <a:pt x="154" y="117"/>
                  </a:lnTo>
                  <a:lnTo>
                    <a:pt x="154" y="116"/>
                  </a:lnTo>
                  <a:lnTo>
                    <a:pt x="154" y="117"/>
                  </a:lnTo>
                  <a:lnTo>
                    <a:pt x="156" y="117"/>
                  </a:lnTo>
                  <a:lnTo>
                    <a:pt x="154" y="117"/>
                  </a:lnTo>
                  <a:lnTo>
                    <a:pt x="156" y="117"/>
                  </a:lnTo>
                  <a:lnTo>
                    <a:pt x="156" y="119"/>
                  </a:lnTo>
                  <a:lnTo>
                    <a:pt x="154" y="119"/>
                  </a:lnTo>
                  <a:lnTo>
                    <a:pt x="154" y="121"/>
                  </a:lnTo>
                  <a:lnTo>
                    <a:pt x="152" y="121"/>
                  </a:lnTo>
                  <a:lnTo>
                    <a:pt x="154" y="121"/>
                  </a:lnTo>
                  <a:lnTo>
                    <a:pt x="152" y="121"/>
                  </a:lnTo>
                  <a:lnTo>
                    <a:pt x="152" y="123"/>
                  </a:lnTo>
                  <a:lnTo>
                    <a:pt x="150" y="123"/>
                  </a:lnTo>
                  <a:lnTo>
                    <a:pt x="152" y="123"/>
                  </a:lnTo>
                  <a:lnTo>
                    <a:pt x="152" y="125"/>
                  </a:lnTo>
                  <a:lnTo>
                    <a:pt x="152" y="127"/>
                  </a:lnTo>
                  <a:lnTo>
                    <a:pt x="150" y="129"/>
                  </a:lnTo>
                  <a:lnTo>
                    <a:pt x="150" y="127"/>
                  </a:lnTo>
                  <a:lnTo>
                    <a:pt x="148" y="127"/>
                  </a:lnTo>
                  <a:lnTo>
                    <a:pt x="146" y="129"/>
                  </a:lnTo>
                  <a:lnTo>
                    <a:pt x="148" y="129"/>
                  </a:lnTo>
                  <a:lnTo>
                    <a:pt x="146" y="131"/>
                  </a:lnTo>
                  <a:lnTo>
                    <a:pt x="146" y="133"/>
                  </a:lnTo>
                  <a:lnTo>
                    <a:pt x="148" y="133"/>
                  </a:lnTo>
                  <a:lnTo>
                    <a:pt x="148" y="135"/>
                  </a:lnTo>
                  <a:lnTo>
                    <a:pt x="146" y="135"/>
                  </a:lnTo>
                  <a:lnTo>
                    <a:pt x="144" y="135"/>
                  </a:lnTo>
                  <a:lnTo>
                    <a:pt x="142" y="135"/>
                  </a:lnTo>
                  <a:lnTo>
                    <a:pt x="140" y="135"/>
                  </a:lnTo>
                  <a:lnTo>
                    <a:pt x="138" y="135"/>
                  </a:lnTo>
                  <a:lnTo>
                    <a:pt x="140" y="135"/>
                  </a:lnTo>
                  <a:lnTo>
                    <a:pt x="140" y="137"/>
                  </a:lnTo>
                  <a:lnTo>
                    <a:pt x="140" y="135"/>
                  </a:lnTo>
                  <a:lnTo>
                    <a:pt x="142" y="135"/>
                  </a:lnTo>
                  <a:lnTo>
                    <a:pt x="142" y="137"/>
                  </a:lnTo>
                  <a:lnTo>
                    <a:pt x="144" y="137"/>
                  </a:lnTo>
                  <a:lnTo>
                    <a:pt x="146" y="137"/>
                  </a:lnTo>
                  <a:lnTo>
                    <a:pt x="148" y="137"/>
                  </a:lnTo>
                  <a:lnTo>
                    <a:pt x="150" y="135"/>
                  </a:lnTo>
                  <a:lnTo>
                    <a:pt x="150" y="133"/>
                  </a:lnTo>
                  <a:lnTo>
                    <a:pt x="152" y="133"/>
                  </a:lnTo>
                  <a:lnTo>
                    <a:pt x="152" y="131"/>
                  </a:lnTo>
                  <a:lnTo>
                    <a:pt x="154" y="131"/>
                  </a:lnTo>
                  <a:lnTo>
                    <a:pt x="156" y="131"/>
                  </a:lnTo>
                  <a:lnTo>
                    <a:pt x="158" y="131"/>
                  </a:lnTo>
                  <a:lnTo>
                    <a:pt x="160" y="131"/>
                  </a:lnTo>
                  <a:lnTo>
                    <a:pt x="161" y="131"/>
                  </a:lnTo>
                  <a:lnTo>
                    <a:pt x="163" y="131"/>
                  </a:lnTo>
                  <a:lnTo>
                    <a:pt x="161" y="131"/>
                  </a:lnTo>
                  <a:lnTo>
                    <a:pt x="163" y="131"/>
                  </a:lnTo>
                  <a:lnTo>
                    <a:pt x="165" y="131"/>
                  </a:lnTo>
                  <a:lnTo>
                    <a:pt x="165" y="133"/>
                  </a:lnTo>
                  <a:lnTo>
                    <a:pt x="163" y="133"/>
                  </a:lnTo>
                  <a:lnTo>
                    <a:pt x="161" y="133"/>
                  </a:lnTo>
                  <a:lnTo>
                    <a:pt x="163" y="135"/>
                  </a:lnTo>
                  <a:lnTo>
                    <a:pt x="163" y="133"/>
                  </a:lnTo>
                  <a:lnTo>
                    <a:pt x="165" y="135"/>
                  </a:lnTo>
                  <a:lnTo>
                    <a:pt x="163" y="135"/>
                  </a:lnTo>
                  <a:lnTo>
                    <a:pt x="165" y="137"/>
                  </a:lnTo>
                  <a:lnTo>
                    <a:pt x="165" y="139"/>
                  </a:lnTo>
                  <a:lnTo>
                    <a:pt x="165" y="140"/>
                  </a:lnTo>
                  <a:lnTo>
                    <a:pt x="163" y="140"/>
                  </a:lnTo>
                  <a:lnTo>
                    <a:pt x="161" y="140"/>
                  </a:lnTo>
                  <a:lnTo>
                    <a:pt x="163" y="142"/>
                  </a:lnTo>
                  <a:lnTo>
                    <a:pt x="163" y="140"/>
                  </a:lnTo>
                  <a:lnTo>
                    <a:pt x="165" y="140"/>
                  </a:lnTo>
                  <a:lnTo>
                    <a:pt x="165" y="142"/>
                  </a:lnTo>
                  <a:lnTo>
                    <a:pt x="163" y="142"/>
                  </a:lnTo>
                  <a:lnTo>
                    <a:pt x="165" y="142"/>
                  </a:lnTo>
                  <a:lnTo>
                    <a:pt x="167" y="140"/>
                  </a:lnTo>
                  <a:lnTo>
                    <a:pt x="167" y="142"/>
                  </a:lnTo>
                  <a:lnTo>
                    <a:pt x="169" y="142"/>
                  </a:lnTo>
                  <a:lnTo>
                    <a:pt x="169" y="144"/>
                  </a:lnTo>
                  <a:lnTo>
                    <a:pt x="169" y="142"/>
                  </a:lnTo>
                  <a:lnTo>
                    <a:pt x="171" y="142"/>
                  </a:lnTo>
                  <a:lnTo>
                    <a:pt x="171" y="140"/>
                  </a:lnTo>
                  <a:lnTo>
                    <a:pt x="171" y="142"/>
                  </a:lnTo>
                  <a:lnTo>
                    <a:pt x="173" y="142"/>
                  </a:lnTo>
                  <a:lnTo>
                    <a:pt x="173" y="140"/>
                  </a:lnTo>
                  <a:lnTo>
                    <a:pt x="173" y="139"/>
                  </a:lnTo>
                  <a:lnTo>
                    <a:pt x="173" y="137"/>
                  </a:lnTo>
                  <a:lnTo>
                    <a:pt x="175" y="137"/>
                  </a:lnTo>
                  <a:lnTo>
                    <a:pt x="175" y="139"/>
                  </a:lnTo>
                  <a:lnTo>
                    <a:pt x="175" y="140"/>
                  </a:lnTo>
                  <a:lnTo>
                    <a:pt x="173" y="140"/>
                  </a:lnTo>
                  <a:lnTo>
                    <a:pt x="173" y="142"/>
                  </a:lnTo>
                  <a:lnTo>
                    <a:pt x="175" y="142"/>
                  </a:lnTo>
                  <a:lnTo>
                    <a:pt x="175" y="140"/>
                  </a:lnTo>
                  <a:lnTo>
                    <a:pt x="177" y="140"/>
                  </a:lnTo>
                  <a:lnTo>
                    <a:pt x="177" y="139"/>
                  </a:lnTo>
                  <a:lnTo>
                    <a:pt x="179" y="139"/>
                  </a:lnTo>
                  <a:lnTo>
                    <a:pt x="181" y="139"/>
                  </a:lnTo>
                  <a:lnTo>
                    <a:pt x="183" y="139"/>
                  </a:lnTo>
                  <a:lnTo>
                    <a:pt x="183" y="137"/>
                  </a:lnTo>
                  <a:lnTo>
                    <a:pt x="185" y="139"/>
                  </a:lnTo>
                  <a:lnTo>
                    <a:pt x="186" y="139"/>
                  </a:lnTo>
                  <a:lnTo>
                    <a:pt x="186" y="140"/>
                  </a:lnTo>
                  <a:lnTo>
                    <a:pt x="186" y="142"/>
                  </a:lnTo>
                  <a:lnTo>
                    <a:pt x="188" y="142"/>
                  </a:lnTo>
                  <a:lnTo>
                    <a:pt x="188" y="144"/>
                  </a:lnTo>
                  <a:lnTo>
                    <a:pt x="188" y="146"/>
                  </a:lnTo>
                  <a:lnTo>
                    <a:pt x="188" y="144"/>
                  </a:lnTo>
                  <a:lnTo>
                    <a:pt x="190" y="144"/>
                  </a:lnTo>
                  <a:lnTo>
                    <a:pt x="190" y="146"/>
                  </a:lnTo>
                  <a:lnTo>
                    <a:pt x="190" y="148"/>
                  </a:lnTo>
                  <a:lnTo>
                    <a:pt x="190" y="146"/>
                  </a:lnTo>
                  <a:lnTo>
                    <a:pt x="188" y="146"/>
                  </a:lnTo>
                  <a:lnTo>
                    <a:pt x="188" y="148"/>
                  </a:lnTo>
                  <a:lnTo>
                    <a:pt x="186" y="148"/>
                  </a:lnTo>
                  <a:lnTo>
                    <a:pt x="185" y="148"/>
                  </a:lnTo>
                  <a:lnTo>
                    <a:pt x="185" y="150"/>
                  </a:lnTo>
                  <a:lnTo>
                    <a:pt x="185" y="152"/>
                  </a:lnTo>
                  <a:lnTo>
                    <a:pt x="185" y="154"/>
                  </a:lnTo>
                  <a:lnTo>
                    <a:pt x="185" y="156"/>
                  </a:lnTo>
                  <a:lnTo>
                    <a:pt x="185" y="158"/>
                  </a:lnTo>
                  <a:lnTo>
                    <a:pt x="185" y="160"/>
                  </a:lnTo>
                  <a:lnTo>
                    <a:pt x="186" y="160"/>
                  </a:lnTo>
                  <a:lnTo>
                    <a:pt x="185" y="160"/>
                  </a:lnTo>
                  <a:lnTo>
                    <a:pt x="185" y="162"/>
                  </a:lnTo>
                  <a:lnTo>
                    <a:pt x="183" y="162"/>
                  </a:lnTo>
                  <a:lnTo>
                    <a:pt x="183" y="164"/>
                  </a:lnTo>
                  <a:lnTo>
                    <a:pt x="181" y="164"/>
                  </a:lnTo>
                  <a:lnTo>
                    <a:pt x="179" y="164"/>
                  </a:lnTo>
                  <a:lnTo>
                    <a:pt x="177" y="164"/>
                  </a:lnTo>
                  <a:lnTo>
                    <a:pt x="179" y="165"/>
                  </a:lnTo>
                  <a:lnTo>
                    <a:pt x="179" y="167"/>
                  </a:lnTo>
                  <a:lnTo>
                    <a:pt x="179" y="165"/>
                  </a:lnTo>
                  <a:lnTo>
                    <a:pt x="181" y="165"/>
                  </a:lnTo>
                  <a:lnTo>
                    <a:pt x="181" y="167"/>
                  </a:lnTo>
                  <a:lnTo>
                    <a:pt x="181" y="169"/>
                  </a:lnTo>
                  <a:lnTo>
                    <a:pt x="181" y="167"/>
                  </a:lnTo>
                  <a:lnTo>
                    <a:pt x="181" y="165"/>
                  </a:lnTo>
                  <a:lnTo>
                    <a:pt x="183" y="165"/>
                  </a:lnTo>
                  <a:lnTo>
                    <a:pt x="183" y="164"/>
                  </a:lnTo>
                  <a:lnTo>
                    <a:pt x="185" y="164"/>
                  </a:lnTo>
                  <a:lnTo>
                    <a:pt x="186" y="165"/>
                  </a:lnTo>
                  <a:lnTo>
                    <a:pt x="185" y="165"/>
                  </a:lnTo>
                  <a:lnTo>
                    <a:pt x="186" y="165"/>
                  </a:lnTo>
                  <a:lnTo>
                    <a:pt x="186" y="167"/>
                  </a:lnTo>
                  <a:lnTo>
                    <a:pt x="185" y="167"/>
                  </a:lnTo>
                  <a:lnTo>
                    <a:pt x="183" y="167"/>
                  </a:lnTo>
                  <a:lnTo>
                    <a:pt x="185" y="167"/>
                  </a:lnTo>
                  <a:lnTo>
                    <a:pt x="185" y="169"/>
                  </a:lnTo>
                  <a:lnTo>
                    <a:pt x="185" y="167"/>
                  </a:lnTo>
                  <a:lnTo>
                    <a:pt x="186" y="167"/>
                  </a:lnTo>
                  <a:lnTo>
                    <a:pt x="186" y="169"/>
                  </a:lnTo>
                  <a:lnTo>
                    <a:pt x="185" y="169"/>
                  </a:lnTo>
                  <a:lnTo>
                    <a:pt x="185" y="171"/>
                  </a:lnTo>
                  <a:lnTo>
                    <a:pt x="186" y="171"/>
                  </a:lnTo>
                  <a:lnTo>
                    <a:pt x="186" y="169"/>
                  </a:lnTo>
                  <a:lnTo>
                    <a:pt x="186" y="171"/>
                  </a:lnTo>
                  <a:lnTo>
                    <a:pt x="186" y="169"/>
                  </a:lnTo>
                  <a:lnTo>
                    <a:pt x="186" y="167"/>
                  </a:lnTo>
                  <a:lnTo>
                    <a:pt x="186" y="169"/>
                  </a:lnTo>
                  <a:lnTo>
                    <a:pt x="188" y="169"/>
                  </a:lnTo>
                  <a:lnTo>
                    <a:pt x="190" y="167"/>
                  </a:lnTo>
                  <a:lnTo>
                    <a:pt x="190" y="169"/>
                  </a:lnTo>
                  <a:lnTo>
                    <a:pt x="190" y="171"/>
                  </a:lnTo>
                  <a:lnTo>
                    <a:pt x="188" y="171"/>
                  </a:lnTo>
                  <a:lnTo>
                    <a:pt x="186" y="171"/>
                  </a:lnTo>
                  <a:lnTo>
                    <a:pt x="185" y="171"/>
                  </a:lnTo>
                  <a:lnTo>
                    <a:pt x="185" y="173"/>
                  </a:lnTo>
                  <a:lnTo>
                    <a:pt x="183" y="173"/>
                  </a:lnTo>
                  <a:lnTo>
                    <a:pt x="181" y="173"/>
                  </a:lnTo>
                  <a:lnTo>
                    <a:pt x="181" y="171"/>
                  </a:lnTo>
                  <a:lnTo>
                    <a:pt x="183" y="171"/>
                  </a:lnTo>
                  <a:lnTo>
                    <a:pt x="181" y="171"/>
                  </a:lnTo>
                  <a:lnTo>
                    <a:pt x="179" y="173"/>
                  </a:lnTo>
                  <a:lnTo>
                    <a:pt x="177" y="173"/>
                  </a:lnTo>
                  <a:lnTo>
                    <a:pt x="175" y="173"/>
                  </a:lnTo>
                  <a:lnTo>
                    <a:pt x="173" y="173"/>
                  </a:lnTo>
                  <a:lnTo>
                    <a:pt x="171" y="173"/>
                  </a:lnTo>
                  <a:lnTo>
                    <a:pt x="171" y="175"/>
                  </a:lnTo>
                  <a:lnTo>
                    <a:pt x="169" y="175"/>
                  </a:lnTo>
                  <a:lnTo>
                    <a:pt x="169" y="173"/>
                  </a:lnTo>
                  <a:lnTo>
                    <a:pt x="169" y="175"/>
                  </a:lnTo>
                  <a:lnTo>
                    <a:pt x="167" y="175"/>
                  </a:lnTo>
                  <a:lnTo>
                    <a:pt x="167" y="173"/>
                  </a:lnTo>
                  <a:lnTo>
                    <a:pt x="165" y="175"/>
                  </a:lnTo>
                  <a:lnTo>
                    <a:pt x="163" y="175"/>
                  </a:lnTo>
                  <a:lnTo>
                    <a:pt x="161" y="175"/>
                  </a:lnTo>
                  <a:lnTo>
                    <a:pt x="163" y="175"/>
                  </a:lnTo>
                  <a:lnTo>
                    <a:pt x="165" y="175"/>
                  </a:lnTo>
                  <a:lnTo>
                    <a:pt x="167" y="175"/>
                  </a:lnTo>
                  <a:lnTo>
                    <a:pt x="169" y="175"/>
                  </a:lnTo>
                  <a:lnTo>
                    <a:pt x="171" y="175"/>
                  </a:lnTo>
                  <a:lnTo>
                    <a:pt x="173" y="175"/>
                  </a:lnTo>
                  <a:lnTo>
                    <a:pt x="175" y="175"/>
                  </a:lnTo>
                  <a:lnTo>
                    <a:pt x="177" y="175"/>
                  </a:lnTo>
                  <a:lnTo>
                    <a:pt x="175" y="175"/>
                  </a:lnTo>
                  <a:lnTo>
                    <a:pt x="177" y="175"/>
                  </a:lnTo>
                  <a:lnTo>
                    <a:pt x="179" y="175"/>
                  </a:lnTo>
                  <a:lnTo>
                    <a:pt x="181" y="175"/>
                  </a:lnTo>
                  <a:lnTo>
                    <a:pt x="181" y="173"/>
                  </a:lnTo>
                  <a:lnTo>
                    <a:pt x="183" y="173"/>
                  </a:lnTo>
                  <a:lnTo>
                    <a:pt x="183" y="175"/>
                  </a:lnTo>
                  <a:lnTo>
                    <a:pt x="183" y="173"/>
                  </a:lnTo>
                  <a:lnTo>
                    <a:pt x="183" y="175"/>
                  </a:lnTo>
                  <a:lnTo>
                    <a:pt x="181" y="175"/>
                  </a:lnTo>
                  <a:lnTo>
                    <a:pt x="179" y="175"/>
                  </a:lnTo>
                  <a:lnTo>
                    <a:pt x="179" y="177"/>
                  </a:lnTo>
                  <a:lnTo>
                    <a:pt x="177" y="177"/>
                  </a:lnTo>
                  <a:lnTo>
                    <a:pt x="175" y="179"/>
                  </a:lnTo>
                  <a:lnTo>
                    <a:pt x="173" y="179"/>
                  </a:lnTo>
                  <a:lnTo>
                    <a:pt x="175" y="179"/>
                  </a:lnTo>
                  <a:lnTo>
                    <a:pt x="177" y="179"/>
                  </a:lnTo>
                  <a:lnTo>
                    <a:pt x="179" y="177"/>
                  </a:lnTo>
                  <a:lnTo>
                    <a:pt x="181" y="177"/>
                  </a:lnTo>
                  <a:lnTo>
                    <a:pt x="183" y="177"/>
                  </a:lnTo>
                  <a:lnTo>
                    <a:pt x="185" y="177"/>
                  </a:lnTo>
                  <a:lnTo>
                    <a:pt x="185" y="175"/>
                  </a:lnTo>
                  <a:lnTo>
                    <a:pt x="186" y="175"/>
                  </a:lnTo>
                  <a:lnTo>
                    <a:pt x="188" y="175"/>
                  </a:lnTo>
                  <a:lnTo>
                    <a:pt x="190" y="173"/>
                  </a:lnTo>
                  <a:lnTo>
                    <a:pt x="190" y="175"/>
                  </a:lnTo>
                  <a:lnTo>
                    <a:pt x="192" y="175"/>
                  </a:lnTo>
                  <a:lnTo>
                    <a:pt x="194" y="175"/>
                  </a:lnTo>
                  <a:lnTo>
                    <a:pt x="194" y="177"/>
                  </a:lnTo>
                  <a:lnTo>
                    <a:pt x="194" y="175"/>
                  </a:lnTo>
                  <a:lnTo>
                    <a:pt x="194" y="177"/>
                  </a:lnTo>
                  <a:lnTo>
                    <a:pt x="192" y="177"/>
                  </a:lnTo>
                  <a:lnTo>
                    <a:pt x="192" y="179"/>
                  </a:lnTo>
                  <a:lnTo>
                    <a:pt x="190" y="179"/>
                  </a:lnTo>
                  <a:lnTo>
                    <a:pt x="188" y="179"/>
                  </a:lnTo>
                  <a:lnTo>
                    <a:pt x="188" y="181"/>
                  </a:lnTo>
                  <a:lnTo>
                    <a:pt x="186" y="181"/>
                  </a:lnTo>
                  <a:lnTo>
                    <a:pt x="185" y="181"/>
                  </a:lnTo>
                  <a:lnTo>
                    <a:pt x="183" y="181"/>
                  </a:lnTo>
                  <a:lnTo>
                    <a:pt x="185" y="181"/>
                  </a:lnTo>
                  <a:lnTo>
                    <a:pt x="186" y="181"/>
                  </a:lnTo>
                  <a:lnTo>
                    <a:pt x="185" y="181"/>
                  </a:lnTo>
                  <a:lnTo>
                    <a:pt x="185" y="183"/>
                  </a:lnTo>
                  <a:lnTo>
                    <a:pt x="183" y="183"/>
                  </a:lnTo>
                  <a:lnTo>
                    <a:pt x="181" y="183"/>
                  </a:lnTo>
                  <a:lnTo>
                    <a:pt x="181" y="185"/>
                  </a:lnTo>
                  <a:lnTo>
                    <a:pt x="183" y="185"/>
                  </a:lnTo>
                  <a:lnTo>
                    <a:pt x="183" y="183"/>
                  </a:lnTo>
                  <a:lnTo>
                    <a:pt x="185" y="183"/>
                  </a:lnTo>
                  <a:lnTo>
                    <a:pt x="186" y="183"/>
                  </a:lnTo>
                  <a:lnTo>
                    <a:pt x="186" y="185"/>
                  </a:lnTo>
                  <a:lnTo>
                    <a:pt x="185" y="185"/>
                  </a:lnTo>
                  <a:lnTo>
                    <a:pt x="183" y="185"/>
                  </a:lnTo>
                  <a:lnTo>
                    <a:pt x="181" y="187"/>
                  </a:lnTo>
                  <a:lnTo>
                    <a:pt x="179" y="187"/>
                  </a:lnTo>
                  <a:lnTo>
                    <a:pt x="179" y="188"/>
                  </a:lnTo>
                  <a:lnTo>
                    <a:pt x="179" y="187"/>
                  </a:lnTo>
                  <a:lnTo>
                    <a:pt x="181" y="187"/>
                  </a:lnTo>
                  <a:lnTo>
                    <a:pt x="183" y="187"/>
                  </a:lnTo>
                  <a:lnTo>
                    <a:pt x="183" y="188"/>
                  </a:lnTo>
                  <a:lnTo>
                    <a:pt x="183" y="187"/>
                  </a:lnTo>
                  <a:lnTo>
                    <a:pt x="183" y="188"/>
                  </a:lnTo>
                  <a:lnTo>
                    <a:pt x="185" y="188"/>
                  </a:lnTo>
                  <a:lnTo>
                    <a:pt x="185" y="187"/>
                  </a:lnTo>
                  <a:lnTo>
                    <a:pt x="186" y="187"/>
                  </a:lnTo>
                  <a:lnTo>
                    <a:pt x="188" y="185"/>
                  </a:lnTo>
                  <a:lnTo>
                    <a:pt x="186" y="185"/>
                  </a:lnTo>
                  <a:lnTo>
                    <a:pt x="188" y="185"/>
                  </a:lnTo>
                  <a:lnTo>
                    <a:pt x="190" y="185"/>
                  </a:lnTo>
                  <a:lnTo>
                    <a:pt x="192" y="185"/>
                  </a:lnTo>
                  <a:lnTo>
                    <a:pt x="194" y="185"/>
                  </a:lnTo>
                  <a:lnTo>
                    <a:pt x="192" y="185"/>
                  </a:lnTo>
                  <a:lnTo>
                    <a:pt x="192" y="187"/>
                  </a:lnTo>
                  <a:lnTo>
                    <a:pt x="190" y="187"/>
                  </a:lnTo>
                  <a:lnTo>
                    <a:pt x="192" y="187"/>
                  </a:lnTo>
                  <a:lnTo>
                    <a:pt x="194" y="187"/>
                  </a:lnTo>
                  <a:lnTo>
                    <a:pt x="194" y="188"/>
                  </a:lnTo>
                  <a:lnTo>
                    <a:pt x="192" y="188"/>
                  </a:lnTo>
                  <a:lnTo>
                    <a:pt x="190" y="188"/>
                  </a:lnTo>
                  <a:lnTo>
                    <a:pt x="190" y="190"/>
                  </a:lnTo>
                  <a:lnTo>
                    <a:pt x="190" y="188"/>
                  </a:lnTo>
                  <a:lnTo>
                    <a:pt x="192" y="188"/>
                  </a:lnTo>
                  <a:lnTo>
                    <a:pt x="194" y="188"/>
                  </a:lnTo>
                  <a:lnTo>
                    <a:pt x="194" y="187"/>
                  </a:lnTo>
                  <a:lnTo>
                    <a:pt x="196" y="187"/>
                  </a:lnTo>
                  <a:lnTo>
                    <a:pt x="196" y="188"/>
                  </a:lnTo>
                  <a:lnTo>
                    <a:pt x="194" y="188"/>
                  </a:lnTo>
                  <a:lnTo>
                    <a:pt x="196" y="188"/>
                  </a:lnTo>
                  <a:lnTo>
                    <a:pt x="198" y="188"/>
                  </a:lnTo>
                  <a:lnTo>
                    <a:pt x="198" y="187"/>
                  </a:lnTo>
                  <a:lnTo>
                    <a:pt x="200" y="187"/>
                  </a:lnTo>
                  <a:lnTo>
                    <a:pt x="200" y="188"/>
                  </a:lnTo>
                  <a:lnTo>
                    <a:pt x="200" y="187"/>
                  </a:lnTo>
                  <a:lnTo>
                    <a:pt x="202" y="188"/>
                  </a:lnTo>
                  <a:lnTo>
                    <a:pt x="202" y="187"/>
                  </a:lnTo>
                  <a:lnTo>
                    <a:pt x="202" y="188"/>
                  </a:lnTo>
                  <a:lnTo>
                    <a:pt x="198" y="188"/>
                  </a:lnTo>
                  <a:lnTo>
                    <a:pt x="196" y="190"/>
                  </a:lnTo>
                  <a:lnTo>
                    <a:pt x="196" y="188"/>
                  </a:lnTo>
                  <a:lnTo>
                    <a:pt x="196" y="190"/>
                  </a:lnTo>
                  <a:lnTo>
                    <a:pt x="196" y="188"/>
                  </a:lnTo>
                  <a:lnTo>
                    <a:pt x="196" y="190"/>
                  </a:lnTo>
                  <a:lnTo>
                    <a:pt x="198" y="190"/>
                  </a:lnTo>
                  <a:lnTo>
                    <a:pt x="198" y="188"/>
                  </a:lnTo>
                  <a:lnTo>
                    <a:pt x="198" y="190"/>
                  </a:lnTo>
                  <a:lnTo>
                    <a:pt x="200" y="188"/>
                  </a:lnTo>
                  <a:lnTo>
                    <a:pt x="200" y="190"/>
                  </a:lnTo>
                  <a:lnTo>
                    <a:pt x="200" y="188"/>
                  </a:lnTo>
                  <a:lnTo>
                    <a:pt x="200" y="190"/>
                  </a:lnTo>
                  <a:lnTo>
                    <a:pt x="200" y="192"/>
                  </a:lnTo>
                  <a:lnTo>
                    <a:pt x="198" y="192"/>
                  </a:lnTo>
                  <a:lnTo>
                    <a:pt x="196" y="192"/>
                  </a:lnTo>
                  <a:lnTo>
                    <a:pt x="194" y="192"/>
                  </a:lnTo>
                  <a:lnTo>
                    <a:pt x="196" y="192"/>
                  </a:lnTo>
                  <a:lnTo>
                    <a:pt x="198" y="192"/>
                  </a:lnTo>
                  <a:lnTo>
                    <a:pt x="196" y="192"/>
                  </a:lnTo>
                  <a:lnTo>
                    <a:pt x="196" y="190"/>
                  </a:lnTo>
                  <a:lnTo>
                    <a:pt x="198" y="190"/>
                  </a:lnTo>
                  <a:lnTo>
                    <a:pt x="196" y="190"/>
                  </a:lnTo>
                  <a:lnTo>
                    <a:pt x="194" y="192"/>
                  </a:lnTo>
                  <a:lnTo>
                    <a:pt x="192" y="192"/>
                  </a:lnTo>
                  <a:lnTo>
                    <a:pt x="192" y="194"/>
                  </a:lnTo>
                  <a:lnTo>
                    <a:pt x="190" y="194"/>
                  </a:lnTo>
                  <a:lnTo>
                    <a:pt x="188" y="194"/>
                  </a:lnTo>
                  <a:lnTo>
                    <a:pt x="186" y="194"/>
                  </a:lnTo>
                  <a:lnTo>
                    <a:pt x="188" y="194"/>
                  </a:lnTo>
                  <a:lnTo>
                    <a:pt x="188" y="196"/>
                  </a:lnTo>
                  <a:lnTo>
                    <a:pt x="190" y="196"/>
                  </a:lnTo>
                  <a:lnTo>
                    <a:pt x="192" y="196"/>
                  </a:lnTo>
                  <a:lnTo>
                    <a:pt x="190" y="196"/>
                  </a:lnTo>
                  <a:lnTo>
                    <a:pt x="190" y="198"/>
                  </a:lnTo>
                  <a:lnTo>
                    <a:pt x="192" y="198"/>
                  </a:lnTo>
                  <a:lnTo>
                    <a:pt x="192" y="196"/>
                  </a:lnTo>
                  <a:lnTo>
                    <a:pt x="194" y="196"/>
                  </a:lnTo>
                  <a:lnTo>
                    <a:pt x="194" y="194"/>
                  </a:lnTo>
                  <a:lnTo>
                    <a:pt x="196" y="194"/>
                  </a:lnTo>
                  <a:lnTo>
                    <a:pt x="196" y="196"/>
                  </a:lnTo>
                  <a:lnTo>
                    <a:pt x="194" y="196"/>
                  </a:lnTo>
                  <a:lnTo>
                    <a:pt x="196" y="196"/>
                  </a:lnTo>
                  <a:lnTo>
                    <a:pt x="198" y="194"/>
                  </a:lnTo>
                  <a:lnTo>
                    <a:pt x="198" y="196"/>
                  </a:lnTo>
                  <a:lnTo>
                    <a:pt x="200" y="196"/>
                  </a:lnTo>
                  <a:lnTo>
                    <a:pt x="200" y="194"/>
                  </a:lnTo>
                  <a:lnTo>
                    <a:pt x="202" y="196"/>
                  </a:lnTo>
                  <a:lnTo>
                    <a:pt x="200" y="196"/>
                  </a:lnTo>
                  <a:lnTo>
                    <a:pt x="202" y="196"/>
                  </a:lnTo>
                  <a:lnTo>
                    <a:pt x="202" y="194"/>
                  </a:lnTo>
                  <a:lnTo>
                    <a:pt x="200" y="192"/>
                  </a:lnTo>
                  <a:lnTo>
                    <a:pt x="202" y="192"/>
                  </a:lnTo>
                  <a:lnTo>
                    <a:pt x="204" y="190"/>
                  </a:lnTo>
                  <a:lnTo>
                    <a:pt x="204" y="192"/>
                  </a:lnTo>
                  <a:lnTo>
                    <a:pt x="206" y="192"/>
                  </a:lnTo>
                  <a:lnTo>
                    <a:pt x="208" y="190"/>
                  </a:lnTo>
                  <a:lnTo>
                    <a:pt x="208" y="188"/>
                  </a:lnTo>
                  <a:lnTo>
                    <a:pt x="209" y="188"/>
                  </a:lnTo>
                  <a:lnTo>
                    <a:pt x="209" y="187"/>
                  </a:lnTo>
                  <a:lnTo>
                    <a:pt x="211" y="187"/>
                  </a:lnTo>
                  <a:lnTo>
                    <a:pt x="211" y="188"/>
                  </a:lnTo>
                  <a:lnTo>
                    <a:pt x="213" y="188"/>
                  </a:lnTo>
                  <a:lnTo>
                    <a:pt x="213" y="190"/>
                  </a:lnTo>
                  <a:lnTo>
                    <a:pt x="211" y="190"/>
                  </a:lnTo>
                  <a:lnTo>
                    <a:pt x="211" y="192"/>
                  </a:lnTo>
                  <a:lnTo>
                    <a:pt x="211" y="194"/>
                  </a:lnTo>
                  <a:lnTo>
                    <a:pt x="213" y="192"/>
                  </a:lnTo>
                  <a:lnTo>
                    <a:pt x="211" y="192"/>
                  </a:lnTo>
                  <a:lnTo>
                    <a:pt x="213" y="190"/>
                  </a:lnTo>
                  <a:lnTo>
                    <a:pt x="213" y="192"/>
                  </a:lnTo>
                  <a:lnTo>
                    <a:pt x="215" y="192"/>
                  </a:lnTo>
                  <a:lnTo>
                    <a:pt x="215" y="194"/>
                  </a:lnTo>
                  <a:lnTo>
                    <a:pt x="213" y="194"/>
                  </a:lnTo>
                  <a:lnTo>
                    <a:pt x="213" y="196"/>
                  </a:lnTo>
                  <a:lnTo>
                    <a:pt x="211" y="198"/>
                  </a:lnTo>
                  <a:lnTo>
                    <a:pt x="213" y="198"/>
                  </a:lnTo>
                  <a:lnTo>
                    <a:pt x="215" y="198"/>
                  </a:lnTo>
                  <a:lnTo>
                    <a:pt x="213" y="198"/>
                  </a:lnTo>
                  <a:lnTo>
                    <a:pt x="215" y="198"/>
                  </a:lnTo>
                  <a:lnTo>
                    <a:pt x="213" y="196"/>
                  </a:lnTo>
                  <a:lnTo>
                    <a:pt x="215" y="196"/>
                  </a:lnTo>
                  <a:lnTo>
                    <a:pt x="215" y="194"/>
                  </a:lnTo>
                  <a:lnTo>
                    <a:pt x="217" y="194"/>
                  </a:lnTo>
                  <a:lnTo>
                    <a:pt x="217" y="196"/>
                  </a:lnTo>
                  <a:lnTo>
                    <a:pt x="217" y="194"/>
                  </a:lnTo>
                  <a:lnTo>
                    <a:pt x="219" y="194"/>
                  </a:lnTo>
                  <a:lnTo>
                    <a:pt x="217" y="196"/>
                  </a:lnTo>
                  <a:lnTo>
                    <a:pt x="217" y="198"/>
                  </a:lnTo>
                  <a:lnTo>
                    <a:pt x="217" y="196"/>
                  </a:lnTo>
                  <a:lnTo>
                    <a:pt x="219" y="196"/>
                  </a:lnTo>
                  <a:lnTo>
                    <a:pt x="219" y="198"/>
                  </a:lnTo>
                  <a:lnTo>
                    <a:pt x="219" y="196"/>
                  </a:lnTo>
                  <a:lnTo>
                    <a:pt x="217" y="198"/>
                  </a:lnTo>
                  <a:lnTo>
                    <a:pt x="215" y="198"/>
                  </a:lnTo>
                  <a:lnTo>
                    <a:pt x="213" y="198"/>
                  </a:lnTo>
                  <a:lnTo>
                    <a:pt x="213" y="200"/>
                  </a:lnTo>
                  <a:lnTo>
                    <a:pt x="211" y="200"/>
                  </a:lnTo>
                  <a:lnTo>
                    <a:pt x="213" y="200"/>
                  </a:lnTo>
                  <a:lnTo>
                    <a:pt x="215" y="200"/>
                  </a:lnTo>
                  <a:lnTo>
                    <a:pt x="217" y="200"/>
                  </a:lnTo>
                  <a:lnTo>
                    <a:pt x="217" y="202"/>
                  </a:lnTo>
                  <a:lnTo>
                    <a:pt x="215" y="200"/>
                  </a:lnTo>
                  <a:lnTo>
                    <a:pt x="217" y="200"/>
                  </a:lnTo>
                  <a:lnTo>
                    <a:pt x="215" y="200"/>
                  </a:lnTo>
                  <a:lnTo>
                    <a:pt x="215" y="202"/>
                  </a:lnTo>
                  <a:lnTo>
                    <a:pt x="217" y="202"/>
                  </a:lnTo>
                  <a:lnTo>
                    <a:pt x="219" y="202"/>
                  </a:lnTo>
                  <a:lnTo>
                    <a:pt x="219" y="200"/>
                  </a:lnTo>
                  <a:lnTo>
                    <a:pt x="221" y="200"/>
                  </a:lnTo>
                  <a:lnTo>
                    <a:pt x="223" y="198"/>
                  </a:lnTo>
                  <a:lnTo>
                    <a:pt x="223" y="200"/>
                  </a:lnTo>
                  <a:lnTo>
                    <a:pt x="223" y="198"/>
                  </a:lnTo>
                  <a:lnTo>
                    <a:pt x="225" y="198"/>
                  </a:lnTo>
                  <a:lnTo>
                    <a:pt x="225" y="196"/>
                  </a:lnTo>
                  <a:lnTo>
                    <a:pt x="227" y="196"/>
                  </a:lnTo>
                  <a:lnTo>
                    <a:pt x="227" y="198"/>
                  </a:lnTo>
                  <a:lnTo>
                    <a:pt x="229" y="198"/>
                  </a:lnTo>
                  <a:lnTo>
                    <a:pt x="229" y="200"/>
                  </a:lnTo>
                  <a:lnTo>
                    <a:pt x="231" y="200"/>
                  </a:lnTo>
                  <a:lnTo>
                    <a:pt x="229" y="200"/>
                  </a:lnTo>
                  <a:lnTo>
                    <a:pt x="229" y="202"/>
                  </a:lnTo>
                  <a:lnTo>
                    <a:pt x="227" y="202"/>
                  </a:lnTo>
                  <a:lnTo>
                    <a:pt x="225" y="204"/>
                  </a:lnTo>
                  <a:lnTo>
                    <a:pt x="227" y="204"/>
                  </a:lnTo>
                  <a:lnTo>
                    <a:pt x="229" y="204"/>
                  </a:lnTo>
                  <a:lnTo>
                    <a:pt x="231" y="204"/>
                  </a:lnTo>
                  <a:lnTo>
                    <a:pt x="233" y="204"/>
                  </a:lnTo>
                  <a:lnTo>
                    <a:pt x="233" y="202"/>
                  </a:lnTo>
                  <a:lnTo>
                    <a:pt x="234" y="200"/>
                  </a:lnTo>
                  <a:lnTo>
                    <a:pt x="236" y="200"/>
                  </a:lnTo>
                  <a:lnTo>
                    <a:pt x="238" y="200"/>
                  </a:lnTo>
                  <a:lnTo>
                    <a:pt x="238" y="198"/>
                  </a:lnTo>
                  <a:lnTo>
                    <a:pt x="240" y="198"/>
                  </a:lnTo>
                  <a:lnTo>
                    <a:pt x="242" y="198"/>
                  </a:lnTo>
                  <a:lnTo>
                    <a:pt x="242" y="200"/>
                  </a:lnTo>
                  <a:lnTo>
                    <a:pt x="244" y="200"/>
                  </a:lnTo>
                  <a:lnTo>
                    <a:pt x="242" y="202"/>
                  </a:lnTo>
                  <a:lnTo>
                    <a:pt x="242" y="204"/>
                  </a:lnTo>
                  <a:lnTo>
                    <a:pt x="240" y="204"/>
                  </a:lnTo>
                  <a:lnTo>
                    <a:pt x="240" y="206"/>
                  </a:lnTo>
                  <a:lnTo>
                    <a:pt x="238" y="206"/>
                  </a:lnTo>
                  <a:lnTo>
                    <a:pt x="238" y="208"/>
                  </a:lnTo>
                  <a:lnTo>
                    <a:pt x="238" y="206"/>
                  </a:lnTo>
                  <a:lnTo>
                    <a:pt x="238" y="208"/>
                  </a:lnTo>
                  <a:lnTo>
                    <a:pt x="240" y="208"/>
                  </a:lnTo>
                  <a:lnTo>
                    <a:pt x="240" y="206"/>
                  </a:lnTo>
                  <a:lnTo>
                    <a:pt x="240" y="204"/>
                  </a:lnTo>
                  <a:lnTo>
                    <a:pt x="242" y="206"/>
                  </a:lnTo>
                  <a:lnTo>
                    <a:pt x="242" y="204"/>
                  </a:lnTo>
                  <a:lnTo>
                    <a:pt x="244" y="204"/>
                  </a:lnTo>
                  <a:lnTo>
                    <a:pt x="244" y="202"/>
                  </a:lnTo>
                  <a:lnTo>
                    <a:pt x="244" y="200"/>
                  </a:lnTo>
                  <a:lnTo>
                    <a:pt x="244" y="198"/>
                  </a:lnTo>
                  <a:lnTo>
                    <a:pt x="244" y="196"/>
                  </a:lnTo>
                  <a:lnTo>
                    <a:pt x="246" y="196"/>
                  </a:lnTo>
                  <a:lnTo>
                    <a:pt x="246" y="198"/>
                  </a:lnTo>
                  <a:lnTo>
                    <a:pt x="246" y="196"/>
                  </a:lnTo>
                  <a:lnTo>
                    <a:pt x="248" y="196"/>
                  </a:lnTo>
                  <a:lnTo>
                    <a:pt x="248" y="198"/>
                  </a:lnTo>
                  <a:lnTo>
                    <a:pt x="246" y="198"/>
                  </a:lnTo>
                  <a:lnTo>
                    <a:pt x="246" y="200"/>
                  </a:lnTo>
                  <a:lnTo>
                    <a:pt x="248" y="200"/>
                  </a:lnTo>
                  <a:lnTo>
                    <a:pt x="248" y="202"/>
                  </a:lnTo>
                  <a:lnTo>
                    <a:pt x="250" y="202"/>
                  </a:lnTo>
                  <a:lnTo>
                    <a:pt x="250" y="204"/>
                  </a:lnTo>
                  <a:lnTo>
                    <a:pt x="250" y="206"/>
                  </a:lnTo>
                  <a:lnTo>
                    <a:pt x="250" y="208"/>
                  </a:lnTo>
                  <a:lnTo>
                    <a:pt x="252" y="208"/>
                  </a:lnTo>
                  <a:lnTo>
                    <a:pt x="252" y="210"/>
                  </a:lnTo>
                  <a:lnTo>
                    <a:pt x="252" y="212"/>
                  </a:lnTo>
                  <a:lnTo>
                    <a:pt x="252" y="213"/>
                  </a:lnTo>
                  <a:lnTo>
                    <a:pt x="252" y="212"/>
                  </a:lnTo>
                  <a:lnTo>
                    <a:pt x="252" y="210"/>
                  </a:lnTo>
                  <a:lnTo>
                    <a:pt x="252" y="208"/>
                  </a:lnTo>
                  <a:lnTo>
                    <a:pt x="252" y="206"/>
                  </a:lnTo>
                  <a:lnTo>
                    <a:pt x="252" y="204"/>
                  </a:lnTo>
                  <a:lnTo>
                    <a:pt x="252" y="202"/>
                  </a:lnTo>
                  <a:lnTo>
                    <a:pt x="252" y="200"/>
                  </a:lnTo>
                  <a:lnTo>
                    <a:pt x="250" y="198"/>
                  </a:lnTo>
                  <a:lnTo>
                    <a:pt x="250" y="196"/>
                  </a:lnTo>
                  <a:lnTo>
                    <a:pt x="252" y="196"/>
                  </a:lnTo>
                  <a:lnTo>
                    <a:pt x="254" y="196"/>
                  </a:lnTo>
                  <a:lnTo>
                    <a:pt x="254" y="194"/>
                  </a:lnTo>
                  <a:lnTo>
                    <a:pt x="256" y="194"/>
                  </a:lnTo>
                  <a:lnTo>
                    <a:pt x="256" y="196"/>
                  </a:lnTo>
                  <a:lnTo>
                    <a:pt x="256" y="194"/>
                  </a:lnTo>
                  <a:lnTo>
                    <a:pt x="257" y="196"/>
                  </a:lnTo>
                  <a:lnTo>
                    <a:pt x="256" y="196"/>
                  </a:lnTo>
                  <a:lnTo>
                    <a:pt x="256" y="198"/>
                  </a:lnTo>
                  <a:lnTo>
                    <a:pt x="257" y="198"/>
                  </a:lnTo>
                  <a:lnTo>
                    <a:pt x="257" y="200"/>
                  </a:lnTo>
                  <a:lnTo>
                    <a:pt x="257" y="202"/>
                  </a:lnTo>
                  <a:lnTo>
                    <a:pt x="256" y="202"/>
                  </a:lnTo>
                  <a:lnTo>
                    <a:pt x="256" y="204"/>
                  </a:lnTo>
                  <a:lnTo>
                    <a:pt x="254" y="204"/>
                  </a:lnTo>
                  <a:lnTo>
                    <a:pt x="256" y="204"/>
                  </a:lnTo>
                  <a:lnTo>
                    <a:pt x="256" y="206"/>
                  </a:lnTo>
                  <a:lnTo>
                    <a:pt x="256" y="208"/>
                  </a:lnTo>
                  <a:lnTo>
                    <a:pt x="256" y="206"/>
                  </a:lnTo>
                  <a:lnTo>
                    <a:pt x="257" y="204"/>
                  </a:lnTo>
                  <a:lnTo>
                    <a:pt x="259" y="204"/>
                  </a:lnTo>
                  <a:lnTo>
                    <a:pt x="259" y="206"/>
                  </a:lnTo>
                  <a:lnTo>
                    <a:pt x="259" y="208"/>
                  </a:lnTo>
                  <a:lnTo>
                    <a:pt x="261" y="210"/>
                  </a:lnTo>
                  <a:lnTo>
                    <a:pt x="259" y="210"/>
                  </a:lnTo>
                  <a:lnTo>
                    <a:pt x="259" y="212"/>
                  </a:lnTo>
                  <a:lnTo>
                    <a:pt x="261" y="212"/>
                  </a:lnTo>
                  <a:lnTo>
                    <a:pt x="261" y="208"/>
                  </a:lnTo>
                  <a:lnTo>
                    <a:pt x="261" y="206"/>
                  </a:lnTo>
                  <a:lnTo>
                    <a:pt x="263" y="206"/>
                  </a:lnTo>
                  <a:lnTo>
                    <a:pt x="263" y="208"/>
                  </a:lnTo>
                  <a:lnTo>
                    <a:pt x="263" y="210"/>
                  </a:lnTo>
                  <a:lnTo>
                    <a:pt x="263" y="212"/>
                  </a:lnTo>
                  <a:lnTo>
                    <a:pt x="263" y="213"/>
                  </a:lnTo>
                  <a:lnTo>
                    <a:pt x="261" y="215"/>
                  </a:lnTo>
                  <a:lnTo>
                    <a:pt x="263" y="215"/>
                  </a:lnTo>
                  <a:lnTo>
                    <a:pt x="263" y="217"/>
                  </a:lnTo>
                  <a:lnTo>
                    <a:pt x="263" y="219"/>
                  </a:lnTo>
                  <a:lnTo>
                    <a:pt x="263" y="221"/>
                  </a:lnTo>
                  <a:lnTo>
                    <a:pt x="265" y="221"/>
                  </a:lnTo>
                  <a:lnTo>
                    <a:pt x="263" y="221"/>
                  </a:lnTo>
                  <a:lnTo>
                    <a:pt x="265" y="219"/>
                  </a:lnTo>
                  <a:lnTo>
                    <a:pt x="265" y="217"/>
                  </a:lnTo>
                  <a:lnTo>
                    <a:pt x="263" y="215"/>
                  </a:lnTo>
                  <a:lnTo>
                    <a:pt x="263" y="213"/>
                  </a:lnTo>
                  <a:lnTo>
                    <a:pt x="263" y="212"/>
                  </a:lnTo>
                  <a:lnTo>
                    <a:pt x="263" y="210"/>
                  </a:lnTo>
                  <a:lnTo>
                    <a:pt x="265" y="210"/>
                  </a:lnTo>
                  <a:lnTo>
                    <a:pt x="265" y="212"/>
                  </a:lnTo>
                  <a:lnTo>
                    <a:pt x="265" y="213"/>
                  </a:lnTo>
                  <a:lnTo>
                    <a:pt x="265" y="215"/>
                  </a:lnTo>
                  <a:lnTo>
                    <a:pt x="265" y="213"/>
                  </a:lnTo>
                  <a:lnTo>
                    <a:pt x="265" y="212"/>
                  </a:lnTo>
                  <a:lnTo>
                    <a:pt x="267" y="212"/>
                  </a:lnTo>
                  <a:lnTo>
                    <a:pt x="265" y="212"/>
                  </a:lnTo>
                  <a:lnTo>
                    <a:pt x="267" y="213"/>
                  </a:lnTo>
                  <a:lnTo>
                    <a:pt x="267" y="212"/>
                  </a:lnTo>
                  <a:lnTo>
                    <a:pt x="267" y="213"/>
                  </a:lnTo>
                  <a:lnTo>
                    <a:pt x="267" y="212"/>
                  </a:lnTo>
                  <a:lnTo>
                    <a:pt x="267" y="210"/>
                  </a:lnTo>
                  <a:lnTo>
                    <a:pt x="265" y="210"/>
                  </a:lnTo>
                  <a:lnTo>
                    <a:pt x="265" y="208"/>
                  </a:lnTo>
                  <a:lnTo>
                    <a:pt x="267" y="208"/>
                  </a:lnTo>
                  <a:lnTo>
                    <a:pt x="269" y="210"/>
                  </a:lnTo>
                  <a:lnTo>
                    <a:pt x="269" y="208"/>
                  </a:lnTo>
                  <a:lnTo>
                    <a:pt x="269" y="210"/>
                  </a:lnTo>
                  <a:lnTo>
                    <a:pt x="269" y="212"/>
                  </a:lnTo>
                  <a:lnTo>
                    <a:pt x="271" y="212"/>
                  </a:lnTo>
                  <a:lnTo>
                    <a:pt x="269" y="212"/>
                  </a:lnTo>
                  <a:lnTo>
                    <a:pt x="269" y="213"/>
                  </a:lnTo>
                  <a:lnTo>
                    <a:pt x="267" y="213"/>
                  </a:lnTo>
                  <a:lnTo>
                    <a:pt x="265" y="213"/>
                  </a:lnTo>
                  <a:lnTo>
                    <a:pt x="267" y="215"/>
                  </a:lnTo>
                  <a:lnTo>
                    <a:pt x="267" y="217"/>
                  </a:lnTo>
                  <a:lnTo>
                    <a:pt x="267" y="219"/>
                  </a:lnTo>
                  <a:lnTo>
                    <a:pt x="267" y="221"/>
                  </a:lnTo>
                  <a:lnTo>
                    <a:pt x="269" y="221"/>
                  </a:lnTo>
                  <a:lnTo>
                    <a:pt x="269" y="223"/>
                  </a:lnTo>
                  <a:lnTo>
                    <a:pt x="267" y="223"/>
                  </a:lnTo>
                  <a:lnTo>
                    <a:pt x="267" y="225"/>
                  </a:lnTo>
                  <a:lnTo>
                    <a:pt x="267" y="223"/>
                  </a:lnTo>
                  <a:lnTo>
                    <a:pt x="267" y="221"/>
                  </a:lnTo>
                  <a:lnTo>
                    <a:pt x="267" y="223"/>
                  </a:lnTo>
                  <a:lnTo>
                    <a:pt x="265" y="223"/>
                  </a:lnTo>
                  <a:lnTo>
                    <a:pt x="267" y="223"/>
                  </a:lnTo>
                  <a:lnTo>
                    <a:pt x="267" y="225"/>
                  </a:lnTo>
                  <a:lnTo>
                    <a:pt x="265" y="225"/>
                  </a:lnTo>
                  <a:lnTo>
                    <a:pt x="265" y="227"/>
                  </a:lnTo>
                  <a:lnTo>
                    <a:pt x="265" y="225"/>
                  </a:lnTo>
                  <a:lnTo>
                    <a:pt x="267" y="225"/>
                  </a:lnTo>
                  <a:lnTo>
                    <a:pt x="267" y="227"/>
                  </a:lnTo>
                  <a:lnTo>
                    <a:pt x="265" y="227"/>
                  </a:lnTo>
                  <a:lnTo>
                    <a:pt x="265" y="229"/>
                  </a:lnTo>
                  <a:lnTo>
                    <a:pt x="267" y="229"/>
                  </a:lnTo>
                  <a:lnTo>
                    <a:pt x="265" y="231"/>
                  </a:lnTo>
                  <a:lnTo>
                    <a:pt x="265" y="233"/>
                  </a:lnTo>
                  <a:lnTo>
                    <a:pt x="267" y="231"/>
                  </a:lnTo>
                  <a:lnTo>
                    <a:pt x="267" y="229"/>
                  </a:lnTo>
                  <a:lnTo>
                    <a:pt x="267" y="227"/>
                  </a:lnTo>
                  <a:lnTo>
                    <a:pt x="269" y="227"/>
                  </a:lnTo>
                  <a:lnTo>
                    <a:pt x="269" y="225"/>
                  </a:lnTo>
                  <a:lnTo>
                    <a:pt x="269" y="223"/>
                  </a:lnTo>
                  <a:lnTo>
                    <a:pt x="271" y="223"/>
                  </a:lnTo>
                  <a:lnTo>
                    <a:pt x="271" y="225"/>
                  </a:lnTo>
                  <a:lnTo>
                    <a:pt x="271" y="227"/>
                  </a:lnTo>
                  <a:lnTo>
                    <a:pt x="269" y="229"/>
                  </a:lnTo>
                  <a:lnTo>
                    <a:pt x="269" y="231"/>
                  </a:lnTo>
                  <a:lnTo>
                    <a:pt x="269" y="233"/>
                  </a:lnTo>
                  <a:lnTo>
                    <a:pt x="269" y="235"/>
                  </a:lnTo>
                  <a:lnTo>
                    <a:pt x="269" y="236"/>
                  </a:lnTo>
                  <a:lnTo>
                    <a:pt x="267" y="238"/>
                  </a:lnTo>
                  <a:lnTo>
                    <a:pt x="267" y="240"/>
                  </a:lnTo>
                  <a:lnTo>
                    <a:pt x="267" y="242"/>
                  </a:lnTo>
                  <a:lnTo>
                    <a:pt x="267" y="244"/>
                  </a:lnTo>
                  <a:lnTo>
                    <a:pt x="269" y="244"/>
                  </a:lnTo>
                  <a:lnTo>
                    <a:pt x="269" y="242"/>
                  </a:lnTo>
                  <a:lnTo>
                    <a:pt x="269" y="240"/>
                  </a:lnTo>
                  <a:lnTo>
                    <a:pt x="269" y="238"/>
                  </a:lnTo>
                  <a:lnTo>
                    <a:pt x="269" y="236"/>
                  </a:lnTo>
                  <a:lnTo>
                    <a:pt x="271" y="236"/>
                  </a:lnTo>
                  <a:lnTo>
                    <a:pt x="271" y="235"/>
                  </a:lnTo>
                  <a:lnTo>
                    <a:pt x="271" y="233"/>
                  </a:lnTo>
                  <a:lnTo>
                    <a:pt x="271" y="231"/>
                  </a:lnTo>
                  <a:lnTo>
                    <a:pt x="271" y="229"/>
                  </a:lnTo>
                  <a:lnTo>
                    <a:pt x="273" y="231"/>
                  </a:lnTo>
                  <a:lnTo>
                    <a:pt x="273" y="229"/>
                  </a:lnTo>
                  <a:lnTo>
                    <a:pt x="273" y="227"/>
                  </a:lnTo>
                  <a:lnTo>
                    <a:pt x="273" y="225"/>
                  </a:lnTo>
                  <a:lnTo>
                    <a:pt x="273" y="223"/>
                  </a:lnTo>
                  <a:lnTo>
                    <a:pt x="273" y="221"/>
                  </a:lnTo>
                  <a:lnTo>
                    <a:pt x="273" y="219"/>
                  </a:lnTo>
                  <a:lnTo>
                    <a:pt x="275" y="219"/>
                  </a:lnTo>
                  <a:lnTo>
                    <a:pt x="275" y="221"/>
                  </a:lnTo>
                  <a:lnTo>
                    <a:pt x="277" y="219"/>
                  </a:lnTo>
                  <a:lnTo>
                    <a:pt x="275" y="219"/>
                  </a:lnTo>
                  <a:lnTo>
                    <a:pt x="277" y="219"/>
                  </a:lnTo>
                  <a:lnTo>
                    <a:pt x="277" y="221"/>
                  </a:lnTo>
                  <a:lnTo>
                    <a:pt x="277" y="223"/>
                  </a:lnTo>
                  <a:lnTo>
                    <a:pt x="277" y="225"/>
                  </a:lnTo>
                  <a:lnTo>
                    <a:pt x="277" y="227"/>
                  </a:lnTo>
                  <a:lnTo>
                    <a:pt x="277" y="229"/>
                  </a:lnTo>
                  <a:lnTo>
                    <a:pt x="277" y="231"/>
                  </a:lnTo>
                  <a:lnTo>
                    <a:pt x="277" y="229"/>
                  </a:lnTo>
                  <a:lnTo>
                    <a:pt x="277" y="227"/>
                  </a:lnTo>
                  <a:lnTo>
                    <a:pt x="277" y="225"/>
                  </a:lnTo>
                  <a:lnTo>
                    <a:pt x="279" y="225"/>
                  </a:lnTo>
                  <a:lnTo>
                    <a:pt x="279" y="223"/>
                  </a:lnTo>
                  <a:lnTo>
                    <a:pt x="279" y="221"/>
                  </a:lnTo>
                  <a:lnTo>
                    <a:pt x="279" y="219"/>
                  </a:lnTo>
                  <a:lnTo>
                    <a:pt x="279" y="217"/>
                  </a:lnTo>
                  <a:lnTo>
                    <a:pt x="281" y="217"/>
                  </a:lnTo>
                  <a:lnTo>
                    <a:pt x="281" y="219"/>
                  </a:lnTo>
                  <a:lnTo>
                    <a:pt x="281" y="221"/>
                  </a:lnTo>
                  <a:lnTo>
                    <a:pt x="281" y="223"/>
                  </a:lnTo>
                  <a:lnTo>
                    <a:pt x="281" y="225"/>
                  </a:lnTo>
                  <a:lnTo>
                    <a:pt x="281" y="227"/>
                  </a:lnTo>
                  <a:lnTo>
                    <a:pt x="281" y="229"/>
                  </a:lnTo>
                  <a:lnTo>
                    <a:pt x="279" y="229"/>
                  </a:lnTo>
                  <a:lnTo>
                    <a:pt x="279" y="231"/>
                  </a:lnTo>
                  <a:lnTo>
                    <a:pt x="279" y="233"/>
                  </a:lnTo>
                  <a:lnTo>
                    <a:pt x="279" y="235"/>
                  </a:lnTo>
                  <a:lnTo>
                    <a:pt x="279" y="236"/>
                  </a:lnTo>
                  <a:lnTo>
                    <a:pt x="281" y="236"/>
                  </a:lnTo>
                  <a:lnTo>
                    <a:pt x="281" y="233"/>
                  </a:lnTo>
                  <a:lnTo>
                    <a:pt x="281" y="231"/>
                  </a:lnTo>
                  <a:lnTo>
                    <a:pt x="281" y="229"/>
                  </a:lnTo>
                  <a:lnTo>
                    <a:pt x="282" y="227"/>
                  </a:lnTo>
                  <a:lnTo>
                    <a:pt x="282" y="225"/>
                  </a:lnTo>
                  <a:lnTo>
                    <a:pt x="282" y="223"/>
                  </a:lnTo>
                  <a:lnTo>
                    <a:pt x="281" y="221"/>
                  </a:lnTo>
                  <a:lnTo>
                    <a:pt x="282" y="221"/>
                  </a:lnTo>
                  <a:lnTo>
                    <a:pt x="282" y="219"/>
                  </a:lnTo>
                  <a:lnTo>
                    <a:pt x="282" y="217"/>
                  </a:lnTo>
                  <a:lnTo>
                    <a:pt x="284" y="217"/>
                  </a:lnTo>
                  <a:lnTo>
                    <a:pt x="284" y="215"/>
                  </a:lnTo>
                  <a:lnTo>
                    <a:pt x="284" y="213"/>
                  </a:lnTo>
                  <a:lnTo>
                    <a:pt x="284" y="212"/>
                  </a:lnTo>
                  <a:lnTo>
                    <a:pt x="286" y="212"/>
                  </a:lnTo>
                  <a:lnTo>
                    <a:pt x="286" y="210"/>
                  </a:lnTo>
                  <a:lnTo>
                    <a:pt x="286" y="212"/>
                  </a:lnTo>
                  <a:lnTo>
                    <a:pt x="286" y="210"/>
                  </a:lnTo>
                  <a:lnTo>
                    <a:pt x="288" y="210"/>
                  </a:lnTo>
                  <a:lnTo>
                    <a:pt x="288" y="212"/>
                  </a:lnTo>
                  <a:lnTo>
                    <a:pt x="290" y="212"/>
                  </a:lnTo>
                  <a:lnTo>
                    <a:pt x="290" y="213"/>
                  </a:lnTo>
                  <a:lnTo>
                    <a:pt x="290" y="215"/>
                  </a:lnTo>
                  <a:lnTo>
                    <a:pt x="290" y="213"/>
                  </a:lnTo>
                  <a:lnTo>
                    <a:pt x="290" y="215"/>
                  </a:lnTo>
                  <a:lnTo>
                    <a:pt x="292" y="215"/>
                  </a:lnTo>
                  <a:lnTo>
                    <a:pt x="290" y="215"/>
                  </a:lnTo>
                  <a:lnTo>
                    <a:pt x="290" y="217"/>
                  </a:lnTo>
                  <a:lnTo>
                    <a:pt x="290" y="215"/>
                  </a:lnTo>
                  <a:lnTo>
                    <a:pt x="290" y="217"/>
                  </a:lnTo>
                  <a:lnTo>
                    <a:pt x="290" y="219"/>
                  </a:lnTo>
                  <a:lnTo>
                    <a:pt x="288" y="219"/>
                  </a:lnTo>
                  <a:lnTo>
                    <a:pt x="288" y="221"/>
                  </a:lnTo>
                  <a:lnTo>
                    <a:pt x="286" y="221"/>
                  </a:lnTo>
                  <a:lnTo>
                    <a:pt x="284" y="221"/>
                  </a:lnTo>
                  <a:lnTo>
                    <a:pt x="286" y="221"/>
                  </a:lnTo>
                  <a:lnTo>
                    <a:pt x="286" y="223"/>
                  </a:lnTo>
                  <a:lnTo>
                    <a:pt x="286" y="225"/>
                  </a:lnTo>
                  <a:lnTo>
                    <a:pt x="288" y="225"/>
                  </a:lnTo>
                  <a:lnTo>
                    <a:pt x="286" y="225"/>
                  </a:lnTo>
                  <a:lnTo>
                    <a:pt x="286" y="223"/>
                  </a:lnTo>
                  <a:lnTo>
                    <a:pt x="288" y="223"/>
                  </a:lnTo>
                  <a:lnTo>
                    <a:pt x="286" y="223"/>
                  </a:lnTo>
                  <a:lnTo>
                    <a:pt x="288" y="221"/>
                  </a:lnTo>
                  <a:lnTo>
                    <a:pt x="288" y="223"/>
                  </a:lnTo>
                  <a:lnTo>
                    <a:pt x="288" y="221"/>
                  </a:lnTo>
                  <a:lnTo>
                    <a:pt x="288" y="223"/>
                  </a:lnTo>
                  <a:lnTo>
                    <a:pt x="288" y="221"/>
                  </a:lnTo>
                  <a:lnTo>
                    <a:pt x="290" y="221"/>
                  </a:lnTo>
                  <a:lnTo>
                    <a:pt x="290" y="223"/>
                  </a:lnTo>
                  <a:lnTo>
                    <a:pt x="290" y="221"/>
                  </a:lnTo>
                  <a:lnTo>
                    <a:pt x="290" y="223"/>
                  </a:lnTo>
                  <a:lnTo>
                    <a:pt x="292" y="223"/>
                  </a:lnTo>
                  <a:lnTo>
                    <a:pt x="292" y="221"/>
                  </a:lnTo>
                  <a:lnTo>
                    <a:pt x="292" y="219"/>
                  </a:lnTo>
                  <a:lnTo>
                    <a:pt x="292" y="221"/>
                  </a:lnTo>
                  <a:lnTo>
                    <a:pt x="292" y="219"/>
                  </a:lnTo>
                  <a:lnTo>
                    <a:pt x="294" y="219"/>
                  </a:lnTo>
                  <a:lnTo>
                    <a:pt x="294" y="217"/>
                  </a:lnTo>
                  <a:lnTo>
                    <a:pt x="296" y="219"/>
                  </a:lnTo>
                  <a:lnTo>
                    <a:pt x="296" y="217"/>
                  </a:lnTo>
                  <a:lnTo>
                    <a:pt x="296" y="215"/>
                  </a:lnTo>
                  <a:lnTo>
                    <a:pt x="294" y="215"/>
                  </a:lnTo>
                  <a:lnTo>
                    <a:pt x="296" y="213"/>
                  </a:lnTo>
                  <a:lnTo>
                    <a:pt x="296" y="215"/>
                  </a:lnTo>
                  <a:lnTo>
                    <a:pt x="296" y="213"/>
                  </a:lnTo>
                  <a:lnTo>
                    <a:pt x="296" y="215"/>
                  </a:lnTo>
                  <a:lnTo>
                    <a:pt x="296" y="217"/>
                  </a:lnTo>
                  <a:lnTo>
                    <a:pt x="298" y="217"/>
                  </a:lnTo>
                  <a:lnTo>
                    <a:pt x="296" y="215"/>
                  </a:lnTo>
                  <a:lnTo>
                    <a:pt x="298" y="215"/>
                  </a:lnTo>
                  <a:lnTo>
                    <a:pt x="298" y="213"/>
                  </a:lnTo>
                  <a:lnTo>
                    <a:pt x="298" y="212"/>
                  </a:lnTo>
                  <a:lnTo>
                    <a:pt x="300" y="212"/>
                  </a:lnTo>
                  <a:lnTo>
                    <a:pt x="300" y="213"/>
                  </a:lnTo>
                  <a:lnTo>
                    <a:pt x="300" y="215"/>
                  </a:lnTo>
                  <a:lnTo>
                    <a:pt x="300" y="217"/>
                  </a:lnTo>
                  <a:lnTo>
                    <a:pt x="300" y="219"/>
                  </a:lnTo>
                  <a:lnTo>
                    <a:pt x="300" y="217"/>
                  </a:lnTo>
                  <a:lnTo>
                    <a:pt x="300" y="215"/>
                  </a:lnTo>
                  <a:lnTo>
                    <a:pt x="300" y="213"/>
                  </a:lnTo>
                  <a:lnTo>
                    <a:pt x="302" y="213"/>
                  </a:lnTo>
                  <a:lnTo>
                    <a:pt x="302" y="212"/>
                  </a:lnTo>
                  <a:lnTo>
                    <a:pt x="302" y="213"/>
                  </a:lnTo>
                  <a:lnTo>
                    <a:pt x="302" y="215"/>
                  </a:lnTo>
                  <a:lnTo>
                    <a:pt x="304" y="215"/>
                  </a:lnTo>
                  <a:lnTo>
                    <a:pt x="302" y="215"/>
                  </a:lnTo>
                  <a:lnTo>
                    <a:pt x="302" y="217"/>
                  </a:lnTo>
                  <a:lnTo>
                    <a:pt x="302" y="219"/>
                  </a:lnTo>
                  <a:lnTo>
                    <a:pt x="302" y="221"/>
                  </a:lnTo>
                  <a:lnTo>
                    <a:pt x="302" y="219"/>
                  </a:lnTo>
                  <a:lnTo>
                    <a:pt x="302" y="221"/>
                  </a:lnTo>
                  <a:lnTo>
                    <a:pt x="302" y="223"/>
                  </a:lnTo>
                  <a:lnTo>
                    <a:pt x="302" y="225"/>
                  </a:lnTo>
                  <a:lnTo>
                    <a:pt x="300" y="225"/>
                  </a:lnTo>
                  <a:lnTo>
                    <a:pt x="300" y="227"/>
                  </a:lnTo>
                  <a:lnTo>
                    <a:pt x="300" y="225"/>
                  </a:lnTo>
                  <a:lnTo>
                    <a:pt x="300" y="227"/>
                  </a:lnTo>
                  <a:lnTo>
                    <a:pt x="298" y="229"/>
                  </a:lnTo>
                  <a:lnTo>
                    <a:pt x="300" y="229"/>
                  </a:lnTo>
                  <a:lnTo>
                    <a:pt x="300" y="231"/>
                  </a:lnTo>
                  <a:lnTo>
                    <a:pt x="300" y="233"/>
                  </a:lnTo>
                  <a:lnTo>
                    <a:pt x="298" y="233"/>
                  </a:lnTo>
                  <a:lnTo>
                    <a:pt x="298" y="235"/>
                  </a:lnTo>
                  <a:lnTo>
                    <a:pt x="298" y="236"/>
                  </a:lnTo>
                  <a:lnTo>
                    <a:pt x="300" y="236"/>
                  </a:lnTo>
                  <a:lnTo>
                    <a:pt x="300" y="238"/>
                  </a:lnTo>
                  <a:lnTo>
                    <a:pt x="300" y="240"/>
                  </a:lnTo>
                  <a:lnTo>
                    <a:pt x="300" y="242"/>
                  </a:lnTo>
                  <a:lnTo>
                    <a:pt x="298" y="242"/>
                  </a:lnTo>
                  <a:lnTo>
                    <a:pt x="298" y="244"/>
                  </a:lnTo>
                  <a:lnTo>
                    <a:pt x="300" y="244"/>
                  </a:lnTo>
                  <a:lnTo>
                    <a:pt x="300" y="242"/>
                  </a:lnTo>
                  <a:lnTo>
                    <a:pt x="302" y="242"/>
                  </a:lnTo>
                  <a:lnTo>
                    <a:pt x="302" y="240"/>
                  </a:lnTo>
                  <a:lnTo>
                    <a:pt x="302" y="238"/>
                  </a:lnTo>
                  <a:lnTo>
                    <a:pt x="300" y="238"/>
                  </a:lnTo>
                  <a:lnTo>
                    <a:pt x="300" y="236"/>
                  </a:lnTo>
                  <a:lnTo>
                    <a:pt x="300" y="235"/>
                  </a:lnTo>
                  <a:lnTo>
                    <a:pt x="300" y="233"/>
                  </a:lnTo>
                  <a:lnTo>
                    <a:pt x="300" y="231"/>
                  </a:lnTo>
                  <a:lnTo>
                    <a:pt x="302" y="231"/>
                  </a:lnTo>
                  <a:lnTo>
                    <a:pt x="302" y="229"/>
                  </a:lnTo>
                  <a:lnTo>
                    <a:pt x="302" y="227"/>
                  </a:lnTo>
                  <a:lnTo>
                    <a:pt x="304" y="227"/>
                  </a:lnTo>
                  <a:lnTo>
                    <a:pt x="302" y="227"/>
                  </a:lnTo>
                  <a:lnTo>
                    <a:pt x="304" y="225"/>
                  </a:lnTo>
                  <a:lnTo>
                    <a:pt x="302" y="225"/>
                  </a:lnTo>
                  <a:lnTo>
                    <a:pt x="304" y="225"/>
                  </a:lnTo>
                  <a:lnTo>
                    <a:pt x="304" y="223"/>
                  </a:lnTo>
                  <a:lnTo>
                    <a:pt x="304" y="221"/>
                  </a:lnTo>
                  <a:lnTo>
                    <a:pt x="304" y="219"/>
                  </a:lnTo>
                  <a:lnTo>
                    <a:pt x="304" y="217"/>
                  </a:lnTo>
                  <a:lnTo>
                    <a:pt x="305" y="217"/>
                  </a:lnTo>
                  <a:lnTo>
                    <a:pt x="305" y="219"/>
                  </a:lnTo>
                  <a:lnTo>
                    <a:pt x="307" y="219"/>
                  </a:lnTo>
                  <a:lnTo>
                    <a:pt x="307" y="217"/>
                  </a:lnTo>
                  <a:lnTo>
                    <a:pt x="305" y="217"/>
                  </a:lnTo>
                  <a:lnTo>
                    <a:pt x="307" y="215"/>
                  </a:lnTo>
                  <a:lnTo>
                    <a:pt x="305" y="215"/>
                  </a:lnTo>
                  <a:lnTo>
                    <a:pt x="305" y="213"/>
                  </a:lnTo>
                  <a:lnTo>
                    <a:pt x="307" y="212"/>
                  </a:lnTo>
                  <a:lnTo>
                    <a:pt x="305" y="212"/>
                  </a:lnTo>
                  <a:lnTo>
                    <a:pt x="305" y="210"/>
                  </a:lnTo>
                  <a:lnTo>
                    <a:pt x="305" y="208"/>
                  </a:lnTo>
                  <a:lnTo>
                    <a:pt x="307" y="208"/>
                  </a:lnTo>
                  <a:lnTo>
                    <a:pt x="305" y="206"/>
                  </a:lnTo>
                  <a:lnTo>
                    <a:pt x="307" y="206"/>
                  </a:lnTo>
                  <a:lnTo>
                    <a:pt x="307" y="208"/>
                  </a:lnTo>
                  <a:lnTo>
                    <a:pt x="309" y="208"/>
                  </a:lnTo>
                  <a:lnTo>
                    <a:pt x="307" y="206"/>
                  </a:lnTo>
                  <a:lnTo>
                    <a:pt x="309" y="206"/>
                  </a:lnTo>
                  <a:lnTo>
                    <a:pt x="309" y="204"/>
                  </a:lnTo>
                  <a:lnTo>
                    <a:pt x="307" y="204"/>
                  </a:lnTo>
                  <a:lnTo>
                    <a:pt x="309" y="204"/>
                  </a:lnTo>
                  <a:lnTo>
                    <a:pt x="309" y="206"/>
                  </a:lnTo>
                  <a:lnTo>
                    <a:pt x="311" y="206"/>
                  </a:lnTo>
                  <a:lnTo>
                    <a:pt x="311" y="208"/>
                  </a:lnTo>
                  <a:lnTo>
                    <a:pt x="311" y="210"/>
                  </a:lnTo>
                  <a:lnTo>
                    <a:pt x="309" y="212"/>
                  </a:lnTo>
                  <a:lnTo>
                    <a:pt x="309" y="213"/>
                  </a:lnTo>
                  <a:lnTo>
                    <a:pt x="309" y="215"/>
                  </a:lnTo>
                  <a:lnTo>
                    <a:pt x="309" y="217"/>
                  </a:lnTo>
                  <a:lnTo>
                    <a:pt x="309" y="219"/>
                  </a:lnTo>
                  <a:lnTo>
                    <a:pt x="309" y="221"/>
                  </a:lnTo>
                  <a:lnTo>
                    <a:pt x="309" y="223"/>
                  </a:lnTo>
                  <a:lnTo>
                    <a:pt x="309" y="221"/>
                  </a:lnTo>
                  <a:lnTo>
                    <a:pt x="309" y="219"/>
                  </a:lnTo>
                  <a:lnTo>
                    <a:pt x="309" y="217"/>
                  </a:lnTo>
                  <a:lnTo>
                    <a:pt x="309" y="219"/>
                  </a:lnTo>
                  <a:lnTo>
                    <a:pt x="311" y="219"/>
                  </a:lnTo>
                  <a:lnTo>
                    <a:pt x="311" y="217"/>
                  </a:lnTo>
                  <a:lnTo>
                    <a:pt x="311" y="215"/>
                  </a:lnTo>
                  <a:lnTo>
                    <a:pt x="311" y="213"/>
                  </a:lnTo>
                  <a:lnTo>
                    <a:pt x="311" y="212"/>
                  </a:lnTo>
                  <a:lnTo>
                    <a:pt x="311" y="213"/>
                  </a:lnTo>
                  <a:lnTo>
                    <a:pt x="311" y="212"/>
                  </a:lnTo>
                  <a:lnTo>
                    <a:pt x="313" y="212"/>
                  </a:lnTo>
                  <a:lnTo>
                    <a:pt x="313" y="213"/>
                  </a:lnTo>
                  <a:lnTo>
                    <a:pt x="313" y="212"/>
                  </a:lnTo>
                  <a:lnTo>
                    <a:pt x="313" y="210"/>
                  </a:lnTo>
                  <a:lnTo>
                    <a:pt x="315" y="210"/>
                  </a:lnTo>
                  <a:lnTo>
                    <a:pt x="315" y="212"/>
                  </a:lnTo>
                  <a:lnTo>
                    <a:pt x="315" y="210"/>
                  </a:lnTo>
                  <a:lnTo>
                    <a:pt x="315" y="208"/>
                  </a:lnTo>
                  <a:lnTo>
                    <a:pt x="313" y="208"/>
                  </a:lnTo>
                  <a:lnTo>
                    <a:pt x="315" y="208"/>
                  </a:lnTo>
                  <a:lnTo>
                    <a:pt x="315" y="206"/>
                  </a:lnTo>
                  <a:lnTo>
                    <a:pt x="317" y="206"/>
                  </a:lnTo>
                  <a:lnTo>
                    <a:pt x="317" y="208"/>
                  </a:lnTo>
                  <a:lnTo>
                    <a:pt x="317" y="206"/>
                  </a:lnTo>
                  <a:lnTo>
                    <a:pt x="319" y="208"/>
                  </a:lnTo>
                  <a:lnTo>
                    <a:pt x="319" y="210"/>
                  </a:lnTo>
                  <a:lnTo>
                    <a:pt x="319" y="212"/>
                  </a:lnTo>
                  <a:lnTo>
                    <a:pt x="319" y="213"/>
                  </a:lnTo>
                  <a:lnTo>
                    <a:pt x="319" y="215"/>
                  </a:lnTo>
                  <a:lnTo>
                    <a:pt x="319" y="213"/>
                  </a:lnTo>
                  <a:lnTo>
                    <a:pt x="319" y="215"/>
                  </a:lnTo>
                  <a:lnTo>
                    <a:pt x="321" y="213"/>
                  </a:lnTo>
                  <a:lnTo>
                    <a:pt x="319" y="213"/>
                  </a:lnTo>
                  <a:lnTo>
                    <a:pt x="321" y="213"/>
                  </a:lnTo>
                  <a:lnTo>
                    <a:pt x="319" y="212"/>
                  </a:lnTo>
                  <a:lnTo>
                    <a:pt x="321" y="212"/>
                  </a:lnTo>
                  <a:lnTo>
                    <a:pt x="321" y="213"/>
                  </a:lnTo>
                  <a:lnTo>
                    <a:pt x="323" y="213"/>
                  </a:lnTo>
                  <a:lnTo>
                    <a:pt x="323" y="215"/>
                  </a:lnTo>
                  <a:lnTo>
                    <a:pt x="325" y="215"/>
                  </a:lnTo>
                  <a:lnTo>
                    <a:pt x="325" y="217"/>
                  </a:lnTo>
                  <a:lnTo>
                    <a:pt x="323" y="217"/>
                  </a:lnTo>
                  <a:lnTo>
                    <a:pt x="325" y="219"/>
                  </a:lnTo>
                  <a:lnTo>
                    <a:pt x="323" y="219"/>
                  </a:lnTo>
                  <a:lnTo>
                    <a:pt x="323" y="221"/>
                  </a:lnTo>
                  <a:lnTo>
                    <a:pt x="323" y="219"/>
                  </a:lnTo>
                  <a:lnTo>
                    <a:pt x="323" y="221"/>
                  </a:lnTo>
                  <a:lnTo>
                    <a:pt x="325" y="221"/>
                  </a:lnTo>
                  <a:lnTo>
                    <a:pt x="325" y="219"/>
                  </a:lnTo>
                  <a:lnTo>
                    <a:pt x="325" y="221"/>
                  </a:lnTo>
                  <a:lnTo>
                    <a:pt x="325" y="219"/>
                  </a:lnTo>
                  <a:lnTo>
                    <a:pt x="325" y="217"/>
                  </a:lnTo>
                  <a:lnTo>
                    <a:pt x="327" y="217"/>
                  </a:lnTo>
                  <a:lnTo>
                    <a:pt x="327" y="219"/>
                  </a:lnTo>
                  <a:lnTo>
                    <a:pt x="327" y="221"/>
                  </a:lnTo>
                  <a:lnTo>
                    <a:pt x="327" y="219"/>
                  </a:lnTo>
                  <a:lnTo>
                    <a:pt x="329" y="219"/>
                  </a:lnTo>
                  <a:lnTo>
                    <a:pt x="327" y="221"/>
                  </a:lnTo>
                  <a:lnTo>
                    <a:pt x="327" y="223"/>
                  </a:lnTo>
                  <a:lnTo>
                    <a:pt x="325" y="223"/>
                  </a:lnTo>
                  <a:lnTo>
                    <a:pt x="323" y="223"/>
                  </a:lnTo>
                  <a:lnTo>
                    <a:pt x="323" y="225"/>
                  </a:lnTo>
                  <a:lnTo>
                    <a:pt x="325" y="223"/>
                  </a:lnTo>
                  <a:lnTo>
                    <a:pt x="327" y="223"/>
                  </a:lnTo>
                  <a:lnTo>
                    <a:pt x="329" y="221"/>
                  </a:lnTo>
                  <a:lnTo>
                    <a:pt x="330" y="221"/>
                  </a:lnTo>
                  <a:lnTo>
                    <a:pt x="330" y="219"/>
                  </a:lnTo>
                  <a:lnTo>
                    <a:pt x="332" y="219"/>
                  </a:lnTo>
                  <a:lnTo>
                    <a:pt x="334" y="221"/>
                  </a:lnTo>
                  <a:lnTo>
                    <a:pt x="334" y="219"/>
                  </a:lnTo>
                  <a:lnTo>
                    <a:pt x="334" y="217"/>
                  </a:lnTo>
                  <a:lnTo>
                    <a:pt x="334" y="219"/>
                  </a:lnTo>
                  <a:lnTo>
                    <a:pt x="336" y="219"/>
                  </a:lnTo>
                  <a:lnTo>
                    <a:pt x="338" y="219"/>
                  </a:lnTo>
                  <a:lnTo>
                    <a:pt x="340" y="217"/>
                  </a:lnTo>
                  <a:lnTo>
                    <a:pt x="340" y="215"/>
                  </a:lnTo>
                  <a:lnTo>
                    <a:pt x="340" y="217"/>
                  </a:lnTo>
                  <a:lnTo>
                    <a:pt x="342" y="217"/>
                  </a:lnTo>
                  <a:lnTo>
                    <a:pt x="342" y="215"/>
                  </a:lnTo>
                  <a:lnTo>
                    <a:pt x="342" y="217"/>
                  </a:lnTo>
                  <a:lnTo>
                    <a:pt x="340" y="219"/>
                  </a:lnTo>
                  <a:lnTo>
                    <a:pt x="342" y="219"/>
                  </a:lnTo>
                  <a:lnTo>
                    <a:pt x="342" y="217"/>
                  </a:lnTo>
                  <a:lnTo>
                    <a:pt x="344" y="217"/>
                  </a:lnTo>
                  <a:lnTo>
                    <a:pt x="344" y="215"/>
                  </a:lnTo>
                  <a:lnTo>
                    <a:pt x="346" y="215"/>
                  </a:lnTo>
                  <a:lnTo>
                    <a:pt x="346" y="217"/>
                  </a:lnTo>
                  <a:lnTo>
                    <a:pt x="348" y="217"/>
                  </a:lnTo>
                  <a:lnTo>
                    <a:pt x="346" y="215"/>
                  </a:lnTo>
                  <a:lnTo>
                    <a:pt x="346" y="213"/>
                  </a:lnTo>
                  <a:lnTo>
                    <a:pt x="348" y="213"/>
                  </a:lnTo>
                  <a:lnTo>
                    <a:pt x="350" y="212"/>
                  </a:lnTo>
                  <a:lnTo>
                    <a:pt x="352" y="212"/>
                  </a:lnTo>
                  <a:lnTo>
                    <a:pt x="352" y="210"/>
                  </a:lnTo>
                  <a:lnTo>
                    <a:pt x="350" y="210"/>
                  </a:lnTo>
                  <a:lnTo>
                    <a:pt x="348" y="208"/>
                  </a:lnTo>
                  <a:lnTo>
                    <a:pt x="348" y="206"/>
                  </a:lnTo>
                  <a:lnTo>
                    <a:pt x="350" y="208"/>
                  </a:lnTo>
                  <a:lnTo>
                    <a:pt x="352" y="208"/>
                  </a:lnTo>
                  <a:lnTo>
                    <a:pt x="350" y="206"/>
                  </a:lnTo>
                  <a:lnTo>
                    <a:pt x="352" y="206"/>
                  </a:lnTo>
                  <a:lnTo>
                    <a:pt x="352" y="204"/>
                  </a:lnTo>
                  <a:lnTo>
                    <a:pt x="354" y="204"/>
                  </a:lnTo>
                  <a:lnTo>
                    <a:pt x="354" y="202"/>
                  </a:lnTo>
                  <a:lnTo>
                    <a:pt x="354" y="200"/>
                  </a:lnTo>
                  <a:lnTo>
                    <a:pt x="355" y="200"/>
                  </a:lnTo>
                  <a:lnTo>
                    <a:pt x="357" y="202"/>
                  </a:lnTo>
                  <a:lnTo>
                    <a:pt x="355" y="202"/>
                  </a:lnTo>
                  <a:lnTo>
                    <a:pt x="355" y="204"/>
                  </a:lnTo>
                  <a:lnTo>
                    <a:pt x="357" y="204"/>
                  </a:lnTo>
                  <a:lnTo>
                    <a:pt x="357" y="206"/>
                  </a:lnTo>
                  <a:lnTo>
                    <a:pt x="357" y="204"/>
                  </a:lnTo>
                  <a:lnTo>
                    <a:pt x="357" y="206"/>
                  </a:lnTo>
                  <a:lnTo>
                    <a:pt x="359" y="206"/>
                  </a:lnTo>
                  <a:lnTo>
                    <a:pt x="357" y="206"/>
                  </a:lnTo>
                  <a:lnTo>
                    <a:pt x="359" y="208"/>
                  </a:lnTo>
                  <a:lnTo>
                    <a:pt x="359" y="206"/>
                  </a:lnTo>
                  <a:lnTo>
                    <a:pt x="359" y="204"/>
                  </a:lnTo>
                  <a:lnTo>
                    <a:pt x="361" y="204"/>
                  </a:lnTo>
                  <a:lnTo>
                    <a:pt x="361" y="202"/>
                  </a:lnTo>
                  <a:lnTo>
                    <a:pt x="361" y="204"/>
                  </a:lnTo>
                  <a:lnTo>
                    <a:pt x="361" y="206"/>
                  </a:lnTo>
                  <a:lnTo>
                    <a:pt x="359" y="206"/>
                  </a:lnTo>
                  <a:lnTo>
                    <a:pt x="359" y="208"/>
                  </a:lnTo>
                  <a:lnTo>
                    <a:pt x="357" y="208"/>
                  </a:lnTo>
                  <a:lnTo>
                    <a:pt x="359" y="210"/>
                  </a:lnTo>
                  <a:lnTo>
                    <a:pt x="357" y="210"/>
                  </a:lnTo>
                  <a:lnTo>
                    <a:pt x="357" y="212"/>
                  </a:lnTo>
                  <a:lnTo>
                    <a:pt x="355" y="212"/>
                  </a:lnTo>
                  <a:lnTo>
                    <a:pt x="354" y="212"/>
                  </a:lnTo>
                  <a:lnTo>
                    <a:pt x="354" y="213"/>
                  </a:lnTo>
                  <a:lnTo>
                    <a:pt x="354" y="212"/>
                  </a:lnTo>
                  <a:lnTo>
                    <a:pt x="354" y="213"/>
                  </a:lnTo>
                  <a:lnTo>
                    <a:pt x="355" y="213"/>
                  </a:lnTo>
                  <a:lnTo>
                    <a:pt x="355" y="212"/>
                  </a:lnTo>
                  <a:lnTo>
                    <a:pt x="357" y="212"/>
                  </a:lnTo>
                  <a:lnTo>
                    <a:pt x="359" y="210"/>
                  </a:lnTo>
                  <a:lnTo>
                    <a:pt x="359" y="212"/>
                  </a:lnTo>
                  <a:lnTo>
                    <a:pt x="361" y="212"/>
                  </a:lnTo>
                  <a:lnTo>
                    <a:pt x="359" y="212"/>
                  </a:lnTo>
                  <a:lnTo>
                    <a:pt x="359" y="210"/>
                  </a:lnTo>
                  <a:lnTo>
                    <a:pt x="361" y="210"/>
                  </a:lnTo>
                  <a:lnTo>
                    <a:pt x="361" y="208"/>
                  </a:lnTo>
                  <a:lnTo>
                    <a:pt x="363" y="208"/>
                  </a:lnTo>
                  <a:lnTo>
                    <a:pt x="365" y="208"/>
                  </a:lnTo>
                  <a:lnTo>
                    <a:pt x="367" y="208"/>
                  </a:lnTo>
                  <a:lnTo>
                    <a:pt x="367" y="210"/>
                  </a:lnTo>
                  <a:lnTo>
                    <a:pt x="369" y="210"/>
                  </a:lnTo>
                  <a:lnTo>
                    <a:pt x="369" y="208"/>
                  </a:lnTo>
                  <a:lnTo>
                    <a:pt x="369" y="210"/>
                  </a:lnTo>
                  <a:lnTo>
                    <a:pt x="371" y="210"/>
                  </a:lnTo>
                  <a:lnTo>
                    <a:pt x="373" y="210"/>
                  </a:lnTo>
                  <a:lnTo>
                    <a:pt x="375" y="210"/>
                  </a:lnTo>
                  <a:lnTo>
                    <a:pt x="375" y="208"/>
                  </a:lnTo>
                  <a:lnTo>
                    <a:pt x="377" y="208"/>
                  </a:lnTo>
                  <a:lnTo>
                    <a:pt x="375" y="208"/>
                  </a:lnTo>
                  <a:lnTo>
                    <a:pt x="377" y="208"/>
                  </a:lnTo>
                  <a:lnTo>
                    <a:pt x="375" y="208"/>
                  </a:lnTo>
                  <a:lnTo>
                    <a:pt x="375" y="206"/>
                  </a:lnTo>
                  <a:lnTo>
                    <a:pt x="377" y="206"/>
                  </a:lnTo>
                  <a:lnTo>
                    <a:pt x="378" y="204"/>
                  </a:lnTo>
                  <a:lnTo>
                    <a:pt x="380" y="204"/>
                  </a:lnTo>
                  <a:lnTo>
                    <a:pt x="380" y="206"/>
                  </a:lnTo>
                  <a:lnTo>
                    <a:pt x="382" y="206"/>
                  </a:lnTo>
                  <a:lnTo>
                    <a:pt x="380" y="206"/>
                  </a:lnTo>
                  <a:lnTo>
                    <a:pt x="382" y="206"/>
                  </a:lnTo>
                  <a:lnTo>
                    <a:pt x="380" y="208"/>
                  </a:lnTo>
                  <a:lnTo>
                    <a:pt x="382" y="208"/>
                  </a:lnTo>
                  <a:lnTo>
                    <a:pt x="382" y="206"/>
                  </a:lnTo>
                  <a:lnTo>
                    <a:pt x="384" y="206"/>
                  </a:lnTo>
                  <a:lnTo>
                    <a:pt x="384" y="208"/>
                  </a:lnTo>
                  <a:lnTo>
                    <a:pt x="384" y="210"/>
                  </a:lnTo>
                  <a:lnTo>
                    <a:pt x="384" y="212"/>
                  </a:lnTo>
                  <a:lnTo>
                    <a:pt x="386" y="212"/>
                  </a:lnTo>
                  <a:lnTo>
                    <a:pt x="384" y="213"/>
                  </a:lnTo>
                  <a:lnTo>
                    <a:pt x="382" y="215"/>
                  </a:lnTo>
                  <a:lnTo>
                    <a:pt x="380" y="215"/>
                  </a:lnTo>
                  <a:lnTo>
                    <a:pt x="378" y="217"/>
                  </a:lnTo>
                  <a:lnTo>
                    <a:pt x="377" y="217"/>
                  </a:lnTo>
                  <a:lnTo>
                    <a:pt x="377" y="219"/>
                  </a:lnTo>
                  <a:lnTo>
                    <a:pt x="378" y="219"/>
                  </a:lnTo>
                  <a:lnTo>
                    <a:pt x="378" y="217"/>
                  </a:lnTo>
                  <a:lnTo>
                    <a:pt x="380" y="215"/>
                  </a:lnTo>
                  <a:lnTo>
                    <a:pt x="380" y="217"/>
                  </a:lnTo>
                  <a:lnTo>
                    <a:pt x="382" y="215"/>
                  </a:lnTo>
                  <a:lnTo>
                    <a:pt x="384" y="213"/>
                  </a:lnTo>
                  <a:lnTo>
                    <a:pt x="386" y="213"/>
                  </a:lnTo>
                  <a:lnTo>
                    <a:pt x="386" y="215"/>
                  </a:lnTo>
                  <a:lnTo>
                    <a:pt x="384" y="215"/>
                  </a:lnTo>
                  <a:lnTo>
                    <a:pt x="382" y="215"/>
                  </a:lnTo>
                  <a:lnTo>
                    <a:pt x="384" y="215"/>
                  </a:lnTo>
                  <a:lnTo>
                    <a:pt x="384" y="217"/>
                  </a:lnTo>
                  <a:lnTo>
                    <a:pt x="382" y="217"/>
                  </a:lnTo>
                  <a:lnTo>
                    <a:pt x="384" y="217"/>
                  </a:lnTo>
                  <a:lnTo>
                    <a:pt x="384" y="219"/>
                  </a:lnTo>
                  <a:lnTo>
                    <a:pt x="382" y="219"/>
                  </a:lnTo>
                  <a:lnTo>
                    <a:pt x="382" y="221"/>
                  </a:lnTo>
                  <a:lnTo>
                    <a:pt x="382" y="223"/>
                  </a:lnTo>
                  <a:lnTo>
                    <a:pt x="380" y="223"/>
                  </a:lnTo>
                  <a:lnTo>
                    <a:pt x="380" y="225"/>
                  </a:lnTo>
                  <a:lnTo>
                    <a:pt x="378" y="225"/>
                  </a:lnTo>
                  <a:lnTo>
                    <a:pt x="377" y="225"/>
                  </a:lnTo>
                  <a:lnTo>
                    <a:pt x="377" y="227"/>
                  </a:lnTo>
                  <a:lnTo>
                    <a:pt x="375" y="227"/>
                  </a:lnTo>
                  <a:lnTo>
                    <a:pt x="375" y="225"/>
                  </a:lnTo>
                  <a:lnTo>
                    <a:pt x="375" y="227"/>
                  </a:lnTo>
                  <a:lnTo>
                    <a:pt x="373" y="227"/>
                  </a:lnTo>
                  <a:lnTo>
                    <a:pt x="373" y="229"/>
                  </a:lnTo>
                  <a:lnTo>
                    <a:pt x="371" y="229"/>
                  </a:lnTo>
                  <a:lnTo>
                    <a:pt x="371" y="231"/>
                  </a:lnTo>
                  <a:lnTo>
                    <a:pt x="369" y="231"/>
                  </a:lnTo>
                  <a:lnTo>
                    <a:pt x="367" y="231"/>
                  </a:lnTo>
                  <a:lnTo>
                    <a:pt x="367" y="233"/>
                  </a:lnTo>
                  <a:lnTo>
                    <a:pt x="365" y="233"/>
                  </a:lnTo>
                  <a:lnTo>
                    <a:pt x="365" y="235"/>
                  </a:lnTo>
                  <a:lnTo>
                    <a:pt x="367" y="235"/>
                  </a:lnTo>
                  <a:lnTo>
                    <a:pt x="365" y="235"/>
                  </a:lnTo>
                  <a:lnTo>
                    <a:pt x="365" y="236"/>
                  </a:lnTo>
                  <a:lnTo>
                    <a:pt x="363" y="238"/>
                  </a:lnTo>
                  <a:lnTo>
                    <a:pt x="365" y="238"/>
                  </a:lnTo>
                  <a:lnTo>
                    <a:pt x="365" y="236"/>
                  </a:lnTo>
                  <a:lnTo>
                    <a:pt x="367" y="236"/>
                  </a:lnTo>
                  <a:lnTo>
                    <a:pt x="369" y="235"/>
                  </a:lnTo>
                  <a:lnTo>
                    <a:pt x="369" y="236"/>
                  </a:lnTo>
                  <a:lnTo>
                    <a:pt x="367" y="236"/>
                  </a:lnTo>
                  <a:lnTo>
                    <a:pt x="367" y="238"/>
                  </a:lnTo>
                  <a:lnTo>
                    <a:pt x="365" y="238"/>
                  </a:lnTo>
                  <a:lnTo>
                    <a:pt x="365" y="240"/>
                  </a:lnTo>
                  <a:lnTo>
                    <a:pt x="367" y="240"/>
                  </a:lnTo>
                  <a:lnTo>
                    <a:pt x="367" y="242"/>
                  </a:lnTo>
                  <a:lnTo>
                    <a:pt x="365" y="242"/>
                  </a:lnTo>
                  <a:lnTo>
                    <a:pt x="363" y="242"/>
                  </a:lnTo>
                  <a:lnTo>
                    <a:pt x="363" y="244"/>
                  </a:lnTo>
                  <a:lnTo>
                    <a:pt x="361" y="244"/>
                  </a:lnTo>
                  <a:lnTo>
                    <a:pt x="361" y="246"/>
                  </a:lnTo>
                  <a:lnTo>
                    <a:pt x="361" y="248"/>
                  </a:lnTo>
                  <a:lnTo>
                    <a:pt x="359" y="248"/>
                  </a:lnTo>
                  <a:lnTo>
                    <a:pt x="357" y="248"/>
                  </a:lnTo>
                  <a:lnTo>
                    <a:pt x="357" y="250"/>
                  </a:lnTo>
                  <a:lnTo>
                    <a:pt x="357" y="252"/>
                  </a:lnTo>
                  <a:lnTo>
                    <a:pt x="357" y="254"/>
                  </a:lnTo>
                  <a:lnTo>
                    <a:pt x="355" y="254"/>
                  </a:lnTo>
                  <a:lnTo>
                    <a:pt x="355" y="256"/>
                  </a:lnTo>
                  <a:lnTo>
                    <a:pt x="354" y="256"/>
                  </a:lnTo>
                  <a:lnTo>
                    <a:pt x="354" y="258"/>
                  </a:lnTo>
                  <a:lnTo>
                    <a:pt x="352" y="258"/>
                  </a:lnTo>
                  <a:lnTo>
                    <a:pt x="350" y="258"/>
                  </a:lnTo>
                  <a:lnTo>
                    <a:pt x="350" y="260"/>
                  </a:lnTo>
                  <a:lnTo>
                    <a:pt x="348" y="261"/>
                  </a:lnTo>
                  <a:lnTo>
                    <a:pt x="346" y="261"/>
                  </a:lnTo>
                  <a:lnTo>
                    <a:pt x="346" y="263"/>
                  </a:lnTo>
                  <a:lnTo>
                    <a:pt x="344" y="265"/>
                  </a:lnTo>
                  <a:lnTo>
                    <a:pt x="342" y="265"/>
                  </a:lnTo>
                  <a:lnTo>
                    <a:pt x="342" y="267"/>
                  </a:lnTo>
                  <a:lnTo>
                    <a:pt x="340" y="267"/>
                  </a:lnTo>
                  <a:lnTo>
                    <a:pt x="340" y="269"/>
                  </a:lnTo>
                  <a:lnTo>
                    <a:pt x="340" y="271"/>
                  </a:lnTo>
                  <a:lnTo>
                    <a:pt x="338" y="273"/>
                  </a:lnTo>
                  <a:lnTo>
                    <a:pt x="336" y="273"/>
                  </a:lnTo>
                  <a:lnTo>
                    <a:pt x="336" y="275"/>
                  </a:lnTo>
                  <a:lnTo>
                    <a:pt x="334" y="275"/>
                  </a:lnTo>
                  <a:lnTo>
                    <a:pt x="332" y="275"/>
                  </a:lnTo>
                  <a:lnTo>
                    <a:pt x="332" y="277"/>
                  </a:lnTo>
                  <a:lnTo>
                    <a:pt x="330" y="277"/>
                  </a:lnTo>
                  <a:lnTo>
                    <a:pt x="332" y="277"/>
                  </a:lnTo>
                  <a:lnTo>
                    <a:pt x="334" y="277"/>
                  </a:lnTo>
                  <a:lnTo>
                    <a:pt x="334" y="279"/>
                  </a:lnTo>
                  <a:lnTo>
                    <a:pt x="334" y="277"/>
                  </a:lnTo>
                  <a:lnTo>
                    <a:pt x="336" y="277"/>
                  </a:lnTo>
                  <a:lnTo>
                    <a:pt x="336" y="275"/>
                  </a:lnTo>
                  <a:lnTo>
                    <a:pt x="338" y="275"/>
                  </a:lnTo>
                  <a:lnTo>
                    <a:pt x="340" y="275"/>
                  </a:lnTo>
                  <a:lnTo>
                    <a:pt x="340" y="273"/>
                  </a:lnTo>
                  <a:lnTo>
                    <a:pt x="342" y="271"/>
                  </a:lnTo>
                  <a:lnTo>
                    <a:pt x="342" y="269"/>
                  </a:lnTo>
                  <a:lnTo>
                    <a:pt x="344" y="267"/>
                  </a:lnTo>
                  <a:lnTo>
                    <a:pt x="346" y="267"/>
                  </a:lnTo>
                  <a:lnTo>
                    <a:pt x="346" y="265"/>
                  </a:lnTo>
                  <a:lnTo>
                    <a:pt x="348" y="265"/>
                  </a:lnTo>
                  <a:lnTo>
                    <a:pt x="350" y="265"/>
                  </a:lnTo>
                  <a:lnTo>
                    <a:pt x="350" y="263"/>
                  </a:lnTo>
                  <a:lnTo>
                    <a:pt x="350" y="261"/>
                  </a:lnTo>
                  <a:lnTo>
                    <a:pt x="352" y="261"/>
                  </a:lnTo>
                  <a:lnTo>
                    <a:pt x="354" y="260"/>
                  </a:lnTo>
                  <a:lnTo>
                    <a:pt x="354" y="258"/>
                  </a:lnTo>
                  <a:lnTo>
                    <a:pt x="355" y="256"/>
                  </a:lnTo>
                  <a:lnTo>
                    <a:pt x="357" y="256"/>
                  </a:lnTo>
                  <a:lnTo>
                    <a:pt x="355" y="256"/>
                  </a:lnTo>
                  <a:lnTo>
                    <a:pt x="357" y="254"/>
                  </a:lnTo>
                  <a:lnTo>
                    <a:pt x="357" y="252"/>
                  </a:lnTo>
                  <a:lnTo>
                    <a:pt x="359" y="250"/>
                  </a:lnTo>
                  <a:lnTo>
                    <a:pt x="359" y="248"/>
                  </a:lnTo>
                  <a:lnTo>
                    <a:pt x="361" y="248"/>
                  </a:lnTo>
                  <a:lnTo>
                    <a:pt x="361" y="246"/>
                  </a:lnTo>
                  <a:lnTo>
                    <a:pt x="361" y="244"/>
                  </a:lnTo>
                  <a:lnTo>
                    <a:pt x="363" y="244"/>
                  </a:lnTo>
                  <a:lnTo>
                    <a:pt x="363" y="246"/>
                  </a:lnTo>
                  <a:lnTo>
                    <a:pt x="363" y="248"/>
                  </a:lnTo>
                  <a:lnTo>
                    <a:pt x="363" y="250"/>
                  </a:lnTo>
                  <a:lnTo>
                    <a:pt x="363" y="252"/>
                  </a:lnTo>
                  <a:lnTo>
                    <a:pt x="361" y="254"/>
                  </a:lnTo>
                  <a:lnTo>
                    <a:pt x="363" y="254"/>
                  </a:lnTo>
                  <a:lnTo>
                    <a:pt x="363" y="256"/>
                  </a:lnTo>
                  <a:lnTo>
                    <a:pt x="361" y="256"/>
                  </a:lnTo>
                  <a:lnTo>
                    <a:pt x="363" y="256"/>
                  </a:lnTo>
                  <a:lnTo>
                    <a:pt x="363" y="258"/>
                  </a:lnTo>
                  <a:lnTo>
                    <a:pt x="361" y="258"/>
                  </a:lnTo>
                  <a:lnTo>
                    <a:pt x="363" y="258"/>
                  </a:lnTo>
                  <a:lnTo>
                    <a:pt x="361" y="260"/>
                  </a:lnTo>
                  <a:lnTo>
                    <a:pt x="359" y="261"/>
                  </a:lnTo>
                  <a:lnTo>
                    <a:pt x="357" y="261"/>
                  </a:lnTo>
                  <a:lnTo>
                    <a:pt x="355" y="261"/>
                  </a:lnTo>
                  <a:lnTo>
                    <a:pt x="355" y="263"/>
                  </a:lnTo>
                  <a:lnTo>
                    <a:pt x="354" y="263"/>
                  </a:lnTo>
                  <a:lnTo>
                    <a:pt x="352" y="263"/>
                  </a:lnTo>
                  <a:lnTo>
                    <a:pt x="352" y="265"/>
                  </a:lnTo>
                  <a:lnTo>
                    <a:pt x="350" y="265"/>
                  </a:lnTo>
                  <a:lnTo>
                    <a:pt x="350" y="267"/>
                  </a:lnTo>
                  <a:lnTo>
                    <a:pt x="348" y="267"/>
                  </a:lnTo>
                  <a:lnTo>
                    <a:pt x="350" y="267"/>
                  </a:lnTo>
                  <a:lnTo>
                    <a:pt x="352" y="267"/>
                  </a:lnTo>
                  <a:lnTo>
                    <a:pt x="352" y="265"/>
                  </a:lnTo>
                  <a:lnTo>
                    <a:pt x="354" y="265"/>
                  </a:lnTo>
                  <a:lnTo>
                    <a:pt x="354" y="267"/>
                  </a:lnTo>
                  <a:lnTo>
                    <a:pt x="352" y="267"/>
                  </a:lnTo>
                  <a:lnTo>
                    <a:pt x="354" y="267"/>
                  </a:lnTo>
                  <a:lnTo>
                    <a:pt x="352" y="267"/>
                  </a:lnTo>
                  <a:lnTo>
                    <a:pt x="354" y="267"/>
                  </a:lnTo>
                  <a:lnTo>
                    <a:pt x="352" y="269"/>
                  </a:lnTo>
                  <a:lnTo>
                    <a:pt x="352" y="271"/>
                  </a:lnTo>
                  <a:lnTo>
                    <a:pt x="350" y="271"/>
                  </a:lnTo>
                  <a:lnTo>
                    <a:pt x="348" y="273"/>
                  </a:lnTo>
                  <a:lnTo>
                    <a:pt x="348" y="275"/>
                  </a:lnTo>
                  <a:lnTo>
                    <a:pt x="346" y="277"/>
                  </a:lnTo>
                  <a:lnTo>
                    <a:pt x="344" y="279"/>
                  </a:lnTo>
                  <a:lnTo>
                    <a:pt x="342" y="281"/>
                  </a:lnTo>
                  <a:lnTo>
                    <a:pt x="344" y="281"/>
                  </a:lnTo>
                  <a:lnTo>
                    <a:pt x="342" y="283"/>
                  </a:lnTo>
                  <a:lnTo>
                    <a:pt x="342" y="284"/>
                  </a:lnTo>
                  <a:lnTo>
                    <a:pt x="340" y="284"/>
                  </a:lnTo>
                  <a:lnTo>
                    <a:pt x="340" y="286"/>
                  </a:lnTo>
                  <a:lnTo>
                    <a:pt x="338" y="286"/>
                  </a:lnTo>
                  <a:lnTo>
                    <a:pt x="338" y="288"/>
                  </a:lnTo>
                  <a:lnTo>
                    <a:pt x="336" y="288"/>
                  </a:lnTo>
                  <a:lnTo>
                    <a:pt x="334" y="288"/>
                  </a:lnTo>
                  <a:lnTo>
                    <a:pt x="332" y="288"/>
                  </a:lnTo>
                  <a:lnTo>
                    <a:pt x="332" y="290"/>
                  </a:lnTo>
                  <a:lnTo>
                    <a:pt x="332" y="288"/>
                  </a:lnTo>
                  <a:lnTo>
                    <a:pt x="330" y="290"/>
                  </a:lnTo>
                  <a:lnTo>
                    <a:pt x="329" y="290"/>
                  </a:lnTo>
                  <a:lnTo>
                    <a:pt x="329" y="292"/>
                  </a:lnTo>
                  <a:lnTo>
                    <a:pt x="327" y="292"/>
                  </a:lnTo>
                  <a:lnTo>
                    <a:pt x="327" y="294"/>
                  </a:lnTo>
                  <a:lnTo>
                    <a:pt x="329" y="294"/>
                  </a:lnTo>
                  <a:lnTo>
                    <a:pt x="330" y="292"/>
                  </a:lnTo>
                  <a:lnTo>
                    <a:pt x="330" y="294"/>
                  </a:lnTo>
                  <a:lnTo>
                    <a:pt x="329" y="294"/>
                  </a:lnTo>
                  <a:lnTo>
                    <a:pt x="329" y="296"/>
                  </a:lnTo>
                  <a:lnTo>
                    <a:pt x="327" y="296"/>
                  </a:lnTo>
                  <a:lnTo>
                    <a:pt x="325" y="296"/>
                  </a:lnTo>
                  <a:lnTo>
                    <a:pt x="325" y="298"/>
                  </a:lnTo>
                  <a:lnTo>
                    <a:pt x="325" y="300"/>
                  </a:lnTo>
                  <a:lnTo>
                    <a:pt x="323" y="300"/>
                  </a:lnTo>
                  <a:lnTo>
                    <a:pt x="321" y="300"/>
                  </a:lnTo>
                  <a:lnTo>
                    <a:pt x="323" y="300"/>
                  </a:lnTo>
                  <a:lnTo>
                    <a:pt x="321" y="300"/>
                  </a:lnTo>
                  <a:lnTo>
                    <a:pt x="323" y="300"/>
                  </a:lnTo>
                  <a:lnTo>
                    <a:pt x="323" y="302"/>
                  </a:lnTo>
                  <a:lnTo>
                    <a:pt x="323" y="300"/>
                  </a:lnTo>
                  <a:lnTo>
                    <a:pt x="323" y="302"/>
                  </a:lnTo>
                  <a:lnTo>
                    <a:pt x="325" y="302"/>
                  </a:lnTo>
                  <a:lnTo>
                    <a:pt x="327" y="302"/>
                  </a:lnTo>
                  <a:lnTo>
                    <a:pt x="325" y="302"/>
                  </a:lnTo>
                  <a:lnTo>
                    <a:pt x="325" y="304"/>
                  </a:lnTo>
                  <a:lnTo>
                    <a:pt x="325" y="306"/>
                  </a:lnTo>
                  <a:lnTo>
                    <a:pt x="325" y="308"/>
                  </a:lnTo>
                  <a:lnTo>
                    <a:pt x="327" y="308"/>
                  </a:lnTo>
                  <a:lnTo>
                    <a:pt x="325" y="308"/>
                  </a:lnTo>
                  <a:lnTo>
                    <a:pt x="327" y="308"/>
                  </a:lnTo>
                  <a:lnTo>
                    <a:pt x="325" y="308"/>
                  </a:lnTo>
                  <a:lnTo>
                    <a:pt x="325" y="309"/>
                  </a:lnTo>
                  <a:lnTo>
                    <a:pt x="327" y="309"/>
                  </a:lnTo>
                  <a:lnTo>
                    <a:pt x="325" y="309"/>
                  </a:lnTo>
                  <a:lnTo>
                    <a:pt x="327" y="309"/>
                  </a:lnTo>
                  <a:lnTo>
                    <a:pt x="329" y="309"/>
                  </a:lnTo>
                  <a:lnTo>
                    <a:pt x="329" y="311"/>
                  </a:lnTo>
                  <a:lnTo>
                    <a:pt x="329" y="313"/>
                  </a:lnTo>
                  <a:lnTo>
                    <a:pt x="329" y="315"/>
                  </a:lnTo>
                  <a:lnTo>
                    <a:pt x="330" y="315"/>
                  </a:lnTo>
                  <a:lnTo>
                    <a:pt x="330" y="313"/>
                  </a:lnTo>
                  <a:lnTo>
                    <a:pt x="332" y="313"/>
                  </a:lnTo>
                  <a:lnTo>
                    <a:pt x="330" y="313"/>
                  </a:lnTo>
                  <a:lnTo>
                    <a:pt x="332" y="313"/>
                  </a:lnTo>
                  <a:lnTo>
                    <a:pt x="332" y="315"/>
                  </a:lnTo>
                  <a:lnTo>
                    <a:pt x="334" y="315"/>
                  </a:lnTo>
                  <a:lnTo>
                    <a:pt x="334" y="317"/>
                  </a:lnTo>
                  <a:lnTo>
                    <a:pt x="336" y="319"/>
                  </a:lnTo>
                  <a:lnTo>
                    <a:pt x="338" y="317"/>
                  </a:lnTo>
                  <a:lnTo>
                    <a:pt x="338" y="315"/>
                  </a:lnTo>
                  <a:lnTo>
                    <a:pt x="338" y="313"/>
                  </a:lnTo>
                  <a:lnTo>
                    <a:pt x="338" y="311"/>
                  </a:lnTo>
                  <a:lnTo>
                    <a:pt x="340" y="311"/>
                  </a:lnTo>
                  <a:lnTo>
                    <a:pt x="340" y="309"/>
                  </a:lnTo>
                  <a:lnTo>
                    <a:pt x="338" y="309"/>
                  </a:lnTo>
                  <a:lnTo>
                    <a:pt x="336" y="309"/>
                  </a:lnTo>
                  <a:lnTo>
                    <a:pt x="336" y="308"/>
                  </a:lnTo>
                  <a:lnTo>
                    <a:pt x="338" y="308"/>
                  </a:lnTo>
                  <a:lnTo>
                    <a:pt x="340" y="308"/>
                  </a:lnTo>
                  <a:lnTo>
                    <a:pt x="342" y="308"/>
                  </a:lnTo>
                  <a:lnTo>
                    <a:pt x="342" y="306"/>
                  </a:lnTo>
                  <a:lnTo>
                    <a:pt x="344" y="306"/>
                  </a:lnTo>
                  <a:lnTo>
                    <a:pt x="346" y="304"/>
                  </a:lnTo>
                  <a:lnTo>
                    <a:pt x="346" y="302"/>
                  </a:lnTo>
                  <a:lnTo>
                    <a:pt x="348" y="302"/>
                  </a:lnTo>
                  <a:lnTo>
                    <a:pt x="348" y="300"/>
                  </a:lnTo>
                  <a:lnTo>
                    <a:pt x="348" y="298"/>
                  </a:lnTo>
                  <a:lnTo>
                    <a:pt x="348" y="296"/>
                  </a:lnTo>
                  <a:lnTo>
                    <a:pt x="350" y="294"/>
                  </a:lnTo>
                  <a:lnTo>
                    <a:pt x="350" y="292"/>
                  </a:lnTo>
                  <a:lnTo>
                    <a:pt x="350" y="290"/>
                  </a:lnTo>
                  <a:lnTo>
                    <a:pt x="352" y="290"/>
                  </a:lnTo>
                  <a:lnTo>
                    <a:pt x="354" y="288"/>
                  </a:lnTo>
                  <a:lnTo>
                    <a:pt x="355" y="288"/>
                  </a:lnTo>
                  <a:lnTo>
                    <a:pt x="357" y="286"/>
                  </a:lnTo>
                  <a:lnTo>
                    <a:pt x="357" y="284"/>
                  </a:lnTo>
                  <a:lnTo>
                    <a:pt x="359" y="284"/>
                  </a:lnTo>
                  <a:lnTo>
                    <a:pt x="359" y="283"/>
                  </a:lnTo>
                  <a:lnTo>
                    <a:pt x="357" y="283"/>
                  </a:lnTo>
                  <a:lnTo>
                    <a:pt x="359" y="283"/>
                  </a:lnTo>
                  <a:lnTo>
                    <a:pt x="357" y="283"/>
                  </a:lnTo>
                  <a:lnTo>
                    <a:pt x="359" y="283"/>
                  </a:lnTo>
                  <a:lnTo>
                    <a:pt x="359" y="281"/>
                  </a:lnTo>
                  <a:lnTo>
                    <a:pt x="357" y="281"/>
                  </a:lnTo>
                  <a:lnTo>
                    <a:pt x="355" y="281"/>
                  </a:lnTo>
                  <a:lnTo>
                    <a:pt x="355" y="279"/>
                  </a:lnTo>
                  <a:lnTo>
                    <a:pt x="355" y="277"/>
                  </a:lnTo>
                  <a:lnTo>
                    <a:pt x="357" y="277"/>
                  </a:lnTo>
                  <a:lnTo>
                    <a:pt x="357" y="275"/>
                  </a:lnTo>
                  <a:lnTo>
                    <a:pt x="357" y="273"/>
                  </a:lnTo>
                  <a:lnTo>
                    <a:pt x="357" y="271"/>
                  </a:lnTo>
                  <a:lnTo>
                    <a:pt x="359" y="271"/>
                  </a:lnTo>
                  <a:lnTo>
                    <a:pt x="357" y="271"/>
                  </a:lnTo>
                  <a:lnTo>
                    <a:pt x="357" y="269"/>
                  </a:lnTo>
                  <a:lnTo>
                    <a:pt x="357" y="267"/>
                  </a:lnTo>
                  <a:lnTo>
                    <a:pt x="359" y="267"/>
                  </a:lnTo>
                  <a:lnTo>
                    <a:pt x="359" y="265"/>
                  </a:lnTo>
                  <a:lnTo>
                    <a:pt x="361" y="265"/>
                  </a:lnTo>
                  <a:lnTo>
                    <a:pt x="361" y="263"/>
                  </a:lnTo>
                  <a:lnTo>
                    <a:pt x="363" y="263"/>
                  </a:lnTo>
                  <a:lnTo>
                    <a:pt x="363" y="261"/>
                  </a:lnTo>
                  <a:lnTo>
                    <a:pt x="365" y="260"/>
                  </a:lnTo>
                  <a:lnTo>
                    <a:pt x="367" y="258"/>
                  </a:lnTo>
                  <a:lnTo>
                    <a:pt x="367" y="256"/>
                  </a:lnTo>
                  <a:lnTo>
                    <a:pt x="369" y="256"/>
                  </a:lnTo>
                  <a:lnTo>
                    <a:pt x="369" y="254"/>
                  </a:lnTo>
                  <a:lnTo>
                    <a:pt x="371" y="252"/>
                  </a:lnTo>
                  <a:lnTo>
                    <a:pt x="373" y="252"/>
                  </a:lnTo>
                  <a:lnTo>
                    <a:pt x="373" y="250"/>
                  </a:lnTo>
                  <a:lnTo>
                    <a:pt x="375" y="250"/>
                  </a:lnTo>
                  <a:lnTo>
                    <a:pt x="375" y="248"/>
                  </a:lnTo>
                  <a:lnTo>
                    <a:pt x="375" y="246"/>
                  </a:lnTo>
                  <a:lnTo>
                    <a:pt x="377" y="246"/>
                  </a:lnTo>
                  <a:lnTo>
                    <a:pt x="378" y="246"/>
                  </a:lnTo>
                  <a:lnTo>
                    <a:pt x="380" y="246"/>
                  </a:lnTo>
                  <a:lnTo>
                    <a:pt x="380" y="244"/>
                  </a:lnTo>
                  <a:lnTo>
                    <a:pt x="382" y="244"/>
                  </a:lnTo>
                  <a:lnTo>
                    <a:pt x="384" y="244"/>
                  </a:lnTo>
                  <a:lnTo>
                    <a:pt x="384" y="242"/>
                  </a:lnTo>
                  <a:lnTo>
                    <a:pt x="386" y="242"/>
                  </a:lnTo>
                  <a:lnTo>
                    <a:pt x="388" y="242"/>
                  </a:lnTo>
                  <a:lnTo>
                    <a:pt x="386" y="240"/>
                  </a:lnTo>
                  <a:lnTo>
                    <a:pt x="384" y="240"/>
                  </a:lnTo>
                  <a:lnTo>
                    <a:pt x="384" y="242"/>
                  </a:lnTo>
                  <a:lnTo>
                    <a:pt x="382" y="242"/>
                  </a:lnTo>
                  <a:lnTo>
                    <a:pt x="380" y="242"/>
                  </a:lnTo>
                  <a:lnTo>
                    <a:pt x="380" y="244"/>
                  </a:lnTo>
                  <a:lnTo>
                    <a:pt x="380" y="242"/>
                  </a:lnTo>
                  <a:lnTo>
                    <a:pt x="378" y="242"/>
                  </a:lnTo>
                  <a:lnTo>
                    <a:pt x="377" y="244"/>
                  </a:lnTo>
                  <a:lnTo>
                    <a:pt x="375" y="244"/>
                  </a:lnTo>
                  <a:lnTo>
                    <a:pt x="373" y="246"/>
                  </a:lnTo>
                  <a:lnTo>
                    <a:pt x="371" y="248"/>
                  </a:lnTo>
                  <a:lnTo>
                    <a:pt x="371" y="250"/>
                  </a:lnTo>
                  <a:lnTo>
                    <a:pt x="369" y="250"/>
                  </a:lnTo>
                  <a:lnTo>
                    <a:pt x="367" y="250"/>
                  </a:lnTo>
                  <a:lnTo>
                    <a:pt x="365" y="250"/>
                  </a:lnTo>
                  <a:lnTo>
                    <a:pt x="365" y="248"/>
                  </a:lnTo>
                  <a:lnTo>
                    <a:pt x="365" y="246"/>
                  </a:lnTo>
                  <a:lnTo>
                    <a:pt x="365" y="244"/>
                  </a:lnTo>
                  <a:lnTo>
                    <a:pt x="367" y="244"/>
                  </a:lnTo>
                  <a:lnTo>
                    <a:pt x="369" y="242"/>
                  </a:lnTo>
                  <a:lnTo>
                    <a:pt x="369" y="240"/>
                  </a:lnTo>
                  <a:lnTo>
                    <a:pt x="371" y="240"/>
                  </a:lnTo>
                  <a:lnTo>
                    <a:pt x="373" y="240"/>
                  </a:lnTo>
                  <a:lnTo>
                    <a:pt x="373" y="238"/>
                  </a:lnTo>
                  <a:lnTo>
                    <a:pt x="375" y="238"/>
                  </a:lnTo>
                  <a:lnTo>
                    <a:pt x="375" y="236"/>
                  </a:lnTo>
                  <a:lnTo>
                    <a:pt x="377" y="236"/>
                  </a:lnTo>
                  <a:lnTo>
                    <a:pt x="378" y="236"/>
                  </a:lnTo>
                  <a:lnTo>
                    <a:pt x="380" y="236"/>
                  </a:lnTo>
                  <a:lnTo>
                    <a:pt x="380" y="235"/>
                  </a:lnTo>
                  <a:lnTo>
                    <a:pt x="380" y="236"/>
                  </a:lnTo>
                  <a:lnTo>
                    <a:pt x="382" y="235"/>
                  </a:lnTo>
                  <a:lnTo>
                    <a:pt x="382" y="233"/>
                  </a:lnTo>
                  <a:lnTo>
                    <a:pt x="384" y="233"/>
                  </a:lnTo>
                  <a:lnTo>
                    <a:pt x="384" y="235"/>
                  </a:lnTo>
                  <a:lnTo>
                    <a:pt x="382" y="235"/>
                  </a:lnTo>
                  <a:lnTo>
                    <a:pt x="384" y="235"/>
                  </a:lnTo>
                  <a:lnTo>
                    <a:pt x="384" y="233"/>
                  </a:lnTo>
                  <a:lnTo>
                    <a:pt x="386" y="233"/>
                  </a:lnTo>
                  <a:lnTo>
                    <a:pt x="388" y="233"/>
                  </a:lnTo>
                  <a:lnTo>
                    <a:pt x="388" y="231"/>
                  </a:lnTo>
                  <a:lnTo>
                    <a:pt x="388" y="233"/>
                  </a:lnTo>
                  <a:lnTo>
                    <a:pt x="390" y="233"/>
                  </a:lnTo>
                  <a:lnTo>
                    <a:pt x="388" y="233"/>
                  </a:lnTo>
                  <a:lnTo>
                    <a:pt x="388" y="235"/>
                  </a:lnTo>
                  <a:lnTo>
                    <a:pt x="390" y="233"/>
                  </a:lnTo>
                  <a:lnTo>
                    <a:pt x="390" y="231"/>
                  </a:lnTo>
                  <a:lnTo>
                    <a:pt x="392" y="231"/>
                  </a:lnTo>
                  <a:lnTo>
                    <a:pt x="392" y="229"/>
                  </a:lnTo>
                  <a:lnTo>
                    <a:pt x="394" y="229"/>
                  </a:lnTo>
                  <a:lnTo>
                    <a:pt x="396" y="229"/>
                  </a:lnTo>
                  <a:lnTo>
                    <a:pt x="396" y="231"/>
                  </a:lnTo>
                  <a:close/>
                  <a:moveTo>
                    <a:pt x="544" y="327"/>
                  </a:moveTo>
                  <a:lnTo>
                    <a:pt x="544" y="329"/>
                  </a:lnTo>
                  <a:lnTo>
                    <a:pt x="544" y="327"/>
                  </a:lnTo>
                  <a:lnTo>
                    <a:pt x="544" y="329"/>
                  </a:lnTo>
                  <a:lnTo>
                    <a:pt x="546" y="329"/>
                  </a:lnTo>
                  <a:lnTo>
                    <a:pt x="544" y="329"/>
                  </a:lnTo>
                  <a:lnTo>
                    <a:pt x="542" y="329"/>
                  </a:lnTo>
                  <a:lnTo>
                    <a:pt x="544" y="329"/>
                  </a:lnTo>
                  <a:lnTo>
                    <a:pt x="544" y="331"/>
                  </a:lnTo>
                  <a:lnTo>
                    <a:pt x="546" y="331"/>
                  </a:lnTo>
                  <a:lnTo>
                    <a:pt x="546" y="332"/>
                  </a:lnTo>
                  <a:lnTo>
                    <a:pt x="544" y="332"/>
                  </a:lnTo>
                  <a:lnTo>
                    <a:pt x="542" y="332"/>
                  </a:lnTo>
                  <a:lnTo>
                    <a:pt x="544" y="332"/>
                  </a:lnTo>
                  <a:lnTo>
                    <a:pt x="544" y="334"/>
                  </a:lnTo>
                  <a:lnTo>
                    <a:pt x="544" y="332"/>
                  </a:lnTo>
                  <a:lnTo>
                    <a:pt x="544" y="334"/>
                  </a:lnTo>
                  <a:lnTo>
                    <a:pt x="544" y="332"/>
                  </a:lnTo>
                  <a:lnTo>
                    <a:pt x="544" y="334"/>
                  </a:lnTo>
                  <a:lnTo>
                    <a:pt x="544" y="332"/>
                  </a:lnTo>
                  <a:lnTo>
                    <a:pt x="546" y="332"/>
                  </a:lnTo>
                  <a:lnTo>
                    <a:pt x="544" y="332"/>
                  </a:lnTo>
                  <a:lnTo>
                    <a:pt x="544" y="334"/>
                  </a:lnTo>
                  <a:lnTo>
                    <a:pt x="546" y="334"/>
                  </a:lnTo>
                  <a:lnTo>
                    <a:pt x="546" y="332"/>
                  </a:lnTo>
                  <a:lnTo>
                    <a:pt x="546" y="334"/>
                  </a:lnTo>
                  <a:lnTo>
                    <a:pt x="547" y="334"/>
                  </a:lnTo>
                  <a:lnTo>
                    <a:pt x="547" y="336"/>
                  </a:lnTo>
                  <a:lnTo>
                    <a:pt x="547" y="338"/>
                  </a:lnTo>
                  <a:lnTo>
                    <a:pt x="549" y="338"/>
                  </a:lnTo>
                  <a:lnTo>
                    <a:pt x="549" y="340"/>
                  </a:lnTo>
                  <a:lnTo>
                    <a:pt x="549" y="338"/>
                  </a:lnTo>
                  <a:lnTo>
                    <a:pt x="547" y="338"/>
                  </a:lnTo>
                  <a:lnTo>
                    <a:pt x="547" y="340"/>
                  </a:lnTo>
                  <a:lnTo>
                    <a:pt x="549" y="340"/>
                  </a:lnTo>
                  <a:lnTo>
                    <a:pt x="547" y="340"/>
                  </a:lnTo>
                  <a:lnTo>
                    <a:pt x="549" y="340"/>
                  </a:lnTo>
                  <a:lnTo>
                    <a:pt x="547" y="340"/>
                  </a:lnTo>
                  <a:lnTo>
                    <a:pt x="546" y="340"/>
                  </a:lnTo>
                  <a:lnTo>
                    <a:pt x="547" y="340"/>
                  </a:lnTo>
                  <a:lnTo>
                    <a:pt x="547" y="342"/>
                  </a:lnTo>
                  <a:lnTo>
                    <a:pt x="546" y="342"/>
                  </a:lnTo>
                  <a:lnTo>
                    <a:pt x="547" y="342"/>
                  </a:lnTo>
                  <a:lnTo>
                    <a:pt x="546" y="342"/>
                  </a:lnTo>
                  <a:lnTo>
                    <a:pt x="546" y="340"/>
                  </a:lnTo>
                  <a:lnTo>
                    <a:pt x="546" y="342"/>
                  </a:lnTo>
                  <a:lnTo>
                    <a:pt x="546" y="340"/>
                  </a:lnTo>
                  <a:lnTo>
                    <a:pt x="546" y="342"/>
                  </a:lnTo>
                  <a:lnTo>
                    <a:pt x="546" y="340"/>
                  </a:lnTo>
                  <a:lnTo>
                    <a:pt x="546" y="342"/>
                  </a:lnTo>
                  <a:lnTo>
                    <a:pt x="547" y="342"/>
                  </a:lnTo>
                  <a:lnTo>
                    <a:pt x="547" y="340"/>
                  </a:lnTo>
                  <a:lnTo>
                    <a:pt x="547" y="342"/>
                  </a:lnTo>
                  <a:lnTo>
                    <a:pt x="547" y="344"/>
                  </a:lnTo>
                  <a:lnTo>
                    <a:pt x="547" y="342"/>
                  </a:lnTo>
                  <a:lnTo>
                    <a:pt x="546" y="342"/>
                  </a:lnTo>
                  <a:lnTo>
                    <a:pt x="546" y="344"/>
                  </a:lnTo>
                  <a:lnTo>
                    <a:pt x="547" y="344"/>
                  </a:lnTo>
                  <a:lnTo>
                    <a:pt x="547" y="346"/>
                  </a:lnTo>
                  <a:lnTo>
                    <a:pt x="547" y="344"/>
                  </a:lnTo>
                  <a:lnTo>
                    <a:pt x="547" y="346"/>
                  </a:lnTo>
                  <a:lnTo>
                    <a:pt x="546" y="346"/>
                  </a:lnTo>
                  <a:lnTo>
                    <a:pt x="544" y="346"/>
                  </a:lnTo>
                  <a:lnTo>
                    <a:pt x="542" y="346"/>
                  </a:lnTo>
                  <a:lnTo>
                    <a:pt x="542" y="348"/>
                  </a:lnTo>
                  <a:lnTo>
                    <a:pt x="542" y="346"/>
                  </a:lnTo>
                  <a:lnTo>
                    <a:pt x="542" y="348"/>
                  </a:lnTo>
                  <a:lnTo>
                    <a:pt x="542" y="346"/>
                  </a:lnTo>
                  <a:lnTo>
                    <a:pt x="540" y="346"/>
                  </a:lnTo>
                  <a:lnTo>
                    <a:pt x="540" y="348"/>
                  </a:lnTo>
                  <a:lnTo>
                    <a:pt x="538" y="348"/>
                  </a:lnTo>
                  <a:lnTo>
                    <a:pt x="538" y="350"/>
                  </a:lnTo>
                  <a:lnTo>
                    <a:pt x="536" y="350"/>
                  </a:lnTo>
                  <a:lnTo>
                    <a:pt x="534" y="350"/>
                  </a:lnTo>
                  <a:lnTo>
                    <a:pt x="536" y="350"/>
                  </a:lnTo>
                  <a:lnTo>
                    <a:pt x="534" y="350"/>
                  </a:lnTo>
                  <a:lnTo>
                    <a:pt x="534" y="352"/>
                  </a:lnTo>
                  <a:lnTo>
                    <a:pt x="532" y="352"/>
                  </a:lnTo>
                  <a:lnTo>
                    <a:pt x="532" y="350"/>
                  </a:lnTo>
                  <a:lnTo>
                    <a:pt x="530" y="350"/>
                  </a:lnTo>
                  <a:lnTo>
                    <a:pt x="530" y="352"/>
                  </a:lnTo>
                  <a:lnTo>
                    <a:pt x="532" y="352"/>
                  </a:lnTo>
                  <a:lnTo>
                    <a:pt x="530" y="352"/>
                  </a:lnTo>
                  <a:lnTo>
                    <a:pt x="530" y="354"/>
                  </a:lnTo>
                  <a:lnTo>
                    <a:pt x="530" y="356"/>
                  </a:lnTo>
                  <a:lnTo>
                    <a:pt x="530" y="354"/>
                  </a:lnTo>
                  <a:lnTo>
                    <a:pt x="530" y="356"/>
                  </a:lnTo>
                  <a:lnTo>
                    <a:pt x="530" y="354"/>
                  </a:lnTo>
                  <a:lnTo>
                    <a:pt x="532" y="354"/>
                  </a:lnTo>
                  <a:lnTo>
                    <a:pt x="532" y="356"/>
                  </a:lnTo>
                  <a:lnTo>
                    <a:pt x="532" y="354"/>
                  </a:lnTo>
                  <a:lnTo>
                    <a:pt x="534" y="354"/>
                  </a:lnTo>
                  <a:lnTo>
                    <a:pt x="534" y="356"/>
                  </a:lnTo>
                  <a:lnTo>
                    <a:pt x="536" y="356"/>
                  </a:lnTo>
                  <a:lnTo>
                    <a:pt x="534" y="356"/>
                  </a:lnTo>
                  <a:lnTo>
                    <a:pt x="534" y="357"/>
                  </a:lnTo>
                  <a:lnTo>
                    <a:pt x="536" y="357"/>
                  </a:lnTo>
                  <a:lnTo>
                    <a:pt x="534" y="357"/>
                  </a:lnTo>
                  <a:lnTo>
                    <a:pt x="534" y="359"/>
                  </a:lnTo>
                  <a:lnTo>
                    <a:pt x="536" y="359"/>
                  </a:lnTo>
                  <a:lnTo>
                    <a:pt x="536" y="357"/>
                  </a:lnTo>
                  <a:lnTo>
                    <a:pt x="536" y="359"/>
                  </a:lnTo>
                  <a:lnTo>
                    <a:pt x="538" y="359"/>
                  </a:lnTo>
                  <a:lnTo>
                    <a:pt x="538" y="361"/>
                  </a:lnTo>
                  <a:lnTo>
                    <a:pt x="538" y="359"/>
                  </a:lnTo>
                  <a:lnTo>
                    <a:pt x="538" y="361"/>
                  </a:lnTo>
                  <a:lnTo>
                    <a:pt x="538" y="363"/>
                  </a:lnTo>
                  <a:lnTo>
                    <a:pt x="536" y="363"/>
                  </a:lnTo>
                  <a:lnTo>
                    <a:pt x="536" y="365"/>
                  </a:lnTo>
                  <a:lnTo>
                    <a:pt x="536" y="363"/>
                  </a:lnTo>
                  <a:lnTo>
                    <a:pt x="536" y="365"/>
                  </a:lnTo>
                  <a:lnTo>
                    <a:pt x="536" y="363"/>
                  </a:lnTo>
                  <a:lnTo>
                    <a:pt x="538" y="363"/>
                  </a:lnTo>
                  <a:lnTo>
                    <a:pt x="538" y="361"/>
                  </a:lnTo>
                  <a:lnTo>
                    <a:pt x="538" y="359"/>
                  </a:lnTo>
                  <a:lnTo>
                    <a:pt x="540" y="359"/>
                  </a:lnTo>
                  <a:lnTo>
                    <a:pt x="538" y="359"/>
                  </a:lnTo>
                  <a:lnTo>
                    <a:pt x="540" y="359"/>
                  </a:lnTo>
                  <a:lnTo>
                    <a:pt x="540" y="361"/>
                  </a:lnTo>
                  <a:lnTo>
                    <a:pt x="538" y="361"/>
                  </a:lnTo>
                  <a:lnTo>
                    <a:pt x="540" y="361"/>
                  </a:lnTo>
                  <a:lnTo>
                    <a:pt x="540" y="359"/>
                  </a:lnTo>
                  <a:lnTo>
                    <a:pt x="540" y="361"/>
                  </a:lnTo>
                  <a:lnTo>
                    <a:pt x="542" y="361"/>
                  </a:lnTo>
                  <a:lnTo>
                    <a:pt x="542" y="359"/>
                  </a:lnTo>
                  <a:lnTo>
                    <a:pt x="540" y="359"/>
                  </a:lnTo>
                  <a:lnTo>
                    <a:pt x="540" y="361"/>
                  </a:lnTo>
                  <a:lnTo>
                    <a:pt x="540" y="359"/>
                  </a:lnTo>
                  <a:lnTo>
                    <a:pt x="540" y="361"/>
                  </a:lnTo>
                  <a:lnTo>
                    <a:pt x="540" y="359"/>
                  </a:lnTo>
                  <a:lnTo>
                    <a:pt x="538" y="359"/>
                  </a:lnTo>
                  <a:lnTo>
                    <a:pt x="538" y="357"/>
                  </a:lnTo>
                  <a:lnTo>
                    <a:pt x="540" y="357"/>
                  </a:lnTo>
                  <a:lnTo>
                    <a:pt x="540" y="356"/>
                  </a:lnTo>
                  <a:lnTo>
                    <a:pt x="542" y="356"/>
                  </a:lnTo>
                  <a:lnTo>
                    <a:pt x="542" y="354"/>
                  </a:lnTo>
                  <a:lnTo>
                    <a:pt x="542" y="356"/>
                  </a:lnTo>
                  <a:lnTo>
                    <a:pt x="544" y="356"/>
                  </a:lnTo>
                  <a:lnTo>
                    <a:pt x="544" y="354"/>
                  </a:lnTo>
                  <a:lnTo>
                    <a:pt x="546" y="354"/>
                  </a:lnTo>
                  <a:lnTo>
                    <a:pt x="544" y="354"/>
                  </a:lnTo>
                  <a:lnTo>
                    <a:pt x="546" y="354"/>
                  </a:lnTo>
                  <a:lnTo>
                    <a:pt x="544" y="354"/>
                  </a:lnTo>
                  <a:lnTo>
                    <a:pt x="546" y="354"/>
                  </a:lnTo>
                  <a:lnTo>
                    <a:pt x="547" y="354"/>
                  </a:lnTo>
                  <a:lnTo>
                    <a:pt x="547" y="356"/>
                  </a:lnTo>
                  <a:lnTo>
                    <a:pt x="547" y="354"/>
                  </a:lnTo>
                  <a:lnTo>
                    <a:pt x="547" y="356"/>
                  </a:lnTo>
                  <a:lnTo>
                    <a:pt x="547" y="354"/>
                  </a:lnTo>
                  <a:lnTo>
                    <a:pt x="547" y="356"/>
                  </a:lnTo>
                  <a:lnTo>
                    <a:pt x="547" y="357"/>
                  </a:lnTo>
                  <a:lnTo>
                    <a:pt x="547" y="356"/>
                  </a:lnTo>
                  <a:lnTo>
                    <a:pt x="549" y="356"/>
                  </a:lnTo>
                  <a:lnTo>
                    <a:pt x="547" y="356"/>
                  </a:lnTo>
                  <a:lnTo>
                    <a:pt x="549" y="356"/>
                  </a:lnTo>
                  <a:lnTo>
                    <a:pt x="549" y="357"/>
                  </a:lnTo>
                  <a:lnTo>
                    <a:pt x="547" y="357"/>
                  </a:lnTo>
                  <a:lnTo>
                    <a:pt x="549" y="357"/>
                  </a:lnTo>
                  <a:lnTo>
                    <a:pt x="549" y="359"/>
                  </a:lnTo>
                  <a:lnTo>
                    <a:pt x="551" y="359"/>
                  </a:lnTo>
                  <a:lnTo>
                    <a:pt x="549" y="359"/>
                  </a:lnTo>
                  <a:lnTo>
                    <a:pt x="549" y="361"/>
                  </a:lnTo>
                  <a:lnTo>
                    <a:pt x="549" y="363"/>
                  </a:lnTo>
                  <a:lnTo>
                    <a:pt x="549" y="361"/>
                  </a:lnTo>
                  <a:lnTo>
                    <a:pt x="547" y="361"/>
                  </a:lnTo>
                  <a:lnTo>
                    <a:pt x="547" y="363"/>
                  </a:lnTo>
                  <a:lnTo>
                    <a:pt x="549" y="363"/>
                  </a:lnTo>
                  <a:lnTo>
                    <a:pt x="551" y="363"/>
                  </a:lnTo>
                  <a:lnTo>
                    <a:pt x="549" y="365"/>
                  </a:lnTo>
                  <a:lnTo>
                    <a:pt x="551" y="365"/>
                  </a:lnTo>
                  <a:lnTo>
                    <a:pt x="549" y="365"/>
                  </a:lnTo>
                  <a:lnTo>
                    <a:pt x="551" y="365"/>
                  </a:lnTo>
                  <a:lnTo>
                    <a:pt x="549" y="365"/>
                  </a:lnTo>
                  <a:lnTo>
                    <a:pt x="551" y="365"/>
                  </a:lnTo>
                  <a:lnTo>
                    <a:pt x="551" y="367"/>
                  </a:lnTo>
                  <a:lnTo>
                    <a:pt x="551" y="369"/>
                  </a:lnTo>
                  <a:lnTo>
                    <a:pt x="551" y="367"/>
                  </a:lnTo>
                  <a:lnTo>
                    <a:pt x="551" y="369"/>
                  </a:lnTo>
                  <a:lnTo>
                    <a:pt x="551" y="367"/>
                  </a:lnTo>
                  <a:lnTo>
                    <a:pt x="551" y="369"/>
                  </a:lnTo>
                  <a:lnTo>
                    <a:pt x="551" y="367"/>
                  </a:lnTo>
                  <a:lnTo>
                    <a:pt x="551" y="369"/>
                  </a:lnTo>
                  <a:lnTo>
                    <a:pt x="553" y="369"/>
                  </a:lnTo>
                  <a:lnTo>
                    <a:pt x="553" y="371"/>
                  </a:lnTo>
                  <a:lnTo>
                    <a:pt x="551" y="371"/>
                  </a:lnTo>
                  <a:lnTo>
                    <a:pt x="551" y="369"/>
                  </a:lnTo>
                  <a:lnTo>
                    <a:pt x="551" y="371"/>
                  </a:lnTo>
                  <a:lnTo>
                    <a:pt x="551" y="373"/>
                  </a:lnTo>
                  <a:lnTo>
                    <a:pt x="551" y="371"/>
                  </a:lnTo>
                  <a:lnTo>
                    <a:pt x="553" y="371"/>
                  </a:lnTo>
                  <a:lnTo>
                    <a:pt x="553" y="373"/>
                  </a:lnTo>
                  <a:lnTo>
                    <a:pt x="551" y="373"/>
                  </a:lnTo>
                  <a:lnTo>
                    <a:pt x="553" y="373"/>
                  </a:lnTo>
                  <a:lnTo>
                    <a:pt x="551" y="373"/>
                  </a:lnTo>
                  <a:lnTo>
                    <a:pt x="553" y="373"/>
                  </a:lnTo>
                  <a:lnTo>
                    <a:pt x="553" y="375"/>
                  </a:lnTo>
                  <a:lnTo>
                    <a:pt x="551" y="375"/>
                  </a:lnTo>
                  <a:lnTo>
                    <a:pt x="551" y="373"/>
                  </a:lnTo>
                  <a:lnTo>
                    <a:pt x="551" y="375"/>
                  </a:lnTo>
                  <a:lnTo>
                    <a:pt x="551" y="377"/>
                  </a:lnTo>
                  <a:lnTo>
                    <a:pt x="549" y="377"/>
                  </a:lnTo>
                  <a:lnTo>
                    <a:pt x="551" y="377"/>
                  </a:lnTo>
                  <a:lnTo>
                    <a:pt x="551" y="379"/>
                  </a:lnTo>
                  <a:lnTo>
                    <a:pt x="551" y="380"/>
                  </a:lnTo>
                  <a:lnTo>
                    <a:pt x="551" y="382"/>
                  </a:lnTo>
                  <a:lnTo>
                    <a:pt x="551" y="380"/>
                  </a:lnTo>
                  <a:lnTo>
                    <a:pt x="551" y="382"/>
                  </a:lnTo>
                  <a:lnTo>
                    <a:pt x="551" y="384"/>
                  </a:lnTo>
                  <a:lnTo>
                    <a:pt x="551" y="386"/>
                  </a:lnTo>
                  <a:lnTo>
                    <a:pt x="549" y="386"/>
                  </a:lnTo>
                  <a:lnTo>
                    <a:pt x="549" y="384"/>
                  </a:lnTo>
                  <a:lnTo>
                    <a:pt x="549" y="382"/>
                  </a:lnTo>
                  <a:lnTo>
                    <a:pt x="547" y="382"/>
                  </a:lnTo>
                  <a:lnTo>
                    <a:pt x="547" y="380"/>
                  </a:lnTo>
                  <a:lnTo>
                    <a:pt x="547" y="382"/>
                  </a:lnTo>
                  <a:lnTo>
                    <a:pt x="547" y="380"/>
                  </a:lnTo>
                  <a:lnTo>
                    <a:pt x="547" y="382"/>
                  </a:lnTo>
                  <a:lnTo>
                    <a:pt x="547" y="384"/>
                  </a:lnTo>
                  <a:lnTo>
                    <a:pt x="549" y="384"/>
                  </a:lnTo>
                  <a:lnTo>
                    <a:pt x="549" y="386"/>
                  </a:lnTo>
                  <a:lnTo>
                    <a:pt x="547" y="386"/>
                  </a:lnTo>
                  <a:lnTo>
                    <a:pt x="547" y="384"/>
                  </a:lnTo>
                  <a:lnTo>
                    <a:pt x="546" y="384"/>
                  </a:lnTo>
                  <a:lnTo>
                    <a:pt x="546" y="382"/>
                  </a:lnTo>
                  <a:lnTo>
                    <a:pt x="546" y="380"/>
                  </a:lnTo>
                  <a:lnTo>
                    <a:pt x="546" y="379"/>
                  </a:lnTo>
                  <a:lnTo>
                    <a:pt x="546" y="380"/>
                  </a:lnTo>
                  <a:lnTo>
                    <a:pt x="546" y="379"/>
                  </a:lnTo>
                  <a:lnTo>
                    <a:pt x="544" y="379"/>
                  </a:lnTo>
                  <a:lnTo>
                    <a:pt x="544" y="377"/>
                  </a:lnTo>
                  <a:lnTo>
                    <a:pt x="544" y="379"/>
                  </a:lnTo>
                  <a:lnTo>
                    <a:pt x="544" y="377"/>
                  </a:lnTo>
                  <a:lnTo>
                    <a:pt x="544" y="379"/>
                  </a:lnTo>
                  <a:lnTo>
                    <a:pt x="542" y="379"/>
                  </a:lnTo>
                  <a:lnTo>
                    <a:pt x="542" y="377"/>
                  </a:lnTo>
                  <a:lnTo>
                    <a:pt x="542" y="379"/>
                  </a:lnTo>
                  <a:lnTo>
                    <a:pt x="542" y="380"/>
                  </a:lnTo>
                  <a:lnTo>
                    <a:pt x="544" y="380"/>
                  </a:lnTo>
                  <a:lnTo>
                    <a:pt x="542" y="380"/>
                  </a:lnTo>
                  <a:lnTo>
                    <a:pt x="540" y="380"/>
                  </a:lnTo>
                  <a:lnTo>
                    <a:pt x="538" y="380"/>
                  </a:lnTo>
                  <a:lnTo>
                    <a:pt x="540" y="380"/>
                  </a:lnTo>
                  <a:lnTo>
                    <a:pt x="538" y="380"/>
                  </a:lnTo>
                  <a:lnTo>
                    <a:pt x="540" y="380"/>
                  </a:lnTo>
                  <a:lnTo>
                    <a:pt x="538" y="380"/>
                  </a:lnTo>
                  <a:lnTo>
                    <a:pt x="540" y="380"/>
                  </a:lnTo>
                  <a:lnTo>
                    <a:pt x="542" y="380"/>
                  </a:lnTo>
                  <a:lnTo>
                    <a:pt x="542" y="382"/>
                  </a:lnTo>
                  <a:lnTo>
                    <a:pt x="542" y="380"/>
                  </a:lnTo>
                  <a:lnTo>
                    <a:pt x="542" y="382"/>
                  </a:lnTo>
                  <a:lnTo>
                    <a:pt x="542" y="380"/>
                  </a:lnTo>
                  <a:lnTo>
                    <a:pt x="542" y="382"/>
                  </a:lnTo>
                  <a:lnTo>
                    <a:pt x="544" y="382"/>
                  </a:lnTo>
                  <a:lnTo>
                    <a:pt x="542" y="382"/>
                  </a:lnTo>
                  <a:lnTo>
                    <a:pt x="542" y="384"/>
                  </a:lnTo>
                  <a:lnTo>
                    <a:pt x="544" y="382"/>
                  </a:lnTo>
                  <a:lnTo>
                    <a:pt x="544" y="380"/>
                  </a:lnTo>
                  <a:lnTo>
                    <a:pt x="546" y="380"/>
                  </a:lnTo>
                  <a:lnTo>
                    <a:pt x="546" y="382"/>
                  </a:lnTo>
                  <a:lnTo>
                    <a:pt x="546" y="384"/>
                  </a:lnTo>
                  <a:lnTo>
                    <a:pt x="546" y="382"/>
                  </a:lnTo>
                  <a:lnTo>
                    <a:pt x="546" y="384"/>
                  </a:lnTo>
                  <a:lnTo>
                    <a:pt x="546" y="386"/>
                  </a:lnTo>
                  <a:lnTo>
                    <a:pt x="547" y="386"/>
                  </a:lnTo>
                  <a:lnTo>
                    <a:pt x="547" y="388"/>
                  </a:lnTo>
                  <a:lnTo>
                    <a:pt x="549" y="388"/>
                  </a:lnTo>
                  <a:lnTo>
                    <a:pt x="549" y="390"/>
                  </a:lnTo>
                  <a:lnTo>
                    <a:pt x="549" y="388"/>
                  </a:lnTo>
                  <a:lnTo>
                    <a:pt x="551" y="388"/>
                  </a:lnTo>
                  <a:lnTo>
                    <a:pt x="551" y="390"/>
                  </a:lnTo>
                  <a:lnTo>
                    <a:pt x="551" y="388"/>
                  </a:lnTo>
                  <a:lnTo>
                    <a:pt x="551" y="390"/>
                  </a:lnTo>
                  <a:lnTo>
                    <a:pt x="551" y="392"/>
                  </a:lnTo>
                  <a:lnTo>
                    <a:pt x="551" y="394"/>
                  </a:lnTo>
                  <a:lnTo>
                    <a:pt x="551" y="396"/>
                  </a:lnTo>
                  <a:lnTo>
                    <a:pt x="551" y="394"/>
                  </a:lnTo>
                  <a:lnTo>
                    <a:pt x="549" y="394"/>
                  </a:lnTo>
                  <a:lnTo>
                    <a:pt x="549" y="396"/>
                  </a:lnTo>
                  <a:lnTo>
                    <a:pt x="547" y="396"/>
                  </a:lnTo>
                  <a:lnTo>
                    <a:pt x="549" y="396"/>
                  </a:lnTo>
                  <a:lnTo>
                    <a:pt x="551" y="396"/>
                  </a:lnTo>
                  <a:lnTo>
                    <a:pt x="549" y="396"/>
                  </a:lnTo>
                  <a:lnTo>
                    <a:pt x="551" y="396"/>
                  </a:lnTo>
                  <a:lnTo>
                    <a:pt x="551" y="398"/>
                  </a:lnTo>
                  <a:lnTo>
                    <a:pt x="549" y="398"/>
                  </a:lnTo>
                  <a:lnTo>
                    <a:pt x="551" y="398"/>
                  </a:lnTo>
                  <a:lnTo>
                    <a:pt x="551" y="400"/>
                  </a:lnTo>
                  <a:lnTo>
                    <a:pt x="551" y="402"/>
                  </a:lnTo>
                  <a:lnTo>
                    <a:pt x="549" y="402"/>
                  </a:lnTo>
                  <a:lnTo>
                    <a:pt x="547" y="402"/>
                  </a:lnTo>
                  <a:lnTo>
                    <a:pt x="549" y="402"/>
                  </a:lnTo>
                  <a:lnTo>
                    <a:pt x="551" y="402"/>
                  </a:lnTo>
                  <a:lnTo>
                    <a:pt x="551" y="404"/>
                  </a:lnTo>
                  <a:lnTo>
                    <a:pt x="551" y="405"/>
                  </a:lnTo>
                  <a:lnTo>
                    <a:pt x="551" y="407"/>
                  </a:lnTo>
                  <a:lnTo>
                    <a:pt x="551" y="409"/>
                  </a:lnTo>
                  <a:lnTo>
                    <a:pt x="551" y="411"/>
                  </a:lnTo>
                  <a:lnTo>
                    <a:pt x="549" y="411"/>
                  </a:lnTo>
                  <a:lnTo>
                    <a:pt x="547" y="411"/>
                  </a:lnTo>
                  <a:lnTo>
                    <a:pt x="546" y="411"/>
                  </a:lnTo>
                  <a:lnTo>
                    <a:pt x="547" y="411"/>
                  </a:lnTo>
                  <a:lnTo>
                    <a:pt x="549" y="411"/>
                  </a:lnTo>
                  <a:lnTo>
                    <a:pt x="549" y="413"/>
                  </a:lnTo>
                  <a:lnTo>
                    <a:pt x="547" y="413"/>
                  </a:lnTo>
                  <a:lnTo>
                    <a:pt x="549" y="413"/>
                  </a:lnTo>
                  <a:lnTo>
                    <a:pt x="551" y="413"/>
                  </a:lnTo>
                  <a:lnTo>
                    <a:pt x="551" y="415"/>
                  </a:lnTo>
                  <a:lnTo>
                    <a:pt x="551" y="417"/>
                  </a:lnTo>
                  <a:lnTo>
                    <a:pt x="553" y="417"/>
                  </a:lnTo>
                  <a:lnTo>
                    <a:pt x="553" y="419"/>
                  </a:lnTo>
                  <a:lnTo>
                    <a:pt x="551" y="419"/>
                  </a:lnTo>
                  <a:lnTo>
                    <a:pt x="553" y="419"/>
                  </a:lnTo>
                  <a:lnTo>
                    <a:pt x="553" y="421"/>
                  </a:lnTo>
                  <a:lnTo>
                    <a:pt x="551" y="421"/>
                  </a:lnTo>
                  <a:lnTo>
                    <a:pt x="551" y="423"/>
                  </a:lnTo>
                  <a:lnTo>
                    <a:pt x="551" y="421"/>
                  </a:lnTo>
                  <a:lnTo>
                    <a:pt x="553" y="421"/>
                  </a:lnTo>
                  <a:lnTo>
                    <a:pt x="553" y="423"/>
                  </a:lnTo>
                  <a:lnTo>
                    <a:pt x="553" y="425"/>
                  </a:lnTo>
                  <a:lnTo>
                    <a:pt x="553" y="427"/>
                  </a:lnTo>
                  <a:lnTo>
                    <a:pt x="551" y="427"/>
                  </a:lnTo>
                  <a:lnTo>
                    <a:pt x="551" y="428"/>
                  </a:lnTo>
                  <a:lnTo>
                    <a:pt x="551" y="427"/>
                  </a:lnTo>
                  <a:lnTo>
                    <a:pt x="553" y="427"/>
                  </a:lnTo>
                  <a:lnTo>
                    <a:pt x="553" y="428"/>
                  </a:lnTo>
                  <a:lnTo>
                    <a:pt x="551" y="428"/>
                  </a:lnTo>
                  <a:lnTo>
                    <a:pt x="551" y="430"/>
                  </a:lnTo>
                  <a:lnTo>
                    <a:pt x="549" y="430"/>
                  </a:lnTo>
                  <a:lnTo>
                    <a:pt x="547" y="430"/>
                  </a:lnTo>
                  <a:lnTo>
                    <a:pt x="547" y="432"/>
                  </a:lnTo>
                  <a:lnTo>
                    <a:pt x="547" y="430"/>
                  </a:lnTo>
                  <a:lnTo>
                    <a:pt x="549" y="430"/>
                  </a:lnTo>
                  <a:lnTo>
                    <a:pt x="551" y="430"/>
                  </a:lnTo>
                  <a:lnTo>
                    <a:pt x="553" y="430"/>
                  </a:lnTo>
                  <a:lnTo>
                    <a:pt x="551" y="430"/>
                  </a:lnTo>
                  <a:lnTo>
                    <a:pt x="553" y="430"/>
                  </a:lnTo>
                  <a:lnTo>
                    <a:pt x="553" y="432"/>
                  </a:lnTo>
                  <a:lnTo>
                    <a:pt x="551" y="432"/>
                  </a:lnTo>
                  <a:lnTo>
                    <a:pt x="553" y="432"/>
                  </a:lnTo>
                  <a:lnTo>
                    <a:pt x="551" y="432"/>
                  </a:lnTo>
                  <a:lnTo>
                    <a:pt x="551" y="434"/>
                  </a:lnTo>
                  <a:lnTo>
                    <a:pt x="551" y="436"/>
                  </a:lnTo>
                  <a:lnTo>
                    <a:pt x="551" y="438"/>
                  </a:lnTo>
                  <a:lnTo>
                    <a:pt x="551" y="440"/>
                  </a:lnTo>
                  <a:lnTo>
                    <a:pt x="553" y="440"/>
                  </a:lnTo>
                  <a:lnTo>
                    <a:pt x="551" y="440"/>
                  </a:lnTo>
                  <a:lnTo>
                    <a:pt x="553" y="440"/>
                  </a:lnTo>
                  <a:lnTo>
                    <a:pt x="551" y="440"/>
                  </a:lnTo>
                  <a:lnTo>
                    <a:pt x="553" y="440"/>
                  </a:lnTo>
                  <a:lnTo>
                    <a:pt x="553" y="442"/>
                  </a:lnTo>
                  <a:lnTo>
                    <a:pt x="553" y="440"/>
                  </a:lnTo>
                  <a:lnTo>
                    <a:pt x="553" y="442"/>
                  </a:lnTo>
                  <a:lnTo>
                    <a:pt x="551" y="442"/>
                  </a:lnTo>
                  <a:lnTo>
                    <a:pt x="553" y="442"/>
                  </a:lnTo>
                  <a:lnTo>
                    <a:pt x="551" y="442"/>
                  </a:lnTo>
                  <a:lnTo>
                    <a:pt x="553" y="442"/>
                  </a:lnTo>
                  <a:lnTo>
                    <a:pt x="553" y="444"/>
                  </a:lnTo>
                  <a:lnTo>
                    <a:pt x="553" y="446"/>
                  </a:lnTo>
                  <a:lnTo>
                    <a:pt x="553" y="444"/>
                  </a:lnTo>
                  <a:lnTo>
                    <a:pt x="553" y="442"/>
                  </a:lnTo>
                  <a:lnTo>
                    <a:pt x="553" y="440"/>
                  </a:lnTo>
                  <a:lnTo>
                    <a:pt x="555" y="440"/>
                  </a:lnTo>
                  <a:lnTo>
                    <a:pt x="555" y="442"/>
                  </a:lnTo>
                  <a:lnTo>
                    <a:pt x="555" y="444"/>
                  </a:lnTo>
                  <a:lnTo>
                    <a:pt x="555" y="446"/>
                  </a:lnTo>
                  <a:lnTo>
                    <a:pt x="555" y="444"/>
                  </a:lnTo>
                  <a:lnTo>
                    <a:pt x="557" y="444"/>
                  </a:lnTo>
                  <a:lnTo>
                    <a:pt x="557" y="446"/>
                  </a:lnTo>
                  <a:lnTo>
                    <a:pt x="555" y="446"/>
                  </a:lnTo>
                  <a:lnTo>
                    <a:pt x="557" y="446"/>
                  </a:lnTo>
                  <a:lnTo>
                    <a:pt x="555" y="446"/>
                  </a:lnTo>
                  <a:lnTo>
                    <a:pt x="555" y="448"/>
                  </a:lnTo>
                  <a:lnTo>
                    <a:pt x="555" y="446"/>
                  </a:lnTo>
                  <a:lnTo>
                    <a:pt x="555" y="448"/>
                  </a:lnTo>
                  <a:lnTo>
                    <a:pt x="557" y="448"/>
                  </a:lnTo>
                  <a:lnTo>
                    <a:pt x="557" y="446"/>
                  </a:lnTo>
                  <a:lnTo>
                    <a:pt x="557" y="448"/>
                  </a:lnTo>
                  <a:lnTo>
                    <a:pt x="557" y="450"/>
                  </a:lnTo>
                  <a:lnTo>
                    <a:pt x="557" y="452"/>
                  </a:lnTo>
                  <a:lnTo>
                    <a:pt x="555" y="452"/>
                  </a:lnTo>
                  <a:lnTo>
                    <a:pt x="555" y="453"/>
                  </a:lnTo>
                  <a:lnTo>
                    <a:pt x="555" y="452"/>
                  </a:lnTo>
                  <a:lnTo>
                    <a:pt x="555" y="453"/>
                  </a:lnTo>
                  <a:lnTo>
                    <a:pt x="555" y="455"/>
                  </a:lnTo>
                  <a:lnTo>
                    <a:pt x="555" y="453"/>
                  </a:lnTo>
                  <a:lnTo>
                    <a:pt x="557" y="453"/>
                  </a:lnTo>
                  <a:lnTo>
                    <a:pt x="557" y="455"/>
                  </a:lnTo>
                  <a:lnTo>
                    <a:pt x="557" y="453"/>
                  </a:lnTo>
                  <a:lnTo>
                    <a:pt x="557" y="455"/>
                  </a:lnTo>
                  <a:lnTo>
                    <a:pt x="557" y="453"/>
                  </a:lnTo>
                  <a:lnTo>
                    <a:pt x="559" y="453"/>
                  </a:lnTo>
                  <a:lnTo>
                    <a:pt x="559" y="455"/>
                  </a:lnTo>
                  <a:lnTo>
                    <a:pt x="559" y="453"/>
                  </a:lnTo>
                  <a:lnTo>
                    <a:pt x="559" y="455"/>
                  </a:lnTo>
                  <a:lnTo>
                    <a:pt x="561" y="455"/>
                  </a:lnTo>
                  <a:lnTo>
                    <a:pt x="561" y="457"/>
                  </a:lnTo>
                  <a:lnTo>
                    <a:pt x="561" y="459"/>
                  </a:lnTo>
                  <a:lnTo>
                    <a:pt x="563" y="459"/>
                  </a:lnTo>
                  <a:lnTo>
                    <a:pt x="563" y="461"/>
                  </a:lnTo>
                  <a:lnTo>
                    <a:pt x="563" y="463"/>
                  </a:lnTo>
                  <a:lnTo>
                    <a:pt x="563" y="465"/>
                  </a:lnTo>
                  <a:lnTo>
                    <a:pt x="563" y="467"/>
                  </a:lnTo>
                  <a:lnTo>
                    <a:pt x="563" y="465"/>
                  </a:lnTo>
                  <a:lnTo>
                    <a:pt x="563" y="467"/>
                  </a:lnTo>
                  <a:lnTo>
                    <a:pt x="563" y="465"/>
                  </a:lnTo>
                  <a:lnTo>
                    <a:pt x="563" y="463"/>
                  </a:lnTo>
                  <a:lnTo>
                    <a:pt x="563" y="461"/>
                  </a:lnTo>
                  <a:lnTo>
                    <a:pt x="563" y="459"/>
                  </a:lnTo>
                  <a:lnTo>
                    <a:pt x="563" y="461"/>
                  </a:lnTo>
                  <a:lnTo>
                    <a:pt x="565" y="461"/>
                  </a:lnTo>
                  <a:lnTo>
                    <a:pt x="563" y="461"/>
                  </a:lnTo>
                  <a:lnTo>
                    <a:pt x="563" y="459"/>
                  </a:lnTo>
                  <a:lnTo>
                    <a:pt x="563" y="461"/>
                  </a:lnTo>
                  <a:lnTo>
                    <a:pt x="563" y="459"/>
                  </a:lnTo>
                  <a:lnTo>
                    <a:pt x="563" y="457"/>
                  </a:lnTo>
                  <a:lnTo>
                    <a:pt x="563" y="455"/>
                  </a:lnTo>
                  <a:lnTo>
                    <a:pt x="563" y="453"/>
                  </a:lnTo>
                  <a:lnTo>
                    <a:pt x="563" y="452"/>
                  </a:lnTo>
                  <a:lnTo>
                    <a:pt x="563" y="450"/>
                  </a:lnTo>
                  <a:lnTo>
                    <a:pt x="565" y="450"/>
                  </a:lnTo>
                  <a:lnTo>
                    <a:pt x="563" y="450"/>
                  </a:lnTo>
                  <a:lnTo>
                    <a:pt x="563" y="448"/>
                  </a:lnTo>
                  <a:lnTo>
                    <a:pt x="563" y="446"/>
                  </a:lnTo>
                  <a:lnTo>
                    <a:pt x="563" y="444"/>
                  </a:lnTo>
                  <a:lnTo>
                    <a:pt x="565" y="444"/>
                  </a:lnTo>
                  <a:lnTo>
                    <a:pt x="567" y="444"/>
                  </a:lnTo>
                  <a:lnTo>
                    <a:pt x="567" y="442"/>
                  </a:lnTo>
                  <a:lnTo>
                    <a:pt x="567" y="444"/>
                  </a:lnTo>
                  <a:lnTo>
                    <a:pt x="565" y="444"/>
                  </a:lnTo>
                  <a:lnTo>
                    <a:pt x="563" y="444"/>
                  </a:lnTo>
                  <a:lnTo>
                    <a:pt x="565" y="444"/>
                  </a:lnTo>
                  <a:lnTo>
                    <a:pt x="563" y="444"/>
                  </a:lnTo>
                  <a:lnTo>
                    <a:pt x="563" y="442"/>
                  </a:lnTo>
                  <a:lnTo>
                    <a:pt x="565" y="442"/>
                  </a:lnTo>
                  <a:lnTo>
                    <a:pt x="565" y="440"/>
                  </a:lnTo>
                  <a:lnTo>
                    <a:pt x="565" y="438"/>
                  </a:lnTo>
                  <a:lnTo>
                    <a:pt x="567" y="438"/>
                  </a:lnTo>
                  <a:lnTo>
                    <a:pt x="567" y="440"/>
                  </a:lnTo>
                  <a:lnTo>
                    <a:pt x="569" y="440"/>
                  </a:lnTo>
                  <a:lnTo>
                    <a:pt x="567" y="440"/>
                  </a:lnTo>
                  <a:lnTo>
                    <a:pt x="567" y="438"/>
                  </a:lnTo>
                  <a:lnTo>
                    <a:pt x="567" y="436"/>
                  </a:lnTo>
                  <a:lnTo>
                    <a:pt x="567" y="438"/>
                  </a:lnTo>
                  <a:lnTo>
                    <a:pt x="567" y="436"/>
                  </a:lnTo>
                  <a:lnTo>
                    <a:pt x="569" y="436"/>
                  </a:lnTo>
                  <a:lnTo>
                    <a:pt x="567" y="436"/>
                  </a:lnTo>
                  <a:lnTo>
                    <a:pt x="567" y="434"/>
                  </a:lnTo>
                  <a:lnTo>
                    <a:pt x="567" y="432"/>
                  </a:lnTo>
                  <a:lnTo>
                    <a:pt x="565" y="432"/>
                  </a:lnTo>
                  <a:lnTo>
                    <a:pt x="567" y="432"/>
                  </a:lnTo>
                  <a:lnTo>
                    <a:pt x="567" y="430"/>
                  </a:lnTo>
                  <a:lnTo>
                    <a:pt x="567" y="428"/>
                  </a:lnTo>
                  <a:lnTo>
                    <a:pt x="565" y="428"/>
                  </a:lnTo>
                  <a:lnTo>
                    <a:pt x="565" y="427"/>
                  </a:lnTo>
                  <a:lnTo>
                    <a:pt x="567" y="427"/>
                  </a:lnTo>
                  <a:lnTo>
                    <a:pt x="565" y="427"/>
                  </a:lnTo>
                  <a:lnTo>
                    <a:pt x="567" y="427"/>
                  </a:lnTo>
                  <a:lnTo>
                    <a:pt x="567" y="425"/>
                  </a:lnTo>
                  <a:lnTo>
                    <a:pt x="567" y="423"/>
                  </a:lnTo>
                  <a:lnTo>
                    <a:pt x="567" y="421"/>
                  </a:lnTo>
                  <a:lnTo>
                    <a:pt x="567" y="419"/>
                  </a:lnTo>
                  <a:lnTo>
                    <a:pt x="567" y="417"/>
                  </a:lnTo>
                  <a:lnTo>
                    <a:pt x="569" y="417"/>
                  </a:lnTo>
                  <a:lnTo>
                    <a:pt x="569" y="419"/>
                  </a:lnTo>
                  <a:lnTo>
                    <a:pt x="569" y="417"/>
                  </a:lnTo>
                  <a:lnTo>
                    <a:pt x="569" y="419"/>
                  </a:lnTo>
                  <a:lnTo>
                    <a:pt x="569" y="417"/>
                  </a:lnTo>
                  <a:lnTo>
                    <a:pt x="569" y="419"/>
                  </a:lnTo>
                  <a:lnTo>
                    <a:pt x="571" y="419"/>
                  </a:lnTo>
                  <a:lnTo>
                    <a:pt x="571" y="417"/>
                  </a:lnTo>
                  <a:lnTo>
                    <a:pt x="571" y="419"/>
                  </a:lnTo>
                  <a:lnTo>
                    <a:pt x="569" y="419"/>
                  </a:lnTo>
                  <a:lnTo>
                    <a:pt x="571" y="419"/>
                  </a:lnTo>
                  <a:lnTo>
                    <a:pt x="572" y="419"/>
                  </a:lnTo>
                  <a:lnTo>
                    <a:pt x="572" y="421"/>
                  </a:lnTo>
                  <a:lnTo>
                    <a:pt x="572" y="419"/>
                  </a:lnTo>
                  <a:lnTo>
                    <a:pt x="572" y="421"/>
                  </a:lnTo>
                  <a:lnTo>
                    <a:pt x="572" y="423"/>
                  </a:lnTo>
                  <a:lnTo>
                    <a:pt x="572" y="421"/>
                  </a:lnTo>
                  <a:lnTo>
                    <a:pt x="572" y="423"/>
                  </a:lnTo>
                  <a:lnTo>
                    <a:pt x="572" y="425"/>
                  </a:lnTo>
                  <a:lnTo>
                    <a:pt x="572" y="427"/>
                  </a:lnTo>
                  <a:lnTo>
                    <a:pt x="574" y="427"/>
                  </a:lnTo>
                  <a:lnTo>
                    <a:pt x="574" y="428"/>
                  </a:lnTo>
                  <a:lnTo>
                    <a:pt x="574" y="430"/>
                  </a:lnTo>
                  <a:lnTo>
                    <a:pt x="572" y="430"/>
                  </a:lnTo>
                  <a:lnTo>
                    <a:pt x="574" y="430"/>
                  </a:lnTo>
                  <a:lnTo>
                    <a:pt x="574" y="428"/>
                  </a:lnTo>
                  <a:lnTo>
                    <a:pt x="574" y="427"/>
                  </a:lnTo>
                  <a:lnTo>
                    <a:pt x="574" y="425"/>
                  </a:lnTo>
                  <a:lnTo>
                    <a:pt x="574" y="423"/>
                  </a:lnTo>
                  <a:lnTo>
                    <a:pt x="576" y="423"/>
                  </a:lnTo>
                  <a:lnTo>
                    <a:pt x="576" y="421"/>
                  </a:lnTo>
                  <a:lnTo>
                    <a:pt x="576" y="423"/>
                  </a:lnTo>
                  <a:lnTo>
                    <a:pt x="578" y="423"/>
                  </a:lnTo>
                  <a:lnTo>
                    <a:pt x="576" y="423"/>
                  </a:lnTo>
                  <a:lnTo>
                    <a:pt x="576" y="425"/>
                  </a:lnTo>
                  <a:lnTo>
                    <a:pt x="578" y="425"/>
                  </a:lnTo>
                  <a:lnTo>
                    <a:pt x="576" y="425"/>
                  </a:lnTo>
                  <a:lnTo>
                    <a:pt x="578" y="425"/>
                  </a:lnTo>
                  <a:lnTo>
                    <a:pt x="578" y="423"/>
                  </a:lnTo>
                  <a:lnTo>
                    <a:pt x="578" y="421"/>
                  </a:lnTo>
                  <a:lnTo>
                    <a:pt x="578" y="419"/>
                  </a:lnTo>
                  <a:lnTo>
                    <a:pt x="580" y="419"/>
                  </a:lnTo>
                  <a:lnTo>
                    <a:pt x="582" y="419"/>
                  </a:lnTo>
                  <a:lnTo>
                    <a:pt x="582" y="421"/>
                  </a:lnTo>
                  <a:lnTo>
                    <a:pt x="582" y="419"/>
                  </a:lnTo>
                  <a:lnTo>
                    <a:pt x="584" y="419"/>
                  </a:lnTo>
                  <a:lnTo>
                    <a:pt x="582" y="419"/>
                  </a:lnTo>
                  <a:lnTo>
                    <a:pt x="584" y="419"/>
                  </a:lnTo>
                  <a:lnTo>
                    <a:pt x="584" y="421"/>
                  </a:lnTo>
                  <a:lnTo>
                    <a:pt x="582" y="421"/>
                  </a:lnTo>
                  <a:lnTo>
                    <a:pt x="584" y="421"/>
                  </a:lnTo>
                  <a:lnTo>
                    <a:pt x="582" y="421"/>
                  </a:lnTo>
                  <a:lnTo>
                    <a:pt x="584" y="421"/>
                  </a:lnTo>
                  <a:lnTo>
                    <a:pt x="582" y="421"/>
                  </a:lnTo>
                  <a:lnTo>
                    <a:pt x="582" y="423"/>
                  </a:lnTo>
                  <a:lnTo>
                    <a:pt x="584" y="423"/>
                  </a:lnTo>
                  <a:lnTo>
                    <a:pt x="584" y="421"/>
                  </a:lnTo>
                  <a:lnTo>
                    <a:pt x="582" y="421"/>
                  </a:lnTo>
                  <a:lnTo>
                    <a:pt x="584" y="421"/>
                  </a:lnTo>
                  <a:lnTo>
                    <a:pt x="582" y="421"/>
                  </a:lnTo>
                  <a:lnTo>
                    <a:pt x="584" y="421"/>
                  </a:lnTo>
                  <a:lnTo>
                    <a:pt x="586" y="421"/>
                  </a:lnTo>
                  <a:lnTo>
                    <a:pt x="588" y="421"/>
                  </a:lnTo>
                  <a:lnTo>
                    <a:pt x="588" y="423"/>
                  </a:lnTo>
                  <a:lnTo>
                    <a:pt x="588" y="421"/>
                  </a:lnTo>
                  <a:lnTo>
                    <a:pt x="590" y="421"/>
                  </a:lnTo>
                  <a:lnTo>
                    <a:pt x="588" y="421"/>
                  </a:lnTo>
                  <a:lnTo>
                    <a:pt x="590" y="421"/>
                  </a:lnTo>
                  <a:lnTo>
                    <a:pt x="588" y="421"/>
                  </a:lnTo>
                  <a:lnTo>
                    <a:pt x="590" y="421"/>
                  </a:lnTo>
                  <a:lnTo>
                    <a:pt x="588" y="421"/>
                  </a:lnTo>
                  <a:lnTo>
                    <a:pt x="590" y="421"/>
                  </a:lnTo>
                  <a:lnTo>
                    <a:pt x="590" y="419"/>
                  </a:lnTo>
                  <a:lnTo>
                    <a:pt x="590" y="417"/>
                  </a:lnTo>
                  <a:lnTo>
                    <a:pt x="592" y="417"/>
                  </a:lnTo>
                  <a:lnTo>
                    <a:pt x="590" y="417"/>
                  </a:lnTo>
                  <a:lnTo>
                    <a:pt x="592" y="417"/>
                  </a:lnTo>
                  <a:lnTo>
                    <a:pt x="592" y="415"/>
                  </a:lnTo>
                  <a:lnTo>
                    <a:pt x="594" y="415"/>
                  </a:lnTo>
                  <a:lnTo>
                    <a:pt x="594" y="417"/>
                  </a:lnTo>
                  <a:lnTo>
                    <a:pt x="594" y="415"/>
                  </a:lnTo>
                  <a:lnTo>
                    <a:pt x="592" y="415"/>
                  </a:lnTo>
                  <a:lnTo>
                    <a:pt x="594" y="415"/>
                  </a:lnTo>
                  <a:lnTo>
                    <a:pt x="592" y="415"/>
                  </a:lnTo>
                  <a:lnTo>
                    <a:pt x="594" y="415"/>
                  </a:lnTo>
                  <a:lnTo>
                    <a:pt x="592" y="415"/>
                  </a:lnTo>
                  <a:lnTo>
                    <a:pt x="594" y="415"/>
                  </a:lnTo>
                  <a:lnTo>
                    <a:pt x="592" y="415"/>
                  </a:lnTo>
                  <a:lnTo>
                    <a:pt x="594" y="415"/>
                  </a:lnTo>
                  <a:lnTo>
                    <a:pt x="594" y="413"/>
                  </a:lnTo>
                  <a:lnTo>
                    <a:pt x="594" y="411"/>
                  </a:lnTo>
                  <a:lnTo>
                    <a:pt x="595" y="411"/>
                  </a:lnTo>
                  <a:lnTo>
                    <a:pt x="595" y="413"/>
                  </a:lnTo>
                  <a:lnTo>
                    <a:pt x="597" y="413"/>
                  </a:lnTo>
                  <a:lnTo>
                    <a:pt x="597" y="415"/>
                  </a:lnTo>
                  <a:lnTo>
                    <a:pt x="597" y="413"/>
                  </a:lnTo>
                  <a:lnTo>
                    <a:pt x="597" y="415"/>
                  </a:lnTo>
                  <a:lnTo>
                    <a:pt x="597" y="417"/>
                  </a:lnTo>
                  <a:lnTo>
                    <a:pt x="595" y="417"/>
                  </a:lnTo>
                  <a:lnTo>
                    <a:pt x="595" y="419"/>
                  </a:lnTo>
                  <a:lnTo>
                    <a:pt x="595" y="421"/>
                  </a:lnTo>
                  <a:lnTo>
                    <a:pt x="594" y="421"/>
                  </a:lnTo>
                  <a:lnTo>
                    <a:pt x="594" y="423"/>
                  </a:lnTo>
                  <a:lnTo>
                    <a:pt x="595" y="423"/>
                  </a:lnTo>
                  <a:lnTo>
                    <a:pt x="594" y="423"/>
                  </a:lnTo>
                  <a:lnTo>
                    <a:pt x="594" y="425"/>
                  </a:lnTo>
                  <a:lnTo>
                    <a:pt x="594" y="423"/>
                  </a:lnTo>
                  <a:lnTo>
                    <a:pt x="594" y="425"/>
                  </a:lnTo>
                  <a:lnTo>
                    <a:pt x="594" y="427"/>
                  </a:lnTo>
                  <a:lnTo>
                    <a:pt x="592" y="427"/>
                  </a:lnTo>
                  <a:lnTo>
                    <a:pt x="594" y="427"/>
                  </a:lnTo>
                  <a:lnTo>
                    <a:pt x="592" y="427"/>
                  </a:lnTo>
                  <a:lnTo>
                    <a:pt x="592" y="428"/>
                  </a:lnTo>
                  <a:lnTo>
                    <a:pt x="592" y="430"/>
                  </a:lnTo>
                  <a:lnTo>
                    <a:pt x="590" y="430"/>
                  </a:lnTo>
                  <a:lnTo>
                    <a:pt x="590" y="432"/>
                  </a:lnTo>
                  <a:lnTo>
                    <a:pt x="590" y="434"/>
                  </a:lnTo>
                  <a:lnTo>
                    <a:pt x="590" y="432"/>
                  </a:lnTo>
                  <a:lnTo>
                    <a:pt x="590" y="434"/>
                  </a:lnTo>
                  <a:lnTo>
                    <a:pt x="588" y="434"/>
                  </a:lnTo>
                  <a:lnTo>
                    <a:pt x="588" y="436"/>
                  </a:lnTo>
                  <a:lnTo>
                    <a:pt x="588" y="434"/>
                  </a:lnTo>
                  <a:lnTo>
                    <a:pt x="588" y="436"/>
                  </a:lnTo>
                  <a:lnTo>
                    <a:pt x="586" y="436"/>
                  </a:lnTo>
                  <a:lnTo>
                    <a:pt x="588" y="436"/>
                  </a:lnTo>
                  <a:lnTo>
                    <a:pt x="588" y="438"/>
                  </a:lnTo>
                  <a:lnTo>
                    <a:pt x="586" y="438"/>
                  </a:lnTo>
                  <a:lnTo>
                    <a:pt x="586" y="440"/>
                  </a:lnTo>
                  <a:lnTo>
                    <a:pt x="584" y="440"/>
                  </a:lnTo>
                  <a:lnTo>
                    <a:pt x="584" y="442"/>
                  </a:lnTo>
                  <a:lnTo>
                    <a:pt x="584" y="440"/>
                  </a:lnTo>
                  <a:lnTo>
                    <a:pt x="586" y="440"/>
                  </a:lnTo>
                  <a:lnTo>
                    <a:pt x="588" y="440"/>
                  </a:lnTo>
                  <a:lnTo>
                    <a:pt x="586" y="440"/>
                  </a:lnTo>
                  <a:lnTo>
                    <a:pt x="586" y="442"/>
                  </a:lnTo>
                  <a:lnTo>
                    <a:pt x="586" y="444"/>
                  </a:lnTo>
                  <a:lnTo>
                    <a:pt x="586" y="446"/>
                  </a:lnTo>
                  <a:lnTo>
                    <a:pt x="584" y="446"/>
                  </a:lnTo>
                  <a:lnTo>
                    <a:pt x="584" y="448"/>
                  </a:lnTo>
                  <a:lnTo>
                    <a:pt x="586" y="448"/>
                  </a:lnTo>
                  <a:lnTo>
                    <a:pt x="586" y="450"/>
                  </a:lnTo>
                  <a:lnTo>
                    <a:pt x="586" y="448"/>
                  </a:lnTo>
                  <a:lnTo>
                    <a:pt x="586" y="446"/>
                  </a:lnTo>
                  <a:lnTo>
                    <a:pt x="586" y="444"/>
                  </a:lnTo>
                  <a:lnTo>
                    <a:pt x="586" y="442"/>
                  </a:lnTo>
                  <a:lnTo>
                    <a:pt x="588" y="442"/>
                  </a:lnTo>
                  <a:lnTo>
                    <a:pt x="588" y="440"/>
                  </a:lnTo>
                  <a:lnTo>
                    <a:pt x="588" y="438"/>
                  </a:lnTo>
                  <a:lnTo>
                    <a:pt x="588" y="440"/>
                  </a:lnTo>
                  <a:lnTo>
                    <a:pt x="588" y="438"/>
                  </a:lnTo>
                  <a:lnTo>
                    <a:pt x="590" y="438"/>
                  </a:lnTo>
                  <a:lnTo>
                    <a:pt x="590" y="436"/>
                  </a:lnTo>
                  <a:lnTo>
                    <a:pt x="592" y="436"/>
                  </a:lnTo>
                  <a:lnTo>
                    <a:pt x="592" y="434"/>
                  </a:lnTo>
                  <a:lnTo>
                    <a:pt x="592" y="436"/>
                  </a:lnTo>
                  <a:lnTo>
                    <a:pt x="592" y="438"/>
                  </a:lnTo>
                  <a:lnTo>
                    <a:pt x="590" y="438"/>
                  </a:lnTo>
                  <a:lnTo>
                    <a:pt x="590" y="436"/>
                  </a:lnTo>
                  <a:lnTo>
                    <a:pt x="592" y="436"/>
                  </a:lnTo>
                  <a:lnTo>
                    <a:pt x="590" y="436"/>
                  </a:lnTo>
                  <a:lnTo>
                    <a:pt x="590" y="438"/>
                  </a:lnTo>
                  <a:lnTo>
                    <a:pt x="590" y="440"/>
                  </a:lnTo>
                  <a:lnTo>
                    <a:pt x="590" y="438"/>
                  </a:lnTo>
                  <a:lnTo>
                    <a:pt x="590" y="440"/>
                  </a:lnTo>
                  <a:lnTo>
                    <a:pt x="590" y="438"/>
                  </a:lnTo>
                  <a:lnTo>
                    <a:pt x="592" y="438"/>
                  </a:lnTo>
                  <a:lnTo>
                    <a:pt x="592" y="436"/>
                  </a:lnTo>
                  <a:lnTo>
                    <a:pt x="592" y="438"/>
                  </a:lnTo>
                  <a:lnTo>
                    <a:pt x="592" y="436"/>
                  </a:lnTo>
                  <a:lnTo>
                    <a:pt x="594" y="436"/>
                  </a:lnTo>
                  <a:lnTo>
                    <a:pt x="594" y="438"/>
                  </a:lnTo>
                  <a:lnTo>
                    <a:pt x="592" y="438"/>
                  </a:lnTo>
                  <a:lnTo>
                    <a:pt x="592" y="440"/>
                  </a:lnTo>
                  <a:lnTo>
                    <a:pt x="592" y="438"/>
                  </a:lnTo>
                  <a:lnTo>
                    <a:pt x="594" y="438"/>
                  </a:lnTo>
                  <a:lnTo>
                    <a:pt x="592" y="438"/>
                  </a:lnTo>
                  <a:lnTo>
                    <a:pt x="594" y="438"/>
                  </a:lnTo>
                  <a:lnTo>
                    <a:pt x="592" y="438"/>
                  </a:lnTo>
                  <a:lnTo>
                    <a:pt x="594" y="438"/>
                  </a:lnTo>
                  <a:lnTo>
                    <a:pt x="594" y="436"/>
                  </a:lnTo>
                  <a:lnTo>
                    <a:pt x="594" y="438"/>
                  </a:lnTo>
                  <a:lnTo>
                    <a:pt x="594" y="440"/>
                  </a:lnTo>
                  <a:lnTo>
                    <a:pt x="594" y="438"/>
                  </a:lnTo>
                  <a:lnTo>
                    <a:pt x="594" y="440"/>
                  </a:lnTo>
                  <a:lnTo>
                    <a:pt x="594" y="442"/>
                  </a:lnTo>
                  <a:lnTo>
                    <a:pt x="594" y="444"/>
                  </a:lnTo>
                  <a:lnTo>
                    <a:pt x="594" y="446"/>
                  </a:lnTo>
                  <a:lnTo>
                    <a:pt x="592" y="446"/>
                  </a:lnTo>
                  <a:lnTo>
                    <a:pt x="594" y="446"/>
                  </a:lnTo>
                  <a:lnTo>
                    <a:pt x="594" y="444"/>
                  </a:lnTo>
                  <a:lnTo>
                    <a:pt x="594" y="442"/>
                  </a:lnTo>
                  <a:lnTo>
                    <a:pt x="595" y="442"/>
                  </a:lnTo>
                  <a:lnTo>
                    <a:pt x="594" y="442"/>
                  </a:lnTo>
                  <a:lnTo>
                    <a:pt x="595" y="442"/>
                  </a:lnTo>
                  <a:lnTo>
                    <a:pt x="594" y="442"/>
                  </a:lnTo>
                  <a:lnTo>
                    <a:pt x="595" y="442"/>
                  </a:lnTo>
                  <a:lnTo>
                    <a:pt x="595" y="440"/>
                  </a:lnTo>
                  <a:lnTo>
                    <a:pt x="597" y="440"/>
                  </a:lnTo>
                  <a:lnTo>
                    <a:pt x="597" y="442"/>
                  </a:lnTo>
                  <a:lnTo>
                    <a:pt x="597" y="444"/>
                  </a:lnTo>
                  <a:lnTo>
                    <a:pt x="595" y="444"/>
                  </a:lnTo>
                  <a:lnTo>
                    <a:pt x="595" y="442"/>
                  </a:lnTo>
                  <a:lnTo>
                    <a:pt x="595" y="444"/>
                  </a:lnTo>
                  <a:lnTo>
                    <a:pt x="595" y="442"/>
                  </a:lnTo>
                  <a:lnTo>
                    <a:pt x="595" y="444"/>
                  </a:lnTo>
                  <a:lnTo>
                    <a:pt x="595" y="446"/>
                  </a:lnTo>
                  <a:lnTo>
                    <a:pt x="595" y="448"/>
                  </a:lnTo>
                  <a:lnTo>
                    <a:pt x="594" y="448"/>
                  </a:lnTo>
                  <a:lnTo>
                    <a:pt x="594" y="450"/>
                  </a:lnTo>
                  <a:lnTo>
                    <a:pt x="592" y="450"/>
                  </a:lnTo>
                  <a:lnTo>
                    <a:pt x="592" y="452"/>
                  </a:lnTo>
                  <a:lnTo>
                    <a:pt x="594" y="452"/>
                  </a:lnTo>
                  <a:lnTo>
                    <a:pt x="592" y="452"/>
                  </a:lnTo>
                  <a:lnTo>
                    <a:pt x="594" y="452"/>
                  </a:lnTo>
                  <a:lnTo>
                    <a:pt x="594" y="453"/>
                  </a:lnTo>
                  <a:lnTo>
                    <a:pt x="594" y="455"/>
                  </a:lnTo>
                  <a:lnTo>
                    <a:pt x="592" y="455"/>
                  </a:lnTo>
                  <a:lnTo>
                    <a:pt x="594" y="455"/>
                  </a:lnTo>
                  <a:lnTo>
                    <a:pt x="592" y="455"/>
                  </a:lnTo>
                  <a:lnTo>
                    <a:pt x="594" y="455"/>
                  </a:lnTo>
                  <a:lnTo>
                    <a:pt x="594" y="453"/>
                  </a:lnTo>
                  <a:lnTo>
                    <a:pt x="594" y="452"/>
                  </a:lnTo>
                  <a:lnTo>
                    <a:pt x="595" y="452"/>
                  </a:lnTo>
                  <a:lnTo>
                    <a:pt x="595" y="450"/>
                  </a:lnTo>
                  <a:lnTo>
                    <a:pt x="595" y="448"/>
                  </a:lnTo>
                  <a:lnTo>
                    <a:pt x="597" y="448"/>
                  </a:lnTo>
                  <a:lnTo>
                    <a:pt x="595" y="448"/>
                  </a:lnTo>
                  <a:lnTo>
                    <a:pt x="597" y="448"/>
                  </a:lnTo>
                  <a:lnTo>
                    <a:pt x="597" y="446"/>
                  </a:lnTo>
                  <a:lnTo>
                    <a:pt x="599" y="446"/>
                  </a:lnTo>
                  <a:lnTo>
                    <a:pt x="599" y="444"/>
                  </a:lnTo>
                  <a:lnTo>
                    <a:pt x="601" y="444"/>
                  </a:lnTo>
                  <a:lnTo>
                    <a:pt x="603" y="444"/>
                  </a:lnTo>
                  <a:lnTo>
                    <a:pt x="601" y="444"/>
                  </a:lnTo>
                  <a:lnTo>
                    <a:pt x="603" y="444"/>
                  </a:lnTo>
                  <a:lnTo>
                    <a:pt x="601" y="444"/>
                  </a:lnTo>
                  <a:lnTo>
                    <a:pt x="601" y="446"/>
                  </a:lnTo>
                  <a:lnTo>
                    <a:pt x="601" y="444"/>
                  </a:lnTo>
                  <a:lnTo>
                    <a:pt x="601" y="446"/>
                  </a:lnTo>
                  <a:lnTo>
                    <a:pt x="603" y="446"/>
                  </a:lnTo>
                  <a:lnTo>
                    <a:pt x="603" y="444"/>
                  </a:lnTo>
                  <a:lnTo>
                    <a:pt x="603" y="446"/>
                  </a:lnTo>
                  <a:lnTo>
                    <a:pt x="603" y="444"/>
                  </a:lnTo>
                  <a:lnTo>
                    <a:pt x="603" y="446"/>
                  </a:lnTo>
                  <a:lnTo>
                    <a:pt x="603" y="444"/>
                  </a:lnTo>
                  <a:lnTo>
                    <a:pt x="605" y="444"/>
                  </a:lnTo>
                  <a:lnTo>
                    <a:pt x="605" y="446"/>
                  </a:lnTo>
                  <a:lnTo>
                    <a:pt x="603" y="446"/>
                  </a:lnTo>
                  <a:lnTo>
                    <a:pt x="603" y="444"/>
                  </a:lnTo>
                  <a:lnTo>
                    <a:pt x="603" y="446"/>
                  </a:lnTo>
                  <a:lnTo>
                    <a:pt x="603" y="448"/>
                  </a:lnTo>
                  <a:lnTo>
                    <a:pt x="603" y="446"/>
                  </a:lnTo>
                  <a:lnTo>
                    <a:pt x="605" y="446"/>
                  </a:lnTo>
                  <a:lnTo>
                    <a:pt x="603" y="446"/>
                  </a:lnTo>
                  <a:lnTo>
                    <a:pt x="603" y="448"/>
                  </a:lnTo>
                  <a:lnTo>
                    <a:pt x="605" y="448"/>
                  </a:lnTo>
                  <a:lnTo>
                    <a:pt x="605" y="446"/>
                  </a:lnTo>
                  <a:lnTo>
                    <a:pt x="605" y="444"/>
                  </a:lnTo>
                  <a:lnTo>
                    <a:pt x="607" y="444"/>
                  </a:lnTo>
                  <a:lnTo>
                    <a:pt x="607" y="446"/>
                  </a:lnTo>
                  <a:lnTo>
                    <a:pt x="607" y="448"/>
                  </a:lnTo>
                  <a:lnTo>
                    <a:pt x="607" y="446"/>
                  </a:lnTo>
                  <a:lnTo>
                    <a:pt x="609" y="446"/>
                  </a:lnTo>
                  <a:lnTo>
                    <a:pt x="609" y="448"/>
                  </a:lnTo>
                  <a:lnTo>
                    <a:pt x="609" y="450"/>
                  </a:lnTo>
                  <a:lnTo>
                    <a:pt x="609" y="448"/>
                  </a:lnTo>
                  <a:lnTo>
                    <a:pt x="611" y="448"/>
                  </a:lnTo>
                  <a:lnTo>
                    <a:pt x="609" y="446"/>
                  </a:lnTo>
                  <a:lnTo>
                    <a:pt x="609" y="444"/>
                  </a:lnTo>
                  <a:lnTo>
                    <a:pt x="609" y="442"/>
                  </a:lnTo>
                  <a:lnTo>
                    <a:pt x="611" y="442"/>
                  </a:lnTo>
                  <a:lnTo>
                    <a:pt x="609" y="442"/>
                  </a:lnTo>
                  <a:lnTo>
                    <a:pt x="609" y="440"/>
                  </a:lnTo>
                  <a:lnTo>
                    <a:pt x="611" y="440"/>
                  </a:lnTo>
                  <a:lnTo>
                    <a:pt x="609" y="440"/>
                  </a:lnTo>
                  <a:lnTo>
                    <a:pt x="611" y="440"/>
                  </a:lnTo>
                  <a:lnTo>
                    <a:pt x="611" y="442"/>
                  </a:lnTo>
                  <a:lnTo>
                    <a:pt x="611" y="444"/>
                  </a:lnTo>
                  <a:lnTo>
                    <a:pt x="613" y="444"/>
                  </a:lnTo>
                  <a:lnTo>
                    <a:pt x="611" y="444"/>
                  </a:lnTo>
                  <a:lnTo>
                    <a:pt x="611" y="446"/>
                  </a:lnTo>
                  <a:lnTo>
                    <a:pt x="613" y="446"/>
                  </a:lnTo>
                  <a:lnTo>
                    <a:pt x="613" y="444"/>
                  </a:lnTo>
                  <a:lnTo>
                    <a:pt x="611" y="444"/>
                  </a:lnTo>
                  <a:lnTo>
                    <a:pt x="613" y="444"/>
                  </a:lnTo>
                  <a:lnTo>
                    <a:pt x="613" y="446"/>
                  </a:lnTo>
                  <a:lnTo>
                    <a:pt x="613" y="448"/>
                  </a:lnTo>
                  <a:lnTo>
                    <a:pt x="615" y="448"/>
                  </a:lnTo>
                  <a:lnTo>
                    <a:pt x="615" y="446"/>
                  </a:lnTo>
                  <a:lnTo>
                    <a:pt x="613" y="446"/>
                  </a:lnTo>
                  <a:lnTo>
                    <a:pt x="613" y="444"/>
                  </a:lnTo>
                  <a:lnTo>
                    <a:pt x="613" y="446"/>
                  </a:lnTo>
                  <a:lnTo>
                    <a:pt x="613" y="444"/>
                  </a:lnTo>
                  <a:lnTo>
                    <a:pt x="613" y="442"/>
                  </a:lnTo>
                  <a:lnTo>
                    <a:pt x="613" y="440"/>
                  </a:lnTo>
                  <a:lnTo>
                    <a:pt x="615" y="440"/>
                  </a:lnTo>
                  <a:lnTo>
                    <a:pt x="613" y="440"/>
                  </a:lnTo>
                  <a:lnTo>
                    <a:pt x="615" y="440"/>
                  </a:lnTo>
                  <a:lnTo>
                    <a:pt x="615" y="438"/>
                  </a:lnTo>
                  <a:lnTo>
                    <a:pt x="613" y="438"/>
                  </a:lnTo>
                  <a:lnTo>
                    <a:pt x="615" y="436"/>
                  </a:lnTo>
                  <a:lnTo>
                    <a:pt x="617" y="436"/>
                  </a:lnTo>
                  <a:lnTo>
                    <a:pt x="617" y="434"/>
                  </a:lnTo>
                  <a:lnTo>
                    <a:pt x="617" y="436"/>
                  </a:lnTo>
                  <a:lnTo>
                    <a:pt x="617" y="438"/>
                  </a:lnTo>
                  <a:lnTo>
                    <a:pt x="617" y="440"/>
                  </a:lnTo>
                  <a:lnTo>
                    <a:pt x="617" y="442"/>
                  </a:lnTo>
                  <a:lnTo>
                    <a:pt x="617" y="440"/>
                  </a:lnTo>
                  <a:lnTo>
                    <a:pt x="619" y="440"/>
                  </a:lnTo>
                  <a:lnTo>
                    <a:pt x="617" y="438"/>
                  </a:lnTo>
                  <a:lnTo>
                    <a:pt x="619" y="438"/>
                  </a:lnTo>
                  <a:lnTo>
                    <a:pt x="619" y="436"/>
                  </a:lnTo>
                  <a:lnTo>
                    <a:pt x="619" y="438"/>
                  </a:lnTo>
                  <a:lnTo>
                    <a:pt x="619" y="436"/>
                  </a:lnTo>
                  <a:lnTo>
                    <a:pt x="620" y="436"/>
                  </a:lnTo>
                  <a:lnTo>
                    <a:pt x="619" y="438"/>
                  </a:lnTo>
                  <a:lnTo>
                    <a:pt x="620" y="438"/>
                  </a:lnTo>
                  <a:lnTo>
                    <a:pt x="619" y="438"/>
                  </a:lnTo>
                  <a:lnTo>
                    <a:pt x="620" y="438"/>
                  </a:lnTo>
                  <a:lnTo>
                    <a:pt x="619" y="438"/>
                  </a:lnTo>
                  <a:lnTo>
                    <a:pt x="619" y="440"/>
                  </a:lnTo>
                  <a:lnTo>
                    <a:pt x="619" y="442"/>
                  </a:lnTo>
                  <a:lnTo>
                    <a:pt x="619" y="444"/>
                  </a:lnTo>
                  <a:lnTo>
                    <a:pt x="619" y="446"/>
                  </a:lnTo>
                  <a:lnTo>
                    <a:pt x="619" y="444"/>
                  </a:lnTo>
                  <a:lnTo>
                    <a:pt x="619" y="442"/>
                  </a:lnTo>
                  <a:lnTo>
                    <a:pt x="620" y="442"/>
                  </a:lnTo>
                  <a:lnTo>
                    <a:pt x="620" y="444"/>
                  </a:lnTo>
                  <a:lnTo>
                    <a:pt x="620" y="446"/>
                  </a:lnTo>
                  <a:lnTo>
                    <a:pt x="622" y="446"/>
                  </a:lnTo>
                  <a:lnTo>
                    <a:pt x="622" y="444"/>
                  </a:lnTo>
                  <a:lnTo>
                    <a:pt x="620" y="444"/>
                  </a:lnTo>
                  <a:lnTo>
                    <a:pt x="620" y="442"/>
                  </a:lnTo>
                  <a:lnTo>
                    <a:pt x="620" y="440"/>
                  </a:lnTo>
                  <a:lnTo>
                    <a:pt x="622" y="440"/>
                  </a:lnTo>
                  <a:lnTo>
                    <a:pt x="620" y="440"/>
                  </a:lnTo>
                  <a:lnTo>
                    <a:pt x="622" y="440"/>
                  </a:lnTo>
                  <a:lnTo>
                    <a:pt x="622" y="442"/>
                  </a:lnTo>
                  <a:lnTo>
                    <a:pt x="622" y="440"/>
                  </a:lnTo>
                  <a:lnTo>
                    <a:pt x="622" y="442"/>
                  </a:lnTo>
                  <a:lnTo>
                    <a:pt x="622" y="440"/>
                  </a:lnTo>
                  <a:lnTo>
                    <a:pt x="622" y="438"/>
                  </a:lnTo>
                  <a:lnTo>
                    <a:pt x="622" y="440"/>
                  </a:lnTo>
                  <a:lnTo>
                    <a:pt x="622" y="438"/>
                  </a:lnTo>
                  <a:lnTo>
                    <a:pt x="622" y="440"/>
                  </a:lnTo>
                  <a:lnTo>
                    <a:pt x="622" y="442"/>
                  </a:lnTo>
                  <a:lnTo>
                    <a:pt x="622" y="444"/>
                  </a:lnTo>
                  <a:lnTo>
                    <a:pt x="622" y="442"/>
                  </a:lnTo>
                  <a:lnTo>
                    <a:pt x="622" y="444"/>
                  </a:lnTo>
                  <a:lnTo>
                    <a:pt x="624" y="444"/>
                  </a:lnTo>
                  <a:lnTo>
                    <a:pt x="622" y="444"/>
                  </a:lnTo>
                  <a:lnTo>
                    <a:pt x="624" y="444"/>
                  </a:lnTo>
                  <a:lnTo>
                    <a:pt x="624" y="442"/>
                  </a:lnTo>
                  <a:lnTo>
                    <a:pt x="624" y="440"/>
                  </a:lnTo>
                  <a:lnTo>
                    <a:pt x="624" y="442"/>
                  </a:lnTo>
                  <a:lnTo>
                    <a:pt x="626" y="442"/>
                  </a:lnTo>
                  <a:lnTo>
                    <a:pt x="626" y="440"/>
                  </a:lnTo>
                  <a:lnTo>
                    <a:pt x="626" y="442"/>
                  </a:lnTo>
                  <a:lnTo>
                    <a:pt x="624" y="442"/>
                  </a:lnTo>
                  <a:lnTo>
                    <a:pt x="624" y="440"/>
                  </a:lnTo>
                  <a:lnTo>
                    <a:pt x="624" y="438"/>
                  </a:lnTo>
                  <a:lnTo>
                    <a:pt x="624" y="440"/>
                  </a:lnTo>
                  <a:lnTo>
                    <a:pt x="624" y="438"/>
                  </a:lnTo>
                  <a:lnTo>
                    <a:pt x="622" y="438"/>
                  </a:lnTo>
                  <a:lnTo>
                    <a:pt x="622" y="436"/>
                  </a:lnTo>
                  <a:lnTo>
                    <a:pt x="620" y="436"/>
                  </a:lnTo>
                  <a:lnTo>
                    <a:pt x="620" y="434"/>
                  </a:lnTo>
                  <a:lnTo>
                    <a:pt x="619" y="434"/>
                  </a:lnTo>
                  <a:lnTo>
                    <a:pt x="620" y="434"/>
                  </a:lnTo>
                  <a:lnTo>
                    <a:pt x="619" y="434"/>
                  </a:lnTo>
                  <a:lnTo>
                    <a:pt x="619" y="432"/>
                  </a:lnTo>
                  <a:lnTo>
                    <a:pt x="617" y="432"/>
                  </a:lnTo>
                  <a:lnTo>
                    <a:pt x="619" y="432"/>
                  </a:lnTo>
                  <a:lnTo>
                    <a:pt x="617" y="432"/>
                  </a:lnTo>
                  <a:lnTo>
                    <a:pt x="619" y="432"/>
                  </a:lnTo>
                  <a:lnTo>
                    <a:pt x="619" y="430"/>
                  </a:lnTo>
                  <a:lnTo>
                    <a:pt x="620" y="430"/>
                  </a:lnTo>
                  <a:lnTo>
                    <a:pt x="620" y="432"/>
                  </a:lnTo>
                  <a:lnTo>
                    <a:pt x="619" y="432"/>
                  </a:lnTo>
                  <a:lnTo>
                    <a:pt x="620" y="432"/>
                  </a:lnTo>
                  <a:lnTo>
                    <a:pt x="622" y="432"/>
                  </a:lnTo>
                  <a:lnTo>
                    <a:pt x="622" y="430"/>
                  </a:lnTo>
                  <a:lnTo>
                    <a:pt x="620" y="430"/>
                  </a:lnTo>
                  <a:lnTo>
                    <a:pt x="620" y="428"/>
                  </a:lnTo>
                  <a:lnTo>
                    <a:pt x="622" y="428"/>
                  </a:lnTo>
                  <a:lnTo>
                    <a:pt x="622" y="430"/>
                  </a:lnTo>
                  <a:lnTo>
                    <a:pt x="622" y="428"/>
                  </a:lnTo>
                  <a:lnTo>
                    <a:pt x="624" y="428"/>
                  </a:lnTo>
                  <a:lnTo>
                    <a:pt x="624" y="430"/>
                  </a:lnTo>
                  <a:lnTo>
                    <a:pt x="624" y="432"/>
                  </a:lnTo>
                  <a:lnTo>
                    <a:pt x="626" y="432"/>
                  </a:lnTo>
                  <a:lnTo>
                    <a:pt x="624" y="432"/>
                  </a:lnTo>
                  <a:lnTo>
                    <a:pt x="626" y="432"/>
                  </a:lnTo>
                  <a:lnTo>
                    <a:pt x="626" y="434"/>
                  </a:lnTo>
                  <a:lnTo>
                    <a:pt x="624" y="434"/>
                  </a:lnTo>
                  <a:lnTo>
                    <a:pt x="626" y="434"/>
                  </a:lnTo>
                  <a:lnTo>
                    <a:pt x="624" y="434"/>
                  </a:lnTo>
                  <a:lnTo>
                    <a:pt x="624" y="436"/>
                  </a:lnTo>
                  <a:lnTo>
                    <a:pt x="626" y="436"/>
                  </a:lnTo>
                  <a:lnTo>
                    <a:pt x="624" y="436"/>
                  </a:lnTo>
                  <a:lnTo>
                    <a:pt x="626" y="436"/>
                  </a:lnTo>
                  <a:lnTo>
                    <a:pt x="626" y="434"/>
                  </a:lnTo>
                  <a:lnTo>
                    <a:pt x="626" y="436"/>
                  </a:lnTo>
                  <a:lnTo>
                    <a:pt x="626" y="438"/>
                  </a:lnTo>
                  <a:lnTo>
                    <a:pt x="624" y="438"/>
                  </a:lnTo>
                  <a:lnTo>
                    <a:pt x="624" y="436"/>
                  </a:lnTo>
                  <a:lnTo>
                    <a:pt x="626" y="436"/>
                  </a:lnTo>
                  <a:lnTo>
                    <a:pt x="624" y="436"/>
                  </a:lnTo>
                  <a:lnTo>
                    <a:pt x="624" y="438"/>
                  </a:lnTo>
                  <a:lnTo>
                    <a:pt x="626" y="438"/>
                  </a:lnTo>
                  <a:lnTo>
                    <a:pt x="624" y="438"/>
                  </a:lnTo>
                  <a:lnTo>
                    <a:pt x="626" y="438"/>
                  </a:lnTo>
                  <a:lnTo>
                    <a:pt x="624" y="438"/>
                  </a:lnTo>
                  <a:lnTo>
                    <a:pt x="626" y="438"/>
                  </a:lnTo>
                  <a:lnTo>
                    <a:pt x="626" y="440"/>
                  </a:lnTo>
                  <a:lnTo>
                    <a:pt x="626" y="442"/>
                  </a:lnTo>
                  <a:lnTo>
                    <a:pt x="628" y="442"/>
                  </a:lnTo>
                  <a:lnTo>
                    <a:pt x="628" y="444"/>
                  </a:lnTo>
                  <a:lnTo>
                    <a:pt x="630" y="444"/>
                  </a:lnTo>
                  <a:lnTo>
                    <a:pt x="630" y="446"/>
                  </a:lnTo>
                  <a:lnTo>
                    <a:pt x="628" y="446"/>
                  </a:lnTo>
                  <a:lnTo>
                    <a:pt x="630" y="446"/>
                  </a:lnTo>
                  <a:lnTo>
                    <a:pt x="628" y="446"/>
                  </a:lnTo>
                  <a:lnTo>
                    <a:pt x="628" y="448"/>
                  </a:lnTo>
                  <a:lnTo>
                    <a:pt x="628" y="450"/>
                  </a:lnTo>
                  <a:lnTo>
                    <a:pt x="628" y="452"/>
                  </a:lnTo>
                  <a:lnTo>
                    <a:pt x="628" y="453"/>
                  </a:lnTo>
                  <a:lnTo>
                    <a:pt x="630" y="453"/>
                  </a:lnTo>
                  <a:lnTo>
                    <a:pt x="630" y="452"/>
                  </a:lnTo>
                  <a:lnTo>
                    <a:pt x="630" y="453"/>
                  </a:lnTo>
                  <a:lnTo>
                    <a:pt x="630" y="455"/>
                  </a:lnTo>
                  <a:lnTo>
                    <a:pt x="630" y="453"/>
                  </a:lnTo>
                  <a:lnTo>
                    <a:pt x="630" y="455"/>
                  </a:lnTo>
                  <a:lnTo>
                    <a:pt x="632" y="455"/>
                  </a:lnTo>
                  <a:lnTo>
                    <a:pt x="634" y="455"/>
                  </a:lnTo>
                  <a:lnTo>
                    <a:pt x="634" y="453"/>
                  </a:lnTo>
                  <a:lnTo>
                    <a:pt x="636" y="453"/>
                  </a:lnTo>
                  <a:lnTo>
                    <a:pt x="636" y="452"/>
                  </a:lnTo>
                  <a:lnTo>
                    <a:pt x="634" y="452"/>
                  </a:lnTo>
                  <a:lnTo>
                    <a:pt x="634" y="453"/>
                  </a:lnTo>
                  <a:lnTo>
                    <a:pt x="634" y="455"/>
                  </a:lnTo>
                  <a:lnTo>
                    <a:pt x="632" y="455"/>
                  </a:lnTo>
                  <a:lnTo>
                    <a:pt x="632" y="453"/>
                  </a:lnTo>
                  <a:lnTo>
                    <a:pt x="632" y="455"/>
                  </a:lnTo>
                  <a:lnTo>
                    <a:pt x="632" y="453"/>
                  </a:lnTo>
                  <a:lnTo>
                    <a:pt x="632" y="452"/>
                  </a:lnTo>
                  <a:lnTo>
                    <a:pt x="630" y="452"/>
                  </a:lnTo>
                  <a:lnTo>
                    <a:pt x="632" y="452"/>
                  </a:lnTo>
                  <a:lnTo>
                    <a:pt x="632" y="450"/>
                  </a:lnTo>
                  <a:lnTo>
                    <a:pt x="630" y="450"/>
                  </a:lnTo>
                  <a:lnTo>
                    <a:pt x="630" y="452"/>
                  </a:lnTo>
                  <a:lnTo>
                    <a:pt x="630" y="450"/>
                  </a:lnTo>
                  <a:lnTo>
                    <a:pt x="628" y="450"/>
                  </a:lnTo>
                  <a:lnTo>
                    <a:pt x="630" y="450"/>
                  </a:lnTo>
                  <a:lnTo>
                    <a:pt x="630" y="448"/>
                  </a:lnTo>
                  <a:lnTo>
                    <a:pt x="630" y="450"/>
                  </a:lnTo>
                  <a:lnTo>
                    <a:pt x="630" y="448"/>
                  </a:lnTo>
                  <a:lnTo>
                    <a:pt x="630" y="446"/>
                  </a:lnTo>
                  <a:lnTo>
                    <a:pt x="632" y="446"/>
                  </a:lnTo>
                  <a:lnTo>
                    <a:pt x="632" y="444"/>
                  </a:lnTo>
                  <a:lnTo>
                    <a:pt x="632" y="442"/>
                  </a:lnTo>
                  <a:lnTo>
                    <a:pt x="634" y="442"/>
                  </a:lnTo>
                  <a:lnTo>
                    <a:pt x="634" y="440"/>
                  </a:lnTo>
                  <a:lnTo>
                    <a:pt x="634" y="438"/>
                  </a:lnTo>
                  <a:lnTo>
                    <a:pt x="632" y="438"/>
                  </a:lnTo>
                  <a:lnTo>
                    <a:pt x="632" y="436"/>
                  </a:lnTo>
                  <a:lnTo>
                    <a:pt x="630" y="436"/>
                  </a:lnTo>
                  <a:lnTo>
                    <a:pt x="632" y="436"/>
                  </a:lnTo>
                  <a:lnTo>
                    <a:pt x="632" y="438"/>
                  </a:lnTo>
                  <a:lnTo>
                    <a:pt x="634" y="438"/>
                  </a:lnTo>
                  <a:lnTo>
                    <a:pt x="634" y="436"/>
                  </a:lnTo>
                  <a:lnTo>
                    <a:pt x="634" y="438"/>
                  </a:lnTo>
                  <a:lnTo>
                    <a:pt x="634" y="436"/>
                  </a:lnTo>
                  <a:lnTo>
                    <a:pt x="634" y="438"/>
                  </a:lnTo>
                  <a:lnTo>
                    <a:pt x="634" y="436"/>
                  </a:lnTo>
                  <a:lnTo>
                    <a:pt x="634" y="438"/>
                  </a:lnTo>
                  <a:lnTo>
                    <a:pt x="634" y="436"/>
                  </a:lnTo>
                  <a:lnTo>
                    <a:pt x="634" y="438"/>
                  </a:lnTo>
                  <a:lnTo>
                    <a:pt x="636" y="438"/>
                  </a:lnTo>
                  <a:lnTo>
                    <a:pt x="636" y="440"/>
                  </a:lnTo>
                  <a:lnTo>
                    <a:pt x="636" y="442"/>
                  </a:lnTo>
                  <a:lnTo>
                    <a:pt x="638" y="442"/>
                  </a:lnTo>
                  <a:lnTo>
                    <a:pt x="638" y="440"/>
                  </a:lnTo>
                  <a:lnTo>
                    <a:pt x="638" y="438"/>
                  </a:lnTo>
                  <a:lnTo>
                    <a:pt x="636" y="438"/>
                  </a:lnTo>
                  <a:lnTo>
                    <a:pt x="638" y="438"/>
                  </a:lnTo>
                  <a:lnTo>
                    <a:pt x="638" y="436"/>
                  </a:lnTo>
                  <a:lnTo>
                    <a:pt x="640" y="436"/>
                  </a:lnTo>
                  <a:lnTo>
                    <a:pt x="640" y="434"/>
                  </a:lnTo>
                  <a:lnTo>
                    <a:pt x="640" y="432"/>
                  </a:lnTo>
                  <a:lnTo>
                    <a:pt x="638" y="432"/>
                  </a:lnTo>
                  <a:lnTo>
                    <a:pt x="638" y="430"/>
                  </a:lnTo>
                  <a:lnTo>
                    <a:pt x="638" y="428"/>
                  </a:lnTo>
                  <a:lnTo>
                    <a:pt x="636" y="428"/>
                  </a:lnTo>
                  <a:lnTo>
                    <a:pt x="638" y="428"/>
                  </a:lnTo>
                  <a:lnTo>
                    <a:pt x="638" y="430"/>
                  </a:lnTo>
                  <a:lnTo>
                    <a:pt x="640" y="430"/>
                  </a:lnTo>
                  <a:lnTo>
                    <a:pt x="640" y="432"/>
                  </a:lnTo>
                  <a:lnTo>
                    <a:pt x="642" y="432"/>
                  </a:lnTo>
                  <a:lnTo>
                    <a:pt x="642" y="434"/>
                  </a:lnTo>
                  <a:lnTo>
                    <a:pt x="642" y="436"/>
                  </a:lnTo>
                  <a:lnTo>
                    <a:pt x="643" y="436"/>
                  </a:lnTo>
                  <a:lnTo>
                    <a:pt x="643" y="434"/>
                  </a:lnTo>
                  <a:lnTo>
                    <a:pt x="643" y="436"/>
                  </a:lnTo>
                  <a:lnTo>
                    <a:pt x="643" y="434"/>
                  </a:lnTo>
                  <a:lnTo>
                    <a:pt x="642" y="434"/>
                  </a:lnTo>
                  <a:lnTo>
                    <a:pt x="643" y="434"/>
                  </a:lnTo>
                  <a:lnTo>
                    <a:pt x="643" y="432"/>
                  </a:lnTo>
                  <a:lnTo>
                    <a:pt x="642" y="432"/>
                  </a:lnTo>
                  <a:lnTo>
                    <a:pt x="642" y="430"/>
                  </a:lnTo>
                  <a:lnTo>
                    <a:pt x="642" y="428"/>
                  </a:lnTo>
                  <a:lnTo>
                    <a:pt x="642" y="430"/>
                  </a:lnTo>
                  <a:lnTo>
                    <a:pt x="642" y="428"/>
                  </a:lnTo>
                  <a:lnTo>
                    <a:pt x="643" y="428"/>
                  </a:lnTo>
                  <a:lnTo>
                    <a:pt x="642" y="428"/>
                  </a:lnTo>
                  <a:lnTo>
                    <a:pt x="643" y="430"/>
                  </a:lnTo>
                  <a:lnTo>
                    <a:pt x="643" y="428"/>
                  </a:lnTo>
                  <a:lnTo>
                    <a:pt x="643" y="427"/>
                  </a:lnTo>
                  <a:lnTo>
                    <a:pt x="643" y="425"/>
                  </a:lnTo>
                  <a:lnTo>
                    <a:pt x="643" y="423"/>
                  </a:lnTo>
                  <a:lnTo>
                    <a:pt x="642" y="423"/>
                  </a:lnTo>
                  <a:lnTo>
                    <a:pt x="643" y="423"/>
                  </a:lnTo>
                  <a:lnTo>
                    <a:pt x="642" y="423"/>
                  </a:lnTo>
                  <a:lnTo>
                    <a:pt x="642" y="421"/>
                  </a:lnTo>
                  <a:lnTo>
                    <a:pt x="643" y="421"/>
                  </a:lnTo>
                  <a:lnTo>
                    <a:pt x="642" y="421"/>
                  </a:lnTo>
                  <a:lnTo>
                    <a:pt x="643" y="421"/>
                  </a:lnTo>
                  <a:lnTo>
                    <a:pt x="643" y="423"/>
                  </a:lnTo>
                  <a:lnTo>
                    <a:pt x="643" y="421"/>
                  </a:lnTo>
                  <a:lnTo>
                    <a:pt x="643" y="419"/>
                  </a:lnTo>
                  <a:lnTo>
                    <a:pt x="643" y="417"/>
                  </a:lnTo>
                  <a:lnTo>
                    <a:pt x="643" y="415"/>
                  </a:lnTo>
                  <a:lnTo>
                    <a:pt x="643" y="413"/>
                  </a:lnTo>
                  <a:lnTo>
                    <a:pt x="643" y="415"/>
                  </a:lnTo>
                  <a:lnTo>
                    <a:pt x="643" y="413"/>
                  </a:lnTo>
                  <a:lnTo>
                    <a:pt x="645" y="413"/>
                  </a:lnTo>
                  <a:lnTo>
                    <a:pt x="645" y="411"/>
                  </a:lnTo>
                  <a:lnTo>
                    <a:pt x="645" y="413"/>
                  </a:lnTo>
                  <a:lnTo>
                    <a:pt x="643" y="413"/>
                  </a:lnTo>
                  <a:lnTo>
                    <a:pt x="645" y="413"/>
                  </a:lnTo>
                  <a:lnTo>
                    <a:pt x="643" y="413"/>
                  </a:lnTo>
                  <a:lnTo>
                    <a:pt x="645" y="413"/>
                  </a:lnTo>
                  <a:lnTo>
                    <a:pt x="645" y="411"/>
                  </a:lnTo>
                  <a:lnTo>
                    <a:pt x="645" y="413"/>
                  </a:lnTo>
                  <a:lnTo>
                    <a:pt x="645" y="415"/>
                  </a:lnTo>
                  <a:lnTo>
                    <a:pt x="645" y="417"/>
                  </a:lnTo>
                  <a:lnTo>
                    <a:pt x="647" y="417"/>
                  </a:lnTo>
                  <a:lnTo>
                    <a:pt x="647" y="419"/>
                  </a:lnTo>
                  <a:lnTo>
                    <a:pt x="645" y="419"/>
                  </a:lnTo>
                  <a:lnTo>
                    <a:pt x="647" y="419"/>
                  </a:lnTo>
                  <a:lnTo>
                    <a:pt x="647" y="421"/>
                  </a:lnTo>
                  <a:lnTo>
                    <a:pt x="647" y="419"/>
                  </a:lnTo>
                  <a:lnTo>
                    <a:pt x="647" y="417"/>
                  </a:lnTo>
                  <a:lnTo>
                    <a:pt x="649" y="417"/>
                  </a:lnTo>
                  <a:lnTo>
                    <a:pt x="649" y="415"/>
                  </a:lnTo>
                  <a:lnTo>
                    <a:pt x="649" y="417"/>
                  </a:lnTo>
                  <a:lnTo>
                    <a:pt x="649" y="419"/>
                  </a:lnTo>
                  <a:lnTo>
                    <a:pt x="651" y="419"/>
                  </a:lnTo>
                  <a:lnTo>
                    <a:pt x="651" y="421"/>
                  </a:lnTo>
                  <a:lnTo>
                    <a:pt x="649" y="421"/>
                  </a:lnTo>
                  <a:lnTo>
                    <a:pt x="651" y="421"/>
                  </a:lnTo>
                  <a:lnTo>
                    <a:pt x="649" y="421"/>
                  </a:lnTo>
                  <a:lnTo>
                    <a:pt x="651" y="421"/>
                  </a:lnTo>
                  <a:lnTo>
                    <a:pt x="651" y="423"/>
                  </a:lnTo>
                  <a:lnTo>
                    <a:pt x="653" y="423"/>
                  </a:lnTo>
                  <a:lnTo>
                    <a:pt x="653" y="425"/>
                  </a:lnTo>
                  <a:lnTo>
                    <a:pt x="653" y="423"/>
                  </a:lnTo>
                  <a:lnTo>
                    <a:pt x="653" y="425"/>
                  </a:lnTo>
                  <a:lnTo>
                    <a:pt x="653" y="427"/>
                  </a:lnTo>
                  <a:lnTo>
                    <a:pt x="655" y="427"/>
                  </a:lnTo>
                  <a:lnTo>
                    <a:pt x="655" y="428"/>
                  </a:lnTo>
                  <a:lnTo>
                    <a:pt x="655" y="427"/>
                  </a:lnTo>
                  <a:lnTo>
                    <a:pt x="655" y="425"/>
                  </a:lnTo>
                  <a:lnTo>
                    <a:pt x="655" y="423"/>
                  </a:lnTo>
                  <a:lnTo>
                    <a:pt x="655" y="421"/>
                  </a:lnTo>
                  <a:lnTo>
                    <a:pt x="653" y="421"/>
                  </a:lnTo>
                  <a:lnTo>
                    <a:pt x="653" y="419"/>
                  </a:lnTo>
                  <a:lnTo>
                    <a:pt x="653" y="417"/>
                  </a:lnTo>
                  <a:lnTo>
                    <a:pt x="653" y="415"/>
                  </a:lnTo>
                  <a:lnTo>
                    <a:pt x="653" y="417"/>
                  </a:lnTo>
                  <a:lnTo>
                    <a:pt x="653" y="415"/>
                  </a:lnTo>
                  <a:lnTo>
                    <a:pt x="653" y="417"/>
                  </a:lnTo>
                  <a:lnTo>
                    <a:pt x="653" y="415"/>
                  </a:lnTo>
                  <a:lnTo>
                    <a:pt x="655" y="415"/>
                  </a:lnTo>
                  <a:lnTo>
                    <a:pt x="655" y="417"/>
                  </a:lnTo>
                  <a:lnTo>
                    <a:pt x="655" y="415"/>
                  </a:lnTo>
                  <a:lnTo>
                    <a:pt x="657" y="415"/>
                  </a:lnTo>
                  <a:lnTo>
                    <a:pt x="657" y="417"/>
                  </a:lnTo>
                  <a:lnTo>
                    <a:pt x="659" y="417"/>
                  </a:lnTo>
                  <a:lnTo>
                    <a:pt x="657" y="417"/>
                  </a:lnTo>
                  <a:lnTo>
                    <a:pt x="657" y="415"/>
                  </a:lnTo>
                  <a:lnTo>
                    <a:pt x="659" y="415"/>
                  </a:lnTo>
                  <a:lnTo>
                    <a:pt x="657" y="415"/>
                  </a:lnTo>
                  <a:lnTo>
                    <a:pt x="659" y="415"/>
                  </a:lnTo>
                  <a:lnTo>
                    <a:pt x="659" y="413"/>
                  </a:lnTo>
                  <a:lnTo>
                    <a:pt x="659" y="415"/>
                  </a:lnTo>
                  <a:lnTo>
                    <a:pt x="659" y="413"/>
                  </a:lnTo>
                  <a:lnTo>
                    <a:pt x="659" y="415"/>
                  </a:lnTo>
                  <a:lnTo>
                    <a:pt x="659" y="417"/>
                  </a:lnTo>
                  <a:lnTo>
                    <a:pt x="659" y="415"/>
                  </a:lnTo>
                  <a:lnTo>
                    <a:pt x="659" y="413"/>
                  </a:lnTo>
                  <a:lnTo>
                    <a:pt x="661" y="413"/>
                  </a:lnTo>
                  <a:lnTo>
                    <a:pt x="661" y="415"/>
                  </a:lnTo>
                  <a:lnTo>
                    <a:pt x="661" y="413"/>
                  </a:lnTo>
                  <a:lnTo>
                    <a:pt x="661" y="411"/>
                  </a:lnTo>
                  <a:lnTo>
                    <a:pt x="659" y="411"/>
                  </a:lnTo>
                  <a:lnTo>
                    <a:pt x="661" y="411"/>
                  </a:lnTo>
                  <a:lnTo>
                    <a:pt x="659" y="411"/>
                  </a:lnTo>
                  <a:lnTo>
                    <a:pt x="659" y="409"/>
                  </a:lnTo>
                  <a:lnTo>
                    <a:pt x="661" y="409"/>
                  </a:lnTo>
                  <a:lnTo>
                    <a:pt x="663" y="407"/>
                  </a:lnTo>
                  <a:lnTo>
                    <a:pt x="661" y="407"/>
                  </a:lnTo>
                  <a:lnTo>
                    <a:pt x="663" y="407"/>
                  </a:lnTo>
                  <a:lnTo>
                    <a:pt x="663" y="405"/>
                  </a:lnTo>
                  <a:lnTo>
                    <a:pt x="663" y="407"/>
                  </a:lnTo>
                  <a:lnTo>
                    <a:pt x="663" y="405"/>
                  </a:lnTo>
                  <a:lnTo>
                    <a:pt x="665" y="405"/>
                  </a:lnTo>
                  <a:lnTo>
                    <a:pt x="665" y="407"/>
                  </a:lnTo>
                  <a:lnTo>
                    <a:pt x="665" y="409"/>
                  </a:lnTo>
                  <a:lnTo>
                    <a:pt x="665" y="407"/>
                  </a:lnTo>
                  <a:lnTo>
                    <a:pt x="667" y="407"/>
                  </a:lnTo>
                  <a:lnTo>
                    <a:pt x="667" y="405"/>
                  </a:lnTo>
                  <a:lnTo>
                    <a:pt x="668" y="405"/>
                  </a:lnTo>
                  <a:lnTo>
                    <a:pt x="670" y="405"/>
                  </a:lnTo>
                  <a:lnTo>
                    <a:pt x="672" y="405"/>
                  </a:lnTo>
                  <a:lnTo>
                    <a:pt x="674" y="405"/>
                  </a:lnTo>
                  <a:lnTo>
                    <a:pt x="674" y="404"/>
                  </a:lnTo>
                  <a:lnTo>
                    <a:pt x="676" y="404"/>
                  </a:lnTo>
                  <a:lnTo>
                    <a:pt x="678" y="404"/>
                  </a:lnTo>
                  <a:lnTo>
                    <a:pt x="680" y="404"/>
                  </a:lnTo>
                  <a:lnTo>
                    <a:pt x="680" y="405"/>
                  </a:lnTo>
                  <a:lnTo>
                    <a:pt x="678" y="405"/>
                  </a:lnTo>
                  <a:lnTo>
                    <a:pt x="680" y="405"/>
                  </a:lnTo>
                  <a:lnTo>
                    <a:pt x="682" y="405"/>
                  </a:lnTo>
                  <a:lnTo>
                    <a:pt x="684" y="405"/>
                  </a:lnTo>
                  <a:lnTo>
                    <a:pt x="684" y="404"/>
                  </a:lnTo>
                  <a:lnTo>
                    <a:pt x="682" y="404"/>
                  </a:lnTo>
                  <a:lnTo>
                    <a:pt x="684" y="404"/>
                  </a:lnTo>
                  <a:lnTo>
                    <a:pt x="684" y="405"/>
                  </a:lnTo>
                  <a:lnTo>
                    <a:pt x="686" y="405"/>
                  </a:lnTo>
                  <a:lnTo>
                    <a:pt x="688" y="405"/>
                  </a:lnTo>
                  <a:lnTo>
                    <a:pt x="688" y="404"/>
                  </a:lnTo>
                  <a:lnTo>
                    <a:pt x="690" y="405"/>
                  </a:lnTo>
                  <a:lnTo>
                    <a:pt x="690" y="404"/>
                  </a:lnTo>
                  <a:lnTo>
                    <a:pt x="690" y="405"/>
                  </a:lnTo>
                  <a:lnTo>
                    <a:pt x="691" y="405"/>
                  </a:lnTo>
                  <a:lnTo>
                    <a:pt x="690" y="405"/>
                  </a:lnTo>
                  <a:lnTo>
                    <a:pt x="690" y="407"/>
                  </a:lnTo>
                  <a:lnTo>
                    <a:pt x="690" y="409"/>
                  </a:lnTo>
                  <a:lnTo>
                    <a:pt x="690" y="407"/>
                  </a:lnTo>
                  <a:lnTo>
                    <a:pt x="690" y="409"/>
                  </a:lnTo>
                  <a:lnTo>
                    <a:pt x="690" y="411"/>
                  </a:lnTo>
                  <a:lnTo>
                    <a:pt x="691" y="411"/>
                  </a:lnTo>
                  <a:lnTo>
                    <a:pt x="690" y="411"/>
                  </a:lnTo>
                  <a:lnTo>
                    <a:pt x="691" y="411"/>
                  </a:lnTo>
                  <a:lnTo>
                    <a:pt x="691" y="413"/>
                  </a:lnTo>
                  <a:lnTo>
                    <a:pt x="690" y="413"/>
                  </a:lnTo>
                  <a:lnTo>
                    <a:pt x="691" y="413"/>
                  </a:lnTo>
                  <a:lnTo>
                    <a:pt x="690" y="413"/>
                  </a:lnTo>
                  <a:lnTo>
                    <a:pt x="691" y="413"/>
                  </a:lnTo>
                  <a:lnTo>
                    <a:pt x="691" y="415"/>
                  </a:lnTo>
                  <a:lnTo>
                    <a:pt x="690" y="415"/>
                  </a:lnTo>
                  <a:lnTo>
                    <a:pt x="688" y="415"/>
                  </a:lnTo>
                  <a:lnTo>
                    <a:pt x="690" y="415"/>
                  </a:lnTo>
                  <a:lnTo>
                    <a:pt x="690" y="417"/>
                  </a:lnTo>
                  <a:lnTo>
                    <a:pt x="688" y="417"/>
                  </a:lnTo>
                  <a:lnTo>
                    <a:pt x="688" y="419"/>
                  </a:lnTo>
                  <a:lnTo>
                    <a:pt x="690" y="419"/>
                  </a:lnTo>
                  <a:lnTo>
                    <a:pt x="690" y="417"/>
                  </a:lnTo>
                  <a:lnTo>
                    <a:pt x="688" y="417"/>
                  </a:lnTo>
                  <a:lnTo>
                    <a:pt x="690" y="417"/>
                  </a:lnTo>
                  <a:lnTo>
                    <a:pt x="690" y="415"/>
                  </a:lnTo>
                  <a:lnTo>
                    <a:pt x="690" y="417"/>
                  </a:lnTo>
                  <a:lnTo>
                    <a:pt x="690" y="415"/>
                  </a:lnTo>
                  <a:lnTo>
                    <a:pt x="691" y="415"/>
                  </a:lnTo>
                  <a:lnTo>
                    <a:pt x="690" y="415"/>
                  </a:lnTo>
                  <a:lnTo>
                    <a:pt x="691" y="415"/>
                  </a:lnTo>
                  <a:lnTo>
                    <a:pt x="691" y="417"/>
                  </a:lnTo>
                  <a:lnTo>
                    <a:pt x="693" y="417"/>
                  </a:lnTo>
                  <a:lnTo>
                    <a:pt x="693" y="419"/>
                  </a:lnTo>
                  <a:lnTo>
                    <a:pt x="691" y="419"/>
                  </a:lnTo>
                  <a:lnTo>
                    <a:pt x="691" y="421"/>
                  </a:lnTo>
                  <a:lnTo>
                    <a:pt x="691" y="419"/>
                  </a:lnTo>
                  <a:lnTo>
                    <a:pt x="691" y="421"/>
                  </a:lnTo>
                  <a:lnTo>
                    <a:pt x="691" y="419"/>
                  </a:lnTo>
                  <a:lnTo>
                    <a:pt x="691" y="421"/>
                  </a:lnTo>
                  <a:lnTo>
                    <a:pt x="690" y="421"/>
                  </a:lnTo>
                  <a:lnTo>
                    <a:pt x="690" y="423"/>
                  </a:lnTo>
                  <a:lnTo>
                    <a:pt x="688" y="423"/>
                  </a:lnTo>
                  <a:lnTo>
                    <a:pt x="688" y="425"/>
                  </a:lnTo>
                  <a:lnTo>
                    <a:pt x="688" y="423"/>
                  </a:lnTo>
                  <a:lnTo>
                    <a:pt x="688" y="425"/>
                  </a:lnTo>
                  <a:lnTo>
                    <a:pt x="686" y="425"/>
                  </a:lnTo>
                  <a:lnTo>
                    <a:pt x="684" y="425"/>
                  </a:lnTo>
                  <a:lnTo>
                    <a:pt x="686" y="425"/>
                  </a:lnTo>
                  <a:lnTo>
                    <a:pt x="686" y="427"/>
                  </a:lnTo>
                  <a:lnTo>
                    <a:pt x="684" y="427"/>
                  </a:lnTo>
                  <a:lnTo>
                    <a:pt x="686" y="427"/>
                  </a:lnTo>
                  <a:lnTo>
                    <a:pt x="686" y="425"/>
                  </a:lnTo>
                  <a:lnTo>
                    <a:pt x="688" y="425"/>
                  </a:lnTo>
                  <a:lnTo>
                    <a:pt x="690" y="425"/>
                  </a:lnTo>
                  <a:lnTo>
                    <a:pt x="690" y="427"/>
                  </a:lnTo>
                  <a:lnTo>
                    <a:pt x="688" y="427"/>
                  </a:lnTo>
                  <a:lnTo>
                    <a:pt x="688" y="428"/>
                  </a:lnTo>
                  <a:lnTo>
                    <a:pt x="686" y="428"/>
                  </a:lnTo>
                  <a:lnTo>
                    <a:pt x="684" y="428"/>
                  </a:lnTo>
                  <a:lnTo>
                    <a:pt x="686" y="428"/>
                  </a:lnTo>
                  <a:lnTo>
                    <a:pt x="684" y="428"/>
                  </a:lnTo>
                  <a:lnTo>
                    <a:pt x="686" y="428"/>
                  </a:lnTo>
                  <a:lnTo>
                    <a:pt x="686" y="430"/>
                  </a:lnTo>
                  <a:lnTo>
                    <a:pt x="686" y="428"/>
                  </a:lnTo>
                  <a:lnTo>
                    <a:pt x="688" y="428"/>
                  </a:lnTo>
                  <a:lnTo>
                    <a:pt x="690" y="428"/>
                  </a:lnTo>
                  <a:lnTo>
                    <a:pt x="690" y="430"/>
                  </a:lnTo>
                  <a:lnTo>
                    <a:pt x="688" y="430"/>
                  </a:lnTo>
                  <a:lnTo>
                    <a:pt x="688" y="432"/>
                  </a:lnTo>
                  <a:lnTo>
                    <a:pt x="686" y="432"/>
                  </a:lnTo>
                  <a:lnTo>
                    <a:pt x="686" y="434"/>
                  </a:lnTo>
                  <a:lnTo>
                    <a:pt x="684" y="436"/>
                  </a:lnTo>
                  <a:lnTo>
                    <a:pt x="686" y="436"/>
                  </a:lnTo>
                  <a:lnTo>
                    <a:pt x="686" y="434"/>
                  </a:lnTo>
                  <a:lnTo>
                    <a:pt x="688" y="434"/>
                  </a:lnTo>
                  <a:lnTo>
                    <a:pt x="688" y="432"/>
                  </a:lnTo>
                  <a:lnTo>
                    <a:pt x="688" y="434"/>
                  </a:lnTo>
                  <a:lnTo>
                    <a:pt x="688" y="432"/>
                  </a:lnTo>
                  <a:lnTo>
                    <a:pt x="688" y="434"/>
                  </a:lnTo>
                  <a:lnTo>
                    <a:pt x="688" y="436"/>
                  </a:lnTo>
                  <a:lnTo>
                    <a:pt x="686" y="434"/>
                  </a:lnTo>
                  <a:lnTo>
                    <a:pt x="686" y="436"/>
                  </a:lnTo>
                  <a:lnTo>
                    <a:pt x="688" y="436"/>
                  </a:lnTo>
                  <a:lnTo>
                    <a:pt x="686" y="436"/>
                  </a:lnTo>
                  <a:lnTo>
                    <a:pt x="686" y="438"/>
                  </a:lnTo>
                  <a:lnTo>
                    <a:pt x="686" y="436"/>
                  </a:lnTo>
                  <a:lnTo>
                    <a:pt x="686" y="438"/>
                  </a:lnTo>
                  <a:lnTo>
                    <a:pt x="688" y="438"/>
                  </a:lnTo>
                  <a:lnTo>
                    <a:pt x="688" y="440"/>
                  </a:lnTo>
                  <a:lnTo>
                    <a:pt x="686" y="440"/>
                  </a:lnTo>
                  <a:lnTo>
                    <a:pt x="686" y="438"/>
                  </a:lnTo>
                  <a:lnTo>
                    <a:pt x="686" y="440"/>
                  </a:lnTo>
                  <a:lnTo>
                    <a:pt x="684" y="440"/>
                  </a:lnTo>
                  <a:lnTo>
                    <a:pt x="684" y="442"/>
                  </a:lnTo>
                  <a:lnTo>
                    <a:pt x="682" y="442"/>
                  </a:lnTo>
                  <a:lnTo>
                    <a:pt x="682" y="444"/>
                  </a:lnTo>
                  <a:lnTo>
                    <a:pt x="682" y="446"/>
                  </a:lnTo>
                  <a:lnTo>
                    <a:pt x="680" y="446"/>
                  </a:lnTo>
                  <a:lnTo>
                    <a:pt x="682" y="446"/>
                  </a:lnTo>
                  <a:lnTo>
                    <a:pt x="682" y="448"/>
                  </a:lnTo>
                  <a:lnTo>
                    <a:pt x="684" y="448"/>
                  </a:lnTo>
                  <a:lnTo>
                    <a:pt x="684" y="446"/>
                  </a:lnTo>
                  <a:lnTo>
                    <a:pt x="684" y="444"/>
                  </a:lnTo>
                  <a:lnTo>
                    <a:pt x="686" y="444"/>
                  </a:lnTo>
                  <a:lnTo>
                    <a:pt x="686" y="442"/>
                  </a:lnTo>
                  <a:lnTo>
                    <a:pt x="686" y="440"/>
                  </a:lnTo>
                  <a:lnTo>
                    <a:pt x="688" y="440"/>
                  </a:lnTo>
                  <a:lnTo>
                    <a:pt x="688" y="442"/>
                  </a:lnTo>
                  <a:lnTo>
                    <a:pt x="690" y="442"/>
                  </a:lnTo>
                  <a:lnTo>
                    <a:pt x="690" y="440"/>
                  </a:lnTo>
                  <a:lnTo>
                    <a:pt x="690" y="442"/>
                  </a:lnTo>
                  <a:lnTo>
                    <a:pt x="690" y="440"/>
                  </a:lnTo>
                  <a:lnTo>
                    <a:pt x="690" y="442"/>
                  </a:lnTo>
                  <a:lnTo>
                    <a:pt x="688" y="442"/>
                  </a:lnTo>
                  <a:lnTo>
                    <a:pt x="688" y="440"/>
                  </a:lnTo>
                  <a:lnTo>
                    <a:pt x="688" y="438"/>
                  </a:lnTo>
                  <a:lnTo>
                    <a:pt x="690" y="438"/>
                  </a:lnTo>
                  <a:lnTo>
                    <a:pt x="688" y="438"/>
                  </a:lnTo>
                  <a:lnTo>
                    <a:pt x="690" y="436"/>
                  </a:lnTo>
                  <a:lnTo>
                    <a:pt x="691" y="436"/>
                  </a:lnTo>
                  <a:lnTo>
                    <a:pt x="691" y="434"/>
                  </a:lnTo>
                  <a:lnTo>
                    <a:pt x="691" y="436"/>
                  </a:lnTo>
                  <a:lnTo>
                    <a:pt x="691" y="434"/>
                  </a:lnTo>
                  <a:lnTo>
                    <a:pt x="691" y="436"/>
                  </a:lnTo>
                  <a:lnTo>
                    <a:pt x="691" y="434"/>
                  </a:lnTo>
                  <a:lnTo>
                    <a:pt x="693" y="434"/>
                  </a:lnTo>
                  <a:lnTo>
                    <a:pt x="693" y="436"/>
                  </a:lnTo>
                  <a:lnTo>
                    <a:pt x="693" y="434"/>
                  </a:lnTo>
                  <a:lnTo>
                    <a:pt x="693" y="436"/>
                  </a:lnTo>
                  <a:lnTo>
                    <a:pt x="693" y="434"/>
                  </a:lnTo>
                  <a:lnTo>
                    <a:pt x="693" y="436"/>
                  </a:lnTo>
                  <a:lnTo>
                    <a:pt x="693" y="438"/>
                  </a:lnTo>
                  <a:lnTo>
                    <a:pt x="691" y="438"/>
                  </a:lnTo>
                  <a:lnTo>
                    <a:pt x="691" y="440"/>
                  </a:lnTo>
                  <a:lnTo>
                    <a:pt x="690" y="440"/>
                  </a:lnTo>
                  <a:lnTo>
                    <a:pt x="691" y="440"/>
                  </a:lnTo>
                  <a:lnTo>
                    <a:pt x="690" y="440"/>
                  </a:lnTo>
                  <a:lnTo>
                    <a:pt x="691" y="440"/>
                  </a:lnTo>
                  <a:lnTo>
                    <a:pt x="693" y="440"/>
                  </a:lnTo>
                  <a:lnTo>
                    <a:pt x="693" y="438"/>
                  </a:lnTo>
                  <a:lnTo>
                    <a:pt x="693" y="440"/>
                  </a:lnTo>
                  <a:lnTo>
                    <a:pt x="693" y="442"/>
                  </a:lnTo>
                  <a:lnTo>
                    <a:pt x="691" y="442"/>
                  </a:lnTo>
                  <a:lnTo>
                    <a:pt x="690" y="442"/>
                  </a:lnTo>
                  <a:lnTo>
                    <a:pt x="690" y="444"/>
                  </a:lnTo>
                  <a:lnTo>
                    <a:pt x="690" y="446"/>
                  </a:lnTo>
                  <a:lnTo>
                    <a:pt x="688" y="446"/>
                  </a:lnTo>
                  <a:lnTo>
                    <a:pt x="690" y="446"/>
                  </a:lnTo>
                  <a:lnTo>
                    <a:pt x="690" y="444"/>
                  </a:lnTo>
                  <a:lnTo>
                    <a:pt x="690" y="446"/>
                  </a:lnTo>
                  <a:lnTo>
                    <a:pt x="690" y="444"/>
                  </a:lnTo>
                  <a:lnTo>
                    <a:pt x="690" y="446"/>
                  </a:lnTo>
                  <a:lnTo>
                    <a:pt x="690" y="444"/>
                  </a:lnTo>
                  <a:lnTo>
                    <a:pt x="690" y="446"/>
                  </a:lnTo>
                  <a:lnTo>
                    <a:pt x="690" y="444"/>
                  </a:lnTo>
                  <a:lnTo>
                    <a:pt x="690" y="446"/>
                  </a:lnTo>
                  <a:lnTo>
                    <a:pt x="690" y="444"/>
                  </a:lnTo>
                  <a:lnTo>
                    <a:pt x="691" y="444"/>
                  </a:lnTo>
                  <a:lnTo>
                    <a:pt x="693" y="444"/>
                  </a:lnTo>
                  <a:lnTo>
                    <a:pt x="693" y="446"/>
                  </a:lnTo>
                  <a:lnTo>
                    <a:pt x="691" y="446"/>
                  </a:lnTo>
                  <a:lnTo>
                    <a:pt x="691" y="448"/>
                  </a:lnTo>
                  <a:lnTo>
                    <a:pt x="693" y="448"/>
                  </a:lnTo>
                  <a:lnTo>
                    <a:pt x="693" y="446"/>
                  </a:lnTo>
                  <a:lnTo>
                    <a:pt x="693" y="444"/>
                  </a:lnTo>
                  <a:lnTo>
                    <a:pt x="693" y="446"/>
                  </a:lnTo>
                  <a:lnTo>
                    <a:pt x="693" y="444"/>
                  </a:lnTo>
                  <a:lnTo>
                    <a:pt x="695" y="444"/>
                  </a:lnTo>
                  <a:lnTo>
                    <a:pt x="695" y="442"/>
                  </a:lnTo>
                  <a:lnTo>
                    <a:pt x="695" y="440"/>
                  </a:lnTo>
                  <a:lnTo>
                    <a:pt x="695" y="442"/>
                  </a:lnTo>
                  <a:lnTo>
                    <a:pt x="695" y="444"/>
                  </a:lnTo>
                  <a:lnTo>
                    <a:pt x="695" y="442"/>
                  </a:lnTo>
                  <a:lnTo>
                    <a:pt x="695" y="444"/>
                  </a:lnTo>
                  <a:lnTo>
                    <a:pt x="695" y="442"/>
                  </a:lnTo>
                  <a:lnTo>
                    <a:pt x="697" y="442"/>
                  </a:lnTo>
                  <a:lnTo>
                    <a:pt x="695" y="442"/>
                  </a:lnTo>
                  <a:lnTo>
                    <a:pt x="697" y="442"/>
                  </a:lnTo>
                  <a:lnTo>
                    <a:pt x="697" y="440"/>
                  </a:lnTo>
                  <a:lnTo>
                    <a:pt x="697" y="442"/>
                  </a:lnTo>
                  <a:lnTo>
                    <a:pt x="697" y="440"/>
                  </a:lnTo>
                  <a:lnTo>
                    <a:pt x="699" y="440"/>
                  </a:lnTo>
                  <a:lnTo>
                    <a:pt x="699" y="442"/>
                  </a:lnTo>
                  <a:lnTo>
                    <a:pt x="699" y="440"/>
                  </a:lnTo>
                  <a:lnTo>
                    <a:pt x="701" y="440"/>
                  </a:lnTo>
                  <a:lnTo>
                    <a:pt x="699" y="440"/>
                  </a:lnTo>
                  <a:lnTo>
                    <a:pt x="701" y="440"/>
                  </a:lnTo>
                  <a:lnTo>
                    <a:pt x="701" y="442"/>
                  </a:lnTo>
                  <a:lnTo>
                    <a:pt x="703" y="442"/>
                  </a:lnTo>
                  <a:lnTo>
                    <a:pt x="703" y="440"/>
                  </a:lnTo>
                  <a:lnTo>
                    <a:pt x="703" y="438"/>
                  </a:lnTo>
                  <a:lnTo>
                    <a:pt x="705" y="438"/>
                  </a:lnTo>
                  <a:lnTo>
                    <a:pt x="705" y="440"/>
                  </a:lnTo>
                  <a:lnTo>
                    <a:pt x="705" y="438"/>
                  </a:lnTo>
                  <a:lnTo>
                    <a:pt x="705" y="440"/>
                  </a:lnTo>
                  <a:lnTo>
                    <a:pt x="705" y="438"/>
                  </a:lnTo>
                  <a:lnTo>
                    <a:pt x="705" y="440"/>
                  </a:lnTo>
                  <a:lnTo>
                    <a:pt x="705" y="442"/>
                  </a:lnTo>
                  <a:lnTo>
                    <a:pt x="703" y="442"/>
                  </a:lnTo>
                  <a:lnTo>
                    <a:pt x="703" y="444"/>
                  </a:lnTo>
                  <a:lnTo>
                    <a:pt x="701" y="444"/>
                  </a:lnTo>
                  <a:lnTo>
                    <a:pt x="703" y="444"/>
                  </a:lnTo>
                  <a:lnTo>
                    <a:pt x="701" y="444"/>
                  </a:lnTo>
                  <a:lnTo>
                    <a:pt x="701" y="446"/>
                  </a:lnTo>
                  <a:lnTo>
                    <a:pt x="701" y="448"/>
                  </a:lnTo>
                  <a:lnTo>
                    <a:pt x="701" y="450"/>
                  </a:lnTo>
                  <a:lnTo>
                    <a:pt x="699" y="450"/>
                  </a:lnTo>
                  <a:lnTo>
                    <a:pt x="699" y="452"/>
                  </a:lnTo>
                  <a:lnTo>
                    <a:pt x="697" y="452"/>
                  </a:lnTo>
                  <a:lnTo>
                    <a:pt x="697" y="450"/>
                  </a:lnTo>
                  <a:lnTo>
                    <a:pt x="697" y="452"/>
                  </a:lnTo>
                  <a:lnTo>
                    <a:pt x="697" y="453"/>
                  </a:lnTo>
                  <a:lnTo>
                    <a:pt x="699" y="453"/>
                  </a:lnTo>
                  <a:lnTo>
                    <a:pt x="697" y="453"/>
                  </a:lnTo>
                  <a:lnTo>
                    <a:pt x="699" y="453"/>
                  </a:lnTo>
                  <a:lnTo>
                    <a:pt x="699" y="452"/>
                  </a:lnTo>
                  <a:lnTo>
                    <a:pt x="699" y="450"/>
                  </a:lnTo>
                  <a:lnTo>
                    <a:pt x="699" y="452"/>
                  </a:lnTo>
                  <a:lnTo>
                    <a:pt x="699" y="450"/>
                  </a:lnTo>
                  <a:lnTo>
                    <a:pt x="701" y="450"/>
                  </a:lnTo>
                  <a:lnTo>
                    <a:pt x="701" y="448"/>
                  </a:lnTo>
                  <a:lnTo>
                    <a:pt x="703" y="448"/>
                  </a:lnTo>
                  <a:lnTo>
                    <a:pt x="703" y="450"/>
                  </a:lnTo>
                  <a:lnTo>
                    <a:pt x="703" y="448"/>
                  </a:lnTo>
                  <a:lnTo>
                    <a:pt x="705" y="448"/>
                  </a:lnTo>
                  <a:lnTo>
                    <a:pt x="705" y="446"/>
                  </a:lnTo>
                  <a:lnTo>
                    <a:pt x="707" y="446"/>
                  </a:lnTo>
                  <a:lnTo>
                    <a:pt x="705" y="446"/>
                  </a:lnTo>
                  <a:lnTo>
                    <a:pt x="705" y="448"/>
                  </a:lnTo>
                  <a:lnTo>
                    <a:pt x="703" y="450"/>
                  </a:lnTo>
                  <a:lnTo>
                    <a:pt x="705" y="450"/>
                  </a:lnTo>
                  <a:lnTo>
                    <a:pt x="705" y="448"/>
                  </a:lnTo>
                  <a:lnTo>
                    <a:pt x="705" y="450"/>
                  </a:lnTo>
                  <a:lnTo>
                    <a:pt x="707" y="450"/>
                  </a:lnTo>
                  <a:lnTo>
                    <a:pt x="705" y="450"/>
                  </a:lnTo>
                  <a:lnTo>
                    <a:pt x="707" y="450"/>
                  </a:lnTo>
                  <a:lnTo>
                    <a:pt x="707" y="452"/>
                  </a:lnTo>
                  <a:lnTo>
                    <a:pt x="705" y="452"/>
                  </a:lnTo>
                  <a:lnTo>
                    <a:pt x="705" y="453"/>
                  </a:lnTo>
                  <a:lnTo>
                    <a:pt x="703" y="453"/>
                  </a:lnTo>
                  <a:lnTo>
                    <a:pt x="703" y="455"/>
                  </a:lnTo>
                  <a:lnTo>
                    <a:pt x="701" y="455"/>
                  </a:lnTo>
                  <a:lnTo>
                    <a:pt x="703" y="455"/>
                  </a:lnTo>
                  <a:lnTo>
                    <a:pt x="701" y="455"/>
                  </a:lnTo>
                  <a:lnTo>
                    <a:pt x="703" y="455"/>
                  </a:lnTo>
                  <a:lnTo>
                    <a:pt x="703" y="457"/>
                  </a:lnTo>
                  <a:lnTo>
                    <a:pt x="701" y="457"/>
                  </a:lnTo>
                  <a:lnTo>
                    <a:pt x="703" y="457"/>
                  </a:lnTo>
                  <a:lnTo>
                    <a:pt x="701" y="457"/>
                  </a:lnTo>
                  <a:lnTo>
                    <a:pt x="701" y="459"/>
                  </a:lnTo>
                  <a:lnTo>
                    <a:pt x="701" y="461"/>
                  </a:lnTo>
                  <a:lnTo>
                    <a:pt x="699" y="461"/>
                  </a:lnTo>
                  <a:lnTo>
                    <a:pt x="699" y="463"/>
                  </a:lnTo>
                  <a:lnTo>
                    <a:pt x="697" y="463"/>
                  </a:lnTo>
                  <a:lnTo>
                    <a:pt x="697" y="465"/>
                  </a:lnTo>
                  <a:lnTo>
                    <a:pt x="697" y="467"/>
                  </a:lnTo>
                  <a:lnTo>
                    <a:pt x="695" y="467"/>
                  </a:lnTo>
                  <a:lnTo>
                    <a:pt x="697" y="467"/>
                  </a:lnTo>
                  <a:lnTo>
                    <a:pt x="699" y="467"/>
                  </a:lnTo>
                  <a:lnTo>
                    <a:pt x="699" y="469"/>
                  </a:lnTo>
                  <a:lnTo>
                    <a:pt x="699" y="471"/>
                  </a:lnTo>
                  <a:lnTo>
                    <a:pt x="699" y="469"/>
                  </a:lnTo>
                  <a:lnTo>
                    <a:pt x="699" y="467"/>
                  </a:lnTo>
                  <a:lnTo>
                    <a:pt x="699" y="465"/>
                  </a:lnTo>
                  <a:lnTo>
                    <a:pt x="699" y="463"/>
                  </a:lnTo>
                  <a:lnTo>
                    <a:pt x="701" y="463"/>
                  </a:lnTo>
                  <a:lnTo>
                    <a:pt x="701" y="461"/>
                  </a:lnTo>
                  <a:lnTo>
                    <a:pt x="701" y="463"/>
                  </a:lnTo>
                  <a:lnTo>
                    <a:pt x="701" y="461"/>
                  </a:lnTo>
                  <a:lnTo>
                    <a:pt x="703" y="461"/>
                  </a:lnTo>
                  <a:lnTo>
                    <a:pt x="703" y="459"/>
                  </a:lnTo>
                  <a:lnTo>
                    <a:pt x="703" y="457"/>
                  </a:lnTo>
                  <a:lnTo>
                    <a:pt x="703" y="455"/>
                  </a:lnTo>
                  <a:lnTo>
                    <a:pt x="705" y="455"/>
                  </a:lnTo>
                  <a:lnTo>
                    <a:pt x="705" y="453"/>
                  </a:lnTo>
                  <a:lnTo>
                    <a:pt x="707" y="453"/>
                  </a:lnTo>
                  <a:lnTo>
                    <a:pt x="707" y="455"/>
                  </a:lnTo>
                  <a:lnTo>
                    <a:pt x="707" y="457"/>
                  </a:lnTo>
                  <a:lnTo>
                    <a:pt x="707" y="455"/>
                  </a:lnTo>
                  <a:lnTo>
                    <a:pt x="707" y="457"/>
                  </a:lnTo>
                  <a:lnTo>
                    <a:pt x="707" y="459"/>
                  </a:lnTo>
                  <a:lnTo>
                    <a:pt x="707" y="461"/>
                  </a:lnTo>
                  <a:lnTo>
                    <a:pt x="707" y="459"/>
                  </a:lnTo>
                  <a:lnTo>
                    <a:pt x="707" y="461"/>
                  </a:lnTo>
                  <a:lnTo>
                    <a:pt x="707" y="459"/>
                  </a:lnTo>
                  <a:lnTo>
                    <a:pt x="709" y="459"/>
                  </a:lnTo>
                  <a:lnTo>
                    <a:pt x="707" y="459"/>
                  </a:lnTo>
                  <a:lnTo>
                    <a:pt x="707" y="457"/>
                  </a:lnTo>
                  <a:lnTo>
                    <a:pt x="709" y="457"/>
                  </a:lnTo>
                  <a:lnTo>
                    <a:pt x="707" y="457"/>
                  </a:lnTo>
                  <a:lnTo>
                    <a:pt x="707" y="455"/>
                  </a:lnTo>
                  <a:lnTo>
                    <a:pt x="707" y="453"/>
                  </a:lnTo>
                  <a:lnTo>
                    <a:pt x="707" y="452"/>
                  </a:lnTo>
                  <a:lnTo>
                    <a:pt x="707" y="450"/>
                  </a:lnTo>
                  <a:lnTo>
                    <a:pt x="709" y="450"/>
                  </a:lnTo>
                  <a:lnTo>
                    <a:pt x="707" y="450"/>
                  </a:lnTo>
                  <a:lnTo>
                    <a:pt x="709" y="450"/>
                  </a:lnTo>
                  <a:lnTo>
                    <a:pt x="709" y="448"/>
                  </a:lnTo>
                  <a:lnTo>
                    <a:pt x="709" y="446"/>
                  </a:lnTo>
                  <a:lnTo>
                    <a:pt x="711" y="446"/>
                  </a:lnTo>
                  <a:lnTo>
                    <a:pt x="711" y="448"/>
                  </a:lnTo>
                  <a:lnTo>
                    <a:pt x="709" y="448"/>
                  </a:lnTo>
                  <a:lnTo>
                    <a:pt x="709" y="450"/>
                  </a:lnTo>
                  <a:lnTo>
                    <a:pt x="709" y="448"/>
                  </a:lnTo>
                  <a:lnTo>
                    <a:pt x="711" y="448"/>
                  </a:lnTo>
                  <a:lnTo>
                    <a:pt x="711" y="450"/>
                  </a:lnTo>
                  <a:lnTo>
                    <a:pt x="711" y="452"/>
                  </a:lnTo>
                  <a:lnTo>
                    <a:pt x="711" y="453"/>
                  </a:lnTo>
                  <a:lnTo>
                    <a:pt x="711" y="455"/>
                  </a:lnTo>
                  <a:lnTo>
                    <a:pt x="711" y="453"/>
                  </a:lnTo>
                  <a:lnTo>
                    <a:pt x="711" y="452"/>
                  </a:lnTo>
                  <a:lnTo>
                    <a:pt x="713" y="452"/>
                  </a:lnTo>
                  <a:lnTo>
                    <a:pt x="713" y="450"/>
                  </a:lnTo>
                  <a:lnTo>
                    <a:pt x="713" y="452"/>
                  </a:lnTo>
                  <a:lnTo>
                    <a:pt x="713" y="453"/>
                  </a:lnTo>
                  <a:lnTo>
                    <a:pt x="713" y="452"/>
                  </a:lnTo>
                  <a:lnTo>
                    <a:pt x="713" y="450"/>
                  </a:lnTo>
                  <a:lnTo>
                    <a:pt x="713" y="448"/>
                  </a:lnTo>
                  <a:lnTo>
                    <a:pt x="713" y="446"/>
                  </a:lnTo>
                  <a:lnTo>
                    <a:pt x="711" y="446"/>
                  </a:lnTo>
                  <a:lnTo>
                    <a:pt x="713" y="446"/>
                  </a:lnTo>
                  <a:lnTo>
                    <a:pt x="713" y="448"/>
                  </a:lnTo>
                  <a:lnTo>
                    <a:pt x="713" y="446"/>
                  </a:lnTo>
                  <a:lnTo>
                    <a:pt x="713" y="448"/>
                  </a:lnTo>
                  <a:lnTo>
                    <a:pt x="713" y="446"/>
                  </a:lnTo>
                  <a:lnTo>
                    <a:pt x="713" y="448"/>
                  </a:lnTo>
                  <a:lnTo>
                    <a:pt x="715" y="448"/>
                  </a:lnTo>
                  <a:lnTo>
                    <a:pt x="715" y="446"/>
                  </a:lnTo>
                  <a:lnTo>
                    <a:pt x="715" y="448"/>
                  </a:lnTo>
                  <a:lnTo>
                    <a:pt x="715" y="450"/>
                  </a:lnTo>
                  <a:lnTo>
                    <a:pt x="715" y="448"/>
                  </a:lnTo>
                  <a:lnTo>
                    <a:pt x="715" y="450"/>
                  </a:lnTo>
                  <a:lnTo>
                    <a:pt x="715" y="452"/>
                  </a:lnTo>
                  <a:lnTo>
                    <a:pt x="715" y="453"/>
                  </a:lnTo>
                  <a:lnTo>
                    <a:pt x="715" y="455"/>
                  </a:lnTo>
                  <a:lnTo>
                    <a:pt x="715" y="453"/>
                  </a:lnTo>
                  <a:lnTo>
                    <a:pt x="715" y="452"/>
                  </a:lnTo>
                  <a:lnTo>
                    <a:pt x="716" y="452"/>
                  </a:lnTo>
                  <a:lnTo>
                    <a:pt x="716" y="450"/>
                  </a:lnTo>
                  <a:lnTo>
                    <a:pt x="715" y="450"/>
                  </a:lnTo>
                  <a:lnTo>
                    <a:pt x="715" y="448"/>
                  </a:lnTo>
                  <a:lnTo>
                    <a:pt x="716" y="448"/>
                  </a:lnTo>
                  <a:lnTo>
                    <a:pt x="715" y="448"/>
                  </a:lnTo>
                  <a:lnTo>
                    <a:pt x="716" y="448"/>
                  </a:lnTo>
                  <a:lnTo>
                    <a:pt x="716" y="450"/>
                  </a:lnTo>
                  <a:lnTo>
                    <a:pt x="716" y="448"/>
                  </a:lnTo>
                  <a:lnTo>
                    <a:pt x="716" y="446"/>
                  </a:lnTo>
                  <a:lnTo>
                    <a:pt x="715" y="446"/>
                  </a:lnTo>
                  <a:lnTo>
                    <a:pt x="716" y="446"/>
                  </a:lnTo>
                  <a:lnTo>
                    <a:pt x="715" y="446"/>
                  </a:lnTo>
                  <a:lnTo>
                    <a:pt x="716" y="446"/>
                  </a:lnTo>
                  <a:lnTo>
                    <a:pt x="715" y="446"/>
                  </a:lnTo>
                  <a:lnTo>
                    <a:pt x="715" y="444"/>
                  </a:lnTo>
                  <a:lnTo>
                    <a:pt x="716" y="444"/>
                  </a:lnTo>
                  <a:lnTo>
                    <a:pt x="715" y="444"/>
                  </a:lnTo>
                  <a:lnTo>
                    <a:pt x="716" y="444"/>
                  </a:lnTo>
                  <a:lnTo>
                    <a:pt x="715" y="444"/>
                  </a:lnTo>
                  <a:lnTo>
                    <a:pt x="715" y="442"/>
                  </a:lnTo>
                  <a:lnTo>
                    <a:pt x="715" y="440"/>
                  </a:lnTo>
                  <a:lnTo>
                    <a:pt x="713" y="440"/>
                  </a:lnTo>
                  <a:lnTo>
                    <a:pt x="715" y="440"/>
                  </a:lnTo>
                  <a:lnTo>
                    <a:pt x="715" y="438"/>
                  </a:lnTo>
                  <a:lnTo>
                    <a:pt x="713" y="438"/>
                  </a:lnTo>
                  <a:lnTo>
                    <a:pt x="713" y="436"/>
                  </a:lnTo>
                  <a:lnTo>
                    <a:pt x="715" y="436"/>
                  </a:lnTo>
                  <a:lnTo>
                    <a:pt x="715" y="438"/>
                  </a:lnTo>
                  <a:lnTo>
                    <a:pt x="715" y="436"/>
                  </a:lnTo>
                  <a:lnTo>
                    <a:pt x="715" y="438"/>
                  </a:lnTo>
                  <a:lnTo>
                    <a:pt x="715" y="436"/>
                  </a:lnTo>
                  <a:lnTo>
                    <a:pt x="715" y="438"/>
                  </a:lnTo>
                  <a:lnTo>
                    <a:pt x="715" y="436"/>
                  </a:lnTo>
                  <a:lnTo>
                    <a:pt x="716" y="436"/>
                  </a:lnTo>
                  <a:lnTo>
                    <a:pt x="715" y="436"/>
                  </a:lnTo>
                  <a:lnTo>
                    <a:pt x="716" y="436"/>
                  </a:lnTo>
                  <a:lnTo>
                    <a:pt x="715" y="436"/>
                  </a:lnTo>
                  <a:lnTo>
                    <a:pt x="716" y="436"/>
                  </a:lnTo>
                  <a:lnTo>
                    <a:pt x="716" y="434"/>
                  </a:lnTo>
                  <a:lnTo>
                    <a:pt x="716" y="436"/>
                  </a:lnTo>
                  <a:lnTo>
                    <a:pt x="718" y="436"/>
                  </a:lnTo>
                  <a:lnTo>
                    <a:pt x="720" y="436"/>
                  </a:lnTo>
                  <a:lnTo>
                    <a:pt x="720" y="438"/>
                  </a:lnTo>
                  <a:lnTo>
                    <a:pt x="720" y="436"/>
                  </a:lnTo>
                  <a:lnTo>
                    <a:pt x="720" y="438"/>
                  </a:lnTo>
                  <a:lnTo>
                    <a:pt x="720" y="436"/>
                  </a:lnTo>
                  <a:lnTo>
                    <a:pt x="720" y="438"/>
                  </a:lnTo>
                  <a:lnTo>
                    <a:pt x="720" y="436"/>
                  </a:lnTo>
                  <a:lnTo>
                    <a:pt x="722" y="436"/>
                  </a:lnTo>
                  <a:lnTo>
                    <a:pt x="722" y="438"/>
                  </a:lnTo>
                  <a:lnTo>
                    <a:pt x="724" y="438"/>
                  </a:lnTo>
                  <a:lnTo>
                    <a:pt x="724" y="436"/>
                  </a:lnTo>
                  <a:lnTo>
                    <a:pt x="724" y="434"/>
                  </a:lnTo>
                  <a:lnTo>
                    <a:pt x="722" y="434"/>
                  </a:lnTo>
                  <a:lnTo>
                    <a:pt x="724" y="434"/>
                  </a:lnTo>
                  <a:lnTo>
                    <a:pt x="722" y="434"/>
                  </a:lnTo>
                  <a:lnTo>
                    <a:pt x="724" y="434"/>
                  </a:lnTo>
                  <a:lnTo>
                    <a:pt x="722" y="434"/>
                  </a:lnTo>
                  <a:lnTo>
                    <a:pt x="724" y="434"/>
                  </a:lnTo>
                  <a:lnTo>
                    <a:pt x="722" y="434"/>
                  </a:lnTo>
                  <a:lnTo>
                    <a:pt x="722" y="432"/>
                  </a:lnTo>
                  <a:lnTo>
                    <a:pt x="724" y="432"/>
                  </a:lnTo>
                  <a:lnTo>
                    <a:pt x="722" y="430"/>
                  </a:lnTo>
                  <a:lnTo>
                    <a:pt x="724" y="430"/>
                  </a:lnTo>
                  <a:lnTo>
                    <a:pt x="722" y="430"/>
                  </a:lnTo>
                  <a:lnTo>
                    <a:pt x="724" y="430"/>
                  </a:lnTo>
                  <a:lnTo>
                    <a:pt x="724" y="428"/>
                  </a:lnTo>
                  <a:lnTo>
                    <a:pt x="724" y="427"/>
                  </a:lnTo>
                  <a:lnTo>
                    <a:pt x="724" y="428"/>
                  </a:lnTo>
                  <a:lnTo>
                    <a:pt x="724" y="427"/>
                  </a:lnTo>
                  <a:lnTo>
                    <a:pt x="722" y="427"/>
                  </a:lnTo>
                  <a:lnTo>
                    <a:pt x="724" y="427"/>
                  </a:lnTo>
                  <a:lnTo>
                    <a:pt x="722" y="427"/>
                  </a:lnTo>
                  <a:lnTo>
                    <a:pt x="724" y="427"/>
                  </a:lnTo>
                  <a:lnTo>
                    <a:pt x="724" y="425"/>
                  </a:lnTo>
                  <a:lnTo>
                    <a:pt x="722" y="425"/>
                  </a:lnTo>
                  <a:lnTo>
                    <a:pt x="724" y="425"/>
                  </a:lnTo>
                  <a:lnTo>
                    <a:pt x="722" y="425"/>
                  </a:lnTo>
                  <a:lnTo>
                    <a:pt x="724" y="425"/>
                  </a:lnTo>
                  <a:lnTo>
                    <a:pt x="724" y="427"/>
                  </a:lnTo>
                  <a:lnTo>
                    <a:pt x="726" y="427"/>
                  </a:lnTo>
                  <a:lnTo>
                    <a:pt x="726" y="425"/>
                  </a:lnTo>
                  <a:lnTo>
                    <a:pt x="724" y="425"/>
                  </a:lnTo>
                  <a:lnTo>
                    <a:pt x="726" y="425"/>
                  </a:lnTo>
                  <a:lnTo>
                    <a:pt x="728" y="425"/>
                  </a:lnTo>
                  <a:lnTo>
                    <a:pt x="728" y="427"/>
                  </a:lnTo>
                  <a:lnTo>
                    <a:pt x="726" y="427"/>
                  </a:lnTo>
                  <a:lnTo>
                    <a:pt x="728" y="427"/>
                  </a:lnTo>
                  <a:lnTo>
                    <a:pt x="726" y="427"/>
                  </a:lnTo>
                  <a:lnTo>
                    <a:pt x="728" y="427"/>
                  </a:lnTo>
                  <a:lnTo>
                    <a:pt x="730" y="427"/>
                  </a:lnTo>
                  <a:lnTo>
                    <a:pt x="730" y="428"/>
                  </a:lnTo>
                  <a:lnTo>
                    <a:pt x="730" y="430"/>
                  </a:lnTo>
                  <a:lnTo>
                    <a:pt x="732" y="430"/>
                  </a:lnTo>
                  <a:lnTo>
                    <a:pt x="732" y="432"/>
                  </a:lnTo>
                  <a:lnTo>
                    <a:pt x="730" y="432"/>
                  </a:lnTo>
                  <a:lnTo>
                    <a:pt x="730" y="430"/>
                  </a:lnTo>
                  <a:lnTo>
                    <a:pt x="730" y="432"/>
                  </a:lnTo>
                  <a:lnTo>
                    <a:pt x="730" y="430"/>
                  </a:lnTo>
                  <a:lnTo>
                    <a:pt x="730" y="432"/>
                  </a:lnTo>
                  <a:lnTo>
                    <a:pt x="728" y="432"/>
                  </a:lnTo>
                  <a:lnTo>
                    <a:pt x="730" y="432"/>
                  </a:lnTo>
                  <a:lnTo>
                    <a:pt x="730" y="430"/>
                  </a:lnTo>
                  <a:lnTo>
                    <a:pt x="730" y="432"/>
                  </a:lnTo>
                  <a:lnTo>
                    <a:pt x="730" y="430"/>
                  </a:lnTo>
                  <a:lnTo>
                    <a:pt x="730" y="432"/>
                  </a:lnTo>
                  <a:lnTo>
                    <a:pt x="732" y="432"/>
                  </a:lnTo>
                  <a:lnTo>
                    <a:pt x="730" y="432"/>
                  </a:lnTo>
                  <a:lnTo>
                    <a:pt x="732" y="432"/>
                  </a:lnTo>
                  <a:lnTo>
                    <a:pt x="730" y="432"/>
                  </a:lnTo>
                  <a:lnTo>
                    <a:pt x="732" y="432"/>
                  </a:lnTo>
                  <a:lnTo>
                    <a:pt x="730" y="432"/>
                  </a:lnTo>
                  <a:lnTo>
                    <a:pt x="730" y="434"/>
                  </a:lnTo>
                  <a:lnTo>
                    <a:pt x="730" y="432"/>
                  </a:lnTo>
                  <a:lnTo>
                    <a:pt x="730" y="434"/>
                  </a:lnTo>
                  <a:lnTo>
                    <a:pt x="732" y="434"/>
                  </a:lnTo>
                  <a:lnTo>
                    <a:pt x="732" y="432"/>
                  </a:lnTo>
                  <a:lnTo>
                    <a:pt x="732" y="434"/>
                  </a:lnTo>
                  <a:lnTo>
                    <a:pt x="732" y="436"/>
                  </a:lnTo>
                  <a:lnTo>
                    <a:pt x="734" y="436"/>
                  </a:lnTo>
                  <a:lnTo>
                    <a:pt x="732" y="436"/>
                  </a:lnTo>
                  <a:lnTo>
                    <a:pt x="734" y="436"/>
                  </a:lnTo>
                  <a:lnTo>
                    <a:pt x="732" y="436"/>
                  </a:lnTo>
                  <a:lnTo>
                    <a:pt x="734" y="436"/>
                  </a:lnTo>
                  <a:lnTo>
                    <a:pt x="732" y="436"/>
                  </a:lnTo>
                  <a:lnTo>
                    <a:pt x="734" y="436"/>
                  </a:lnTo>
                  <a:lnTo>
                    <a:pt x="732" y="436"/>
                  </a:lnTo>
                  <a:lnTo>
                    <a:pt x="734" y="436"/>
                  </a:lnTo>
                  <a:lnTo>
                    <a:pt x="734" y="438"/>
                  </a:lnTo>
                  <a:lnTo>
                    <a:pt x="734" y="440"/>
                  </a:lnTo>
                  <a:lnTo>
                    <a:pt x="732" y="440"/>
                  </a:lnTo>
                  <a:lnTo>
                    <a:pt x="732" y="442"/>
                  </a:lnTo>
                  <a:lnTo>
                    <a:pt x="732" y="444"/>
                  </a:lnTo>
                  <a:lnTo>
                    <a:pt x="732" y="446"/>
                  </a:lnTo>
                  <a:lnTo>
                    <a:pt x="730" y="446"/>
                  </a:lnTo>
                  <a:lnTo>
                    <a:pt x="728" y="446"/>
                  </a:lnTo>
                  <a:lnTo>
                    <a:pt x="726" y="446"/>
                  </a:lnTo>
                  <a:lnTo>
                    <a:pt x="728" y="446"/>
                  </a:lnTo>
                  <a:lnTo>
                    <a:pt x="726" y="446"/>
                  </a:lnTo>
                  <a:lnTo>
                    <a:pt x="726" y="448"/>
                  </a:lnTo>
                  <a:lnTo>
                    <a:pt x="726" y="450"/>
                  </a:lnTo>
                  <a:lnTo>
                    <a:pt x="726" y="452"/>
                  </a:lnTo>
                  <a:lnTo>
                    <a:pt x="726" y="453"/>
                  </a:lnTo>
                  <a:lnTo>
                    <a:pt x="726" y="452"/>
                  </a:lnTo>
                  <a:lnTo>
                    <a:pt x="726" y="453"/>
                  </a:lnTo>
                  <a:lnTo>
                    <a:pt x="728" y="453"/>
                  </a:lnTo>
                  <a:lnTo>
                    <a:pt x="728" y="452"/>
                  </a:lnTo>
                  <a:lnTo>
                    <a:pt x="728" y="453"/>
                  </a:lnTo>
                  <a:lnTo>
                    <a:pt x="726" y="453"/>
                  </a:lnTo>
                  <a:lnTo>
                    <a:pt x="726" y="455"/>
                  </a:lnTo>
                  <a:lnTo>
                    <a:pt x="726" y="453"/>
                  </a:lnTo>
                  <a:lnTo>
                    <a:pt x="726" y="455"/>
                  </a:lnTo>
                  <a:lnTo>
                    <a:pt x="724" y="455"/>
                  </a:lnTo>
                  <a:lnTo>
                    <a:pt x="726" y="455"/>
                  </a:lnTo>
                  <a:lnTo>
                    <a:pt x="726" y="457"/>
                  </a:lnTo>
                  <a:lnTo>
                    <a:pt x="724" y="457"/>
                  </a:lnTo>
                  <a:lnTo>
                    <a:pt x="724" y="459"/>
                  </a:lnTo>
                  <a:lnTo>
                    <a:pt x="722" y="459"/>
                  </a:lnTo>
                  <a:lnTo>
                    <a:pt x="724" y="459"/>
                  </a:lnTo>
                  <a:lnTo>
                    <a:pt x="724" y="461"/>
                  </a:lnTo>
                  <a:lnTo>
                    <a:pt x="724" y="463"/>
                  </a:lnTo>
                  <a:lnTo>
                    <a:pt x="724" y="461"/>
                  </a:lnTo>
                  <a:lnTo>
                    <a:pt x="724" y="463"/>
                  </a:lnTo>
                  <a:lnTo>
                    <a:pt x="722" y="463"/>
                  </a:lnTo>
                  <a:lnTo>
                    <a:pt x="722" y="465"/>
                  </a:lnTo>
                  <a:lnTo>
                    <a:pt x="722" y="467"/>
                  </a:lnTo>
                  <a:lnTo>
                    <a:pt x="720" y="467"/>
                  </a:lnTo>
                  <a:lnTo>
                    <a:pt x="718" y="467"/>
                  </a:lnTo>
                  <a:lnTo>
                    <a:pt x="716" y="467"/>
                  </a:lnTo>
                  <a:lnTo>
                    <a:pt x="716" y="469"/>
                  </a:lnTo>
                  <a:lnTo>
                    <a:pt x="715" y="469"/>
                  </a:lnTo>
                  <a:lnTo>
                    <a:pt x="713" y="469"/>
                  </a:lnTo>
                  <a:lnTo>
                    <a:pt x="711" y="469"/>
                  </a:lnTo>
                  <a:lnTo>
                    <a:pt x="709" y="469"/>
                  </a:lnTo>
                  <a:lnTo>
                    <a:pt x="711" y="469"/>
                  </a:lnTo>
                  <a:lnTo>
                    <a:pt x="711" y="471"/>
                  </a:lnTo>
                  <a:lnTo>
                    <a:pt x="711" y="473"/>
                  </a:lnTo>
                  <a:lnTo>
                    <a:pt x="713" y="473"/>
                  </a:lnTo>
                  <a:lnTo>
                    <a:pt x="713" y="475"/>
                  </a:lnTo>
                  <a:lnTo>
                    <a:pt x="715" y="475"/>
                  </a:lnTo>
                  <a:lnTo>
                    <a:pt x="715" y="476"/>
                  </a:lnTo>
                  <a:lnTo>
                    <a:pt x="716" y="476"/>
                  </a:lnTo>
                  <a:lnTo>
                    <a:pt x="718" y="476"/>
                  </a:lnTo>
                  <a:lnTo>
                    <a:pt x="718" y="475"/>
                  </a:lnTo>
                  <a:lnTo>
                    <a:pt x="720" y="475"/>
                  </a:lnTo>
                  <a:lnTo>
                    <a:pt x="720" y="473"/>
                  </a:lnTo>
                  <a:lnTo>
                    <a:pt x="722" y="473"/>
                  </a:lnTo>
                  <a:lnTo>
                    <a:pt x="724" y="473"/>
                  </a:lnTo>
                  <a:lnTo>
                    <a:pt x="724" y="471"/>
                  </a:lnTo>
                  <a:lnTo>
                    <a:pt x="726" y="471"/>
                  </a:lnTo>
                  <a:lnTo>
                    <a:pt x="726" y="473"/>
                  </a:lnTo>
                  <a:lnTo>
                    <a:pt x="724" y="473"/>
                  </a:lnTo>
                  <a:lnTo>
                    <a:pt x="726" y="473"/>
                  </a:lnTo>
                  <a:lnTo>
                    <a:pt x="724" y="473"/>
                  </a:lnTo>
                  <a:lnTo>
                    <a:pt x="724" y="475"/>
                  </a:lnTo>
                  <a:lnTo>
                    <a:pt x="724" y="476"/>
                  </a:lnTo>
                  <a:lnTo>
                    <a:pt x="722" y="476"/>
                  </a:lnTo>
                  <a:lnTo>
                    <a:pt x="722" y="478"/>
                  </a:lnTo>
                  <a:lnTo>
                    <a:pt x="720" y="478"/>
                  </a:lnTo>
                  <a:lnTo>
                    <a:pt x="718" y="478"/>
                  </a:lnTo>
                  <a:lnTo>
                    <a:pt x="718" y="480"/>
                  </a:lnTo>
                  <a:lnTo>
                    <a:pt x="718" y="478"/>
                  </a:lnTo>
                  <a:lnTo>
                    <a:pt x="718" y="480"/>
                  </a:lnTo>
                  <a:lnTo>
                    <a:pt x="716" y="480"/>
                  </a:lnTo>
                  <a:lnTo>
                    <a:pt x="718" y="480"/>
                  </a:lnTo>
                  <a:lnTo>
                    <a:pt x="720" y="480"/>
                  </a:lnTo>
                  <a:lnTo>
                    <a:pt x="720" y="478"/>
                  </a:lnTo>
                  <a:lnTo>
                    <a:pt x="722" y="478"/>
                  </a:lnTo>
                  <a:lnTo>
                    <a:pt x="724" y="478"/>
                  </a:lnTo>
                  <a:lnTo>
                    <a:pt x="724" y="476"/>
                  </a:lnTo>
                  <a:lnTo>
                    <a:pt x="726" y="476"/>
                  </a:lnTo>
                  <a:lnTo>
                    <a:pt x="724" y="476"/>
                  </a:lnTo>
                  <a:lnTo>
                    <a:pt x="726" y="476"/>
                  </a:lnTo>
                  <a:lnTo>
                    <a:pt x="726" y="475"/>
                  </a:lnTo>
                  <a:lnTo>
                    <a:pt x="728" y="475"/>
                  </a:lnTo>
                  <a:lnTo>
                    <a:pt x="726" y="475"/>
                  </a:lnTo>
                  <a:lnTo>
                    <a:pt x="726" y="473"/>
                  </a:lnTo>
                  <a:lnTo>
                    <a:pt x="726" y="475"/>
                  </a:lnTo>
                  <a:lnTo>
                    <a:pt x="726" y="473"/>
                  </a:lnTo>
                  <a:lnTo>
                    <a:pt x="728" y="473"/>
                  </a:lnTo>
                  <a:lnTo>
                    <a:pt x="726" y="473"/>
                  </a:lnTo>
                  <a:lnTo>
                    <a:pt x="728" y="473"/>
                  </a:lnTo>
                  <a:lnTo>
                    <a:pt x="728" y="471"/>
                  </a:lnTo>
                  <a:lnTo>
                    <a:pt x="728" y="473"/>
                  </a:lnTo>
                  <a:lnTo>
                    <a:pt x="728" y="475"/>
                  </a:lnTo>
                  <a:lnTo>
                    <a:pt x="728" y="473"/>
                  </a:lnTo>
                  <a:lnTo>
                    <a:pt x="730" y="473"/>
                  </a:lnTo>
                  <a:lnTo>
                    <a:pt x="730" y="475"/>
                  </a:lnTo>
                  <a:lnTo>
                    <a:pt x="730" y="476"/>
                  </a:lnTo>
                  <a:lnTo>
                    <a:pt x="730" y="478"/>
                  </a:lnTo>
                  <a:lnTo>
                    <a:pt x="730" y="480"/>
                  </a:lnTo>
                  <a:lnTo>
                    <a:pt x="728" y="480"/>
                  </a:lnTo>
                  <a:lnTo>
                    <a:pt x="730" y="480"/>
                  </a:lnTo>
                  <a:lnTo>
                    <a:pt x="730" y="478"/>
                  </a:lnTo>
                  <a:lnTo>
                    <a:pt x="730" y="480"/>
                  </a:lnTo>
                  <a:lnTo>
                    <a:pt x="732" y="480"/>
                  </a:lnTo>
                  <a:lnTo>
                    <a:pt x="730" y="480"/>
                  </a:lnTo>
                  <a:lnTo>
                    <a:pt x="732" y="480"/>
                  </a:lnTo>
                  <a:lnTo>
                    <a:pt x="730" y="480"/>
                  </a:lnTo>
                  <a:lnTo>
                    <a:pt x="730" y="482"/>
                  </a:lnTo>
                  <a:lnTo>
                    <a:pt x="730" y="480"/>
                  </a:lnTo>
                  <a:lnTo>
                    <a:pt x="730" y="482"/>
                  </a:lnTo>
                  <a:lnTo>
                    <a:pt x="728" y="482"/>
                  </a:lnTo>
                  <a:lnTo>
                    <a:pt x="726" y="482"/>
                  </a:lnTo>
                  <a:lnTo>
                    <a:pt x="728" y="482"/>
                  </a:lnTo>
                  <a:lnTo>
                    <a:pt x="728" y="484"/>
                  </a:lnTo>
                  <a:lnTo>
                    <a:pt x="728" y="482"/>
                  </a:lnTo>
                  <a:lnTo>
                    <a:pt x="730" y="482"/>
                  </a:lnTo>
                  <a:lnTo>
                    <a:pt x="728" y="482"/>
                  </a:lnTo>
                  <a:lnTo>
                    <a:pt x="730" y="482"/>
                  </a:lnTo>
                  <a:lnTo>
                    <a:pt x="730" y="484"/>
                  </a:lnTo>
                  <a:lnTo>
                    <a:pt x="732" y="484"/>
                  </a:lnTo>
                  <a:lnTo>
                    <a:pt x="732" y="486"/>
                  </a:lnTo>
                  <a:lnTo>
                    <a:pt x="732" y="488"/>
                  </a:lnTo>
                  <a:lnTo>
                    <a:pt x="732" y="490"/>
                  </a:lnTo>
                  <a:lnTo>
                    <a:pt x="730" y="490"/>
                  </a:lnTo>
                  <a:lnTo>
                    <a:pt x="730" y="488"/>
                  </a:lnTo>
                  <a:lnTo>
                    <a:pt x="728" y="488"/>
                  </a:lnTo>
                  <a:lnTo>
                    <a:pt x="726" y="488"/>
                  </a:lnTo>
                  <a:lnTo>
                    <a:pt x="724" y="488"/>
                  </a:lnTo>
                  <a:lnTo>
                    <a:pt x="726" y="488"/>
                  </a:lnTo>
                  <a:lnTo>
                    <a:pt x="728" y="488"/>
                  </a:lnTo>
                  <a:lnTo>
                    <a:pt x="728" y="490"/>
                  </a:lnTo>
                  <a:lnTo>
                    <a:pt x="730" y="490"/>
                  </a:lnTo>
                  <a:lnTo>
                    <a:pt x="728" y="490"/>
                  </a:lnTo>
                  <a:lnTo>
                    <a:pt x="730" y="490"/>
                  </a:lnTo>
                  <a:lnTo>
                    <a:pt x="730" y="492"/>
                  </a:lnTo>
                  <a:lnTo>
                    <a:pt x="732" y="492"/>
                  </a:lnTo>
                  <a:lnTo>
                    <a:pt x="732" y="494"/>
                  </a:lnTo>
                  <a:lnTo>
                    <a:pt x="732" y="496"/>
                  </a:lnTo>
                  <a:lnTo>
                    <a:pt x="732" y="494"/>
                  </a:lnTo>
                  <a:lnTo>
                    <a:pt x="734" y="494"/>
                  </a:lnTo>
                  <a:lnTo>
                    <a:pt x="734" y="496"/>
                  </a:lnTo>
                  <a:lnTo>
                    <a:pt x="736" y="496"/>
                  </a:lnTo>
                  <a:lnTo>
                    <a:pt x="738" y="496"/>
                  </a:lnTo>
                  <a:lnTo>
                    <a:pt x="739" y="496"/>
                  </a:lnTo>
                  <a:lnTo>
                    <a:pt x="738" y="496"/>
                  </a:lnTo>
                  <a:lnTo>
                    <a:pt x="738" y="498"/>
                  </a:lnTo>
                  <a:lnTo>
                    <a:pt x="739" y="498"/>
                  </a:lnTo>
                  <a:lnTo>
                    <a:pt x="738" y="498"/>
                  </a:lnTo>
                  <a:lnTo>
                    <a:pt x="739" y="498"/>
                  </a:lnTo>
                  <a:lnTo>
                    <a:pt x="738" y="498"/>
                  </a:lnTo>
                  <a:lnTo>
                    <a:pt x="738" y="496"/>
                  </a:lnTo>
                  <a:lnTo>
                    <a:pt x="739" y="496"/>
                  </a:lnTo>
                  <a:lnTo>
                    <a:pt x="739" y="498"/>
                  </a:lnTo>
                  <a:lnTo>
                    <a:pt x="739" y="496"/>
                  </a:lnTo>
                  <a:lnTo>
                    <a:pt x="739" y="498"/>
                  </a:lnTo>
                  <a:lnTo>
                    <a:pt x="739" y="496"/>
                  </a:lnTo>
                  <a:lnTo>
                    <a:pt x="739" y="498"/>
                  </a:lnTo>
                  <a:lnTo>
                    <a:pt x="739" y="496"/>
                  </a:lnTo>
                  <a:lnTo>
                    <a:pt x="738" y="496"/>
                  </a:lnTo>
                  <a:lnTo>
                    <a:pt x="739" y="496"/>
                  </a:lnTo>
                  <a:lnTo>
                    <a:pt x="738" y="496"/>
                  </a:lnTo>
                  <a:lnTo>
                    <a:pt x="738" y="494"/>
                  </a:lnTo>
                  <a:lnTo>
                    <a:pt x="739" y="494"/>
                  </a:lnTo>
                  <a:lnTo>
                    <a:pt x="738" y="494"/>
                  </a:lnTo>
                  <a:lnTo>
                    <a:pt x="738" y="492"/>
                  </a:lnTo>
                  <a:lnTo>
                    <a:pt x="739" y="492"/>
                  </a:lnTo>
                  <a:lnTo>
                    <a:pt x="739" y="494"/>
                  </a:lnTo>
                  <a:lnTo>
                    <a:pt x="739" y="496"/>
                  </a:lnTo>
                  <a:lnTo>
                    <a:pt x="741" y="496"/>
                  </a:lnTo>
                  <a:lnTo>
                    <a:pt x="739" y="496"/>
                  </a:lnTo>
                  <a:lnTo>
                    <a:pt x="741" y="496"/>
                  </a:lnTo>
                  <a:lnTo>
                    <a:pt x="741" y="498"/>
                  </a:lnTo>
                  <a:lnTo>
                    <a:pt x="741" y="496"/>
                  </a:lnTo>
                  <a:lnTo>
                    <a:pt x="743" y="496"/>
                  </a:lnTo>
                  <a:lnTo>
                    <a:pt x="743" y="498"/>
                  </a:lnTo>
                  <a:lnTo>
                    <a:pt x="743" y="496"/>
                  </a:lnTo>
                  <a:lnTo>
                    <a:pt x="743" y="498"/>
                  </a:lnTo>
                  <a:lnTo>
                    <a:pt x="745" y="498"/>
                  </a:lnTo>
                  <a:lnTo>
                    <a:pt x="745" y="500"/>
                  </a:lnTo>
                  <a:lnTo>
                    <a:pt x="745" y="498"/>
                  </a:lnTo>
                  <a:lnTo>
                    <a:pt x="745" y="496"/>
                  </a:lnTo>
                  <a:lnTo>
                    <a:pt x="745" y="498"/>
                  </a:lnTo>
                  <a:lnTo>
                    <a:pt x="747" y="498"/>
                  </a:lnTo>
                  <a:lnTo>
                    <a:pt x="747" y="496"/>
                  </a:lnTo>
                  <a:lnTo>
                    <a:pt x="749" y="496"/>
                  </a:lnTo>
                  <a:lnTo>
                    <a:pt x="749" y="498"/>
                  </a:lnTo>
                  <a:lnTo>
                    <a:pt x="749" y="496"/>
                  </a:lnTo>
                  <a:lnTo>
                    <a:pt x="749" y="494"/>
                  </a:lnTo>
                  <a:lnTo>
                    <a:pt x="747" y="494"/>
                  </a:lnTo>
                  <a:lnTo>
                    <a:pt x="747" y="496"/>
                  </a:lnTo>
                  <a:lnTo>
                    <a:pt x="747" y="494"/>
                  </a:lnTo>
                  <a:lnTo>
                    <a:pt x="747" y="492"/>
                  </a:lnTo>
                  <a:lnTo>
                    <a:pt x="745" y="492"/>
                  </a:lnTo>
                  <a:lnTo>
                    <a:pt x="747" y="492"/>
                  </a:lnTo>
                  <a:lnTo>
                    <a:pt x="747" y="490"/>
                  </a:lnTo>
                  <a:lnTo>
                    <a:pt x="745" y="490"/>
                  </a:lnTo>
                  <a:lnTo>
                    <a:pt x="747" y="490"/>
                  </a:lnTo>
                  <a:lnTo>
                    <a:pt x="745" y="488"/>
                  </a:lnTo>
                  <a:lnTo>
                    <a:pt x="745" y="486"/>
                  </a:lnTo>
                  <a:lnTo>
                    <a:pt x="743" y="486"/>
                  </a:lnTo>
                  <a:lnTo>
                    <a:pt x="745" y="486"/>
                  </a:lnTo>
                  <a:lnTo>
                    <a:pt x="745" y="484"/>
                  </a:lnTo>
                  <a:lnTo>
                    <a:pt x="743" y="484"/>
                  </a:lnTo>
                  <a:lnTo>
                    <a:pt x="743" y="482"/>
                  </a:lnTo>
                  <a:lnTo>
                    <a:pt x="743" y="480"/>
                  </a:lnTo>
                  <a:lnTo>
                    <a:pt x="743" y="482"/>
                  </a:lnTo>
                  <a:lnTo>
                    <a:pt x="743" y="480"/>
                  </a:lnTo>
                  <a:lnTo>
                    <a:pt x="741" y="480"/>
                  </a:lnTo>
                  <a:lnTo>
                    <a:pt x="743" y="480"/>
                  </a:lnTo>
                  <a:lnTo>
                    <a:pt x="741" y="480"/>
                  </a:lnTo>
                  <a:lnTo>
                    <a:pt x="743" y="480"/>
                  </a:lnTo>
                  <a:lnTo>
                    <a:pt x="741" y="480"/>
                  </a:lnTo>
                  <a:lnTo>
                    <a:pt x="741" y="478"/>
                  </a:lnTo>
                  <a:lnTo>
                    <a:pt x="743" y="478"/>
                  </a:lnTo>
                  <a:lnTo>
                    <a:pt x="741" y="478"/>
                  </a:lnTo>
                  <a:lnTo>
                    <a:pt x="741" y="476"/>
                  </a:lnTo>
                  <a:lnTo>
                    <a:pt x="741" y="475"/>
                  </a:lnTo>
                  <a:lnTo>
                    <a:pt x="743" y="475"/>
                  </a:lnTo>
                  <a:lnTo>
                    <a:pt x="741" y="475"/>
                  </a:lnTo>
                  <a:lnTo>
                    <a:pt x="741" y="473"/>
                  </a:lnTo>
                  <a:lnTo>
                    <a:pt x="741" y="471"/>
                  </a:lnTo>
                  <a:lnTo>
                    <a:pt x="741" y="473"/>
                  </a:lnTo>
                  <a:lnTo>
                    <a:pt x="743" y="473"/>
                  </a:lnTo>
                  <a:lnTo>
                    <a:pt x="741" y="473"/>
                  </a:lnTo>
                  <a:lnTo>
                    <a:pt x="741" y="471"/>
                  </a:lnTo>
                  <a:lnTo>
                    <a:pt x="741" y="469"/>
                  </a:lnTo>
                  <a:lnTo>
                    <a:pt x="741" y="467"/>
                  </a:lnTo>
                  <a:lnTo>
                    <a:pt x="741" y="465"/>
                  </a:lnTo>
                  <a:lnTo>
                    <a:pt x="741" y="463"/>
                  </a:lnTo>
                  <a:lnTo>
                    <a:pt x="741" y="465"/>
                  </a:lnTo>
                  <a:lnTo>
                    <a:pt x="741" y="463"/>
                  </a:lnTo>
                  <a:lnTo>
                    <a:pt x="741" y="461"/>
                  </a:lnTo>
                  <a:lnTo>
                    <a:pt x="743" y="461"/>
                  </a:lnTo>
                  <a:lnTo>
                    <a:pt x="743" y="463"/>
                  </a:lnTo>
                  <a:lnTo>
                    <a:pt x="743" y="461"/>
                  </a:lnTo>
                  <a:lnTo>
                    <a:pt x="743" y="459"/>
                  </a:lnTo>
                  <a:lnTo>
                    <a:pt x="745" y="459"/>
                  </a:lnTo>
                  <a:lnTo>
                    <a:pt x="747" y="459"/>
                  </a:lnTo>
                  <a:lnTo>
                    <a:pt x="745" y="459"/>
                  </a:lnTo>
                  <a:lnTo>
                    <a:pt x="747" y="459"/>
                  </a:lnTo>
                  <a:lnTo>
                    <a:pt x="747" y="457"/>
                  </a:lnTo>
                  <a:lnTo>
                    <a:pt x="747" y="455"/>
                  </a:lnTo>
                  <a:lnTo>
                    <a:pt x="749" y="455"/>
                  </a:lnTo>
                  <a:lnTo>
                    <a:pt x="749" y="453"/>
                  </a:lnTo>
                  <a:lnTo>
                    <a:pt x="749" y="455"/>
                  </a:lnTo>
                  <a:lnTo>
                    <a:pt x="749" y="453"/>
                  </a:lnTo>
                  <a:lnTo>
                    <a:pt x="747" y="453"/>
                  </a:lnTo>
                  <a:lnTo>
                    <a:pt x="749" y="453"/>
                  </a:lnTo>
                  <a:lnTo>
                    <a:pt x="747" y="453"/>
                  </a:lnTo>
                  <a:lnTo>
                    <a:pt x="747" y="452"/>
                  </a:lnTo>
                  <a:lnTo>
                    <a:pt x="747" y="450"/>
                  </a:lnTo>
                  <a:lnTo>
                    <a:pt x="747" y="448"/>
                  </a:lnTo>
                  <a:lnTo>
                    <a:pt x="749" y="448"/>
                  </a:lnTo>
                  <a:lnTo>
                    <a:pt x="747" y="448"/>
                  </a:lnTo>
                  <a:lnTo>
                    <a:pt x="749" y="448"/>
                  </a:lnTo>
                  <a:lnTo>
                    <a:pt x="751" y="448"/>
                  </a:lnTo>
                  <a:lnTo>
                    <a:pt x="751" y="450"/>
                  </a:lnTo>
                  <a:lnTo>
                    <a:pt x="753" y="450"/>
                  </a:lnTo>
                  <a:lnTo>
                    <a:pt x="753" y="452"/>
                  </a:lnTo>
                  <a:lnTo>
                    <a:pt x="751" y="452"/>
                  </a:lnTo>
                  <a:lnTo>
                    <a:pt x="753" y="452"/>
                  </a:lnTo>
                  <a:lnTo>
                    <a:pt x="751" y="452"/>
                  </a:lnTo>
                  <a:lnTo>
                    <a:pt x="751" y="453"/>
                  </a:lnTo>
                  <a:lnTo>
                    <a:pt x="751" y="455"/>
                  </a:lnTo>
                  <a:lnTo>
                    <a:pt x="751" y="457"/>
                  </a:lnTo>
                  <a:lnTo>
                    <a:pt x="751" y="455"/>
                  </a:lnTo>
                  <a:lnTo>
                    <a:pt x="751" y="457"/>
                  </a:lnTo>
                  <a:lnTo>
                    <a:pt x="753" y="457"/>
                  </a:lnTo>
                  <a:lnTo>
                    <a:pt x="753" y="459"/>
                  </a:lnTo>
                  <a:lnTo>
                    <a:pt x="753" y="461"/>
                  </a:lnTo>
                  <a:lnTo>
                    <a:pt x="751" y="461"/>
                  </a:lnTo>
                  <a:lnTo>
                    <a:pt x="751" y="463"/>
                  </a:lnTo>
                  <a:lnTo>
                    <a:pt x="753" y="463"/>
                  </a:lnTo>
                  <a:lnTo>
                    <a:pt x="753" y="465"/>
                  </a:lnTo>
                  <a:lnTo>
                    <a:pt x="753" y="467"/>
                  </a:lnTo>
                  <a:lnTo>
                    <a:pt x="753" y="465"/>
                  </a:lnTo>
                  <a:lnTo>
                    <a:pt x="753" y="467"/>
                  </a:lnTo>
                  <a:lnTo>
                    <a:pt x="755" y="467"/>
                  </a:lnTo>
                  <a:lnTo>
                    <a:pt x="753" y="467"/>
                  </a:lnTo>
                  <a:lnTo>
                    <a:pt x="755" y="467"/>
                  </a:lnTo>
                  <a:lnTo>
                    <a:pt x="753" y="467"/>
                  </a:lnTo>
                  <a:lnTo>
                    <a:pt x="753" y="469"/>
                  </a:lnTo>
                  <a:lnTo>
                    <a:pt x="755" y="469"/>
                  </a:lnTo>
                  <a:lnTo>
                    <a:pt x="755" y="471"/>
                  </a:lnTo>
                  <a:lnTo>
                    <a:pt x="753" y="471"/>
                  </a:lnTo>
                  <a:lnTo>
                    <a:pt x="753" y="473"/>
                  </a:lnTo>
                  <a:lnTo>
                    <a:pt x="755" y="473"/>
                  </a:lnTo>
                  <a:lnTo>
                    <a:pt x="753" y="473"/>
                  </a:lnTo>
                  <a:lnTo>
                    <a:pt x="755" y="473"/>
                  </a:lnTo>
                  <a:lnTo>
                    <a:pt x="753" y="473"/>
                  </a:lnTo>
                  <a:lnTo>
                    <a:pt x="753" y="475"/>
                  </a:lnTo>
                  <a:lnTo>
                    <a:pt x="755" y="475"/>
                  </a:lnTo>
                  <a:lnTo>
                    <a:pt x="753" y="475"/>
                  </a:lnTo>
                  <a:lnTo>
                    <a:pt x="753" y="473"/>
                  </a:lnTo>
                  <a:lnTo>
                    <a:pt x="755" y="473"/>
                  </a:lnTo>
                  <a:lnTo>
                    <a:pt x="755" y="475"/>
                  </a:lnTo>
                  <a:lnTo>
                    <a:pt x="755" y="473"/>
                  </a:lnTo>
                  <a:lnTo>
                    <a:pt x="755" y="475"/>
                  </a:lnTo>
                  <a:lnTo>
                    <a:pt x="753" y="475"/>
                  </a:lnTo>
                  <a:lnTo>
                    <a:pt x="755" y="475"/>
                  </a:lnTo>
                  <a:lnTo>
                    <a:pt x="755" y="476"/>
                  </a:lnTo>
                  <a:lnTo>
                    <a:pt x="753" y="476"/>
                  </a:lnTo>
                  <a:lnTo>
                    <a:pt x="755" y="476"/>
                  </a:lnTo>
                  <a:lnTo>
                    <a:pt x="753" y="476"/>
                  </a:lnTo>
                  <a:lnTo>
                    <a:pt x="753" y="478"/>
                  </a:lnTo>
                  <a:lnTo>
                    <a:pt x="753" y="476"/>
                  </a:lnTo>
                  <a:lnTo>
                    <a:pt x="753" y="478"/>
                  </a:lnTo>
                  <a:lnTo>
                    <a:pt x="753" y="476"/>
                  </a:lnTo>
                  <a:lnTo>
                    <a:pt x="753" y="478"/>
                  </a:lnTo>
                  <a:lnTo>
                    <a:pt x="755" y="478"/>
                  </a:lnTo>
                  <a:lnTo>
                    <a:pt x="755" y="476"/>
                  </a:lnTo>
                  <a:lnTo>
                    <a:pt x="755" y="478"/>
                  </a:lnTo>
                  <a:lnTo>
                    <a:pt x="755" y="476"/>
                  </a:lnTo>
                  <a:lnTo>
                    <a:pt x="755" y="478"/>
                  </a:lnTo>
                  <a:lnTo>
                    <a:pt x="755" y="480"/>
                  </a:lnTo>
                  <a:lnTo>
                    <a:pt x="755" y="482"/>
                  </a:lnTo>
                  <a:lnTo>
                    <a:pt x="755" y="480"/>
                  </a:lnTo>
                  <a:lnTo>
                    <a:pt x="757" y="480"/>
                  </a:lnTo>
                  <a:lnTo>
                    <a:pt x="757" y="478"/>
                  </a:lnTo>
                  <a:lnTo>
                    <a:pt x="757" y="480"/>
                  </a:lnTo>
                  <a:lnTo>
                    <a:pt x="757" y="482"/>
                  </a:lnTo>
                  <a:lnTo>
                    <a:pt x="757" y="484"/>
                  </a:lnTo>
                  <a:lnTo>
                    <a:pt x="755" y="484"/>
                  </a:lnTo>
                  <a:lnTo>
                    <a:pt x="755" y="486"/>
                  </a:lnTo>
                  <a:lnTo>
                    <a:pt x="755" y="484"/>
                  </a:lnTo>
                  <a:lnTo>
                    <a:pt x="757" y="484"/>
                  </a:lnTo>
                  <a:lnTo>
                    <a:pt x="757" y="486"/>
                  </a:lnTo>
                  <a:lnTo>
                    <a:pt x="757" y="484"/>
                  </a:lnTo>
                  <a:lnTo>
                    <a:pt x="757" y="486"/>
                  </a:lnTo>
                  <a:lnTo>
                    <a:pt x="755" y="486"/>
                  </a:lnTo>
                  <a:lnTo>
                    <a:pt x="757" y="486"/>
                  </a:lnTo>
                  <a:lnTo>
                    <a:pt x="757" y="484"/>
                  </a:lnTo>
                  <a:lnTo>
                    <a:pt x="759" y="484"/>
                  </a:lnTo>
                  <a:lnTo>
                    <a:pt x="759" y="482"/>
                  </a:lnTo>
                  <a:lnTo>
                    <a:pt x="759" y="484"/>
                  </a:lnTo>
                  <a:lnTo>
                    <a:pt x="757" y="484"/>
                  </a:lnTo>
                  <a:lnTo>
                    <a:pt x="757" y="486"/>
                  </a:lnTo>
                  <a:lnTo>
                    <a:pt x="759" y="486"/>
                  </a:lnTo>
                  <a:lnTo>
                    <a:pt x="759" y="484"/>
                  </a:lnTo>
                  <a:lnTo>
                    <a:pt x="759" y="482"/>
                  </a:lnTo>
                  <a:lnTo>
                    <a:pt x="759" y="484"/>
                  </a:lnTo>
                  <a:lnTo>
                    <a:pt x="761" y="484"/>
                  </a:lnTo>
                  <a:lnTo>
                    <a:pt x="759" y="484"/>
                  </a:lnTo>
                  <a:lnTo>
                    <a:pt x="761" y="484"/>
                  </a:lnTo>
                  <a:lnTo>
                    <a:pt x="759" y="484"/>
                  </a:lnTo>
                  <a:lnTo>
                    <a:pt x="761" y="484"/>
                  </a:lnTo>
                  <a:lnTo>
                    <a:pt x="759" y="484"/>
                  </a:lnTo>
                  <a:lnTo>
                    <a:pt x="759" y="486"/>
                  </a:lnTo>
                  <a:lnTo>
                    <a:pt x="759" y="488"/>
                  </a:lnTo>
                  <a:lnTo>
                    <a:pt x="759" y="486"/>
                  </a:lnTo>
                  <a:lnTo>
                    <a:pt x="761" y="486"/>
                  </a:lnTo>
                  <a:lnTo>
                    <a:pt x="761" y="488"/>
                  </a:lnTo>
                  <a:lnTo>
                    <a:pt x="761" y="486"/>
                  </a:lnTo>
                  <a:lnTo>
                    <a:pt x="761" y="488"/>
                  </a:lnTo>
                  <a:lnTo>
                    <a:pt x="763" y="488"/>
                  </a:lnTo>
                  <a:lnTo>
                    <a:pt x="761" y="488"/>
                  </a:lnTo>
                  <a:lnTo>
                    <a:pt x="763" y="488"/>
                  </a:lnTo>
                  <a:lnTo>
                    <a:pt x="761" y="488"/>
                  </a:lnTo>
                  <a:lnTo>
                    <a:pt x="763" y="488"/>
                  </a:lnTo>
                  <a:lnTo>
                    <a:pt x="763" y="486"/>
                  </a:lnTo>
                  <a:lnTo>
                    <a:pt x="763" y="488"/>
                  </a:lnTo>
                  <a:lnTo>
                    <a:pt x="763" y="486"/>
                  </a:lnTo>
                  <a:lnTo>
                    <a:pt x="763" y="488"/>
                  </a:lnTo>
                  <a:lnTo>
                    <a:pt x="763" y="490"/>
                  </a:lnTo>
                  <a:lnTo>
                    <a:pt x="763" y="488"/>
                  </a:lnTo>
                  <a:lnTo>
                    <a:pt x="763" y="490"/>
                  </a:lnTo>
                  <a:lnTo>
                    <a:pt x="763" y="492"/>
                  </a:lnTo>
                  <a:lnTo>
                    <a:pt x="764" y="492"/>
                  </a:lnTo>
                  <a:lnTo>
                    <a:pt x="763" y="492"/>
                  </a:lnTo>
                  <a:lnTo>
                    <a:pt x="763" y="490"/>
                  </a:lnTo>
                  <a:lnTo>
                    <a:pt x="764" y="490"/>
                  </a:lnTo>
                  <a:lnTo>
                    <a:pt x="763" y="490"/>
                  </a:lnTo>
                  <a:lnTo>
                    <a:pt x="764" y="490"/>
                  </a:lnTo>
                  <a:lnTo>
                    <a:pt x="763" y="490"/>
                  </a:lnTo>
                  <a:lnTo>
                    <a:pt x="764" y="490"/>
                  </a:lnTo>
                  <a:lnTo>
                    <a:pt x="763" y="490"/>
                  </a:lnTo>
                  <a:lnTo>
                    <a:pt x="763" y="488"/>
                  </a:lnTo>
                  <a:lnTo>
                    <a:pt x="764" y="488"/>
                  </a:lnTo>
                  <a:lnTo>
                    <a:pt x="764" y="490"/>
                  </a:lnTo>
                  <a:lnTo>
                    <a:pt x="764" y="492"/>
                  </a:lnTo>
                  <a:lnTo>
                    <a:pt x="766" y="492"/>
                  </a:lnTo>
                  <a:lnTo>
                    <a:pt x="766" y="494"/>
                  </a:lnTo>
                  <a:lnTo>
                    <a:pt x="766" y="492"/>
                  </a:lnTo>
                  <a:lnTo>
                    <a:pt x="766" y="490"/>
                  </a:lnTo>
                  <a:lnTo>
                    <a:pt x="766" y="492"/>
                  </a:lnTo>
                  <a:lnTo>
                    <a:pt x="766" y="490"/>
                  </a:lnTo>
                  <a:lnTo>
                    <a:pt x="766" y="492"/>
                  </a:lnTo>
                  <a:lnTo>
                    <a:pt x="766" y="490"/>
                  </a:lnTo>
                  <a:lnTo>
                    <a:pt x="768" y="490"/>
                  </a:lnTo>
                  <a:lnTo>
                    <a:pt x="768" y="492"/>
                  </a:lnTo>
                  <a:lnTo>
                    <a:pt x="768" y="494"/>
                  </a:lnTo>
                  <a:lnTo>
                    <a:pt x="770" y="494"/>
                  </a:lnTo>
                  <a:lnTo>
                    <a:pt x="768" y="494"/>
                  </a:lnTo>
                  <a:lnTo>
                    <a:pt x="768" y="492"/>
                  </a:lnTo>
                  <a:lnTo>
                    <a:pt x="768" y="490"/>
                  </a:lnTo>
                  <a:lnTo>
                    <a:pt x="768" y="488"/>
                  </a:lnTo>
                  <a:lnTo>
                    <a:pt x="768" y="486"/>
                  </a:lnTo>
                  <a:lnTo>
                    <a:pt x="768" y="484"/>
                  </a:lnTo>
                  <a:lnTo>
                    <a:pt x="770" y="484"/>
                  </a:lnTo>
                  <a:lnTo>
                    <a:pt x="770" y="482"/>
                  </a:lnTo>
                  <a:lnTo>
                    <a:pt x="770" y="480"/>
                  </a:lnTo>
                  <a:lnTo>
                    <a:pt x="770" y="478"/>
                  </a:lnTo>
                  <a:lnTo>
                    <a:pt x="770" y="476"/>
                  </a:lnTo>
                  <a:lnTo>
                    <a:pt x="770" y="475"/>
                  </a:lnTo>
                  <a:lnTo>
                    <a:pt x="770" y="473"/>
                  </a:lnTo>
                  <a:lnTo>
                    <a:pt x="768" y="473"/>
                  </a:lnTo>
                  <a:lnTo>
                    <a:pt x="768" y="471"/>
                  </a:lnTo>
                  <a:lnTo>
                    <a:pt x="768" y="469"/>
                  </a:lnTo>
                  <a:lnTo>
                    <a:pt x="766" y="469"/>
                  </a:lnTo>
                  <a:lnTo>
                    <a:pt x="766" y="467"/>
                  </a:lnTo>
                  <a:lnTo>
                    <a:pt x="766" y="465"/>
                  </a:lnTo>
                  <a:lnTo>
                    <a:pt x="766" y="463"/>
                  </a:lnTo>
                  <a:lnTo>
                    <a:pt x="764" y="463"/>
                  </a:lnTo>
                  <a:lnTo>
                    <a:pt x="766" y="463"/>
                  </a:lnTo>
                  <a:lnTo>
                    <a:pt x="764" y="463"/>
                  </a:lnTo>
                  <a:lnTo>
                    <a:pt x="766" y="463"/>
                  </a:lnTo>
                  <a:lnTo>
                    <a:pt x="768" y="463"/>
                  </a:lnTo>
                  <a:lnTo>
                    <a:pt x="768" y="465"/>
                  </a:lnTo>
                  <a:lnTo>
                    <a:pt x="770" y="465"/>
                  </a:lnTo>
                  <a:lnTo>
                    <a:pt x="770" y="463"/>
                  </a:lnTo>
                  <a:lnTo>
                    <a:pt x="770" y="465"/>
                  </a:lnTo>
                  <a:lnTo>
                    <a:pt x="772" y="465"/>
                  </a:lnTo>
                  <a:lnTo>
                    <a:pt x="772" y="467"/>
                  </a:lnTo>
                  <a:lnTo>
                    <a:pt x="774" y="467"/>
                  </a:lnTo>
                  <a:lnTo>
                    <a:pt x="772" y="467"/>
                  </a:lnTo>
                  <a:lnTo>
                    <a:pt x="774" y="467"/>
                  </a:lnTo>
                  <a:lnTo>
                    <a:pt x="774" y="469"/>
                  </a:lnTo>
                  <a:lnTo>
                    <a:pt x="772" y="469"/>
                  </a:lnTo>
                  <a:lnTo>
                    <a:pt x="774" y="469"/>
                  </a:lnTo>
                  <a:lnTo>
                    <a:pt x="776" y="469"/>
                  </a:lnTo>
                  <a:lnTo>
                    <a:pt x="776" y="467"/>
                  </a:lnTo>
                  <a:lnTo>
                    <a:pt x="776" y="469"/>
                  </a:lnTo>
                  <a:lnTo>
                    <a:pt x="778" y="469"/>
                  </a:lnTo>
                  <a:lnTo>
                    <a:pt x="776" y="469"/>
                  </a:lnTo>
                  <a:lnTo>
                    <a:pt x="778" y="469"/>
                  </a:lnTo>
                  <a:lnTo>
                    <a:pt x="778" y="471"/>
                  </a:lnTo>
                  <a:lnTo>
                    <a:pt x="778" y="473"/>
                  </a:lnTo>
                  <a:lnTo>
                    <a:pt x="778" y="475"/>
                  </a:lnTo>
                  <a:lnTo>
                    <a:pt x="778" y="473"/>
                  </a:lnTo>
                  <a:lnTo>
                    <a:pt x="778" y="475"/>
                  </a:lnTo>
                  <a:lnTo>
                    <a:pt x="780" y="475"/>
                  </a:lnTo>
                  <a:lnTo>
                    <a:pt x="782" y="475"/>
                  </a:lnTo>
                  <a:lnTo>
                    <a:pt x="784" y="475"/>
                  </a:lnTo>
                  <a:lnTo>
                    <a:pt x="784" y="476"/>
                  </a:lnTo>
                  <a:lnTo>
                    <a:pt x="782" y="476"/>
                  </a:lnTo>
                  <a:lnTo>
                    <a:pt x="782" y="478"/>
                  </a:lnTo>
                  <a:lnTo>
                    <a:pt x="784" y="478"/>
                  </a:lnTo>
                  <a:lnTo>
                    <a:pt x="784" y="480"/>
                  </a:lnTo>
                  <a:lnTo>
                    <a:pt x="784" y="478"/>
                  </a:lnTo>
                  <a:lnTo>
                    <a:pt x="784" y="480"/>
                  </a:lnTo>
                  <a:lnTo>
                    <a:pt x="784" y="482"/>
                  </a:lnTo>
                  <a:lnTo>
                    <a:pt x="784" y="480"/>
                  </a:lnTo>
                  <a:lnTo>
                    <a:pt x="784" y="482"/>
                  </a:lnTo>
                  <a:lnTo>
                    <a:pt x="784" y="484"/>
                  </a:lnTo>
                  <a:lnTo>
                    <a:pt x="784" y="486"/>
                  </a:lnTo>
                  <a:lnTo>
                    <a:pt x="786" y="486"/>
                  </a:lnTo>
                  <a:lnTo>
                    <a:pt x="786" y="488"/>
                  </a:lnTo>
                  <a:lnTo>
                    <a:pt x="784" y="488"/>
                  </a:lnTo>
                  <a:lnTo>
                    <a:pt x="784" y="490"/>
                  </a:lnTo>
                  <a:lnTo>
                    <a:pt x="786" y="490"/>
                  </a:lnTo>
                  <a:lnTo>
                    <a:pt x="784" y="490"/>
                  </a:lnTo>
                  <a:lnTo>
                    <a:pt x="784" y="492"/>
                  </a:lnTo>
                  <a:lnTo>
                    <a:pt x="784" y="490"/>
                  </a:lnTo>
                  <a:lnTo>
                    <a:pt x="784" y="492"/>
                  </a:lnTo>
                  <a:lnTo>
                    <a:pt x="786" y="492"/>
                  </a:lnTo>
                  <a:lnTo>
                    <a:pt x="786" y="494"/>
                  </a:lnTo>
                  <a:lnTo>
                    <a:pt x="784" y="494"/>
                  </a:lnTo>
                  <a:lnTo>
                    <a:pt x="786" y="494"/>
                  </a:lnTo>
                  <a:lnTo>
                    <a:pt x="786" y="496"/>
                  </a:lnTo>
                  <a:lnTo>
                    <a:pt x="787" y="496"/>
                  </a:lnTo>
                  <a:lnTo>
                    <a:pt x="787" y="498"/>
                  </a:lnTo>
                  <a:lnTo>
                    <a:pt x="786" y="498"/>
                  </a:lnTo>
                  <a:lnTo>
                    <a:pt x="787" y="498"/>
                  </a:lnTo>
                  <a:lnTo>
                    <a:pt x="787" y="500"/>
                  </a:lnTo>
                  <a:lnTo>
                    <a:pt x="787" y="501"/>
                  </a:lnTo>
                  <a:lnTo>
                    <a:pt x="789" y="501"/>
                  </a:lnTo>
                  <a:lnTo>
                    <a:pt x="787" y="501"/>
                  </a:lnTo>
                  <a:lnTo>
                    <a:pt x="787" y="503"/>
                  </a:lnTo>
                  <a:lnTo>
                    <a:pt x="786" y="503"/>
                  </a:lnTo>
                  <a:lnTo>
                    <a:pt x="786" y="505"/>
                  </a:lnTo>
                  <a:lnTo>
                    <a:pt x="787" y="505"/>
                  </a:lnTo>
                  <a:lnTo>
                    <a:pt x="787" y="503"/>
                  </a:lnTo>
                  <a:lnTo>
                    <a:pt x="789" y="503"/>
                  </a:lnTo>
                  <a:lnTo>
                    <a:pt x="791" y="503"/>
                  </a:lnTo>
                  <a:lnTo>
                    <a:pt x="789" y="503"/>
                  </a:lnTo>
                  <a:lnTo>
                    <a:pt x="791" y="503"/>
                  </a:lnTo>
                  <a:lnTo>
                    <a:pt x="791" y="505"/>
                  </a:lnTo>
                  <a:lnTo>
                    <a:pt x="789" y="505"/>
                  </a:lnTo>
                  <a:lnTo>
                    <a:pt x="791" y="505"/>
                  </a:lnTo>
                  <a:lnTo>
                    <a:pt x="793" y="505"/>
                  </a:lnTo>
                  <a:lnTo>
                    <a:pt x="791" y="505"/>
                  </a:lnTo>
                  <a:lnTo>
                    <a:pt x="791" y="507"/>
                  </a:lnTo>
                  <a:lnTo>
                    <a:pt x="789" y="507"/>
                  </a:lnTo>
                  <a:lnTo>
                    <a:pt x="789" y="509"/>
                  </a:lnTo>
                  <a:lnTo>
                    <a:pt x="787" y="509"/>
                  </a:lnTo>
                  <a:lnTo>
                    <a:pt x="789" y="509"/>
                  </a:lnTo>
                  <a:lnTo>
                    <a:pt x="791" y="509"/>
                  </a:lnTo>
                  <a:lnTo>
                    <a:pt x="791" y="507"/>
                  </a:lnTo>
                  <a:lnTo>
                    <a:pt x="791" y="509"/>
                  </a:lnTo>
                  <a:lnTo>
                    <a:pt x="791" y="507"/>
                  </a:lnTo>
                  <a:lnTo>
                    <a:pt x="791" y="509"/>
                  </a:lnTo>
                  <a:lnTo>
                    <a:pt x="793" y="509"/>
                  </a:lnTo>
                  <a:lnTo>
                    <a:pt x="791" y="509"/>
                  </a:lnTo>
                  <a:lnTo>
                    <a:pt x="791" y="511"/>
                  </a:lnTo>
                  <a:lnTo>
                    <a:pt x="789" y="511"/>
                  </a:lnTo>
                  <a:lnTo>
                    <a:pt x="791" y="511"/>
                  </a:lnTo>
                  <a:lnTo>
                    <a:pt x="793" y="511"/>
                  </a:lnTo>
                  <a:lnTo>
                    <a:pt x="793" y="509"/>
                  </a:lnTo>
                  <a:lnTo>
                    <a:pt x="793" y="511"/>
                  </a:lnTo>
                  <a:lnTo>
                    <a:pt x="793" y="513"/>
                  </a:lnTo>
                  <a:lnTo>
                    <a:pt x="791" y="513"/>
                  </a:lnTo>
                  <a:lnTo>
                    <a:pt x="793" y="513"/>
                  </a:lnTo>
                  <a:lnTo>
                    <a:pt x="795" y="513"/>
                  </a:lnTo>
                  <a:lnTo>
                    <a:pt x="795" y="515"/>
                  </a:lnTo>
                  <a:lnTo>
                    <a:pt x="795" y="517"/>
                  </a:lnTo>
                  <a:lnTo>
                    <a:pt x="797" y="517"/>
                  </a:lnTo>
                  <a:lnTo>
                    <a:pt x="797" y="519"/>
                  </a:lnTo>
                  <a:lnTo>
                    <a:pt x="797" y="521"/>
                  </a:lnTo>
                  <a:lnTo>
                    <a:pt x="797" y="523"/>
                  </a:lnTo>
                  <a:lnTo>
                    <a:pt x="795" y="523"/>
                  </a:lnTo>
                  <a:lnTo>
                    <a:pt x="797" y="523"/>
                  </a:lnTo>
                  <a:lnTo>
                    <a:pt x="797" y="524"/>
                  </a:lnTo>
                  <a:lnTo>
                    <a:pt x="795" y="524"/>
                  </a:lnTo>
                  <a:lnTo>
                    <a:pt x="797" y="524"/>
                  </a:lnTo>
                  <a:lnTo>
                    <a:pt x="795" y="524"/>
                  </a:lnTo>
                  <a:lnTo>
                    <a:pt x="795" y="526"/>
                  </a:lnTo>
                  <a:lnTo>
                    <a:pt x="797" y="526"/>
                  </a:lnTo>
                  <a:lnTo>
                    <a:pt x="797" y="528"/>
                  </a:lnTo>
                  <a:lnTo>
                    <a:pt x="797" y="530"/>
                  </a:lnTo>
                  <a:lnTo>
                    <a:pt x="797" y="532"/>
                  </a:lnTo>
                  <a:lnTo>
                    <a:pt x="795" y="532"/>
                  </a:lnTo>
                  <a:lnTo>
                    <a:pt x="795" y="534"/>
                  </a:lnTo>
                  <a:lnTo>
                    <a:pt x="793" y="534"/>
                  </a:lnTo>
                  <a:lnTo>
                    <a:pt x="791" y="534"/>
                  </a:lnTo>
                  <a:lnTo>
                    <a:pt x="789" y="534"/>
                  </a:lnTo>
                  <a:lnTo>
                    <a:pt x="789" y="532"/>
                  </a:lnTo>
                  <a:lnTo>
                    <a:pt x="787" y="532"/>
                  </a:lnTo>
                  <a:lnTo>
                    <a:pt x="787" y="530"/>
                  </a:lnTo>
                  <a:lnTo>
                    <a:pt x="787" y="532"/>
                  </a:lnTo>
                  <a:lnTo>
                    <a:pt x="787" y="534"/>
                  </a:lnTo>
                  <a:lnTo>
                    <a:pt x="786" y="534"/>
                  </a:lnTo>
                  <a:lnTo>
                    <a:pt x="784" y="534"/>
                  </a:lnTo>
                  <a:lnTo>
                    <a:pt x="786" y="534"/>
                  </a:lnTo>
                  <a:lnTo>
                    <a:pt x="786" y="536"/>
                  </a:lnTo>
                  <a:lnTo>
                    <a:pt x="784" y="536"/>
                  </a:lnTo>
                  <a:lnTo>
                    <a:pt x="784" y="534"/>
                  </a:lnTo>
                  <a:lnTo>
                    <a:pt x="784" y="532"/>
                  </a:lnTo>
                  <a:lnTo>
                    <a:pt x="784" y="534"/>
                  </a:lnTo>
                  <a:lnTo>
                    <a:pt x="784" y="536"/>
                  </a:lnTo>
                  <a:lnTo>
                    <a:pt x="784" y="538"/>
                  </a:lnTo>
                  <a:lnTo>
                    <a:pt x="784" y="540"/>
                  </a:lnTo>
                  <a:lnTo>
                    <a:pt x="784" y="542"/>
                  </a:lnTo>
                  <a:lnTo>
                    <a:pt x="784" y="544"/>
                  </a:lnTo>
                  <a:lnTo>
                    <a:pt x="782" y="544"/>
                  </a:lnTo>
                  <a:lnTo>
                    <a:pt x="782" y="546"/>
                  </a:lnTo>
                  <a:lnTo>
                    <a:pt x="780" y="546"/>
                  </a:lnTo>
                  <a:lnTo>
                    <a:pt x="780" y="544"/>
                  </a:lnTo>
                  <a:lnTo>
                    <a:pt x="780" y="546"/>
                  </a:lnTo>
                  <a:lnTo>
                    <a:pt x="778" y="546"/>
                  </a:lnTo>
                  <a:lnTo>
                    <a:pt x="778" y="544"/>
                  </a:lnTo>
                  <a:lnTo>
                    <a:pt x="776" y="544"/>
                  </a:lnTo>
                  <a:lnTo>
                    <a:pt x="776" y="542"/>
                  </a:lnTo>
                  <a:lnTo>
                    <a:pt x="774" y="542"/>
                  </a:lnTo>
                  <a:lnTo>
                    <a:pt x="774" y="540"/>
                  </a:lnTo>
                  <a:lnTo>
                    <a:pt x="774" y="538"/>
                  </a:lnTo>
                  <a:lnTo>
                    <a:pt x="772" y="538"/>
                  </a:lnTo>
                  <a:lnTo>
                    <a:pt x="772" y="536"/>
                  </a:lnTo>
                  <a:lnTo>
                    <a:pt x="770" y="536"/>
                  </a:lnTo>
                  <a:lnTo>
                    <a:pt x="770" y="534"/>
                  </a:lnTo>
                  <a:lnTo>
                    <a:pt x="770" y="532"/>
                  </a:lnTo>
                  <a:lnTo>
                    <a:pt x="770" y="530"/>
                  </a:lnTo>
                  <a:lnTo>
                    <a:pt x="768" y="530"/>
                  </a:lnTo>
                  <a:lnTo>
                    <a:pt x="770" y="530"/>
                  </a:lnTo>
                  <a:lnTo>
                    <a:pt x="770" y="528"/>
                  </a:lnTo>
                  <a:lnTo>
                    <a:pt x="770" y="526"/>
                  </a:lnTo>
                  <a:lnTo>
                    <a:pt x="772" y="526"/>
                  </a:lnTo>
                  <a:lnTo>
                    <a:pt x="770" y="526"/>
                  </a:lnTo>
                  <a:lnTo>
                    <a:pt x="770" y="524"/>
                  </a:lnTo>
                  <a:lnTo>
                    <a:pt x="770" y="526"/>
                  </a:lnTo>
                  <a:lnTo>
                    <a:pt x="770" y="528"/>
                  </a:lnTo>
                  <a:lnTo>
                    <a:pt x="770" y="526"/>
                  </a:lnTo>
                  <a:lnTo>
                    <a:pt x="768" y="526"/>
                  </a:lnTo>
                  <a:lnTo>
                    <a:pt x="768" y="524"/>
                  </a:lnTo>
                  <a:lnTo>
                    <a:pt x="768" y="526"/>
                  </a:lnTo>
                  <a:lnTo>
                    <a:pt x="768" y="528"/>
                  </a:lnTo>
                  <a:lnTo>
                    <a:pt x="766" y="528"/>
                  </a:lnTo>
                  <a:lnTo>
                    <a:pt x="766" y="526"/>
                  </a:lnTo>
                  <a:lnTo>
                    <a:pt x="764" y="526"/>
                  </a:lnTo>
                  <a:lnTo>
                    <a:pt x="764" y="528"/>
                  </a:lnTo>
                  <a:lnTo>
                    <a:pt x="764" y="526"/>
                  </a:lnTo>
                  <a:lnTo>
                    <a:pt x="764" y="524"/>
                  </a:lnTo>
                  <a:lnTo>
                    <a:pt x="764" y="523"/>
                  </a:lnTo>
                  <a:lnTo>
                    <a:pt x="764" y="521"/>
                  </a:lnTo>
                  <a:lnTo>
                    <a:pt x="764" y="519"/>
                  </a:lnTo>
                  <a:lnTo>
                    <a:pt x="764" y="517"/>
                  </a:lnTo>
                  <a:lnTo>
                    <a:pt x="766" y="517"/>
                  </a:lnTo>
                  <a:lnTo>
                    <a:pt x="766" y="515"/>
                  </a:lnTo>
                  <a:lnTo>
                    <a:pt x="766" y="513"/>
                  </a:lnTo>
                  <a:lnTo>
                    <a:pt x="766" y="511"/>
                  </a:lnTo>
                  <a:lnTo>
                    <a:pt x="766" y="513"/>
                  </a:lnTo>
                  <a:lnTo>
                    <a:pt x="764" y="513"/>
                  </a:lnTo>
                  <a:lnTo>
                    <a:pt x="766" y="513"/>
                  </a:lnTo>
                  <a:lnTo>
                    <a:pt x="766" y="515"/>
                  </a:lnTo>
                  <a:lnTo>
                    <a:pt x="764" y="515"/>
                  </a:lnTo>
                  <a:lnTo>
                    <a:pt x="764" y="517"/>
                  </a:lnTo>
                  <a:lnTo>
                    <a:pt x="763" y="517"/>
                  </a:lnTo>
                  <a:lnTo>
                    <a:pt x="763" y="515"/>
                  </a:lnTo>
                  <a:lnTo>
                    <a:pt x="763" y="517"/>
                  </a:lnTo>
                  <a:lnTo>
                    <a:pt x="763" y="515"/>
                  </a:lnTo>
                  <a:lnTo>
                    <a:pt x="761" y="515"/>
                  </a:lnTo>
                  <a:lnTo>
                    <a:pt x="761" y="513"/>
                  </a:lnTo>
                  <a:lnTo>
                    <a:pt x="759" y="513"/>
                  </a:lnTo>
                  <a:lnTo>
                    <a:pt x="761" y="513"/>
                  </a:lnTo>
                  <a:lnTo>
                    <a:pt x="761" y="515"/>
                  </a:lnTo>
                  <a:lnTo>
                    <a:pt x="761" y="517"/>
                  </a:lnTo>
                  <a:lnTo>
                    <a:pt x="761" y="519"/>
                  </a:lnTo>
                  <a:lnTo>
                    <a:pt x="761" y="521"/>
                  </a:lnTo>
                  <a:lnTo>
                    <a:pt x="759" y="519"/>
                  </a:lnTo>
                  <a:lnTo>
                    <a:pt x="759" y="517"/>
                  </a:lnTo>
                  <a:lnTo>
                    <a:pt x="759" y="519"/>
                  </a:lnTo>
                  <a:lnTo>
                    <a:pt x="759" y="521"/>
                  </a:lnTo>
                  <a:lnTo>
                    <a:pt x="759" y="523"/>
                  </a:lnTo>
                  <a:lnTo>
                    <a:pt x="761" y="523"/>
                  </a:lnTo>
                  <a:lnTo>
                    <a:pt x="759" y="523"/>
                  </a:lnTo>
                  <a:lnTo>
                    <a:pt x="759" y="524"/>
                  </a:lnTo>
                  <a:lnTo>
                    <a:pt x="761" y="524"/>
                  </a:lnTo>
                  <a:lnTo>
                    <a:pt x="761" y="526"/>
                  </a:lnTo>
                  <a:lnTo>
                    <a:pt x="759" y="526"/>
                  </a:lnTo>
                  <a:lnTo>
                    <a:pt x="759" y="528"/>
                  </a:lnTo>
                  <a:lnTo>
                    <a:pt x="759" y="526"/>
                  </a:lnTo>
                  <a:lnTo>
                    <a:pt x="759" y="528"/>
                  </a:lnTo>
                  <a:lnTo>
                    <a:pt x="759" y="530"/>
                  </a:lnTo>
                  <a:lnTo>
                    <a:pt x="759" y="532"/>
                  </a:lnTo>
                  <a:lnTo>
                    <a:pt x="759" y="534"/>
                  </a:lnTo>
                  <a:lnTo>
                    <a:pt x="759" y="536"/>
                  </a:lnTo>
                  <a:lnTo>
                    <a:pt x="759" y="538"/>
                  </a:lnTo>
                  <a:lnTo>
                    <a:pt x="759" y="540"/>
                  </a:lnTo>
                  <a:lnTo>
                    <a:pt x="759" y="538"/>
                  </a:lnTo>
                  <a:lnTo>
                    <a:pt x="759" y="540"/>
                  </a:lnTo>
                  <a:lnTo>
                    <a:pt x="759" y="542"/>
                  </a:lnTo>
                  <a:lnTo>
                    <a:pt x="759" y="544"/>
                  </a:lnTo>
                  <a:lnTo>
                    <a:pt x="759" y="542"/>
                  </a:lnTo>
                  <a:lnTo>
                    <a:pt x="759" y="544"/>
                  </a:lnTo>
                  <a:lnTo>
                    <a:pt x="757" y="544"/>
                  </a:lnTo>
                  <a:lnTo>
                    <a:pt x="757" y="546"/>
                  </a:lnTo>
                  <a:lnTo>
                    <a:pt x="757" y="548"/>
                  </a:lnTo>
                  <a:lnTo>
                    <a:pt x="755" y="548"/>
                  </a:lnTo>
                  <a:lnTo>
                    <a:pt x="753" y="548"/>
                  </a:lnTo>
                  <a:lnTo>
                    <a:pt x="753" y="549"/>
                  </a:lnTo>
                  <a:lnTo>
                    <a:pt x="751" y="549"/>
                  </a:lnTo>
                  <a:lnTo>
                    <a:pt x="751" y="548"/>
                  </a:lnTo>
                  <a:lnTo>
                    <a:pt x="749" y="548"/>
                  </a:lnTo>
                  <a:lnTo>
                    <a:pt x="749" y="546"/>
                  </a:lnTo>
                  <a:lnTo>
                    <a:pt x="749" y="544"/>
                  </a:lnTo>
                  <a:lnTo>
                    <a:pt x="747" y="544"/>
                  </a:lnTo>
                  <a:lnTo>
                    <a:pt x="747" y="542"/>
                  </a:lnTo>
                  <a:lnTo>
                    <a:pt x="747" y="540"/>
                  </a:lnTo>
                  <a:lnTo>
                    <a:pt x="747" y="538"/>
                  </a:lnTo>
                  <a:lnTo>
                    <a:pt x="747" y="536"/>
                  </a:lnTo>
                  <a:lnTo>
                    <a:pt x="745" y="536"/>
                  </a:lnTo>
                  <a:lnTo>
                    <a:pt x="745" y="534"/>
                  </a:lnTo>
                  <a:lnTo>
                    <a:pt x="745" y="532"/>
                  </a:lnTo>
                  <a:lnTo>
                    <a:pt x="745" y="530"/>
                  </a:lnTo>
                  <a:lnTo>
                    <a:pt x="745" y="528"/>
                  </a:lnTo>
                  <a:lnTo>
                    <a:pt x="743" y="528"/>
                  </a:lnTo>
                  <a:lnTo>
                    <a:pt x="743" y="526"/>
                  </a:lnTo>
                  <a:lnTo>
                    <a:pt x="743" y="524"/>
                  </a:lnTo>
                  <a:lnTo>
                    <a:pt x="743" y="523"/>
                  </a:lnTo>
                  <a:lnTo>
                    <a:pt x="745" y="523"/>
                  </a:lnTo>
                  <a:lnTo>
                    <a:pt x="745" y="521"/>
                  </a:lnTo>
                  <a:lnTo>
                    <a:pt x="745" y="519"/>
                  </a:lnTo>
                  <a:lnTo>
                    <a:pt x="747" y="519"/>
                  </a:lnTo>
                  <a:lnTo>
                    <a:pt x="747" y="517"/>
                  </a:lnTo>
                  <a:lnTo>
                    <a:pt x="747" y="519"/>
                  </a:lnTo>
                  <a:lnTo>
                    <a:pt x="747" y="517"/>
                  </a:lnTo>
                  <a:lnTo>
                    <a:pt x="749" y="517"/>
                  </a:lnTo>
                  <a:lnTo>
                    <a:pt x="747" y="517"/>
                  </a:lnTo>
                  <a:lnTo>
                    <a:pt x="747" y="519"/>
                  </a:lnTo>
                  <a:lnTo>
                    <a:pt x="745" y="519"/>
                  </a:lnTo>
                  <a:lnTo>
                    <a:pt x="745" y="521"/>
                  </a:lnTo>
                  <a:lnTo>
                    <a:pt x="743" y="521"/>
                  </a:lnTo>
                  <a:lnTo>
                    <a:pt x="741" y="521"/>
                  </a:lnTo>
                  <a:lnTo>
                    <a:pt x="741" y="519"/>
                  </a:lnTo>
                  <a:lnTo>
                    <a:pt x="741" y="517"/>
                  </a:lnTo>
                  <a:lnTo>
                    <a:pt x="741" y="519"/>
                  </a:lnTo>
                  <a:lnTo>
                    <a:pt x="741" y="517"/>
                  </a:lnTo>
                  <a:lnTo>
                    <a:pt x="741" y="519"/>
                  </a:lnTo>
                  <a:lnTo>
                    <a:pt x="741" y="521"/>
                  </a:lnTo>
                  <a:lnTo>
                    <a:pt x="741" y="519"/>
                  </a:lnTo>
                  <a:lnTo>
                    <a:pt x="743" y="519"/>
                  </a:lnTo>
                  <a:lnTo>
                    <a:pt x="741" y="519"/>
                  </a:lnTo>
                  <a:lnTo>
                    <a:pt x="743" y="519"/>
                  </a:lnTo>
                  <a:lnTo>
                    <a:pt x="743" y="517"/>
                  </a:lnTo>
                  <a:lnTo>
                    <a:pt x="745" y="517"/>
                  </a:lnTo>
                  <a:lnTo>
                    <a:pt x="745" y="515"/>
                  </a:lnTo>
                  <a:lnTo>
                    <a:pt x="745" y="517"/>
                  </a:lnTo>
                  <a:lnTo>
                    <a:pt x="743" y="517"/>
                  </a:lnTo>
                  <a:lnTo>
                    <a:pt x="743" y="515"/>
                  </a:lnTo>
                  <a:lnTo>
                    <a:pt x="743" y="517"/>
                  </a:lnTo>
                  <a:lnTo>
                    <a:pt x="741" y="517"/>
                  </a:lnTo>
                  <a:lnTo>
                    <a:pt x="743" y="517"/>
                  </a:lnTo>
                  <a:lnTo>
                    <a:pt x="743" y="515"/>
                  </a:lnTo>
                  <a:lnTo>
                    <a:pt x="743" y="513"/>
                  </a:lnTo>
                  <a:lnTo>
                    <a:pt x="743" y="515"/>
                  </a:lnTo>
                  <a:lnTo>
                    <a:pt x="741" y="515"/>
                  </a:lnTo>
                  <a:lnTo>
                    <a:pt x="741" y="513"/>
                  </a:lnTo>
                  <a:lnTo>
                    <a:pt x="741" y="511"/>
                  </a:lnTo>
                  <a:lnTo>
                    <a:pt x="743" y="511"/>
                  </a:lnTo>
                  <a:lnTo>
                    <a:pt x="743" y="509"/>
                  </a:lnTo>
                  <a:lnTo>
                    <a:pt x="743" y="507"/>
                  </a:lnTo>
                  <a:lnTo>
                    <a:pt x="743" y="509"/>
                  </a:lnTo>
                  <a:lnTo>
                    <a:pt x="741" y="509"/>
                  </a:lnTo>
                  <a:lnTo>
                    <a:pt x="741" y="507"/>
                  </a:lnTo>
                  <a:lnTo>
                    <a:pt x="741" y="509"/>
                  </a:lnTo>
                  <a:lnTo>
                    <a:pt x="739" y="509"/>
                  </a:lnTo>
                  <a:lnTo>
                    <a:pt x="739" y="511"/>
                  </a:lnTo>
                  <a:lnTo>
                    <a:pt x="739" y="509"/>
                  </a:lnTo>
                  <a:lnTo>
                    <a:pt x="738" y="509"/>
                  </a:lnTo>
                  <a:lnTo>
                    <a:pt x="738" y="507"/>
                  </a:lnTo>
                  <a:lnTo>
                    <a:pt x="738" y="505"/>
                  </a:lnTo>
                  <a:lnTo>
                    <a:pt x="738" y="503"/>
                  </a:lnTo>
                  <a:lnTo>
                    <a:pt x="736" y="503"/>
                  </a:lnTo>
                  <a:lnTo>
                    <a:pt x="738" y="503"/>
                  </a:lnTo>
                  <a:lnTo>
                    <a:pt x="738" y="505"/>
                  </a:lnTo>
                  <a:lnTo>
                    <a:pt x="736" y="505"/>
                  </a:lnTo>
                  <a:lnTo>
                    <a:pt x="738" y="505"/>
                  </a:lnTo>
                  <a:lnTo>
                    <a:pt x="736" y="505"/>
                  </a:lnTo>
                  <a:lnTo>
                    <a:pt x="736" y="503"/>
                  </a:lnTo>
                  <a:lnTo>
                    <a:pt x="736" y="501"/>
                  </a:lnTo>
                  <a:lnTo>
                    <a:pt x="734" y="501"/>
                  </a:lnTo>
                  <a:lnTo>
                    <a:pt x="736" y="501"/>
                  </a:lnTo>
                  <a:lnTo>
                    <a:pt x="734" y="501"/>
                  </a:lnTo>
                  <a:lnTo>
                    <a:pt x="732" y="501"/>
                  </a:lnTo>
                  <a:lnTo>
                    <a:pt x="732" y="500"/>
                  </a:lnTo>
                  <a:lnTo>
                    <a:pt x="730" y="500"/>
                  </a:lnTo>
                  <a:lnTo>
                    <a:pt x="730" y="498"/>
                  </a:lnTo>
                  <a:lnTo>
                    <a:pt x="728" y="498"/>
                  </a:lnTo>
                  <a:lnTo>
                    <a:pt x="728" y="496"/>
                  </a:lnTo>
                  <a:lnTo>
                    <a:pt x="728" y="498"/>
                  </a:lnTo>
                  <a:lnTo>
                    <a:pt x="728" y="496"/>
                  </a:lnTo>
                  <a:lnTo>
                    <a:pt x="726" y="496"/>
                  </a:lnTo>
                  <a:lnTo>
                    <a:pt x="726" y="494"/>
                  </a:lnTo>
                  <a:lnTo>
                    <a:pt x="726" y="496"/>
                  </a:lnTo>
                  <a:lnTo>
                    <a:pt x="726" y="494"/>
                  </a:lnTo>
                  <a:lnTo>
                    <a:pt x="724" y="496"/>
                  </a:lnTo>
                  <a:lnTo>
                    <a:pt x="724" y="494"/>
                  </a:lnTo>
                  <a:lnTo>
                    <a:pt x="722" y="494"/>
                  </a:lnTo>
                  <a:lnTo>
                    <a:pt x="722" y="492"/>
                  </a:lnTo>
                  <a:lnTo>
                    <a:pt x="722" y="490"/>
                  </a:lnTo>
                  <a:lnTo>
                    <a:pt x="722" y="492"/>
                  </a:lnTo>
                  <a:lnTo>
                    <a:pt x="722" y="494"/>
                  </a:lnTo>
                  <a:lnTo>
                    <a:pt x="720" y="494"/>
                  </a:lnTo>
                  <a:lnTo>
                    <a:pt x="720" y="492"/>
                  </a:lnTo>
                  <a:lnTo>
                    <a:pt x="718" y="492"/>
                  </a:lnTo>
                  <a:lnTo>
                    <a:pt x="718" y="490"/>
                  </a:lnTo>
                  <a:lnTo>
                    <a:pt x="718" y="492"/>
                  </a:lnTo>
                  <a:lnTo>
                    <a:pt x="718" y="494"/>
                  </a:lnTo>
                  <a:lnTo>
                    <a:pt x="720" y="494"/>
                  </a:lnTo>
                  <a:lnTo>
                    <a:pt x="718" y="494"/>
                  </a:lnTo>
                  <a:lnTo>
                    <a:pt x="716" y="494"/>
                  </a:lnTo>
                  <a:lnTo>
                    <a:pt x="715" y="494"/>
                  </a:lnTo>
                  <a:lnTo>
                    <a:pt x="715" y="492"/>
                  </a:lnTo>
                  <a:lnTo>
                    <a:pt x="715" y="494"/>
                  </a:lnTo>
                  <a:lnTo>
                    <a:pt x="713" y="494"/>
                  </a:lnTo>
                  <a:lnTo>
                    <a:pt x="711" y="494"/>
                  </a:lnTo>
                  <a:lnTo>
                    <a:pt x="709" y="494"/>
                  </a:lnTo>
                  <a:lnTo>
                    <a:pt x="709" y="492"/>
                  </a:lnTo>
                  <a:lnTo>
                    <a:pt x="709" y="494"/>
                  </a:lnTo>
                  <a:lnTo>
                    <a:pt x="711" y="494"/>
                  </a:lnTo>
                  <a:lnTo>
                    <a:pt x="713" y="494"/>
                  </a:lnTo>
                  <a:lnTo>
                    <a:pt x="715" y="494"/>
                  </a:lnTo>
                  <a:lnTo>
                    <a:pt x="715" y="496"/>
                  </a:lnTo>
                  <a:lnTo>
                    <a:pt x="716" y="496"/>
                  </a:lnTo>
                  <a:lnTo>
                    <a:pt x="716" y="498"/>
                  </a:lnTo>
                  <a:lnTo>
                    <a:pt x="716" y="500"/>
                  </a:lnTo>
                  <a:lnTo>
                    <a:pt x="716" y="501"/>
                  </a:lnTo>
                  <a:lnTo>
                    <a:pt x="716" y="503"/>
                  </a:lnTo>
                  <a:lnTo>
                    <a:pt x="718" y="503"/>
                  </a:lnTo>
                  <a:lnTo>
                    <a:pt x="716" y="505"/>
                  </a:lnTo>
                  <a:lnTo>
                    <a:pt x="716" y="507"/>
                  </a:lnTo>
                  <a:lnTo>
                    <a:pt x="716" y="505"/>
                  </a:lnTo>
                  <a:lnTo>
                    <a:pt x="716" y="507"/>
                  </a:lnTo>
                  <a:lnTo>
                    <a:pt x="716" y="505"/>
                  </a:lnTo>
                  <a:lnTo>
                    <a:pt x="716" y="507"/>
                  </a:lnTo>
                  <a:lnTo>
                    <a:pt x="715" y="507"/>
                  </a:lnTo>
                  <a:lnTo>
                    <a:pt x="716" y="507"/>
                  </a:lnTo>
                  <a:lnTo>
                    <a:pt x="718" y="507"/>
                  </a:lnTo>
                  <a:lnTo>
                    <a:pt x="716" y="507"/>
                  </a:lnTo>
                  <a:lnTo>
                    <a:pt x="716" y="509"/>
                  </a:lnTo>
                  <a:lnTo>
                    <a:pt x="718" y="509"/>
                  </a:lnTo>
                  <a:lnTo>
                    <a:pt x="716" y="509"/>
                  </a:lnTo>
                  <a:lnTo>
                    <a:pt x="718" y="509"/>
                  </a:lnTo>
                  <a:lnTo>
                    <a:pt x="718" y="511"/>
                  </a:lnTo>
                  <a:lnTo>
                    <a:pt x="718" y="513"/>
                  </a:lnTo>
                  <a:lnTo>
                    <a:pt x="718" y="515"/>
                  </a:lnTo>
                  <a:lnTo>
                    <a:pt x="718" y="517"/>
                  </a:lnTo>
                  <a:lnTo>
                    <a:pt x="718" y="519"/>
                  </a:lnTo>
                  <a:lnTo>
                    <a:pt x="718" y="521"/>
                  </a:lnTo>
                  <a:lnTo>
                    <a:pt x="718" y="519"/>
                  </a:lnTo>
                  <a:lnTo>
                    <a:pt x="720" y="519"/>
                  </a:lnTo>
                  <a:lnTo>
                    <a:pt x="720" y="521"/>
                  </a:lnTo>
                  <a:lnTo>
                    <a:pt x="722" y="521"/>
                  </a:lnTo>
                  <a:lnTo>
                    <a:pt x="722" y="523"/>
                  </a:lnTo>
                  <a:lnTo>
                    <a:pt x="722" y="524"/>
                  </a:lnTo>
                  <a:lnTo>
                    <a:pt x="720" y="524"/>
                  </a:lnTo>
                  <a:lnTo>
                    <a:pt x="720" y="523"/>
                  </a:lnTo>
                  <a:lnTo>
                    <a:pt x="720" y="524"/>
                  </a:lnTo>
                  <a:lnTo>
                    <a:pt x="720" y="523"/>
                  </a:lnTo>
                  <a:lnTo>
                    <a:pt x="720" y="521"/>
                  </a:lnTo>
                  <a:lnTo>
                    <a:pt x="720" y="523"/>
                  </a:lnTo>
                  <a:lnTo>
                    <a:pt x="718" y="523"/>
                  </a:lnTo>
                  <a:lnTo>
                    <a:pt x="720" y="523"/>
                  </a:lnTo>
                  <a:lnTo>
                    <a:pt x="720" y="524"/>
                  </a:lnTo>
                  <a:lnTo>
                    <a:pt x="718" y="524"/>
                  </a:lnTo>
                  <a:lnTo>
                    <a:pt x="720" y="524"/>
                  </a:lnTo>
                  <a:lnTo>
                    <a:pt x="720" y="526"/>
                  </a:lnTo>
                  <a:lnTo>
                    <a:pt x="720" y="524"/>
                  </a:lnTo>
                  <a:lnTo>
                    <a:pt x="720" y="526"/>
                  </a:lnTo>
                  <a:lnTo>
                    <a:pt x="720" y="528"/>
                  </a:lnTo>
                  <a:lnTo>
                    <a:pt x="720" y="526"/>
                  </a:lnTo>
                  <a:lnTo>
                    <a:pt x="720" y="528"/>
                  </a:lnTo>
                  <a:lnTo>
                    <a:pt x="720" y="526"/>
                  </a:lnTo>
                  <a:lnTo>
                    <a:pt x="718" y="526"/>
                  </a:lnTo>
                  <a:lnTo>
                    <a:pt x="718" y="528"/>
                  </a:lnTo>
                  <a:lnTo>
                    <a:pt x="718" y="530"/>
                  </a:lnTo>
                  <a:lnTo>
                    <a:pt x="716" y="530"/>
                  </a:lnTo>
                  <a:lnTo>
                    <a:pt x="718" y="530"/>
                  </a:lnTo>
                  <a:lnTo>
                    <a:pt x="716" y="530"/>
                  </a:lnTo>
                  <a:lnTo>
                    <a:pt x="716" y="528"/>
                  </a:lnTo>
                  <a:lnTo>
                    <a:pt x="718" y="528"/>
                  </a:lnTo>
                  <a:lnTo>
                    <a:pt x="716" y="528"/>
                  </a:lnTo>
                  <a:lnTo>
                    <a:pt x="716" y="526"/>
                  </a:lnTo>
                  <a:lnTo>
                    <a:pt x="716" y="524"/>
                  </a:lnTo>
                  <a:lnTo>
                    <a:pt x="716" y="523"/>
                  </a:lnTo>
                  <a:lnTo>
                    <a:pt x="716" y="521"/>
                  </a:lnTo>
                  <a:lnTo>
                    <a:pt x="716" y="523"/>
                  </a:lnTo>
                  <a:lnTo>
                    <a:pt x="716" y="521"/>
                  </a:lnTo>
                  <a:lnTo>
                    <a:pt x="716" y="519"/>
                  </a:lnTo>
                  <a:lnTo>
                    <a:pt x="716" y="517"/>
                  </a:lnTo>
                  <a:lnTo>
                    <a:pt x="716" y="515"/>
                  </a:lnTo>
                  <a:lnTo>
                    <a:pt x="716" y="513"/>
                  </a:lnTo>
                  <a:lnTo>
                    <a:pt x="715" y="513"/>
                  </a:lnTo>
                  <a:lnTo>
                    <a:pt x="716" y="513"/>
                  </a:lnTo>
                  <a:lnTo>
                    <a:pt x="716" y="515"/>
                  </a:lnTo>
                  <a:lnTo>
                    <a:pt x="715" y="515"/>
                  </a:lnTo>
                  <a:lnTo>
                    <a:pt x="716" y="515"/>
                  </a:lnTo>
                  <a:lnTo>
                    <a:pt x="715" y="515"/>
                  </a:lnTo>
                  <a:lnTo>
                    <a:pt x="716" y="515"/>
                  </a:lnTo>
                  <a:lnTo>
                    <a:pt x="716" y="517"/>
                  </a:lnTo>
                  <a:lnTo>
                    <a:pt x="715" y="517"/>
                  </a:lnTo>
                  <a:lnTo>
                    <a:pt x="715" y="519"/>
                  </a:lnTo>
                  <a:lnTo>
                    <a:pt x="716" y="519"/>
                  </a:lnTo>
                  <a:lnTo>
                    <a:pt x="715" y="519"/>
                  </a:lnTo>
                  <a:lnTo>
                    <a:pt x="716" y="519"/>
                  </a:lnTo>
                  <a:lnTo>
                    <a:pt x="715" y="519"/>
                  </a:lnTo>
                  <a:lnTo>
                    <a:pt x="716" y="519"/>
                  </a:lnTo>
                  <a:lnTo>
                    <a:pt x="716" y="521"/>
                  </a:lnTo>
                  <a:lnTo>
                    <a:pt x="716" y="523"/>
                  </a:lnTo>
                  <a:lnTo>
                    <a:pt x="716" y="524"/>
                  </a:lnTo>
                  <a:lnTo>
                    <a:pt x="716" y="526"/>
                  </a:lnTo>
                  <a:lnTo>
                    <a:pt x="716" y="528"/>
                  </a:lnTo>
                  <a:lnTo>
                    <a:pt x="716" y="530"/>
                  </a:lnTo>
                  <a:lnTo>
                    <a:pt x="715" y="530"/>
                  </a:lnTo>
                  <a:lnTo>
                    <a:pt x="715" y="528"/>
                  </a:lnTo>
                  <a:lnTo>
                    <a:pt x="715" y="530"/>
                  </a:lnTo>
                  <a:lnTo>
                    <a:pt x="715" y="532"/>
                  </a:lnTo>
                  <a:lnTo>
                    <a:pt x="715" y="530"/>
                  </a:lnTo>
                  <a:lnTo>
                    <a:pt x="713" y="530"/>
                  </a:lnTo>
                  <a:lnTo>
                    <a:pt x="713" y="528"/>
                  </a:lnTo>
                  <a:lnTo>
                    <a:pt x="713" y="526"/>
                  </a:lnTo>
                  <a:lnTo>
                    <a:pt x="713" y="528"/>
                  </a:lnTo>
                  <a:lnTo>
                    <a:pt x="713" y="530"/>
                  </a:lnTo>
                  <a:lnTo>
                    <a:pt x="713" y="532"/>
                  </a:lnTo>
                  <a:lnTo>
                    <a:pt x="715" y="532"/>
                  </a:lnTo>
                  <a:lnTo>
                    <a:pt x="713" y="534"/>
                  </a:lnTo>
                  <a:lnTo>
                    <a:pt x="713" y="532"/>
                  </a:lnTo>
                  <a:lnTo>
                    <a:pt x="713" y="534"/>
                  </a:lnTo>
                  <a:lnTo>
                    <a:pt x="713" y="532"/>
                  </a:lnTo>
                  <a:lnTo>
                    <a:pt x="713" y="530"/>
                  </a:lnTo>
                  <a:lnTo>
                    <a:pt x="711" y="530"/>
                  </a:lnTo>
                  <a:lnTo>
                    <a:pt x="713" y="530"/>
                  </a:lnTo>
                  <a:lnTo>
                    <a:pt x="711" y="530"/>
                  </a:lnTo>
                  <a:lnTo>
                    <a:pt x="711" y="532"/>
                  </a:lnTo>
                  <a:lnTo>
                    <a:pt x="713" y="532"/>
                  </a:lnTo>
                  <a:lnTo>
                    <a:pt x="713" y="534"/>
                  </a:lnTo>
                  <a:lnTo>
                    <a:pt x="711" y="534"/>
                  </a:lnTo>
                  <a:lnTo>
                    <a:pt x="709" y="534"/>
                  </a:lnTo>
                  <a:lnTo>
                    <a:pt x="711" y="534"/>
                  </a:lnTo>
                  <a:lnTo>
                    <a:pt x="711" y="536"/>
                  </a:lnTo>
                  <a:lnTo>
                    <a:pt x="709" y="536"/>
                  </a:lnTo>
                  <a:lnTo>
                    <a:pt x="709" y="534"/>
                  </a:lnTo>
                  <a:lnTo>
                    <a:pt x="709" y="532"/>
                  </a:lnTo>
                  <a:lnTo>
                    <a:pt x="709" y="530"/>
                  </a:lnTo>
                  <a:lnTo>
                    <a:pt x="709" y="532"/>
                  </a:lnTo>
                  <a:lnTo>
                    <a:pt x="709" y="534"/>
                  </a:lnTo>
                  <a:lnTo>
                    <a:pt x="709" y="536"/>
                  </a:lnTo>
                  <a:lnTo>
                    <a:pt x="709" y="534"/>
                  </a:lnTo>
                  <a:lnTo>
                    <a:pt x="707" y="532"/>
                  </a:lnTo>
                  <a:lnTo>
                    <a:pt x="709" y="532"/>
                  </a:lnTo>
                  <a:lnTo>
                    <a:pt x="707" y="532"/>
                  </a:lnTo>
                  <a:lnTo>
                    <a:pt x="707" y="534"/>
                  </a:lnTo>
                  <a:lnTo>
                    <a:pt x="707" y="536"/>
                  </a:lnTo>
                  <a:lnTo>
                    <a:pt x="707" y="538"/>
                  </a:lnTo>
                  <a:lnTo>
                    <a:pt x="707" y="540"/>
                  </a:lnTo>
                  <a:lnTo>
                    <a:pt x="709" y="540"/>
                  </a:lnTo>
                  <a:lnTo>
                    <a:pt x="709" y="542"/>
                  </a:lnTo>
                  <a:lnTo>
                    <a:pt x="707" y="542"/>
                  </a:lnTo>
                  <a:lnTo>
                    <a:pt x="707" y="544"/>
                  </a:lnTo>
                  <a:lnTo>
                    <a:pt x="705" y="544"/>
                  </a:lnTo>
                  <a:lnTo>
                    <a:pt x="707" y="544"/>
                  </a:lnTo>
                  <a:lnTo>
                    <a:pt x="707" y="546"/>
                  </a:lnTo>
                  <a:lnTo>
                    <a:pt x="707" y="548"/>
                  </a:lnTo>
                  <a:lnTo>
                    <a:pt x="705" y="548"/>
                  </a:lnTo>
                  <a:lnTo>
                    <a:pt x="705" y="549"/>
                  </a:lnTo>
                  <a:lnTo>
                    <a:pt x="705" y="548"/>
                  </a:lnTo>
                  <a:lnTo>
                    <a:pt x="705" y="549"/>
                  </a:lnTo>
                  <a:lnTo>
                    <a:pt x="707" y="549"/>
                  </a:lnTo>
                  <a:lnTo>
                    <a:pt x="709" y="549"/>
                  </a:lnTo>
                  <a:lnTo>
                    <a:pt x="709" y="551"/>
                  </a:lnTo>
                  <a:lnTo>
                    <a:pt x="709" y="553"/>
                  </a:lnTo>
                  <a:lnTo>
                    <a:pt x="707" y="553"/>
                  </a:lnTo>
                  <a:lnTo>
                    <a:pt x="707" y="551"/>
                  </a:lnTo>
                  <a:lnTo>
                    <a:pt x="707" y="549"/>
                  </a:lnTo>
                  <a:lnTo>
                    <a:pt x="707" y="551"/>
                  </a:lnTo>
                  <a:lnTo>
                    <a:pt x="705" y="551"/>
                  </a:lnTo>
                  <a:lnTo>
                    <a:pt x="707" y="551"/>
                  </a:lnTo>
                  <a:lnTo>
                    <a:pt x="705" y="551"/>
                  </a:lnTo>
                  <a:lnTo>
                    <a:pt x="705" y="553"/>
                  </a:lnTo>
                  <a:lnTo>
                    <a:pt x="705" y="555"/>
                  </a:lnTo>
                  <a:lnTo>
                    <a:pt x="703" y="555"/>
                  </a:lnTo>
                  <a:lnTo>
                    <a:pt x="703" y="557"/>
                  </a:lnTo>
                  <a:lnTo>
                    <a:pt x="703" y="555"/>
                  </a:lnTo>
                  <a:lnTo>
                    <a:pt x="705" y="555"/>
                  </a:lnTo>
                  <a:lnTo>
                    <a:pt x="705" y="553"/>
                  </a:lnTo>
                  <a:lnTo>
                    <a:pt x="707" y="553"/>
                  </a:lnTo>
                  <a:lnTo>
                    <a:pt x="709" y="553"/>
                  </a:lnTo>
                  <a:lnTo>
                    <a:pt x="707" y="553"/>
                  </a:lnTo>
                  <a:lnTo>
                    <a:pt x="709" y="553"/>
                  </a:lnTo>
                  <a:lnTo>
                    <a:pt x="707" y="553"/>
                  </a:lnTo>
                  <a:lnTo>
                    <a:pt x="709" y="553"/>
                  </a:lnTo>
                  <a:lnTo>
                    <a:pt x="707" y="553"/>
                  </a:lnTo>
                  <a:lnTo>
                    <a:pt x="709" y="553"/>
                  </a:lnTo>
                  <a:lnTo>
                    <a:pt x="709" y="555"/>
                  </a:lnTo>
                  <a:lnTo>
                    <a:pt x="711" y="555"/>
                  </a:lnTo>
                  <a:lnTo>
                    <a:pt x="711" y="557"/>
                  </a:lnTo>
                  <a:lnTo>
                    <a:pt x="709" y="557"/>
                  </a:lnTo>
                  <a:lnTo>
                    <a:pt x="709" y="559"/>
                  </a:lnTo>
                  <a:lnTo>
                    <a:pt x="709" y="557"/>
                  </a:lnTo>
                  <a:lnTo>
                    <a:pt x="709" y="559"/>
                  </a:lnTo>
                  <a:lnTo>
                    <a:pt x="709" y="557"/>
                  </a:lnTo>
                  <a:lnTo>
                    <a:pt x="711" y="557"/>
                  </a:lnTo>
                  <a:lnTo>
                    <a:pt x="711" y="559"/>
                  </a:lnTo>
                  <a:lnTo>
                    <a:pt x="709" y="559"/>
                  </a:lnTo>
                  <a:lnTo>
                    <a:pt x="709" y="561"/>
                  </a:lnTo>
                  <a:lnTo>
                    <a:pt x="709" y="563"/>
                  </a:lnTo>
                  <a:lnTo>
                    <a:pt x="709" y="561"/>
                  </a:lnTo>
                  <a:lnTo>
                    <a:pt x="707" y="561"/>
                  </a:lnTo>
                  <a:lnTo>
                    <a:pt x="709" y="561"/>
                  </a:lnTo>
                  <a:lnTo>
                    <a:pt x="707" y="561"/>
                  </a:lnTo>
                  <a:lnTo>
                    <a:pt x="707" y="559"/>
                  </a:lnTo>
                  <a:lnTo>
                    <a:pt x="705" y="559"/>
                  </a:lnTo>
                  <a:lnTo>
                    <a:pt x="707" y="559"/>
                  </a:lnTo>
                  <a:lnTo>
                    <a:pt x="707" y="561"/>
                  </a:lnTo>
                  <a:lnTo>
                    <a:pt x="705" y="561"/>
                  </a:lnTo>
                  <a:lnTo>
                    <a:pt x="707" y="561"/>
                  </a:lnTo>
                  <a:lnTo>
                    <a:pt x="707" y="563"/>
                  </a:lnTo>
                  <a:lnTo>
                    <a:pt x="709" y="563"/>
                  </a:lnTo>
                  <a:lnTo>
                    <a:pt x="709" y="565"/>
                  </a:lnTo>
                  <a:lnTo>
                    <a:pt x="709" y="567"/>
                  </a:lnTo>
                  <a:lnTo>
                    <a:pt x="709" y="569"/>
                  </a:lnTo>
                  <a:lnTo>
                    <a:pt x="709" y="571"/>
                  </a:lnTo>
                  <a:lnTo>
                    <a:pt x="709" y="572"/>
                  </a:lnTo>
                  <a:lnTo>
                    <a:pt x="707" y="572"/>
                  </a:lnTo>
                  <a:lnTo>
                    <a:pt x="705" y="572"/>
                  </a:lnTo>
                  <a:lnTo>
                    <a:pt x="705" y="571"/>
                  </a:lnTo>
                  <a:lnTo>
                    <a:pt x="705" y="572"/>
                  </a:lnTo>
                  <a:lnTo>
                    <a:pt x="707" y="572"/>
                  </a:lnTo>
                  <a:lnTo>
                    <a:pt x="705" y="572"/>
                  </a:lnTo>
                  <a:lnTo>
                    <a:pt x="705" y="574"/>
                  </a:lnTo>
                  <a:lnTo>
                    <a:pt x="707" y="574"/>
                  </a:lnTo>
                  <a:lnTo>
                    <a:pt x="705" y="574"/>
                  </a:lnTo>
                  <a:lnTo>
                    <a:pt x="705" y="576"/>
                  </a:lnTo>
                  <a:lnTo>
                    <a:pt x="703" y="576"/>
                  </a:lnTo>
                  <a:lnTo>
                    <a:pt x="701" y="576"/>
                  </a:lnTo>
                  <a:lnTo>
                    <a:pt x="701" y="574"/>
                  </a:lnTo>
                  <a:lnTo>
                    <a:pt x="699" y="574"/>
                  </a:lnTo>
                  <a:lnTo>
                    <a:pt x="701" y="574"/>
                  </a:lnTo>
                  <a:lnTo>
                    <a:pt x="701" y="576"/>
                  </a:lnTo>
                  <a:lnTo>
                    <a:pt x="699" y="576"/>
                  </a:lnTo>
                  <a:lnTo>
                    <a:pt x="699" y="574"/>
                  </a:lnTo>
                  <a:lnTo>
                    <a:pt x="697" y="574"/>
                  </a:lnTo>
                  <a:lnTo>
                    <a:pt x="697" y="576"/>
                  </a:lnTo>
                  <a:lnTo>
                    <a:pt x="699" y="576"/>
                  </a:lnTo>
                  <a:lnTo>
                    <a:pt x="699" y="578"/>
                  </a:lnTo>
                  <a:lnTo>
                    <a:pt x="697" y="578"/>
                  </a:lnTo>
                  <a:lnTo>
                    <a:pt x="697" y="576"/>
                  </a:lnTo>
                  <a:lnTo>
                    <a:pt x="697" y="578"/>
                  </a:lnTo>
                  <a:lnTo>
                    <a:pt x="697" y="580"/>
                  </a:lnTo>
                  <a:lnTo>
                    <a:pt x="695" y="580"/>
                  </a:lnTo>
                  <a:lnTo>
                    <a:pt x="697" y="580"/>
                  </a:lnTo>
                  <a:lnTo>
                    <a:pt x="697" y="582"/>
                  </a:lnTo>
                  <a:lnTo>
                    <a:pt x="695" y="582"/>
                  </a:lnTo>
                  <a:lnTo>
                    <a:pt x="693" y="582"/>
                  </a:lnTo>
                  <a:lnTo>
                    <a:pt x="693" y="584"/>
                  </a:lnTo>
                  <a:lnTo>
                    <a:pt x="691" y="584"/>
                  </a:lnTo>
                  <a:lnTo>
                    <a:pt x="691" y="586"/>
                  </a:lnTo>
                  <a:lnTo>
                    <a:pt x="691" y="584"/>
                  </a:lnTo>
                  <a:lnTo>
                    <a:pt x="691" y="586"/>
                  </a:lnTo>
                  <a:lnTo>
                    <a:pt x="691" y="584"/>
                  </a:lnTo>
                  <a:lnTo>
                    <a:pt x="691" y="586"/>
                  </a:lnTo>
                  <a:lnTo>
                    <a:pt x="690" y="586"/>
                  </a:lnTo>
                  <a:lnTo>
                    <a:pt x="688" y="586"/>
                  </a:lnTo>
                  <a:lnTo>
                    <a:pt x="686" y="586"/>
                  </a:lnTo>
                  <a:lnTo>
                    <a:pt x="684" y="586"/>
                  </a:lnTo>
                  <a:lnTo>
                    <a:pt x="682" y="586"/>
                  </a:lnTo>
                  <a:lnTo>
                    <a:pt x="682" y="584"/>
                  </a:lnTo>
                  <a:lnTo>
                    <a:pt x="682" y="586"/>
                  </a:lnTo>
                  <a:lnTo>
                    <a:pt x="682" y="584"/>
                  </a:lnTo>
                  <a:lnTo>
                    <a:pt x="682" y="582"/>
                  </a:lnTo>
                  <a:lnTo>
                    <a:pt x="680" y="582"/>
                  </a:lnTo>
                  <a:lnTo>
                    <a:pt x="680" y="580"/>
                  </a:lnTo>
                  <a:lnTo>
                    <a:pt x="682" y="580"/>
                  </a:lnTo>
                  <a:lnTo>
                    <a:pt x="682" y="578"/>
                  </a:lnTo>
                  <a:lnTo>
                    <a:pt x="682" y="576"/>
                  </a:lnTo>
                  <a:lnTo>
                    <a:pt x="682" y="574"/>
                  </a:lnTo>
                  <a:lnTo>
                    <a:pt x="684" y="574"/>
                  </a:lnTo>
                  <a:lnTo>
                    <a:pt x="684" y="572"/>
                  </a:lnTo>
                  <a:lnTo>
                    <a:pt x="684" y="571"/>
                  </a:lnTo>
                  <a:lnTo>
                    <a:pt x="684" y="572"/>
                  </a:lnTo>
                  <a:lnTo>
                    <a:pt x="684" y="571"/>
                  </a:lnTo>
                  <a:lnTo>
                    <a:pt x="686" y="571"/>
                  </a:lnTo>
                  <a:lnTo>
                    <a:pt x="688" y="571"/>
                  </a:lnTo>
                  <a:lnTo>
                    <a:pt x="688" y="569"/>
                  </a:lnTo>
                  <a:lnTo>
                    <a:pt x="688" y="571"/>
                  </a:lnTo>
                  <a:lnTo>
                    <a:pt x="688" y="569"/>
                  </a:lnTo>
                  <a:lnTo>
                    <a:pt x="690" y="569"/>
                  </a:lnTo>
                  <a:lnTo>
                    <a:pt x="690" y="567"/>
                  </a:lnTo>
                  <a:lnTo>
                    <a:pt x="691" y="567"/>
                  </a:lnTo>
                  <a:lnTo>
                    <a:pt x="691" y="565"/>
                  </a:lnTo>
                  <a:lnTo>
                    <a:pt x="691" y="563"/>
                  </a:lnTo>
                  <a:lnTo>
                    <a:pt x="693" y="563"/>
                  </a:lnTo>
                  <a:lnTo>
                    <a:pt x="693" y="565"/>
                  </a:lnTo>
                  <a:lnTo>
                    <a:pt x="693" y="563"/>
                  </a:lnTo>
                  <a:lnTo>
                    <a:pt x="693" y="565"/>
                  </a:lnTo>
                  <a:lnTo>
                    <a:pt x="693" y="563"/>
                  </a:lnTo>
                  <a:lnTo>
                    <a:pt x="693" y="561"/>
                  </a:lnTo>
                  <a:lnTo>
                    <a:pt x="693" y="559"/>
                  </a:lnTo>
                  <a:lnTo>
                    <a:pt x="693" y="557"/>
                  </a:lnTo>
                  <a:lnTo>
                    <a:pt x="693" y="555"/>
                  </a:lnTo>
                  <a:lnTo>
                    <a:pt x="695" y="555"/>
                  </a:lnTo>
                  <a:lnTo>
                    <a:pt x="695" y="553"/>
                  </a:lnTo>
                  <a:lnTo>
                    <a:pt x="695" y="551"/>
                  </a:lnTo>
                  <a:lnTo>
                    <a:pt x="695" y="549"/>
                  </a:lnTo>
                  <a:lnTo>
                    <a:pt x="693" y="549"/>
                  </a:lnTo>
                  <a:lnTo>
                    <a:pt x="693" y="548"/>
                  </a:lnTo>
                  <a:lnTo>
                    <a:pt x="693" y="546"/>
                  </a:lnTo>
                  <a:lnTo>
                    <a:pt x="691" y="546"/>
                  </a:lnTo>
                  <a:lnTo>
                    <a:pt x="691" y="544"/>
                  </a:lnTo>
                  <a:lnTo>
                    <a:pt x="691" y="542"/>
                  </a:lnTo>
                  <a:lnTo>
                    <a:pt x="693" y="542"/>
                  </a:lnTo>
                  <a:lnTo>
                    <a:pt x="691" y="542"/>
                  </a:lnTo>
                  <a:lnTo>
                    <a:pt x="693" y="542"/>
                  </a:lnTo>
                  <a:lnTo>
                    <a:pt x="693" y="540"/>
                  </a:lnTo>
                  <a:lnTo>
                    <a:pt x="693" y="538"/>
                  </a:lnTo>
                  <a:lnTo>
                    <a:pt x="693" y="536"/>
                  </a:lnTo>
                  <a:lnTo>
                    <a:pt x="695" y="536"/>
                  </a:lnTo>
                  <a:lnTo>
                    <a:pt x="695" y="534"/>
                  </a:lnTo>
                  <a:lnTo>
                    <a:pt x="697" y="534"/>
                  </a:lnTo>
                  <a:lnTo>
                    <a:pt x="697" y="532"/>
                  </a:lnTo>
                  <a:lnTo>
                    <a:pt x="699" y="532"/>
                  </a:lnTo>
                  <a:lnTo>
                    <a:pt x="699" y="530"/>
                  </a:lnTo>
                  <a:lnTo>
                    <a:pt x="701" y="530"/>
                  </a:lnTo>
                  <a:lnTo>
                    <a:pt x="701" y="528"/>
                  </a:lnTo>
                  <a:lnTo>
                    <a:pt x="701" y="526"/>
                  </a:lnTo>
                  <a:lnTo>
                    <a:pt x="701" y="528"/>
                  </a:lnTo>
                  <a:lnTo>
                    <a:pt x="701" y="526"/>
                  </a:lnTo>
                  <a:lnTo>
                    <a:pt x="703" y="526"/>
                  </a:lnTo>
                  <a:lnTo>
                    <a:pt x="701" y="526"/>
                  </a:lnTo>
                  <a:lnTo>
                    <a:pt x="701" y="524"/>
                  </a:lnTo>
                  <a:lnTo>
                    <a:pt x="701" y="526"/>
                  </a:lnTo>
                  <a:lnTo>
                    <a:pt x="701" y="524"/>
                  </a:lnTo>
                  <a:lnTo>
                    <a:pt x="701" y="523"/>
                  </a:lnTo>
                  <a:lnTo>
                    <a:pt x="701" y="524"/>
                  </a:lnTo>
                  <a:lnTo>
                    <a:pt x="701" y="526"/>
                  </a:lnTo>
                  <a:lnTo>
                    <a:pt x="699" y="526"/>
                  </a:lnTo>
                  <a:lnTo>
                    <a:pt x="699" y="524"/>
                  </a:lnTo>
                  <a:lnTo>
                    <a:pt x="699" y="526"/>
                  </a:lnTo>
                  <a:lnTo>
                    <a:pt x="699" y="524"/>
                  </a:lnTo>
                  <a:lnTo>
                    <a:pt x="699" y="523"/>
                  </a:lnTo>
                  <a:lnTo>
                    <a:pt x="701" y="523"/>
                  </a:lnTo>
                  <a:lnTo>
                    <a:pt x="701" y="521"/>
                  </a:lnTo>
                  <a:lnTo>
                    <a:pt x="701" y="519"/>
                  </a:lnTo>
                  <a:lnTo>
                    <a:pt x="703" y="519"/>
                  </a:lnTo>
                  <a:lnTo>
                    <a:pt x="703" y="517"/>
                  </a:lnTo>
                  <a:lnTo>
                    <a:pt x="701" y="517"/>
                  </a:lnTo>
                  <a:lnTo>
                    <a:pt x="703" y="517"/>
                  </a:lnTo>
                  <a:lnTo>
                    <a:pt x="701" y="517"/>
                  </a:lnTo>
                  <a:lnTo>
                    <a:pt x="701" y="519"/>
                  </a:lnTo>
                  <a:lnTo>
                    <a:pt x="699" y="519"/>
                  </a:lnTo>
                  <a:lnTo>
                    <a:pt x="701" y="519"/>
                  </a:lnTo>
                  <a:lnTo>
                    <a:pt x="701" y="517"/>
                  </a:lnTo>
                  <a:lnTo>
                    <a:pt x="699" y="517"/>
                  </a:lnTo>
                  <a:lnTo>
                    <a:pt x="699" y="519"/>
                  </a:lnTo>
                  <a:lnTo>
                    <a:pt x="701" y="519"/>
                  </a:lnTo>
                  <a:lnTo>
                    <a:pt x="699" y="521"/>
                  </a:lnTo>
                  <a:lnTo>
                    <a:pt x="699" y="523"/>
                  </a:lnTo>
                  <a:lnTo>
                    <a:pt x="697" y="523"/>
                  </a:lnTo>
                  <a:lnTo>
                    <a:pt x="699" y="523"/>
                  </a:lnTo>
                  <a:lnTo>
                    <a:pt x="697" y="523"/>
                  </a:lnTo>
                  <a:lnTo>
                    <a:pt x="697" y="524"/>
                  </a:lnTo>
                  <a:lnTo>
                    <a:pt x="697" y="523"/>
                  </a:lnTo>
                  <a:lnTo>
                    <a:pt x="697" y="524"/>
                  </a:lnTo>
                  <a:lnTo>
                    <a:pt x="697" y="526"/>
                  </a:lnTo>
                  <a:lnTo>
                    <a:pt x="695" y="526"/>
                  </a:lnTo>
                  <a:lnTo>
                    <a:pt x="697" y="526"/>
                  </a:lnTo>
                  <a:lnTo>
                    <a:pt x="695" y="526"/>
                  </a:lnTo>
                  <a:lnTo>
                    <a:pt x="695" y="528"/>
                  </a:lnTo>
                  <a:lnTo>
                    <a:pt x="693" y="528"/>
                  </a:lnTo>
                  <a:lnTo>
                    <a:pt x="693" y="530"/>
                  </a:lnTo>
                  <a:lnTo>
                    <a:pt x="691" y="530"/>
                  </a:lnTo>
                  <a:lnTo>
                    <a:pt x="691" y="528"/>
                  </a:lnTo>
                  <a:lnTo>
                    <a:pt x="691" y="526"/>
                  </a:lnTo>
                  <a:lnTo>
                    <a:pt x="691" y="524"/>
                  </a:lnTo>
                  <a:lnTo>
                    <a:pt x="691" y="523"/>
                  </a:lnTo>
                  <a:lnTo>
                    <a:pt x="691" y="521"/>
                  </a:lnTo>
                  <a:lnTo>
                    <a:pt x="691" y="519"/>
                  </a:lnTo>
                  <a:lnTo>
                    <a:pt x="691" y="517"/>
                  </a:lnTo>
                  <a:lnTo>
                    <a:pt x="691" y="515"/>
                  </a:lnTo>
                  <a:lnTo>
                    <a:pt x="691" y="517"/>
                  </a:lnTo>
                  <a:lnTo>
                    <a:pt x="691" y="515"/>
                  </a:lnTo>
                  <a:lnTo>
                    <a:pt x="690" y="515"/>
                  </a:lnTo>
                  <a:lnTo>
                    <a:pt x="690" y="517"/>
                  </a:lnTo>
                  <a:lnTo>
                    <a:pt x="690" y="519"/>
                  </a:lnTo>
                  <a:lnTo>
                    <a:pt x="690" y="521"/>
                  </a:lnTo>
                  <a:lnTo>
                    <a:pt x="691" y="521"/>
                  </a:lnTo>
                  <a:lnTo>
                    <a:pt x="690" y="521"/>
                  </a:lnTo>
                  <a:lnTo>
                    <a:pt x="690" y="523"/>
                  </a:lnTo>
                  <a:lnTo>
                    <a:pt x="691" y="523"/>
                  </a:lnTo>
                  <a:lnTo>
                    <a:pt x="691" y="524"/>
                  </a:lnTo>
                  <a:lnTo>
                    <a:pt x="691" y="526"/>
                  </a:lnTo>
                  <a:lnTo>
                    <a:pt x="690" y="526"/>
                  </a:lnTo>
                  <a:lnTo>
                    <a:pt x="691" y="526"/>
                  </a:lnTo>
                  <a:lnTo>
                    <a:pt x="690" y="526"/>
                  </a:lnTo>
                  <a:lnTo>
                    <a:pt x="691" y="528"/>
                  </a:lnTo>
                  <a:lnTo>
                    <a:pt x="690" y="528"/>
                  </a:lnTo>
                  <a:lnTo>
                    <a:pt x="691" y="528"/>
                  </a:lnTo>
                  <a:lnTo>
                    <a:pt x="691" y="530"/>
                  </a:lnTo>
                  <a:lnTo>
                    <a:pt x="691" y="532"/>
                  </a:lnTo>
                  <a:lnTo>
                    <a:pt x="691" y="530"/>
                  </a:lnTo>
                  <a:lnTo>
                    <a:pt x="691" y="532"/>
                  </a:lnTo>
                  <a:lnTo>
                    <a:pt x="690" y="532"/>
                  </a:lnTo>
                  <a:lnTo>
                    <a:pt x="691" y="532"/>
                  </a:lnTo>
                  <a:lnTo>
                    <a:pt x="690" y="532"/>
                  </a:lnTo>
                  <a:lnTo>
                    <a:pt x="690" y="530"/>
                  </a:lnTo>
                  <a:lnTo>
                    <a:pt x="690" y="528"/>
                  </a:lnTo>
                  <a:lnTo>
                    <a:pt x="688" y="528"/>
                  </a:lnTo>
                  <a:lnTo>
                    <a:pt x="688" y="526"/>
                  </a:lnTo>
                  <a:lnTo>
                    <a:pt x="688" y="524"/>
                  </a:lnTo>
                  <a:lnTo>
                    <a:pt x="688" y="526"/>
                  </a:lnTo>
                  <a:lnTo>
                    <a:pt x="688" y="528"/>
                  </a:lnTo>
                  <a:lnTo>
                    <a:pt x="688" y="530"/>
                  </a:lnTo>
                  <a:lnTo>
                    <a:pt x="686" y="530"/>
                  </a:lnTo>
                  <a:lnTo>
                    <a:pt x="684" y="530"/>
                  </a:lnTo>
                  <a:lnTo>
                    <a:pt x="684" y="532"/>
                  </a:lnTo>
                  <a:lnTo>
                    <a:pt x="682" y="532"/>
                  </a:lnTo>
                  <a:lnTo>
                    <a:pt x="680" y="532"/>
                  </a:lnTo>
                  <a:lnTo>
                    <a:pt x="680" y="530"/>
                  </a:lnTo>
                  <a:lnTo>
                    <a:pt x="680" y="528"/>
                  </a:lnTo>
                  <a:lnTo>
                    <a:pt x="680" y="530"/>
                  </a:lnTo>
                  <a:lnTo>
                    <a:pt x="680" y="532"/>
                  </a:lnTo>
                  <a:lnTo>
                    <a:pt x="680" y="534"/>
                  </a:lnTo>
                  <a:lnTo>
                    <a:pt x="680" y="532"/>
                  </a:lnTo>
                  <a:lnTo>
                    <a:pt x="678" y="532"/>
                  </a:lnTo>
                  <a:lnTo>
                    <a:pt x="678" y="530"/>
                  </a:lnTo>
                  <a:lnTo>
                    <a:pt x="678" y="528"/>
                  </a:lnTo>
                  <a:lnTo>
                    <a:pt x="678" y="530"/>
                  </a:lnTo>
                  <a:lnTo>
                    <a:pt x="676" y="530"/>
                  </a:lnTo>
                  <a:lnTo>
                    <a:pt x="676" y="528"/>
                  </a:lnTo>
                  <a:lnTo>
                    <a:pt x="676" y="530"/>
                  </a:lnTo>
                  <a:lnTo>
                    <a:pt x="678" y="530"/>
                  </a:lnTo>
                  <a:lnTo>
                    <a:pt x="678" y="532"/>
                  </a:lnTo>
                  <a:lnTo>
                    <a:pt x="676" y="532"/>
                  </a:lnTo>
                  <a:lnTo>
                    <a:pt x="676" y="530"/>
                  </a:lnTo>
                  <a:lnTo>
                    <a:pt x="674" y="530"/>
                  </a:lnTo>
                  <a:lnTo>
                    <a:pt x="676" y="530"/>
                  </a:lnTo>
                  <a:lnTo>
                    <a:pt x="676" y="532"/>
                  </a:lnTo>
                  <a:lnTo>
                    <a:pt x="678" y="532"/>
                  </a:lnTo>
                  <a:lnTo>
                    <a:pt x="678" y="534"/>
                  </a:lnTo>
                  <a:lnTo>
                    <a:pt x="676" y="534"/>
                  </a:lnTo>
                  <a:lnTo>
                    <a:pt x="678" y="534"/>
                  </a:lnTo>
                  <a:lnTo>
                    <a:pt x="678" y="536"/>
                  </a:lnTo>
                  <a:lnTo>
                    <a:pt x="676" y="536"/>
                  </a:lnTo>
                  <a:lnTo>
                    <a:pt x="676" y="538"/>
                  </a:lnTo>
                  <a:lnTo>
                    <a:pt x="678" y="538"/>
                  </a:lnTo>
                  <a:lnTo>
                    <a:pt x="678" y="536"/>
                  </a:lnTo>
                  <a:lnTo>
                    <a:pt x="680" y="536"/>
                  </a:lnTo>
                  <a:lnTo>
                    <a:pt x="680" y="538"/>
                  </a:lnTo>
                  <a:lnTo>
                    <a:pt x="682" y="538"/>
                  </a:lnTo>
                  <a:lnTo>
                    <a:pt x="680" y="538"/>
                  </a:lnTo>
                  <a:lnTo>
                    <a:pt x="680" y="536"/>
                  </a:lnTo>
                  <a:lnTo>
                    <a:pt x="682" y="536"/>
                  </a:lnTo>
                  <a:lnTo>
                    <a:pt x="682" y="538"/>
                  </a:lnTo>
                  <a:lnTo>
                    <a:pt x="682" y="540"/>
                  </a:lnTo>
                  <a:lnTo>
                    <a:pt x="684" y="542"/>
                  </a:lnTo>
                  <a:lnTo>
                    <a:pt x="684" y="540"/>
                  </a:lnTo>
                  <a:lnTo>
                    <a:pt x="682" y="540"/>
                  </a:lnTo>
                  <a:lnTo>
                    <a:pt x="684" y="540"/>
                  </a:lnTo>
                  <a:lnTo>
                    <a:pt x="684" y="542"/>
                  </a:lnTo>
                  <a:lnTo>
                    <a:pt x="684" y="544"/>
                  </a:lnTo>
                  <a:lnTo>
                    <a:pt x="684" y="546"/>
                  </a:lnTo>
                  <a:lnTo>
                    <a:pt x="682" y="546"/>
                  </a:lnTo>
                  <a:lnTo>
                    <a:pt x="682" y="544"/>
                  </a:lnTo>
                  <a:lnTo>
                    <a:pt x="682" y="546"/>
                  </a:lnTo>
                  <a:lnTo>
                    <a:pt x="682" y="548"/>
                  </a:lnTo>
                  <a:lnTo>
                    <a:pt x="682" y="546"/>
                  </a:lnTo>
                  <a:lnTo>
                    <a:pt x="682" y="548"/>
                  </a:lnTo>
                  <a:lnTo>
                    <a:pt x="680" y="548"/>
                  </a:lnTo>
                  <a:lnTo>
                    <a:pt x="680" y="549"/>
                  </a:lnTo>
                  <a:lnTo>
                    <a:pt x="680" y="551"/>
                  </a:lnTo>
                  <a:lnTo>
                    <a:pt x="680" y="549"/>
                  </a:lnTo>
                  <a:lnTo>
                    <a:pt x="678" y="549"/>
                  </a:lnTo>
                  <a:lnTo>
                    <a:pt x="678" y="548"/>
                  </a:lnTo>
                  <a:lnTo>
                    <a:pt x="678" y="549"/>
                  </a:lnTo>
                  <a:lnTo>
                    <a:pt x="678" y="551"/>
                  </a:lnTo>
                  <a:lnTo>
                    <a:pt x="676" y="551"/>
                  </a:lnTo>
                  <a:lnTo>
                    <a:pt x="676" y="549"/>
                  </a:lnTo>
                  <a:lnTo>
                    <a:pt x="678" y="549"/>
                  </a:lnTo>
                  <a:lnTo>
                    <a:pt x="676" y="549"/>
                  </a:lnTo>
                  <a:lnTo>
                    <a:pt x="676" y="548"/>
                  </a:lnTo>
                  <a:lnTo>
                    <a:pt x="676" y="546"/>
                  </a:lnTo>
                  <a:lnTo>
                    <a:pt x="674" y="546"/>
                  </a:lnTo>
                  <a:lnTo>
                    <a:pt x="676" y="546"/>
                  </a:lnTo>
                  <a:lnTo>
                    <a:pt x="674" y="546"/>
                  </a:lnTo>
                  <a:lnTo>
                    <a:pt x="674" y="544"/>
                  </a:lnTo>
                  <a:lnTo>
                    <a:pt x="674" y="542"/>
                  </a:lnTo>
                  <a:lnTo>
                    <a:pt x="674" y="544"/>
                  </a:lnTo>
                  <a:lnTo>
                    <a:pt x="674" y="546"/>
                  </a:lnTo>
                  <a:lnTo>
                    <a:pt x="674" y="544"/>
                  </a:lnTo>
                  <a:lnTo>
                    <a:pt x="674" y="546"/>
                  </a:lnTo>
                  <a:lnTo>
                    <a:pt x="674" y="544"/>
                  </a:lnTo>
                  <a:lnTo>
                    <a:pt x="674" y="546"/>
                  </a:lnTo>
                  <a:lnTo>
                    <a:pt x="674" y="548"/>
                  </a:lnTo>
                  <a:lnTo>
                    <a:pt x="674" y="549"/>
                  </a:lnTo>
                  <a:lnTo>
                    <a:pt x="674" y="548"/>
                  </a:lnTo>
                  <a:lnTo>
                    <a:pt x="674" y="549"/>
                  </a:lnTo>
                  <a:lnTo>
                    <a:pt x="672" y="549"/>
                  </a:lnTo>
                  <a:lnTo>
                    <a:pt x="672" y="548"/>
                  </a:lnTo>
                  <a:lnTo>
                    <a:pt x="674" y="548"/>
                  </a:lnTo>
                  <a:lnTo>
                    <a:pt x="672" y="548"/>
                  </a:lnTo>
                  <a:lnTo>
                    <a:pt x="672" y="549"/>
                  </a:lnTo>
                  <a:lnTo>
                    <a:pt x="674" y="549"/>
                  </a:lnTo>
                  <a:lnTo>
                    <a:pt x="674" y="551"/>
                  </a:lnTo>
                  <a:lnTo>
                    <a:pt x="672" y="551"/>
                  </a:lnTo>
                  <a:lnTo>
                    <a:pt x="672" y="553"/>
                  </a:lnTo>
                  <a:lnTo>
                    <a:pt x="672" y="551"/>
                  </a:lnTo>
                  <a:lnTo>
                    <a:pt x="670" y="551"/>
                  </a:lnTo>
                  <a:lnTo>
                    <a:pt x="672" y="551"/>
                  </a:lnTo>
                  <a:lnTo>
                    <a:pt x="670" y="551"/>
                  </a:lnTo>
                  <a:lnTo>
                    <a:pt x="672" y="551"/>
                  </a:lnTo>
                  <a:lnTo>
                    <a:pt x="670" y="551"/>
                  </a:lnTo>
                  <a:lnTo>
                    <a:pt x="670" y="549"/>
                  </a:lnTo>
                  <a:lnTo>
                    <a:pt x="670" y="551"/>
                  </a:lnTo>
                  <a:lnTo>
                    <a:pt x="670" y="549"/>
                  </a:lnTo>
                  <a:lnTo>
                    <a:pt x="670" y="548"/>
                  </a:lnTo>
                  <a:lnTo>
                    <a:pt x="670" y="546"/>
                  </a:lnTo>
                  <a:lnTo>
                    <a:pt x="670" y="544"/>
                  </a:lnTo>
                  <a:lnTo>
                    <a:pt x="668" y="546"/>
                  </a:lnTo>
                  <a:lnTo>
                    <a:pt x="670" y="546"/>
                  </a:lnTo>
                  <a:lnTo>
                    <a:pt x="668" y="546"/>
                  </a:lnTo>
                  <a:lnTo>
                    <a:pt x="668" y="548"/>
                  </a:lnTo>
                  <a:lnTo>
                    <a:pt x="670" y="548"/>
                  </a:lnTo>
                  <a:lnTo>
                    <a:pt x="668" y="548"/>
                  </a:lnTo>
                  <a:lnTo>
                    <a:pt x="668" y="549"/>
                  </a:lnTo>
                  <a:lnTo>
                    <a:pt x="670" y="549"/>
                  </a:lnTo>
                  <a:lnTo>
                    <a:pt x="670" y="551"/>
                  </a:lnTo>
                  <a:lnTo>
                    <a:pt x="670" y="553"/>
                  </a:lnTo>
                  <a:lnTo>
                    <a:pt x="670" y="551"/>
                  </a:lnTo>
                  <a:lnTo>
                    <a:pt x="670" y="553"/>
                  </a:lnTo>
                  <a:lnTo>
                    <a:pt x="668" y="553"/>
                  </a:lnTo>
                  <a:lnTo>
                    <a:pt x="670" y="553"/>
                  </a:lnTo>
                  <a:lnTo>
                    <a:pt x="670" y="551"/>
                  </a:lnTo>
                  <a:lnTo>
                    <a:pt x="670" y="553"/>
                  </a:lnTo>
                  <a:lnTo>
                    <a:pt x="670" y="555"/>
                  </a:lnTo>
                  <a:lnTo>
                    <a:pt x="670" y="553"/>
                  </a:lnTo>
                  <a:lnTo>
                    <a:pt x="668" y="553"/>
                  </a:lnTo>
                  <a:lnTo>
                    <a:pt x="668" y="555"/>
                  </a:lnTo>
                  <a:lnTo>
                    <a:pt x="667" y="555"/>
                  </a:lnTo>
                  <a:lnTo>
                    <a:pt x="667" y="557"/>
                  </a:lnTo>
                  <a:lnTo>
                    <a:pt x="667" y="555"/>
                  </a:lnTo>
                  <a:lnTo>
                    <a:pt x="667" y="553"/>
                  </a:lnTo>
                  <a:lnTo>
                    <a:pt x="668" y="553"/>
                  </a:lnTo>
                  <a:lnTo>
                    <a:pt x="668" y="551"/>
                  </a:lnTo>
                  <a:lnTo>
                    <a:pt x="667" y="551"/>
                  </a:lnTo>
                  <a:lnTo>
                    <a:pt x="668" y="551"/>
                  </a:lnTo>
                  <a:lnTo>
                    <a:pt x="668" y="549"/>
                  </a:lnTo>
                  <a:lnTo>
                    <a:pt x="668" y="548"/>
                  </a:lnTo>
                  <a:lnTo>
                    <a:pt x="668" y="546"/>
                  </a:lnTo>
                  <a:lnTo>
                    <a:pt x="668" y="544"/>
                  </a:lnTo>
                  <a:lnTo>
                    <a:pt x="668" y="546"/>
                  </a:lnTo>
                  <a:lnTo>
                    <a:pt x="667" y="546"/>
                  </a:lnTo>
                  <a:lnTo>
                    <a:pt x="668" y="546"/>
                  </a:lnTo>
                  <a:lnTo>
                    <a:pt x="668" y="544"/>
                  </a:lnTo>
                  <a:lnTo>
                    <a:pt x="668" y="546"/>
                  </a:lnTo>
                  <a:lnTo>
                    <a:pt x="667" y="546"/>
                  </a:lnTo>
                  <a:lnTo>
                    <a:pt x="668" y="546"/>
                  </a:lnTo>
                  <a:lnTo>
                    <a:pt x="667" y="546"/>
                  </a:lnTo>
                  <a:lnTo>
                    <a:pt x="668" y="546"/>
                  </a:lnTo>
                  <a:lnTo>
                    <a:pt x="667" y="546"/>
                  </a:lnTo>
                  <a:lnTo>
                    <a:pt x="667" y="548"/>
                  </a:lnTo>
                  <a:lnTo>
                    <a:pt x="667" y="549"/>
                  </a:lnTo>
                  <a:lnTo>
                    <a:pt x="667" y="548"/>
                  </a:lnTo>
                  <a:lnTo>
                    <a:pt x="667" y="549"/>
                  </a:lnTo>
                  <a:lnTo>
                    <a:pt x="667" y="551"/>
                  </a:lnTo>
                  <a:lnTo>
                    <a:pt x="665" y="551"/>
                  </a:lnTo>
                  <a:lnTo>
                    <a:pt x="665" y="553"/>
                  </a:lnTo>
                  <a:lnTo>
                    <a:pt x="663" y="553"/>
                  </a:lnTo>
                  <a:lnTo>
                    <a:pt x="665" y="555"/>
                  </a:lnTo>
                  <a:lnTo>
                    <a:pt x="663" y="555"/>
                  </a:lnTo>
                  <a:lnTo>
                    <a:pt x="663" y="557"/>
                  </a:lnTo>
                  <a:lnTo>
                    <a:pt x="661" y="557"/>
                  </a:lnTo>
                  <a:lnTo>
                    <a:pt x="661" y="559"/>
                  </a:lnTo>
                  <a:lnTo>
                    <a:pt x="661" y="557"/>
                  </a:lnTo>
                  <a:lnTo>
                    <a:pt x="661" y="559"/>
                  </a:lnTo>
                  <a:lnTo>
                    <a:pt x="659" y="559"/>
                  </a:lnTo>
                  <a:lnTo>
                    <a:pt x="659" y="561"/>
                  </a:lnTo>
                  <a:lnTo>
                    <a:pt x="657" y="561"/>
                  </a:lnTo>
                  <a:lnTo>
                    <a:pt x="657" y="559"/>
                  </a:lnTo>
                  <a:lnTo>
                    <a:pt x="655" y="561"/>
                  </a:lnTo>
                  <a:lnTo>
                    <a:pt x="655" y="559"/>
                  </a:lnTo>
                  <a:lnTo>
                    <a:pt x="657" y="559"/>
                  </a:lnTo>
                  <a:lnTo>
                    <a:pt x="657" y="557"/>
                  </a:lnTo>
                  <a:lnTo>
                    <a:pt x="659" y="557"/>
                  </a:lnTo>
                  <a:lnTo>
                    <a:pt x="659" y="555"/>
                  </a:lnTo>
                  <a:lnTo>
                    <a:pt x="661" y="555"/>
                  </a:lnTo>
                  <a:lnTo>
                    <a:pt x="661" y="553"/>
                  </a:lnTo>
                  <a:lnTo>
                    <a:pt x="661" y="551"/>
                  </a:lnTo>
                  <a:lnTo>
                    <a:pt x="663" y="551"/>
                  </a:lnTo>
                  <a:lnTo>
                    <a:pt x="663" y="549"/>
                  </a:lnTo>
                  <a:lnTo>
                    <a:pt x="663" y="548"/>
                  </a:lnTo>
                  <a:lnTo>
                    <a:pt x="665" y="548"/>
                  </a:lnTo>
                  <a:lnTo>
                    <a:pt x="663" y="548"/>
                  </a:lnTo>
                  <a:lnTo>
                    <a:pt x="665" y="548"/>
                  </a:lnTo>
                  <a:lnTo>
                    <a:pt x="665" y="546"/>
                  </a:lnTo>
                  <a:lnTo>
                    <a:pt x="667" y="546"/>
                  </a:lnTo>
                  <a:lnTo>
                    <a:pt x="667" y="544"/>
                  </a:lnTo>
                  <a:lnTo>
                    <a:pt x="667" y="542"/>
                  </a:lnTo>
                  <a:lnTo>
                    <a:pt x="667" y="540"/>
                  </a:lnTo>
                  <a:lnTo>
                    <a:pt x="668" y="540"/>
                  </a:lnTo>
                  <a:lnTo>
                    <a:pt x="668" y="538"/>
                  </a:lnTo>
                  <a:lnTo>
                    <a:pt x="670" y="538"/>
                  </a:lnTo>
                  <a:lnTo>
                    <a:pt x="668" y="538"/>
                  </a:lnTo>
                  <a:lnTo>
                    <a:pt x="668" y="540"/>
                  </a:lnTo>
                  <a:lnTo>
                    <a:pt x="667" y="540"/>
                  </a:lnTo>
                  <a:lnTo>
                    <a:pt x="667" y="542"/>
                  </a:lnTo>
                  <a:lnTo>
                    <a:pt x="665" y="542"/>
                  </a:lnTo>
                  <a:lnTo>
                    <a:pt x="667" y="542"/>
                  </a:lnTo>
                  <a:lnTo>
                    <a:pt x="667" y="544"/>
                  </a:lnTo>
                  <a:lnTo>
                    <a:pt x="665" y="544"/>
                  </a:lnTo>
                  <a:lnTo>
                    <a:pt x="665" y="546"/>
                  </a:lnTo>
                  <a:lnTo>
                    <a:pt x="663" y="546"/>
                  </a:lnTo>
                  <a:lnTo>
                    <a:pt x="663" y="548"/>
                  </a:lnTo>
                  <a:lnTo>
                    <a:pt x="663" y="546"/>
                  </a:lnTo>
                  <a:lnTo>
                    <a:pt x="661" y="546"/>
                  </a:lnTo>
                  <a:lnTo>
                    <a:pt x="659" y="546"/>
                  </a:lnTo>
                  <a:lnTo>
                    <a:pt x="659" y="544"/>
                  </a:lnTo>
                  <a:lnTo>
                    <a:pt x="659" y="542"/>
                  </a:lnTo>
                  <a:lnTo>
                    <a:pt x="661" y="542"/>
                  </a:lnTo>
                  <a:lnTo>
                    <a:pt x="661" y="540"/>
                  </a:lnTo>
                  <a:lnTo>
                    <a:pt x="659" y="540"/>
                  </a:lnTo>
                  <a:lnTo>
                    <a:pt x="661" y="538"/>
                  </a:lnTo>
                  <a:lnTo>
                    <a:pt x="659" y="538"/>
                  </a:lnTo>
                  <a:lnTo>
                    <a:pt x="661" y="538"/>
                  </a:lnTo>
                  <a:lnTo>
                    <a:pt x="659" y="538"/>
                  </a:lnTo>
                  <a:lnTo>
                    <a:pt x="661" y="538"/>
                  </a:lnTo>
                  <a:lnTo>
                    <a:pt x="659" y="538"/>
                  </a:lnTo>
                  <a:lnTo>
                    <a:pt x="659" y="540"/>
                  </a:lnTo>
                  <a:lnTo>
                    <a:pt x="659" y="538"/>
                  </a:lnTo>
                  <a:lnTo>
                    <a:pt x="661" y="538"/>
                  </a:lnTo>
                  <a:lnTo>
                    <a:pt x="659" y="538"/>
                  </a:lnTo>
                  <a:lnTo>
                    <a:pt x="661" y="538"/>
                  </a:lnTo>
                  <a:lnTo>
                    <a:pt x="661" y="536"/>
                  </a:lnTo>
                  <a:lnTo>
                    <a:pt x="661" y="534"/>
                  </a:lnTo>
                  <a:lnTo>
                    <a:pt x="661" y="532"/>
                  </a:lnTo>
                  <a:lnTo>
                    <a:pt x="661" y="530"/>
                  </a:lnTo>
                  <a:lnTo>
                    <a:pt x="661" y="532"/>
                  </a:lnTo>
                  <a:lnTo>
                    <a:pt x="661" y="530"/>
                  </a:lnTo>
                  <a:lnTo>
                    <a:pt x="661" y="532"/>
                  </a:lnTo>
                  <a:lnTo>
                    <a:pt x="661" y="534"/>
                  </a:lnTo>
                  <a:lnTo>
                    <a:pt x="661" y="536"/>
                  </a:lnTo>
                  <a:lnTo>
                    <a:pt x="661" y="534"/>
                  </a:lnTo>
                  <a:lnTo>
                    <a:pt x="661" y="536"/>
                  </a:lnTo>
                  <a:lnTo>
                    <a:pt x="659" y="536"/>
                  </a:lnTo>
                  <a:lnTo>
                    <a:pt x="659" y="534"/>
                  </a:lnTo>
                  <a:lnTo>
                    <a:pt x="659" y="536"/>
                  </a:lnTo>
                  <a:lnTo>
                    <a:pt x="659" y="534"/>
                  </a:lnTo>
                  <a:lnTo>
                    <a:pt x="657" y="534"/>
                  </a:lnTo>
                  <a:lnTo>
                    <a:pt x="657" y="532"/>
                  </a:lnTo>
                  <a:lnTo>
                    <a:pt x="659" y="532"/>
                  </a:lnTo>
                  <a:lnTo>
                    <a:pt x="659" y="530"/>
                  </a:lnTo>
                  <a:lnTo>
                    <a:pt x="659" y="528"/>
                  </a:lnTo>
                  <a:lnTo>
                    <a:pt x="659" y="526"/>
                  </a:lnTo>
                  <a:lnTo>
                    <a:pt x="659" y="528"/>
                  </a:lnTo>
                  <a:lnTo>
                    <a:pt x="659" y="530"/>
                  </a:lnTo>
                  <a:lnTo>
                    <a:pt x="657" y="530"/>
                  </a:lnTo>
                  <a:lnTo>
                    <a:pt x="657" y="528"/>
                  </a:lnTo>
                  <a:lnTo>
                    <a:pt x="657" y="526"/>
                  </a:lnTo>
                  <a:lnTo>
                    <a:pt x="655" y="526"/>
                  </a:lnTo>
                  <a:lnTo>
                    <a:pt x="655" y="528"/>
                  </a:lnTo>
                  <a:lnTo>
                    <a:pt x="657" y="528"/>
                  </a:lnTo>
                  <a:lnTo>
                    <a:pt x="655" y="528"/>
                  </a:lnTo>
                  <a:lnTo>
                    <a:pt x="655" y="530"/>
                  </a:lnTo>
                  <a:lnTo>
                    <a:pt x="655" y="532"/>
                  </a:lnTo>
                  <a:lnTo>
                    <a:pt x="655" y="530"/>
                  </a:lnTo>
                  <a:lnTo>
                    <a:pt x="657" y="532"/>
                  </a:lnTo>
                  <a:lnTo>
                    <a:pt x="655" y="532"/>
                  </a:lnTo>
                  <a:lnTo>
                    <a:pt x="657" y="532"/>
                  </a:lnTo>
                  <a:lnTo>
                    <a:pt x="655" y="532"/>
                  </a:lnTo>
                  <a:lnTo>
                    <a:pt x="657" y="532"/>
                  </a:lnTo>
                  <a:lnTo>
                    <a:pt x="657" y="534"/>
                  </a:lnTo>
                  <a:lnTo>
                    <a:pt x="657" y="536"/>
                  </a:lnTo>
                  <a:lnTo>
                    <a:pt x="659" y="536"/>
                  </a:lnTo>
                  <a:lnTo>
                    <a:pt x="659" y="538"/>
                  </a:lnTo>
                  <a:lnTo>
                    <a:pt x="657" y="538"/>
                  </a:lnTo>
                  <a:lnTo>
                    <a:pt x="657" y="536"/>
                  </a:lnTo>
                  <a:lnTo>
                    <a:pt x="655" y="536"/>
                  </a:lnTo>
                  <a:lnTo>
                    <a:pt x="655" y="538"/>
                  </a:lnTo>
                  <a:lnTo>
                    <a:pt x="657" y="538"/>
                  </a:lnTo>
                  <a:lnTo>
                    <a:pt x="657" y="540"/>
                  </a:lnTo>
                  <a:lnTo>
                    <a:pt x="655" y="540"/>
                  </a:lnTo>
                  <a:lnTo>
                    <a:pt x="655" y="542"/>
                  </a:lnTo>
                  <a:lnTo>
                    <a:pt x="653" y="542"/>
                  </a:lnTo>
                  <a:lnTo>
                    <a:pt x="653" y="544"/>
                  </a:lnTo>
                  <a:lnTo>
                    <a:pt x="655" y="544"/>
                  </a:lnTo>
                  <a:lnTo>
                    <a:pt x="653" y="544"/>
                  </a:lnTo>
                  <a:lnTo>
                    <a:pt x="653" y="546"/>
                  </a:lnTo>
                  <a:lnTo>
                    <a:pt x="653" y="548"/>
                  </a:lnTo>
                  <a:lnTo>
                    <a:pt x="651" y="548"/>
                  </a:lnTo>
                  <a:lnTo>
                    <a:pt x="651" y="546"/>
                  </a:lnTo>
                  <a:lnTo>
                    <a:pt x="653" y="546"/>
                  </a:lnTo>
                  <a:lnTo>
                    <a:pt x="651" y="546"/>
                  </a:lnTo>
                  <a:lnTo>
                    <a:pt x="651" y="548"/>
                  </a:lnTo>
                  <a:lnTo>
                    <a:pt x="651" y="546"/>
                  </a:lnTo>
                  <a:lnTo>
                    <a:pt x="651" y="548"/>
                  </a:lnTo>
                  <a:lnTo>
                    <a:pt x="651" y="546"/>
                  </a:lnTo>
                  <a:lnTo>
                    <a:pt x="651" y="548"/>
                  </a:lnTo>
                  <a:lnTo>
                    <a:pt x="651" y="546"/>
                  </a:lnTo>
                  <a:lnTo>
                    <a:pt x="649" y="546"/>
                  </a:lnTo>
                  <a:lnTo>
                    <a:pt x="651" y="546"/>
                  </a:lnTo>
                  <a:lnTo>
                    <a:pt x="651" y="544"/>
                  </a:lnTo>
                  <a:lnTo>
                    <a:pt x="651" y="546"/>
                  </a:lnTo>
                  <a:lnTo>
                    <a:pt x="651" y="544"/>
                  </a:lnTo>
                  <a:lnTo>
                    <a:pt x="651" y="542"/>
                  </a:lnTo>
                  <a:lnTo>
                    <a:pt x="651" y="540"/>
                  </a:lnTo>
                  <a:lnTo>
                    <a:pt x="651" y="542"/>
                  </a:lnTo>
                  <a:lnTo>
                    <a:pt x="649" y="542"/>
                  </a:lnTo>
                  <a:lnTo>
                    <a:pt x="651" y="542"/>
                  </a:lnTo>
                  <a:lnTo>
                    <a:pt x="651" y="544"/>
                  </a:lnTo>
                  <a:lnTo>
                    <a:pt x="649" y="544"/>
                  </a:lnTo>
                  <a:lnTo>
                    <a:pt x="649" y="546"/>
                  </a:lnTo>
                  <a:lnTo>
                    <a:pt x="649" y="544"/>
                  </a:lnTo>
                  <a:lnTo>
                    <a:pt x="647" y="544"/>
                  </a:lnTo>
                  <a:lnTo>
                    <a:pt x="647" y="542"/>
                  </a:lnTo>
                  <a:lnTo>
                    <a:pt x="645" y="542"/>
                  </a:lnTo>
                  <a:lnTo>
                    <a:pt x="645" y="540"/>
                  </a:lnTo>
                  <a:lnTo>
                    <a:pt x="643" y="540"/>
                  </a:lnTo>
                  <a:lnTo>
                    <a:pt x="643" y="542"/>
                  </a:lnTo>
                  <a:lnTo>
                    <a:pt x="645" y="542"/>
                  </a:lnTo>
                  <a:lnTo>
                    <a:pt x="645" y="544"/>
                  </a:lnTo>
                  <a:lnTo>
                    <a:pt x="647" y="544"/>
                  </a:lnTo>
                  <a:lnTo>
                    <a:pt x="647" y="546"/>
                  </a:lnTo>
                  <a:lnTo>
                    <a:pt x="649" y="546"/>
                  </a:lnTo>
                  <a:lnTo>
                    <a:pt x="647" y="546"/>
                  </a:lnTo>
                  <a:lnTo>
                    <a:pt x="649" y="546"/>
                  </a:lnTo>
                  <a:lnTo>
                    <a:pt x="649" y="548"/>
                  </a:lnTo>
                  <a:lnTo>
                    <a:pt x="647" y="548"/>
                  </a:lnTo>
                  <a:lnTo>
                    <a:pt x="649" y="548"/>
                  </a:lnTo>
                  <a:lnTo>
                    <a:pt x="649" y="549"/>
                  </a:lnTo>
                  <a:lnTo>
                    <a:pt x="649" y="548"/>
                  </a:lnTo>
                  <a:lnTo>
                    <a:pt x="649" y="549"/>
                  </a:lnTo>
                  <a:lnTo>
                    <a:pt x="651" y="549"/>
                  </a:lnTo>
                  <a:lnTo>
                    <a:pt x="649" y="549"/>
                  </a:lnTo>
                  <a:lnTo>
                    <a:pt x="649" y="551"/>
                  </a:lnTo>
                  <a:lnTo>
                    <a:pt x="651" y="551"/>
                  </a:lnTo>
                  <a:lnTo>
                    <a:pt x="651" y="549"/>
                  </a:lnTo>
                  <a:lnTo>
                    <a:pt x="651" y="551"/>
                  </a:lnTo>
                  <a:lnTo>
                    <a:pt x="651" y="553"/>
                  </a:lnTo>
                  <a:lnTo>
                    <a:pt x="649" y="553"/>
                  </a:lnTo>
                  <a:lnTo>
                    <a:pt x="649" y="551"/>
                  </a:lnTo>
                  <a:lnTo>
                    <a:pt x="649" y="553"/>
                  </a:lnTo>
                  <a:lnTo>
                    <a:pt x="649" y="551"/>
                  </a:lnTo>
                  <a:lnTo>
                    <a:pt x="649" y="553"/>
                  </a:lnTo>
                  <a:lnTo>
                    <a:pt x="649" y="555"/>
                  </a:lnTo>
                  <a:lnTo>
                    <a:pt x="649" y="553"/>
                  </a:lnTo>
                  <a:lnTo>
                    <a:pt x="649" y="555"/>
                  </a:lnTo>
                  <a:lnTo>
                    <a:pt x="647" y="555"/>
                  </a:lnTo>
                  <a:lnTo>
                    <a:pt x="645" y="555"/>
                  </a:lnTo>
                  <a:lnTo>
                    <a:pt x="645" y="553"/>
                  </a:lnTo>
                  <a:lnTo>
                    <a:pt x="645" y="551"/>
                  </a:lnTo>
                  <a:lnTo>
                    <a:pt x="643" y="551"/>
                  </a:lnTo>
                  <a:lnTo>
                    <a:pt x="643" y="549"/>
                  </a:lnTo>
                  <a:lnTo>
                    <a:pt x="642" y="549"/>
                  </a:lnTo>
                  <a:lnTo>
                    <a:pt x="642" y="548"/>
                  </a:lnTo>
                  <a:lnTo>
                    <a:pt x="640" y="548"/>
                  </a:lnTo>
                  <a:lnTo>
                    <a:pt x="642" y="548"/>
                  </a:lnTo>
                  <a:lnTo>
                    <a:pt x="642" y="549"/>
                  </a:lnTo>
                  <a:lnTo>
                    <a:pt x="642" y="551"/>
                  </a:lnTo>
                  <a:lnTo>
                    <a:pt x="643" y="551"/>
                  </a:lnTo>
                  <a:lnTo>
                    <a:pt x="643" y="553"/>
                  </a:lnTo>
                  <a:lnTo>
                    <a:pt x="645" y="553"/>
                  </a:lnTo>
                  <a:lnTo>
                    <a:pt x="643" y="553"/>
                  </a:lnTo>
                  <a:lnTo>
                    <a:pt x="645" y="553"/>
                  </a:lnTo>
                  <a:lnTo>
                    <a:pt x="645" y="555"/>
                  </a:lnTo>
                  <a:lnTo>
                    <a:pt x="645" y="557"/>
                  </a:lnTo>
                  <a:lnTo>
                    <a:pt x="643" y="557"/>
                  </a:lnTo>
                  <a:lnTo>
                    <a:pt x="645" y="557"/>
                  </a:lnTo>
                  <a:lnTo>
                    <a:pt x="645" y="559"/>
                  </a:lnTo>
                  <a:lnTo>
                    <a:pt x="643" y="559"/>
                  </a:lnTo>
                  <a:lnTo>
                    <a:pt x="643" y="561"/>
                  </a:lnTo>
                  <a:lnTo>
                    <a:pt x="642" y="561"/>
                  </a:lnTo>
                  <a:lnTo>
                    <a:pt x="640" y="561"/>
                  </a:lnTo>
                  <a:lnTo>
                    <a:pt x="640" y="559"/>
                  </a:lnTo>
                  <a:lnTo>
                    <a:pt x="638" y="559"/>
                  </a:lnTo>
                  <a:lnTo>
                    <a:pt x="638" y="557"/>
                  </a:lnTo>
                  <a:lnTo>
                    <a:pt x="636" y="557"/>
                  </a:lnTo>
                  <a:lnTo>
                    <a:pt x="636" y="555"/>
                  </a:lnTo>
                  <a:lnTo>
                    <a:pt x="636" y="557"/>
                  </a:lnTo>
                  <a:lnTo>
                    <a:pt x="634" y="557"/>
                  </a:lnTo>
                  <a:lnTo>
                    <a:pt x="636" y="557"/>
                  </a:lnTo>
                  <a:lnTo>
                    <a:pt x="638" y="557"/>
                  </a:lnTo>
                  <a:lnTo>
                    <a:pt x="638" y="559"/>
                  </a:lnTo>
                  <a:lnTo>
                    <a:pt x="638" y="561"/>
                  </a:lnTo>
                  <a:lnTo>
                    <a:pt x="640" y="561"/>
                  </a:lnTo>
                  <a:lnTo>
                    <a:pt x="638" y="561"/>
                  </a:lnTo>
                  <a:lnTo>
                    <a:pt x="640" y="561"/>
                  </a:lnTo>
                  <a:lnTo>
                    <a:pt x="640" y="563"/>
                  </a:lnTo>
                  <a:lnTo>
                    <a:pt x="638" y="563"/>
                  </a:lnTo>
                  <a:lnTo>
                    <a:pt x="636" y="563"/>
                  </a:lnTo>
                  <a:lnTo>
                    <a:pt x="636" y="561"/>
                  </a:lnTo>
                  <a:lnTo>
                    <a:pt x="634" y="561"/>
                  </a:lnTo>
                  <a:lnTo>
                    <a:pt x="634" y="563"/>
                  </a:lnTo>
                  <a:lnTo>
                    <a:pt x="636" y="563"/>
                  </a:lnTo>
                  <a:lnTo>
                    <a:pt x="636" y="565"/>
                  </a:lnTo>
                  <a:lnTo>
                    <a:pt x="634" y="565"/>
                  </a:lnTo>
                  <a:lnTo>
                    <a:pt x="634" y="563"/>
                  </a:lnTo>
                  <a:lnTo>
                    <a:pt x="634" y="565"/>
                  </a:lnTo>
                  <a:lnTo>
                    <a:pt x="632" y="565"/>
                  </a:lnTo>
                  <a:lnTo>
                    <a:pt x="632" y="563"/>
                  </a:lnTo>
                  <a:lnTo>
                    <a:pt x="632" y="565"/>
                  </a:lnTo>
                  <a:lnTo>
                    <a:pt x="634" y="565"/>
                  </a:lnTo>
                  <a:lnTo>
                    <a:pt x="636" y="565"/>
                  </a:lnTo>
                  <a:lnTo>
                    <a:pt x="636" y="567"/>
                  </a:lnTo>
                  <a:lnTo>
                    <a:pt x="634" y="567"/>
                  </a:lnTo>
                  <a:lnTo>
                    <a:pt x="636" y="567"/>
                  </a:lnTo>
                  <a:lnTo>
                    <a:pt x="634" y="567"/>
                  </a:lnTo>
                  <a:lnTo>
                    <a:pt x="636" y="567"/>
                  </a:lnTo>
                  <a:lnTo>
                    <a:pt x="634" y="567"/>
                  </a:lnTo>
                  <a:lnTo>
                    <a:pt x="632" y="567"/>
                  </a:lnTo>
                  <a:lnTo>
                    <a:pt x="630" y="567"/>
                  </a:lnTo>
                  <a:lnTo>
                    <a:pt x="630" y="565"/>
                  </a:lnTo>
                  <a:lnTo>
                    <a:pt x="628" y="565"/>
                  </a:lnTo>
                  <a:lnTo>
                    <a:pt x="630" y="565"/>
                  </a:lnTo>
                  <a:lnTo>
                    <a:pt x="630" y="567"/>
                  </a:lnTo>
                  <a:lnTo>
                    <a:pt x="632" y="567"/>
                  </a:lnTo>
                  <a:lnTo>
                    <a:pt x="632" y="569"/>
                  </a:lnTo>
                  <a:lnTo>
                    <a:pt x="634" y="569"/>
                  </a:lnTo>
                  <a:lnTo>
                    <a:pt x="632" y="569"/>
                  </a:lnTo>
                  <a:lnTo>
                    <a:pt x="634" y="569"/>
                  </a:lnTo>
                  <a:lnTo>
                    <a:pt x="634" y="571"/>
                  </a:lnTo>
                  <a:lnTo>
                    <a:pt x="632" y="571"/>
                  </a:lnTo>
                  <a:lnTo>
                    <a:pt x="632" y="572"/>
                  </a:lnTo>
                  <a:lnTo>
                    <a:pt x="630" y="572"/>
                  </a:lnTo>
                  <a:lnTo>
                    <a:pt x="630" y="571"/>
                  </a:lnTo>
                  <a:lnTo>
                    <a:pt x="632" y="571"/>
                  </a:lnTo>
                  <a:lnTo>
                    <a:pt x="630" y="571"/>
                  </a:lnTo>
                  <a:lnTo>
                    <a:pt x="630" y="569"/>
                  </a:lnTo>
                  <a:lnTo>
                    <a:pt x="630" y="571"/>
                  </a:lnTo>
                  <a:lnTo>
                    <a:pt x="630" y="572"/>
                  </a:lnTo>
                  <a:lnTo>
                    <a:pt x="630" y="574"/>
                  </a:lnTo>
                  <a:lnTo>
                    <a:pt x="630" y="572"/>
                  </a:lnTo>
                  <a:lnTo>
                    <a:pt x="628" y="572"/>
                  </a:lnTo>
                  <a:lnTo>
                    <a:pt x="628" y="571"/>
                  </a:lnTo>
                  <a:lnTo>
                    <a:pt x="628" y="569"/>
                  </a:lnTo>
                  <a:lnTo>
                    <a:pt x="626" y="569"/>
                  </a:lnTo>
                  <a:lnTo>
                    <a:pt x="628" y="569"/>
                  </a:lnTo>
                  <a:lnTo>
                    <a:pt x="626" y="569"/>
                  </a:lnTo>
                  <a:lnTo>
                    <a:pt x="626" y="571"/>
                  </a:lnTo>
                  <a:lnTo>
                    <a:pt x="628" y="571"/>
                  </a:lnTo>
                  <a:lnTo>
                    <a:pt x="628" y="572"/>
                  </a:lnTo>
                  <a:lnTo>
                    <a:pt x="630" y="572"/>
                  </a:lnTo>
                  <a:lnTo>
                    <a:pt x="630" y="574"/>
                  </a:lnTo>
                  <a:lnTo>
                    <a:pt x="628" y="574"/>
                  </a:lnTo>
                  <a:lnTo>
                    <a:pt x="628" y="572"/>
                  </a:lnTo>
                  <a:lnTo>
                    <a:pt x="626" y="572"/>
                  </a:lnTo>
                  <a:lnTo>
                    <a:pt x="626" y="574"/>
                  </a:lnTo>
                  <a:lnTo>
                    <a:pt x="626" y="572"/>
                  </a:lnTo>
                  <a:lnTo>
                    <a:pt x="626" y="574"/>
                  </a:lnTo>
                  <a:lnTo>
                    <a:pt x="626" y="572"/>
                  </a:lnTo>
                  <a:lnTo>
                    <a:pt x="624" y="572"/>
                  </a:lnTo>
                  <a:lnTo>
                    <a:pt x="624" y="574"/>
                  </a:lnTo>
                  <a:lnTo>
                    <a:pt x="622" y="574"/>
                  </a:lnTo>
                  <a:lnTo>
                    <a:pt x="620" y="574"/>
                  </a:lnTo>
                  <a:lnTo>
                    <a:pt x="620" y="576"/>
                  </a:lnTo>
                  <a:lnTo>
                    <a:pt x="619" y="576"/>
                  </a:lnTo>
                  <a:lnTo>
                    <a:pt x="619" y="578"/>
                  </a:lnTo>
                  <a:lnTo>
                    <a:pt x="617" y="576"/>
                  </a:lnTo>
                  <a:lnTo>
                    <a:pt x="617" y="574"/>
                  </a:lnTo>
                  <a:lnTo>
                    <a:pt x="615" y="574"/>
                  </a:lnTo>
                  <a:lnTo>
                    <a:pt x="615" y="572"/>
                  </a:lnTo>
                  <a:lnTo>
                    <a:pt x="613" y="572"/>
                  </a:lnTo>
                  <a:lnTo>
                    <a:pt x="613" y="574"/>
                  </a:lnTo>
                  <a:lnTo>
                    <a:pt x="615" y="574"/>
                  </a:lnTo>
                  <a:lnTo>
                    <a:pt x="615" y="576"/>
                  </a:lnTo>
                  <a:lnTo>
                    <a:pt x="615" y="578"/>
                  </a:lnTo>
                  <a:lnTo>
                    <a:pt x="613" y="578"/>
                  </a:lnTo>
                  <a:lnTo>
                    <a:pt x="615" y="578"/>
                  </a:lnTo>
                  <a:lnTo>
                    <a:pt x="613" y="578"/>
                  </a:lnTo>
                  <a:lnTo>
                    <a:pt x="613" y="580"/>
                  </a:lnTo>
                  <a:lnTo>
                    <a:pt x="611" y="580"/>
                  </a:lnTo>
                  <a:lnTo>
                    <a:pt x="613" y="580"/>
                  </a:lnTo>
                  <a:lnTo>
                    <a:pt x="611" y="580"/>
                  </a:lnTo>
                  <a:lnTo>
                    <a:pt x="613" y="580"/>
                  </a:lnTo>
                  <a:lnTo>
                    <a:pt x="611" y="580"/>
                  </a:lnTo>
                  <a:lnTo>
                    <a:pt x="611" y="582"/>
                  </a:lnTo>
                  <a:lnTo>
                    <a:pt x="611" y="580"/>
                  </a:lnTo>
                  <a:lnTo>
                    <a:pt x="611" y="582"/>
                  </a:lnTo>
                  <a:lnTo>
                    <a:pt x="611" y="580"/>
                  </a:lnTo>
                  <a:lnTo>
                    <a:pt x="609" y="580"/>
                  </a:lnTo>
                  <a:lnTo>
                    <a:pt x="609" y="578"/>
                  </a:lnTo>
                  <a:lnTo>
                    <a:pt x="609" y="576"/>
                  </a:lnTo>
                  <a:lnTo>
                    <a:pt x="609" y="574"/>
                  </a:lnTo>
                  <a:lnTo>
                    <a:pt x="607" y="574"/>
                  </a:lnTo>
                  <a:lnTo>
                    <a:pt x="609" y="572"/>
                  </a:lnTo>
                  <a:lnTo>
                    <a:pt x="607" y="572"/>
                  </a:lnTo>
                  <a:lnTo>
                    <a:pt x="607" y="571"/>
                  </a:lnTo>
                  <a:lnTo>
                    <a:pt x="605" y="571"/>
                  </a:lnTo>
                  <a:lnTo>
                    <a:pt x="607" y="571"/>
                  </a:lnTo>
                  <a:lnTo>
                    <a:pt x="607" y="572"/>
                  </a:lnTo>
                  <a:lnTo>
                    <a:pt x="605" y="572"/>
                  </a:lnTo>
                  <a:lnTo>
                    <a:pt x="607" y="572"/>
                  </a:lnTo>
                  <a:lnTo>
                    <a:pt x="607" y="574"/>
                  </a:lnTo>
                  <a:lnTo>
                    <a:pt x="609" y="574"/>
                  </a:lnTo>
                  <a:lnTo>
                    <a:pt x="607" y="574"/>
                  </a:lnTo>
                  <a:lnTo>
                    <a:pt x="609" y="576"/>
                  </a:lnTo>
                  <a:lnTo>
                    <a:pt x="609" y="578"/>
                  </a:lnTo>
                  <a:lnTo>
                    <a:pt x="607" y="578"/>
                  </a:lnTo>
                  <a:lnTo>
                    <a:pt x="607" y="580"/>
                  </a:lnTo>
                  <a:lnTo>
                    <a:pt x="605" y="580"/>
                  </a:lnTo>
                  <a:lnTo>
                    <a:pt x="605" y="582"/>
                  </a:lnTo>
                  <a:lnTo>
                    <a:pt x="605" y="580"/>
                  </a:lnTo>
                  <a:lnTo>
                    <a:pt x="605" y="582"/>
                  </a:lnTo>
                  <a:lnTo>
                    <a:pt x="603" y="582"/>
                  </a:lnTo>
                  <a:lnTo>
                    <a:pt x="601" y="582"/>
                  </a:lnTo>
                  <a:lnTo>
                    <a:pt x="603" y="582"/>
                  </a:lnTo>
                  <a:lnTo>
                    <a:pt x="603" y="584"/>
                  </a:lnTo>
                  <a:lnTo>
                    <a:pt x="603" y="582"/>
                  </a:lnTo>
                  <a:lnTo>
                    <a:pt x="601" y="582"/>
                  </a:lnTo>
                  <a:lnTo>
                    <a:pt x="601" y="584"/>
                  </a:lnTo>
                  <a:lnTo>
                    <a:pt x="601" y="582"/>
                  </a:lnTo>
                  <a:lnTo>
                    <a:pt x="601" y="584"/>
                  </a:lnTo>
                  <a:lnTo>
                    <a:pt x="601" y="582"/>
                  </a:lnTo>
                  <a:lnTo>
                    <a:pt x="601" y="584"/>
                  </a:lnTo>
                  <a:lnTo>
                    <a:pt x="599" y="584"/>
                  </a:lnTo>
                  <a:lnTo>
                    <a:pt x="599" y="586"/>
                  </a:lnTo>
                  <a:lnTo>
                    <a:pt x="599" y="584"/>
                  </a:lnTo>
                  <a:lnTo>
                    <a:pt x="599" y="586"/>
                  </a:lnTo>
                  <a:lnTo>
                    <a:pt x="597" y="586"/>
                  </a:lnTo>
                  <a:lnTo>
                    <a:pt x="599" y="586"/>
                  </a:lnTo>
                  <a:lnTo>
                    <a:pt x="599" y="588"/>
                  </a:lnTo>
                  <a:lnTo>
                    <a:pt x="597" y="588"/>
                  </a:lnTo>
                  <a:lnTo>
                    <a:pt x="599" y="588"/>
                  </a:lnTo>
                  <a:lnTo>
                    <a:pt x="597" y="588"/>
                  </a:lnTo>
                  <a:lnTo>
                    <a:pt x="597" y="586"/>
                  </a:lnTo>
                  <a:lnTo>
                    <a:pt x="595" y="586"/>
                  </a:lnTo>
                  <a:lnTo>
                    <a:pt x="594" y="588"/>
                  </a:lnTo>
                  <a:lnTo>
                    <a:pt x="594" y="586"/>
                  </a:lnTo>
                  <a:lnTo>
                    <a:pt x="595" y="586"/>
                  </a:lnTo>
                  <a:lnTo>
                    <a:pt x="594" y="586"/>
                  </a:lnTo>
                  <a:lnTo>
                    <a:pt x="594" y="588"/>
                  </a:lnTo>
                  <a:lnTo>
                    <a:pt x="594" y="590"/>
                  </a:lnTo>
                  <a:lnTo>
                    <a:pt x="594" y="588"/>
                  </a:lnTo>
                  <a:lnTo>
                    <a:pt x="592" y="588"/>
                  </a:lnTo>
                  <a:lnTo>
                    <a:pt x="594" y="588"/>
                  </a:lnTo>
                  <a:lnTo>
                    <a:pt x="592" y="588"/>
                  </a:lnTo>
                  <a:lnTo>
                    <a:pt x="592" y="590"/>
                  </a:lnTo>
                  <a:lnTo>
                    <a:pt x="592" y="588"/>
                  </a:lnTo>
                  <a:lnTo>
                    <a:pt x="592" y="590"/>
                  </a:lnTo>
                  <a:lnTo>
                    <a:pt x="590" y="590"/>
                  </a:lnTo>
                  <a:lnTo>
                    <a:pt x="592" y="590"/>
                  </a:lnTo>
                  <a:lnTo>
                    <a:pt x="590" y="588"/>
                  </a:lnTo>
                  <a:lnTo>
                    <a:pt x="590" y="590"/>
                  </a:lnTo>
                  <a:lnTo>
                    <a:pt x="590" y="588"/>
                  </a:lnTo>
                  <a:lnTo>
                    <a:pt x="590" y="590"/>
                  </a:lnTo>
                  <a:lnTo>
                    <a:pt x="588" y="590"/>
                  </a:lnTo>
                  <a:lnTo>
                    <a:pt x="588" y="588"/>
                  </a:lnTo>
                  <a:lnTo>
                    <a:pt x="588" y="586"/>
                  </a:lnTo>
                  <a:lnTo>
                    <a:pt x="586" y="586"/>
                  </a:lnTo>
                  <a:lnTo>
                    <a:pt x="588" y="586"/>
                  </a:lnTo>
                  <a:lnTo>
                    <a:pt x="588" y="588"/>
                  </a:lnTo>
                  <a:lnTo>
                    <a:pt x="586" y="588"/>
                  </a:lnTo>
                  <a:lnTo>
                    <a:pt x="586" y="586"/>
                  </a:lnTo>
                  <a:lnTo>
                    <a:pt x="584" y="586"/>
                  </a:lnTo>
                  <a:lnTo>
                    <a:pt x="586" y="586"/>
                  </a:lnTo>
                  <a:lnTo>
                    <a:pt x="586" y="588"/>
                  </a:lnTo>
                  <a:lnTo>
                    <a:pt x="586" y="590"/>
                  </a:lnTo>
                  <a:lnTo>
                    <a:pt x="586" y="592"/>
                  </a:lnTo>
                  <a:lnTo>
                    <a:pt x="584" y="592"/>
                  </a:lnTo>
                  <a:lnTo>
                    <a:pt x="584" y="590"/>
                  </a:lnTo>
                  <a:lnTo>
                    <a:pt x="584" y="592"/>
                  </a:lnTo>
                  <a:lnTo>
                    <a:pt x="582" y="592"/>
                  </a:lnTo>
                  <a:lnTo>
                    <a:pt x="582" y="590"/>
                  </a:lnTo>
                  <a:lnTo>
                    <a:pt x="582" y="592"/>
                  </a:lnTo>
                  <a:lnTo>
                    <a:pt x="582" y="590"/>
                  </a:lnTo>
                  <a:lnTo>
                    <a:pt x="582" y="592"/>
                  </a:lnTo>
                  <a:lnTo>
                    <a:pt x="582" y="590"/>
                  </a:lnTo>
                  <a:lnTo>
                    <a:pt x="580" y="590"/>
                  </a:lnTo>
                  <a:lnTo>
                    <a:pt x="582" y="590"/>
                  </a:lnTo>
                  <a:lnTo>
                    <a:pt x="580" y="590"/>
                  </a:lnTo>
                  <a:lnTo>
                    <a:pt x="580" y="592"/>
                  </a:lnTo>
                  <a:lnTo>
                    <a:pt x="580" y="594"/>
                  </a:lnTo>
                  <a:lnTo>
                    <a:pt x="580" y="592"/>
                  </a:lnTo>
                  <a:lnTo>
                    <a:pt x="578" y="592"/>
                  </a:lnTo>
                  <a:lnTo>
                    <a:pt x="580" y="592"/>
                  </a:lnTo>
                  <a:lnTo>
                    <a:pt x="578" y="592"/>
                  </a:lnTo>
                  <a:lnTo>
                    <a:pt x="578" y="594"/>
                  </a:lnTo>
                  <a:lnTo>
                    <a:pt x="576" y="594"/>
                  </a:lnTo>
                  <a:lnTo>
                    <a:pt x="576" y="596"/>
                  </a:lnTo>
                  <a:lnTo>
                    <a:pt x="574" y="596"/>
                  </a:lnTo>
                  <a:lnTo>
                    <a:pt x="574" y="597"/>
                  </a:lnTo>
                  <a:lnTo>
                    <a:pt x="574" y="596"/>
                  </a:lnTo>
                  <a:lnTo>
                    <a:pt x="574" y="597"/>
                  </a:lnTo>
                  <a:lnTo>
                    <a:pt x="574" y="596"/>
                  </a:lnTo>
                  <a:lnTo>
                    <a:pt x="574" y="597"/>
                  </a:lnTo>
                  <a:lnTo>
                    <a:pt x="572" y="597"/>
                  </a:lnTo>
                  <a:lnTo>
                    <a:pt x="572" y="596"/>
                  </a:lnTo>
                  <a:lnTo>
                    <a:pt x="572" y="597"/>
                  </a:lnTo>
                  <a:lnTo>
                    <a:pt x="571" y="599"/>
                  </a:lnTo>
                  <a:lnTo>
                    <a:pt x="571" y="597"/>
                  </a:lnTo>
                  <a:lnTo>
                    <a:pt x="571" y="596"/>
                  </a:lnTo>
                  <a:lnTo>
                    <a:pt x="571" y="594"/>
                  </a:lnTo>
                  <a:lnTo>
                    <a:pt x="571" y="592"/>
                  </a:lnTo>
                  <a:lnTo>
                    <a:pt x="571" y="594"/>
                  </a:lnTo>
                  <a:lnTo>
                    <a:pt x="569" y="594"/>
                  </a:lnTo>
                  <a:lnTo>
                    <a:pt x="569" y="596"/>
                  </a:lnTo>
                  <a:lnTo>
                    <a:pt x="569" y="597"/>
                  </a:lnTo>
                  <a:lnTo>
                    <a:pt x="569" y="599"/>
                  </a:lnTo>
                  <a:lnTo>
                    <a:pt x="569" y="601"/>
                  </a:lnTo>
                  <a:lnTo>
                    <a:pt x="569" y="599"/>
                  </a:lnTo>
                  <a:lnTo>
                    <a:pt x="569" y="601"/>
                  </a:lnTo>
                  <a:lnTo>
                    <a:pt x="569" y="603"/>
                  </a:lnTo>
                  <a:lnTo>
                    <a:pt x="569" y="601"/>
                  </a:lnTo>
                  <a:lnTo>
                    <a:pt x="569" y="603"/>
                  </a:lnTo>
                  <a:lnTo>
                    <a:pt x="569" y="601"/>
                  </a:lnTo>
                  <a:lnTo>
                    <a:pt x="569" y="603"/>
                  </a:lnTo>
                  <a:lnTo>
                    <a:pt x="569" y="601"/>
                  </a:lnTo>
                  <a:lnTo>
                    <a:pt x="567" y="601"/>
                  </a:lnTo>
                  <a:lnTo>
                    <a:pt x="567" y="603"/>
                  </a:lnTo>
                  <a:lnTo>
                    <a:pt x="567" y="601"/>
                  </a:lnTo>
                  <a:lnTo>
                    <a:pt x="567" y="603"/>
                  </a:lnTo>
                  <a:lnTo>
                    <a:pt x="565" y="603"/>
                  </a:lnTo>
                  <a:lnTo>
                    <a:pt x="565" y="601"/>
                  </a:lnTo>
                  <a:lnTo>
                    <a:pt x="565" y="603"/>
                  </a:lnTo>
                  <a:lnTo>
                    <a:pt x="565" y="601"/>
                  </a:lnTo>
                  <a:lnTo>
                    <a:pt x="567" y="601"/>
                  </a:lnTo>
                  <a:lnTo>
                    <a:pt x="565" y="601"/>
                  </a:lnTo>
                  <a:lnTo>
                    <a:pt x="565" y="603"/>
                  </a:lnTo>
                  <a:lnTo>
                    <a:pt x="563" y="603"/>
                  </a:lnTo>
                  <a:lnTo>
                    <a:pt x="565" y="603"/>
                  </a:lnTo>
                  <a:lnTo>
                    <a:pt x="563" y="603"/>
                  </a:lnTo>
                  <a:lnTo>
                    <a:pt x="563" y="601"/>
                  </a:lnTo>
                  <a:lnTo>
                    <a:pt x="563" y="599"/>
                  </a:lnTo>
                  <a:lnTo>
                    <a:pt x="561" y="599"/>
                  </a:lnTo>
                  <a:lnTo>
                    <a:pt x="561" y="597"/>
                  </a:lnTo>
                  <a:lnTo>
                    <a:pt x="561" y="599"/>
                  </a:lnTo>
                  <a:lnTo>
                    <a:pt x="561" y="601"/>
                  </a:lnTo>
                  <a:lnTo>
                    <a:pt x="563" y="601"/>
                  </a:lnTo>
                  <a:lnTo>
                    <a:pt x="563" y="603"/>
                  </a:lnTo>
                  <a:lnTo>
                    <a:pt x="565" y="603"/>
                  </a:lnTo>
                  <a:lnTo>
                    <a:pt x="565" y="605"/>
                  </a:lnTo>
                  <a:lnTo>
                    <a:pt x="563" y="605"/>
                  </a:lnTo>
                  <a:lnTo>
                    <a:pt x="565" y="605"/>
                  </a:lnTo>
                  <a:lnTo>
                    <a:pt x="563" y="605"/>
                  </a:lnTo>
                  <a:lnTo>
                    <a:pt x="565" y="605"/>
                  </a:lnTo>
                  <a:lnTo>
                    <a:pt x="563" y="605"/>
                  </a:lnTo>
                  <a:lnTo>
                    <a:pt x="563" y="607"/>
                  </a:lnTo>
                  <a:lnTo>
                    <a:pt x="561" y="607"/>
                  </a:lnTo>
                  <a:lnTo>
                    <a:pt x="563" y="607"/>
                  </a:lnTo>
                  <a:lnTo>
                    <a:pt x="561" y="607"/>
                  </a:lnTo>
                  <a:lnTo>
                    <a:pt x="563" y="607"/>
                  </a:lnTo>
                  <a:lnTo>
                    <a:pt x="561" y="607"/>
                  </a:lnTo>
                  <a:lnTo>
                    <a:pt x="561" y="605"/>
                  </a:lnTo>
                  <a:lnTo>
                    <a:pt x="561" y="603"/>
                  </a:lnTo>
                  <a:lnTo>
                    <a:pt x="561" y="605"/>
                  </a:lnTo>
                  <a:lnTo>
                    <a:pt x="561" y="607"/>
                  </a:lnTo>
                  <a:lnTo>
                    <a:pt x="561" y="609"/>
                  </a:lnTo>
                  <a:lnTo>
                    <a:pt x="561" y="607"/>
                  </a:lnTo>
                  <a:lnTo>
                    <a:pt x="561" y="609"/>
                  </a:lnTo>
                  <a:lnTo>
                    <a:pt x="561" y="607"/>
                  </a:lnTo>
                  <a:lnTo>
                    <a:pt x="561" y="609"/>
                  </a:lnTo>
                  <a:lnTo>
                    <a:pt x="559" y="609"/>
                  </a:lnTo>
                  <a:lnTo>
                    <a:pt x="559" y="607"/>
                  </a:lnTo>
                  <a:lnTo>
                    <a:pt x="559" y="609"/>
                  </a:lnTo>
                  <a:lnTo>
                    <a:pt x="561" y="609"/>
                  </a:lnTo>
                  <a:lnTo>
                    <a:pt x="561" y="611"/>
                  </a:lnTo>
                  <a:lnTo>
                    <a:pt x="559" y="611"/>
                  </a:lnTo>
                  <a:lnTo>
                    <a:pt x="559" y="609"/>
                  </a:lnTo>
                  <a:lnTo>
                    <a:pt x="561" y="609"/>
                  </a:lnTo>
                  <a:lnTo>
                    <a:pt x="559" y="609"/>
                  </a:lnTo>
                  <a:lnTo>
                    <a:pt x="559" y="611"/>
                  </a:lnTo>
                  <a:lnTo>
                    <a:pt x="557" y="611"/>
                  </a:lnTo>
                  <a:lnTo>
                    <a:pt x="557" y="613"/>
                  </a:lnTo>
                  <a:lnTo>
                    <a:pt x="555" y="613"/>
                  </a:lnTo>
                  <a:lnTo>
                    <a:pt x="553" y="613"/>
                  </a:lnTo>
                  <a:lnTo>
                    <a:pt x="553" y="615"/>
                  </a:lnTo>
                  <a:lnTo>
                    <a:pt x="553" y="613"/>
                  </a:lnTo>
                  <a:lnTo>
                    <a:pt x="553" y="615"/>
                  </a:lnTo>
                  <a:lnTo>
                    <a:pt x="551" y="615"/>
                  </a:lnTo>
                  <a:lnTo>
                    <a:pt x="551" y="617"/>
                  </a:lnTo>
                  <a:lnTo>
                    <a:pt x="551" y="615"/>
                  </a:lnTo>
                  <a:lnTo>
                    <a:pt x="551" y="613"/>
                  </a:lnTo>
                  <a:lnTo>
                    <a:pt x="549" y="613"/>
                  </a:lnTo>
                  <a:lnTo>
                    <a:pt x="551" y="613"/>
                  </a:lnTo>
                  <a:lnTo>
                    <a:pt x="551" y="615"/>
                  </a:lnTo>
                  <a:lnTo>
                    <a:pt x="551" y="617"/>
                  </a:lnTo>
                  <a:lnTo>
                    <a:pt x="549" y="617"/>
                  </a:lnTo>
                  <a:lnTo>
                    <a:pt x="551" y="617"/>
                  </a:lnTo>
                  <a:lnTo>
                    <a:pt x="549" y="617"/>
                  </a:lnTo>
                  <a:lnTo>
                    <a:pt x="549" y="619"/>
                  </a:lnTo>
                  <a:lnTo>
                    <a:pt x="547" y="619"/>
                  </a:lnTo>
                  <a:lnTo>
                    <a:pt x="549" y="619"/>
                  </a:lnTo>
                  <a:lnTo>
                    <a:pt x="547" y="619"/>
                  </a:lnTo>
                  <a:lnTo>
                    <a:pt x="549" y="619"/>
                  </a:lnTo>
                  <a:lnTo>
                    <a:pt x="547" y="619"/>
                  </a:lnTo>
                  <a:lnTo>
                    <a:pt x="549" y="619"/>
                  </a:lnTo>
                  <a:lnTo>
                    <a:pt x="547" y="619"/>
                  </a:lnTo>
                  <a:lnTo>
                    <a:pt x="549" y="619"/>
                  </a:lnTo>
                  <a:lnTo>
                    <a:pt x="547" y="619"/>
                  </a:lnTo>
                  <a:lnTo>
                    <a:pt x="547" y="620"/>
                  </a:lnTo>
                  <a:lnTo>
                    <a:pt x="546" y="620"/>
                  </a:lnTo>
                  <a:lnTo>
                    <a:pt x="546" y="619"/>
                  </a:lnTo>
                  <a:lnTo>
                    <a:pt x="547" y="619"/>
                  </a:lnTo>
                  <a:lnTo>
                    <a:pt x="546" y="619"/>
                  </a:lnTo>
                  <a:lnTo>
                    <a:pt x="546" y="620"/>
                  </a:lnTo>
                  <a:lnTo>
                    <a:pt x="546" y="619"/>
                  </a:lnTo>
                  <a:lnTo>
                    <a:pt x="546" y="620"/>
                  </a:lnTo>
                  <a:lnTo>
                    <a:pt x="546" y="619"/>
                  </a:lnTo>
                  <a:lnTo>
                    <a:pt x="546" y="620"/>
                  </a:lnTo>
                  <a:lnTo>
                    <a:pt x="546" y="619"/>
                  </a:lnTo>
                  <a:lnTo>
                    <a:pt x="546" y="620"/>
                  </a:lnTo>
                  <a:lnTo>
                    <a:pt x="544" y="620"/>
                  </a:lnTo>
                  <a:lnTo>
                    <a:pt x="546" y="620"/>
                  </a:lnTo>
                  <a:lnTo>
                    <a:pt x="544" y="620"/>
                  </a:lnTo>
                  <a:lnTo>
                    <a:pt x="546" y="620"/>
                  </a:lnTo>
                  <a:lnTo>
                    <a:pt x="544" y="622"/>
                  </a:lnTo>
                  <a:lnTo>
                    <a:pt x="544" y="620"/>
                  </a:lnTo>
                  <a:lnTo>
                    <a:pt x="544" y="622"/>
                  </a:lnTo>
                  <a:lnTo>
                    <a:pt x="544" y="620"/>
                  </a:lnTo>
                  <a:lnTo>
                    <a:pt x="544" y="622"/>
                  </a:lnTo>
                  <a:lnTo>
                    <a:pt x="544" y="620"/>
                  </a:lnTo>
                  <a:lnTo>
                    <a:pt x="542" y="620"/>
                  </a:lnTo>
                  <a:lnTo>
                    <a:pt x="544" y="620"/>
                  </a:lnTo>
                  <a:lnTo>
                    <a:pt x="542" y="620"/>
                  </a:lnTo>
                  <a:lnTo>
                    <a:pt x="544" y="620"/>
                  </a:lnTo>
                  <a:lnTo>
                    <a:pt x="542" y="620"/>
                  </a:lnTo>
                  <a:lnTo>
                    <a:pt x="542" y="622"/>
                  </a:lnTo>
                  <a:lnTo>
                    <a:pt x="542" y="620"/>
                  </a:lnTo>
                  <a:lnTo>
                    <a:pt x="542" y="622"/>
                  </a:lnTo>
                  <a:lnTo>
                    <a:pt x="540" y="622"/>
                  </a:lnTo>
                  <a:lnTo>
                    <a:pt x="540" y="620"/>
                  </a:lnTo>
                  <a:lnTo>
                    <a:pt x="538" y="620"/>
                  </a:lnTo>
                  <a:lnTo>
                    <a:pt x="538" y="622"/>
                  </a:lnTo>
                  <a:lnTo>
                    <a:pt x="536" y="622"/>
                  </a:lnTo>
                  <a:lnTo>
                    <a:pt x="536" y="620"/>
                  </a:lnTo>
                  <a:lnTo>
                    <a:pt x="534" y="619"/>
                  </a:lnTo>
                  <a:lnTo>
                    <a:pt x="534" y="617"/>
                  </a:lnTo>
                  <a:lnTo>
                    <a:pt x="534" y="615"/>
                  </a:lnTo>
                  <a:lnTo>
                    <a:pt x="532" y="615"/>
                  </a:lnTo>
                  <a:lnTo>
                    <a:pt x="530" y="615"/>
                  </a:lnTo>
                  <a:lnTo>
                    <a:pt x="532" y="615"/>
                  </a:lnTo>
                  <a:lnTo>
                    <a:pt x="530" y="615"/>
                  </a:lnTo>
                  <a:lnTo>
                    <a:pt x="530" y="613"/>
                  </a:lnTo>
                  <a:lnTo>
                    <a:pt x="530" y="611"/>
                  </a:lnTo>
                  <a:lnTo>
                    <a:pt x="528" y="611"/>
                  </a:lnTo>
                  <a:lnTo>
                    <a:pt x="526" y="611"/>
                  </a:lnTo>
                  <a:lnTo>
                    <a:pt x="528" y="611"/>
                  </a:lnTo>
                  <a:lnTo>
                    <a:pt x="526" y="611"/>
                  </a:lnTo>
                  <a:lnTo>
                    <a:pt x="526" y="609"/>
                  </a:lnTo>
                  <a:lnTo>
                    <a:pt x="524" y="609"/>
                  </a:lnTo>
                  <a:lnTo>
                    <a:pt x="524" y="607"/>
                  </a:lnTo>
                  <a:lnTo>
                    <a:pt x="524" y="605"/>
                  </a:lnTo>
                  <a:lnTo>
                    <a:pt x="526" y="605"/>
                  </a:lnTo>
                  <a:lnTo>
                    <a:pt x="526" y="603"/>
                  </a:lnTo>
                  <a:lnTo>
                    <a:pt x="526" y="601"/>
                  </a:lnTo>
                  <a:lnTo>
                    <a:pt x="526" y="599"/>
                  </a:lnTo>
                  <a:lnTo>
                    <a:pt x="526" y="597"/>
                  </a:lnTo>
                  <a:lnTo>
                    <a:pt x="528" y="597"/>
                  </a:lnTo>
                  <a:lnTo>
                    <a:pt x="528" y="596"/>
                  </a:lnTo>
                  <a:lnTo>
                    <a:pt x="528" y="594"/>
                  </a:lnTo>
                  <a:lnTo>
                    <a:pt x="530" y="594"/>
                  </a:lnTo>
                  <a:lnTo>
                    <a:pt x="530" y="592"/>
                  </a:lnTo>
                  <a:lnTo>
                    <a:pt x="530" y="590"/>
                  </a:lnTo>
                  <a:lnTo>
                    <a:pt x="532" y="588"/>
                  </a:lnTo>
                  <a:lnTo>
                    <a:pt x="532" y="586"/>
                  </a:lnTo>
                  <a:lnTo>
                    <a:pt x="534" y="586"/>
                  </a:lnTo>
                  <a:lnTo>
                    <a:pt x="534" y="584"/>
                  </a:lnTo>
                  <a:lnTo>
                    <a:pt x="532" y="584"/>
                  </a:lnTo>
                  <a:lnTo>
                    <a:pt x="534" y="584"/>
                  </a:lnTo>
                  <a:lnTo>
                    <a:pt x="534" y="582"/>
                  </a:lnTo>
                  <a:lnTo>
                    <a:pt x="534" y="580"/>
                  </a:lnTo>
                  <a:lnTo>
                    <a:pt x="534" y="578"/>
                  </a:lnTo>
                  <a:lnTo>
                    <a:pt x="536" y="578"/>
                  </a:lnTo>
                  <a:lnTo>
                    <a:pt x="534" y="578"/>
                  </a:lnTo>
                  <a:lnTo>
                    <a:pt x="534" y="576"/>
                  </a:lnTo>
                  <a:lnTo>
                    <a:pt x="536" y="576"/>
                  </a:lnTo>
                  <a:lnTo>
                    <a:pt x="534" y="576"/>
                  </a:lnTo>
                  <a:lnTo>
                    <a:pt x="536" y="576"/>
                  </a:lnTo>
                  <a:lnTo>
                    <a:pt x="536" y="574"/>
                  </a:lnTo>
                  <a:lnTo>
                    <a:pt x="536" y="572"/>
                  </a:lnTo>
                  <a:lnTo>
                    <a:pt x="536" y="571"/>
                  </a:lnTo>
                  <a:lnTo>
                    <a:pt x="538" y="571"/>
                  </a:lnTo>
                  <a:lnTo>
                    <a:pt x="538" y="569"/>
                  </a:lnTo>
                  <a:lnTo>
                    <a:pt x="536" y="569"/>
                  </a:lnTo>
                  <a:lnTo>
                    <a:pt x="536" y="567"/>
                  </a:lnTo>
                  <a:lnTo>
                    <a:pt x="538" y="567"/>
                  </a:lnTo>
                  <a:lnTo>
                    <a:pt x="538" y="565"/>
                  </a:lnTo>
                  <a:lnTo>
                    <a:pt x="538" y="563"/>
                  </a:lnTo>
                  <a:lnTo>
                    <a:pt x="538" y="565"/>
                  </a:lnTo>
                  <a:lnTo>
                    <a:pt x="538" y="563"/>
                  </a:lnTo>
                  <a:lnTo>
                    <a:pt x="540" y="563"/>
                  </a:lnTo>
                  <a:lnTo>
                    <a:pt x="538" y="563"/>
                  </a:lnTo>
                  <a:lnTo>
                    <a:pt x="540" y="563"/>
                  </a:lnTo>
                  <a:lnTo>
                    <a:pt x="538" y="563"/>
                  </a:lnTo>
                  <a:lnTo>
                    <a:pt x="540" y="563"/>
                  </a:lnTo>
                  <a:lnTo>
                    <a:pt x="538" y="563"/>
                  </a:lnTo>
                  <a:lnTo>
                    <a:pt x="540" y="563"/>
                  </a:lnTo>
                  <a:lnTo>
                    <a:pt x="540" y="561"/>
                  </a:lnTo>
                  <a:lnTo>
                    <a:pt x="542" y="561"/>
                  </a:lnTo>
                  <a:lnTo>
                    <a:pt x="542" y="559"/>
                  </a:lnTo>
                  <a:lnTo>
                    <a:pt x="542" y="557"/>
                  </a:lnTo>
                  <a:lnTo>
                    <a:pt x="542" y="555"/>
                  </a:lnTo>
                  <a:lnTo>
                    <a:pt x="540" y="555"/>
                  </a:lnTo>
                  <a:lnTo>
                    <a:pt x="538" y="555"/>
                  </a:lnTo>
                  <a:lnTo>
                    <a:pt x="538" y="557"/>
                  </a:lnTo>
                  <a:lnTo>
                    <a:pt x="540" y="557"/>
                  </a:lnTo>
                  <a:lnTo>
                    <a:pt x="540" y="555"/>
                  </a:lnTo>
                  <a:lnTo>
                    <a:pt x="540" y="557"/>
                  </a:lnTo>
                  <a:lnTo>
                    <a:pt x="538" y="557"/>
                  </a:lnTo>
                  <a:lnTo>
                    <a:pt x="538" y="555"/>
                  </a:lnTo>
                  <a:lnTo>
                    <a:pt x="538" y="557"/>
                  </a:lnTo>
                  <a:lnTo>
                    <a:pt x="538" y="555"/>
                  </a:lnTo>
                  <a:lnTo>
                    <a:pt x="536" y="555"/>
                  </a:lnTo>
                  <a:lnTo>
                    <a:pt x="536" y="557"/>
                  </a:lnTo>
                  <a:lnTo>
                    <a:pt x="536" y="555"/>
                  </a:lnTo>
                  <a:lnTo>
                    <a:pt x="536" y="557"/>
                  </a:lnTo>
                  <a:lnTo>
                    <a:pt x="538" y="557"/>
                  </a:lnTo>
                  <a:lnTo>
                    <a:pt x="536" y="557"/>
                  </a:lnTo>
                  <a:lnTo>
                    <a:pt x="538" y="557"/>
                  </a:lnTo>
                  <a:lnTo>
                    <a:pt x="536" y="557"/>
                  </a:lnTo>
                  <a:lnTo>
                    <a:pt x="536" y="555"/>
                  </a:lnTo>
                  <a:lnTo>
                    <a:pt x="534" y="555"/>
                  </a:lnTo>
                  <a:lnTo>
                    <a:pt x="534" y="557"/>
                  </a:lnTo>
                  <a:lnTo>
                    <a:pt x="532" y="557"/>
                  </a:lnTo>
                  <a:lnTo>
                    <a:pt x="530" y="557"/>
                  </a:lnTo>
                  <a:lnTo>
                    <a:pt x="530" y="559"/>
                  </a:lnTo>
                  <a:lnTo>
                    <a:pt x="528" y="559"/>
                  </a:lnTo>
                  <a:lnTo>
                    <a:pt x="528" y="561"/>
                  </a:lnTo>
                  <a:lnTo>
                    <a:pt x="526" y="561"/>
                  </a:lnTo>
                  <a:lnTo>
                    <a:pt x="526" y="563"/>
                  </a:lnTo>
                  <a:lnTo>
                    <a:pt x="524" y="563"/>
                  </a:lnTo>
                  <a:lnTo>
                    <a:pt x="524" y="565"/>
                  </a:lnTo>
                  <a:lnTo>
                    <a:pt x="522" y="565"/>
                  </a:lnTo>
                  <a:lnTo>
                    <a:pt x="521" y="565"/>
                  </a:lnTo>
                  <a:lnTo>
                    <a:pt x="521" y="567"/>
                  </a:lnTo>
                  <a:lnTo>
                    <a:pt x="521" y="565"/>
                  </a:lnTo>
                  <a:lnTo>
                    <a:pt x="521" y="567"/>
                  </a:lnTo>
                  <a:lnTo>
                    <a:pt x="519" y="567"/>
                  </a:lnTo>
                  <a:lnTo>
                    <a:pt x="517" y="569"/>
                  </a:lnTo>
                  <a:lnTo>
                    <a:pt x="517" y="571"/>
                  </a:lnTo>
                  <a:lnTo>
                    <a:pt x="515" y="571"/>
                  </a:lnTo>
                  <a:lnTo>
                    <a:pt x="515" y="572"/>
                  </a:lnTo>
                  <a:lnTo>
                    <a:pt x="513" y="572"/>
                  </a:lnTo>
                  <a:lnTo>
                    <a:pt x="513" y="574"/>
                  </a:lnTo>
                  <a:lnTo>
                    <a:pt x="511" y="574"/>
                  </a:lnTo>
                  <a:lnTo>
                    <a:pt x="511" y="572"/>
                  </a:lnTo>
                  <a:lnTo>
                    <a:pt x="511" y="571"/>
                  </a:lnTo>
                  <a:lnTo>
                    <a:pt x="511" y="569"/>
                  </a:lnTo>
                  <a:lnTo>
                    <a:pt x="511" y="567"/>
                  </a:lnTo>
                  <a:lnTo>
                    <a:pt x="511" y="565"/>
                  </a:lnTo>
                  <a:lnTo>
                    <a:pt x="513" y="565"/>
                  </a:lnTo>
                  <a:lnTo>
                    <a:pt x="513" y="563"/>
                  </a:lnTo>
                  <a:lnTo>
                    <a:pt x="513" y="561"/>
                  </a:lnTo>
                  <a:lnTo>
                    <a:pt x="515" y="561"/>
                  </a:lnTo>
                  <a:lnTo>
                    <a:pt x="515" y="559"/>
                  </a:lnTo>
                  <a:lnTo>
                    <a:pt x="517" y="559"/>
                  </a:lnTo>
                  <a:lnTo>
                    <a:pt x="517" y="557"/>
                  </a:lnTo>
                  <a:lnTo>
                    <a:pt x="517" y="555"/>
                  </a:lnTo>
                  <a:lnTo>
                    <a:pt x="517" y="553"/>
                  </a:lnTo>
                  <a:lnTo>
                    <a:pt x="519" y="553"/>
                  </a:lnTo>
                  <a:lnTo>
                    <a:pt x="519" y="551"/>
                  </a:lnTo>
                  <a:lnTo>
                    <a:pt x="519" y="549"/>
                  </a:lnTo>
                  <a:lnTo>
                    <a:pt x="519" y="548"/>
                  </a:lnTo>
                  <a:lnTo>
                    <a:pt x="521" y="548"/>
                  </a:lnTo>
                  <a:lnTo>
                    <a:pt x="521" y="546"/>
                  </a:lnTo>
                  <a:lnTo>
                    <a:pt x="521" y="548"/>
                  </a:lnTo>
                  <a:lnTo>
                    <a:pt x="521" y="549"/>
                  </a:lnTo>
                  <a:lnTo>
                    <a:pt x="519" y="549"/>
                  </a:lnTo>
                  <a:lnTo>
                    <a:pt x="519" y="551"/>
                  </a:lnTo>
                  <a:lnTo>
                    <a:pt x="519" y="553"/>
                  </a:lnTo>
                  <a:lnTo>
                    <a:pt x="519" y="555"/>
                  </a:lnTo>
                  <a:lnTo>
                    <a:pt x="517" y="555"/>
                  </a:lnTo>
                  <a:lnTo>
                    <a:pt x="517" y="557"/>
                  </a:lnTo>
                  <a:lnTo>
                    <a:pt x="517" y="559"/>
                  </a:lnTo>
                  <a:lnTo>
                    <a:pt x="519" y="559"/>
                  </a:lnTo>
                  <a:lnTo>
                    <a:pt x="519" y="561"/>
                  </a:lnTo>
                  <a:lnTo>
                    <a:pt x="521" y="561"/>
                  </a:lnTo>
                  <a:lnTo>
                    <a:pt x="521" y="559"/>
                  </a:lnTo>
                  <a:lnTo>
                    <a:pt x="521" y="561"/>
                  </a:lnTo>
                  <a:lnTo>
                    <a:pt x="522" y="561"/>
                  </a:lnTo>
                  <a:lnTo>
                    <a:pt x="522" y="563"/>
                  </a:lnTo>
                  <a:lnTo>
                    <a:pt x="522" y="561"/>
                  </a:lnTo>
                  <a:lnTo>
                    <a:pt x="522" y="559"/>
                  </a:lnTo>
                  <a:lnTo>
                    <a:pt x="522" y="557"/>
                  </a:lnTo>
                  <a:lnTo>
                    <a:pt x="522" y="555"/>
                  </a:lnTo>
                  <a:lnTo>
                    <a:pt x="522" y="557"/>
                  </a:lnTo>
                  <a:lnTo>
                    <a:pt x="522" y="559"/>
                  </a:lnTo>
                  <a:lnTo>
                    <a:pt x="524" y="559"/>
                  </a:lnTo>
                  <a:lnTo>
                    <a:pt x="526" y="559"/>
                  </a:lnTo>
                  <a:lnTo>
                    <a:pt x="528" y="559"/>
                  </a:lnTo>
                  <a:lnTo>
                    <a:pt x="528" y="557"/>
                  </a:lnTo>
                  <a:lnTo>
                    <a:pt x="528" y="555"/>
                  </a:lnTo>
                  <a:lnTo>
                    <a:pt x="528" y="553"/>
                  </a:lnTo>
                  <a:lnTo>
                    <a:pt x="528" y="551"/>
                  </a:lnTo>
                  <a:lnTo>
                    <a:pt x="526" y="551"/>
                  </a:lnTo>
                  <a:lnTo>
                    <a:pt x="526" y="549"/>
                  </a:lnTo>
                  <a:lnTo>
                    <a:pt x="526" y="548"/>
                  </a:lnTo>
                  <a:lnTo>
                    <a:pt x="526" y="546"/>
                  </a:lnTo>
                  <a:lnTo>
                    <a:pt x="524" y="546"/>
                  </a:lnTo>
                  <a:lnTo>
                    <a:pt x="526" y="546"/>
                  </a:lnTo>
                  <a:lnTo>
                    <a:pt x="526" y="544"/>
                  </a:lnTo>
                  <a:lnTo>
                    <a:pt x="524" y="544"/>
                  </a:lnTo>
                  <a:lnTo>
                    <a:pt x="524" y="542"/>
                  </a:lnTo>
                  <a:lnTo>
                    <a:pt x="526" y="542"/>
                  </a:lnTo>
                  <a:lnTo>
                    <a:pt x="526" y="540"/>
                  </a:lnTo>
                  <a:lnTo>
                    <a:pt x="524" y="540"/>
                  </a:lnTo>
                  <a:lnTo>
                    <a:pt x="524" y="538"/>
                  </a:lnTo>
                  <a:lnTo>
                    <a:pt x="526" y="538"/>
                  </a:lnTo>
                  <a:lnTo>
                    <a:pt x="526" y="536"/>
                  </a:lnTo>
                  <a:lnTo>
                    <a:pt x="524" y="536"/>
                  </a:lnTo>
                  <a:lnTo>
                    <a:pt x="524" y="534"/>
                  </a:lnTo>
                  <a:lnTo>
                    <a:pt x="524" y="532"/>
                  </a:lnTo>
                  <a:lnTo>
                    <a:pt x="522" y="532"/>
                  </a:lnTo>
                  <a:lnTo>
                    <a:pt x="522" y="530"/>
                  </a:lnTo>
                  <a:lnTo>
                    <a:pt x="522" y="528"/>
                  </a:lnTo>
                  <a:lnTo>
                    <a:pt x="524" y="528"/>
                  </a:lnTo>
                  <a:lnTo>
                    <a:pt x="524" y="526"/>
                  </a:lnTo>
                  <a:lnTo>
                    <a:pt x="522" y="526"/>
                  </a:lnTo>
                  <a:lnTo>
                    <a:pt x="522" y="524"/>
                  </a:lnTo>
                  <a:lnTo>
                    <a:pt x="522" y="523"/>
                  </a:lnTo>
                  <a:lnTo>
                    <a:pt x="522" y="521"/>
                  </a:lnTo>
                  <a:lnTo>
                    <a:pt x="522" y="519"/>
                  </a:lnTo>
                  <a:lnTo>
                    <a:pt x="524" y="519"/>
                  </a:lnTo>
                  <a:lnTo>
                    <a:pt x="524" y="521"/>
                  </a:lnTo>
                  <a:lnTo>
                    <a:pt x="524" y="523"/>
                  </a:lnTo>
                  <a:lnTo>
                    <a:pt x="524" y="521"/>
                  </a:lnTo>
                  <a:lnTo>
                    <a:pt x="526" y="521"/>
                  </a:lnTo>
                  <a:lnTo>
                    <a:pt x="524" y="521"/>
                  </a:lnTo>
                  <a:lnTo>
                    <a:pt x="524" y="523"/>
                  </a:lnTo>
                  <a:lnTo>
                    <a:pt x="526" y="523"/>
                  </a:lnTo>
                  <a:lnTo>
                    <a:pt x="526" y="524"/>
                  </a:lnTo>
                  <a:lnTo>
                    <a:pt x="526" y="523"/>
                  </a:lnTo>
                  <a:lnTo>
                    <a:pt x="528" y="523"/>
                  </a:lnTo>
                  <a:lnTo>
                    <a:pt x="526" y="523"/>
                  </a:lnTo>
                  <a:lnTo>
                    <a:pt x="528" y="523"/>
                  </a:lnTo>
                  <a:lnTo>
                    <a:pt x="528" y="521"/>
                  </a:lnTo>
                  <a:lnTo>
                    <a:pt x="530" y="521"/>
                  </a:lnTo>
                  <a:lnTo>
                    <a:pt x="532" y="521"/>
                  </a:lnTo>
                  <a:lnTo>
                    <a:pt x="532" y="519"/>
                  </a:lnTo>
                  <a:lnTo>
                    <a:pt x="534" y="519"/>
                  </a:lnTo>
                  <a:lnTo>
                    <a:pt x="534" y="521"/>
                  </a:lnTo>
                  <a:lnTo>
                    <a:pt x="536" y="521"/>
                  </a:lnTo>
                  <a:lnTo>
                    <a:pt x="538" y="521"/>
                  </a:lnTo>
                  <a:lnTo>
                    <a:pt x="538" y="523"/>
                  </a:lnTo>
                  <a:lnTo>
                    <a:pt x="540" y="523"/>
                  </a:lnTo>
                  <a:lnTo>
                    <a:pt x="540" y="521"/>
                  </a:lnTo>
                  <a:lnTo>
                    <a:pt x="542" y="521"/>
                  </a:lnTo>
                  <a:lnTo>
                    <a:pt x="544" y="521"/>
                  </a:lnTo>
                  <a:lnTo>
                    <a:pt x="544" y="519"/>
                  </a:lnTo>
                  <a:lnTo>
                    <a:pt x="546" y="519"/>
                  </a:lnTo>
                  <a:lnTo>
                    <a:pt x="546" y="517"/>
                  </a:lnTo>
                  <a:lnTo>
                    <a:pt x="544" y="517"/>
                  </a:lnTo>
                  <a:lnTo>
                    <a:pt x="544" y="519"/>
                  </a:lnTo>
                  <a:lnTo>
                    <a:pt x="542" y="519"/>
                  </a:lnTo>
                  <a:lnTo>
                    <a:pt x="542" y="521"/>
                  </a:lnTo>
                  <a:lnTo>
                    <a:pt x="540" y="521"/>
                  </a:lnTo>
                  <a:lnTo>
                    <a:pt x="538" y="521"/>
                  </a:lnTo>
                  <a:lnTo>
                    <a:pt x="538" y="519"/>
                  </a:lnTo>
                  <a:lnTo>
                    <a:pt x="536" y="519"/>
                  </a:lnTo>
                  <a:lnTo>
                    <a:pt x="534" y="519"/>
                  </a:lnTo>
                  <a:lnTo>
                    <a:pt x="534" y="517"/>
                  </a:lnTo>
                  <a:lnTo>
                    <a:pt x="532" y="517"/>
                  </a:lnTo>
                  <a:lnTo>
                    <a:pt x="532" y="515"/>
                  </a:lnTo>
                  <a:lnTo>
                    <a:pt x="532" y="513"/>
                  </a:lnTo>
                  <a:lnTo>
                    <a:pt x="534" y="513"/>
                  </a:lnTo>
                  <a:lnTo>
                    <a:pt x="534" y="515"/>
                  </a:lnTo>
                  <a:lnTo>
                    <a:pt x="534" y="513"/>
                  </a:lnTo>
                  <a:lnTo>
                    <a:pt x="534" y="515"/>
                  </a:lnTo>
                  <a:lnTo>
                    <a:pt x="534" y="513"/>
                  </a:lnTo>
                  <a:lnTo>
                    <a:pt x="536" y="513"/>
                  </a:lnTo>
                  <a:lnTo>
                    <a:pt x="536" y="511"/>
                  </a:lnTo>
                  <a:lnTo>
                    <a:pt x="534" y="511"/>
                  </a:lnTo>
                  <a:lnTo>
                    <a:pt x="534" y="513"/>
                  </a:lnTo>
                  <a:lnTo>
                    <a:pt x="532" y="513"/>
                  </a:lnTo>
                  <a:lnTo>
                    <a:pt x="532" y="511"/>
                  </a:lnTo>
                  <a:lnTo>
                    <a:pt x="530" y="511"/>
                  </a:lnTo>
                  <a:lnTo>
                    <a:pt x="532" y="511"/>
                  </a:lnTo>
                  <a:lnTo>
                    <a:pt x="534" y="511"/>
                  </a:lnTo>
                  <a:lnTo>
                    <a:pt x="534" y="509"/>
                  </a:lnTo>
                  <a:lnTo>
                    <a:pt x="536" y="509"/>
                  </a:lnTo>
                  <a:lnTo>
                    <a:pt x="534" y="509"/>
                  </a:lnTo>
                  <a:lnTo>
                    <a:pt x="536" y="509"/>
                  </a:lnTo>
                  <a:lnTo>
                    <a:pt x="536" y="507"/>
                  </a:lnTo>
                  <a:lnTo>
                    <a:pt x="534" y="507"/>
                  </a:lnTo>
                  <a:lnTo>
                    <a:pt x="536" y="507"/>
                  </a:lnTo>
                  <a:lnTo>
                    <a:pt x="536" y="505"/>
                  </a:lnTo>
                  <a:lnTo>
                    <a:pt x="536" y="503"/>
                  </a:lnTo>
                  <a:lnTo>
                    <a:pt x="536" y="505"/>
                  </a:lnTo>
                  <a:lnTo>
                    <a:pt x="534" y="505"/>
                  </a:lnTo>
                  <a:lnTo>
                    <a:pt x="534" y="507"/>
                  </a:lnTo>
                  <a:lnTo>
                    <a:pt x="534" y="509"/>
                  </a:lnTo>
                  <a:lnTo>
                    <a:pt x="532" y="509"/>
                  </a:lnTo>
                  <a:lnTo>
                    <a:pt x="530" y="509"/>
                  </a:lnTo>
                  <a:lnTo>
                    <a:pt x="528" y="509"/>
                  </a:lnTo>
                  <a:lnTo>
                    <a:pt x="526" y="509"/>
                  </a:lnTo>
                  <a:lnTo>
                    <a:pt x="526" y="511"/>
                  </a:lnTo>
                  <a:lnTo>
                    <a:pt x="524" y="511"/>
                  </a:lnTo>
                  <a:lnTo>
                    <a:pt x="524" y="509"/>
                  </a:lnTo>
                  <a:lnTo>
                    <a:pt x="522" y="509"/>
                  </a:lnTo>
                  <a:lnTo>
                    <a:pt x="522" y="507"/>
                  </a:lnTo>
                  <a:lnTo>
                    <a:pt x="522" y="505"/>
                  </a:lnTo>
                  <a:lnTo>
                    <a:pt x="521" y="505"/>
                  </a:lnTo>
                  <a:lnTo>
                    <a:pt x="521" y="503"/>
                  </a:lnTo>
                  <a:lnTo>
                    <a:pt x="521" y="501"/>
                  </a:lnTo>
                  <a:lnTo>
                    <a:pt x="521" y="500"/>
                  </a:lnTo>
                  <a:lnTo>
                    <a:pt x="521" y="498"/>
                  </a:lnTo>
                  <a:lnTo>
                    <a:pt x="521" y="496"/>
                  </a:lnTo>
                  <a:lnTo>
                    <a:pt x="521" y="494"/>
                  </a:lnTo>
                  <a:lnTo>
                    <a:pt x="521" y="492"/>
                  </a:lnTo>
                  <a:lnTo>
                    <a:pt x="522" y="492"/>
                  </a:lnTo>
                  <a:lnTo>
                    <a:pt x="521" y="492"/>
                  </a:lnTo>
                  <a:lnTo>
                    <a:pt x="522" y="492"/>
                  </a:lnTo>
                  <a:lnTo>
                    <a:pt x="522" y="490"/>
                  </a:lnTo>
                  <a:lnTo>
                    <a:pt x="522" y="488"/>
                  </a:lnTo>
                  <a:lnTo>
                    <a:pt x="524" y="488"/>
                  </a:lnTo>
                  <a:lnTo>
                    <a:pt x="526" y="488"/>
                  </a:lnTo>
                  <a:lnTo>
                    <a:pt x="526" y="490"/>
                  </a:lnTo>
                  <a:lnTo>
                    <a:pt x="528" y="490"/>
                  </a:lnTo>
                  <a:lnTo>
                    <a:pt x="528" y="488"/>
                  </a:lnTo>
                  <a:lnTo>
                    <a:pt x="526" y="488"/>
                  </a:lnTo>
                  <a:lnTo>
                    <a:pt x="526" y="486"/>
                  </a:lnTo>
                  <a:lnTo>
                    <a:pt x="524" y="486"/>
                  </a:lnTo>
                  <a:lnTo>
                    <a:pt x="524" y="484"/>
                  </a:lnTo>
                  <a:lnTo>
                    <a:pt x="522" y="484"/>
                  </a:lnTo>
                  <a:lnTo>
                    <a:pt x="522" y="486"/>
                  </a:lnTo>
                  <a:lnTo>
                    <a:pt x="522" y="484"/>
                  </a:lnTo>
                  <a:lnTo>
                    <a:pt x="521" y="484"/>
                  </a:lnTo>
                  <a:lnTo>
                    <a:pt x="521" y="482"/>
                  </a:lnTo>
                  <a:lnTo>
                    <a:pt x="521" y="480"/>
                  </a:lnTo>
                  <a:lnTo>
                    <a:pt x="521" y="478"/>
                  </a:lnTo>
                  <a:lnTo>
                    <a:pt x="519" y="478"/>
                  </a:lnTo>
                  <a:lnTo>
                    <a:pt x="521" y="478"/>
                  </a:lnTo>
                  <a:lnTo>
                    <a:pt x="521" y="476"/>
                  </a:lnTo>
                  <a:lnTo>
                    <a:pt x="519" y="476"/>
                  </a:lnTo>
                  <a:lnTo>
                    <a:pt x="519" y="475"/>
                  </a:lnTo>
                  <a:lnTo>
                    <a:pt x="521" y="475"/>
                  </a:lnTo>
                  <a:lnTo>
                    <a:pt x="521" y="473"/>
                  </a:lnTo>
                  <a:lnTo>
                    <a:pt x="519" y="473"/>
                  </a:lnTo>
                  <a:lnTo>
                    <a:pt x="519" y="471"/>
                  </a:lnTo>
                  <a:lnTo>
                    <a:pt x="519" y="469"/>
                  </a:lnTo>
                  <a:lnTo>
                    <a:pt x="521" y="469"/>
                  </a:lnTo>
                  <a:lnTo>
                    <a:pt x="519" y="469"/>
                  </a:lnTo>
                  <a:lnTo>
                    <a:pt x="521" y="469"/>
                  </a:lnTo>
                  <a:lnTo>
                    <a:pt x="521" y="467"/>
                  </a:lnTo>
                  <a:lnTo>
                    <a:pt x="519" y="467"/>
                  </a:lnTo>
                  <a:lnTo>
                    <a:pt x="519" y="469"/>
                  </a:lnTo>
                  <a:lnTo>
                    <a:pt x="519" y="467"/>
                  </a:lnTo>
                  <a:lnTo>
                    <a:pt x="519" y="469"/>
                  </a:lnTo>
                  <a:lnTo>
                    <a:pt x="519" y="467"/>
                  </a:lnTo>
                  <a:lnTo>
                    <a:pt x="519" y="465"/>
                  </a:lnTo>
                  <a:lnTo>
                    <a:pt x="517" y="465"/>
                  </a:lnTo>
                  <a:lnTo>
                    <a:pt x="519" y="465"/>
                  </a:lnTo>
                  <a:lnTo>
                    <a:pt x="517" y="465"/>
                  </a:lnTo>
                  <a:lnTo>
                    <a:pt x="519" y="465"/>
                  </a:lnTo>
                  <a:lnTo>
                    <a:pt x="519" y="463"/>
                  </a:lnTo>
                  <a:lnTo>
                    <a:pt x="519" y="461"/>
                  </a:lnTo>
                  <a:lnTo>
                    <a:pt x="517" y="461"/>
                  </a:lnTo>
                  <a:lnTo>
                    <a:pt x="519" y="461"/>
                  </a:lnTo>
                  <a:lnTo>
                    <a:pt x="517" y="459"/>
                  </a:lnTo>
                  <a:lnTo>
                    <a:pt x="519" y="459"/>
                  </a:lnTo>
                  <a:lnTo>
                    <a:pt x="519" y="457"/>
                  </a:lnTo>
                  <a:lnTo>
                    <a:pt x="517" y="457"/>
                  </a:lnTo>
                  <a:lnTo>
                    <a:pt x="519" y="457"/>
                  </a:lnTo>
                  <a:lnTo>
                    <a:pt x="517" y="457"/>
                  </a:lnTo>
                  <a:lnTo>
                    <a:pt x="517" y="455"/>
                  </a:lnTo>
                  <a:lnTo>
                    <a:pt x="517" y="453"/>
                  </a:lnTo>
                  <a:lnTo>
                    <a:pt x="517" y="452"/>
                  </a:lnTo>
                  <a:lnTo>
                    <a:pt x="517" y="450"/>
                  </a:lnTo>
                  <a:lnTo>
                    <a:pt x="517" y="448"/>
                  </a:lnTo>
                  <a:lnTo>
                    <a:pt x="517" y="446"/>
                  </a:lnTo>
                  <a:lnTo>
                    <a:pt x="515" y="446"/>
                  </a:lnTo>
                  <a:lnTo>
                    <a:pt x="517" y="446"/>
                  </a:lnTo>
                  <a:lnTo>
                    <a:pt x="515" y="446"/>
                  </a:lnTo>
                  <a:lnTo>
                    <a:pt x="517" y="446"/>
                  </a:lnTo>
                  <a:lnTo>
                    <a:pt x="515" y="446"/>
                  </a:lnTo>
                  <a:lnTo>
                    <a:pt x="515" y="444"/>
                  </a:lnTo>
                  <a:lnTo>
                    <a:pt x="515" y="442"/>
                  </a:lnTo>
                  <a:lnTo>
                    <a:pt x="515" y="440"/>
                  </a:lnTo>
                  <a:lnTo>
                    <a:pt x="515" y="438"/>
                  </a:lnTo>
                  <a:lnTo>
                    <a:pt x="515" y="436"/>
                  </a:lnTo>
                  <a:lnTo>
                    <a:pt x="513" y="436"/>
                  </a:lnTo>
                  <a:lnTo>
                    <a:pt x="513" y="434"/>
                  </a:lnTo>
                  <a:lnTo>
                    <a:pt x="513" y="432"/>
                  </a:lnTo>
                  <a:lnTo>
                    <a:pt x="513" y="430"/>
                  </a:lnTo>
                  <a:lnTo>
                    <a:pt x="513" y="428"/>
                  </a:lnTo>
                  <a:lnTo>
                    <a:pt x="511" y="428"/>
                  </a:lnTo>
                  <a:lnTo>
                    <a:pt x="511" y="427"/>
                  </a:lnTo>
                  <a:lnTo>
                    <a:pt x="513" y="427"/>
                  </a:lnTo>
                  <a:lnTo>
                    <a:pt x="513" y="425"/>
                  </a:lnTo>
                  <a:lnTo>
                    <a:pt x="513" y="423"/>
                  </a:lnTo>
                  <a:lnTo>
                    <a:pt x="515" y="423"/>
                  </a:lnTo>
                  <a:lnTo>
                    <a:pt x="515" y="425"/>
                  </a:lnTo>
                  <a:lnTo>
                    <a:pt x="515" y="423"/>
                  </a:lnTo>
                  <a:lnTo>
                    <a:pt x="515" y="425"/>
                  </a:lnTo>
                  <a:lnTo>
                    <a:pt x="513" y="423"/>
                  </a:lnTo>
                  <a:lnTo>
                    <a:pt x="511" y="423"/>
                  </a:lnTo>
                  <a:lnTo>
                    <a:pt x="511" y="421"/>
                  </a:lnTo>
                  <a:lnTo>
                    <a:pt x="511" y="419"/>
                  </a:lnTo>
                  <a:lnTo>
                    <a:pt x="513" y="419"/>
                  </a:lnTo>
                  <a:lnTo>
                    <a:pt x="513" y="417"/>
                  </a:lnTo>
                  <a:lnTo>
                    <a:pt x="511" y="417"/>
                  </a:lnTo>
                  <a:lnTo>
                    <a:pt x="513" y="417"/>
                  </a:lnTo>
                  <a:lnTo>
                    <a:pt x="515" y="417"/>
                  </a:lnTo>
                  <a:lnTo>
                    <a:pt x="517" y="417"/>
                  </a:lnTo>
                  <a:lnTo>
                    <a:pt x="517" y="415"/>
                  </a:lnTo>
                  <a:lnTo>
                    <a:pt x="519" y="415"/>
                  </a:lnTo>
                  <a:lnTo>
                    <a:pt x="517" y="415"/>
                  </a:lnTo>
                  <a:lnTo>
                    <a:pt x="519" y="415"/>
                  </a:lnTo>
                  <a:lnTo>
                    <a:pt x="519" y="413"/>
                  </a:lnTo>
                  <a:lnTo>
                    <a:pt x="517" y="413"/>
                  </a:lnTo>
                  <a:lnTo>
                    <a:pt x="517" y="415"/>
                  </a:lnTo>
                  <a:lnTo>
                    <a:pt x="515" y="415"/>
                  </a:lnTo>
                  <a:lnTo>
                    <a:pt x="515" y="417"/>
                  </a:lnTo>
                  <a:lnTo>
                    <a:pt x="513" y="417"/>
                  </a:lnTo>
                  <a:lnTo>
                    <a:pt x="515" y="417"/>
                  </a:lnTo>
                  <a:lnTo>
                    <a:pt x="515" y="415"/>
                  </a:lnTo>
                  <a:lnTo>
                    <a:pt x="513" y="417"/>
                  </a:lnTo>
                  <a:lnTo>
                    <a:pt x="513" y="415"/>
                  </a:lnTo>
                  <a:lnTo>
                    <a:pt x="513" y="417"/>
                  </a:lnTo>
                  <a:lnTo>
                    <a:pt x="513" y="415"/>
                  </a:lnTo>
                  <a:lnTo>
                    <a:pt x="513" y="417"/>
                  </a:lnTo>
                  <a:lnTo>
                    <a:pt x="513" y="415"/>
                  </a:lnTo>
                  <a:lnTo>
                    <a:pt x="515" y="415"/>
                  </a:lnTo>
                  <a:lnTo>
                    <a:pt x="513" y="415"/>
                  </a:lnTo>
                  <a:lnTo>
                    <a:pt x="511" y="415"/>
                  </a:lnTo>
                  <a:lnTo>
                    <a:pt x="509" y="415"/>
                  </a:lnTo>
                  <a:lnTo>
                    <a:pt x="509" y="413"/>
                  </a:lnTo>
                  <a:lnTo>
                    <a:pt x="509" y="415"/>
                  </a:lnTo>
                  <a:lnTo>
                    <a:pt x="507" y="415"/>
                  </a:lnTo>
                  <a:lnTo>
                    <a:pt x="507" y="413"/>
                  </a:lnTo>
                  <a:lnTo>
                    <a:pt x="507" y="411"/>
                  </a:lnTo>
                  <a:lnTo>
                    <a:pt x="509" y="411"/>
                  </a:lnTo>
                  <a:lnTo>
                    <a:pt x="509" y="413"/>
                  </a:lnTo>
                  <a:lnTo>
                    <a:pt x="507" y="413"/>
                  </a:lnTo>
                  <a:lnTo>
                    <a:pt x="509" y="413"/>
                  </a:lnTo>
                  <a:lnTo>
                    <a:pt x="509" y="411"/>
                  </a:lnTo>
                  <a:lnTo>
                    <a:pt x="511" y="411"/>
                  </a:lnTo>
                  <a:lnTo>
                    <a:pt x="511" y="409"/>
                  </a:lnTo>
                  <a:lnTo>
                    <a:pt x="513" y="409"/>
                  </a:lnTo>
                  <a:lnTo>
                    <a:pt x="511" y="409"/>
                  </a:lnTo>
                  <a:lnTo>
                    <a:pt x="511" y="407"/>
                  </a:lnTo>
                  <a:lnTo>
                    <a:pt x="513" y="407"/>
                  </a:lnTo>
                  <a:lnTo>
                    <a:pt x="513" y="405"/>
                  </a:lnTo>
                  <a:lnTo>
                    <a:pt x="515" y="405"/>
                  </a:lnTo>
                  <a:lnTo>
                    <a:pt x="513" y="405"/>
                  </a:lnTo>
                  <a:lnTo>
                    <a:pt x="515" y="405"/>
                  </a:lnTo>
                  <a:lnTo>
                    <a:pt x="513" y="405"/>
                  </a:lnTo>
                  <a:lnTo>
                    <a:pt x="515" y="405"/>
                  </a:lnTo>
                  <a:lnTo>
                    <a:pt x="515" y="404"/>
                  </a:lnTo>
                  <a:lnTo>
                    <a:pt x="515" y="402"/>
                  </a:lnTo>
                  <a:lnTo>
                    <a:pt x="515" y="400"/>
                  </a:lnTo>
                  <a:lnTo>
                    <a:pt x="515" y="398"/>
                  </a:lnTo>
                  <a:lnTo>
                    <a:pt x="515" y="396"/>
                  </a:lnTo>
                  <a:lnTo>
                    <a:pt x="515" y="394"/>
                  </a:lnTo>
                  <a:lnTo>
                    <a:pt x="517" y="394"/>
                  </a:lnTo>
                  <a:lnTo>
                    <a:pt x="517" y="392"/>
                  </a:lnTo>
                  <a:lnTo>
                    <a:pt x="519" y="392"/>
                  </a:lnTo>
                  <a:lnTo>
                    <a:pt x="517" y="392"/>
                  </a:lnTo>
                  <a:lnTo>
                    <a:pt x="517" y="394"/>
                  </a:lnTo>
                  <a:lnTo>
                    <a:pt x="517" y="392"/>
                  </a:lnTo>
                  <a:lnTo>
                    <a:pt x="517" y="394"/>
                  </a:lnTo>
                  <a:lnTo>
                    <a:pt x="515" y="394"/>
                  </a:lnTo>
                  <a:lnTo>
                    <a:pt x="515" y="392"/>
                  </a:lnTo>
                  <a:lnTo>
                    <a:pt x="515" y="394"/>
                  </a:lnTo>
                  <a:lnTo>
                    <a:pt x="515" y="392"/>
                  </a:lnTo>
                  <a:lnTo>
                    <a:pt x="515" y="394"/>
                  </a:lnTo>
                  <a:lnTo>
                    <a:pt x="515" y="392"/>
                  </a:lnTo>
                  <a:lnTo>
                    <a:pt x="515" y="394"/>
                  </a:lnTo>
                  <a:lnTo>
                    <a:pt x="513" y="394"/>
                  </a:lnTo>
                  <a:lnTo>
                    <a:pt x="513" y="392"/>
                  </a:lnTo>
                  <a:lnTo>
                    <a:pt x="513" y="394"/>
                  </a:lnTo>
                  <a:lnTo>
                    <a:pt x="513" y="392"/>
                  </a:lnTo>
                  <a:lnTo>
                    <a:pt x="511" y="392"/>
                  </a:lnTo>
                  <a:lnTo>
                    <a:pt x="509" y="392"/>
                  </a:lnTo>
                  <a:lnTo>
                    <a:pt x="509" y="390"/>
                  </a:lnTo>
                  <a:lnTo>
                    <a:pt x="507" y="390"/>
                  </a:lnTo>
                  <a:lnTo>
                    <a:pt x="507" y="392"/>
                  </a:lnTo>
                  <a:lnTo>
                    <a:pt x="507" y="390"/>
                  </a:lnTo>
                  <a:lnTo>
                    <a:pt x="509" y="390"/>
                  </a:lnTo>
                  <a:lnTo>
                    <a:pt x="511" y="390"/>
                  </a:lnTo>
                  <a:lnTo>
                    <a:pt x="513" y="390"/>
                  </a:lnTo>
                  <a:lnTo>
                    <a:pt x="511" y="390"/>
                  </a:lnTo>
                  <a:lnTo>
                    <a:pt x="513" y="390"/>
                  </a:lnTo>
                  <a:lnTo>
                    <a:pt x="511" y="390"/>
                  </a:lnTo>
                  <a:lnTo>
                    <a:pt x="513" y="390"/>
                  </a:lnTo>
                  <a:lnTo>
                    <a:pt x="513" y="388"/>
                  </a:lnTo>
                  <a:lnTo>
                    <a:pt x="513" y="386"/>
                  </a:lnTo>
                  <a:lnTo>
                    <a:pt x="513" y="388"/>
                  </a:lnTo>
                  <a:lnTo>
                    <a:pt x="513" y="386"/>
                  </a:lnTo>
                  <a:lnTo>
                    <a:pt x="513" y="388"/>
                  </a:lnTo>
                  <a:lnTo>
                    <a:pt x="513" y="386"/>
                  </a:lnTo>
                  <a:lnTo>
                    <a:pt x="511" y="386"/>
                  </a:lnTo>
                  <a:lnTo>
                    <a:pt x="511" y="388"/>
                  </a:lnTo>
                  <a:lnTo>
                    <a:pt x="511" y="386"/>
                  </a:lnTo>
                  <a:lnTo>
                    <a:pt x="511" y="388"/>
                  </a:lnTo>
                  <a:lnTo>
                    <a:pt x="509" y="388"/>
                  </a:lnTo>
                  <a:lnTo>
                    <a:pt x="509" y="386"/>
                  </a:lnTo>
                  <a:lnTo>
                    <a:pt x="511" y="386"/>
                  </a:lnTo>
                  <a:lnTo>
                    <a:pt x="511" y="384"/>
                  </a:lnTo>
                  <a:lnTo>
                    <a:pt x="513" y="384"/>
                  </a:lnTo>
                  <a:lnTo>
                    <a:pt x="513" y="382"/>
                  </a:lnTo>
                  <a:lnTo>
                    <a:pt x="511" y="382"/>
                  </a:lnTo>
                  <a:lnTo>
                    <a:pt x="511" y="380"/>
                  </a:lnTo>
                  <a:lnTo>
                    <a:pt x="513" y="380"/>
                  </a:lnTo>
                  <a:lnTo>
                    <a:pt x="513" y="379"/>
                  </a:lnTo>
                  <a:lnTo>
                    <a:pt x="513" y="377"/>
                  </a:lnTo>
                  <a:lnTo>
                    <a:pt x="511" y="377"/>
                  </a:lnTo>
                  <a:lnTo>
                    <a:pt x="511" y="375"/>
                  </a:lnTo>
                  <a:lnTo>
                    <a:pt x="513" y="375"/>
                  </a:lnTo>
                  <a:lnTo>
                    <a:pt x="511" y="375"/>
                  </a:lnTo>
                  <a:lnTo>
                    <a:pt x="513" y="375"/>
                  </a:lnTo>
                  <a:lnTo>
                    <a:pt x="511" y="375"/>
                  </a:lnTo>
                  <a:lnTo>
                    <a:pt x="511" y="373"/>
                  </a:lnTo>
                  <a:lnTo>
                    <a:pt x="513" y="373"/>
                  </a:lnTo>
                  <a:lnTo>
                    <a:pt x="511" y="373"/>
                  </a:lnTo>
                  <a:lnTo>
                    <a:pt x="511" y="375"/>
                  </a:lnTo>
                  <a:lnTo>
                    <a:pt x="511" y="373"/>
                  </a:lnTo>
                  <a:lnTo>
                    <a:pt x="511" y="375"/>
                  </a:lnTo>
                  <a:lnTo>
                    <a:pt x="511" y="373"/>
                  </a:lnTo>
                  <a:lnTo>
                    <a:pt x="509" y="373"/>
                  </a:lnTo>
                  <a:lnTo>
                    <a:pt x="509" y="375"/>
                  </a:lnTo>
                  <a:lnTo>
                    <a:pt x="509" y="373"/>
                  </a:lnTo>
                  <a:lnTo>
                    <a:pt x="509" y="371"/>
                  </a:lnTo>
                  <a:lnTo>
                    <a:pt x="511" y="371"/>
                  </a:lnTo>
                  <a:lnTo>
                    <a:pt x="509" y="371"/>
                  </a:lnTo>
                  <a:lnTo>
                    <a:pt x="509" y="369"/>
                  </a:lnTo>
                  <a:lnTo>
                    <a:pt x="509" y="371"/>
                  </a:lnTo>
                  <a:lnTo>
                    <a:pt x="509" y="369"/>
                  </a:lnTo>
                  <a:lnTo>
                    <a:pt x="511" y="369"/>
                  </a:lnTo>
                  <a:lnTo>
                    <a:pt x="509" y="369"/>
                  </a:lnTo>
                  <a:lnTo>
                    <a:pt x="511" y="369"/>
                  </a:lnTo>
                  <a:lnTo>
                    <a:pt x="509" y="369"/>
                  </a:lnTo>
                  <a:lnTo>
                    <a:pt x="511" y="369"/>
                  </a:lnTo>
                  <a:lnTo>
                    <a:pt x="511" y="367"/>
                  </a:lnTo>
                  <a:lnTo>
                    <a:pt x="509" y="367"/>
                  </a:lnTo>
                  <a:lnTo>
                    <a:pt x="509" y="369"/>
                  </a:lnTo>
                  <a:lnTo>
                    <a:pt x="509" y="367"/>
                  </a:lnTo>
                  <a:lnTo>
                    <a:pt x="511" y="367"/>
                  </a:lnTo>
                  <a:lnTo>
                    <a:pt x="509" y="367"/>
                  </a:lnTo>
                  <a:lnTo>
                    <a:pt x="511" y="367"/>
                  </a:lnTo>
                  <a:lnTo>
                    <a:pt x="509" y="367"/>
                  </a:lnTo>
                  <a:lnTo>
                    <a:pt x="509" y="365"/>
                  </a:lnTo>
                  <a:lnTo>
                    <a:pt x="511" y="365"/>
                  </a:lnTo>
                  <a:lnTo>
                    <a:pt x="511" y="363"/>
                  </a:lnTo>
                  <a:lnTo>
                    <a:pt x="511" y="365"/>
                  </a:lnTo>
                  <a:lnTo>
                    <a:pt x="511" y="363"/>
                  </a:lnTo>
                  <a:lnTo>
                    <a:pt x="511" y="361"/>
                  </a:lnTo>
                  <a:lnTo>
                    <a:pt x="513" y="361"/>
                  </a:lnTo>
                  <a:lnTo>
                    <a:pt x="513" y="359"/>
                  </a:lnTo>
                  <a:lnTo>
                    <a:pt x="515" y="359"/>
                  </a:lnTo>
                  <a:lnTo>
                    <a:pt x="513" y="359"/>
                  </a:lnTo>
                  <a:lnTo>
                    <a:pt x="515" y="359"/>
                  </a:lnTo>
                  <a:lnTo>
                    <a:pt x="515" y="357"/>
                  </a:lnTo>
                  <a:lnTo>
                    <a:pt x="517" y="357"/>
                  </a:lnTo>
                  <a:lnTo>
                    <a:pt x="517" y="356"/>
                  </a:lnTo>
                  <a:lnTo>
                    <a:pt x="517" y="354"/>
                  </a:lnTo>
                  <a:lnTo>
                    <a:pt x="517" y="352"/>
                  </a:lnTo>
                  <a:lnTo>
                    <a:pt x="519" y="352"/>
                  </a:lnTo>
                  <a:lnTo>
                    <a:pt x="519" y="350"/>
                  </a:lnTo>
                  <a:lnTo>
                    <a:pt x="521" y="350"/>
                  </a:lnTo>
                  <a:lnTo>
                    <a:pt x="521" y="348"/>
                  </a:lnTo>
                  <a:lnTo>
                    <a:pt x="521" y="346"/>
                  </a:lnTo>
                  <a:lnTo>
                    <a:pt x="522" y="346"/>
                  </a:lnTo>
                  <a:lnTo>
                    <a:pt x="522" y="344"/>
                  </a:lnTo>
                  <a:lnTo>
                    <a:pt x="522" y="346"/>
                  </a:lnTo>
                  <a:lnTo>
                    <a:pt x="522" y="344"/>
                  </a:lnTo>
                  <a:lnTo>
                    <a:pt x="522" y="342"/>
                  </a:lnTo>
                  <a:lnTo>
                    <a:pt x="524" y="342"/>
                  </a:lnTo>
                  <a:lnTo>
                    <a:pt x="524" y="340"/>
                  </a:lnTo>
                  <a:lnTo>
                    <a:pt x="524" y="338"/>
                  </a:lnTo>
                  <a:lnTo>
                    <a:pt x="526" y="338"/>
                  </a:lnTo>
                  <a:lnTo>
                    <a:pt x="526" y="336"/>
                  </a:lnTo>
                  <a:lnTo>
                    <a:pt x="526" y="334"/>
                  </a:lnTo>
                  <a:lnTo>
                    <a:pt x="528" y="334"/>
                  </a:lnTo>
                  <a:lnTo>
                    <a:pt x="526" y="334"/>
                  </a:lnTo>
                  <a:lnTo>
                    <a:pt x="528" y="334"/>
                  </a:lnTo>
                  <a:lnTo>
                    <a:pt x="528" y="336"/>
                  </a:lnTo>
                  <a:lnTo>
                    <a:pt x="528" y="334"/>
                  </a:lnTo>
                  <a:lnTo>
                    <a:pt x="528" y="336"/>
                  </a:lnTo>
                  <a:lnTo>
                    <a:pt x="528" y="338"/>
                  </a:lnTo>
                  <a:lnTo>
                    <a:pt x="528" y="336"/>
                  </a:lnTo>
                  <a:lnTo>
                    <a:pt x="530" y="336"/>
                  </a:lnTo>
                  <a:lnTo>
                    <a:pt x="528" y="336"/>
                  </a:lnTo>
                  <a:lnTo>
                    <a:pt x="530" y="338"/>
                  </a:lnTo>
                  <a:lnTo>
                    <a:pt x="528" y="338"/>
                  </a:lnTo>
                  <a:lnTo>
                    <a:pt x="530" y="338"/>
                  </a:lnTo>
                  <a:lnTo>
                    <a:pt x="528" y="338"/>
                  </a:lnTo>
                  <a:lnTo>
                    <a:pt x="530" y="338"/>
                  </a:lnTo>
                  <a:lnTo>
                    <a:pt x="530" y="336"/>
                  </a:lnTo>
                  <a:lnTo>
                    <a:pt x="530" y="338"/>
                  </a:lnTo>
                  <a:lnTo>
                    <a:pt x="532" y="338"/>
                  </a:lnTo>
                  <a:lnTo>
                    <a:pt x="532" y="340"/>
                  </a:lnTo>
                  <a:lnTo>
                    <a:pt x="530" y="340"/>
                  </a:lnTo>
                  <a:lnTo>
                    <a:pt x="532" y="340"/>
                  </a:lnTo>
                  <a:lnTo>
                    <a:pt x="534" y="340"/>
                  </a:lnTo>
                  <a:lnTo>
                    <a:pt x="534" y="338"/>
                  </a:lnTo>
                  <a:lnTo>
                    <a:pt x="534" y="340"/>
                  </a:lnTo>
                  <a:lnTo>
                    <a:pt x="534" y="338"/>
                  </a:lnTo>
                  <a:lnTo>
                    <a:pt x="536" y="338"/>
                  </a:lnTo>
                  <a:lnTo>
                    <a:pt x="538" y="338"/>
                  </a:lnTo>
                  <a:lnTo>
                    <a:pt x="538" y="336"/>
                  </a:lnTo>
                  <a:lnTo>
                    <a:pt x="540" y="336"/>
                  </a:lnTo>
                  <a:lnTo>
                    <a:pt x="540" y="338"/>
                  </a:lnTo>
                  <a:lnTo>
                    <a:pt x="540" y="336"/>
                  </a:lnTo>
                  <a:lnTo>
                    <a:pt x="540" y="338"/>
                  </a:lnTo>
                  <a:lnTo>
                    <a:pt x="540" y="336"/>
                  </a:lnTo>
                  <a:lnTo>
                    <a:pt x="540" y="338"/>
                  </a:lnTo>
                  <a:lnTo>
                    <a:pt x="540" y="336"/>
                  </a:lnTo>
                  <a:lnTo>
                    <a:pt x="540" y="338"/>
                  </a:lnTo>
                  <a:lnTo>
                    <a:pt x="540" y="336"/>
                  </a:lnTo>
                  <a:lnTo>
                    <a:pt x="538" y="336"/>
                  </a:lnTo>
                  <a:lnTo>
                    <a:pt x="536" y="336"/>
                  </a:lnTo>
                  <a:lnTo>
                    <a:pt x="536" y="334"/>
                  </a:lnTo>
                  <a:lnTo>
                    <a:pt x="536" y="336"/>
                  </a:lnTo>
                  <a:lnTo>
                    <a:pt x="536" y="334"/>
                  </a:lnTo>
                  <a:lnTo>
                    <a:pt x="534" y="334"/>
                  </a:lnTo>
                  <a:lnTo>
                    <a:pt x="534" y="332"/>
                  </a:lnTo>
                  <a:lnTo>
                    <a:pt x="534" y="334"/>
                  </a:lnTo>
                  <a:lnTo>
                    <a:pt x="534" y="332"/>
                  </a:lnTo>
                  <a:lnTo>
                    <a:pt x="536" y="332"/>
                  </a:lnTo>
                  <a:lnTo>
                    <a:pt x="534" y="332"/>
                  </a:lnTo>
                  <a:lnTo>
                    <a:pt x="536" y="332"/>
                  </a:lnTo>
                  <a:lnTo>
                    <a:pt x="536" y="331"/>
                  </a:lnTo>
                  <a:lnTo>
                    <a:pt x="536" y="329"/>
                  </a:lnTo>
                  <a:lnTo>
                    <a:pt x="536" y="331"/>
                  </a:lnTo>
                  <a:lnTo>
                    <a:pt x="536" y="332"/>
                  </a:lnTo>
                  <a:lnTo>
                    <a:pt x="538" y="332"/>
                  </a:lnTo>
                  <a:lnTo>
                    <a:pt x="536" y="331"/>
                  </a:lnTo>
                  <a:lnTo>
                    <a:pt x="538" y="331"/>
                  </a:lnTo>
                  <a:lnTo>
                    <a:pt x="538" y="332"/>
                  </a:lnTo>
                  <a:lnTo>
                    <a:pt x="538" y="331"/>
                  </a:lnTo>
                  <a:lnTo>
                    <a:pt x="538" y="332"/>
                  </a:lnTo>
                  <a:lnTo>
                    <a:pt x="540" y="332"/>
                  </a:lnTo>
                  <a:lnTo>
                    <a:pt x="540" y="331"/>
                  </a:lnTo>
                  <a:lnTo>
                    <a:pt x="538" y="331"/>
                  </a:lnTo>
                  <a:lnTo>
                    <a:pt x="540" y="331"/>
                  </a:lnTo>
                  <a:lnTo>
                    <a:pt x="538" y="331"/>
                  </a:lnTo>
                  <a:lnTo>
                    <a:pt x="540" y="331"/>
                  </a:lnTo>
                  <a:lnTo>
                    <a:pt x="538" y="331"/>
                  </a:lnTo>
                  <a:lnTo>
                    <a:pt x="538" y="329"/>
                  </a:lnTo>
                  <a:lnTo>
                    <a:pt x="540" y="329"/>
                  </a:lnTo>
                  <a:lnTo>
                    <a:pt x="538" y="329"/>
                  </a:lnTo>
                  <a:lnTo>
                    <a:pt x="540" y="329"/>
                  </a:lnTo>
                  <a:lnTo>
                    <a:pt x="540" y="327"/>
                  </a:lnTo>
                  <a:lnTo>
                    <a:pt x="540" y="329"/>
                  </a:lnTo>
                  <a:lnTo>
                    <a:pt x="540" y="327"/>
                  </a:lnTo>
                  <a:lnTo>
                    <a:pt x="542" y="327"/>
                  </a:lnTo>
                  <a:lnTo>
                    <a:pt x="542" y="329"/>
                  </a:lnTo>
                  <a:lnTo>
                    <a:pt x="542" y="327"/>
                  </a:lnTo>
                  <a:lnTo>
                    <a:pt x="544" y="327"/>
                  </a:lnTo>
                  <a:close/>
                  <a:moveTo>
                    <a:pt x="603" y="444"/>
                  </a:moveTo>
                  <a:lnTo>
                    <a:pt x="605" y="444"/>
                  </a:lnTo>
                  <a:lnTo>
                    <a:pt x="603" y="444"/>
                  </a:lnTo>
                  <a:close/>
                  <a:moveTo>
                    <a:pt x="192" y="150"/>
                  </a:moveTo>
                  <a:lnTo>
                    <a:pt x="190" y="152"/>
                  </a:lnTo>
                  <a:lnTo>
                    <a:pt x="192" y="152"/>
                  </a:lnTo>
                  <a:lnTo>
                    <a:pt x="192" y="154"/>
                  </a:lnTo>
                  <a:lnTo>
                    <a:pt x="192" y="156"/>
                  </a:lnTo>
                  <a:lnTo>
                    <a:pt x="190" y="156"/>
                  </a:lnTo>
                  <a:lnTo>
                    <a:pt x="192" y="156"/>
                  </a:lnTo>
                  <a:lnTo>
                    <a:pt x="192" y="154"/>
                  </a:lnTo>
                  <a:lnTo>
                    <a:pt x="190" y="154"/>
                  </a:lnTo>
                  <a:lnTo>
                    <a:pt x="190" y="156"/>
                  </a:lnTo>
                  <a:lnTo>
                    <a:pt x="190" y="158"/>
                  </a:lnTo>
                  <a:lnTo>
                    <a:pt x="190" y="156"/>
                  </a:lnTo>
                  <a:lnTo>
                    <a:pt x="190" y="158"/>
                  </a:lnTo>
                  <a:lnTo>
                    <a:pt x="192" y="158"/>
                  </a:lnTo>
                  <a:lnTo>
                    <a:pt x="194" y="158"/>
                  </a:lnTo>
                  <a:lnTo>
                    <a:pt x="194" y="156"/>
                  </a:lnTo>
                  <a:lnTo>
                    <a:pt x="194" y="158"/>
                  </a:lnTo>
                  <a:lnTo>
                    <a:pt x="196" y="158"/>
                  </a:lnTo>
                  <a:lnTo>
                    <a:pt x="196" y="160"/>
                  </a:lnTo>
                  <a:lnTo>
                    <a:pt x="196" y="162"/>
                  </a:lnTo>
                  <a:lnTo>
                    <a:pt x="198" y="162"/>
                  </a:lnTo>
                  <a:lnTo>
                    <a:pt x="196" y="162"/>
                  </a:lnTo>
                  <a:lnTo>
                    <a:pt x="198" y="162"/>
                  </a:lnTo>
                  <a:lnTo>
                    <a:pt x="198" y="164"/>
                  </a:lnTo>
                  <a:lnTo>
                    <a:pt x="196" y="165"/>
                  </a:lnTo>
                  <a:lnTo>
                    <a:pt x="198" y="164"/>
                  </a:lnTo>
                  <a:lnTo>
                    <a:pt x="198" y="165"/>
                  </a:lnTo>
                  <a:lnTo>
                    <a:pt x="200" y="165"/>
                  </a:lnTo>
                  <a:lnTo>
                    <a:pt x="198" y="165"/>
                  </a:lnTo>
                  <a:lnTo>
                    <a:pt x="198" y="167"/>
                  </a:lnTo>
                  <a:lnTo>
                    <a:pt x="200" y="165"/>
                  </a:lnTo>
                  <a:lnTo>
                    <a:pt x="200" y="167"/>
                  </a:lnTo>
                  <a:lnTo>
                    <a:pt x="198" y="167"/>
                  </a:lnTo>
                  <a:lnTo>
                    <a:pt x="196" y="167"/>
                  </a:lnTo>
                  <a:lnTo>
                    <a:pt x="196" y="165"/>
                  </a:lnTo>
                  <a:lnTo>
                    <a:pt x="194" y="165"/>
                  </a:lnTo>
                  <a:lnTo>
                    <a:pt x="196" y="165"/>
                  </a:lnTo>
                  <a:lnTo>
                    <a:pt x="194" y="165"/>
                  </a:lnTo>
                  <a:lnTo>
                    <a:pt x="192" y="165"/>
                  </a:lnTo>
                  <a:lnTo>
                    <a:pt x="192" y="164"/>
                  </a:lnTo>
                  <a:lnTo>
                    <a:pt x="190" y="165"/>
                  </a:lnTo>
                  <a:lnTo>
                    <a:pt x="188" y="165"/>
                  </a:lnTo>
                  <a:lnTo>
                    <a:pt x="188" y="167"/>
                  </a:lnTo>
                  <a:lnTo>
                    <a:pt x="188" y="165"/>
                  </a:lnTo>
                  <a:lnTo>
                    <a:pt x="188" y="164"/>
                  </a:lnTo>
                  <a:lnTo>
                    <a:pt x="188" y="162"/>
                  </a:lnTo>
                  <a:lnTo>
                    <a:pt x="186" y="162"/>
                  </a:lnTo>
                  <a:lnTo>
                    <a:pt x="186" y="160"/>
                  </a:lnTo>
                  <a:lnTo>
                    <a:pt x="186" y="158"/>
                  </a:lnTo>
                  <a:lnTo>
                    <a:pt x="185" y="156"/>
                  </a:lnTo>
                  <a:lnTo>
                    <a:pt x="185" y="154"/>
                  </a:lnTo>
                  <a:lnTo>
                    <a:pt x="186" y="154"/>
                  </a:lnTo>
                  <a:lnTo>
                    <a:pt x="185" y="154"/>
                  </a:lnTo>
                  <a:lnTo>
                    <a:pt x="186" y="152"/>
                  </a:lnTo>
                  <a:lnTo>
                    <a:pt x="186" y="154"/>
                  </a:lnTo>
                  <a:lnTo>
                    <a:pt x="186" y="152"/>
                  </a:lnTo>
                  <a:lnTo>
                    <a:pt x="186" y="150"/>
                  </a:lnTo>
                  <a:lnTo>
                    <a:pt x="185" y="150"/>
                  </a:lnTo>
                  <a:lnTo>
                    <a:pt x="186" y="150"/>
                  </a:lnTo>
                  <a:lnTo>
                    <a:pt x="186" y="148"/>
                  </a:lnTo>
                  <a:lnTo>
                    <a:pt x="186" y="150"/>
                  </a:lnTo>
                  <a:lnTo>
                    <a:pt x="188" y="150"/>
                  </a:lnTo>
                  <a:lnTo>
                    <a:pt x="190" y="148"/>
                  </a:lnTo>
                  <a:lnTo>
                    <a:pt x="192" y="148"/>
                  </a:lnTo>
                  <a:lnTo>
                    <a:pt x="192" y="150"/>
                  </a:lnTo>
                  <a:close/>
                  <a:moveTo>
                    <a:pt x="651" y="394"/>
                  </a:moveTo>
                  <a:lnTo>
                    <a:pt x="653" y="394"/>
                  </a:lnTo>
                  <a:lnTo>
                    <a:pt x="653" y="396"/>
                  </a:lnTo>
                  <a:lnTo>
                    <a:pt x="653" y="394"/>
                  </a:lnTo>
                  <a:lnTo>
                    <a:pt x="653" y="396"/>
                  </a:lnTo>
                  <a:lnTo>
                    <a:pt x="655" y="396"/>
                  </a:lnTo>
                  <a:lnTo>
                    <a:pt x="655" y="394"/>
                  </a:lnTo>
                  <a:lnTo>
                    <a:pt x="655" y="396"/>
                  </a:lnTo>
                  <a:lnTo>
                    <a:pt x="657" y="396"/>
                  </a:lnTo>
                  <a:lnTo>
                    <a:pt x="655" y="396"/>
                  </a:lnTo>
                  <a:lnTo>
                    <a:pt x="657" y="396"/>
                  </a:lnTo>
                  <a:lnTo>
                    <a:pt x="659" y="396"/>
                  </a:lnTo>
                  <a:lnTo>
                    <a:pt x="657" y="396"/>
                  </a:lnTo>
                  <a:lnTo>
                    <a:pt x="657" y="398"/>
                  </a:lnTo>
                  <a:lnTo>
                    <a:pt x="657" y="400"/>
                  </a:lnTo>
                  <a:lnTo>
                    <a:pt x="655" y="400"/>
                  </a:lnTo>
                  <a:lnTo>
                    <a:pt x="655" y="402"/>
                  </a:lnTo>
                  <a:lnTo>
                    <a:pt x="653" y="402"/>
                  </a:lnTo>
                  <a:lnTo>
                    <a:pt x="653" y="404"/>
                  </a:lnTo>
                  <a:lnTo>
                    <a:pt x="653" y="402"/>
                  </a:lnTo>
                  <a:lnTo>
                    <a:pt x="653" y="404"/>
                  </a:lnTo>
                  <a:lnTo>
                    <a:pt x="651" y="404"/>
                  </a:lnTo>
                  <a:lnTo>
                    <a:pt x="653" y="404"/>
                  </a:lnTo>
                  <a:lnTo>
                    <a:pt x="653" y="405"/>
                  </a:lnTo>
                  <a:lnTo>
                    <a:pt x="651" y="405"/>
                  </a:lnTo>
                  <a:lnTo>
                    <a:pt x="651" y="407"/>
                  </a:lnTo>
                  <a:lnTo>
                    <a:pt x="651" y="405"/>
                  </a:lnTo>
                  <a:lnTo>
                    <a:pt x="651" y="407"/>
                  </a:lnTo>
                  <a:lnTo>
                    <a:pt x="649" y="407"/>
                  </a:lnTo>
                  <a:lnTo>
                    <a:pt x="649" y="405"/>
                  </a:lnTo>
                  <a:lnTo>
                    <a:pt x="649" y="407"/>
                  </a:lnTo>
                  <a:lnTo>
                    <a:pt x="651" y="407"/>
                  </a:lnTo>
                  <a:lnTo>
                    <a:pt x="651" y="405"/>
                  </a:lnTo>
                  <a:lnTo>
                    <a:pt x="649" y="405"/>
                  </a:lnTo>
                  <a:lnTo>
                    <a:pt x="649" y="407"/>
                  </a:lnTo>
                  <a:lnTo>
                    <a:pt x="649" y="405"/>
                  </a:lnTo>
                  <a:lnTo>
                    <a:pt x="649" y="404"/>
                  </a:lnTo>
                  <a:lnTo>
                    <a:pt x="647" y="404"/>
                  </a:lnTo>
                  <a:lnTo>
                    <a:pt x="647" y="402"/>
                  </a:lnTo>
                  <a:lnTo>
                    <a:pt x="649" y="402"/>
                  </a:lnTo>
                  <a:lnTo>
                    <a:pt x="647" y="402"/>
                  </a:lnTo>
                  <a:lnTo>
                    <a:pt x="647" y="400"/>
                  </a:lnTo>
                  <a:lnTo>
                    <a:pt x="647" y="402"/>
                  </a:lnTo>
                  <a:lnTo>
                    <a:pt x="647" y="400"/>
                  </a:lnTo>
                  <a:lnTo>
                    <a:pt x="645" y="400"/>
                  </a:lnTo>
                  <a:lnTo>
                    <a:pt x="647" y="400"/>
                  </a:lnTo>
                  <a:lnTo>
                    <a:pt x="647" y="398"/>
                  </a:lnTo>
                  <a:lnTo>
                    <a:pt x="645" y="398"/>
                  </a:lnTo>
                  <a:lnTo>
                    <a:pt x="647" y="398"/>
                  </a:lnTo>
                  <a:lnTo>
                    <a:pt x="649" y="398"/>
                  </a:lnTo>
                  <a:lnTo>
                    <a:pt x="649" y="400"/>
                  </a:lnTo>
                  <a:lnTo>
                    <a:pt x="651" y="400"/>
                  </a:lnTo>
                  <a:lnTo>
                    <a:pt x="649" y="400"/>
                  </a:lnTo>
                  <a:lnTo>
                    <a:pt x="651" y="400"/>
                  </a:lnTo>
                  <a:lnTo>
                    <a:pt x="649" y="400"/>
                  </a:lnTo>
                  <a:lnTo>
                    <a:pt x="651" y="400"/>
                  </a:lnTo>
                  <a:lnTo>
                    <a:pt x="651" y="398"/>
                  </a:lnTo>
                  <a:lnTo>
                    <a:pt x="649" y="398"/>
                  </a:lnTo>
                  <a:lnTo>
                    <a:pt x="649" y="396"/>
                  </a:lnTo>
                  <a:lnTo>
                    <a:pt x="649" y="398"/>
                  </a:lnTo>
                  <a:lnTo>
                    <a:pt x="649" y="396"/>
                  </a:lnTo>
                  <a:lnTo>
                    <a:pt x="651" y="396"/>
                  </a:lnTo>
                  <a:lnTo>
                    <a:pt x="649" y="396"/>
                  </a:lnTo>
                  <a:lnTo>
                    <a:pt x="649" y="394"/>
                  </a:lnTo>
                  <a:lnTo>
                    <a:pt x="649" y="396"/>
                  </a:lnTo>
                  <a:lnTo>
                    <a:pt x="649" y="394"/>
                  </a:lnTo>
                  <a:lnTo>
                    <a:pt x="651" y="394"/>
                  </a:lnTo>
                  <a:close/>
                  <a:moveTo>
                    <a:pt x="726" y="461"/>
                  </a:moveTo>
                  <a:lnTo>
                    <a:pt x="726" y="463"/>
                  </a:lnTo>
                  <a:lnTo>
                    <a:pt x="728" y="463"/>
                  </a:lnTo>
                  <a:lnTo>
                    <a:pt x="728" y="465"/>
                  </a:lnTo>
                  <a:lnTo>
                    <a:pt x="726" y="465"/>
                  </a:lnTo>
                  <a:lnTo>
                    <a:pt x="728" y="465"/>
                  </a:lnTo>
                  <a:lnTo>
                    <a:pt x="726" y="465"/>
                  </a:lnTo>
                  <a:lnTo>
                    <a:pt x="728" y="465"/>
                  </a:lnTo>
                  <a:lnTo>
                    <a:pt x="728" y="467"/>
                  </a:lnTo>
                  <a:lnTo>
                    <a:pt x="730" y="467"/>
                  </a:lnTo>
                  <a:lnTo>
                    <a:pt x="728" y="467"/>
                  </a:lnTo>
                  <a:lnTo>
                    <a:pt x="728" y="469"/>
                  </a:lnTo>
                  <a:lnTo>
                    <a:pt x="726" y="469"/>
                  </a:lnTo>
                  <a:lnTo>
                    <a:pt x="726" y="471"/>
                  </a:lnTo>
                  <a:lnTo>
                    <a:pt x="724" y="471"/>
                  </a:lnTo>
                  <a:lnTo>
                    <a:pt x="722" y="471"/>
                  </a:lnTo>
                  <a:lnTo>
                    <a:pt x="724" y="471"/>
                  </a:lnTo>
                  <a:lnTo>
                    <a:pt x="722" y="471"/>
                  </a:lnTo>
                  <a:lnTo>
                    <a:pt x="722" y="473"/>
                  </a:lnTo>
                  <a:lnTo>
                    <a:pt x="720" y="473"/>
                  </a:lnTo>
                  <a:lnTo>
                    <a:pt x="720" y="475"/>
                  </a:lnTo>
                  <a:lnTo>
                    <a:pt x="718" y="475"/>
                  </a:lnTo>
                  <a:lnTo>
                    <a:pt x="716" y="475"/>
                  </a:lnTo>
                  <a:lnTo>
                    <a:pt x="716" y="473"/>
                  </a:lnTo>
                  <a:lnTo>
                    <a:pt x="715" y="473"/>
                  </a:lnTo>
                  <a:lnTo>
                    <a:pt x="713" y="473"/>
                  </a:lnTo>
                  <a:lnTo>
                    <a:pt x="713" y="471"/>
                  </a:lnTo>
                  <a:lnTo>
                    <a:pt x="711" y="471"/>
                  </a:lnTo>
                  <a:lnTo>
                    <a:pt x="711" y="469"/>
                  </a:lnTo>
                  <a:lnTo>
                    <a:pt x="713" y="469"/>
                  </a:lnTo>
                  <a:lnTo>
                    <a:pt x="713" y="471"/>
                  </a:lnTo>
                  <a:lnTo>
                    <a:pt x="713" y="469"/>
                  </a:lnTo>
                  <a:lnTo>
                    <a:pt x="713" y="471"/>
                  </a:lnTo>
                  <a:lnTo>
                    <a:pt x="715" y="471"/>
                  </a:lnTo>
                  <a:lnTo>
                    <a:pt x="716" y="471"/>
                  </a:lnTo>
                  <a:lnTo>
                    <a:pt x="716" y="469"/>
                  </a:lnTo>
                  <a:lnTo>
                    <a:pt x="718" y="469"/>
                  </a:lnTo>
                  <a:lnTo>
                    <a:pt x="718" y="467"/>
                  </a:lnTo>
                  <a:lnTo>
                    <a:pt x="720" y="467"/>
                  </a:lnTo>
                  <a:lnTo>
                    <a:pt x="720" y="469"/>
                  </a:lnTo>
                  <a:lnTo>
                    <a:pt x="718" y="469"/>
                  </a:lnTo>
                  <a:lnTo>
                    <a:pt x="720" y="469"/>
                  </a:lnTo>
                  <a:lnTo>
                    <a:pt x="722" y="469"/>
                  </a:lnTo>
                  <a:lnTo>
                    <a:pt x="722" y="467"/>
                  </a:lnTo>
                  <a:lnTo>
                    <a:pt x="722" y="465"/>
                  </a:lnTo>
                  <a:lnTo>
                    <a:pt x="724" y="465"/>
                  </a:lnTo>
                  <a:lnTo>
                    <a:pt x="724" y="463"/>
                  </a:lnTo>
                  <a:lnTo>
                    <a:pt x="724" y="461"/>
                  </a:lnTo>
                  <a:lnTo>
                    <a:pt x="726" y="461"/>
                  </a:lnTo>
                  <a:close/>
                  <a:moveTo>
                    <a:pt x="640" y="409"/>
                  </a:moveTo>
                  <a:lnTo>
                    <a:pt x="640" y="411"/>
                  </a:lnTo>
                  <a:lnTo>
                    <a:pt x="642" y="411"/>
                  </a:lnTo>
                  <a:lnTo>
                    <a:pt x="640" y="411"/>
                  </a:lnTo>
                  <a:lnTo>
                    <a:pt x="640" y="409"/>
                  </a:lnTo>
                  <a:lnTo>
                    <a:pt x="642" y="409"/>
                  </a:lnTo>
                  <a:lnTo>
                    <a:pt x="642" y="411"/>
                  </a:lnTo>
                  <a:lnTo>
                    <a:pt x="642" y="413"/>
                  </a:lnTo>
                  <a:lnTo>
                    <a:pt x="642" y="411"/>
                  </a:lnTo>
                  <a:lnTo>
                    <a:pt x="642" y="413"/>
                  </a:lnTo>
                  <a:lnTo>
                    <a:pt x="642" y="415"/>
                  </a:lnTo>
                  <a:lnTo>
                    <a:pt x="642" y="417"/>
                  </a:lnTo>
                  <a:lnTo>
                    <a:pt x="640" y="417"/>
                  </a:lnTo>
                  <a:lnTo>
                    <a:pt x="638" y="417"/>
                  </a:lnTo>
                  <a:lnTo>
                    <a:pt x="640" y="417"/>
                  </a:lnTo>
                  <a:lnTo>
                    <a:pt x="638" y="417"/>
                  </a:lnTo>
                  <a:lnTo>
                    <a:pt x="638" y="419"/>
                  </a:lnTo>
                  <a:lnTo>
                    <a:pt x="638" y="417"/>
                  </a:lnTo>
                  <a:lnTo>
                    <a:pt x="638" y="419"/>
                  </a:lnTo>
                  <a:lnTo>
                    <a:pt x="636" y="419"/>
                  </a:lnTo>
                  <a:lnTo>
                    <a:pt x="638" y="419"/>
                  </a:lnTo>
                  <a:lnTo>
                    <a:pt x="638" y="421"/>
                  </a:lnTo>
                  <a:lnTo>
                    <a:pt x="636" y="421"/>
                  </a:lnTo>
                  <a:lnTo>
                    <a:pt x="638" y="421"/>
                  </a:lnTo>
                  <a:lnTo>
                    <a:pt x="638" y="423"/>
                  </a:lnTo>
                  <a:lnTo>
                    <a:pt x="636" y="423"/>
                  </a:lnTo>
                  <a:lnTo>
                    <a:pt x="636" y="425"/>
                  </a:lnTo>
                  <a:lnTo>
                    <a:pt x="634" y="425"/>
                  </a:lnTo>
                  <a:lnTo>
                    <a:pt x="636" y="425"/>
                  </a:lnTo>
                  <a:lnTo>
                    <a:pt x="634" y="425"/>
                  </a:lnTo>
                  <a:lnTo>
                    <a:pt x="634" y="423"/>
                  </a:lnTo>
                  <a:lnTo>
                    <a:pt x="634" y="425"/>
                  </a:lnTo>
                  <a:lnTo>
                    <a:pt x="634" y="423"/>
                  </a:lnTo>
                  <a:lnTo>
                    <a:pt x="636" y="423"/>
                  </a:lnTo>
                  <a:lnTo>
                    <a:pt x="634" y="423"/>
                  </a:lnTo>
                  <a:lnTo>
                    <a:pt x="634" y="421"/>
                  </a:lnTo>
                  <a:lnTo>
                    <a:pt x="634" y="423"/>
                  </a:lnTo>
                  <a:lnTo>
                    <a:pt x="632" y="423"/>
                  </a:lnTo>
                  <a:lnTo>
                    <a:pt x="634" y="423"/>
                  </a:lnTo>
                  <a:lnTo>
                    <a:pt x="632" y="423"/>
                  </a:lnTo>
                  <a:lnTo>
                    <a:pt x="634" y="423"/>
                  </a:lnTo>
                  <a:lnTo>
                    <a:pt x="632" y="423"/>
                  </a:lnTo>
                  <a:lnTo>
                    <a:pt x="632" y="421"/>
                  </a:lnTo>
                  <a:lnTo>
                    <a:pt x="632" y="423"/>
                  </a:lnTo>
                  <a:lnTo>
                    <a:pt x="632" y="421"/>
                  </a:lnTo>
                  <a:lnTo>
                    <a:pt x="634" y="421"/>
                  </a:lnTo>
                  <a:lnTo>
                    <a:pt x="632" y="421"/>
                  </a:lnTo>
                  <a:lnTo>
                    <a:pt x="632" y="423"/>
                  </a:lnTo>
                  <a:lnTo>
                    <a:pt x="630" y="423"/>
                  </a:lnTo>
                  <a:lnTo>
                    <a:pt x="632" y="423"/>
                  </a:lnTo>
                  <a:lnTo>
                    <a:pt x="630" y="423"/>
                  </a:lnTo>
                  <a:lnTo>
                    <a:pt x="632" y="421"/>
                  </a:lnTo>
                  <a:lnTo>
                    <a:pt x="632" y="423"/>
                  </a:lnTo>
                  <a:lnTo>
                    <a:pt x="632" y="421"/>
                  </a:lnTo>
                  <a:lnTo>
                    <a:pt x="630" y="421"/>
                  </a:lnTo>
                  <a:lnTo>
                    <a:pt x="630" y="419"/>
                  </a:lnTo>
                  <a:lnTo>
                    <a:pt x="632" y="419"/>
                  </a:lnTo>
                  <a:lnTo>
                    <a:pt x="630" y="421"/>
                  </a:lnTo>
                  <a:lnTo>
                    <a:pt x="632" y="421"/>
                  </a:lnTo>
                  <a:lnTo>
                    <a:pt x="632" y="419"/>
                  </a:lnTo>
                  <a:lnTo>
                    <a:pt x="632" y="417"/>
                  </a:lnTo>
                  <a:lnTo>
                    <a:pt x="634" y="417"/>
                  </a:lnTo>
                  <a:lnTo>
                    <a:pt x="632" y="417"/>
                  </a:lnTo>
                  <a:lnTo>
                    <a:pt x="634" y="417"/>
                  </a:lnTo>
                  <a:lnTo>
                    <a:pt x="634" y="419"/>
                  </a:lnTo>
                  <a:lnTo>
                    <a:pt x="634" y="421"/>
                  </a:lnTo>
                  <a:lnTo>
                    <a:pt x="634" y="419"/>
                  </a:lnTo>
                  <a:lnTo>
                    <a:pt x="634" y="421"/>
                  </a:lnTo>
                  <a:lnTo>
                    <a:pt x="636" y="421"/>
                  </a:lnTo>
                  <a:lnTo>
                    <a:pt x="636" y="419"/>
                  </a:lnTo>
                  <a:lnTo>
                    <a:pt x="636" y="421"/>
                  </a:lnTo>
                  <a:lnTo>
                    <a:pt x="636" y="419"/>
                  </a:lnTo>
                  <a:lnTo>
                    <a:pt x="636" y="417"/>
                  </a:lnTo>
                  <a:lnTo>
                    <a:pt x="638" y="417"/>
                  </a:lnTo>
                  <a:lnTo>
                    <a:pt x="638" y="415"/>
                  </a:lnTo>
                  <a:lnTo>
                    <a:pt x="636" y="415"/>
                  </a:lnTo>
                  <a:lnTo>
                    <a:pt x="636" y="413"/>
                  </a:lnTo>
                  <a:lnTo>
                    <a:pt x="636" y="411"/>
                  </a:lnTo>
                  <a:lnTo>
                    <a:pt x="638" y="411"/>
                  </a:lnTo>
                  <a:lnTo>
                    <a:pt x="638" y="413"/>
                  </a:lnTo>
                  <a:lnTo>
                    <a:pt x="638" y="411"/>
                  </a:lnTo>
                  <a:lnTo>
                    <a:pt x="638" y="413"/>
                  </a:lnTo>
                  <a:lnTo>
                    <a:pt x="638" y="411"/>
                  </a:lnTo>
                  <a:lnTo>
                    <a:pt x="638" y="413"/>
                  </a:lnTo>
                  <a:lnTo>
                    <a:pt x="638" y="411"/>
                  </a:lnTo>
                  <a:lnTo>
                    <a:pt x="638" y="413"/>
                  </a:lnTo>
                  <a:lnTo>
                    <a:pt x="638" y="411"/>
                  </a:lnTo>
                  <a:lnTo>
                    <a:pt x="638" y="409"/>
                  </a:lnTo>
                  <a:lnTo>
                    <a:pt x="640" y="409"/>
                  </a:lnTo>
                  <a:lnTo>
                    <a:pt x="640" y="411"/>
                  </a:lnTo>
                  <a:lnTo>
                    <a:pt x="640" y="409"/>
                  </a:lnTo>
                  <a:close/>
                  <a:moveTo>
                    <a:pt x="221" y="185"/>
                  </a:moveTo>
                  <a:lnTo>
                    <a:pt x="221" y="187"/>
                  </a:lnTo>
                  <a:lnTo>
                    <a:pt x="223" y="187"/>
                  </a:lnTo>
                  <a:lnTo>
                    <a:pt x="221" y="187"/>
                  </a:lnTo>
                  <a:lnTo>
                    <a:pt x="221" y="188"/>
                  </a:lnTo>
                  <a:lnTo>
                    <a:pt x="223" y="188"/>
                  </a:lnTo>
                  <a:lnTo>
                    <a:pt x="221" y="188"/>
                  </a:lnTo>
                  <a:lnTo>
                    <a:pt x="221" y="190"/>
                  </a:lnTo>
                  <a:lnTo>
                    <a:pt x="221" y="188"/>
                  </a:lnTo>
                  <a:lnTo>
                    <a:pt x="223" y="188"/>
                  </a:lnTo>
                  <a:lnTo>
                    <a:pt x="223" y="187"/>
                  </a:lnTo>
                  <a:lnTo>
                    <a:pt x="223" y="188"/>
                  </a:lnTo>
                  <a:lnTo>
                    <a:pt x="225" y="188"/>
                  </a:lnTo>
                  <a:lnTo>
                    <a:pt x="225" y="187"/>
                  </a:lnTo>
                  <a:lnTo>
                    <a:pt x="225" y="188"/>
                  </a:lnTo>
                  <a:lnTo>
                    <a:pt x="227" y="187"/>
                  </a:lnTo>
                  <a:lnTo>
                    <a:pt x="227" y="188"/>
                  </a:lnTo>
                  <a:lnTo>
                    <a:pt x="227" y="190"/>
                  </a:lnTo>
                  <a:lnTo>
                    <a:pt x="225" y="190"/>
                  </a:lnTo>
                  <a:lnTo>
                    <a:pt x="227" y="190"/>
                  </a:lnTo>
                  <a:lnTo>
                    <a:pt x="227" y="192"/>
                  </a:lnTo>
                  <a:lnTo>
                    <a:pt x="229" y="192"/>
                  </a:lnTo>
                  <a:lnTo>
                    <a:pt x="229" y="190"/>
                  </a:lnTo>
                  <a:lnTo>
                    <a:pt x="229" y="192"/>
                  </a:lnTo>
                  <a:lnTo>
                    <a:pt x="231" y="192"/>
                  </a:lnTo>
                  <a:lnTo>
                    <a:pt x="229" y="192"/>
                  </a:lnTo>
                  <a:lnTo>
                    <a:pt x="227" y="194"/>
                  </a:lnTo>
                  <a:lnTo>
                    <a:pt x="225" y="194"/>
                  </a:lnTo>
                  <a:lnTo>
                    <a:pt x="223" y="194"/>
                  </a:lnTo>
                  <a:lnTo>
                    <a:pt x="221" y="194"/>
                  </a:lnTo>
                  <a:lnTo>
                    <a:pt x="219" y="194"/>
                  </a:lnTo>
                  <a:lnTo>
                    <a:pt x="219" y="192"/>
                  </a:lnTo>
                  <a:lnTo>
                    <a:pt x="217" y="192"/>
                  </a:lnTo>
                  <a:lnTo>
                    <a:pt x="219" y="192"/>
                  </a:lnTo>
                  <a:lnTo>
                    <a:pt x="217" y="190"/>
                  </a:lnTo>
                  <a:lnTo>
                    <a:pt x="219" y="190"/>
                  </a:lnTo>
                  <a:lnTo>
                    <a:pt x="219" y="192"/>
                  </a:lnTo>
                  <a:lnTo>
                    <a:pt x="221" y="192"/>
                  </a:lnTo>
                  <a:lnTo>
                    <a:pt x="221" y="190"/>
                  </a:lnTo>
                  <a:lnTo>
                    <a:pt x="219" y="190"/>
                  </a:lnTo>
                  <a:lnTo>
                    <a:pt x="221" y="188"/>
                  </a:lnTo>
                  <a:lnTo>
                    <a:pt x="219" y="188"/>
                  </a:lnTo>
                  <a:lnTo>
                    <a:pt x="219" y="187"/>
                  </a:lnTo>
                  <a:lnTo>
                    <a:pt x="221" y="187"/>
                  </a:lnTo>
                  <a:lnTo>
                    <a:pt x="219" y="187"/>
                  </a:lnTo>
                  <a:lnTo>
                    <a:pt x="221" y="185"/>
                  </a:lnTo>
                  <a:close/>
                  <a:moveTo>
                    <a:pt x="202" y="171"/>
                  </a:moveTo>
                  <a:lnTo>
                    <a:pt x="204" y="171"/>
                  </a:lnTo>
                  <a:lnTo>
                    <a:pt x="206" y="171"/>
                  </a:lnTo>
                  <a:lnTo>
                    <a:pt x="204" y="171"/>
                  </a:lnTo>
                  <a:lnTo>
                    <a:pt x="206" y="171"/>
                  </a:lnTo>
                  <a:lnTo>
                    <a:pt x="204" y="173"/>
                  </a:lnTo>
                  <a:lnTo>
                    <a:pt x="206" y="173"/>
                  </a:lnTo>
                  <a:lnTo>
                    <a:pt x="206" y="171"/>
                  </a:lnTo>
                  <a:lnTo>
                    <a:pt x="208" y="171"/>
                  </a:lnTo>
                  <a:lnTo>
                    <a:pt x="209" y="171"/>
                  </a:lnTo>
                  <a:lnTo>
                    <a:pt x="208" y="171"/>
                  </a:lnTo>
                  <a:lnTo>
                    <a:pt x="209" y="171"/>
                  </a:lnTo>
                  <a:lnTo>
                    <a:pt x="209" y="173"/>
                  </a:lnTo>
                  <a:lnTo>
                    <a:pt x="209" y="171"/>
                  </a:lnTo>
                  <a:lnTo>
                    <a:pt x="211" y="171"/>
                  </a:lnTo>
                  <a:lnTo>
                    <a:pt x="211" y="173"/>
                  </a:lnTo>
                  <a:lnTo>
                    <a:pt x="209" y="173"/>
                  </a:lnTo>
                  <a:lnTo>
                    <a:pt x="208" y="173"/>
                  </a:lnTo>
                  <a:lnTo>
                    <a:pt x="208" y="175"/>
                  </a:lnTo>
                  <a:lnTo>
                    <a:pt x="206" y="175"/>
                  </a:lnTo>
                  <a:lnTo>
                    <a:pt x="204" y="175"/>
                  </a:lnTo>
                  <a:lnTo>
                    <a:pt x="202" y="175"/>
                  </a:lnTo>
                  <a:lnTo>
                    <a:pt x="200" y="175"/>
                  </a:lnTo>
                  <a:lnTo>
                    <a:pt x="200" y="177"/>
                  </a:lnTo>
                  <a:lnTo>
                    <a:pt x="202" y="177"/>
                  </a:lnTo>
                  <a:lnTo>
                    <a:pt x="200" y="177"/>
                  </a:lnTo>
                  <a:lnTo>
                    <a:pt x="202" y="177"/>
                  </a:lnTo>
                  <a:lnTo>
                    <a:pt x="200" y="177"/>
                  </a:lnTo>
                  <a:lnTo>
                    <a:pt x="198" y="177"/>
                  </a:lnTo>
                  <a:lnTo>
                    <a:pt x="196" y="179"/>
                  </a:lnTo>
                  <a:lnTo>
                    <a:pt x="196" y="177"/>
                  </a:lnTo>
                  <a:lnTo>
                    <a:pt x="194" y="177"/>
                  </a:lnTo>
                  <a:lnTo>
                    <a:pt x="196" y="177"/>
                  </a:lnTo>
                  <a:lnTo>
                    <a:pt x="196" y="175"/>
                  </a:lnTo>
                  <a:lnTo>
                    <a:pt x="198" y="175"/>
                  </a:lnTo>
                  <a:lnTo>
                    <a:pt x="200" y="177"/>
                  </a:lnTo>
                  <a:lnTo>
                    <a:pt x="200" y="175"/>
                  </a:lnTo>
                  <a:lnTo>
                    <a:pt x="202" y="175"/>
                  </a:lnTo>
                  <a:lnTo>
                    <a:pt x="202" y="173"/>
                  </a:lnTo>
                  <a:lnTo>
                    <a:pt x="200" y="173"/>
                  </a:lnTo>
                  <a:lnTo>
                    <a:pt x="200" y="175"/>
                  </a:lnTo>
                  <a:lnTo>
                    <a:pt x="198" y="175"/>
                  </a:lnTo>
                  <a:lnTo>
                    <a:pt x="196" y="175"/>
                  </a:lnTo>
                  <a:lnTo>
                    <a:pt x="194" y="177"/>
                  </a:lnTo>
                  <a:lnTo>
                    <a:pt x="194" y="175"/>
                  </a:lnTo>
                  <a:lnTo>
                    <a:pt x="196" y="175"/>
                  </a:lnTo>
                  <a:lnTo>
                    <a:pt x="194" y="173"/>
                  </a:lnTo>
                  <a:lnTo>
                    <a:pt x="196" y="173"/>
                  </a:lnTo>
                  <a:lnTo>
                    <a:pt x="196" y="171"/>
                  </a:lnTo>
                  <a:lnTo>
                    <a:pt x="196" y="173"/>
                  </a:lnTo>
                  <a:lnTo>
                    <a:pt x="196" y="171"/>
                  </a:lnTo>
                  <a:lnTo>
                    <a:pt x="198" y="171"/>
                  </a:lnTo>
                  <a:lnTo>
                    <a:pt x="200" y="171"/>
                  </a:lnTo>
                  <a:lnTo>
                    <a:pt x="202" y="171"/>
                  </a:lnTo>
                  <a:lnTo>
                    <a:pt x="204" y="171"/>
                  </a:lnTo>
                  <a:lnTo>
                    <a:pt x="202" y="171"/>
                  </a:lnTo>
                  <a:close/>
                  <a:moveTo>
                    <a:pt x="158" y="121"/>
                  </a:moveTo>
                  <a:lnTo>
                    <a:pt x="158" y="119"/>
                  </a:lnTo>
                  <a:lnTo>
                    <a:pt x="160" y="119"/>
                  </a:lnTo>
                  <a:lnTo>
                    <a:pt x="160" y="121"/>
                  </a:lnTo>
                  <a:lnTo>
                    <a:pt x="161" y="121"/>
                  </a:lnTo>
                  <a:lnTo>
                    <a:pt x="161" y="123"/>
                  </a:lnTo>
                  <a:lnTo>
                    <a:pt x="161" y="125"/>
                  </a:lnTo>
                  <a:lnTo>
                    <a:pt x="161" y="127"/>
                  </a:lnTo>
                  <a:lnTo>
                    <a:pt x="160" y="127"/>
                  </a:lnTo>
                  <a:lnTo>
                    <a:pt x="160" y="129"/>
                  </a:lnTo>
                  <a:lnTo>
                    <a:pt x="158" y="129"/>
                  </a:lnTo>
                  <a:lnTo>
                    <a:pt x="156" y="127"/>
                  </a:lnTo>
                  <a:lnTo>
                    <a:pt x="156" y="125"/>
                  </a:lnTo>
                  <a:lnTo>
                    <a:pt x="156" y="127"/>
                  </a:lnTo>
                  <a:lnTo>
                    <a:pt x="154" y="127"/>
                  </a:lnTo>
                  <a:lnTo>
                    <a:pt x="154" y="125"/>
                  </a:lnTo>
                  <a:lnTo>
                    <a:pt x="154" y="123"/>
                  </a:lnTo>
                  <a:lnTo>
                    <a:pt x="154" y="121"/>
                  </a:lnTo>
                  <a:lnTo>
                    <a:pt x="154" y="123"/>
                  </a:lnTo>
                  <a:lnTo>
                    <a:pt x="154" y="121"/>
                  </a:lnTo>
                  <a:lnTo>
                    <a:pt x="156" y="121"/>
                  </a:lnTo>
                  <a:lnTo>
                    <a:pt x="156" y="123"/>
                  </a:lnTo>
                  <a:lnTo>
                    <a:pt x="156" y="121"/>
                  </a:lnTo>
                  <a:lnTo>
                    <a:pt x="158" y="121"/>
                  </a:lnTo>
                  <a:close/>
                  <a:moveTo>
                    <a:pt x="163" y="121"/>
                  </a:moveTo>
                  <a:lnTo>
                    <a:pt x="165" y="119"/>
                  </a:lnTo>
                  <a:lnTo>
                    <a:pt x="165" y="121"/>
                  </a:lnTo>
                  <a:lnTo>
                    <a:pt x="167" y="121"/>
                  </a:lnTo>
                  <a:lnTo>
                    <a:pt x="165" y="121"/>
                  </a:lnTo>
                  <a:lnTo>
                    <a:pt x="165" y="123"/>
                  </a:lnTo>
                  <a:lnTo>
                    <a:pt x="167" y="123"/>
                  </a:lnTo>
                  <a:lnTo>
                    <a:pt x="167" y="125"/>
                  </a:lnTo>
                  <a:lnTo>
                    <a:pt x="165" y="125"/>
                  </a:lnTo>
                  <a:lnTo>
                    <a:pt x="163" y="125"/>
                  </a:lnTo>
                  <a:lnTo>
                    <a:pt x="163" y="127"/>
                  </a:lnTo>
                  <a:lnTo>
                    <a:pt x="163" y="129"/>
                  </a:lnTo>
                  <a:lnTo>
                    <a:pt x="163" y="127"/>
                  </a:lnTo>
                  <a:lnTo>
                    <a:pt x="165" y="127"/>
                  </a:lnTo>
                  <a:lnTo>
                    <a:pt x="165" y="125"/>
                  </a:lnTo>
                  <a:lnTo>
                    <a:pt x="167" y="125"/>
                  </a:lnTo>
                  <a:lnTo>
                    <a:pt x="169" y="125"/>
                  </a:lnTo>
                  <a:lnTo>
                    <a:pt x="169" y="127"/>
                  </a:lnTo>
                  <a:lnTo>
                    <a:pt x="169" y="125"/>
                  </a:lnTo>
                  <a:lnTo>
                    <a:pt x="171" y="125"/>
                  </a:lnTo>
                  <a:lnTo>
                    <a:pt x="169" y="127"/>
                  </a:lnTo>
                  <a:lnTo>
                    <a:pt x="169" y="129"/>
                  </a:lnTo>
                  <a:lnTo>
                    <a:pt x="167" y="127"/>
                  </a:lnTo>
                  <a:lnTo>
                    <a:pt x="167" y="129"/>
                  </a:lnTo>
                  <a:lnTo>
                    <a:pt x="165" y="129"/>
                  </a:lnTo>
                  <a:lnTo>
                    <a:pt x="163" y="129"/>
                  </a:lnTo>
                  <a:lnTo>
                    <a:pt x="161" y="129"/>
                  </a:lnTo>
                  <a:lnTo>
                    <a:pt x="160" y="129"/>
                  </a:lnTo>
                  <a:lnTo>
                    <a:pt x="161" y="129"/>
                  </a:lnTo>
                  <a:lnTo>
                    <a:pt x="161" y="127"/>
                  </a:lnTo>
                  <a:lnTo>
                    <a:pt x="161" y="125"/>
                  </a:lnTo>
                  <a:lnTo>
                    <a:pt x="163" y="123"/>
                  </a:lnTo>
                  <a:lnTo>
                    <a:pt x="161" y="121"/>
                  </a:lnTo>
                  <a:lnTo>
                    <a:pt x="163" y="121"/>
                  </a:lnTo>
                  <a:close/>
                  <a:moveTo>
                    <a:pt x="156" y="104"/>
                  </a:moveTo>
                  <a:lnTo>
                    <a:pt x="156" y="106"/>
                  </a:lnTo>
                  <a:lnTo>
                    <a:pt x="156" y="108"/>
                  </a:lnTo>
                  <a:lnTo>
                    <a:pt x="156" y="106"/>
                  </a:lnTo>
                  <a:lnTo>
                    <a:pt x="158" y="106"/>
                  </a:lnTo>
                  <a:lnTo>
                    <a:pt x="160" y="106"/>
                  </a:lnTo>
                  <a:lnTo>
                    <a:pt x="158" y="108"/>
                  </a:lnTo>
                  <a:lnTo>
                    <a:pt x="160" y="108"/>
                  </a:lnTo>
                  <a:lnTo>
                    <a:pt x="158" y="108"/>
                  </a:lnTo>
                  <a:lnTo>
                    <a:pt x="158" y="110"/>
                  </a:lnTo>
                  <a:lnTo>
                    <a:pt x="160" y="108"/>
                  </a:lnTo>
                  <a:lnTo>
                    <a:pt x="160" y="110"/>
                  </a:lnTo>
                  <a:lnTo>
                    <a:pt x="160" y="112"/>
                  </a:lnTo>
                  <a:lnTo>
                    <a:pt x="158" y="112"/>
                  </a:lnTo>
                  <a:lnTo>
                    <a:pt x="156" y="112"/>
                  </a:lnTo>
                  <a:lnTo>
                    <a:pt x="154" y="112"/>
                  </a:lnTo>
                  <a:lnTo>
                    <a:pt x="154" y="110"/>
                  </a:lnTo>
                  <a:lnTo>
                    <a:pt x="154" y="108"/>
                  </a:lnTo>
                  <a:lnTo>
                    <a:pt x="154" y="110"/>
                  </a:lnTo>
                  <a:lnTo>
                    <a:pt x="152" y="110"/>
                  </a:lnTo>
                  <a:lnTo>
                    <a:pt x="154" y="110"/>
                  </a:lnTo>
                  <a:lnTo>
                    <a:pt x="152" y="112"/>
                  </a:lnTo>
                  <a:lnTo>
                    <a:pt x="152" y="110"/>
                  </a:lnTo>
                  <a:lnTo>
                    <a:pt x="152" y="108"/>
                  </a:lnTo>
                  <a:lnTo>
                    <a:pt x="152" y="106"/>
                  </a:lnTo>
                  <a:lnTo>
                    <a:pt x="152" y="104"/>
                  </a:lnTo>
                  <a:lnTo>
                    <a:pt x="154" y="104"/>
                  </a:lnTo>
                  <a:lnTo>
                    <a:pt x="154" y="106"/>
                  </a:lnTo>
                  <a:lnTo>
                    <a:pt x="156" y="106"/>
                  </a:lnTo>
                  <a:lnTo>
                    <a:pt x="156" y="104"/>
                  </a:lnTo>
                  <a:close/>
                  <a:moveTo>
                    <a:pt x="204" y="179"/>
                  </a:moveTo>
                  <a:lnTo>
                    <a:pt x="204" y="181"/>
                  </a:lnTo>
                  <a:lnTo>
                    <a:pt x="206" y="181"/>
                  </a:lnTo>
                  <a:lnTo>
                    <a:pt x="204" y="181"/>
                  </a:lnTo>
                  <a:lnTo>
                    <a:pt x="204" y="183"/>
                  </a:lnTo>
                  <a:lnTo>
                    <a:pt x="202" y="183"/>
                  </a:lnTo>
                  <a:lnTo>
                    <a:pt x="204" y="183"/>
                  </a:lnTo>
                  <a:lnTo>
                    <a:pt x="206" y="183"/>
                  </a:lnTo>
                  <a:lnTo>
                    <a:pt x="206" y="181"/>
                  </a:lnTo>
                  <a:lnTo>
                    <a:pt x="206" y="183"/>
                  </a:lnTo>
                  <a:lnTo>
                    <a:pt x="208" y="183"/>
                  </a:lnTo>
                  <a:lnTo>
                    <a:pt x="206" y="183"/>
                  </a:lnTo>
                  <a:lnTo>
                    <a:pt x="204" y="183"/>
                  </a:lnTo>
                  <a:lnTo>
                    <a:pt x="206" y="185"/>
                  </a:lnTo>
                  <a:lnTo>
                    <a:pt x="204" y="185"/>
                  </a:lnTo>
                  <a:lnTo>
                    <a:pt x="202" y="185"/>
                  </a:lnTo>
                  <a:lnTo>
                    <a:pt x="200" y="185"/>
                  </a:lnTo>
                  <a:lnTo>
                    <a:pt x="200" y="183"/>
                  </a:lnTo>
                  <a:lnTo>
                    <a:pt x="198" y="183"/>
                  </a:lnTo>
                  <a:lnTo>
                    <a:pt x="198" y="185"/>
                  </a:lnTo>
                  <a:lnTo>
                    <a:pt x="200" y="185"/>
                  </a:lnTo>
                  <a:lnTo>
                    <a:pt x="198" y="185"/>
                  </a:lnTo>
                  <a:lnTo>
                    <a:pt x="200" y="185"/>
                  </a:lnTo>
                  <a:lnTo>
                    <a:pt x="202" y="185"/>
                  </a:lnTo>
                  <a:lnTo>
                    <a:pt x="200" y="185"/>
                  </a:lnTo>
                  <a:lnTo>
                    <a:pt x="198" y="185"/>
                  </a:lnTo>
                  <a:lnTo>
                    <a:pt x="196" y="185"/>
                  </a:lnTo>
                  <a:lnTo>
                    <a:pt x="194" y="185"/>
                  </a:lnTo>
                  <a:lnTo>
                    <a:pt x="192" y="185"/>
                  </a:lnTo>
                  <a:lnTo>
                    <a:pt x="192" y="183"/>
                  </a:lnTo>
                  <a:lnTo>
                    <a:pt x="194" y="183"/>
                  </a:lnTo>
                  <a:lnTo>
                    <a:pt x="196" y="183"/>
                  </a:lnTo>
                  <a:lnTo>
                    <a:pt x="196" y="181"/>
                  </a:lnTo>
                  <a:lnTo>
                    <a:pt x="198" y="181"/>
                  </a:lnTo>
                  <a:lnTo>
                    <a:pt x="198" y="183"/>
                  </a:lnTo>
                  <a:lnTo>
                    <a:pt x="198" y="181"/>
                  </a:lnTo>
                  <a:lnTo>
                    <a:pt x="200" y="181"/>
                  </a:lnTo>
                  <a:lnTo>
                    <a:pt x="202" y="181"/>
                  </a:lnTo>
                  <a:lnTo>
                    <a:pt x="202" y="179"/>
                  </a:lnTo>
                  <a:lnTo>
                    <a:pt x="204" y="179"/>
                  </a:lnTo>
                  <a:close/>
                  <a:moveTo>
                    <a:pt x="724" y="503"/>
                  </a:moveTo>
                  <a:lnTo>
                    <a:pt x="724" y="505"/>
                  </a:lnTo>
                  <a:lnTo>
                    <a:pt x="726" y="505"/>
                  </a:lnTo>
                  <a:lnTo>
                    <a:pt x="726" y="507"/>
                  </a:lnTo>
                  <a:lnTo>
                    <a:pt x="726" y="509"/>
                  </a:lnTo>
                  <a:lnTo>
                    <a:pt x="726" y="511"/>
                  </a:lnTo>
                  <a:lnTo>
                    <a:pt x="728" y="511"/>
                  </a:lnTo>
                  <a:lnTo>
                    <a:pt x="728" y="513"/>
                  </a:lnTo>
                  <a:lnTo>
                    <a:pt x="728" y="515"/>
                  </a:lnTo>
                  <a:lnTo>
                    <a:pt x="728" y="517"/>
                  </a:lnTo>
                  <a:lnTo>
                    <a:pt x="728" y="519"/>
                  </a:lnTo>
                  <a:lnTo>
                    <a:pt x="730" y="519"/>
                  </a:lnTo>
                  <a:lnTo>
                    <a:pt x="730" y="521"/>
                  </a:lnTo>
                  <a:lnTo>
                    <a:pt x="728" y="521"/>
                  </a:lnTo>
                  <a:lnTo>
                    <a:pt x="730" y="521"/>
                  </a:lnTo>
                  <a:lnTo>
                    <a:pt x="728" y="521"/>
                  </a:lnTo>
                  <a:lnTo>
                    <a:pt x="730" y="521"/>
                  </a:lnTo>
                  <a:lnTo>
                    <a:pt x="728" y="521"/>
                  </a:lnTo>
                  <a:lnTo>
                    <a:pt x="728" y="523"/>
                  </a:lnTo>
                  <a:lnTo>
                    <a:pt x="728" y="521"/>
                  </a:lnTo>
                  <a:lnTo>
                    <a:pt x="728" y="523"/>
                  </a:lnTo>
                  <a:lnTo>
                    <a:pt x="726" y="523"/>
                  </a:lnTo>
                  <a:lnTo>
                    <a:pt x="724" y="523"/>
                  </a:lnTo>
                  <a:lnTo>
                    <a:pt x="726" y="523"/>
                  </a:lnTo>
                  <a:lnTo>
                    <a:pt x="724" y="523"/>
                  </a:lnTo>
                  <a:lnTo>
                    <a:pt x="724" y="521"/>
                  </a:lnTo>
                  <a:lnTo>
                    <a:pt x="726" y="521"/>
                  </a:lnTo>
                  <a:lnTo>
                    <a:pt x="724" y="521"/>
                  </a:lnTo>
                  <a:lnTo>
                    <a:pt x="724" y="519"/>
                  </a:lnTo>
                  <a:lnTo>
                    <a:pt x="726" y="519"/>
                  </a:lnTo>
                  <a:lnTo>
                    <a:pt x="726" y="517"/>
                  </a:lnTo>
                  <a:lnTo>
                    <a:pt x="726" y="515"/>
                  </a:lnTo>
                  <a:lnTo>
                    <a:pt x="726" y="513"/>
                  </a:lnTo>
                  <a:lnTo>
                    <a:pt x="724" y="513"/>
                  </a:lnTo>
                  <a:lnTo>
                    <a:pt x="726" y="513"/>
                  </a:lnTo>
                  <a:lnTo>
                    <a:pt x="726" y="511"/>
                  </a:lnTo>
                  <a:lnTo>
                    <a:pt x="724" y="511"/>
                  </a:lnTo>
                  <a:lnTo>
                    <a:pt x="724" y="509"/>
                  </a:lnTo>
                  <a:lnTo>
                    <a:pt x="724" y="507"/>
                  </a:lnTo>
                  <a:lnTo>
                    <a:pt x="724" y="509"/>
                  </a:lnTo>
                  <a:lnTo>
                    <a:pt x="724" y="507"/>
                  </a:lnTo>
                  <a:lnTo>
                    <a:pt x="724" y="509"/>
                  </a:lnTo>
                  <a:lnTo>
                    <a:pt x="726" y="509"/>
                  </a:lnTo>
                  <a:lnTo>
                    <a:pt x="726" y="507"/>
                  </a:lnTo>
                  <a:lnTo>
                    <a:pt x="726" y="509"/>
                  </a:lnTo>
                  <a:lnTo>
                    <a:pt x="726" y="507"/>
                  </a:lnTo>
                  <a:lnTo>
                    <a:pt x="724" y="507"/>
                  </a:lnTo>
                  <a:lnTo>
                    <a:pt x="724" y="505"/>
                  </a:lnTo>
                  <a:lnTo>
                    <a:pt x="724" y="503"/>
                  </a:lnTo>
                  <a:lnTo>
                    <a:pt x="724" y="501"/>
                  </a:lnTo>
                  <a:lnTo>
                    <a:pt x="724" y="503"/>
                  </a:lnTo>
                  <a:close/>
                  <a:moveTo>
                    <a:pt x="657" y="544"/>
                  </a:moveTo>
                  <a:lnTo>
                    <a:pt x="659" y="544"/>
                  </a:lnTo>
                  <a:lnTo>
                    <a:pt x="659" y="546"/>
                  </a:lnTo>
                  <a:lnTo>
                    <a:pt x="661" y="546"/>
                  </a:lnTo>
                  <a:lnTo>
                    <a:pt x="661" y="548"/>
                  </a:lnTo>
                  <a:lnTo>
                    <a:pt x="661" y="546"/>
                  </a:lnTo>
                  <a:lnTo>
                    <a:pt x="663" y="548"/>
                  </a:lnTo>
                  <a:lnTo>
                    <a:pt x="661" y="548"/>
                  </a:lnTo>
                  <a:lnTo>
                    <a:pt x="663" y="548"/>
                  </a:lnTo>
                  <a:lnTo>
                    <a:pt x="663" y="549"/>
                  </a:lnTo>
                  <a:lnTo>
                    <a:pt x="661" y="549"/>
                  </a:lnTo>
                  <a:lnTo>
                    <a:pt x="661" y="548"/>
                  </a:lnTo>
                  <a:lnTo>
                    <a:pt x="661" y="549"/>
                  </a:lnTo>
                  <a:lnTo>
                    <a:pt x="659" y="549"/>
                  </a:lnTo>
                  <a:lnTo>
                    <a:pt x="657" y="549"/>
                  </a:lnTo>
                  <a:lnTo>
                    <a:pt x="657" y="551"/>
                  </a:lnTo>
                  <a:lnTo>
                    <a:pt x="657" y="549"/>
                  </a:lnTo>
                  <a:lnTo>
                    <a:pt x="655" y="549"/>
                  </a:lnTo>
                  <a:lnTo>
                    <a:pt x="657" y="549"/>
                  </a:lnTo>
                  <a:lnTo>
                    <a:pt x="657" y="551"/>
                  </a:lnTo>
                  <a:lnTo>
                    <a:pt x="655" y="551"/>
                  </a:lnTo>
                  <a:lnTo>
                    <a:pt x="655" y="549"/>
                  </a:lnTo>
                  <a:lnTo>
                    <a:pt x="655" y="551"/>
                  </a:lnTo>
                  <a:lnTo>
                    <a:pt x="653" y="551"/>
                  </a:lnTo>
                  <a:lnTo>
                    <a:pt x="653" y="549"/>
                  </a:lnTo>
                  <a:lnTo>
                    <a:pt x="655" y="549"/>
                  </a:lnTo>
                  <a:lnTo>
                    <a:pt x="655" y="548"/>
                  </a:lnTo>
                  <a:lnTo>
                    <a:pt x="655" y="546"/>
                  </a:lnTo>
                  <a:lnTo>
                    <a:pt x="655" y="548"/>
                  </a:lnTo>
                  <a:lnTo>
                    <a:pt x="655" y="546"/>
                  </a:lnTo>
                  <a:lnTo>
                    <a:pt x="657" y="546"/>
                  </a:lnTo>
                  <a:lnTo>
                    <a:pt x="657" y="544"/>
                  </a:lnTo>
                  <a:close/>
                  <a:moveTo>
                    <a:pt x="469" y="235"/>
                  </a:moveTo>
                  <a:lnTo>
                    <a:pt x="471" y="235"/>
                  </a:lnTo>
                  <a:lnTo>
                    <a:pt x="469" y="235"/>
                  </a:lnTo>
                  <a:lnTo>
                    <a:pt x="469" y="236"/>
                  </a:lnTo>
                  <a:lnTo>
                    <a:pt x="471" y="236"/>
                  </a:lnTo>
                  <a:lnTo>
                    <a:pt x="469" y="236"/>
                  </a:lnTo>
                  <a:lnTo>
                    <a:pt x="471" y="236"/>
                  </a:lnTo>
                  <a:lnTo>
                    <a:pt x="469" y="238"/>
                  </a:lnTo>
                  <a:lnTo>
                    <a:pt x="471" y="238"/>
                  </a:lnTo>
                  <a:lnTo>
                    <a:pt x="473" y="238"/>
                  </a:lnTo>
                  <a:lnTo>
                    <a:pt x="471" y="238"/>
                  </a:lnTo>
                  <a:lnTo>
                    <a:pt x="469" y="238"/>
                  </a:lnTo>
                  <a:lnTo>
                    <a:pt x="471" y="238"/>
                  </a:lnTo>
                  <a:lnTo>
                    <a:pt x="473" y="238"/>
                  </a:lnTo>
                  <a:lnTo>
                    <a:pt x="471" y="240"/>
                  </a:lnTo>
                  <a:lnTo>
                    <a:pt x="471" y="238"/>
                  </a:lnTo>
                  <a:lnTo>
                    <a:pt x="471" y="240"/>
                  </a:lnTo>
                  <a:lnTo>
                    <a:pt x="469" y="240"/>
                  </a:lnTo>
                  <a:lnTo>
                    <a:pt x="467" y="240"/>
                  </a:lnTo>
                  <a:lnTo>
                    <a:pt x="465" y="240"/>
                  </a:lnTo>
                  <a:lnTo>
                    <a:pt x="463" y="240"/>
                  </a:lnTo>
                  <a:lnTo>
                    <a:pt x="463" y="238"/>
                  </a:lnTo>
                  <a:lnTo>
                    <a:pt x="463" y="236"/>
                  </a:lnTo>
                  <a:lnTo>
                    <a:pt x="465" y="236"/>
                  </a:lnTo>
                  <a:lnTo>
                    <a:pt x="467" y="236"/>
                  </a:lnTo>
                  <a:lnTo>
                    <a:pt x="469" y="236"/>
                  </a:lnTo>
                  <a:lnTo>
                    <a:pt x="469" y="235"/>
                  </a:lnTo>
                  <a:lnTo>
                    <a:pt x="467" y="235"/>
                  </a:lnTo>
                  <a:lnTo>
                    <a:pt x="469" y="235"/>
                  </a:lnTo>
                  <a:close/>
                  <a:moveTo>
                    <a:pt x="569" y="369"/>
                  </a:moveTo>
                  <a:lnTo>
                    <a:pt x="571" y="369"/>
                  </a:lnTo>
                  <a:lnTo>
                    <a:pt x="569" y="369"/>
                  </a:lnTo>
                  <a:lnTo>
                    <a:pt x="569" y="371"/>
                  </a:lnTo>
                  <a:lnTo>
                    <a:pt x="571" y="371"/>
                  </a:lnTo>
                  <a:lnTo>
                    <a:pt x="571" y="373"/>
                  </a:lnTo>
                  <a:lnTo>
                    <a:pt x="569" y="373"/>
                  </a:lnTo>
                  <a:lnTo>
                    <a:pt x="569" y="375"/>
                  </a:lnTo>
                  <a:lnTo>
                    <a:pt x="571" y="375"/>
                  </a:lnTo>
                  <a:lnTo>
                    <a:pt x="571" y="373"/>
                  </a:lnTo>
                  <a:lnTo>
                    <a:pt x="571" y="375"/>
                  </a:lnTo>
                  <a:lnTo>
                    <a:pt x="569" y="375"/>
                  </a:lnTo>
                  <a:lnTo>
                    <a:pt x="571" y="375"/>
                  </a:lnTo>
                  <a:lnTo>
                    <a:pt x="569" y="375"/>
                  </a:lnTo>
                  <a:lnTo>
                    <a:pt x="569" y="377"/>
                  </a:lnTo>
                  <a:lnTo>
                    <a:pt x="567" y="377"/>
                  </a:lnTo>
                  <a:lnTo>
                    <a:pt x="565" y="377"/>
                  </a:lnTo>
                  <a:lnTo>
                    <a:pt x="565" y="375"/>
                  </a:lnTo>
                  <a:lnTo>
                    <a:pt x="565" y="373"/>
                  </a:lnTo>
                  <a:lnTo>
                    <a:pt x="563" y="373"/>
                  </a:lnTo>
                  <a:lnTo>
                    <a:pt x="565" y="373"/>
                  </a:lnTo>
                  <a:lnTo>
                    <a:pt x="565" y="375"/>
                  </a:lnTo>
                  <a:lnTo>
                    <a:pt x="565" y="373"/>
                  </a:lnTo>
                  <a:lnTo>
                    <a:pt x="567" y="373"/>
                  </a:lnTo>
                  <a:lnTo>
                    <a:pt x="567" y="371"/>
                  </a:lnTo>
                  <a:lnTo>
                    <a:pt x="567" y="369"/>
                  </a:lnTo>
                  <a:lnTo>
                    <a:pt x="567" y="371"/>
                  </a:lnTo>
                  <a:lnTo>
                    <a:pt x="569" y="371"/>
                  </a:lnTo>
                  <a:lnTo>
                    <a:pt x="569" y="369"/>
                  </a:lnTo>
                  <a:close/>
                  <a:moveTo>
                    <a:pt x="238" y="192"/>
                  </a:moveTo>
                  <a:lnTo>
                    <a:pt x="238" y="194"/>
                  </a:lnTo>
                  <a:lnTo>
                    <a:pt x="240" y="194"/>
                  </a:lnTo>
                  <a:lnTo>
                    <a:pt x="240" y="192"/>
                  </a:lnTo>
                  <a:lnTo>
                    <a:pt x="242" y="192"/>
                  </a:lnTo>
                  <a:lnTo>
                    <a:pt x="240" y="194"/>
                  </a:lnTo>
                  <a:lnTo>
                    <a:pt x="242" y="194"/>
                  </a:lnTo>
                  <a:lnTo>
                    <a:pt x="240" y="194"/>
                  </a:lnTo>
                  <a:lnTo>
                    <a:pt x="240" y="196"/>
                  </a:lnTo>
                  <a:lnTo>
                    <a:pt x="240" y="198"/>
                  </a:lnTo>
                  <a:lnTo>
                    <a:pt x="238" y="198"/>
                  </a:lnTo>
                  <a:lnTo>
                    <a:pt x="236" y="198"/>
                  </a:lnTo>
                  <a:lnTo>
                    <a:pt x="238" y="196"/>
                  </a:lnTo>
                  <a:lnTo>
                    <a:pt x="236" y="196"/>
                  </a:lnTo>
                  <a:lnTo>
                    <a:pt x="234" y="196"/>
                  </a:lnTo>
                  <a:lnTo>
                    <a:pt x="234" y="194"/>
                  </a:lnTo>
                  <a:lnTo>
                    <a:pt x="236" y="192"/>
                  </a:lnTo>
                  <a:lnTo>
                    <a:pt x="236" y="194"/>
                  </a:lnTo>
                  <a:lnTo>
                    <a:pt x="236" y="192"/>
                  </a:lnTo>
                  <a:lnTo>
                    <a:pt x="238" y="192"/>
                  </a:lnTo>
                  <a:close/>
                  <a:moveTo>
                    <a:pt x="204" y="158"/>
                  </a:moveTo>
                  <a:lnTo>
                    <a:pt x="206" y="158"/>
                  </a:lnTo>
                  <a:lnTo>
                    <a:pt x="206" y="160"/>
                  </a:lnTo>
                  <a:lnTo>
                    <a:pt x="208" y="160"/>
                  </a:lnTo>
                  <a:lnTo>
                    <a:pt x="208" y="162"/>
                  </a:lnTo>
                  <a:lnTo>
                    <a:pt x="208" y="160"/>
                  </a:lnTo>
                  <a:lnTo>
                    <a:pt x="209" y="160"/>
                  </a:lnTo>
                  <a:lnTo>
                    <a:pt x="208" y="160"/>
                  </a:lnTo>
                  <a:lnTo>
                    <a:pt x="208" y="162"/>
                  </a:lnTo>
                  <a:lnTo>
                    <a:pt x="206" y="162"/>
                  </a:lnTo>
                  <a:lnTo>
                    <a:pt x="206" y="164"/>
                  </a:lnTo>
                  <a:lnTo>
                    <a:pt x="206" y="165"/>
                  </a:lnTo>
                  <a:lnTo>
                    <a:pt x="204" y="165"/>
                  </a:lnTo>
                  <a:lnTo>
                    <a:pt x="204" y="164"/>
                  </a:lnTo>
                  <a:lnTo>
                    <a:pt x="204" y="162"/>
                  </a:lnTo>
                  <a:lnTo>
                    <a:pt x="204" y="160"/>
                  </a:lnTo>
                  <a:lnTo>
                    <a:pt x="206" y="160"/>
                  </a:lnTo>
                  <a:lnTo>
                    <a:pt x="204" y="160"/>
                  </a:lnTo>
                  <a:lnTo>
                    <a:pt x="204" y="158"/>
                  </a:lnTo>
                  <a:close/>
                  <a:moveTo>
                    <a:pt x="169" y="129"/>
                  </a:moveTo>
                  <a:lnTo>
                    <a:pt x="171" y="129"/>
                  </a:lnTo>
                  <a:lnTo>
                    <a:pt x="171" y="131"/>
                  </a:lnTo>
                  <a:lnTo>
                    <a:pt x="173" y="131"/>
                  </a:lnTo>
                  <a:lnTo>
                    <a:pt x="171" y="131"/>
                  </a:lnTo>
                  <a:lnTo>
                    <a:pt x="171" y="133"/>
                  </a:lnTo>
                  <a:lnTo>
                    <a:pt x="173" y="133"/>
                  </a:lnTo>
                  <a:lnTo>
                    <a:pt x="171" y="133"/>
                  </a:lnTo>
                  <a:lnTo>
                    <a:pt x="169" y="135"/>
                  </a:lnTo>
                  <a:lnTo>
                    <a:pt x="167" y="133"/>
                  </a:lnTo>
                  <a:lnTo>
                    <a:pt x="167" y="131"/>
                  </a:lnTo>
                  <a:lnTo>
                    <a:pt x="167" y="129"/>
                  </a:lnTo>
                  <a:lnTo>
                    <a:pt x="169" y="129"/>
                  </a:lnTo>
                  <a:lnTo>
                    <a:pt x="169" y="131"/>
                  </a:lnTo>
                  <a:lnTo>
                    <a:pt x="169" y="129"/>
                  </a:lnTo>
                  <a:close/>
                  <a:moveTo>
                    <a:pt x="534" y="302"/>
                  </a:moveTo>
                  <a:lnTo>
                    <a:pt x="534" y="304"/>
                  </a:lnTo>
                  <a:lnTo>
                    <a:pt x="534" y="306"/>
                  </a:lnTo>
                  <a:lnTo>
                    <a:pt x="536" y="306"/>
                  </a:lnTo>
                  <a:lnTo>
                    <a:pt x="534" y="306"/>
                  </a:lnTo>
                  <a:lnTo>
                    <a:pt x="536" y="306"/>
                  </a:lnTo>
                  <a:lnTo>
                    <a:pt x="536" y="308"/>
                  </a:lnTo>
                  <a:lnTo>
                    <a:pt x="536" y="309"/>
                  </a:lnTo>
                  <a:lnTo>
                    <a:pt x="534" y="309"/>
                  </a:lnTo>
                  <a:lnTo>
                    <a:pt x="534" y="311"/>
                  </a:lnTo>
                  <a:lnTo>
                    <a:pt x="534" y="309"/>
                  </a:lnTo>
                  <a:lnTo>
                    <a:pt x="532" y="309"/>
                  </a:lnTo>
                  <a:lnTo>
                    <a:pt x="534" y="309"/>
                  </a:lnTo>
                  <a:lnTo>
                    <a:pt x="532" y="309"/>
                  </a:lnTo>
                  <a:lnTo>
                    <a:pt x="532" y="308"/>
                  </a:lnTo>
                  <a:lnTo>
                    <a:pt x="532" y="306"/>
                  </a:lnTo>
                  <a:lnTo>
                    <a:pt x="534" y="306"/>
                  </a:lnTo>
                  <a:lnTo>
                    <a:pt x="534" y="304"/>
                  </a:lnTo>
                  <a:lnTo>
                    <a:pt x="534" y="302"/>
                  </a:lnTo>
                  <a:close/>
                  <a:moveTo>
                    <a:pt x="233" y="196"/>
                  </a:moveTo>
                  <a:lnTo>
                    <a:pt x="233" y="198"/>
                  </a:lnTo>
                  <a:lnTo>
                    <a:pt x="233" y="196"/>
                  </a:lnTo>
                  <a:lnTo>
                    <a:pt x="234" y="196"/>
                  </a:lnTo>
                  <a:lnTo>
                    <a:pt x="234" y="198"/>
                  </a:lnTo>
                  <a:lnTo>
                    <a:pt x="236" y="198"/>
                  </a:lnTo>
                  <a:lnTo>
                    <a:pt x="234" y="198"/>
                  </a:lnTo>
                  <a:lnTo>
                    <a:pt x="233" y="200"/>
                  </a:lnTo>
                  <a:lnTo>
                    <a:pt x="234" y="200"/>
                  </a:lnTo>
                  <a:lnTo>
                    <a:pt x="236" y="198"/>
                  </a:lnTo>
                  <a:lnTo>
                    <a:pt x="236" y="200"/>
                  </a:lnTo>
                  <a:lnTo>
                    <a:pt x="234" y="200"/>
                  </a:lnTo>
                  <a:lnTo>
                    <a:pt x="233" y="200"/>
                  </a:lnTo>
                  <a:lnTo>
                    <a:pt x="231" y="200"/>
                  </a:lnTo>
                  <a:lnTo>
                    <a:pt x="231" y="198"/>
                  </a:lnTo>
                  <a:lnTo>
                    <a:pt x="229" y="198"/>
                  </a:lnTo>
                  <a:lnTo>
                    <a:pt x="229" y="196"/>
                  </a:lnTo>
                  <a:lnTo>
                    <a:pt x="231" y="196"/>
                  </a:lnTo>
                  <a:lnTo>
                    <a:pt x="233" y="196"/>
                  </a:lnTo>
                  <a:close/>
                  <a:moveTo>
                    <a:pt x="480" y="256"/>
                  </a:moveTo>
                  <a:lnTo>
                    <a:pt x="480" y="254"/>
                  </a:lnTo>
                  <a:lnTo>
                    <a:pt x="482" y="254"/>
                  </a:lnTo>
                  <a:lnTo>
                    <a:pt x="482" y="256"/>
                  </a:lnTo>
                  <a:lnTo>
                    <a:pt x="484" y="256"/>
                  </a:lnTo>
                  <a:lnTo>
                    <a:pt x="484" y="258"/>
                  </a:lnTo>
                  <a:lnTo>
                    <a:pt x="482" y="258"/>
                  </a:lnTo>
                  <a:lnTo>
                    <a:pt x="484" y="258"/>
                  </a:lnTo>
                  <a:lnTo>
                    <a:pt x="484" y="260"/>
                  </a:lnTo>
                  <a:lnTo>
                    <a:pt x="482" y="260"/>
                  </a:lnTo>
                  <a:lnTo>
                    <a:pt x="480" y="260"/>
                  </a:lnTo>
                  <a:lnTo>
                    <a:pt x="480" y="258"/>
                  </a:lnTo>
                  <a:lnTo>
                    <a:pt x="480" y="256"/>
                  </a:lnTo>
                  <a:close/>
                  <a:moveTo>
                    <a:pt x="426" y="238"/>
                  </a:moveTo>
                  <a:lnTo>
                    <a:pt x="426" y="240"/>
                  </a:lnTo>
                  <a:lnTo>
                    <a:pt x="425" y="240"/>
                  </a:lnTo>
                  <a:lnTo>
                    <a:pt x="425" y="242"/>
                  </a:lnTo>
                  <a:lnTo>
                    <a:pt x="423" y="242"/>
                  </a:lnTo>
                  <a:lnTo>
                    <a:pt x="423" y="244"/>
                  </a:lnTo>
                  <a:lnTo>
                    <a:pt x="423" y="242"/>
                  </a:lnTo>
                  <a:lnTo>
                    <a:pt x="421" y="242"/>
                  </a:lnTo>
                  <a:lnTo>
                    <a:pt x="421" y="240"/>
                  </a:lnTo>
                  <a:lnTo>
                    <a:pt x="423" y="240"/>
                  </a:lnTo>
                  <a:lnTo>
                    <a:pt x="423" y="238"/>
                  </a:lnTo>
                  <a:lnTo>
                    <a:pt x="425" y="238"/>
                  </a:lnTo>
                  <a:lnTo>
                    <a:pt x="426" y="238"/>
                  </a:lnTo>
                  <a:close/>
                  <a:moveTo>
                    <a:pt x="367" y="250"/>
                  </a:moveTo>
                  <a:lnTo>
                    <a:pt x="367" y="252"/>
                  </a:lnTo>
                  <a:lnTo>
                    <a:pt x="367" y="254"/>
                  </a:lnTo>
                  <a:lnTo>
                    <a:pt x="365" y="256"/>
                  </a:lnTo>
                  <a:lnTo>
                    <a:pt x="363" y="258"/>
                  </a:lnTo>
                  <a:lnTo>
                    <a:pt x="363" y="256"/>
                  </a:lnTo>
                  <a:lnTo>
                    <a:pt x="363" y="254"/>
                  </a:lnTo>
                  <a:lnTo>
                    <a:pt x="365" y="252"/>
                  </a:lnTo>
                  <a:lnTo>
                    <a:pt x="367" y="252"/>
                  </a:lnTo>
                  <a:lnTo>
                    <a:pt x="367" y="250"/>
                  </a:lnTo>
                  <a:close/>
                  <a:moveTo>
                    <a:pt x="640" y="421"/>
                  </a:moveTo>
                  <a:lnTo>
                    <a:pt x="642" y="421"/>
                  </a:lnTo>
                  <a:lnTo>
                    <a:pt x="640" y="421"/>
                  </a:lnTo>
                  <a:lnTo>
                    <a:pt x="642" y="421"/>
                  </a:lnTo>
                  <a:lnTo>
                    <a:pt x="642" y="423"/>
                  </a:lnTo>
                  <a:lnTo>
                    <a:pt x="642" y="425"/>
                  </a:lnTo>
                  <a:lnTo>
                    <a:pt x="643" y="425"/>
                  </a:lnTo>
                  <a:lnTo>
                    <a:pt x="643" y="427"/>
                  </a:lnTo>
                  <a:lnTo>
                    <a:pt x="643" y="425"/>
                  </a:lnTo>
                  <a:lnTo>
                    <a:pt x="643" y="427"/>
                  </a:lnTo>
                  <a:lnTo>
                    <a:pt x="642" y="427"/>
                  </a:lnTo>
                  <a:lnTo>
                    <a:pt x="640" y="427"/>
                  </a:lnTo>
                  <a:lnTo>
                    <a:pt x="640" y="425"/>
                  </a:lnTo>
                  <a:lnTo>
                    <a:pt x="640" y="427"/>
                  </a:lnTo>
                  <a:lnTo>
                    <a:pt x="640" y="425"/>
                  </a:lnTo>
                  <a:lnTo>
                    <a:pt x="640" y="427"/>
                  </a:lnTo>
                  <a:lnTo>
                    <a:pt x="640" y="425"/>
                  </a:lnTo>
                  <a:lnTo>
                    <a:pt x="640" y="423"/>
                  </a:lnTo>
                  <a:lnTo>
                    <a:pt x="640" y="421"/>
                  </a:lnTo>
                  <a:close/>
                  <a:moveTo>
                    <a:pt x="388" y="206"/>
                  </a:moveTo>
                  <a:lnTo>
                    <a:pt x="388" y="208"/>
                  </a:lnTo>
                  <a:lnTo>
                    <a:pt x="388" y="206"/>
                  </a:lnTo>
                  <a:lnTo>
                    <a:pt x="388" y="208"/>
                  </a:lnTo>
                  <a:lnTo>
                    <a:pt x="390" y="208"/>
                  </a:lnTo>
                  <a:lnTo>
                    <a:pt x="390" y="210"/>
                  </a:lnTo>
                  <a:lnTo>
                    <a:pt x="388" y="210"/>
                  </a:lnTo>
                  <a:lnTo>
                    <a:pt x="386" y="212"/>
                  </a:lnTo>
                  <a:lnTo>
                    <a:pt x="386" y="210"/>
                  </a:lnTo>
                  <a:lnTo>
                    <a:pt x="386" y="208"/>
                  </a:lnTo>
                  <a:lnTo>
                    <a:pt x="384" y="208"/>
                  </a:lnTo>
                  <a:lnTo>
                    <a:pt x="386" y="206"/>
                  </a:lnTo>
                  <a:lnTo>
                    <a:pt x="388" y="204"/>
                  </a:lnTo>
                  <a:lnTo>
                    <a:pt x="388" y="206"/>
                  </a:lnTo>
                  <a:close/>
                  <a:moveTo>
                    <a:pt x="559" y="361"/>
                  </a:moveTo>
                  <a:lnTo>
                    <a:pt x="561" y="361"/>
                  </a:lnTo>
                  <a:lnTo>
                    <a:pt x="561" y="363"/>
                  </a:lnTo>
                  <a:lnTo>
                    <a:pt x="561" y="365"/>
                  </a:lnTo>
                  <a:lnTo>
                    <a:pt x="563" y="365"/>
                  </a:lnTo>
                  <a:lnTo>
                    <a:pt x="563" y="367"/>
                  </a:lnTo>
                  <a:lnTo>
                    <a:pt x="561" y="367"/>
                  </a:lnTo>
                  <a:lnTo>
                    <a:pt x="559" y="367"/>
                  </a:lnTo>
                  <a:lnTo>
                    <a:pt x="559" y="365"/>
                  </a:lnTo>
                  <a:lnTo>
                    <a:pt x="559" y="363"/>
                  </a:lnTo>
                  <a:lnTo>
                    <a:pt x="557" y="363"/>
                  </a:lnTo>
                  <a:lnTo>
                    <a:pt x="559" y="363"/>
                  </a:lnTo>
                  <a:lnTo>
                    <a:pt x="557" y="363"/>
                  </a:lnTo>
                  <a:lnTo>
                    <a:pt x="559" y="363"/>
                  </a:lnTo>
                  <a:lnTo>
                    <a:pt x="559" y="361"/>
                  </a:lnTo>
                  <a:close/>
                  <a:moveTo>
                    <a:pt x="659" y="538"/>
                  </a:moveTo>
                  <a:lnTo>
                    <a:pt x="659" y="540"/>
                  </a:lnTo>
                  <a:lnTo>
                    <a:pt x="659" y="542"/>
                  </a:lnTo>
                  <a:lnTo>
                    <a:pt x="657" y="542"/>
                  </a:lnTo>
                  <a:lnTo>
                    <a:pt x="657" y="544"/>
                  </a:lnTo>
                  <a:lnTo>
                    <a:pt x="655" y="544"/>
                  </a:lnTo>
                  <a:lnTo>
                    <a:pt x="655" y="546"/>
                  </a:lnTo>
                  <a:lnTo>
                    <a:pt x="653" y="546"/>
                  </a:lnTo>
                  <a:lnTo>
                    <a:pt x="653" y="544"/>
                  </a:lnTo>
                  <a:lnTo>
                    <a:pt x="655" y="544"/>
                  </a:lnTo>
                  <a:lnTo>
                    <a:pt x="655" y="542"/>
                  </a:lnTo>
                  <a:lnTo>
                    <a:pt x="655" y="540"/>
                  </a:lnTo>
                  <a:lnTo>
                    <a:pt x="657" y="540"/>
                  </a:lnTo>
                  <a:lnTo>
                    <a:pt x="657" y="538"/>
                  </a:lnTo>
                  <a:lnTo>
                    <a:pt x="659" y="538"/>
                  </a:lnTo>
                  <a:close/>
                  <a:moveTo>
                    <a:pt x="724" y="501"/>
                  </a:moveTo>
                  <a:lnTo>
                    <a:pt x="726" y="501"/>
                  </a:lnTo>
                  <a:lnTo>
                    <a:pt x="726" y="503"/>
                  </a:lnTo>
                  <a:lnTo>
                    <a:pt x="728" y="503"/>
                  </a:lnTo>
                  <a:lnTo>
                    <a:pt x="726" y="503"/>
                  </a:lnTo>
                  <a:lnTo>
                    <a:pt x="728" y="503"/>
                  </a:lnTo>
                  <a:lnTo>
                    <a:pt x="726" y="503"/>
                  </a:lnTo>
                  <a:lnTo>
                    <a:pt x="726" y="505"/>
                  </a:lnTo>
                  <a:lnTo>
                    <a:pt x="728" y="505"/>
                  </a:lnTo>
                  <a:lnTo>
                    <a:pt x="728" y="507"/>
                  </a:lnTo>
                  <a:lnTo>
                    <a:pt x="730" y="507"/>
                  </a:lnTo>
                  <a:lnTo>
                    <a:pt x="730" y="509"/>
                  </a:lnTo>
                  <a:lnTo>
                    <a:pt x="732" y="509"/>
                  </a:lnTo>
                  <a:lnTo>
                    <a:pt x="730" y="509"/>
                  </a:lnTo>
                  <a:lnTo>
                    <a:pt x="732" y="509"/>
                  </a:lnTo>
                  <a:lnTo>
                    <a:pt x="730" y="509"/>
                  </a:lnTo>
                  <a:lnTo>
                    <a:pt x="732" y="509"/>
                  </a:lnTo>
                  <a:lnTo>
                    <a:pt x="732" y="511"/>
                  </a:lnTo>
                  <a:lnTo>
                    <a:pt x="730" y="511"/>
                  </a:lnTo>
                  <a:lnTo>
                    <a:pt x="730" y="509"/>
                  </a:lnTo>
                  <a:lnTo>
                    <a:pt x="730" y="507"/>
                  </a:lnTo>
                  <a:lnTo>
                    <a:pt x="730" y="509"/>
                  </a:lnTo>
                  <a:lnTo>
                    <a:pt x="728" y="509"/>
                  </a:lnTo>
                  <a:lnTo>
                    <a:pt x="728" y="507"/>
                  </a:lnTo>
                  <a:lnTo>
                    <a:pt x="728" y="509"/>
                  </a:lnTo>
                  <a:lnTo>
                    <a:pt x="730" y="509"/>
                  </a:lnTo>
                  <a:lnTo>
                    <a:pt x="728" y="509"/>
                  </a:lnTo>
                  <a:lnTo>
                    <a:pt x="730" y="509"/>
                  </a:lnTo>
                  <a:lnTo>
                    <a:pt x="728" y="509"/>
                  </a:lnTo>
                  <a:lnTo>
                    <a:pt x="728" y="507"/>
                  </a:lnTo>
                  <a:lnTo>
                    <a:pt x="728" y="505"/>
                  </a:lnTo>
                  <a:lnTo>
                    <a:pt x="728" y="507"/>
                  </a:lnTo>
                  <a:lnTo>
                    <a:pt x="728" y="505"/>
                  </a:lnTo>
                  <a:lnTo>
                    <a:pt x="726" y="505"/>
                  </a:lnTo>
                  <a:lnTo>
                    <a:pt x="726" y="503"/>
                  </a:lnTo>
                  <a:lnTo>
                    <a:pt x="726" y="501"/>
                  </a:lnTo>
                  <a:lnTo>
                    <a:pt x="724" y="501"/>
                  </a:lnTo>
                  <a:lnTo>
                    <a:pt x="724" y="500"/>
                  </a:lnTo>
                  <a:lnTo>
                    <a:pt x="724" y="501"/>
                  </a:lnTo>
                  <a:close/>
                  <a:moveTo>
                    <a:pt x="275" y="213"/>
                  </a:moveTo>
                  <a:lnTo>
                    <a:pt x="275" y="215"/>
                  </a:lnTo>
                  <a:lnTo>
                    <a:pt x="275" y="213"/>
                  </a:lnTo>
                  <a:lnTo>
                    <a:pt x="275" y="215"/>
                  </a:lnTo>
                  <a:lnTo>
                    <a:pt x="277" y="215"/>
                  </a:lnTo>
                  <a:lnTo>
                    <a:pt x="277" y="217"/>
                  </a:lnTo>
                  <a:lnTo>
                    <a:pt x="275" y="217"/>
                  </a:lnTo>
                  <a:lnTo>
                    <a:pt x="275" y="219"/>
                  </a:lnTo>
                  <a:lnTo>
                    <a:pt x="273" y="219"/>
                  </a:lnTo>
                  <a:lnTo>
                    <a:pt x="273" y="217"/>
                  </a:lnTo>
                  <a:lnTo>
                    <a:pt x="273" y="215"/>
                  </a:lnTo>
                  <a:lnTo>
                    <a:pt x="273" y="213"/>
                  </a:lnTo>
                  <a:lnTo>
                    <a:pt x="275" y="213"/>
                  </a:lnTo>
                  <a:close/>
                  <a:moveTo>
                    <a:pt x="603" y="438"/>
                  </a:moveTo>
                  <a:lnTo>
                    <a:pt x="603" y="440"/>
                  </a:lnTo>
                  <a:lnTo>
                    <a:pt x="605" y="440"/>
                  </a:lnTo>
                  <a:lnTo>
                    <a:pt x="605" y="438"/>
                  </a:lnTo>
                  <a:lnTo>
                    <a:pt x="603" y="438"/>
                  </a:lnTo>
                  <a:lnTo>
                    <a:pt x="605" y="438"/>
                  </a:lnTo>
                  <a:lnTo>
                    <a:pt x="605" y="440"/>
                  </a:lnTo>
                  <a:lnTo>
                    <a:pt x="605" y="442"/>
                  </a:lnTo>
                  <a:lnTo>
                    <a:pt x="605" y="444"/>
                  </a:lnTo>
                  <a:lnTo>
                    <a:pt x="605" y="442"/>
                  </a:lnTo>
                  <a:lnTo>
                    <a:pt x="605" y="444"/>
                  </a:lnTo>
                  <a:lnTo>
                    <a:pt x="605" y="442"/>
                  </a:lnTo>
                  <a:lnTo>
                    <a:pt x="603" y="442"/>
                  </a:lnTo>
                  <a:lnTo>
                    <a:pt x="603" y="444"/>
                  </a:lnTo>
                  <a:lnTo>
                    <a:pt x="603" y="442"/>
                  </a:lnTo>
                  <a:lnTo>
                    <a:pt x="603" y="444"/>
                  </a:lnTo>
                  <a:lnTo>
                    <a:pt x="605" y="444"/>
                  </a:lnTo>
                  <a:lnTo>
                    <a:pt x="603" y="444"/>
                  </a:lnTo>
                  <a:lnTo>
                    <a:pt x="605" y="444"/>
                  </a:lnTo>
                  <a:lnTo>
                    <a:pt x="603" y="444"/>
                  </a:lnTo>
                  <a:lnTo>
                    <a:pt x="603" y="442"/>
                  </a:lnTo>
                  <a:lnTo>
                    <a:pt x="603" y="444"/>
                  </a:lnTo>
                  <a:lnTo>
                    <a:pt x="603" y="442"/>
                  </a:lnTo>
                  <a:lnTo>
                    <a:pt x="601" y="442"/>
                  </a:lnTo>
                  <a:lnTo>
                    <a:pt x="603" y="442"/>
                  </a:lnTo>
                  <a:lnTo>
                    <a:pt x="601" y="442"/>
                  </a:lnTo>
                  <a:lnTo>
                    <a:pt x="603" y="442"/>
                  </a:lnTo>
                  <a:lnTo>
                    <a:pt x="601" y="442"/>
                  </a:lnTo>
                  <a:lnTo>
                    <a:pt x="601" y="440"/>
                  </a:lnTo>
                  <a:lnTo>
                    <a:pt x="603" y="440"/>
                  </a:lnTo>
                  <a:lnTo>
                    <a:pt x="603" y="438"/>
                  </a:lnTo>
                  <a:close/>
                  <a:moveTo>
                    <a:pt x="605" y="434"/>
                  </a:moveTo>
                  <a:lnTo>
                    <a:pt x="607" y="434"/>
                  </a:lnTo>
                  <a:lnTo>
                    <a:pt x="605" y="434"/>
                  </a:lnTo>
                  <a:lnTo>
                    <a:pt x="607" y="434"/>
                  </a:lnTo>
                  <a:lnTo>
                    <a:pt x="607" y="436"/>
                  </a:lnTo>
                  <a:lnTo>
                    <a:pt x="605" y="436"/>
                  </a:lnTo>
                  <a:lnTo>
                    <a:pt x="607" y="436"/>
                  </a:lnTo>
                  <a:lnTo>
                    <a:pt x="605" y="436"/>
                  </a:lnTo>
                  <a:lnTo>
                    <a:pt x="605" y="438"/>
                  </a:lnTo>
                  <a:lnTo>
                    <a:pt x="603" y="438"/>
                  </a:lnTo>
                  <a:lnTo>
                    <a:pt x="603" y="440"/>
                  </a:lnTo>
                  <a:lnTo>
                    <a:pt x="601" y="440"/>
                  </a:lnTo>
                  <a:lnTo>
                    <a:pt x="601" y="438"/>
                  </a:lnTo>
                  <a:lnTo>
                    <a:pt x="601" y="436"/>
                  </a:lnTo>
                  <a:lnTo>
                    <a:pt x="601" y="434"/>
                  </a:lnTo>
                  <a:lnTo>
                    <a:pt x="601" y="436"/>
                  </a:lnTo>
                  <a:lnTo>
                    <a:pt x="603" y="436"/>
                  </a:lnTo>
                  <a:lnTo>
                    <a:pt x="601" y="436"/>
                  </a:lnTo>
                  <a:lnTo>
                    <a:pt x="603" y="436"/>
                  </a:lnTo>
                  <a:lnTo>
                    <a:pt x="601" y="436"/>
                  </a:lnTo>
                  <a:lnTo>
                    <a:pt x="603" y="436"/>
                  </a:lnTo>
                  <a:lnTo>
                    <a:pt x="601" y="436"/>
                  </a:lnTo>
                  <a:lnTo>
                    <a:pt x="603" y="436"/>
                  </a:lnTo>
                  <a:lnTo>
                    <a:pt x="601" y="436"/>
                  </a:lnTo>
                  <a:lnTo>
                    <a:pt x="603" y="436"/>
                  </a:lnTo>
                  <a:lnTo>
                    <a:pt x="605" y="436"/>
                  </a:lnTo>
                  <a:lnTo>
                    <a:pt x="605" y="434"/>
                  </a:lnTo>
                  <a:close/>
                  <a:moveTo>
                    <a:pt x="192" y="181"/>
                  </a:moveTo>
                  <a:lnTo>
                    <a:pt x="194" y="181"/>
                  </a:lnTo>
                  <a:lnTo>
                    <a:pt x="194" y="183"/>
                  </a:lnTo>
                  <a:lnTo>
                    <a:pt x="192" y="183"/>
                  </a:lnTo>
                  <a:lnTo>
                    <a:pt x="190" y="183"/>
                  </a:lnTo>
                  <a:lnTo>
                    <a:pt x="188" y="183"/>
                  </a:lnTo>
                  <a:lnTo>
                    <a:pt x="188" y="181"/>
                  </a:lnTo>
                  <a:lnTo>
                    <a:pt x="190" y="181"/>
                  </a:lnTo>
                  <a:lnTo>
                    <a:pt x="192" y="181"/>
                  </a:lnTo>
                  <a:close/>
                  <a:moveTo>
                    <a:pt x="330" y="208"/>
                  </a:moveTo>
                  <a:lnTo>
                    <a:pt x="330" y="210"/>
                  </a:lnTo>
                  <a:lnTo>
                    <a:pt x="332" y="210"/>
                  </a:lnTo>
                  <a:lnTo>
                    <a:pt x="330" y="210"/>
                  </a:lnTo>
                  <a:lnTo>
                    <a:pt x="332" y="210"/>
                  </a:lnTo>
                  <a:lnTo>
                    <a:pt x="332" y="212"/>
                  </a:lnTo>
                  <a:lnTo>
                    <a:pt x="332" y="213"/>
                  </a:lnTo>
                  <a:lnTo>
                    <a:pt x="334" y="213"/>
                  </a:lnTo>
                  <a:lnTo>
                    <a:pt x="332" y="213"/>
                  </a:lnTo>
                  <a:lnTo>
                    <a:pt x="332" y="212"/>
                  </a:lnTo>
                  <a:lnTo>
                    <a:pt x="330" y="212"/>
                  </a:lnTo>
                  <a:lnTo>
                    <a:pt x="330" y="213"/>
                  </a:lnTo>
                  <a:lnTo>
                    <a:pt x="330" y="212"/>
                  </a:lnTo>
                  <a:lnTo>
                    <a:pt x="330" y="210"/>
                  </a:lnTo>
                  <a:lnTo>
                    <a:pt x="329" y="210"/>
                  </a:lnTo>
                  <a:lnTo>
                    <a:pt x="329" y="208"/>
                  </a:lnTo>
                  <a:lnTo>
                    <a:pt x="330" y="208"/>
                  </a:lnTo>
                  <a:close/>
                  <a:moveTo>
                    <a:pt x="421" y="252"/>
                  </a:moveTo>
                  <a:lnTo>
                    <a:pt x="419" y="252"/>
                  </a:lnTo>
                  <a:lnTo>
                    <a:pt x="419" y="250"/>
                  </a:lnTo>
                  <a:lnTo>
                    <a:pt x="419" y="248"/>
                  </a:lnTo>
                  <a:lnTo>
                    <a:pt x="421" y="248"/>
                  </a:lnTo>
                  <a:lnTo>
                    <a:pt x="423" y="246"/>
                  </a:lnTo>
                  <a:lnTo>
                    <a:pt x="423" y="248"/>
                  </a:lnTo>
                  <a:lnTo>
                    <a:pt x="423" y="250"/>
                  </a:lnTo>
                  <a:lnTo>
                    <a:pt x="423" y="252"/>
                  </a:lnTo>
                  <a:lnTo>
                    <a:pt x="421" y="252"/>
                  </a:lnTo>
                  <a:close/>
                  <a:moveTo>
                    <a:pt x="494" y="283"/>
                  </a:moveTo>
                  <a:lnTo>
                    <a:pt x="496" y="283"/>
                  </a:lnTo>
                  <a:lnTo>
                    <a:pt x="498" y="283"/>
                  </a:lnTo>
                  <a:lnTo>
                    <a:pt x="496" y="283"/>
                  </a:lnTo>
                  <a:lnTo>
                    <a:pt x="496" y="284"/>
                  </a:lnTo>
                  <a:lnTo>
                    <a:pt x="494" y="286"/>
                  </a:lnTo>
                  <a:lnTo>
                    <a:pt x="492" y="286"/>
                  </a:lnTo>
                  <a:lnTo>
                    <a:pt x="492" y="284"/>
                  </a:lnTo>
                  <a:lnTo>
                    <a:pt x="494" y="284"/>
                  </a:lnTo>
                  <a:lnTo>
                    <a:pt x="496" y="284"/>
                  </a:lnTo>
                  <a:lnTo>
                    <a:pt x="494" y="284"/>
                  </a:lnTo>
                  <a:lnTo>
                    <a:pt x="492" y="284"/>
                  </a:lnTo>
                  <a:lnTo>
                    <a:pt x="492" y="283"/>
                  </a:lnTo>
                  <a:lnTo>
                    <a:pt x="494" y="283"/>
                  </a:lnTo>
                  <a:close/>
                  <a:moveTo>
                    <a:pt x="10" y="2"/>
                  </a:moveTo>
                  <a:lnTo>
                    <a:pt x="8" y="2"/>
                  </a:lnTo>
                  <a:lnTo>
                    <a:pt x="10" y="2"/>
                  </a:lnTo>
                  <a:lnTo>
                    <a:pt x="10" y="4"/>
                  </a:lnTo>
                  <a:lnTo>
                    <a:pt x="8" y="4"/>
                  </a:lnTo>
                  <a:lnTo>
                    <a:pt x="10" y="4"/>
                  </a:lnTo>
                  <a:lnTo>
                    <a:pt x="8" y="4"/>
                  </a:lnTo>
                  <a:lnTo>
                    <a:pt x="10" y="4"/>
                  </a:lnTo>
                  <a:lnTo>
                    <a:pt x="12" y="4"/>
                  </a:lnTo>
                  <a:lnTo>
                    <a:pt x="12" y="6"/>
                  </a:lnTo>
                  <a:lnTo>
                    <a:pt x="12" y="4"/>
                  </a:lnTo>
                  <a:lnTo>
                    <a:pt x="12" y="6"/>
                  </a:lnTo>
                  <a:lnTo>
                    <a:pt x="12" y="4"/>
                  </a:lnTo>
                  <a:lnTo>
                    <a:pt x="12" y="6"/>
                  </a:lnTo>
                  <a:lnTo>
                    <a:pt x="10" y="6"/>
                  </a:lnTo>
                  <a:lnTo>
                    <a:pt x="8" y="6"/>
                  </a:lnTo>
                  <a:lnTo>
                    <a:pt x="8" y="4"/>
                  </a:lnTo>
                  <a:lnTo>
                    <a:pt x="8" y="2"/>
                  </a:lnTo>
                  <a:lnTo>
                    <a:pt x="10" y="0"/>
                  </a:lnTo>
                  <a:lnTo>
                    <a:pt x="10" y="2"/>
                  </a:lnTo>
                  <a:close/>
                  <a:moveTo>
                    <a:pt x="634" y="411"/>
                  </a:moveTo>
                  <a:lnTo>
                    <a:pt x="634" y="413"/>
                  </a:lnTo>
                  <a:lnTo>
                    <a:pt x="634" y="411"/>
                  </a:lnTo>
                  <a:lnTo>
                    <a:pt x="634" y="413"/>
                  </a:lnTo>
                  <a:lnTo>
                    <a:pt x="636" y="413"/>
                  </a:lnTo>
                  <a:lnTo>
                    <a:pt x="634" y="413"/>
                  </a:lnTo>
                  <a:lnTo>
                    <a:pt x="636" y="413"/>
                  </a:lnTo>
                  <a:lnTo>
                    <a:pt x="634" y="413"/>
                  </a:lnTo>
                  <a:lnTo>
                    <a:pt x="636" y="413"/>
                  </a:lnTo>
                  <a:lnTo>
                    <a:pt x="636" y="415"/>
                  </a:lnTo>
                  <a:lnTo>
                    <a:pt x="634" y="415"/>
                  </a:lnTo>
                  <a:lnTo>
                    <a:pt x="636" y="415"/>
                  </a:lnTo>
                  <a:lnTo>
                    <a:pt x="634" y="415"/>
                  </a:lnTo>
                  <a:lnTo>
                    <a:pt x="632" y="415"/>
                  </a:lnTo>
                  <a:lnTo>
                    <a:pt x="632" y="413"/>
                  </a:lnTo>
                  <a:lnTo>
                    <a:pt x="632" y="411"/>
                  </a:lnTo>
                  <a:lnTo>
                    <a:pt x="632" y="413"/>
                  </a:lnTo>
                  <a:lnTo>
                    <a:pt x="632" y="411"/>
                  </a:lnTo>
                  <a:lnTo>
                    <a:pt x="634" y="411"/>
                  </a:lnTo>
                  <a:close/>
                  <a:moveTo>
                    <a:pt x="766" y="475"/>
                  </a:moveTo>
                  <a:lnTo>
                    <a:pt x="768" y="475"/>
                  </a:lnTo>
                  <a:lnTo>
                    <a:pt x="768" y="476"/>
                  </a:lnTo>
                  <a:lnTo>
                    <a:pt x="766" y="476"/>
                  </a:lnTo>
                  <a:lnTo>
                    <a:pt x="766" y="478"/>
                  </a:lnTo>
                  <a:lnTo>
                    <a:pt x="766" y="480"/>
                  </a:lnTo>
                  <a:lnTo>
                    <a:pt x="764" y="480"/>
                  </a:lnTo>
                  <a:lnTo>
                    <a:pt x="764" y="478"/>
                  </a:lnTo>
                  <a:lnTo>
                    <a:pt x="764" y="480"/>
                  </a:lnTo>
                  <a:lnTo>
                    <a:pt x="764" y="478"/>
                  </a:lnTo>
                  <a:lnTo>
                    <a:pt x="764" y="476"/>
                  </a:lnTo>
                  <a:lnTo>
                    <a:pt x="766" y="476"/>
                  </a:lnTo>
                  <a:lnTo>
                    <a:pt x="766" y="475"/>
                  </a:lnTo>
                  <a:close/>
                  <a:moveTo>
                    <a:pt x="630" y="438"/>
                  </a:moveTo>
                  <a:lnTo>
                    <a:pt x="630" y="440"/>
                  </a:lnTo>
                  <a:lnTo>
                    <a:pt x="632" y="440"/>
                  </a:lnTo>
                  <a:lnTo>
                    <a:pt x="630" y="440"/>
                  </a:lnTo>
                  <a:lnTo>
                    <a:pt x="632" y="440"/>
                  </a:lnTo>
                  <a:lnTo>
                    <a:pt x="632" y="442"/>
                  </a:lnTo>
                  <a:lnTo>
                    <a:pt x="630" y="442"/>
                  </a:lnTo>
                  <a:lnTo>
                    <a:pt x="630" y="444"/>
                  </a:lnTo>
                  <a:lnTo>
                    <a:pt x="630" y="442"/>
                  </a:lnTo>
                  <a:lnTo>
                    <a:pt x="628" y="442"/>
                  </a:lnTo>
                  <a:lnTo>
                    <a:pt x="628" y="440"/>
                  </a:lnTo>
                  <a:lnTo>
                    <a:pt x="630" y="440"/>
                  </a:lnTo>
                  <a:lnTo>
                    <a:pt x="628" y="440"/>
                  </a:lnTo>
                  <a:lnTo>
                    <a:pt x="628" y="438"/>
                  </a:lnTo>
                  <a:lnTo>
                    <a:pt x="628" y="440"/>
                  </a:lnTo>
                  <a:lnTo>
                    <a:pt x="628" y="438"/>
                  </a:lnTo>
                  <a:lnTo>
                    <a:pt x="630" y="438"/>
                  </a:lnTo>
                  <a:close/>
                  <a:moveTo>
                    <a:pt x="279" y="210"/>
                  </a:moveTo>
                  <a:lnTo>
                    <a:pt x="279" y="212"/>
                  </a:lnTo>
                  <a:lnTo>
                    <a:pt x="279" y="213"/>
                  </a:lnTo>
                  <a:lnTo>
                    <a:pt x="279" y="215"/>
                  </a:lnTo>
                  <a:lnTo>
                    <a:pt x="277" y="215"/>
                  </a:lnTo>
                  <a:lnTo>
                    <a:pt x="277" y="213"/>
                  </a:lnTo>
                  <a:lnTo>
                    <a:pt x="277" y="212"/>
                  </a:lnTo>
                  <a:lnTo>
                    <a:pt x="277" y="210"/>
                  </a:lnTo>
                  <a:lnTo>
                    <a:pt x="279" y="210"/>
                  </a:lnTo>
                  <a:lnTo>
                    <a:pt x="279" y="208"/>
                  </a:lnTo>
                  <a:lnTo>
                    <a:pt x="279" y="210"/>
                  </a:lnTo>
                  <a:close/>
                  <a:moveTo>
                    <a:pt x="269" y="217"/>
                  </a:moveTo>
                  <a:lnTo>
                    <a:pt x="271" y="221"/>
                  </a:lnTo>
                  <a:lnTo>
                    <a:pt x="269" y="221"/>
                  </a:lnTo>
                  <a:lnTo>
                    <a:pt x="271" y="221"/>
                  </a:lnTo>
                  <a:lnTo>
                    <a:pt x="271" y="223"/>
                  </a:lnTo>
                  <a:lnTo>
                    <a:pt x="269" y="223"/>
                  </a:lnTo>
                  <a:lnTo>
                    <a:pt x="269" y="221"/>
                  </a:lnTo>
                  <a:lnTo>
                    <a:pt x="269" y="219"/>
                  </a:lnTo>
                  <a:lnTo>
                    <a:pt x="269" y="217"/>
                  </a:lnTo>
                  <a:lnTo>
                    <a:pt x="269" y="219"/>
                  </a:lnTo>
                  <a:lnTo>
                    <a:pt x="267" y="219"/>
                  </a:lnTo>
                  <a:lnTo>
                    <a:pt x="269" y="217"/>
                  </a:lnTo>
                  <a:lnTo>
                    <a:pt x="267" y="217"/>
                  </a:lnTo>
                  <a:lnTo>
                    <a:pt x="269" y="215"/>
                  </a:lnTo>
                  <a:lnTo>
                    <a:pt x="269" y="217"/>
                  </a:lnTo>
                  <a:close/>
                  <a:moveTo>
                    <a:pt x="609" y="436"/>
                  </a:moveTo>
                  <a:lnTo>
                    <a:pt x="609" y="438"/>
                  </a:lnTo>
                  <a:lnTo>
                    <a:pt x="609" y="440"/>
                  </a:lnTo>
                  <a:lnTo>
                    <a:pt x="607" y="440"/>
                  </a:lnTo>
                  <a:lnTo>
                    <a:pt x="607" y="442"/>
                  </a:lnTo>
                  <a:lnTo>
                    <a:pt x="607" y="440"/>
                  </a:lnTo>
                  <a:lnTo>
                    <a:pt x="607" y="442"/>
                  </a:lnTo>
                  <a:lnTo>
                    <a:pt x="607" y="444"/>
                  </a:lnTo>
                  <a:lnTo>
                    <a:pt x="605" y="444"/>
                  </a:lnTo>
                  <a:lnTo>
                    <a:pt x="605" y="442"/>
                  </a:lnTo>
                  <a:lnTo>
                    <a:pt x="607" y="442"/>
                  </a:lnTo>
                  <a:lnTo>
                    <a:pt x="605" y="442"/>
                  </a:lnTo>
                  <a:lnTo>
                    <a:pt x="605" y="440"/>
                  </a:lnTo>
                  <a:lnTo>
                    <a:pt x="607" y="440"/>
                  </a:lnTo>
                  <a:lnTo>
                    <a:pt x="605" y="440"/>
                  </a:lnTo>
                  <a:lnTo>
                    <a:pt x="605" y="438"/>
                  </a:lnTo>
                  <a:lnTo>
                    <a:pt x="607" y="438"/>
                  </a:lnTo>
                  <a:lnTo>
                    <a:pt x="607" y="440"/>
                  </a:lnTo>
                  <a:lnTo>
                    <a:pt x="607" y="438"/>
                  </a:lnTo>
                  <a:lnTo>
                    <a:pt x="607" y="440"/>
                  </a:lnTo>
                  <a:lnTo>
                    <a:pt x="607" y="438"/>
                  </a:lnTo>
                  <a:lnTo>
                    <a:pt x="607" y="440"/>
                  </a:lnTo>
                  <a:lnTo>
                    <a:pt x="607" y="438"/>
                  </a:lnTo>
                  <a:lnTo>
                    <a:pt x="607" y="440"/>
                  </a:lnTo>
                  <a:lnTo>
                    <a:pt x="607" y="438"/>
                  </a:lnTo>
                  <a:lnTo>
                    <a:pt x="609" y="438"/>
                  </a:lnTo>
                  <a:lnTo>
                    <a:pt x="609" y="436"/>
                  </a:lnTo>
                  <a:close/>
                  <a:moveTo>
                    <a:pt x="484" y="260"/>
                  </a:moveTo>
                  <a:lnTo>
                    <a:pt x="486" y="260"/>
                  </a:lnTo>
                  <a:lnTo>
                    <a:pt x="486" y="261"/>
                  </a:lnTo>
                  <a:lnTo>
                    <a:pt x="486" y="263"/>
                  </a:lnTo>
                  <a:lnTo>
                    <a:pt x="486" y="261"/>
                  </a:lnTo>
                  <a:lnTo>
                    <a:pt x="486" y="263"/>
                  </a:lnTo>
                  <a:lnTo>
                    <a:pt x="484" y="263"/>
                  </a:lnTo>
                  <a:lnTo>
                    <a:pt x="486" y="261"/>
                  </a:lnTo>
                  <a:lnTo>
                    <a:pt x="484" y="261"/>
                  </a:lnTo>
                  <a:lnTo>
                    <a:pt x="482" y="261"/>
                  </a:lnTo>
                  <a:lnTo>
                    <a:pt x="482" y="260"/>
                  </a:lnTo>
                  <a:lnTo>
                    <a:pt x="484" y="260"/>
                  </a:lnTo>
                  <a:lnTo>
                    <a:pt x="486" y="260"/>
                  </a:lnTo>
                  <a:lnTo>
                    <a:pt x="484" y="260"/>
                  </a:lnTo>
                  <a:close/>
                  <a:moveTo>
                    <a:pt x="200" y="169"/>
                  </a:moveTo>
                  <a:lnTo>
                    <a:pt x="198" y="169"/>
                  </a:lnTo>
                  <a:lnTo>
                    <a:pt x="198" y="171"/>
                  </a:lnTo>
                  <a:lnTo>
                    <a:pt x="196" y="171"/>
                  </a:lnTo>
                  <a:lnTo>
                    <a:pt x="194" y="171"/>
                  </a:lnTo>
                  <a:lnTo>
                    <a:pt x="194" y="169"/>
                  </a:lnTo>
                  <a:lnTo>
                    <a:pt x="196" y="169"/>
                  </a:lnTo>
                  <a:lnTo>
                    <a:pt x="198" y="169"/>
                  </a:lnTo>
                  <a:lnTo>
                    <a:pt x="200" y="169"/>
                  </a:lnTo>
                  <a:close/>
                  <a:moveTo>
                    <a:pt x="732" y="517"/>
                  </a:moveTo>
                  <a:lnTo>
                    <a:pt x="732" y="519"/>
                  </a:lnTo>
                  <a:lnTo>
                    <a:pt x="734" y="519"/>
                  </a:lnTo>
                  <a:lnTo>
                    <a:pt x="734" y="521"/>
                  </a:lnTo>
                  <a:lnTo>
                    <a:pt x="732" y="521"/>
                  </a:lnTo>
                  <a:lnTo>
                    <a:pt x="730" y="521"/>
                  </a:lnTo>
                  <a:lnTo>
                    <a:pt x="732" y="521"/>
                  </a:lnTo>
                  <a:lnTo>
                    <a:pt x="732" y="519"/>
                  </a:lnTo>
                  <a:lnTo>
                    <a:pt x="730" y="519"/>
                  </a:lnTo>
                  <a:lnTo>
                    <a:pt x="732" y="519"/>
                  </a:lnTo>
                  <a:lnTo>
                    <a:pt x="730" y="519"/>
                  </a:lnTo>
                  <a:lnTo>
                    <a:pt x="730" y="517"/>
                  </a:lnTo>
                  <a:lnTo>
                    <a:pt x="732" y="517"/>
                  </a:lnTo>
                  <a:close/>
                  <a:moveTo>
                    <a:pt x="150" y="131"/>
                  </a:moveTo>
                  <a:lnTo>
                    <a:pt x="148" y="131"/>
                  </a:lnTo>
                  <a:lnTo>
                    <a:pt x="150" y="131"/>
                  </a:lnTo>
                  <a:lnTo>
                    <a:pt x="150" y="133"/>
                  </a:lnTo>
                  <a:lnTo>
                    <a:pt x="148" y="133"/>
                  </a:lnTo>
                  <a:lnTo>
                    <a:pt x="148" y="131"/>
                  </a:lnTo>
                  <a:lnTo>
                    <a:pt x="148" y="129"/>
                  </a:lnTo>
                  <a:lnTo>
                    <a:pt x="150" y="129"/>
                  </a:lnTo>
                  <a:lnTo>
                    <a:pt x="150" y="131"/>
                  </a:lnTo>
                  <a:close/>
                  <a:moveTo>
                    <a:pt x="699" y="428"/>
                  </a:moveTo>
                  <a:lnTo>
                    <a:pt x="697" y="428"/>
                  </a:lnTo>
                  <a:lnTo>
                    <a:pt x="699" y="428"/>
                  </a:lnTo>
                  <a:lnTo>
                    <a:pt x="699" y="430"/>
                  </a:lnTo>
                  <a:lnTo>
                    <a:pt x="697" y="430"/>
                  </a:lnTo>
                  <a:lnTo>
                    <a:pt x="699" y="430"/>
                  </a:lnTo>
                  <a:lnTo>
                    <a:pt x="697" y="430"/>
                  </a:lnTo>
                  <a:lnTo>
                    <a:pt x="697" y="432"/>
                  </a:lnTo>
                  <a:lnTo>
                    <a:pt x="697" y="434"/>
                  </a:lnTo>
                  <a:lnTo>
                    <a:pt x="697" y="432"/>
                  </a:lnTo>
                  <a:lnTo>
                    <a:pt x="697" y="434"/>
                  </a:lnTo>
                  <a:lnTo>
                    <a:pt x="697" y="432"/>
                  </a:lnTo>
                  <a:lnTo>
                    <a:pt x="695" y="432"/>
                  </a:lnTo>
                  <a:lnTo>
                    <a:pt x="695" y="434"/>
                  </a:lnTo>
                  <a:lnTo>
                    <a:pt x="695" y="432"/>
                  </a:lnTo>
                  <a:lnTo>
                    <a:pt x="695" y="430"/>
                  </a:lnTo>
                  <a:lnTo>
                    <a:pt x="697" y="430"/>
                  </a:lnTo>
                  <a:lnTo>
                    <a:pt x="697" y="428"/>
                  </a:lnTo>
                  <a:lnTo>
                    <a:pt x="699" y="428"/>
                  </a:lnTo>
                  <a:close/>
                  <a:moveTo>
                    <a:pt x="643" y="404"/>
                  </a:moveTo>
                  <a:lnTo>
                    <a:pt x="645" y="404"/>
                  </a:lnTo>
                  <a:lnTo>
                    <a:pt x="643" y="404"/>
                  </a:lnTo>
                  <a:lnTo>
                    <a:pt x="645" y="404"/>
                  </a:lnTo>
                  <a:lnTo>
                    <a:pt x="645" y="405"/>
                  </a:lnTo>
                  <a:lnTo>
                    <a:pt x="645" y="404"/>
                  </a:lnTo>
                  <a:lnTo>
                    <a:pt x="645" y="405"/>
                  </a:lnTo>
                  <a:lnTo>
                    <a:pt x="645" y="407"/>
                  </a:lnTo>
                  <a:lnTo>
                    <a:pt x="647" y="407"/>
                  </a:lnTo>
                  <a:lnTo>
                    <a:pt x="647" y="409"/>
                  </a:lnTo>
                  <a:lnTo>
                    <a:pt x="647" y="407"/>
                  </a:lnTo>
                  <a:lnTo>
                    <a:pt x="647" y="409"/>
                  </a:lnTo>
                  <a:lnTo>
                    <a:pt x="645" y="409"/>
                  </a:lnTo>
                  <a:lnTo>
                    <a:pt x="645" y="407"/>
                  </a:lnTo>
                  <a:lnTo>
                    <a:pt x="645" y="409"/>
                  </a:lnTo>
                  <a:lnTo>
                    <a:pt x="645" y="407"/>
                  </a:lnTo>
                  <a:lnTo>
                    <a:pt x="645" y="405"/>
                  </a:lnTo>
                  <a:lnTo>
                    <a:pt x="645" y="407"/>
                  </a:lnTo>
                  <a:lnTo>
                    <a:pt x="645" y="405"/>
                  </a:lnTo>
                  <a:lnTo>
                    <a:pt x="643" y="405"/>
                  </a:lnTo>
                  <a:lnTo>
                    <a:pt x="643" y="404"/>
                  </a:lnTo>
                  <a:lnTo>
                    <a:pt x="645" y="404"/>
                  </a:lnTo>
                  <a:lnTo>
                    <a:pt x="643" y="404"/>
                  </a:lnTo>
                  <a:lnTo>
                    <a:pt x="645" y="404"/>
                  </a:lnTo>
                  <a:lnTo>
                    <a:pt x="643" y="404"/>
                  </a:lnTo>
                  <a:close/>
                  <a:moveTo>
                    <a:pt x="599" y="440"/>
                  </a:moveTo>
                  <a:lnTo>
                    <a:pt x="601" y="440"/>
                  </a:lnTo>
                  <a:lnTo>
                    <a:pt x="601" y="442"/>
                  </a:lnTo>
                  <a:lnTo>
                    <a:pt x="601" y="444"/>
                  </a:lnTo>
                  <a:lnTo>
                    <a:pt x="599" y="444"/>
                  </a:lnTo>
                  <a:lnTo>
                    <a:pt x="597" y="444"/>
                  </a:lnTo>
                  <a:lnTo>
                    <a:pt x="597" y="446"/>
                  </a:lnTo>
                  <a:lnTo>
                    <a:pt x="597" y="444"/>
                  </a:lnTo>
                  <a:lnTo>
                    <a:pt x="597" y="446"/>
                  </a:lnTo>
                  <a:lnTo>
                    <a:pt x="597" y="444"/>
                  </a:lnTo>
                  <a:lnTo>
                    <a:pt x="599" y="444"/>
                  </a:lnTo>
                  <a:lnTo>
                    <a:pt x="599" y="442"/>
                  </a:lnTo>
                  <a:lnTo>
                    <a:pt x="599" y="440"/>
                  </a:lnTo>
                  <a:close/>
                  <a:moveTo>
                    <a:pt x="492" y="273"/>
                  </a:moveTo>
                  <a:lnTo>
                    <a:pt x="492" y="271"/>
                  </a:lnTo>
                  <a:lnTo>
                    <a:pt x="492" y="273"/>
                  </a:lnTo>
                  <a:lnTo>
                    <a:pt x="492" y="275"/>
                  </a:lnTo>
                  <a:lnTo>
                    <a:pt x="490" y="275"/>
                  </a:lnTo>
                  <a:lnTo>
                    <a:pt x="490" y="273"/>
                  </a:lnTo>
                  <a:lnTo>
                    <a:pt x="492" y="273"/>
                  </a:lnTo>
                  <a:close/>
                  <a:moveTo>
                    <a:pt x="211" y="175"/>
                  </a:moveTo>
                  <a:lnTo>
                    <a:pt x="211" y="177"/>
                  </a:lnTo>
                  <a:lnTo>
                    <a:pt x="211" y="179"/>
                  </a:lnTo>
                  <a:lnTo>
                    <a:pt x="209" y="179"/>
                  </a:lnTo>
                  <a:lnTo>
                    <a:pt x="209" y="181"/>
                  </a:lnTo>
                  <a:lnTo>
                    <a:pt x="209" y="179"/>
                  </a:lnTo>
                  <a:lnTo>
                    <a:pt x="208" y="179"/>
                  </a:lnTo>
                  <a:lnTo>
                    <a:pt x="208" y="177"/>
                  </a:lnTo>
                  <a:lnTo>
                    <a:pt x="208" y="179"/>
                  </a:lnTo>
                  <a:lnTo>
                    <a:pt x="209" y="177"/>
                  </a:lnTo>
                  <a:lnTo>
                    <a:pt x="209" y="179"/>
                  </a:lnTo>
                  <a:lnTo>
                    <a:pt x="209" y="177"/>
                  </a:lnTo>
                  <a:lnTo>
                    <a:pt x="209" y="179"/>
                  </a:lnTo>
                  <a:lnTo>
                    <a:pt x="209" y="177"/>
                  </a:lnTo>
                  <a:lnTo>
                    <a:pt x="211" y="177"/>
                  </a:lnTo>
                  <a:lnTo>
                    <a:pt x="211" y="175"/>
                  </a:lnTo>
                  <a:close/>
                  <a:moveTo>
                    <a:pt x="254" y="190"/>
                  </a:moveTo>
                  <a:lnTo>
                    <a:pt x="256" y="190"/>
                  </a:lnTo>
                  <a:lnTo>
                    <a:pt x="254" y="190"/>
                  </a:lnTo>
                  <a:lnTo>
                    <a:pt x="254" y="192"/>
                  </a:lnTo>
                  <a:lnTo>
                    <a:pt x="256" y="192"/>
                  </a:lnTo>
                  <a:lnTo>
                    <a:pt x="256" y="190"/>
                  </a:lnTo>
                  <a:lnTo>
                    <a:pt x="256" y="192"/>
                  </a:lnTo>
                  <a:lnTo>
                    <a:pt x="257" y="192"/>
                  </a:lnTo>
                  <a:lnTo>
                    <a:pt x="256" y="194"/>
                  </a:lnTo>
                  <a:lnTo>
                    <a:pt x="254" y="194"/>
                  </a:lnTo>
                  <a:lnTo>
                    <a:pt x="254" y="192"/>
                  </a:lnTo>
                  <a:lnTo>
                    <a:pt x="254" y="190"/>
                  </a:lnTo>
                  <a:close/>
                  <a:moveTo>
                    <a:pt x="96" y="85"/>
                  </a:moveTo>
                  <a:lnTo>
                    <a:pt x="98" y="85"/>
                  </a:lnTo>
                  <a:lnTo>
                    <a:pt x="98" y="87"/>
                  </a:lnTo>
                  <a:lnTo>
                    <a:pt x="98" y="89"/>
                  </a:lnTo>
                  <a:lnTo>
                    <a:pt x="96" y="87"/>
                  </a:lnTo>
                  <a:lnTo>
                    <a:pt x="96" y="85"/>
                  </a:lnTo>
                  <a:close/>
                  <a:moveTo>
                    <a:pt x="674" y="563"/>
                  </a:moveTo>
                  <a:lnTo>
                    <a:pt x="674" y="565"/>
                  </a:lnTo>
                  <a:lnTo>
                    <a:pt x="676" y="565"/>
                  </a:lnTo>
                  <a:lnTo>
                    <a:pt x="676" y="567"/>
                  </a:lnTo>
                  <a:lnTo>
                    <a:pt x="674" y="567"/>
                  </a:lnTo>
                  <a:lnTo>
                    <a:pt x="676" y="567"/>
                  </a:lnTo>
                  <a:lnTo>
                    <a:pt x="676" y="565"/>
                  </a:lnTo>
                  <a:lnTo>
                    <a:pt x="674" y="565"/>
                  </a:lnTo>
                  <a:lnTo>
                    <a:pt x="676" y="565"/>
                  </a:lnTo>
                  <a:lnTo>
                    <a:pt x="674" y="565"/>
                  </a:lnTo>
                  <a:lnTo>
                    <a:pt x="674" y="567"/>
                  </a:lnTo>
                  <a:lnTo>
                    <a:pt x="672" y="567"/>
                  </a:lnTo>
                  <a:lnTo>
                    <a:pt x="672" y="569"/>
                  </a:lnTo>
                  <a:lnTo>
                    <a:pt x="672" y="567"/>
                  </a:lnTo>
                  <a:lnTo>
                    <a:pt x="670" y="567"/>
                  </a:lnTo>
                  <a:lnTo>
                    <a:pt x="672" y="567"/>
                  </a:lnTo>
                  <a:lnTo>
                    <a:pt x="670" y="567"/>
                  </a:lnTo>
                  <a:lnTo>
                    <a:pt x="672" y="567"/>
                  </a:lnTo>
                  <a:lnTo>
                    <a:pt x="672" y="565"/>
                  </a:lnTo>
                  <a:lnTo>
                    <a:pt x="674" y="565"/>
                  </a:lnTo>
                  <a:lnTo>
                    <a:pt x="674" y="563"/>
                  </a:lnTo>
                  <a:lnTo>
                    <a:pt x="674" y="565"/>
                  </a:lnTo>
                  <a:lnTo>
                    <a:pt x="674" y="563"/>
                  </a:lnTo>
                  <a:close/>
                  <a:moveTo>
                    <a:pt x="169" y="139"/>
                  </a:moveTo>
                  <a:lnTo>
                    <a:pt x="169" y="140"/>
                  </a:lnTo>
                  <a:lnTo>
                    <a:pt x="167" y="140"/>
                  </a:lnTo>
                  <a:lnTo>
                    <a:pt x="167" y="139"/>
                  </a:lnTo>
                  <a:lnTo>
                    <a:pt x="165" y="140"/>
                  </a:lnTo>
                  <a:lnTo>
                    <a:pt x="165" y="139"/>
                  </a:lnTo>
                  <a:lnTo>
                    <a:pt x="167" y="139"/>
                  </a:lnTo>
                  <a:lnTo>
                    <a:pt x="165" y="139"/>
                  </a:lnTo>
                  <a:lnTo>
                    <a:pt x="167" y="139"/>
                  </a:lnTo>
                  <a:lnTo>
                    <a:pt x="167" y="137"/>
                  </a:lnTo>
                  <a:lnTo>
                    <a:pt x="169" y="137"/>
                  </a:lnTo>
                  <a:lnTo>
                    <a:pt x="169" y="139"/>
                  </a:lnTo>
                  <a:close/>
                  <a:moveTo>
                    <a:pt x="106" y="77"/>
                  </a:moveTo>
                  <a:lnTo>
                    <a:pt x="108" y="77"/>
                  </a:lnTo>
                  <a:lnTo>
                    <a:pt x="108" y="79"/>
                  </a:lnTo>
                  <a:lnTo>
                    <a:pt x="108" y="77"/>
                  </a:lnTo>
                  <a:lnTo>
                    <a:pt x="108" y="79"/>
                  </a:lnTo>
                  <a:lnTo>
                    <a:pt x="108" y="81"/>
                  </a:lnTo>
                  <a:lnTo>
                    <a:pt x="106" y="81"/>
                  </a:lnTo>
                  <a:lnTo>
                    <a:pt x="108" y="81"/>
                  </a:lnTo>
                  <a:lnTo>
                    <a:pt x="106" y="81"/>
                  </a:lnTo>
                  <a:lnTo>
                    <a:pt x="106" y="79"/>
                  </a:lnTo>
                  <a:lnTo>
                    <a:pt x="106" y="77"/>
                  </a:lnTo>
                  <a:close/>
                  <a:moveTo>
                    <a:pt x="137" y="102"/>
                  </a:moveTo>
                  <a:lnTo>
                    <a:pt x="137" y="100"/>
                  </a:lnTo>
                  <a:lnTo>
                    <a:pt x="137" y="102"/>
                  </a:lnTo>
                  <a:lnTo>
                    <a:pt x="138" y="102"/>
                  </a:lnTo>
                  <a:lnTo>
                    <a:pt x="137" y="102"/>
                  </a:lnTo>
                  <a:lnTo>
                    <a:pt x="138" y="104"/>
                  </a:lnTo>
                  <a:lnTo>
                    <a:pt x="137" y="104"/>
                  </a:lnTo>
                  <a:lnTo>
                    <a:pt x="137" y="106"/>
                  </a:lnTo>
                  <a:lnTo>
                    <a:pt x="137" y="104"/>
                  </a:lnTo>
                  <a:lnTo>
                    <a:pt x="135" y="102"/>
                  </a:lnTo>
                  <a:lnTo>
                    <a:pt x="137" y="102"/>
                  </a:lnTo>
                  <a:close/>
                  <a:moveTo>
                    <a:pt x="499" y="283"/>
                  </a:moveTo>
                  <a:lnTo>
                    <a:pt x="501" y="284"/>
                  </a:lnTo>
                  <a:lnTo>
                    <a:pt x="499" y="284"/>
                  </a:lnTo>
                  <a:lnTo>
                    <a:pt x="501" y="284"/>
                  </a:lnTo>
                  <a:lnTo>
                    <a:pt x="499" y="284"/>
                  </a:lnTo>
                  <a:lnTo>
                    <a:pt x="498" y="284"/>
                  </a:lnTo>
                  <a:lnTo>
                    <a:pt x="498" y="286"/>
                  </a:lnTo>
                  <a:lnTo>
                    <a:pt x="498" y="284"/>
                  </a:lnTo>
                  <a:lnTo>
                    <a:pt x="499" y="284"/>
                  </a:lnTo>
                  <a:lnTo>
                    <a:pt x="499" y="283"/>
                  </a:lnTo>
                  <a:close/>
                  <a:moveTo>
                    <a:pt x="208" y="185"/>
                  </a:moveTo>
                  <a:lnTo>
                    <a:pt x="208" y="187"/>
                  </a:lnTo>
                  <a:lnTo>
                    <a:pt x="206" y="187"/>
                  </a:lnTo>
                  <a:lnTo>
                    <a:pt x="204" y="187"/>
                  </a:lnTo>
                  <a:lnTo>
                    <a:pt x="204" y="188"/>
                  </a:lnTo>
                  <a:lnTo>
                    <a:pt x="204" y="187"/>
                  </a:lnTo>
                  <a:lnTo>
                    <a:pt x="206" y="187"/>
                  </a:lnTo>
                  <a:lnTo>
                    <a:pt x="206" y="185"/>
                  </a:lnTo>
                  <a:lnTo>
                    <a:pt x="208" y="185"/>
                  </a:lnTo>
                  <a:close/>
                  <a:moveTo>
                    <a:pt x="716" y="494"/>
                  </a:moveTo>
                  <a:lnTo>
                    <a:pt x="716" y="496"/>
                  </a:lnTo>
                  <a:lnTo>
                    <a:pt x="716" y="494"/>
                  </a:lnTo>
                  <a:lnTo>
                    <a:pt x="716" y="496"/>
                  </a:lnTo>
                  <a:lnTo>
                    <a:pt x="716" y="494"/>
                  </a:lnTo>
                  <a:lnTo>
                    <a:pt x="716" y="496"/>
                  </a:lnTo>
                  <a:lnTo>
                    <a:pt x="718" y="496"/>
                  </a:lnTo>
                  <a:lnTo>
                    <a:pt x="718" y="498"/>
                  </a:lnTo>
                  <a:lnTo>
                    <a:pt x="716" y="498"/>
                  </a:lnTo>
                  <a:lnTo>
                    <a:pt x="716" y="496"/>
                  </a:lnTo>
                  <a:lnTo>
                    <a:pt x="716" y="494"/>
                  </a:lnTo>
                  <a:close/>
                  <a:moveTo>
                    <a:pt x="233" y="190"/>
                  </a:moveTo>
                  <a:lnTo>
                    <a:pt x="234" y="190"/>
                  </a:lnTo>
                  <a:lnTo>
                    <a:pt x="234" y="192"/>
                  </a:lnTo>
                  <a:lnTo>
                    <a:pt x="233" y="192"/>
                  </a:lnTo>
                  <a:lnTo>
                    <a:pt x="234" y="192"/>
                  </a:lnTo>
                  <a:lnTo>
                    <a:pt x="233" y="194"/>
                  </a:lnTo>
                  <a:lnTo>
                    <a:pt x="234" y="194"/>
                  </a:lnTo>
                  <a:lnTo>
                    <a:pt x="233" y="194"/>
                  </a:lnTo>
                  <a:lnTo>
                    <a:pt x="231" y="194"/>
                  </a:lnTo>
                  <a:lnTo>
                    <a:pt x="233" y="194"/>
                  </a:lnTo>
                  <a:lnTo>
                    <a:pt x="233" y="192"/>
                  </a:lnTo>
                  <a:lnTo>
                    <a:pt x="233" y="190"/>
                  </a:lnTo>
                  <a:lnTo>
                    <a:pt x="233" y="192"/>
                  </a:lnTo>
                  <a:lnTo>
                    <a:pt x="233" y="190"/>
                  </a:lnTo>
                  <a:close/>
                  <a:moveTo>
                    <a:pt x="192" y="167"/>
                  </a:moveTo>
                  <a:lnTo>
                    <a:pt x="192" y="165"/>
                  </a:lnTo>
                  <a:lnTo>
                    <a:pt x="194" y="165"/>
                  </a:lnTo>
                  <a:lnTo>
                    <a:pt x="194" y="167"/>
                  </a:lnTo>
                  <a:lnTo>
                    <a:pt x="192" y="167"/>
                  </a:lnTo>
                  <a:lnTo>
                    <a:pt x="192" y="169"/>
                  </a:lnTo>
                  <a:lnTo>
                    <a:pt x="194" y="169"/>
                  </a:lnTo>
                  <a:lnTo>
                    <a:pt x="192" y="169"/>
                  </a:lnTo>
                  <a:lnTo>
                    <a:pt x="190" y="169"/>
                  </a:lnTo>
                  <a:lnTo>
                    <a:pt x="192" y="169"/>
                  </a:lnTo>
                  <a:lnTo>
                    <a:pt x="190" y="167"/>
                  </a:lnTo>
                  <a:lnTo>
                    <a:pt x="192" y="167"/>
                  </a:lnTo>
                  <a:lnTo>
                    <a:pt x="192" y="165"/>
                  </a:lnTo>
                  <a:lnTo>
                    <a:pt x="192" y="167"/>
                  </a:lnTo>
                  <a:close/>
                  <a:moveTo>
                    <a:pt x="509" y="404"/>
                  </a:moveTo>
                  <a:lnTo>
                    <a:pt x="511" y="404"/>
                  </a:lnTo>
                  <a:lnTo>
                    <a:pt x="509" y="404"/>
                  </a:lnTo>
                  <a:lnTo>
                    <a:pt x="511" y="404"/>
                  </a:lnTo>
                  <a:lnTo>
                    <a:pt x="509" y="404"/>
                  </a:lnTo>
                  <a:lnTo>
                    <a:pt x="509" y="405"/>
                  </a:lnTo>
                  <a:lnTo>
                    <a:pt x="509" y="407"/>
                  </a:lnTo>
                  <a:lnTo>
                    <a:pt x="509" y="405"/>
                  </a:lnTo>
                  <a:lnTo>
                    <a:pt x="507" y="405"/>
                  </a:lnTo>
                  <a:lnTo>
                    <a:pt x="507" y="404"/>
                  </a:lnTo>
                  <a:lnTo>
                    <a:pt x="509" y="404"/>
                  </a:lnTo>
                  <a:close/>
                  <a:moveTo>
                    <a:pt x="580" y="405"/>
                  </a:moveTo>
                  <a:lnTo>
                    <a:pt x="582" y="405"/>
                  </a:lnTo>
                  <a:lnTo>
                    <a:pt x="580" y="405"/>
                  </a:lnTo>
                  <a:lnTo>
                    <a:pt x="580" y="407"/>
                  </a:lnTo>
                  <a:lnTo>
                    <a:pt x="578" y="407"/>
                  </a:lnTo>
                  <a:lnTo>
                    <a:pt x="576" y="407"/>
                  </a:lnTo>
                  <a:lnTo>
                    <a:pt x="578" y="405"/>
                  </a:lnTo>
                  <a:lnTo>
                    <a:pt x="576" y="405"/>
                  </a:lnTo>
                  <a:lnTo>
                    <a:pt x="578" y="405"/>
                  </a:lnTo>
                  <a:lnTo>
                    <a:pt x="580" y="405"/>
                  </a:lnTo>
                  <a:close/>
                  <a:moveTo>
                    <a:pt x="198" y="150"/>
                  </a:moveTo>
                  <a:lnTo>
                    <a:pt x="200" y="150"/>
                  </a:lnTo>
                  <a:lnTo>
                    <a:pt x="202" y="150"/>
                  </a:lnTo>
                  <a:lnTo>
                    <a:pt x="202" y="152"/>
                  </a:lnTo>
                  <a:lnTo>
                    <a:pt x="200" y="152"/>
                  </a:lnTo>
                  <a:lnTo>
                    <a:pt x="202" y="152"/>
                  </a:lnTo>
                  <a:lnTo>
                    <a:pt x="200" y="152"/>
                  </a:lnTo>
                  <a:lnTo>
                    <a:pt x="198" y="152"/>
                  </a:lnTo>
                  <a:lnTo>
                    <a:pt x="200" y="152"/>
                  </a:lnTo>
                  <a:lnTo>
                    <a:pt x="198" y="152"/>
                  </a:lnTo>
                  <a:lnTo>
                    <a:pt x="200" y="150"/>
                  </a:lnTo>
                  <a:lnTo>
                    <a:pt x="198" y="150"/>
                  </a:lnTo>
                  <a:close/>
                  <a:moveTo>
                    <a:pt x="154" y="100"/>
                  </a:moveTo>
                  <a:lnTo>
                    <a:pt x="156" y="100"/>
                  </a:lnTo>
                  <a:lnTo>
                    <a:pt x="156" y="102"/>
                  </a:lnTo>
                  <a:lnTo>
                    <a:pt x="154" y="100"/>
                  </a:lnTo>
                  <a:lnTo>
                    <a:pt x="154" y="102"/>
                  </a:lnTo>
                  <a:lnTo>
                    <a:pt x="152" y="102"/>
                  </a:lnTo>
                  <a:lnTo>
                    <a:pt x="152" y="100"/>
                  </a:lnTo>
                  <a:lnTo>
                    <a:pt x="154" y="100"/>
                  </a:lnTo>
                  <a:lnTo>
                    <a:pt x="154" y="98"/>
                  </a:lnTo>
                  <a:lnTo>
                    <a:pt x="156" y="98"/>
                  </a:lnTo>
                  <a:lnTo>
                    <a:pt x="154" y="100"/>
                  </a:lnTo>
                  <a:close/>
                  <a:moveTo>
                    <a:pt x="501" y="281"/>
                  </a:moveTo>
                  <a:lnTo>
                    <a:pt x="503" y="283"/>
                  </a:lnTo>
                  <a:lnTo>
                    <a:pt x="501" y="283"/>
                  </a:lnTo>
                  <a:lnTo>
                    <a:pt x="499" y="283"/>
                  </a:lnTo>
                  <a:lnTo>
                    <a:pt x="498" y="281"/>
                  </a:lnTo>
                  <a:lnTo>
                    <a:pt x="498" y="283"/>
                  </a:lnTo>
                  <a:lnTo>
                    <a:pt x="498" y="281"/>
                  </a:lnTo>
                  <a:lnTo>
                    <a:pt x="499" y="281"/>
                  </a:lnTo>
                  <a:lnTo>
                    <a:pt x="501" y="281"/>
                  </a:lnTo>
                  <a:close/>
                  <a:moveTo>
                    <a:pt x="177" y="131"/>
                  </a:moveTo>
                  <a:lnTo>
                    <a:pt x="179" y="131"/>
                  </a:lnTo>
                  <a:lnTo>
                    <a:pt x="179" y="133"/>
                  </a:lnTo>
                  <a:lnTo>
                    <a:pt x="179" y="135"/>
                  </a:lnTo>
                  <a:lnTo>
                    <a:pt x="177" y="135"/>
                  </a:lnTo>
                  <a:lnTo>
                    <a:pt x="177" y="133"/>
                  </a:lnTo>
                  <a:lnTo>
                    <a:pt x="177" y="131"/>
                  </a:lnTo>
                  <a:close/>
                  <a:moveTo>
                    <a:pt x="469" y="231"/>
                  </a:moveTo>
                  <a:lnTo>
                    <a:pt x="469" y="233"/>
                  </a:lnTo>
                  <a:lnTo>
                    <a:pt x="471" y="233"/>
                  </a:lnTo>
                  <a:lnTo>
                    <a:pt x="469" y="233"/>
                  </a:lnTo>
                  <a:lnTo>
                    <a:pt x="469" y="235"/>
                  </a:lnTo>
                  <a:lnTo>
                    <a:pt x="467" y="235"/>
                  </a:lnTo>
                  <a:lnTo>
                    <a:pt x="467" y="233"/>
                  </a:lnTo>
                  <a:lnTo>
                    <a:pt x="469" y="233"/>
                  </a:lnTo>
                  <a:lnTo>
                    <a:pt x="469" y="231"/>
                  </a:lnTo>
                  <a:close/>
                  <a:moveTo>
                    <a:pt x="279" y="213"/>
                  </a:moveTo>
                  <a:lnTo>
                    <a:pt x="281" y="213"/>
                  </a:lnTo>
                  <a:lnTo>
                    <a:pt x="279" y="215"/>
                  </a:lnTo>
                  <a:lnTo>
                    <a:pt x="279" y="217"/>
                  </a:lnTo>
                  <a:lnTo>
                    <a:pt x="279" y="219"/>
                  </a:lnTo>
                  <a:lnTo>
                    <a:pt x="279" y="217"/>
                  </a:lnTo>
                  <a:lnTo>
                    <a:pt x="277" y="217"/>
                  </a:lnTo>
                  <a:lnTo>
                    <a:pt x="279" y="217"/>
                  </a:lnTo>
                  <a:lnTo>
                    <a:pt x="279" y="215"/>
                  </a:lnTo>
                  <a:lnTo>
                    <a:pt x="279" y="213"/>
                  </a:lnTo>
                  <a:close/>
                  <a:moveTo>
                    <a:pt x="699" y="432"/>
                  </a:moveTo>
                  <a:lnTo>
                    <a:pt x="699" y="434"/>
                  </a:lnTo>
                  <a:lnTo>
                    <a:pt x="699" y="432"/>
                  </a:lnTo>
                  <a:lnTo>
                    <a:pt x="699" y="434"/>
                  </a:lnTo>
                  <a:lnTo>
                    <a:pt x="699" y="436"/>
                  </a:lnTo>
                  <a:lnTo>
                    <a:pt x="699" y="434"/>
                  </a:lnTo>
                  <a:lnTo>
                    <a:pt x="699" y="436"/>
                  </a:lnTo>
                  <a:lnTo>
                    <a:pt x="697" y="436"/>
                  </a:lnTo>
                  <a:lnTo>
                    <a:pt x="697" y="434"/>
                  </a:lnTo>
                  <a:lnTo>
                    <a:pt x="697" y="432"/>
                  </a:lnTo>
                  <a:lnTo>
                    <a:pt x="699" y="432"/>
                  </a:lnTo>
                  <a:close/>
                  <a:moveTo>
                    <a:pt x="219" y="183"/>
                  </a:moveTo>
                  <a:lnTo>
                    <a:pt x="217" y="183"/>
                  </a:lnTo>
                  <a:lnTo>
                    <a:pt x="217" y="185"/>
                  </a:lnTo>
                  <a:lnTo>
                    <a:pt x="215" y="185"/>
                  </a:lnTo>
                  <a:lnTo>
                    <a:pt x="215" y="183"/>
                  </a:lnTo>
                  <a:lnTo>
                    <a:pt x="217" y="183"/>
                  </a:lnTo>
                  <a:lnTo>
                    <a:pt x="219" y="183"/>
                  </a:lnTo>
                  <a:lnTo>
                    <a:pt x="219" y="181"/>
                  </a:lnTo>
                  <a:lnTo>
                    <a:pt x="221" y="181"/>
                  </a:lnTo>
                  <a:lnTo>
                    <a:pt x="219" y="183"/>
                  </a:lnTo>
                  <a:close/>
                  <a:moveTo>
                    <a:pt x="198" y="179"/>
                  </a:moveTo>
                  <a:lnTo>
                    <a:pt x="200" y="179"/>
                  </a:lnTo>
                  <a:lnTo>
                    <a:pt x="198" y="181"/>
                  </a:lnTo>
                  <a:lnTo>
                    <a:pt x="198" y="179"/>
                  </a:lnTo>
                  <a:lnTo>
                    <a:pt x="198" y="181"/>
                  </a:lnTo>
                  <a:lnTo>
                    <a:pt x="196" y="181"/>
                  </a:lnTo>
                  <a:lnTo>
                    <a:pt x="196" y="179"/>
                  </a:lnTo>
                  <a:lnTo>
                    <a:pt x="198" y="179"/>
                  </a:lnTo>
                  <a:lnTo>
                    <a:pt x="200" y="179"/>
                  </a:lnTo>
                  <a:lnTo>
                    <a:pt x="198" y="179"/>
                  </a:lnTo>
                  <a:close/>
                  <a:moveTo>
                    <a:pt x="204" y="177"/>
                  </a:moveTo>
                  <a:lnTo>
                    <a:pt x="206" y="177"/>
                  </a:lnTo>
                  <a:lnTo>
                    <a:pt x="208" y="177"/>
                  </a:lnTo>
                  <a:lnTo>
                    <a:pt x="204" y="179"/>
                  </a:lnTo>
                  <a:lnTo>
                    <a:pt x="204" y="177"/>
                  </a:lnTo>
                  <a:close/>
                  <a:moveTo>
                    <a:pt x="764" y="526"/>
                  </a:moveTo>
                  <a:lnTo>
                    <a:pt x="764" y="528"/>
                  </a:lnTo>
                  <a:lnTo>
                    <a:pt x="764" y="530"/>
                  </a:lnTo>
                  <a:lnTo>
                    <a:pt x="763" y="530"/>
                  </a:lnTo>
                  <a:lnTo>
                    <a:pt x="763" y="528"/>
                  </a:lnTo>
                  <a:lnTo>
                    <a:pt x="763" y="526"/>
                  </a:lnTo>
                  <a:lnTo>
                    <a:pt x="764" y="526"/>
                  </a:lnTo>
                  <a:close/>
                  <a:moveTo>
                    <a:pt x="718" y="501"/>
                  </a:moveTo>
                  <a:lnTo>
                    <a:pt x="718" y="503"/>
                  </a:lnTo>
                  <a:lnTo>
                    <a:pt x="718" y="505"/>
                  </a:lnTo>
                  <a:lnTo>
                    <a:pt x="718" y="503"/>
                  </a:lnTo>
                  <a:lnTo>
                    <a:pt x="718" y="505"/>
                  </a:lnTo>
                  <a:lnTo>
                    <a:pt x="718" y="503"/>
                  </a:lnTo>
                  <a:lnTo>
                    <a:pt x="716" y="501"/>
                  </a:lnTo>
                  <a:lnTo>
                    <a:pt x="718" y="501"/>
                  </a:lnTo>
                  <a:close/>
                  <a:moveTo>
                    <a:pt x="217" y="192"/>
                  </a:moveTo>
                  <a:lnTo>
                    <a:pt x="217" y="194"/>
                  </a:lnTo>
                  <a:lnTo>
                    <a:pt x="215" y="194"/>
                  </a:lnTo>
                  <a:lnTo>
                    <a:pt x="217" y="192"/>
                  </a:lnTo>
                  <a:lnTo>
                    <a:pt x="215" y="192"/>
                  </a:lnTo>
                  <a:lnTo>
                    <a:pt x="215" y="194"/>
                  </a:lnTo>
                  <a:lnTo>
                    <a:pt x="215" y="192"/>
                  </a:lnTo>
                  <a:lnTo>
                    <a:pt x="217" y="192"/>
                  </a:lnTo>
                  <a:close/>
                  <a:moveTo>
                    <a:pt x="161" y="114"/>
                  </a:moveTo>
                  <a:lnTo>
                    <a:pt x="161" y="116"/>
                  </a:lnTo>
                  <a:lnTo>
                    <a:pt x="161" y="114"/>
                  </a:lnTo>
                  <a:lnTo>
                    <a:pt x="161" y="116"/>
                  </a:lnTo>
                  <a:lnTo>
                    <a:pt x="160" y="114"/>
                  </a:lnTo>
                  <a:lnTo>
                    <a:pt x="160" y="112"/>
                  </a:lnTo>
                  <a:lnTo>
                    <a:pt x="161" y="112"/>
                  </a:lnTo>
                  <a:lnTo>
                    <a:pt x="161" y="114"/>
                  </a:lnTo>
                  <a:close/>
                  <a:moveTo>
                    <a:pt x="171" y="123"/>
                  </a:moveTo>
                  <a:lnTo>
                    <a:pt x="173" y="123"/>
                  </a:lnTo>
                  <a:lnTo>
                    <a:pt x="173" y="125"/>
                  </a:lnTo>
                  <a:lnTo>
                    <a:pt x="171" y="125"/>
                  </a:lnTo>
                  <a:lnTo>
                    <a:pt x="171" y="123"/>
                  </a:lnTo>
                  <a:lnTo>
                    <a:pt x="169" y="123"/>
                  </a:lnTo>
                  <a:lnTo>
                    <a:pt x="171" y="123"/>
                  </a:lnTo>
                  <a:close/>
                  <a:moveTo>
                    <a:pt x="215" y="188"/>
                  </a:moveTo>
                  <a:lnTo>
                    <a:pt x="215" y="190"/>
                  </a:lnTo>
                  <a:lnTo>
                    <a:pt x="217" y="190"/>
                  </a:lnTo>
                  <a:lnTo>
                    <a:pt x="217" y="192"/>
                  </a:lnTo>
                  <a:lnTo>
                    <a:pt x="217" y="190"/>
                  </a:lnTo>
                  <a:lnTo>
                    <a:pt x="215" y="192"/>
                  </a:lnTo>
                  <a:lnTo>
                    <a:pt x="215" y="190"/>
                  </a:lnTo>
                  <a:lnTo>
                    <a:pt x="215" y="192"/>
                  </a:lnTo>
                  <a:lnTo>
                    <a:pt x="215" y="190"/>
                  </a:lnTo>
                  <a:lnTo>
                    <a:pt x="215" y="188"/>
                  </a:lnTo>
                  <a:close/>
                  <a:moveTo>
                    <a:pt x="202" y="146"/>
                  </a:moveTo>
                  <a:lnTo>
                    <a:pt x="202" y="148"/>
                  </a:lnTo>
                  <a:lnTo>
                    <a:pt x="200" y="148"/>
                  </a:lnTo>
                  <a:lnTo>
                    <a:pt x="200" y="146"/>
                  </a:lnTo>
                  <a:lnTo>
                    <a:pt x="202" y="146"/>
                  </a:lnTo>
                  <a:close/>
                  <a:moveTo>
                    <a:pt x="396" y="223"/>
                  </a:moveTo>
                  <a:lnTo>
                    <a:pt x="394" y="223"/>
                  </a:lnTo>
                  <a:lnTo>
                    <a:pt x="396" y="221"/>
                  </a:lnTo>
                  <a:lnTo>
                    <a:pt x="396" y="223"/>
                  </a:lnTo>
                  <a:close/>
                  <a:moveTo>
                    <a:pt x="215" y="185"/>
                  </a:moveTo>
                  <a:lnTo>
                    <a:pt x="215" y="187"/>
                  </a:lnTo>
                  <a:lnTo>
                    <a:pt x="213" y="188"/>
                  </a:lnTo>
                  <a:lnTo>
                    <a:pt x="213" y="187"/>
                  </a:lnTo>
                  <a:lnTo>
                    <a:pt x="213" y="185"/>
                  </a:lnTo>
                  <a:lnTo>
                    <a:pt x="215" y="185"/>
                  </a:lnTo>
                  <a:close/>
                  <a:moveTo>
                    <a:pt x="695" y="428"/>
                  </a:moveTo>
                  <a:lnTo>
                    <a:pt x="695" y="430"/>
                  </a:lnTo>
                  <a:lnTo>
                    <a:pt x="695" y="432"/>
                  </a:lnTo>
                  <a:lnTo>
                    <a:pt x="693" y="432"/>
                  </a:lnTo>
                  <a:lnTo>
                    <a:pt x="693" y="430"/>
                  </a:lnTo>
                  <a:lnTo>
                    <a:pt x="695" y="430"/>
                  </a:lnTo>
                  <a:lnTo>
                    <a:pt x="695" y="428"/>
                  </a:lnTo>
                  <a:close/>
                  <a:moveTo>
                    <a:pt x="305" y="215"/>
                  </a:moveTo>
                  <a:lnTo>
                    <a:pt x="305" y="217"/>
                  </a:lnTo>
                  <a:lnTo>
                    <a:pt x="304" y="215"/>
                  </a:lnTo>
                  <a:lnTo>
                    <a:pt x="305" y="213"/>
                  </a:lnTo>
                  <a:lnTo>
                    <a:pt x="304" y="213"/>
                  </a:lnTo>
                  <a:lnTo>
                    <a:pt x="304" y="212"/>
                  </a:lnTo>
                  <a:lnTo>
                    <a:pt x="305" y="212"/>
                  </a:lnTo>
                  <a:lnTo>
                    <a:pt x="305" y="213"/>
                  </a:lnTo>
                  <a:lnTo>
                    <a:pt x="305" y="215"/>
                  </a:lnTo>
                  <a:close/>
                  <a:moveTo>
                    <a:pt x="642" y="417"/>
                  </a:moveTo>
                  <a:lnTo>
                    <a:pt x="643" y="417"/>
                  </a:lnTo>
                  <a:lnTo>
                    <a:pt x="643" y="419"/>
                  </a:lnTo>
                  <a:lnTo>
                    <a:pt x="643" y="421"/>
                  </a:lnTo>
                  <a:lnTo>
                    <a:pt x="642" y="421"/>
                  </a:lnTo>
                  <a:lnTo>
                    <a:pt x="642" y="419"/>
                  </a:lnTo>
                  <a:lnTo>
                    <a:pt x="642" y="421"/>
                  </a:lnTo>
                  <a:lnTo>
                    <a:pt x="642" y="419"/>
                  </a:lnTo>
                  <a:lnTo>
                    <a:pt x="642" y="417"/>
                  </a:lnTo>
                  <a:lnTo>
                    <a:pt x="642" y="419"/>
                  </a:lnTo>
                  <a:lnTo>
                    <a:pt x="642" y="417"/>
                  </a:lnTo>
                  <a:close/>
                  <a:moveTo>
                    <a:pt x="327" y="210"/>
                  </a:moveTo>
                  <a:lnTo>
                    <a:pt x="327" y="212"/>
                  </a:lnTo>
                  <a:lnTo>
                    <a:pt x="327" y="213"/>
                  </a:lnTo>
                  <a:lnTo>
                    <a:pt x="325" y="213"/>
                  </a:lnTo>
                  <a:lnTo>
                    <a:pt x="325" y="212"/>
                  </a:lnTo>
                  <a:lnTo>
                    <a:pt x="327" y="212"/>
                  </a:lnTo>
                  <a:lnTo>
                    <a:pt x="325" y="212"/>
                  </a:lnTo>
                  <a:lnTo>
                    <a:pt x="325" y="210"/>
                  </a:lnTo>
                  <a:lnTo>
                    <a:pt x="325" y="208"/>
                  </a:lnTo>
                  <a:lnTo>
                    <a:pt x="327" y="208"/>
                  </a:lnTo>
                  <a:lnTo>
                    <a:pt x="327" y="210"/>
                  </a:lnTo>
                  <a:close/>
                  <a:moveTo>
                    <a:pt x="459" y="238"/>
                  </a:moveTo>
                  <a:lnTo>
                    <a:pt x="459" y="240"/>
                  </a:lnTo>
                  <a:lnTo>
                    <a:pt x="457" y="240"/>
                  </a:lnTo>
                  <a:lnTo>
                    <a:pt x="455" y="240"/>
                  </a:lnTo>
                  <a:lnTo>
                    <a:pt x="455" y="238"/>
                  </a:lnTo>
                  <a:lnTo>
                    <a:pt x="457" y="238"/>
                  </a:lnTo>
                  <a:lnTo>
                    <a:pt x="459" y="238"/>
                  </a:lnTo>
                  <a:close/>
                  <a:moveTo>
                    <a:pt x="231" y="196"/>
                  </a:moveTo>
                  <a:lnTo>
                    <a:pt x="229" y="196"/>
                  </a:lnTo>
                  <a:lnTo>
                    <a:pt x="227" y="198"/>
                  </a:lnTo>
                  <a:lnTo>
                    <a:pt x="227" y="196"/>
                  </a:lnTo>
                  <a:lnTo>
                    <a:pt x="229" y="196"/>
                  </a:lnTo>
                  <a:lnTo>
                    <a:pt x="231" y="196"/>
                  </a:lnTo>
                  <a:close/>
                  <a:moveTo>
                    <a:pt x="691" y="427"/>
                  </a:moveTo>
                  <a:lnTo>
                    <a:pt x="690" y="427"/>
                  </a:lnTo>
                  <a:lnTo>
                    <a:pt x="690" y="428"/>
                  </a:lnTo>
                  <a:lnTo>
                    <a:pt x="688" y="428"/>
                  </a:lnTo>
                  <a:lnTo>
                    <a:pt x="688" y="427"/>
                  </a:lnTo>
                  <a:lnTo>
                    <a:pt x="690" y="427"/>
                  </a:lnTo>
                  <a:lnTo>
                    <a:pt x="691" y="427"/>
                  </a:lnTo>
                  <a:close/>
                  <a:moveTo>
                    <a:pt x="724" y="507"/>
                  </a:moveTo>
                  <a:lnTo>
                    <a:pt x="724" y="509"/>
                  </a:lnTo>
                  <a:lnTo>
                    <a:pt x="724" y="511"/>
                  </a:lnTo>
                  <a:lnTo>
                    <a:pt x="724" y="509"/>
                  </a:lnTo>
                  <a:lnTo>
                    <a:pt x="724" y="511"/>
                  </a:lnTo>
                  <a:lnTo>
                    <a:pt x="724" y="509"/>
                  </a:lnTo>
                  <a:lnTo>
                    <a:pt x="724" y="507"/>
                  </a:lnTo>
                  <a:close/>
                  <a:moveTo>
                    <a:pt x="515" y="294"/>
                  </a:moveTo>
                  <a:lnTo>
                    <a:pt x="517" y="294"/>
                  </a:lnTo>
                  <a:lnTo>
                    <a:pt x="515" y="294"/>
                  </a:lnTo>
                  <a:lnTo>
                    <a:pt x="515" y="296"/>
                  </a:lnTo>
                  <a:lnTo>
                    <a:pt x="517" y="296"/>
                  </a:lnTo>
                  <a:lnTo>
                    <a:pt x="515" y="296"/>
                  </a:lnTo>
                  <a:lnTo>
                    <a:pt x="513" y="296"/>
                  </a:lnTo>
                  <a:lnTo>
                    <a:pt x="513" y="294"/>
                  </a:lnTo>
                  <a:lnTo>
                    <a:pt x="515" y="294"/>
                  </a:lnTo>
                  <a:close/>
                  <a:moveTo>
                    <a:pt x="171" y="117"/>
                  </a:moveTo>
                  <a:lnTo>
                    <a:pt x="173" y="117"/>
                  </a:lnTo>
                  <a:lnTo>
                    <a:pt x="173" y="119"/>
                  </a:lnTo>
                  <a:lnTo>
                    <a:pt x="171" y="119"/>
                  </a:lnTo>
                  <a:lnTo>
                    <a:pt x="171" y="117"/>
                  </a:lnTo>
                  <a:close/>
                  <a:moveTo>
                    <a:pt x="19" y="8"/>
                  </a:moveTo>
                  <a:lnTo>
                    <a:pt x="19" y="10"/>
                  </a:lnTo>
                  <a:lnTo>
                    <a:pt x="19" y="12"/>
                  </a:lnTo>
                  <a:lnTo>
                    <a:pt x="17" y="12"/>
                  </a:lnTo>
                  <a:lnTo>
                    <a:pt x="19" y="12"/>
                  </a:lnTo>
                  <a:lnTo>
                    <a:pt x="17" y="12"/>
                  </a:lnTo>
                  <a:lnTo>
                    <a:pt x="17" y="10"/>
                  </a:lnTo>
                  <a:lnTo>
                    <a:pt x="19" y="10"/>
                  </a:lnTo>
                  <a:lnTo>
                    <a:pt x="17" y="10"/>
                  </a:lnTo>
                  <a:lnTo>
                    <a:pt x="19" y="10"/>
                  </a:lnTo>
                  <a:lnTo>
                    <a:pt x="19" y="8"/>
                  </a:lnTo>
                  <a:close/>
                  <a:moveTo>
                    <a:pt x="163" y="119"/>
                  </a:moveTo>
                  <a:lnTo>
                    <a:pt x="161" y="119"/>
                  </a:lnTo>
                  <a:lnTo>
                    <a:pt x="161" y="117"/>
                  </a:lnTo>
                  <a:lnTo>
                    <a:pt x="163" y="117"/>
                  </a:lnTo>
                  <a:lnTo>
                    <a:pt x="163" y="119"/>
                  </a:lnTo>
                  <a:close/>
                  <a:moveTo>
                    <a:pt x="154" y="129"/>
                  </a:moveTo>
                  <a:lnTo>
                    <a:pt x="152" y="129"/>
                  </a:lnTo>
                  <a:lnTo>
                    <a:pt x="152" y="127"/>
                  </a:lnTo>
                  <a:lnTo>
                    <a:pt x="154" y="127"/>
                  </a:lnTo>
                  <a:lnTo>
                    <a:pt x="154" y="129"/>
                  </a:lnTo>
                  <a:close/>
                  <a:moveTo>
                    <a:pt x="325" y="208"/>
                  </a:moveTo>
                  <a:lnTo>
                    <a:pt x="325" y="210"/>
                  </a:lnTo>
                  <a:lnTo>
                    <a:pt x="323" y="210"/>
                  </a:lnTo>
                  <a:lnTo>
                    <a:pt x="325" y="212"/>
                  </a:lnTo>
                  <a:lnTo>
                    <a:pt x="323" y="210"/>
                  </a:lnTo>
                  <a:lnTo>
                    <a:pt x="323" y="208"/>
                  </a:lnTo>
                  <a:lnTo>
                    <a:pt x="325" y="208"/>
                  </a:lnTo>
                  <a:close/>
                  <a:moveTo>
                    <a:pt x="496" y="286"/>
                  </a:moveTo>
                  <a:lnTo>
                    <a:pt x="496" y="288"/>
                  </a:lnTo>
                  <a:lnTo>
                    <a:pt x="494" y="288"/>
                  </a:lnTo>
                  <a:lnTo>
                    <a:pt x="494" y="286"/>
                  </a:lnTo>
                  <a:lnTo>
                    <a:pt x="496" y="286"/>
                  </a:lnTo>
                  <a:close/>
                  <a:moveTo>
                    <a:pt x="542" y="323"/>
                  </a:moveTo>
                  <a:lnTo>
                    <a:pt x="542" y="325"/>
                  </a:lnTo>
                  <a:lnTo>
                    <a:pt x="544" y="325"/>
                  </a:lnTo>
                  <a:lnTo>
                    <a:pt x="544" y="327"/>
                  </a:lnTo>
                  <a:lnTo>
                    <a:pt x="542" y="327"/>
                  </a:lnTo>
                  <a:lnTo>
                    <a:pt x="542" y="325"/>
                  </a:lnTo>
                  <a:lnTo>
                    <a:pt x="542" y="323"/>
                  </a:lnTo>
                  <a:close/>
                  <a:moveTo>
                    <a:pt x="557" y="450"/>
                  </a:moveTo>
                  <a:lnTo>
                    <a:pt x="557" y="452"/>
                  </a:lnTo>
                  <a:lnTo>
                    <a:pt x="559" y="452"/>
                  </a:lnTo>
                  <a:lnTo>
                    <a:pt x="557" y="452"/>
                  </a:lnTo>
                  <a:lnTo>
                    <a:pt x="557" y="453"/>
                  </a:lnTo>
                  <a:lnTo>
                    <a:pt x="557" y="452"/>
                  </a:lnTo>
                  <a:lnTo>
                    <a:pt x="557" y="450"/>
                  </a:lnTo>
                  <a:close/>
                  <a:moveTo>
                    <a:pt x="640" y="427"/>
                  </a:moveTo>
                  <a:lnTo>
                    <a:pt x="642" y="427"/>
                  </a:lnTo>
                  <a:lnTo>
                    <a:pt x="642" y="428"/>
                  </a:lnTo>
                  <a:lnTo>
                    <a:pt x="640" y="428"/>
                  </a:lnTo>
                  <a:lnTo>
                    <a:pt x="640" y="427"/>
                  </a:lnTo>
                  <a:lnTo>
                    <a:pt x="640" y="428"/>
                  </a:lnTo>
                  <a:lnTo>
                    <a:pt x="640" y="427"/>
                  </a:lnTo>
                  <a:lnTo>
                    <a:pt x="638" y="427"/>
                  </a:lnTo>
                  <a:lnTo>
                    <a:pt x="640" y="427"/>
                  </a:lnTo>
                  <a:close/>
                  <a:moveTo>
                    <a:pt x="106" y="81"/>
                  </a:moveTo>
                  <a:lnTo>
                    <a:pt x="106" y="83"/>
                  </a:lnTo>
                  <a:lnTo>
                    <a:pt x="104" y="83"/>
                  </a:lnTo>
                  <a:lnTo>
                    <a:pt x="104" y="81"/>
                  </a:lnTo>
                  <a:lnTo>
                    <a:pt x="104" y="79"/>
                  </a:lnTo>
                  <a:lnTo>
                    <a:pt x="106" y="81"/>
                  </a:lnTo>
                  <a:close/>
                  <a:moveTo>
                    <a:pt x="684" y="538"/>
                  </a:moveTo>
                  <a:lnTo>
                    <a:pt x="684" y="540"/>
                  </a:lnTo>
                  <a:lnTo>
                    <a:pt x="686" y="540"/>
                  </a:lnTo>
                  <a:lnTo>
                    <a:pt x="684" y="540"/>
                  </a:lnTo>
                  <a:lnTo>
                    <a:pt x="682" y="540"/>
                  </a:lnTo>
                  <a:lnTo>
                    <a:pt x="682" y="538"/>
                  </a:lnTo>
                  <a:lnTo>
                    <a:pt x="684" y="538"/>
                  </a:lnTo>
                  <a:close/>
                  <a:moveTo>
                    <a:pt x="192" y="171"/>
                  </a:moveTo>
                  <a:lnTo>
                    <a:pt x="192" y="173"/>
                  </a:lnTo>
                  <a:lnTo>
                    <a:pt x="190" y="171"/>
                  </a:lnTo>
                  <a:lnTo>
                    <a:pt x="192" y="171"/>
                  </a:lnTo>
                  <a:lnTo>
                    <a:pt x="194" y="171"/>
                  </a:lnTo>
                  <a:lnTo>
                    <a:pt x="192" y="171"/>
                  </a:lnTo>
                  <a:close/>
                  <a:moveTo>
                    <a:pt x="715" y="540"/>
                  </a:moveTo>
                  <a:lnTo>
                    <a:pt x="715" y="542"/>
                  </a:lnTo>
                  <a:lnTo>
                    <a:pt x="713" y="542"/>
                  </a:lnTo>
                  <a:lnTo>
                    <a:pt x="713" y="540"/>
                  </a:lnTo>
                  <a:lnTo>
                    <a:pt x="713" y="542"/>
                  </a:lnTo>
                  <a:lnTo>
                    <a:pt x="713" y="540"/>
                  </a:lnTo>
                  <a:lnTo>
                    <a:pt x="715" y="540"/>
                  </a:lnTo>
                  <a:close/>
                  <a:moveTo>
                    <a:pt x="394" y="208"/>
                  </a:moveTo>
                  <a:lnTo>
                    <a:pt x="396" y="208"/>
                  </a:lnTo>
                  <a:lnTo>
                    <a:pt x="394" y="208"/>
                  </a:lnTo>
                  <a:lnTo>
                    <a:pt x="392" y="208"/>
                  </a:lnTo>
                  <a:lnTo>
                    <a:pt x="394" y="208"/>
                  </a:lnTo>
                  <a:lnTo>
                    <a:pt x="394" y="206"/>
                  </a:lnTo>
                  <a:lnTo>
                    <a:pt x="396" y="208"/>
                  </a:lnTo>
                  <a:lnTo>
                    <a:pt x="394" y="208"/>
                  </a:lnTo>
                  <a:close/>
                  <a:moveTo>
                    <a:pt x="194" y="148"/>
                  </a:moveTo>
                  <a:lnTo>
                    <a:pt x="194" y="150"/>
                  </a:lnTo>
                  <a:lnTo>
                    <a:pt x="194" y="148"/>
                  </a:lnTo>
                  <a:lnTo>
                    <a:pt x="196" y="148"/>
                  </a:lnTo>
                  <a:lnTo>
                    <a:pt x="194" y="148"/>
                  </a:lnTo>
                  <a:close/>
                  <a:moveTo>
                    <a:pt x="158" y="114"/>
                  </a:moveTo>
                  <a:lnTo>
                    <a:pt x="158" y="116"/>
                  </a:lnTo>
                  <a:lnTo>
                    <a:pt x="160" y="116"/>
                  </a:lnTo>
                  <a:lnTo>
                    <a:pt x="158" y="116"/>
                  </a:lnTo>
                  <a:lnTo>
                    <a:pt x="160" y="116"/>
                  </a:lnTo>
                  <a:lnTo>
                    <a:pt x="158" y="116"/>
                  </a:lnTo>
                  <a:lnTo>
                    <a:pt x="156" y="116"/>
                  </a:lnTo>
                  <a:lnTo>
                    <a:pt x="158" y="116"/>
                  </a:lnTo>
                  <a:lnTo>
                    <a:pt x="158" y="114"/>
                  </a:lnTo>
                  <a:close/>
                  <a:moveTo>
                    <a:pt x="626" y="427"/>
                  </a:moveTo>
                  <a:lnTo>
                    <a:pt x="626" y="428"/>
                  </a:lnTo>
                  <a:lnTo>
                    <a:pt x="624" y="428"/>
                  </a:lnTo>
                  <a:lnTo>
                    <a:pt x="626" y="428"/>
                  </a:lnTo>
                  <a:lnTo>
                    <a:pt x="624" y="428"/>
                  </a:lnTo>
                  <a:lnTo>
                    <a:pt x="624" y="427"/>
                  </a:lnTo>
                  <a:lnTo>
                    <a:pt x="626" y="428"/>
                  </a:lnTo>
                  <a:lnTo>
                    <a:pt x="626" y="427"/>
                  </a:lnTo>
                  <a:close/>
                  <a:moveTo>
                    <a:pt x="720" y="517"/>
                  </a:moveTo>
                  <a:lnTo>
                    <a:pt x="720" y="519"/>
                  </a:lnTo>
                  <a:lnTo>
                    <a:pt x="722" y="519"/>
                  </a:lnTo>
                  <a:lnTo>
                    <a:pt x="720" y="519"/>
                  </a:lnTo>
                  <a:lnTo>
                    <a:pt x="720" y="521"/>
                  </a:lnTo>
                  <a:lnTo>
                    <a:pt x="720" y="519"/>
                  </a:lnTo>
                  <a:lnTo>
                    <a:pt x="720" y="517"/>
                  </a:lnTo>
                  <a:close/>
                  <a:moveTo>
                    <a:pt x="181" y="135"/>
                  </a:moveTo>
                  <a:lnTo>
                    <a:pt x="181" y="137"/>
                  </a:lnTo>
                  <a:lnTo>
                    <a:pt x="179" y="137"/>
                  </a:lnTo>
                  <a:lnTo>
                    <a:pt x="179" y="135"/>
                  </a:lnTo>
                  <a:lnTo>
                    <a:pt x="181" y="135"/>
                  </a:lnTo>
                  <a:close/>
                  <a:moveTo>
                    <a:pt x="530" y="517"/>
                  </a:moveTo>
                  <a:lnTo>
                    <a:pt x="532" y="517"/>
                  </a:lnTo>
                  <a:lnTo>
                    <a:pt x="532" y="519"/>
                  </a:lnTo>
                  <a:lnTo>
                    <a:pt x="530" y="519"/>
                  </a:lnTo>
                  <a:lnTo>
                    <a:pt x="530" y="517"/>
                  </a:lnTo>
                  <a:lnTo>
                    <a:pt x="530" y="519"/>
                  </a:lnTo>
                  <a:lnTo>
                    <a:pt x="528" y="519"/>
                  </a:lnTo>
                  <a:lnTo>
                    <a:pt x="530" y="519"/>
                  </a:lnTo>
                  <a:lnTo>
                    <a:pt x="530" y="517"/>
                  </a:lnTo>
                  <a:lnTo>
                    <a:pt x="528" y="517"/>
                  </a:lnTo>
                  <a:lnTo>
                    <a:pt x="530" y="517"/>
                  </a:lnTo>
                  <a:close/>
                  <a:moveTo>
                    <a:pt x="323" y="202"/>
                  </a:moveTo>
                  <a:lnTo>
                    <a:pt x="321" y="202"/>
                  </a:lnTo>
                  <a:lnTo>
                    <a:pt x="323" y="202"/>
                  </a:lnTo>
                  <a:lnTo>
                    <a:pt x="323" y="200"/>
                  </a:lnTo>
                  <a:lnTo>
                    <a:pt x="321" y="200"/>
                  </a:lnTo>
                  <a:lnTo>
                    <a:pt x="321" y="198"/>
                  </a:lnTo>
                  <a:lnTo>
                    <a:pt x="323" y="198"/>
                  </a:lnTo>
                  <a:lnTo>
                    <a:pt x="323" y="200"/>
                  </a:lnTo>
                  <a:lnTo>
                    <a:pt x="323" y="202"/>
                  </a:lnTo>
                  <a:close/>
                  <a:moveTo>
                    <a:pt x="257" y="194"/>
                  </a:moveTo>
                  <a:lnTo>
                    <a:pt x="259" y="194"/>
                  </a:lnTo>
                  <a:lnTo>
                    <a:pt x="257" y="194"/>
                  </a:lnTo>
                  <a:lnTo>
                    <a:pt x="257" y="196"/>
                  </a:lnTo>
                  <a:lnTo>
                    <a:pt x="257" y="194"/>
                  </a:lnTo>
                  <a:close/>
                  <a:moveTo>
                    <a:pt x="378" y="225"/>
                  </a:moveTo>
                  <a:lnTo>
                    <a:pt x="380" y="225"/>
                  </a:lnTo>
                  <a:lnTo>
                    <a:pt x="380" y="227"/>
                  </a:lnTo>
                  <a:lnTo>
                    <a:pt x="378" y="227"/>
                  </a:lnTo>
                  <a:lnTo>
                    <a:pt x="377" y="225"/>
                  </a:lnTo>
                  <a:lnTo>
                    <a:pt x="378" y="225"/>
                  </a:lnTo>
                  <a:close/>
                  <a:moveTo>
                    <a:pt x="323" y="213"/>
                  </a:moveTo>
                  <a:lnTo>
                    <a:pt x="321" y="213"/>
                  </a:lnTo>
                  <a:lnTo>
                    <a:pt x="321" y="212"/>
                  </a:lnTo>
                  <a:lnTo>
                    <a:pt x="323" y="212"/>
                  </a:lnTo>
                  <a:lnTo>
                    <a:pt x="323" y="213"/>
                  </a:lnTo>
                  <a:close/>
                  <a:moveTo>
                    <a:pt x="200" y="154"/>
                  </a:moveTo>
                  <a:lnTo>
                    <a:pt x="200" y="156"/>
                  </a:lnTo>
                  <a:lnTo>
                    <a:pt x="198" y="156"/>
                  </a:lnTo>
                  <a:lnTo>
                    <a:pt x="198" y="154"/>
                  </a:lnTo>
                  <a:lnTo>
                    <a:pt x="200" y="154"/>
                  </a:lnTo>
                  <a:lnTo>
                    <a:pt x="198" y="154"/>
                  </a:lnTo>
                  <a:lnTo>
                    <a:pt x="200" y="154"/>
                  </a:lnTo>
                  <a:close/>
                  <a:moveTo>
                    <a:pt x="442" y="240"/>
                  </a:moveTo>
                  <a:lnTo>
                    <a:pt x="440" y="240"/>
                  </a:lnTo>
                  <a:lnTo>
                    <a:pt x="438" y="240"/>
                  </a:lnTo>
                  <a:lnTo>
                    <a:pt x="440" y="238"/>
                  </a:lnTo>
                  <a:lnTo>
                    <a:pt x="442" y="238"/>
                  </a:lnTo>
                  <a:lnTo>
                    <a:pt x="442" y="240"/>
                  </a:lnTo>
                  <a:close/>
                  <a:moveTo>
                    <a:pt x="344" y="210"/>
                  </a:moveTo>
                  <a:lnTo>
                    <a:pt x="344" y="212"/>
                  </a:lnTo>
                  <a:lnTo>
                    <a:pt x="342" y="212"/>
                  </a:lnTo>
                  <a:lnTo>
                    <a:pt x="344" y="210"/>
                  </a:lnTo>
                  <a:close/>
                  <a:moveTo>
                    <a:pt x="188" y="173"/>
                  </a:moveTo>
                  <a:lnTo>
                    <a:pt x="186" y="173"/>
                  </a:lnTo>
                  <a:lnTo>
                    <a:pt x="188" y="173"/>
                  </a:lnTo>
                  <a:lnTo>
                    <a:pt x="188" y="171"/>
                  </a:lnTo>
                  <a:lnTo>
                    <a:pt x="190" y="173"/>
                  </a:lnTo>
                  <a:lnTo>
                    <a:pt x="188" y="173"/>
                  </a:lnTo>
                  <a:close/>
                  <a:moveTo>
                    <a:pt x="630" y="413"/>
                  </a:moveTo>
                  <a:lnTo>
                    <a:pt x="632" y="413"/>
                  </a:lnTo>
                  <a:lnTo>
                    <a:pt x="632" y="415"/>
                  </a:lnTo>
                  <a:lnTo>
                    <a:pt x="632" y="413"/>
                  </a:lnTo>
                  <a:lnTo>
                    <a:pt x="630" y="413"/>
                  </a:lnTo>
                  <a:lnTo>
                    <a:pt x="632" y="413"/>
                  </a:lnTo>
                  <a:lnTo>
                    <a:pt x="630" y="413"/>
                  </a:lnTo>
                  <a:close/>
                  <a:moveTo>
                    <a:pt x="597" y="436"/>
                  </a:moveTo>
                  <a:lnTo>
                    <a:pt x="597" y="438"/>
                  </a:lnTo>
                  <a:lnTo>
                    <a:pt x="595" y="438"/>
                  </a:lnTo>
                  <a:lnTo>
                    <a:pt x="595" y="436"/>
                  </a:lnTo>
                  <a:lnTo>
                    <a:pt x="597" y="436"/>
                  </a:lnTo>
                  <a:lnTo>
                    <a:pt x="595" y="436"/>
                  </a:lnTo>
                  <a:lnTo>
                    <a:pt x="597" y="436"/>
                  </a:lnTo>
                  <a:close/>
                  <a:moveTo>
                    <a:pt x="215" y="171"/>
                  </a:moveTo>
                  <a:lnTo>
                    <a:pt x="213" y="173"/>
                  </a:lnTo>
                  <a:lnTo>
                    <a:pt x="213" y="171"/>
                  </a:lnTo>
                  <a:lnTo>
                    <a:pt x="215" y="171"/>
                  </a:lnTo>
                  <a:close/>
                  <a:moveTo>
                    <a:pt x="373" y="233"/>
                  </a:moveTo>
                  <a:lnTo>
                    <a:pt x="371" y="233"/>
                  </a:lnTo>
                  <a:lnTo>
                    <a:pt x="371" y="235"/>
                  </a:lnTo>
                  <a:lnTo>
                    <a:pt x="371" y="233"/>
                  </a:lnTo>
                  <a:lnTo>
                    <a:pt x="373" y="233"/>
                  </a:lnTo>
                  <a:lnTo>
                    <a:pt x="373" y="231"/>
                  </a:lnTo>
                  <a:lnTo>
                    <a:pt x="373" y="233"/>
                  </a:lnTo>
                  <a:close/>
                  <a:moveTo>
                    <a:pt x="198" y="150"/>
                  </a:moveTo>
                  <a:lnTo>
                    <a:pt x="198" y="152"/>
                  </a:lnTo>
                  <a:lnTo>
                    <a:pt x="196" y="152"/>
                  </a:lnTo>
                  <a:lnTo>
                    <a:pt x="196" y="150"/>
                  </a:lnTo>
                  <a:lnTo>
                    <a:pt x="198" y="150"/>
                  </a:lnTo>
                  <a:close/>
                  <a:moveTo>
                    <a:pt x="630" y="432"/>
                  </a:moveTo>
                  <a:lnTo>
                    <a:pt x="630" y="430"/>
                  </a:lnTo>
                  <a:lnTo>
                    <a:pt x="630" y="428"/>
                  </a:lnTo>
                  <a:lnTo>
                    <a:pt x="630" y="430"/>
                  </a:lnTo>
                  <a:lnTo>
                    <a:pt x="632" y="432"/>
                  </a:lnTo>
                  <a:lnTo>
                    <a:pt x="630" y="432"/>
                  </a:lnTo>
                  <a:close/>
                  <a:moveTo>
                    <a:pt x="135" y="100"/>
                  </a:moveTo>
                  <a:lnTo>
                    <a:pt x="135" y="102"/>
                  </a:lnTo>
                  <a:lnTo>
                    <a:pt x="135" y="100"/>
                  </a:lnTo>
                  <a:lnTo>
                    <a:pt x="135" y="98"/>
                  </a:lnTo>
                  <a:lnTo>
                    <a:pt x="135" y="100"/>
                  </a:lnTo>
                  <a:close/>
                  <a:moveTo>
                    <a:pt x="177" y="173"/>
                  </a:moveTo>
                  <a:lnTo>
                    <a:pt x="179" y="173"/>
                  </a:lnTo>
                  <a:lnTo>
                    <a:pt x="179" y="175"/>
                  </a:lnTo>
                  <a:lnTo>
                    <a:pt x="177" y="175"/>
                  </a:lnTo>
                  <a:lnTo>
                    <a:pt x="177" y="173"/>
                  </a:lnTo>
                  <a:close/>
                  <a:moveTo>
                    <a:pt x="202" y="158"/>
                  </a:moveTo>
                  <a:lnTo>
                    <a:pt x="200" y="158"/>
                  </a:lnTo>
                  <a:lnTo>
                    <a:pt x="202" y="158"/>
                  </a:lnTo>
                  <a:close/>
                  <a:moveTo>
                    <a:pt x="753" y="446"/>
                  </a:moveTo>
                  <a:lnTo>
                    <a:pt x="753" y="448"/>
                  </a:lnTo>
                  <a:lnTo>
                    <a:pt x="755" y="448"/>
                  </a:lnTo>
                  <a:lnTo>
                    <a:pt x="753" y="448"/>
                  </a:lnTo>
                  <a:lnTo>
                    <a:pt x="753" y="446"/>
                  </a:lnTo>
                  <a:close/>
                  <a:moveTo>
                    <a:pt x="209" y="160"/>
                  </a:moveTo>
                  <a:lnTo>
                    <a:pt x="208" y="160"/>
                  </a:lnTo>
                  <a:lnTo>
                    <a:pt x="209" y="160"/>
                  </a:lnTo>
                  <a:lnTo>
                    <a:pt x="209" y="158"/>
                  </a:lnTo>
                  <a:lnTo>
                    <a:pt x="209" y="160"/>
                  </a:lnTo>
                  <a:close/>
                  <a:moveTo>
                    <a:pt x="638" y="425"/>
                  </a:moveTo>
                  <a:lnTo>
                    <a:pt x="636" y="425"/>
                  </a:lnTo>
                  <a:lnTo>
                    <a:pt x="636" y="427"/>
                  </a:lnTo>
                  <a:lnTo>
                    <a:pt x="636" y="425"/>
                  </a:lnTo>
                  <a:lnTo>
                    <a:pt x="638" y="425"/>
                  </a:lnTo>
                  <a:close/>
                  <a:moveTo>
                    <a:pt x="576" y="407"/>
                  </a:moveTo>
                  <a:lnTo>
                    <a:pt x="576" y="409"/>
                  </a:lnTo>
                  <a:lnTo>
                    <a:pt x="574" y="409"/>
                  </a:lnTo>
                  <a:lnTo>
                    <a:pt x="576" y="409"/>
                  </a:lnTo>
                  <a:lnTo>
                    <a:pt x="576" y="407"/>
                  </a:lnTo>
                  <a:close/>
                  <a:moveTo>
                    <a:pt x="300" y="204"/>
                  </a:moveTo>
                  <a:lnTo>
                    <a:pt x="300" y="202"/>
                  </a:lnTo>
                  <a:lnTo>
                    <a:pt x="302" y="202"/>
                  </a:lnTo>
                  <a:lnTo>
                    <a:pt x="302" y="204"/>
                  </a:lnTo>
                  <a:lnTo>
                    <a:pt x="302" y="202"/>
                  </a:lnTo>
                  <a:lnTo>
                    <a:pt x="302" y="204"/>
                  </a:lnTo>
                  <a:lnTo>
                    <a:pt x="300" y="204"/>
                  </a:lnTo>
                  <a:close/>
                  <a:moveTo>
                    <a:pt x="628" y="434"/>
                  </a:moveTo>
                  <a:lnTo>
                    <a:pt x="630" y="434"/>
                  </a:lnTo>
                  <a:lnTo>
                    <a:pt x="630" y="436"/>
                  </a:lnTo>
                  <a:lnTo>
                    <a:pt x="628" y="436"/>
                  </a:lnTo>
                  <a:lnTo>
                    <a:pt x="630" y="436"/>
                  </a:lnTo>
                  <a:lnTo>
                    <a:pt x="628" y="436"/>
                  </a:lnTo>
                  <a:lnTo>
                    <a:pt x="628" y="434"/>
                  </a:lnTo>
                  <a:close/>
                  <a:moveTo>
                    <a:pt x="219" y="198"/>
                  </a:moveTo>
                  <a:lnTo>
                    <a:pt x="217" y="200"/>
                  </a:lnTo>
                  <a:lnTo>
                    <a:pt x="217" y="198"/>
                  </a:lnTo>
                  <a:lnTo>
                    <a:pt x="219" y="198"/>
                  </a:lnTo>
                  <a:close/>
                  <a:moveTo>
                    <a:pt x="390" y="204"/>
                  </a:moveTo>
                  <a:lnTo>
                    <a:pt x="392" y="204"/>
                  </a:lnTo>
                  <a:lnTo>
                    <a:pt x="390" y="204"/>
                  </a:lnTo>
                  <a:lnTo>
                    <a:pt x="392" y="206"/>
                  </a:lnTo>
                  <a:lnTo>
                    <a:pt x="392" y="204"/>
                  </a:lnTo>
                  <a:lnTo>
                    <a:pt x="392" y="206"/>
                  </a:lnTo>
                  <a:lnTo>
                    <a:pt x="390" y="206"/>
                  </a:lnTo>
                  <a:lnTo>
                    <a:pt x="392" y="206"/>
                  </a:lnTo>
                  <a:lnTo>
                    <a:pt x="390" y="206"/>
                  </a:lnTo>
                  <a:lnTo>
                    <a:pt x="390" y="204"/>
                  </a:lnTo>
                  <a:close/>
                  <a:moveTo>
                    <a:pt x="217" y="188"/>
                  </a:moveTo>
                  <a:lnTo>
                    <a:pt x="219" y="188"/>
                  </a:lnTo>
                  <a:lnTo>
                    <a:pt x="217" y="188"/>
                  </a:lnTo>
                  <a:close/>
                  <a:moveTo>
                    <a:pt x="711" y="536"/>
                  </a:moveTo>
                  <a:lnTo>
                    <a:pt x="711" y="538"/>
                  </a:lnTo>
                  <a:lnTo>
                    <a:pt x="709" y="538"/>
                  </a:lnTo>
                  <a:lnTo>
                    <a:pt x="709" y="536"/>
                  </a:lnTo>
                  <a:lnTo>
                    <a:pt x="711" y="536"/>
                  </a:lnTo>
                  <a:close/>
                  <a:moveTo>
                    <a:pt x="329" y="210"/>
                  </a:moveTo>
                  <a:lnTo>
                    <a:pt x="329" y="212"/>
                  </a:lnTo>
                  <a:lnTo>
                    <a:pt x="327" y="210"/>
                  </a:lnTo>
                  <a:lnTo>
                    <a:pt x="329" y="210"/>
                  </a:lnTo>
                  <a:close/>
                  <a:moveTo>
                    <a:pt x="392" y="210"/>
                  </a:moveTo>
                  <a:lnTo>
                    <a:pt x="392" y="212"/>
                  </a:lnTo>
                  <a:lnTo>
                    <a:pt x="392" y="210"/>
                  </a:lnTo>
                  <a:close/>
                  <a:moveTo>
                    <a:pt x="390" y="210"/>
                  </a:moveTo>
                  <a:lnTo>
                    <a:pt x="390" y="212"/>
                  </a:lnTo>
                  <a:lnTo>
                    <a:pt x="390" y="210"/>
                  </a:lnTo>
                  <a:close/>
                  <a:moveTo>
                    <a:pt x="419" y="238"/>
                  </a:moveTo>
                  <a:lnTo>
                    <a:pt x="417" y="240"/>
                  </a:lnTo>
                  <a:lnTo>
                    <a:pt x="417" y="238"/>
                  </a:lnTo>
                  <a:lnTo>
                    <a:pt x="419" y="238"/>
                  </a:lnTo>
                  <a:close/>
                  <a:moveTo>
                    <a:pt x="259" y="204"/>
                  </a:moveTo>
                  <a:lnTo>
                    <a:pt x="259" y="202"/>
                  </a:lnTo>
                  <a:lnTo>
                    <a:pt x="259" y="204"/>
                  </a:lnTo>
                  <a:close/>
                  <a:moveTo>
                    <a:pt x="459" y="233"/>
                  </a:moveTo>
                  <a:lnTo>
                    <a:pt x="461" y="233"/>
                  </a:lnTo>
                  <a:lnTo>
                    <a:pt x="461" y="235"/>
                  </a:lnTo>
                  <a:lnTo>
                    <a:pt x="459" y="235"/>
                  </a:lnTo>
                  <a:lnTo>
                    <a:pt x="459" y="233"/>
                  </a:lnTo>
                  <a:close/>
                  <a:moveTo>
                    <a:pt x="219" y="173"/>
                  </a:moveTo>
                  <a:lnTo>
                    <a:pt x="219" y="175"/>
                  </a:lnTo>
                  <a:lnTo>
                    <a:pt x="219" y="173"/>
                  </a:lnTo>
                  <a:close/>
                  <a:moveTo>
                    <a:pt x="167" y="123"/>
                  </a:moveTo>
                  <a:lnTo>
                    <a:pt x="169" y="123"/>
                  </a:lnTo>
                  <a:lnTo>
                    <a:pt x="167" y="123"/>
                  </a:lnTo>
                  <a:lnTo>
                    <a:pt x="167" y="121"/>
                  </a:lnTo>
                  <a:lnTo>
                    <a:pt x="169" y="121"/>
                  </a:lnTo>
                  <a:lnTo>
                    <a:pt x="169" y="123"/>
                  </a:lnTo>
                  <a:lnTo>
                    <a:pt x="167" y="123"/>
                  </a:lnTo>
                  <a:close/>
                  <a:moveTo>
                    <a:pt x="726" y="457"/>
                  </a:moveTo>
                  <a:lnTo>
                    <a:pt x="726" y="459"/>
                  </a:lnTo>
                  <a:lnTo>
                    <a:pt x="726" y="461"/>
                  </a:lnTo>
                  <a:lnTo>
                    <a:pt x="726" y="459"/>
                  </a:lnTo>
                  <a:lnTo>
                    <a:pt x="726" y="461"/>
                  </a:lnTo>
                  <a:lnTo>
                    <a:pt x="726" y="459"/>
                  </a:lnTo>
                  <a:lnTo>
                    <a:pt x="726" y="457"/>
                  </a:lnTo>
                  <a:close/>
                  <a:moveTo>
                    <a:pt x="271" y="208"/>
                  </a:moveTo>
                  <a:lnTo>
                    <a:pt x="271" y="210"/>
                  </a:lnTo>
                  <a:lnTo>
                    <a:pt x="271" y="208"/>
                  </a:lnTo>
                  <a:close/>
                  <a:moveTo>
                    <a:pt x="388" y="212"/>
                  </a:moveTo>
                  <a:lnTo>
                    <a:pt x="388" y="213"/>
                  </a:lnTo>
                  <a:lnTo>
                    <a:pt x="388" y="212"/>
                  </a:lnTo>
                  <a:lnTo>
                    <a:pt x="388" y="213"/>
                  </a:lnTo>
                  <a:lnTo>
                    <a:pt x="386" y="212"/>
                  </a:lnTo>
                  <a:lnTo>
                    <a:pt x="388" y="212"/>
                  </a:lnTo>
                  <a:close/>
                  <a:moveTo>
                    <a:pt x="693" y="427"/>
                  </a:moveTo>
                  <a:lnTo>
                    <a:pt x="693" y="428"/>
                  </a:lnTo>
                  <a:lnTo>
                    <a:pt x="691" y="428"/>
                  </a:lnTo>
                  <a:lnTo>
                    <a:pt x="691" y="427"/>
                  </a:lnTo>
                  <a:lnTo>
                    <a:pt x="693" y="427"/>
                  </a:lnTo>
                  <a:close/>
                  <a:moveTo>
                    <a:pt x="438" y="231"/>
                  </a:moveTo>
                  <a:lnTo>
                    <a:pt x="438" y="229"/>
                  </a:lnTo>
                  <a:lnTo>
                    <a:pt x="438" y="227"/>
                  </a:lnTo>
                  <a:lnTo>
                    <a:pt x="438" y="229"/>
                  </a:lnTo>
                  <a:lnTo>
                    <a:pt x="440" y="231"/>
                  </a:lnTo>
                  <a:lnTo>
                    <a:pt x="438" y="231"/>
                  </a:lnTo>
                  <a:close/>
                  <a:moveTo>
                    <a:pt x="169" y="121"/>
                  </a:moveTo>
                  <a:lnTo>
                    <a:pt x="171" y="121"/>
                  </a:lnTo>
                  <a:lnTo>
                    <a:pt x="173" y="121"/>
                  </a:lnTo>
                  <a:lnTo>
                    <a:pt x="171" y="121"/>
                  </a:lnTo>
                  <a:lnTo>
                    <a:pt x="169" y="121"/>
                  </a:lnTo>
                  <a:close/>
                  <a:moveTo>
                    <a:pt x="716" y="536"/>
                  </a:moveTo>
                  <a:lnTo>
                    <a:pt x="716" y="534"/>
                  </a:lnTo>
                  <a:lnTo>
                    <a:pt x="716" y="532"/>
                  </a:lnTo>
                  <a:lnTo>
                    <a:pt x="716" y="534"/>
                  </a:lnTo>
                  <a:lnTo>
                    <a:pt x="716" y="536"/>
                  </a:lnTo>
                  <a:close/>
                  <a:moveTo>
                    <a:pt x="342" y="202"/>
                  </a:moveTo>
                  <a:lnTo>
                    <a:pt x="344" y="202"/>
                  </a:lnTo>
                  <a:lnTo>
                    <a:pt x="342" y="202"/>
                  </a:lnTo>
                  <a:lnTo>
                    <a:pt x="342" y="200"/>
                  </a:lnTo>
                  <a:lnTo>
                    <a:pt x="344" y="200"/>
                  </a:lnTo>
                  <a:lnTo>
                    <a:pt x="344" y="202"/>
                  </a:lnTo>
                  <a:lnTo>
                    <a:pt x="342" y="202"/>
                  </a:lnTo>
                  <a:close/>
                  <a:moveTo>
                    <a:pt x="628" y="423"/>
                  </a:moveTo>
                  <a:lnTo>
                    <a:pt x="628" y="425"/>
                  </a:lnTo>
                  <a:lnTo>
                    <a:pt x="628" y="423"/>
                  </a:lnTo>
                  <a:close/>
                  <a:moveTo>
                    <a:pt x="524" y="511"/>
                  </a:moveTo>
                  <a:lnTo>
                    <a:pt x="524" y="513"/>
                  </a:lnTo>
                  <a:lnTo>
                    <a:pt x="524" y="511"/>
                  </a:lnTo>
                  <a:close/>
                  <a:moveTo>
                    <a:pt x="54" y="43"/>
                  </a:moveTo>
                  <a:lnTo>
                    <a:pt x="56" y="43"/>
                  </a:lnTo>
                  <a:lnTo>
                    <a:pt x="56" y="45"/>
                  </a:lnTo>
                  <a:lnTo>
                    <a:pt x="54" y="45"/>
                  </a:lnTo>
                  <a:lnTo>
                    <a:pt x="54" y="43"/>
                  </a:lnTo>
                  <a:lnTo>
                    <a:pt x="54" y="45"/>
                  </a:lnTo>
                  <a:lnTo>
                    <a:pt x="54" y="43"/>
                  </a:lnTo>
                  <a:close/>
                  <a:moveTo>
                    <a:pt x="626" y="427"/>
                  </a:moveTo>
                  <a:lnTo>
                    <a:pt x="626" y="428"/>
                  </a:lnTo>
                  <a:lnTo>
                    <a:pt x="626" y="427"/>
                  </a:lnTo>
                  <a:lnTo>
                    <a:pt x="626" y="425"/>
                  </a:lnTo>
                  <a:lnTo>
                    <a:pt x="626" y="427"/>
                  </a:lnTo>
                  <a:close/>
                  <a:moveTo>
                    <a:pt x="653" y="407"/>
                  </a:moveTo>
                  <a:lnTo>
                    <a:pt x="653" y="409"/>
                  </a:lnTo>
                  <a:lnTo>
                    <a:pt x="651" y="409"/>
                  </a:lnTo>
                  <a:lnTo>
                    <a:pt x="651" y="407"/>
                  </a:lnTo>
                  <a:lnTo>
                    <a:pt x="653" y="407"/>
                  </a:lnTo>
                  <a:lnTo>
                    <a:pt x="651" y="407"/>
                  </a:lnTo>
                  <a:lnTo>
                    <a:pt x="653" y="407"/>
                  </a:lnTo>
                  <a:close/>
                  <a:moveTo>
                    <a:pt x="440" y="229"/>
                  </a:moveTo>
                  <a:lnTo>
                    <a:pt x="442" y="229"/>
                  </a:lnTo>
                  <a:lnTo>
                    <a:pt x="442" y="231"/>
                  </a:lnTo>
                  <a:lnTo>
                    <a:pt x="440" y="231"/>
                  </a:lnTo>
                  <a:lnTo>
                    <a:pt x="440" y="229"/>
                  </a:lnTo>
                  <a:close/>
                  <a:moveTo>
                    <a:pt x="332" y="217"/>
                  </a:moveTo>
                  <a:lnTo>
                    <a:pt x="332" y="215"/>
                  </a:lnTo>
                  <a:lnTo>
                    <a:pt x="334" y="215"/>
                  </a:lnTo>
                  <a:lnTo>
                    <a:pt x="332" y="217"/>
                  </a:lnTo>
                  <a:close/>
                  <a:moveTo>
                    <a:pt x="236" y="190"/>
                  </a:moveTo>
                  <a:lnTo>
                    <a:pt x="238" y="190"/>
                  </a:lnTo>
                  <a:lnTo>
                    <a:pt x="236" y="190"/>
                  </a:lnTo>
                  <a:lnTo>
                    <a:pt x="238" y="190"/>
                  </a:lnTo>
                  <a:lnTo>
                    <a:pt x="236" y="190"/>
                  </a:lnTo>
                  <a:close/>
                  <a:moveTo>
                    <a:pt x="167" y="137"/>
                  </a:moveTo>
                  <a:lnTo>
                    <a:pt x="169" y="135"/>
                  </a:lnTo>
                  <a:lnTo>
                    <a:pt x="169" y="137"/>
                  </a:lnTo>
                  <a:lnTo>
                    <a:pt x="167" y="137"/>
                  </a:lnTo>
                  <a:lnTo>
                    <a:pt x="167" y="135"/>
                  </a:lnTo>
                  <a:lnTo>
                    <a:pt x="167" y="137"/>
                  </a:lnTo>
                  <a:lnTo>
                    <a:pt x="167" y="135"/>
                  </a:lnTo>
                  <a:lnTo>
                    <a:pt x="167" y="137"/>
                  </a:lnTo>
                  <a:close/>
                  <a:moveTo>
                    <a:pt x="352" y="202"/>
                  </a:moveTo>
                  <a:lnTo>
                    <a:pt x="354" y="202"/>
                  </a:lnTo>
                  <a:lnTo>
                    <a:pt x="352" y="202"/>
                  </a:lnTo>
                  <a:close/>
                  <a:moveTo>
                    <a:pt x="100" y="83"/>
                  </a:moveTo>
                  <a:lnTo>
                    <a:pt x="100" y="85"/>
                  </a:lnTo>
                  <a:lnTo>
                    <a:pt x="100" y="87"/>
                  </a:lnTo>
                  <a:lnTo>
                    <a:pt x="100" y="85"/>
                  </a:lnTo>
                  <a:lnTo>
                    <a:pt x="100" y="83"/>
                  </a:lnTo>
                  <a:close/>
                  <a:moveTo>
                    <a:pt x="231" y="181"/>
                  </a:moveTo>
                  <a:lnTo>
                    <a:pt x="231" y="183"/>
                  </a:lnTo>
                  <a:lnTo>
                    <a:pt x="231" y="181"/>
                  </a:lnTo>
                  <a:close/>
                  <a:moveTo>
                    <a:pt x="271" y="204"/>
                  </a:moveTo>
                  <a:lnTo>
                    <a:pt x="273" y="204"/>
                  </a:lnTo>
                  <a:lnTo>
                    <a:pt x="271" y="204"/>
                  </a:lnTo>
                  <a:lnTo>
                    <a:pt x="271" y="206"/>
                  </a:lnTo>
                  <a:lnTo>
                    <a:pt x="271" y="204"/>
                  </a:lnTo>
                  <a:close/>
                  <a:moveTo>
                    <a:pt x="119" y="85"/>
                  </a:moveTo>
                  <a:lnTo>
                    <a:pt x="119" y="87"/>
                  </a:lnTo>
                  <a:lnTo>
                    <a:pt x="119" y="85"/>
                  </a:lnTo>
                  <a:lnTo>
                    <a:pt x="119" y="87"/>
                  </a:lnTo>
                  <a:lnTo>
                    <a:pt x="121" y="87"/>
                  </a:lnTo>
                  <a:lnTo>
                    <a:pt x="119" y="87"/>
                  </a:lnTo>
                  <a:lnTo>
                    <a:pt x="119" y="85"/>
                  </a:lnTo>
                  <a:close/>
                  <a:moveTo>
                    <a:pt x="229" y="188"/>
                  </a:moveTo>
                  <a:lnTo>
                    <a:pt x="229" y="190"/>
                  </a:lnTo>
                  <a:lnTo>
                    <a:pt x="229" y="188"/>
                  </a:lnTo>
                  <a:close/>
                  <a:moveTo>
                    <a:pt x="711" y="442"/>
                  </a:moveTo>
                  <a:lnTo>
                    <a:pt x="711" y="444"/>
                  </a:lnTo>
                  <a:lnTo>
                    <a:pt x="709" y="444"/>
                  </a:lnTo>
                  <a:lnTo>
                    <a:pt x="709" y="442"/>
                  </a:lnTo>
                  <a:lnTo>
                    <a:pt x="711" y="442"/>
                  </a:lnTo>
                  <a:close/>
                  <a:moveTo>
                    <a:pt x="699" y="436"/>
                  </a:moveTo>
                  <a:lnTo>
                    <a:pt x="699" y="438"/>
                  </a:lnTo>
                  <a:lnTo>
                    <a:pt x="699" y="436"/>
                  </a:lnTo>
                  <a:close/>
                  <a:moveTo>
                    <a:pt x="382" y="231"/>
                  </a:moveTo>
                  <a:lnTo>
                    <a:pt x="382" y="229"/>
                  </a:lnTo>
                  <a:lnTo>
                    <a:pt x="382" y="231"/>
                  </a:lnTo>
                  <a:lnTo>
                    <a:pt x="380" y="231"/>
                  </a:lnTo>
                  <a:lnTo>
                    <a:pt x="382" y="229"/>
                  </a:lnTo>
                  <a:lnTo>
                    <a:pt x="382" y="231"/>
                  </a:lnTo>
                  <a:close/>
                  <a:moveTo>
                    <a:pt x="208" y="154"/>
                  </a:moveTo>
                  <a:lnTo>
                    <a:pt x="208" y="156"/>
                  </a:lnTo>
                  <a:lnTo>
                    <a:pt x="206" y="154"/>
                  </a:lnTo>
                  <a:lnTo>
                    <a:pt x="208" y="154"/>
                  </a:lnTo>
                  <a:close/>
                  <a:moveTo>
                    <a:pt x="718" y="498"/>
                  </a:moveTo>
                  <a:lnTo>
                    <a:pt x="718" y="500"/>
                  </a:lnTo>
                  <a:lnTo>
                    <a:pt x="716" y="500"/>
                  </a:lnTo>
                  <a:lnTo>
                    <a:pt x="718" y="500"/>
                  </a:lnTo>
                  <a:lnTo>
                    <a:pt x="716" y="500"/>
                  </a:lnTo>
                  <a:lnTo>
                    <a:pt x="716" y="498"/>
                  </a:lnTo>
                  <a:lnTo>
                    <a:pt x="718" y="498"/>
                  </a:lnTo>
                  <a:close/>
                  <a:moveTo>
                    <a:pt x="344" y="213"/>
                  </a:moveTo>
                  <a:lnTo>
                    <a:pt x="344" y="215"/>
                  </a:lnTo>
                  <a:lnTo>
                    <a:pt x="344" y="213"/>
                  </a:lnTo>
                  <a:lnTo>
                    <a:pt x="344" y="215"/>
                  </a:lnTo>
                  <a:lnTo>
                    <a:pt x="342" y="215"/>
                  </a:lnTo>
                  <a:lnTo>
                    <a:pt x="342" y="213"/>
                  </a:lnTo>
                  <a:lnTo>
                    <a:pt x="344" y="213"/>
                  </a:lnTo>
                  <a:close/>
                  <a:moveTo>
                    <a:pt x="421" y="238"/>
                  </a:moveTo>
                  <a:lnTo>
                    <a:pt x="419" y="238"/>
                  </a:lnTo>
                  <a:lnTo>
                    <a:pt x="421" y="238"/>
                  </a:lnTo>
                  <a:lnTo>
                    <a:pt x="421" y="236"/>
                  </a:lnTo>
                  <a:lnTo>
                    <a:pt x="423" y="236"/>
                  </a:lnTo>
                  <a:lnTo>
                    <a:pt x="421" y="238"/>
                  </a:lnTo>
                  <a:close/>
                  <a:moveTo>
                    <a:pt x="206" y="190"/>
                  </a:moveTo>
                  <a:lnTo>
                    <a:pt x="206" y="188"/>
                  </a:lnTo>
                  <a:lnTo>
                    <a:pt x="206" y="190"/>
                  </a:lnTo>
                  <a:close/>
                  <a:moveTo>
                    <a:pt x="355" y="265"/>
                  </a:moveTo>
                  <a:lnTo>
                    <a:pt x="357" y="265"/>
                  </a:lnTo>
                  <a:lnTo>
                    <a:pt x="355" y="267"/>
                  </a:lnTo>
                  <a:lnTo>
                    <a:pt x="355" y="265"/>
                  </a:lnTo>
                  <a:close/>
                  <a:moveTo>
                    <a:pt x="219" y="187"/>
                  </a:moveTo>
                  <a:lnTo>
                    <a:pt x="217" y="188"/>
                  </a:lnTo>
                  <a:lnTo>
                    <a:pt x="217" y="187"/>
                  </a:lnTo>
                  <a:lnTo>
                    <a:pt x="219" y="187"/>
                  </a:lnTo>
                  <a:close/>
                  <a:moveTo>
                    <a:pt x="336" y="215"/>
                  </a:moveTo>
                  <a:lnTo>
                    <a:pt x="334" y="215"/>
                  </a:lnTo>
                  <a:lnTo>
                    <a:pt x="336" y="215"/>
                  </a:lnTo>
                  <a:close/>
                  <a:moveTo>
                    <a:pt x="204" y="188"/>
                  </a:moveTo>
                  <a:lnTo>
                    <a:pt x="204" y="190"/>
                  </a:lnTo>
                  <a:lnTo>
                    <a:pt x="204" y="188"/>
                  </a:lnTo>
                  <a:lnTo>
                    <a:pt x="206" y="188"/>
                  </a:lnTo>
                  <a:lnTo>
                    <a:pt x="204" y="188"/>
                  </a:lnTo>
                  <a:close/>
                  <a:moveTo>
                    <a:pt x="634" y="432"/>
                  </a:moveTo>
                  <a:lnTo>
                    <a:pt x="634" y="434"/>
                  </a:lnTo>
                  <a:lnTo>
                    <a:pt x="634" y="432"/>
                  </a:lnTo>
                  <a:lnTo>
                    <a:pt x="632" y="432"/>
                  </a:lnTo>
                  <a:lnTo>
                    <a:pt x="634" y="432"/>
                  </a:lnTo>
                  <a:close/>
                  <a:moveTo>
                    <a:pt x="459" y="227"/>
                  </a:moveTo>
                  <a:lnTo>
                    <a:pt x="457" y="227"/>
                  </a:lnTo>
                  <a:lnTo>
                    <a:pt x="459" y="227"/>
                  </a:lnTo>
                  <a:close/>
                  <a:moveTo>
                    <a:pt x="208" y="169"/>
                  </a:moveTo>
                  <a:lnTo>
                    <a:pt x="208" y="171"/>
                  </a:lnTo>
                  <a:lnTo>
                    <a:pt x="206" y="169"/>
                  </a:lnTo>
                  <a:lnTo>
                    <a:pt x="208" y="169"/>
                  </a:lnTo>
                  <a:close/>
                  <a:moveTo>
                    <a:pt x="198" y="160"/>
                  </a:moveTo>
                  <a:lnTo>
                    <a:pt x="198" y="158"/>
                  </a:lnTo>
                  <a:lnTo>
                    <a:pt x="200" y="160"/>
                  </a:lnTo>
                  <a:lnTo>
                    <a:pt x="198" y="160"/>
                  </a:lnTo>
                  <a:close/>
                  <a:moveTo>
                    <a:pt x="127" y="98"/>
                  </a:moveTo>
                  <a:lnTo>
                    <a:pt x="125" y="98"/>
                  </a:lnTo>
                  <a:lnTo>
                    <a:pt x="127" y="98"/>
                  </a:lnTo>
                  <a:close/>
                  <a:moveTo>
                    <a:pt x="761" y="515"/>
                  </a:moveTo>
                  <a:lnTo>
                    <a:pt x="761" y="517"/>
                  </a:lnTo>
                  <a:lnTo>
                    <a:pt x="763" y="517"/>
                  </a:lnTo>
                  <a:lnTo>
                    <a:pt x="761" y="517"/>
                  </a:lnTo>
                  <a:lnTo>
                    <a:pt x="761" y="515"/>
                  </a:lnTo>
                  <a:close/>
                  <a:moveTo>
                    <a:pt x="202" y="190"/>
                  </a:moveTo>
                  <a:lnTo>
                    <a:pt x="202" y="188"/>
                  </a:lnTo>
                  <a:lnTo>
                    <a:pt x="204" y="188"/>
                  </a:lnTo>
                  <a:lnTo>
                    <a:pt x="202" y="190"/>
                  </a:lnTo>
                  <a:close/>
                  <a:moveTo>
                    <a:pt x="609" y="580"/>
                  </a:moveTo>
                  <a:lnTo>
                    <a:pt x="609" y="582"/>
                  </a:lnTo>
                  <a:lnTo>
                    <a:pt x="609" y="580"/>
                  </a:lnTo>
                  <a:lnTo>
                    <a:pt x="609" y="582"/>
                  </a:lnTo>
                  <a:lnTo>
                    <a:pt x="607" y="582"/>
                  </a:lnTo>
                  <a:lnTo>
                    <a:pt x="607" y="580"/>
                  </a:lnTo>
                  <a:lnTo>
                    <a:pt x="609" y="580"/>
                  </a:lnTo>
                  <a:close/>
                  <a:moveTo>
                    <a:pt x="121" y="96"/>
                  </a:moveTo>
                  <a:lnTo>
                    <a:pt x="121" y="94"/>
                  </a:lnTo>
                  <a:lnTo>
                    <a:pt x="121" y="96"/>
                  </a:lnTo>
                  <a:lnTo>
                    <a:pt x="123" y="96"/>
                  </a:lnTo>
                  <a:lnTo>
                    <a:pt x="121" y="96"/>
                  </a:lnTo>
                  <a:close/>
                  <a:moveTo>
                    <a:pt x="208" y="158"/>
                  </a:moveTo>
                  <a:lnTo>
                    <a:pt x="209" y="158"/>
                  </a:lnTo>
                  <a:lnTo>
                    <a:pt x="208" y="158"/>
                  </a:lnTo>
                  <a:lnTo>
                    <a:pt x="208" y="160"/>
                  </a:lnTo>
                  <a:lnTo>
                    <a:pt x="208" y="158"/>
                  </a:lnTo>
                  <a:close/>
                  <a:moveTo>
                    <a:pt x="227" y="185"/>
                  </a:moveTo>
                  <a:lnTo>
                    <a:pt x="229" y="185"/>
                  </a:lnTo>
                  <a:lnTo>
                    <a:pt x="229" y="187"/>
                  </a:lnTo>
                  <a:lnTo>
                    <a:pt x="227" y="187"/>
                  </a:lnTo>
                  <a:lnTo>
                    <a:pt x="227" y="185"/>
                  </a:lnTo>
                  <a:close/>
                  <a:moveTo>
                    <a:pt x="674" y="546"/>
                  </a:moveTo>
                  <a:lnTo>
                    <a:pt x="676" y="546"/>
                  </a:lnTo>
                  <a:lnTo>
                    <a:pt x="676" y="548"/>
                  </a:lnTo>
                  <a:lnTo>
                    <a:pt x="674" y="548"/>
                  </a:lnTo>
                  <a:lnTo>
                    <a:pt x="674" y="546"/>
                  </a:lnTo>
                  <a:lnTo>
                    <a:pt x="674" y="548"/>
                  </a:lnTo>
                  <a:lnTo>
                    <a:pt x="674" y="546"/>
                  </a:lnTo>
                  <a:lnTo>
                    <a:pt x="676" y="546"/>
                  </a:lnTo>
                  <a:lnTo>
                    <a:pt x="674" y="546"/>
                  </a:lnTo>
                  <a:close/>
                  <a:moveTo>
                    <a:pt x="209" y="185"/>
                  </a:moveTo>
                  <a:lnTo>
                    <a:pt x="209" y="187"/>
                  </a:lnTo>
                  <a:lnTo>
                    <a:pt x="208" y="187"/>
                  </a:lnTo>
                  <a:lnTo>
                    <a:pt x="208" y="185"/>
                  </a:lnTo>
                  <a:lnTo>
                    <a:pt x="209" y="185"/>
                  </a:lnTo>
                  <a:close/>
                  <a:moveTo>
                    <a:pt x="208" y="167"/>
                  </a:moveTo>
                  <a:lnTo>
                    <a:pt x="209" y="167"/>
                  </a:lnTo>
                  <a:lnTo>
                    <a:pt x="209" y="165"/>
                  </a:lnTo>
                  <a:lnTo>
                    <a:pt x="209" y="167"/>
                  </a:lnTo>
                  <a:lnTo>
                    <a:pt x="208" y="167"/>
                  </a:lnTo>
                  <a:close/>
                  <a:moveTo>
                    <a:pt x="202" y="165"/>
                  </a:moveTo>
                  <a:lnTo>
                    <a:pt x="202" y="164"/>
                  </a:lnTo>
                  <a:lnTo>
                    <a:pt x="202" y="162"/>
                  </a:lnTo>
                  <a:lnTo>
                    <a:pt x="202" y="164"/>
                  </a:lnTo>
                  <a:lnTo>
                    <a:pt x="202" y="165"/>
                  </a:lnTo>
                  <a:close/>
                  <a:moveTo>
                    <a:pt x="642" y="417"/>
                  </a:moveTo>
                  <a:lnTo>
                    <a:pt x="640" y="417"/>
                  </a:lnTo>
                  <a:lnTo>
                    <a:pt x="642" y="417"/>
                  </a:lnTo>
                  <a:close/>
                  <a:moveTo>
                    <a:pt x="194" y="177"/>
                  </a:moveTo>
                  <a:lnTo>
                    <a:pt x="192" y="179"/>
                  </a:lnTo>
                  <a:lnTo>
                    <a:pt x="192" y="177"/>
                  </a:lnTo>
                  <a:lnTo>
                    <a:pt x="194" y="177"/>
                  </a:lnTo>
                  <a:close/>
                  <a:moveTo>
                    <a:pt x="691" y="432"/>
                  </a:moveTo>
                  <a:lnTo>
                    <a:pt x="691" y="434"/>
                  </a:lnTo>
                  <a:lnTo>
                    <a:pt x="691" y="432"/>
                  </a:lnTo>
                  <a:lnTo>
                    <a:pt x="691" y="434"/>
                  </a:lnTo>
                  <a:lnTo>
                    <a:pt x="690" y="434"/>
                  </a:lnTo>
                  <a:lnTo>
                    <a:pt x="690" y="432"/>
                  </a:lnTo>
                  <a:lnTo>
                    <a:pt x="691" y="432"/>
                  </a:lnTo>
                  <a:lnTo>
                    <a:pt x="691" y="430"/>
                  </a:lnTo>
                  <a:lnTo>
                    <a:pt x="691" y="432"/>
                  </a:lnTo>
                  <a:close/>
                  <a:moveTo>
                    <a:pt x="223" y="196"/>
                  </a:moveTo>
                  <a:lnTo>
                    <a:pt x="225" y="196"/>
                  </a:lnTo>
                  <a:lnTo>
                    <a:pt x="223" y="196"/>
                  </a:lnTo>
                  <a:close/>
                  <a:moveTo>
                    <a:pt x="613" y="584"/>
                  </a:moveTo>
                  <a:lnTo>
                    <a:pt x="613" y="586"/>
                  </a:lnTo>
                  <a:lnTo>
                    <a:pt x="613" y="584"/>
                  </a:lnTo>
                  <a:lnTo>
                    <a:pt x="613" y="586"/>
                  </a:lnTo>
                  <a:lnTo>
                    <a:pt x="611" y="586"/>
                  </a:lnTo>
                  <a:lnTo>
                    <a:pt x="611" y="584"/>
                  </a:lnTo>
                  <a:lnTo>
                    <a:pt x="613" y="584"/>
                  </a:lnTo>
                  <a:close/>
                  <a:moveTo>
                    <a:pt x="355" y="271"/>
                  </a:moveTo>
                  <a:lnTo>
                    <a:pt x="355" y="269"/>
                  </a:lnTo>
                  <a:lnTo>
                    <a:pt x="355" y="271"/>
                  </a:lnTo>
                  <a:close/>
                  <a:moveTo>
                    <a:pt x="655" y="407"/>
                  </a:moveTo>
                  <a:lnTo>
                    <a:pt x="653" y="407"/>
                  </a:lnTo>
                  <a:lnTo>
                    <a:pt x="655" y="407"/>
                  </a:lnTo>
                  <a:close/>
                  <a:moveTo>
                    <a:pt x="271" y="217"/>
                  </a:moveTo>
                  <a:lnTo>
                    <a:pt x="273" y="217"/>
                  </a:lnTo>
                  <a:lnTo>
                    <a:pt x="271" y="217"/>
                  </a:lnTo>
                  <a:lnTo>
                    <a:pt x="271" y="215"/>
                  </a:lnTo>
                  <a:lnTo>
                    <a:pt x="273" y="215"/>
                  </a:lnTo>
                  <a:lnTo>
                    <a:pt x="271" y="217"/>
                  </a:lnTo>
                  <a:close/>
                  <a:moveTo>
                    <a:pt x="277" y="210"/>
                  </a:moveTo>
                  <a:lnTo>
                    <a:pt x="277" y="212"/>
                  </a:lnTo>
                  <a:lnTo>
                    <a:pt x="277" y="210"/>
                  </a:lnTo>
                  <a:close/>
                  <a:moveTo>
                    <a:pt x="522" y="513"/>
                  </a:moveTo>
                  <a:lnTo>
                    <a:pt x="522" y="515"/>
                  </a:lnTo>
                  <a:lnTo>
                    <a:pt x="521" y="515"/>
                  </a:lnTo>
                  <a:lnTo>
                    <a:pt x="521" y="513"/>
                  </a:lnTo>
                  <a:lnTo>
                    <a:pt x="522" y="513"/>
                  </a:lnTo>
                  <a:close/>
                  <a:moveTo>
                    <a:pt x="697" y="434"/>
                  </a:moveTo>
                  <a:lnTo>
                    <a:pt x="695" y="436"/>
                  </a:lnTo>
                  <a:lnTo>
                    <a:pt x="695" y="434"/>
                  </a:lnTo>
                  <a:lnTo>
                    <a:pt x="697" y="434"/>
                  </a:lnTo>
                  <a:close/>
                  <a:moveTo>
                    <a:pt x="196" y="167"/>
                  </a:moveTo>
                  <a:lnTo>
                    <a:pt x="194" y="169"/>
                  </a:lnTo>
                  <a:lnTo>
                    <a:pt x="194" y="167"/>
                  </a:lnTo>
                  <a:lnTo>
                    <a:pt x="196" y="167"/>
                  </a:lnTo>
                  <a:close/>
                  <a:moveTo>
                    <a:pt x="231" y="194"/>
                  </a:moveTo>
                  <a:lnTo>
                    <a:pt x="229" y="194"/>
                  </a:lnTo>
                  <a:lnTo>
                    <a:pt x="231" y="192"/>
                  </a:lnTo>
                  <a:lnTo>
                    <a:pt x="231" y="194"/>
                  </a:lnTo>
                  <a:close/>
                  <a:moveTo>
                    <a:pt x="133" y="91"/>
                  </a:moveTo>
                  <a:lnTo>
                    <a:pt x="135" y="91"/>
                  </a:lnTo>
                  <a:lnTo>
                    <a:pt x="133" y="91"/>
                  </a:lnTo>
                  <a:lnTo>
                    <a:pt x="133" y="89"/>
                  </a:lnTo>
                  <a:lnTo>
                    <a:pt x="133" y="91"/>
                  </a:lnTo>
                  <a:close/>
                  <a:moveTo>
                    <a:pt x="471" y="240"/>
                  </a:moveTo>
                  <a:lnTo>
                    <a:pt x="469" y="240"/>
                  </a:lnTo>
                  <a:lnTo>
                    <a:pt x="471" y="240"/>
                  </a:lnTo>
                  <a:close/>
                  <a:moveTo>
                    <a:pt x="330" y="204"/>
                  </a:moveTo>
                  <a:lnTo>
                    <a:pt x="330" y="202"/>
                  </a:lnTo>
                  <a:lnTo>
                    <a:pt x="330" y="204"/>
                  </a:lnTo>
                  <a:close/>
                  <a:moveTo>
                    <a:pt x="204" y="169"/>
                  </a:moveTo>
                  <a:lnTo>
                    <a:pt x="206" y="169"/>
                  </a:lnTo>
                  <a:lnTo>
                    <a:pt x="204" y="169"/>
                  </a:lnTo>
                  <a:lnTo>
                    <a:pt x="204" y="171"/>
                  </a:lnTo>
                  <a:lnTo>
                    <a:pt x="204" y="169"/>
                  </a:lnTo>
                  <a:close/>
                  <a:moveTo>
                    <a:pt x="208" y="181"/>
                  </a:moveTo>
                  <a:lnTo>
                    <a:pt x="209" y="181"/>
                  </a:lnTo>
                  <a:lnTo>
                    <a:pt x="208" y="181"/>
                  </a:lnTo>
                  <a:close/>
                  <a:moveTo>
                    <a:pt x="636" y="434"/>
                  </a:moveTo>
                  <a:lnTo>
                    <a:pt x="634" y="434"/>
                  </a:lnTo>
                  <a:lnTo>
                    <a:pt x="636" y="434"/>
                  </a:lnTo>
                  <a:lnTo>
                    <a:pt x="634" y="434"/>
                  </a:lnTo>
                  <a:lnTo>
                    <a:pt x="636" y="434"/>
                  </a:lnTo>
                  <a:close/>
                  <a:moveTo>
                    <a:pt x="273" y="213"/>
                  </a:moveTo>
                  <a:lnTo>
                    <a:pt x="273" y="212"/>
                  </a:lnTo>
                  <a:lnTo>
                    <a:pt x="275" y="212"/>
                  </a:lnTo>
                  <a:lnTo>
                    <a:pt x="273" y="212"/>
                  </a:lnTo>
                  <a:lnTo>
                    <a:pt x="273" y="213"/>
                  </a:lnTo>
                  <a:close/>
                  <a:moveTo>
                    <a:pt x="709" y="561"/>
                  </a:moveTo>
                  <a:lnTo>
                    <a:pt x="711" y="561"/>
                  </a:lnTo>
                  <a:lnTo>
                    <a:pt x="711" y="563"/>
                  </a:lnTo>
                  <a:lnTo>
                    <a:pt x="709" y="563"/>
                  </a:lnTo>
                  <a:lnTo>
                    <a:pt x="711" y="563"/>
                  </a:lnTo>
                  <a:lnTo>
                    <a:pt x="709" y="563"/>
                  </a:lnTo>
                  <a:lnTo>
                    <a:pt x="709" y="561"/>
                  </a:lnTo>
                  <a:close/>
                  <a:moveTo>
                    <a:pt x="271" y="221"/>
                  </a:moveTo>
                  <a:lnTo>
                    <a:pt x="271" y="219"/>
                  </a:lnTo>
                  <a:lnTo>
                    <a:pt x="273" y="219"/>
                  </a:lnTo>
                  <a:lnTo>
                    <a:pt x="271" y="221"/>
                  </a:lnTo>
                  <a:close/>
                  <a:moveTo>
                    <a:pt x="196" y="158"/>
                  </a:moveTo>
                  <a:lnTo>
                    <a:pt x="196" y="156"/>
                  </a:lnTo>
                  <a:lnTo>
                    <a:pt x="196" y="158"/>
                  </a:lnTo>
                  <a:close/>
                  <a:moveTo>
                    <a:pt x="202" y="162"/>
                  </a:moveTo>
                  <a:lnTo>
                    <a:pt x="202" y="160"/>
                  </a:lnTo>
                  <a:lnTo>
                    <a:pt x="202" y="162"/>
                  </a:lnTo>
                  <a:close/>
                  <a:moveTo>
                    <a:pt x="211" y="154"/>
                  </a:moveTo>
                  <a:lnTo>
                    <a:pt x="211" y="156"/>
                  </a:lnTo>
                  <a:lnTo>
                    <a:pt x="209" y="156"/>
                  </a:lnTo>
                  <a:lnTo>
                    <a:pt x="209" y="154"/>
                  </a:lnTo>
                  <a:lnTo>
                    <a:pt x="211" y="154"/>
                  </a:lnTo>
                  <a:close/>
                  <a:moveTo>
                    <a:pt x="171" y="112"/>
                  </a:moveTo>
                  <a:lnTo>
                    <a:pt x="171" y="114"/>
                  </a:lnTo>
                  <a:lnTo>
                    <a:pt x="169" y="114"/>
                  </a:lnTo>
                  <a:lnTo>
                    <a:pt x="169" y="112"/>
                  </a:lnTo>
                  <a:lnTo>
                    <a:pt x="171" y="112"/>
                  </a:lnTo>
                  <a:close/>
                  <a:moveTo>
                    <a:pt x="695" y="440"/>
                  </a:moveTo>
                  <a:lnTo>
                    <a:pt x="695" y="442"/>
                  </a:lnTo>
                  <a:lnTo>
                    <a:pt x="695" y="440"/>
                  </a:lnTo>
                  <a:close/>
                  <a:moveTo>
                    <a:pt x="628" y="428"/>
                  </a:moveTo>
                  <a:lnTo>
                    <a:pt x="630" y="428"/>
                  </a:lnTo>
                  <a:lnTo>
                    <a:pt x="630" y="430"/>
                  </a:lnTo>
                  <a:lnTo>
                    <a:pt x="628" y="430"/>
                  </a:lnTo>
                  <a:lnTo>
                    <a:pt x="628" y="428"/>
                  </a:lnTo>
                  <a:lnTo>
                    <a:pt x="628" y="430"/>
                  </a:lnTo>
                  <a:lnTo>
                    <a:pt x="628" y="428"/>
                  </a:lnTo>
                  <a:close/>
                  <a:moveTo>
                    <a:pt x="709" y="542"/>
                  </a:moveTo>
                  <a:lnTo>
                    <a:pt x="711" y="542"/>
                  </a:lnTo>
                  <a:lnTo>
                    <a:pt x="711" y="544"/>
                  </a:lnTo>
                  <a:lnTo>
                    <a:pt x="711" y="542"/>
                  </a:lnTo>
                  <a:lnTo>
                    <a:pt x="711" y="544"/>
                  </a:lnTo>
                  <a:lnTo>
                    <a:pt x="711" y="542"/>
                  </a:lnTo>
                  <a:lnTo>
                    <a:pt x="709" y="542"/>
                  </a:lnTo>
                  <a:lnTo>
                    <a:pt x="709" y="544"/>
                  </a:lnTo>
                  <a:lnTo>
                    <a:pt x="709" y="542"/>
                  </a:lnTo>
                  <a:lnTo>
                    <a:pt x="709" y="544"/>
                  </a:lnTo>
                  <a:lnTo>
                    <a:pt x="709" y="542"/>
                  </a:lnTo>
                  <a:close/>
                  <a:moveTo>
                    <a:pt x="538" y="354"/>
                  </a:moveTo>
                  <a:lnTo>
                    <a:pt x="538" y="356"/>
                  </a:lnTo>
                  <a:lnTo>
                    <a:pt x="538" y="354"/>
                  </a:lnTo>
                  <a:lnTo>
                    <a:pt x="536" y="354"/>
                  </a:lnTo>
                  <a:lnTo>
                    <a:pt x="538" y="354"/>
                  </a:lnTo>
                  <a:close/>
                  <a:moveTo>
                    <a:pt x="386" y="204"/>
                  </a:moveTo>
                  <a:lnTo>
                    <a:pt x="384" y="204"/>
                  </a:lnTo>
                  <a:lnTo>
                    <a:pt x="384" y="202"/>
                  </a:lnTo>
                  <a:lnTo>
                    <a:pt x="386" y="202"/>
                  </a:lnTo>
                  <a:lnTo>
                    <a:pt x="386" y="204"/>
                  </a:lnTo>
                  <a:close/>
                  <a:moveTo>
                    <a:pt x="693" y="415"/>
                  </a:moveTo>
                  <a:lnTo>
                    <a:pt x="693" y="417"/>
                  </a:lnTo>
                  <a:lnTo>
                    <a:pt x="691" y="417"/>
                  </a:lnTo>
                  <a:lnTo>
                    <a:pt x="693" y="417"/>
                  </a:lnTo>
                  <a:lnTo>
                    <a:pt x="693" y="415"/>
                  </a:lnTo>
                  <a:close/>
                  <a:moveTo>
                    <a:pt x="117" y="91"/>
                  </a:moveTo>
                  <a:lnTo>
                    <a:pt x="115" y="91"/>
                  </a:lnTo>
                  <a:lnTo>
                    <a:pt x="117" y="91"/>
                  </a:lnTo>
                  <a:close/>
                  <a:moveTo>
                    <a:pt x="540" y="559"/>
                  </a:moveTo>
                  <a:lnTo>
                    <a:pt x="540" y="561"/>
                  </a:lnTo>
                  <a:lnTo>
                    <a:pt x="538" y="561"/>
                  </a:lnTo>
                  <a:lnTo>
                    <a:pt x="540" y="561"/>
                  </a:lnTo>
                  <a:lnTo>
                    <a:pt x="540" y="559"/>
                  </a:lnTo>
                  <a:close/>
                  <a:moveTo>
                    <a:pt x="211" y="167"/>
                  </a:moveTo>
                  <a:lnTo>
                    <a:pt x="213" y="167"/>
                  </a:lnTo>
                  <a:lnTo>
                    <a:pt x="211" y="167"/>
                  </a:lnTo>
                  <a:lnTo>
                    <a:pt x="211" y="169"/>
                  </a:lnTo>
                  <a:lnTo>
                    <a:pt x="211" y="167"/>
                  </a:lnTo>
                  <a:close/>
                  <a:moveTo>
                    <a:pt x="211" y="177"/>
                  </a:moveTo>
                  <a:lnTo>
                    <a:pt x="213" y="175"/>
                  </a:lnTo>
                  <a:lnTo>
                    <a:pt x="213" y="177"/>
                  </a:lnTo>
                  <a:lnTo>
                    <a:pt x="211" y="177"/>
                  </a:lnTo>
                  <a:lnTo>
                    <a:pt x="211" y="175"/>
                  </a:lnTo>
                  <a:lnTo>
                    <a:pt x="213" y="175"/>
                  </a:lnTo>
                  <a:lnTo>
                    <a:pt x="211" y="177"/>
                  </a:lnTo>
                  <a:close/>
                  <a:moveTo>
                    <a:pt x="231" y="204"/>
                  </a:moveTo>
                  <a:lnTo>
                    <a:pt x="229" y="204"/>
                  </a:lnTo>
                  <a:lnTo>
                    <a:pt x="231" y="202"/>
                  </a:lnTo>
                  <a:lnTo>
                    <a:pt x="231" y="204"/>
                  </a:lnTo>
                  <a:close/>
                  <a:moveTo>
                    <a:pt x="263" y="208"/>
                  </a:moveTo>
                  <a:lnTo>
                    <a:pt x="265" y="208"/>
                  </a:lnTo>
                  <a:lnTo>
                    <a:pt x="265" y="210"/>
                  </a:lnTo>
                  <a:lnTo>
                    <a:pt x="263" y="210"/>
                  </a:lnTo>
                  <a:lnTo>
                    <a:pt x="263" y="208"/>
                  </a:lnTo>
                  <a:close/>
                  <a:moveTo>
                    <a:pt x="695" y="436"/>
                  </a:moveTo>
                  <a:lnTo>
                    <a:pt x="695" y="438"/>
                  </a:lnTo>
                  <a:lnTo>
                    <a:pt x="695" y="436"/>
                  </a:lnTo>
                  <a:lnTo>
                    <a:pt x="695" y="438"/>
                  </a:lnTo>
                  <a:lnTo>
                    <a:pt x="695" y="436"/>
                  </a:lnTo>
                  <a:close/>
                  <a:moveTo>
                    <a:pt x="269" y="204"/>
                  </a:moveTo>
                  <a:lnTo>
                    <a:pt x="267" y="204"/>
                  </a:lnTo>
                  <a:lnTo>
                    <a:pt x="269" y="204"/>
                  </a:lnTo>
                  <a:close/>
                  <a:moveTo>
                    <a:pt x="244" y="194"/>
                  </a:moveTo>
                  <a:lnTo>
                    <a:pt x="242" y="194"/>
                  </a:lnTo>
                  <a:lnTo>
                    <a:pt x="244" y="194"/>
                  </a:lnTo>
                  <a:close/>
                  <a:moveTo>
                    <a:pt x="234" y="188"/>
                  </a:moveTo>
                  <a:lnTo>
                    <a:pt x="233" y="188"/>
                  </a:lnTo>
                  <a:lnTo>
                    <a:pt x="234" y="187"/>
                  </a:lnTo>
                  <a:lnTo>
                    <a:pt x="234" y="188"/>
                  </a:lnTo>
                  <a:close/>
                  <a:moveTo>
                    <a:pt x="373" y="235"/>
                  </a:moveTo>
                  <a:lnTo>
                    <a:pt x="371" y="236"/>
                  </a:lnTo>
                  <a:lnTo>
                    <a:pt x="371" y="235"/>
                  </a:lnTo>
                  <a:lnTo>
                    <a:pt x="373" y="235"/>
                  </a:lnTo>
                  <a:close/>
                  <a:moveTo>
                    <a:pt x="486" y="263"/>
                  </a:moveTo>
                  <a:lnTo>
                    <a:pt x="488" y="263"/>
                  </a:lnTo>
                  <a:lnTo>
                    <a:pt x="488" y="265"/>
                  </a:lnTo>
                  <a:lnTo>
                    <a:pt x="488" y="263"/>
                  </a:lnTo>
                  <a:lnTo>
                    <a:pt x="488" y="265"/>
                  </a:lnTo>
                  <a:lnTo>
                    <a:pt x="486" y="265"/>
                  </a:lnTo>
                  <a:lnTo>
                    <a:pt x="486" y="263"/>
                  </a:lnTo>
                  <a:close/>
                  <a:moveTo>
                    <a:pt x="488" y="273"/>
                  </a:moveTo>
                  <a:lnTo>
                    <a:pt x="488" y="271"/>
                  </a:lnTo>
                  <a:lnTo>
                    <a:pt x="488" y="273"/>
                  </a:lnTo>
                  <a:close/>
                  <a:moveTo>
                    <a:pt x="620" y="440"/>
                  </a:moveTo>
                  <a:lnTo>
                    <a:pt x="620" y="438"/>
                  </a:lnTo>
                  <a:lnTo>
                    <a:pt x="620" y="440"/>
                  </a:lnTo>
                  <a:close/>
                  <a:moveTo>
                    <a:pt x="317" y="204"/>
                  </a:moveTo>
                  <a:lnTo>
                    <a:pt x="315" y="204"/>
                  </a:lnTo>
                  <a:lnTo>
                    <a:pt x="315" y="202"/>
                  </a:lnTo>
                  <a:lnTo>
                    <a:pt x="317" y="202"/>
                  </a:lnTo>
                  <a:lnTo>
                    <a:pt x="317" y="204"/>
                  </a:lnTo>
                  <a:close/>
                  <a:moveTo>
                    <a:pt x="208" y="177"/>
                  </a:moveTo>
                  <a:lnTo>
                    <a:pt x="208" y="175"/>
                  </a:lnTo>
                  <a:lnTo>
                    <a:pt x="209" y="175"/>
                  </a:lnTo>
                  <a:lnTo>
                    <a:pt x="208" y="177"/>
                  </a:lnTo>
                  <a:close/>
                  <a:moveTo>
                    <a:pt x="267" y="206"/>
                  </a:moveTo>
                  <a:lnTo>
                    <a:pt x="265" y="206"/>
                  </a:lnTo>
                  <a:lnTo>
                    <a:pt x="267" y="206"/>
                  </a:lnTo>
                  <a:close/>
                  <a:moveTo>
                    <a:pt x="336" y="217"/>
                  </a:moveTo>
                  <a:lnTo>
                    <a:pt x="338" y="217"/>
                  </a:lnTo>
                  <a:lnTo>
                    <a:pt x="336" y="217"/>
                  </a:lnTo>
                  <a:close/>
                  <a:moveTo>
                    <a:pt x="686" y="530"/>
                  </a:moveTo>
                  <a:lnTo>
                    <a:pt x="686" y="532"/>
                  </a:lnTo>
                  <a:lnTo>
                    <a:pt x="684" y="532"/>
                  </a:lnTo>
                  <a:lnTo>
                    <a:pt x="686" y="532"/>
                  </a:lnTo>
                  <a:lnTo>
                    <a:pt x="686" y="530"/>
                  </a:lnTo>
                  <a:close/>
                  <a:moveTo>
                    <a:pt x="227" y="185"/>
                  </a:moveTo>
                  <a:lnTo>
                    <a:pt x="229" y="185"/>
                  </a:lnTo>
                  <a:lnTo>
                    <a:pt x="227" y="185"/>
                  </a:lnTo>
                  <a:close/>
                  <a:moveTo>
                    <a:pt x="695" y="434"/>
                  </a:moveTo>
                  <a:lnTo>
                    <a:pt x="693" y="434"/>
                  </a:lnTo>
                  <a:lnTo>
                    <a:pt x="695" y="434"/>
                  </a:lnTo>
                  <a:lnTo>
                    <a:pt x="695" y="432"/>
                  </a:lnTo>
                  <a:lnTo>
                    <a:pt x="695" y="434"/>
                  </a:lnTo>
                  <a:close/>
                  <a:moveTo>
                    <a:pt x="169" y="119"/>
                  </a:moveTo>
                  <a:lnTo>
                    <a:pt x="169" y="121"/>
                  </a:lnTo>
                  <a:lnTo>
                    <a:pt x="169" y="119"/>
                  </a:lnTo>
                  <a:close/>
                  <a:moveTo>
                    <a:pt x="718" y="530"/>
                  </a:moveTo>
                  <a:lnTo>
                    <a:pt x="718" y="532"/>
                  </a:lnTo>
                  <a:lnTo>
                    <a:pt x="718" y="530"/>
                  </a:lnTo>
                  <a:lnTo>
                    <a:pt x="720" y="530"/>
                  </a:lnTo>
                  <a:lnTo>
                    <a:pt x="720" y="532"/>
                  </a:lnTo>
                  <a:lnTo>
                    <a:pt x="718" y="532"/>
                  </a:lnTo>
                  <a:lnTo>
                    <a:pt x="718" y="530"/>
                  </a:lnTo>
                  <a:close/>
                  <a:moveTo>
                    <a:pt x="421" y="248"/>
                  </a:moveTo>
                  <a:lnTo>
                    <a:pt x="419" y="248"/>
                  </a:lnTo>
                  <a:lnTo>
                    <a:pt x="419" y="246"/>
                  </a:lnTo>
                  <a:lnTo>
                    <a:pt x="421" y="246"/>
                  </a:lnTo>
                  <a:lnTo>
                    <a:pt x="421" y="248"/>
                  </a:lnTo>
                  <a:close/>
                  <a:moveTo>
                    <a:pt x="185" y="162"/>
                  </a:moveTo>
                  <a:lnTo>
                    <a:pt x="186" y="162"/>
                  </a:lnTo>
                  <a:lnTo>
                    <a:pt x="185" y="162"/>
                  </a:lnTo>
                  <a:close/>
                  <a:moveTo>
                    <a:pt x="638" y="405"/>
                  </a:moveTo>
                  <a:lnTo>
                    <a:pt x="638" y="407"/>
                  </a:lnTo>
                  <a:lnTo>
                    <a:pt x="638" y="405"/>
                  </a:lnTo>
                  <a:close/>
                  <a:moveTo>
                    <a:pt x="229" y="194"/>
                  </a:moveTo>
                  <a:lnTo>
                    <a:pt x="227" y="194"/>
                  </a:lnTo>
                  <a:lnTo>
                    <a:pt x="229" y="194"/>
                  </a:lnTo>
                  <a:close/>
                  <a:moveTo>
                    <a:pt x="538" y="359"/>
                  </a:moveTo>
                  <a:lnTo>
                    <a:pt x="538" y="357"/>
                  </a:lnTo>
                  <a:lnTo>
                    <a:pt x="538" y="359"/>
                  </a:lnTo>
                  <a:close/>
                  <a:moveTo>
                    <a:pt x="505" y="405"/>
                  </a:moveTo>
                  <a:lnTo>
                    <a:pt x="507" y="405"/>
                  </a:lnTo>
                  <a:lnTo>
                    <a:pt x="505" y="405"/>
                  </a:lnTo>
                  <a:close/>
                  <a:moveTo>
                    <a:pt x="488" y="277"/>
                  </a:moveTo>
                  <a:lnTo>
                    <a:pt x="486" y="277"/>
                  </a:lnTo>
                  <a:lnTo>
                    <a:pt x="488" y="277"/>
                  </a:lnTo>
                  <a:close/>
                  <a:moveTo>
                    <a:pt x="329" y="212"/>
                  </a:moveTo>
                  <a:lnTo>
                    <a:pt x="327" y="212"/>
                  </a:lnTo>
                  <a:lnTo>
                    <a:pt x="329" y="212"/>
                  </a:lnTo>
                  <a:close/>
                  <a:moveTo>
                    <a:pt x="645" y="398"/>
                  </a:moveTo>
                  <a:lnTo>
                    <a:pt x="645" y="400"/>
                  </a:lnTo>
                  <a:lnTo>
                    <a:pt x="645" y="398"/>
                  </a:lnTo>
                  <a:close/>
                  <a:moveTo>
                    <a:pt x="196" y="154"/>
                  </a:moveTo>
                  <a:lnTo>
                    <a:pt x="198" y="154"/>
                  </a:lnTo>
                  <a:lnTo>
                    <a:pt x="196" y="154"/>
                  </a:lnTo>
                  <a:lnTo>
                    <a:pt x="198" y="154"/>
                  </a:lnTo>
                  <a:lnTo>
                    <a:pt x="196" y="154"/>
                  </a:lnTo>
                  <a:close/>
                  <a:moveTo>
                    <a:pt x="200" y="164"/>
                  </a:moveTo>
                  <a:lnTo>
                    <a:pt x="202" y="164"/>
                  </a:lnTo>
                  <a:lnTo>
                    <a:pt x="200" y="164"/>
                  </a:lnTo>
                  <a:close/>
                  <a:moveTo>
                    <a:pt x="667" y="398"/>
                  </a:moveTo>
                  <a:lnTo>
                    <a:pt x="667" y="400"/>
                  </a:lnTo>
                  <a:lnTo>
                    <a:pt x="667" y="398"/>
                  </a:lnTo>
                  <a:close/>
                  <a:moveTo>
                    <a:pt x="392" y="210"/>
                  </a:moveTo>
                  <a:lnTo>
                    <a:pt x="390" y="210"/>
                  </a:lnTo>
                  <a:lnTo>
                    <a:pt x="392" y="210"/>
                  </a:lnTo>
                  <a:lnTo>
                    <a:pt x="390" y="210"/>
                  </a:lnTo>
                  <a:lnTo>
                    <a:pt x="390" y="208"/>
                  </a:lnTo>
                  <a:lnTo>
                    <a:pt x="392" y="208"/>
                  </a:lnTo>
                  <a:lnTo>
                    <a:pt x="392" y="210"/>
                  </a:lnTo>
                  <a:close/>
                  <a:moveTo>
                    <a:pt x="315" y="202"/>
                  </a:moveTo>
                  <a:lnTo>
                    <a:pt x="315" y="200"/>
                  </a:lnTo>
                  <a:lnTo>
                    <a:pt x="315" y="202"/>
                  </a:lnTo>
                  <a:close/>
                  <a:moveTo>
                    <a:pt x="540" y="356"/>
                  </a:moveTo>
                  <a:lnTo>
                    <a:pt x="540" y="357"/>
                  </a:lnTo>
                  <a:lnTo>
                    <a:pt x="540" y="356"/>
                  </a:lnTo>
                  <a:close/>
                  <a:moveTo>
                    <a:pt x="219" y="181"/>
                  </a:moveTo>
                  <a:lnTo>
                    <a:pt x="219" y="183"/>
                  </a:lnTo>
                  <a:lnTo>
                    <a:pt x="217" y="181"/>
                  </a:lnTo>
                  <a:lnTo>
                    <a:pt x="219" y="181"/>
                  </a:lnTo>
                  <a:close/>
                  <a:moveTo>
                    <a:pt x="513" y="296"/>
                  </a:moveTo>
                  <a:lnTo>
                    <a:pt x="511" y="296"/>
                  </a:lnTo>
                  <a:lnTo>
                    <a:pt x="513" y="296"/>
                  </a:lnTo>
                  <a:close/>
                  <a:moveTo>
                    <a:pt x="194" y="156"/>
                  </a:moveTo>
                  <a:lnTo>
                    <a:pt x="192" y="156"/>
                  </a:lnTo>
                  <a:lnTo>
                    <a:pt x="194" y="156"/>
                  </a:lnTo>
                  <a:close/>
                  <a:moveTo>
                    <a:pt x="478" y="244"/>
                  </a:moveTo>
                  <a:lnTo>
                    <a:pt x="476" y="244"/>
                  </a:lnTo>
                  <a:lnTo>
                    <a:pt x="478" y="244"/>
                  </a:lnTo>
                  <a:close/>
                  <a:moveTo>
                    <a:pt x="526" y="523"/>
                  </a:moveTo>
                  <a:lnTo>
                    <a:pt x="526" y="521"/>
                  </a:lnTo>
                  <a:lnTo>
                    <a:pt x="526" y="523"/>
                  </a:lnTo>
                  <a:close/>
                  <a:moveTo>
                    <a:pt x="259" y="200"/>
                  </a:moveTo>
                  <a:lnTo>
                    <a:pt x="259" y="202"/>
                  </a:lnTo>
                  <a:lnTo>
                    <a:pt x="259" y="200"/>
                  </a:lnTo>
                  <a:close/>
                  <a:moveTo>
                    <a:pt x="490" y="277"/>
                  </a:moveTo>
                  <a:lnTo>
                    <a:pt x="490" y="279"/>
                  </a:lnTo>
                  <a:lnTo>
                    <a:pt x="488" y="279"/>
                  </a:lnTo>
                  <a:lnTo>
                    <a:pt x="488" y="277"/>
                  </a:lnTo>
                  <a:lnTo>
                    <a:pt x="490" y="277"/>
                  </a:lnTo>
                  <a:close/>
                  <a:moveTo>
                    <a:pt x="252" y="192"/>
                  </a:moveTo>
                  <a:lnTo>
                    <a:pt x="252" y="190"/>
                  </a:lnTo>
                  <a:lnTo>
                    <a:pt x="254" y="192"/>
                  </a:lnTo>
                  <a:lnTo>
                    <a:pt x="252" y="192"/>
                  </a:lnTo>
                  <a:close/>
                  <a:moveTo>
                    <a:pt x="691" y="425"/>
                  </a:moveTo>
                  <a:lnTo>
                    <a:pt x="690" y="425"/>
                  </a:lnTo>
                  <a:lnTo>
                    <a:pt x="691" y="425"/>
                  </a:lnTo>
                  <a:close/>
                  <a:moveTo>
                    <a:pt x="724" y="513"/>
                  </a:moveTo>
                  <a:lnTo>
                    <a:pt x="724" y="515"/>
                  </a:lnTo>
                  <a:lnTo>
                    <a:pt x="724" y="513"/>
                  </a:lnTo>
                  <a:close/>
                  <a:moveTo>
                    <a:pt x="279" y="206"/>
                  </a:moveTo>
                  <a:lnTo>
                    <a:pt x="279" y="208"/>
                  </a:lnTo>
                  <a:lnTo>
                    <a:pt x="279" y="206"/>
                  </a:lnTo>
                  <a:close/>
                  <a:moveTo>
                    <a:pt x="611" y="586"/>
                  </a:moveTo>
                  <a:lnTo>
                    <a:pt x="611" y="588"/>
                  </a:lnTo>
                  <a:lnTo>
                    <a:pt x="611" y="586"/>
                  </a:lnTo>
                  <a:close/>
                  <a:moveTo>
                    <a:pt x="607" y="446"/>
                  </a:moveTo>
                  <a:lnTo>
                    <a:pt x="609" y="446"/>
                  </a:lnTo>
                  <a:lnTo>
                    <a:pt x="607" y="446"/>
                  </a:lnTo>
                  <a:close/>
                  <a:moveTo>
                    <a:pt x="388" y="215"/>
                  </a:moveTo>
                  <a:lnTo>
                    <a:pt x="388" y="213"/>
                  </a:lnTo>
                  <a:lnTo>
                    <a:pt x="388" y="215"/>
                  </a:lnTo>
                  <a:close/>
                  <a:moveTo>
                    <a:pt x="496" y="281"/>
                  </a:moveTo>
                  <a:lnTo>
                    <a:pt x="496" y="283"/>
                  </a:lnTo>
                  <a:lnTo>
                    <a:pt x="496" y="281"/>
                  </a:lnTo>
                  <a:close/>
                  <a:moveTo>
                    <a:pt x="200" y="164"/>
                  </a:moveTo>
                  <a:lnTo>
                    <a:pt x="200" y="162"/>
                  </a:lnTo>
                  <a:lnTo>
                    <a:pt x="200" y="164"/>
                  </a:lnTo>
                  <a:close/>
                  <a:moveTo>
                    <a:pt x="54" y="45"/>
                  </a:moveTo>
                  <a:lnTo>
                    <a:pt x="56" y="45"/>
                  </a:lnTo>
                  <a:lnTo>
                    <a:pt x="56" y="46"/>
                  </a:lnTo>
                  <a:lnTo>
                    <a:pt x="54" y="46"/>
                  </a:lnTo>
                  <a:lnTo>
                    <a:pt x="54" y="45"/>
                  </a:lnTo>
                  <a:close/>
                  <a:moveTo>
                    <a:pt x="522" y="517"/>
                  </a:moveTo>
                  <a:lnTo>
                    <a:pt x="521" y="517"/>
                  </a:lnTo>
                  <a:lnTo>
                    <a:pt x="522" y="517"/>
                  </a:lnTo>
                  <a:lnTo>
                    <a:pt x="521" y="517"/>
                  </a:lnTo>
                  <a:lnTo>
                    <a:pt x="522" y="517"/>
                  </a:lnTo>
                  <a:lnTo>
                    <a:pt x="521" y="517"/>
                  </a:lnTo>
                  <a:lnTo>
                    <a:pt x="521" y="515"/>
                  </a:lnTo>
                  <a:lnTo>
                    <a:pt x="522" y="517"/>
                  </a:lnTo>
                  <a:close/>
                  <a:moveTo>
                    <a:pt x="206" y="152"/>
                  </a:moveTo>
                  <a:lnTo>
                    <a:pt x="208" y="152"/>
                  </a:lnTo>
                  <a:lnTo>
                    <a:pt x="206" y="152"/>
                  </a:lnTo>
                  <a:close/>
                  <a:moveTo>
                    <a:pt x="643" y="404"/>
                  </a:moveTo>
                  <a:lnTo>
                    <a:pt x="643" y="405"/>
                  </a:lnTo>
                  <a:lnTo>
                    <a:pt x="643" y="404"/>
                  </a:lnTo>
                  <a:close/>
                  <a:moveTo>
                    <a:pt x="240" y="190"/>
                  </a:moveTo>
                  <a:lnTo>
                    <a:pt x="240" y="188"/>
                  </a:lnTo>
                  <a:lnTo>
                    <a:pt x="240" y="190"/>
                  </a:lnTo>
                  <a:close/>
                  <a:moveTo>
                    <a:pt x="392" y="202"/>
                  </a:moveTo>
                  <a:lnTo>
                    <a:pt x="392" y="204"/>
                  </a:lnTo>
                  <a:lnTo>
                    <a:pt x="390" y="202"/>
                  </a:lnTo>
                  <a:lnTo>
                    <a:pt x="392" y="202"/>
                  </a:lnTo>
                  <a:close/>
                  <a:moveTo>
                    <a:pt x="238" y="188"/>
                  </a:moveTo>
                  <a:lnTo>
                    <a:pt x="240" y="188"/>
                  </a:lnTo>
                  <a:lnTo>
                    <a:pt x="238" y="188"/>
                  </a:lnTo>
                  <a:close/>
                  <a:moveTo>
                    <a:pt x="615" y="434"/>
                  </a:moveTo>
                  <a:lnTo>
                    <a:pt x="615" y="436"/>
                  </a:lnTo>
                  <a:lnTo>
                    <a:pt x="615" y="434"/>
                  </a:lnTo>
                  <a:close/>
                  <a:moveTo>
                    <a:pt x="691" y="421"/>
                  </a:moveTo>
                  <a:lnTo>
                    <a:pt x="691" y="423"/>
                  </a:lnTo>
                  <a:lnTo>
                    <a:pt x="691" y="421"/>
                  </a:lnTo>
                  <a:close/>
                  <a:moveTo>
                    <a:pt x="768" y="482"/>
                  </a:moveTo>
                  <a:lnTo>
                    <a:pt x="766" y="482"/>
                  </a:lnTo>
                  <a:lnTo>
                    <a:pt x="768" y="482"/>
                  </a:lnTo>
                  <a:close/>
                  <a:moveTo>
                    <a:pt x="499" y="283"/>
                  </a:moveTo>
                  <a:lnTo>
                    <a:pt x="498" y="283"/>
                  </a:lnTo>
                  <a:lnTo>
                    <a:pt x="499" y="283"/>
                  </a:lnTo>
                  <a:close/>
                  <a:moveTo>
                    <a:pt x="396" y="231"/>
                  </a:moveTo>
                  <a:lnTo>
                    <a:pt x="396" y="229"/>
                  </a:lnTo>
                  <a:lnTo>
                    <a:pt x="398" y="229"/>
                  </a:lnTo>
                  <a:lnTo>
                    <a:pt x="398" y="231"/>
                  </a:lnTo>
                  <a:lnTo>
                    <a:pt x="396" y="231"/>
                  </a:lnTo>
                  <a:close/>
                  <a:moveTo>
                    <a:pt x="693" y="427"/>
                  </a:moveTo>
                  <a:lnTo>
                    <a:pt x="693" y="428"/>
                  </a:lnTo>
                  <a:lnTo>
                    <a:pt x="693" y="427"/>
                  </a:lnTo>
                  <a:close/>
                  <a:moveTo>
                    <a:pt x="100" y="79"/>
                  </a:moveTo>
                  <a:lnTo>
                    <a:pt x="98" y="79"/>
                  </a:lnTo>
                  <a:lnTo>
                    <a:pt x="100" y="79"/>
                  </a:lnTo>
                  <a:lnTo>
                    <a:pt x="100" y="77"/>
                  </a:lnTo>
                  <a:lnTo>
                    <a:pt x="100" y="79"/>
                  </a:lnTo>
                  <a:close/>
                  <a:moveTo>
                    <a:pt x="165" y="135"/>
                  </a:moveTo>
                  <a:lnTo>
                    <a:pt x="165" y="133"/>
                  </a:lnTo>
                  <a:lnTo>
                    <a:pt x="165" y="135"/>
                  </a:lnTo>
                  <a:close/>
                  <a:moveTo>
                    <a:pt x="125" y="100"/>
                  </a:moveTo>
                  <a:lnTo>
                    <a:pt x="125" y="98"/>
                  </a:lnTo>
                  <a:lnTo>
                    <a:pt x="125" y="100"/>
                  </a:lnTo>
                  <a:close/>
                  <a:moveTo>
                    <a:pt x="192" y="192"/>
                  </a:moveTo>
                  <a:lnTo>
                    <a:pt x="194" y="192"/>
                  </a:lnTo>
                  <a:lnTo>
                    <a:pt x="194" y="194"/>
                  </a:lnTo>
                  <a:lnTo>
                    <a:pt x="192" y="194"/>
                  </a:lnTo>
                  <a:lnTo>
                    <a:pt x="192" y="192"/>
                  </a:lnTo>
                  <a:close/>
                  <a:moveTo>
                    <a:pt x="651" y="553"/>
                  </a:moveTo>
                  <a:lnTo>
                    <a:pt x="651" y="555"/>
                  </a:lnTo>
                  <a:lnTo>
                    <a:pt x="651" y="553"/>
                  </a:lnTo>
                  <a:lnTo>
                    <a:pt x="649" y="553"/>
                  </a:lnTo>
                  <a:lnTo>
                    <a:pt x="651" y="553"/>
                  </a:lnTo>
                  <a:close/>
                  <a:moveTo>
                    <a:pt x="640" y="407"/>
                  </a:moveTo>
                  <a:lnTo>
                    <a:pt x="640" y="409"/>
                  </a:lnTo>
                  <a:lnTo>
                    <a:pt x="638" y="409"/>
                  </a:lnTo>
                  <a:lnTo>
                    <a:pt x="640" y="409"/>
                  </a:lnTo>
                  <a:lnTo>
                    <a:pt x="640" y="407"/>
                  </a:lnTo>
                  <a:close/>
                  <a:moveTo>
                    <a:pt x="233" y="183"/>
                  </a:moveTo>
                  <a:lnTo>
                    <a:pt x="231" y="185"/>
                  </a:lnTo>
                  <a:lnTo>
                    <a:pt x="231" y="183"/>
                  </a:lnTo>
                  <a:lnTo>
                    <a:pt x="233" y="183"/>
                  </a:lnTo>
                  <a:close/>
                  <a:moveTo>
                    <a:pt x="294" y="210"/>
                  </a:moveTo>
                  <a:lnTo>
                    <a:pt x="296" y="210"/>
                  </a:lnTo>
                  <a:lnTo>
                    <a:pt x="294" y="210"/>
                  </a:lnTo>
                  <a:close/>
                  <a:moveTo>
                    <a:pt x="713" y="538"/>
                  </a:moveTo>
                  <a:lnTo>
                    <a:pt x="713" y="540"/>
                  </a:lnTo>
                  <a:lnTo>
                    <a:pt x="713" y="538"/>
                  </a:lnTo>
                  <a:lnTo>
                    <a:pt x="713" y="540"/>
                  </a:lnTo>
                  <a:lnTo>
                    <a:pt x="713" y="538"/>
                  </a:lnTo>
                  <a:lnTo>
                    <a:pt x="713" y="540"/>
                  </a:lnTo>
                  <a:lnTo>
                    <a:pt x="713" y="538"/>
                  </a:lnTo>
                  <a:close/>
                  <a:moveTo>
                    <a:pt x="634" y="428"/>
                  </a:moveTo>
                  <a:lnTo>
                    <a:pt x="634" y="430"/>
                  </a:lnTo>
                  <a:lnTo>
                    <a:pt x="636" y="430"/>
                  </a:lnTo>
                  <a:lnTo>
                    <a:pt x="634" y="428"/>
                  </a:lnTo>
                  <a:lnTo>
                    <a:pt x="636" y="428"/>
                  </a:lnTo>
                  <a:lnTo>
                    <a:pt x="636" y="430"/>
                  </a:lnTo>
                  <a:lnTo>
                    <a:pt x="634" y="430"/>
                  </a:lnTo>
                  <a:lnTo>
                    <a:pt x="634" y="428"/>
                  </a:lnTo>
                  <a:close/>
                  <a:moveTo>
                    <a:pt x="549" y="354"/>
                  </a:moveTo>
                  <a:lnTo>
                    <a:pt x="547" y="354"/>
                  </a:lnTo>
                  <a:lnTo>
                    <a:pt x="549" y="354"/>
                  </a:lnTo>
                  <a:lnTo>
                    <a:pt x="547" y="354"/>
                  </a:lnTo>
                  <a:lnTo>
                    <a:pt x="549" y="354"/>
                  </a:lnTo>
                  <a:close/>
                  <a:moveTo>
                    <a:pt x="344" y="200"/>
                  </a:moveTo>
                  <a:lnTo>
                    <a:pt x="346" y="200"/>
                  </a:lnTo>
                  <a:lnTo>
                    <a:pt x="344" y="200"/>
                  </a:lnTo>
                  <a:close/>
                  <a:moveTo>
                    <a:pt x="271" y="208"/>
                  </a:moveTo>
                  <a:lnTo>
                    <a:pt x="269" y="208"/>
                  </a:lnTo>
                  <a:lnTo>
                    <a:pt x="269" y="206"/>
                  </a:lnTo>
                  <a:lnTo>
                    <a:pt x="271" y="206"/>
                  </a:lnTo>
                  <a:lnTo>
                    <a:pt x="271" y="208"/>
                  </a:lnTo>
                  <a:close/>
                  <a:moveTo>
                    <a:pt x="198" y="160"/>
                  </a:moveTo>
                  <a:lnTo>
                    <a:pt x="196" y="160"/>
                  </a:lnTo>
                  <a:lnTo>
                    <a:pt x="198" y="160"/>
                  </a:lnTo>
                  <a:close/>
                  <a:moveTo>
                    <a:pt x="19" y="14"/>
                  </a:moveTo>
                  <a:lnTo>
                    <a:pt x="19" y="16"/>
                  </a:lnTo>
                  <a:lnTo>
                    <a:pt x="19" y="14"/>
                  </a:lnTo>
                  <a:close/>
                  <a:moveTo>
                    <a:pt x="659" y="536"/>
                  </a:moveTo>
                  <a:lnTo>
                    <a:pt x="659" y="538"/>
                  </a:lnTo>
                  <a:lnTo>
                    <a:pt x="659" y="536"/>
                  </a:lnTo>
                  <a:close/>
                  <a:moveTo>
                    <a:pt x="632" y="425"/>
                  </a:moveTo>
                  <a:lnTo>
                    <a:pt x="632" y="427"/>
                  </a:lnTo>
                  <a:lnTo>
                    <a:pt x="630" y="427"/>
                  </a:lnTo>
                  <a:lnTo>
                    <a:pt x="630" y="425"/>
                  </a:lnTo>
                  <a:lnTo>
                    <a:pt x="632" y="425"/>
                  </a:lnTo>
                  <a:close/>
                  <a:moveTo>
                    <a:pt x="732" y="488"/>
                  </a:moveTo>
                  <a:lnTo>
                    <a:pt x="732" y="490"/>
                  </a:lnTo>
                  <a:lnTo>
                    <a:pt x="732" y="488"/>
                  </a:lnTo>
                  <a:close/>
                  <a:moveTo>
                    <a:pt x="530" y="334"/>
                  </a:moveTo>
                  <a:lnTo>
                    <a:pt x="528" y="334"/>
                  </a:lnTo>
                  <a:lnTo>
                    <a:pt x="530" y="334"/>
                  </a:lnTo>
                  <a:lnTo>
                    <a:pt x="528" y="334"/>
                  </a:lnTo>
                  <a:lnTo>
                    <a:pt x="530" y="334"/>
                  </a:lnTo>
                  <a:close/>
                  <a:moveTo>
                    <a:pt x="538" y="356"/>
                  </a:moveTo>
                  <a:lnTo>
                    <a:pt x="536" y="356"/>
                  </a:lnTo>
                  <a:lnTo>
                    <a:pt x="538" y="356"/>
                  </a:lnTo>
                  <a:close/>
                  <a:moveTo>
                    <a:pt x="638" y="409"/>
                  </a:moveTo>
                  <a:lnTo>
                    <a:pt x="638" y="411"/>
                  </a:lnTo>
                  <a:lnTo>
                    <a:pt x="638" y="409"/>
                  </a:lnTo>
                  <a:close/>
                  <a:moveTo>
                    <a:pt x="595" y="586"/>
                  </a:moveTo>
                  <a:lnTo>
                    <a:pt x="597" y="586"/>
                  </a:lnTo>
                  <a:lnTo>
                    <a:pt x="597" y="588"/>
                  </a:lnTo>
                  <a:lnTo>
                    <a:pt x="597" y="586"/>
                  </a:lnTo>
                  <a:lnTo>
                    <a:pt x="597" y="588"/>
                  </a:lnTo>
                  <a:lnTo>
                    <a:pt x="597" y="586"/>
                  </a:lnTo>
                  <a:lnTo>
                    <a:pt x="595" y="586"/>
                  </a:lnTo>
                  <a:lnTo>
                    <a:pt x="595" y="588"/>
                  </a:lnTo>
                  <a:lnTo>
                    <a:pt x="595" y="586"/>
                  </a:lnTo>
                  <a:lnTo>
                    <a:pt x="595" y="588"/>
                  </a:lnTo>
                  <a:lnTo>
                    <a:pt x="595" y="586"/>
                  </a:lnTo>
                  <a:close/>
                  <a:moveTo>
                    <a:pt x="634" y="417"/>
                  </a:moveTo>
                  <a:lnTo>
                    <a:pt x="636" y="417"/>
                  </a:lnTo>
                  <a:lnTo>
                    <a:pt x="636" y="419"/>
                  </a:lnTo>
                  <a:lnTo>
                    <a:pt x="634" y="419"/>
                  </a:lnTo>
                  <a:lnTo>
                    <a:pt x="634" y="417"/>
                  </a:lnTo>
                  <a:close/>
                  <a:moveTo>
                    <a:pt x="281" y="212"/>
                  </a:moveTo>
                  <a:lnTo>
                    <a:pt x="281" y="213"/>
                  </a:lnTo>
                  <a:lnTo>
                    <a:pt x="279" y="212"/>
                  </a:lnTo>
                  <a:lnTo>
                    <a:pt x="281" y="212"/>
                  </a:lnTo>
                  <a:close/>
                  <a:moveTo>
                    <a:pt x="690" y="425"/>
                  </a:moveTo>
                  <a:lnTo>
                    <a:pt x="690" y="423"/>
                  </a:lnTo>
                  <a:lnTo>
                    <a:pt x="691" y="423"/>
                  </a:lnTo>
                  <a:lnTo>
                    <a:pt x="691" y="425"/>
                  </a:lnTo>
                  <a:lnTo>
                    <a:pt x="690" y="425"/>
                  </a:lnTo>
                  <a:close/>
                  <a:moveTo>
                    <a:pt x="309" y="212"/>
                  </a:moveTo>
                  <a:lnTo>
                    <a:pt x="311" y="212"/>
                  </a:lnTo>
                  <a:lnTo>
                    <a:pt x="309" y="212"/>
                  </a:lnTo>
                  <a:close/>
                  <a:moveTo>
                    <a:pt x="446" y="233"/>
                  </a:moveTo>
                  <a:lnTo>
                    <a:pt x="446" y="235"/>
                  </a:lnTo>
                  <a:lnTo>
                    <a:pt x="446" y="233"/>
                  </a:lnTo>
                  <a:close/>
                  <a:moveTo>
                    <a:pt x="263" y="196"/>
                  </a:moveTo>
                  <a:lnTo>
                    <a:pt x="263" y="194"/>
                  </a:lnTo>
                  <a:lnTo>
                    <a:pt x="263" y="196"/>
                  </a:lnTo>
                  <a:close/>
                  <a:moveTo>
                    <a:pt x="513" y="298"/>
                  </a:moveTo>
                  <a:lnTo>
                    <a:pt x="513" y="296"/>
                  </a:lnTo>
                  <a:lnTo>
                    <a:pt x="515" y="296"/>
                  </a:lnTo>
                  <a:lnTo>
                    <a:pt x="513" y="298"/>
                  </a:lnTo>
                  <a:close/>
                  <a:moveTo>
                    <a:pt x="271" y="223"/>
                  </a:moveTo>
                  <a:lnTo>
                    <a:pt x="273" y="223"/>
                  </a:lnTo>
                  <a:lnTo>
                    <a:pt x="271" y="223"/>
                  </a:lnTo>
                  <a:close/>
                  <a:moveTo>
                    <a:pt x="215" y="185"/>
                  </a:moveTo>
                  <a:lnTo>
                    <a:pt x="217" y="185"/>
                  </a:lnTo>
                  <a:lnTo>
                    <a:pt x="215" y="185"/>
                  </a:lnTo>
                  <a:lnTo>
                    <a:pt x="215" y="187"/>
                  </a:lnTo>
                  <a:lnTo>
                    <a:pt x="215" y="185"/>
                  </a:lnTo>
                  <a:close/>
                  <a:moveTo>
                    <a:pt x="651" y="551"/>
                  </a:moveTo>
                  <a:lnTo>
                    <a:pt x="653" y="551"/>
                  </a:lnTo>
                  <a:lnTo>
                    <a:pt x="651" y="551"/>
                  </a:lnTo>
                  <a:close/>
                  <a:moveTo>
                    <a:pt x="231" y="187"/>
                  </a:moveTo>
                  <a:lnTo>
                    <a:pt x="231" y="185"/>
                  </a:lnTo>
                  <a:lnTo>
                    <a:pt x="231" y="187"/>
                  </a:lnTo>
                  <a:close/>
                  <a:moveTo>
                    <a:pt x="350" y="204"/>
                  </a:moveTo>
                  <a:lnTo>
                    <a:pt x="350" y="206"/>
                  </a:lnTo>
                  <a:lnTo>
                    <a:pt x="350" y="204"/>
                  </a:lnTo>
                  <a:close/>
                  <a:moveTo>
                    <a:pt x="227" y="196"/>
                  </a:moveTo>
                  <a:lnTo>
                    <a:pt x="225" y="196"/>
                  </a:lnTo>
                  <a:lnTo>
                    <a:pt x="225" y="194"/>
                  </a:lnTo>
                  <a:lnTo>
                    <a:pt x="227" y="194"/>
                  </a:lnTo>
                  <a:lnTo>
                    <a:pt x="227" y="196"/>
                  </a:lnTo>
                  <a:close/>
                  <a:moveTo>
                    <a:pt x="697" y="436"/>
                  </a:moveTo>
                  <a:lnTo>
                    <a:pt x="697" y="438"/>
                  </a:lnTo>
                  <a:lnTo>
                    <a:pt x="695" y="438"/>
                  </a:lnTo>
                  <a:lnTo>
                    <a:pt x="697" y="438"/>
                  </a:lnTo>
                  <a:lnTo>
                    <a:pt x="697" y="436"/>
                  </a:lnTo>
                  <a:close/>
                  <a:moveTo>
                    <a:pt x="665" y="398"/>
                  </a:moveTo>
                  <a:lnTo>
                    <a:pt x="665" y="400"/>
                  </a:lnTo>
                  <a:lnTo>
                    <a:pt x="665" y="398"/>
                  </a:lnTo>
                  <a:close/>
                  <a:moveTo>
                    <a:pt x="474" y="244"/>
                  </a:moveTo>
                  <a:lnTo>
                    <a:pt x="476" y="244"/>
                  </a:lnTo>
                  <a:lnTo>
                    <a:pt x="474" y="244"/>
                  </a:lnTo>
                  <a:close/>
                  <a:moveTo>
                    <a:pt x="507" y="294"/>
                  </a:moveTo>
                  <a:lnTo>
                    <a:pt x="507" y="296"/>
                  </a:lnTo>
                  <a:lnTo>
                    <a:pt x="507" y="294"/>
                  </a:lnTo>
                  <a:close/>
                  <a:moveTo>
                    <a:pt x="186" y="183"/>
                  </a:moveTo>
                  <a:lnTo>
                    <a:pt x="188" y="183"/>
                  </a:lnTo>
                  <a:lnTo>
                    <a:pt x="186" y="183"/>
                  </a:lnTo>
                  <a:close/>
                  <a:moveTo>
                    <a:pt x="188" y="185"/>
                  </a:moveTo>
                  <a:lnTo>
                    <a:pt x="190" y="185"/>
                  </a:lnTo>
                  <a:lnTo>
                    <a:pt x="188" y="185"/>
                  </a:lnTo>
                  <a:close/>
                  <a:moveTo>
                    <a:pt x="718" y="509"/>
                  </a:moveTo>
                  <a:lnTo>
                    <a:pt x="718" y="511"/>
                  </a:lnTo>
                  <a:lnTo>
                    <a:pt x="718" y="509"/>
                  </a:lnTo>
                  <a:close/>
                  <a:moveTo>
                    <a:pt x="209" y="156"/>
                  </a:moveTo>
                  <a:lnTo>
                    <a:pt x="211" y="156"/>
                  </a:lnTo>
                  <a:lnTo>
                    <a:pt x="209" y="156"/>
                  </a:lnTo>
                  <a:close/>
                  <a:moveTo>
                    <a:pt x="206" y="167"/>
                  </a:moveTo>
                  <a:lnTo>
                    <a:pt x="206" y="165"/>
                  </a:lnTo>
                  <a:lnTo>
                    <a:pt x="206" y="167"/>
                  </a:lnTo>
                  <a:close/>
                  <a:moveTo>
                    <a:pt x="730" y="511"/>
                  </a:moveTo>
                  <a:lnTo>
                    <a:pt x="730" y="509"/>
                  </a:lnTo>
                  <a:lnTo>
                    <a:pt x="730" y="511"/>
                  </a:lnTo>
                  <a:close/>
                  <a:moveTo>
                    <a:pt x="728" y="513"/>
                  </a:moveTo>
                  <a:lnTo>
                    <a:pt x="728" y="511"/>
                  </a:lnTo>
                  <a:lnTo>
                    <a:pt x="728" y="513"/>
                  </a:lnTo>
                  <a:close/>
                  <a:moveTo>
                    <a:pt x="613" y="436"/>
                  </a:moveTo>
                  <a:lnTo>
                    <a:pt x="615" y="436"/>
                  </a:lnTo>
                  <a:lnTo>
                    <a:pt x="613" y="436"/>
                  </a:lnTo>
                  <a:lnTo>
                    <a:pt x="613" y="438"/>
                  </a:lnTo>
                  <a:lnTo>
                    <a:pt x="613" y="436"/>
                  </a:lnTo>
                  <a:close/>
                  <a:moveTo>
                    <a:pt x="699" y="427"/>
                  </a:moveTo>
                  <a:lnTo>
                    <a:pt x="697" y="427"/>
                  </a:lnTo>
                  <a:lnTo>
                    <a:pt x="699" y="427"/>
                  </a:lnTo>
                  <a:lnTo>
                    <a:pt x="697" y="427"/>
                  </a:lnTo>
                  <a:lnTo>
                    <a:pt x="699" y="427"/>
                  </a:lnTo>
                  <a:close/>
                  <a:moveTo>
                    <a:pt x="490" y="277"/>
                  </a:moveTo>
                  <a:lnTo>
                    <a:pt x="492" y="277"/>
                  </a:lnTo>
                  <a:lnTo>
                    <a:pt x="490" y="277"/>
                  </a:lnTo>
                  <a:close/>
                  <a:moveTo>
                    <a:pt x="490" y="290"/>
                  </a:moveTo>
                  <a:lnTo>
                    <a:pt x="490" y="288"/>
                  </a:lnTo>
                  <a:lnTo>
                    <a:pt x="490" y="290"/>
                  </a:lnTo>
                  <a:close/>
                  <a:moveTo>
                    <a:pt x="329" y="215"/>
                  </a:moveTo>
                  <a:lnTo>
                    <a:pt x="327" y="215"/>
                  </a:lnTo>
                  <a:lnTo>
                    <a:pt x="327" y="213"/>
                  </a:lnTo>
                  <a:lnTo>
                    <a:pt x="329" y="213"/>
                  </a:lnTo>
                  <a:lnTo>
                    <a:pt x="329" y="215"/>
                  </a:lnTo>
                  <a:close/>
                  <a:moveTo>
                    <a:pt x="634" y="417"/>
                  </a:moveTo>
                  <a:lnTo>
                    <a:pt x="634" y="419"/>
                  </a:lnTo>
                  <a:lnTo>
                    <a:pt x="634" y="417"/>
                  </a:lnTo>
                  <a:close/>
                  <a:moveTo>
                    <a:pt x="161" y="121"/>
                  </a:moveTo>
                  <a:lnTo>
                    <a:pt x="161" y="119"/>
                  </a:lnTo>
                  <a:lnTo>
                    <a:pt x="161" y="121"/>
                  </a:lnTo>
                  <a:close/>
                  <a:moveTo>
                    <a:pt x="396" y="206"/>
                  </a:moveTo>
                  <a:lnTo>
                    <a:pt x="396" y="208"/>
                  </a:lnTo>
                  <a:lnTo>
                    <a:pt x="396" y="206"/>
                  </a:lnTo>
                  <a:close/>
                  <a:moveTo>
                    <a:pt x="257" y="202"/>
                  </a:moveTo>
                  <a:lnTo>
                    <a:pt x="257" y="204"/>
                  </a:lnTo>
                  <a:lnTo>
                    <a:pt x="257" y="202"/>
                  </a:lnTo>
                  <a:close/>
                  <a:moveTo>
                    <a:pt x="480" y="248"/>
                  </a:moveTo>
                  <a:lnTo>
                    <a:pt x="478" y="248"/>
                  </a:lnTo>
                  <a:lnTo>
                    <a:pt x="480" y="248"/>
                  </a:lnTo>
                  <a:close/>
                  <a:moveTo>
                    <a:pt x="290" y="212"/>
                  </a:moveTo>
                  <a:lnTo>
                    <a:pt x="290" y="210"/>
                  </a:lnTo>
                  <a:lnTo>
                    <a:pt x="290" y="212"/>
                  </a:lnTo>
                  <a:close/>
                  <a:moveTo>
                    <a:pt x="288" y="212"/>
                  </a:moveTo>
                  <a:lnTo>
                    <a:pt x="288" y="210"/>
                  </a:lnTo>
                  <a:lnTo>
                    <a:pt x="290" y="210"/>
                  </a:lnTo>
                  <a:lnTo>
                    <a:pt x="290" y="212"/>
                  </a:lnTo>
                  <a:lnTo>
                    <a:pt x="288" y="212"/>
                  </a:lnTo>
                  <a:close/>
                  <a:moveTo>
                    <a:pt x="282" y="204"/>
                  </a:moveTo>
                  <a:lnTo>
                    <a:pt x="281" y="204"/>
                  </a:lnTo>
                  <a:lnTo>
                    <a:pt x="282" y="204"/>
                  </a:lnTo>
                  <a:close/>
                  <a:moveTo>
                    <a:pt x="632" y="411"/>
                  </a:moveTo>
                  <a:lnTo>
                    <a:pt x="630" y="411"/>
                  </a:lnTo>
                  <a:lnTo>
                    <a:pt x="632" y="411"/>
                  </a:lnTo>
                  <a:close/>
                  <a:moveTo>
                    <a:pt x="250" y="206"/>
                  </a:moveTo>
                  <a:lnTo>
                    <a:pt x="252" y="206"/>
                  </a:lnTo>
                  <a:lnTo>
                    <a:pt x="250" y="206"/>
                  </a:lnTo>
                  <a:close/>
                  <a:moveTo>
                    <a:pt x="200" y="165"/>
                  </a:moveTo>
                  <a:lnTo>
                    <a:pt x="200" y="167"/>
                  </a:lnTo>
                  <a:lnTo>
                    <a:pt x="200" y="165"/>
                  </a:lnTo>
                  <a:close/>
                  <a:moveTo>
                    <a:pt x="488" y="292"/>
                  </a:moveTo>
                  <a:lnTo>
                    <a:pt x="488" y="290"/>
                  </a:lnTo>
                  <a:lnTo>
                    <a:pt x="488" y="292"/>
                  </a:lnTo>
                  <a:close/>
                  <a:moveTo>
                    <a:pt x="200" y="156"/>
                  </a:moveTo>
                  <a:lnTo>
                    <a:pt x="198" y="156"/>
                  </a:lnTo>
                  <a:lnTo>
                    <a:pt x="200" y="156"/>
                  </a:lnTo>
                  <a:close/>
                  <a:moveTo>
                    <a:pt x="213" y="179"/>
                  </a:moveTo>
                  <a:lnTo>
                    <a:pt x="213" y="177"/>
                  </a:lnTo>
                  <a:lnTo>
                    <a:pt x="213" y="179"/>
                  </a:lnTo>
                  <a:close/>
                  <a:moveTo>
                    <a:pt x="271" y="219"/>
                  </a:moveTo>
                  <a:lnTo>
                    <a:pt x="271" y="217"/>
                  </a:lnTo>
                  <a:lnTo>
                    <a:pt x="271" y="219"/>
                  </a:lnTo>
                  <a:close/>
                  <a:moveTo>
                    <a:pt x="490" y="269"/>
                  </a:moveTo>
                  <a:lnTo>
                    <a:pt x="490" y="271"/>
                  </a:lnTo>
                  <a:lnTo>
                    <a:pt x="490" y="269"/>
                  </a:lnTo>
                  <a:lnTo>
                    <a:pt x="490" y="271"/>
                  </a:lnTo>
                  <a:lnTo>
                    <a:pt x="490" y="269"/>
                  </a:lnTo>
                  <a:close/>
                  <a:moveTo>
                    <a:pt x="158" y="114"/>
                  </a:moveTo>
                  <a:lnTo>
                    <a:pt x="156" y="114"/>
                  </a:lnTo>
                  <a:lnTo>
                    <a:pt x="158" y="114"/>
                  </a:lnTo>
                  <a:close/>
                  <a:moveTo>
                    <a:pt x="209" y="150"/>
                  </a:moveTo>
                  <a:lnTo>
                    <a:pt x="209" y="152"/>
                  </a:lnTo>
                  <a:lnTo>
                    <a:pt x="209" y="150"/>
                  </a:lnTo>
                  <a:close/>
                  <a:moveTo>
                    <a:pt x="21" y="12"/>
                  </a:moveTo>
                  <a:lnTo>
                    <a:pt x="21" y="14"/>
                  </a:lnTo>
                  <a:lnTo>
                    <a:pt x="23" y="14"/>
                  </a:lnTo>
                  <a:lnTo>
                    <a:pt x="21" y="14"/>
                  </a:lnTo>
                  <a:lnTo>
                    <a:pt x="21" y="12"/>
                  </a:lnTo>
                  <a:close/>
                  <a:moveTo>
                    <a:pt x="667" y="551"/>
                  </a:moveTo>
                  <a:lnTo>
                    <a:pt x="667" y="553"/>
                  </a:lnTo>
                  <a:lnTo>
                    <a:pt x="665" y="553"/>
                  </a:lnTo>
                  <a:lnTo>
                    <a:pt x="667" y="553"/>
                  </a:lnTo>
                  <a:lnTo>
                    <a:pt x="667" y="551"/>
                  </a:lnTo>
                  <a:close/>
                  <a:moveTo>
                    <a:pt x="434" y="236"/>
                  </a:moveTo>
                  <a:lnTo>
                    <a:pt x="432" y="236"/>
                  </a:lnTo>
                  <a:lnTo>
                    <a:pt x="434" y="236"/>
                  </a:lnTo>
                  <a:close/>
                  <a:moveTo>
                    <a:pt x="367" y="208"/>
                  </a:moveTo>
                  <a:lnTo>
                    <a:pt x="365" y="208"/>
                  </a:lnTo>
                  <a:lnTo>
                    <a:pt x="365" y="206"/>
                  </a:lnTo>
                  <a:lnTo>
                    <a:pt x="367" y="208"/>
                  </a:lnTo>
                  <a:close/>
                  <a:moveTo>
                    <a:pt x="209" y="187"/>
                  </a:moveTo>
                  <a:lnTo>
                    <a:pt x="208" y="187"/>
                  </a:lnTo>
                  <a:lnTo>
                    <a:pt x="209" y="187"/>
                  </a:lnTo>
                  <a:close/>
                  <a:moveTo>
                    <a:pt x="699" y="432"/>
                  </a:moveTo>
                  <a:lnTo>
                    <a:pt x="701" y="432"/>
                  </a:lnTo>
                  <a:lnTo>
                    <a:pt x="701" y="434"/>
                  </a:lnTo>
                  <a:lnTo>
                    <a:pt x="699" y="432"/>
                  </a:lnTo>
                  <a:close/>
                  <a:moveTo>
                    <a:pt x="697" y="440"/>
                  </a:moveTo>
                  <a:lnTo>
                    <a:pt x="697" y="442"/>
                  </a:lnTo>
                  <a:lnTo>
                    <a:pt x="695" y="442"/>
                  </a:lnTo>
                  <a:lnTo>
                    <a:pt x="697" y="442"/>
                  </a:lnTo>
                  <a:lnTo>
                    <a:pt x="697" y="440"/>
                  </a:lnTo>
                  <a:lnTo>
                    <a:pt x="697" y="442"/>
                  </a:lnTo>
                  <a:lnTo>
                    <a:pt x="697" y="440"/>
                  </a:lnTo>
                  <a:close/>
                  <a:moveTo>
                    <a:pt x="511" y="405"/>
                  </a:moveTo>
                  <a:lnTo>
                    <a:pt x="511" y="404"/>
                  </a:lnTo>
                  <a:lnTo>
                    <a:pt x="511" y="405"/>
                  </a:lnTo>
                  <a:close/>
                  <a:moveTo>
                    <a:pt x="202" y="179"/>
                  </a:moveTo>
                  <a:lnTo>
                    <a:pt x="202" y="177"/>
                  </a:lnTo>
                  <a:lnTo>
                    <a:pt x="202" y="179"/>
                  </a:lnTo>
                  <a:close/>
                  <a:moveTo>
                    <a:pt x="557" y="453"/>
                  </a:moveTo>
                  <a:lnTo>
                    <a:pt x="555" y="453"/>
                  </a:lnTo>
                  <a:lnTo>
                    <a:pt x="557" y="453"/>
                  </a:lnTo>
                  <a:lnTo>
                    <a:pt x="557" y="452"/>
                  </a:lnTo>
                  <a:lnTo>
                    <a:pt x="557" y="453"/>
                  </a:lnTo>
                  <a:close/>
                  <a:moveTo>
                    <a:pt x="544" y="329"/>
                  </a:moveTo>
                  <a:lnTo>
                    <a:pt x="546" y="329"/>
                  </a:lnTo>
                  <a:lnTo>
                    <a:pt x="546" y="331"/>
                  </a:lnTo>
                  <a:lnTo>
                    <a:pt x="544" y="331"/>
                  </a:lnTo>
                  <a:lnTo>
                    <a:pt x="544" y="329"/>
                  </a:lnTo>
                  <a:close/>
                  <a:moveTo>
                    <a:pt x="209" y="160"/>
                  </a:moveTo>
                  <a:lnTo>
                    <a:pt x="209" y="158"/>
                  </a:lnTo>
                  <a:lnTo>
                    <a:pt x="211" y="158"/>
                  </a:lnTo>
                  <a:lnTo>
                    <a:pt x="209" y="160"/>
                  </a:lnTo>
                  <a:close/>
                  <a:moveTo>
                    <a:pt x="186" y="137"/>
                  </a:moveTo>
                  <a:lnTo>
                    <a:pt x="185" y="137"/>
                  </a:lnTo>
                  <a:lnTo>
                    <a:pt x="186" y="137"/>
                  </a:lnTo>
                  <a:close/>
                  <a:moveTo>
                    <a:pt x="321" y="202"/>
                  </a:moveTo>
                  <a:lnTo>
                    <a:pt x="323" y="204"/>
                  </a:lnTo>
                  <a:lnTo>
                    <a:pt x="321" y="204"/>
                  </a:lnTo>
                  <a:lnTo>
                    <a:pt x="321" y="202"/>
                  </a:lnTo>
                  <a:close/>
                  <a:moveTo>
                    <a:pt x="392" y="212"/>
                  </a:moveTo>
                  <a:lnTo>
                    <a:pt x="394" y="212"/>
                  </a:lnTo>
                  <a:lnTo>
                    <a:pt x="392" y="212"/>
                  </a:lnTo>
                  <a:close/>
                  <a:moveTo>
                    <a:pt x="363" y="206"/>
                  </a:moveTo>
                  <a:lnTo>
                    <a:pt x="363" y="208"/>
                  </a:lnTo>
                  <a:lnTo>
                    <a:pt x="363" y="206"/>
                  </a:lnTo>
                  <a:close/>
                  <a:moveTo>
                    <a:pt x="346" y="202"/>
                  </a:moveTo>
                  <a:lnTo>
                    <a:pt x="346" y="200"/>
                  </a:lnTo>
                  <a:lnTo>
                    <a:pt x="346" y="202"/>
                  </a:lnTo>
                  <a:close/>
                  <a:moveTo>
                    <a:pt x="271" y="225"/>
                  </a:moveTo>
                  <a:lnTo>
                    <a:pt x="271" y="223"/>
                  </a:lnTo>
                  <a:lnTo>
                    <a:pt x="271" y="225"/>
                  </a:lnTo>
                  <a:close/>
                  <a:moveTo>
                    <a:pt x="211" y="158"/>
                  </a:moveTo>
                  <a:lnTo>
                    <a:pt x="213" y="158"/>
                  </a:lnTo>
                  <a:lnTo>
                    <a:pt x="211" y="158"/>
                  </a:lnTo>
                  <a:close/>
                  <a:moveTo>
                    <a:pt x="240" y="188"/>
                  </a:moveTo>
                  <a:lnTo>
                    <a:pt x="240" y="190"/>
                  </a:lnTo>
                  <a:lnTo>
                    <a:pt x="240" y="188"/>
                  </a:lnTo>
                  <a:close/>
                  <a:moveTo>
                    <a:pt x="269" y="206"/>
                  </a:moveTo>
                  <a:lnTo>
                    <a:pt x="267" y="206"/>
                  </a:lnTo>
                  <a:lnTo>
                    <a:pt x="269" y="206"/>
                  </a:lnTo>
                  <a:close/>
                  <a:moveTo>
                    <a:pt x="690" y="423"/>
                  </a:moveTo>
                  <a:lnTo>
                    <a:pt x="691" y="423"/>
                  </a:lnTo>
                  <a:lnTo>
                    <a:pt x="690" y="423"/>
                  </a:lnTo>
                  <a:close/>
                  <a:moveTo>
                    <a:pt x="259" y="198"/>
                  </a:moveTo>
                  <a:lnTo>
                    <a:pt x="259" y="200"/>
                  </a:lnTo>
                  <a:lnTo>
                    <a:pt x="259" y="198"/>
                  </a:lnTo>
                  <a:close/>
                  <a:moveTo>
                    <a:pt x="509" y="296"/>
                  </a:moveTo>
                  <a:lnTo>
                    <a:pt x="509" y="294"/>
                  </a:lnTo>
                  <a:lnTo>
                    <a:pt x="509" y="296"/>
                  </a:lnTo>
                  <a:close/>
                  <a:moveTo>
                    <a:pt x="594" y="440"/>
                  </a:moveTo>
                  <a:lnTo>
                    <a:pt x="595" y="440"/>
                  </a:lnTo>
                  <a:lnTo>
                    <a:pt x="594" y="440"/>
                  </a:lnTo>
                  <a:lnTo>
                    <a:pt x="594" y="442"/>
                  </a:lnTo>
                  <a:lnTo>
                    <a:pt x="594" y="440"/>
                  </a:lnTo>
                  <a:lnTo>
                    <a:pt x="595" y="440"/>
                  </a:lnTo>
                  <a:lnTo>
                    <a:pt x="594" y="440"/>
                  </a:lnTo>
                  <a:close/>
                  <a:moveTo>
                    <a:pt x="630" y="425"/>
                  </a:moveTo>
                  <a:lnTo>
                    <a:pt x="628" y="425"/>
                  </a:lnTo>
                  <a:lnTo>
                    <a:pt x="630" y="425"/>
                  </a:lnTo>
                  <a:lnTo>
                    <a:pt x="628" y="425"/>
                  </a:lnTo>
                  <a:lnTo>
                    <a:pt x="630" y="425"/>
                  </a:lnTo>
                  <a:close/>
                  <a:moveTo>
                    <a:pt x="511" y="377"/>
                  </a:moveTo>
                  <a:lnTo>
                    <a:pt x="511" y="379"/>
                  </a:lnTo>
                  <a:lnTo>
                    <a:pt x="511" y="377"/>
                  </a:lnTo>
                  <a:close/>
                  <a:moveTo>
                    <a:pt x="513" y="417"/>
                  </a:moveTo>
                  <a:lnTo>
                    <a:pt x="511" y="417"/>
                  </a:lnTo>
                  <a:lnTo>
                    <a:pt x="513" y="417"/>
                  </a:lnTo>
                  <a:close/>
                  <a:moveTo>
                    <a:pt x="428" y="238"/>
                  </a:moveTo>
                  <a:lnTo>
                    <a:pt x="428" y="240"/>
                  </a:lnTo>
                  <a:lnTo>
                    <a:pt x="430" y="240"/>
                  </a:lnTo>
                  <a:lnTo>
                    <a:pt x="428" y="240"/>
                  </a:lnTo>
                  <a:lnTo>
                    <a:pt x="428" y="238"/>
                  </a:lnTo>
                  <a:close/>
                  <a:moveTo>
                    <a:pt x="196" y="187"/>
                  </a:moveTo>
                  <a:lnTo>
                    <a:pt x="196" y="185"/>
                  </a:lnTo>
                  <a:lnTo>
                    <a:pt x="196" y="187"/>
                  </a:lnTo>
                  <a:close/>
                  <a:moveTo>
                    <a:pt x="14" y="4"/>
                  </a:moveTo>
                  <a:lnTo>
                    <a:pt x="14" y="6"/>
                  </a:lnTo>
                  <a:lnTo>
                    <a:pt x="12" y="6"/>
                  </a:lnTo>
                  <a:lnTo>
                    <a:pt x="14" y="6"/>
                  </a:lnTo>
                  <a:lnTo>
                    <a:pt x="12" y="6"/>
                  </a:lnTo>
                  <a:lnTo>
                    <a:pt x="12" y="4"/>
                  </a:lnTo>
                  <a:lnTo>
                    <a:pt x="14" y="4"/>
                  </a:lnTo>
                  <a:close/>
                  <a:moveTo>
                    <a:pt x="269" y="208"/>
                  </a:moveTo>
                  <a:lnTo>
                    <a:pt x="267" y="208"/>
                  </a:lnTo>
                  <a:lnTo>
                    <a:pt x="269" y="208"/>
                  </a:lnTo>
                  <a:close/>
                  <a:moveTo>
                    <a:pt x="307" y="206"/>
                  </a:moveTo>
                  <a:lnTo>
                    <a:pt x="307" y="204"/>
                  </a:lnTo>
                  <a:lnTo>
                    <a:pt x="307" y="206"/>
                  </a:lnTo>
                  <a:close/>
                  <a:moveTo>
                    <a:pt x="202" y="164"/>
                  </a:moveTo>
                  <a:lnTo>
                    <a:pt x="200" y="164"/>
                  </a:lnTo>
                  <a:lnTo>
                    <a:pt x="200" y="162"/>
                  </a:lnTo>
                  <a:lnTo>
                    <a:pt x="202" y="162"/>
                  </a:lnTo>
                  <a:lnTo>
                    <a:pt x="202" y="164"/>
                  </a:lnTo>
                  <a:close/>
                  <a:moveTo>
                    <a:pt x="290" y="204"/>
                  </a:moveTo>
                  <a:lnTo>
                    <a:pt x="292" y="204"/>
                  </a:lnTo>
                  <a:lnTo>
                    <a:pt x="290" y="204"/>
                  </a:lnTo>
                  <a:lnTo>
                    <a:pt x="292" y="204"/>
                  </a:lnTo>
                  <a:lnTo>
                    <a:pt x="290" y="204"/>
                  </a:lnTo>
                  <a:close/>
                  <a:moveTo>
                    <a:pt x="511" y="382"/>
                  </a:moveTo>
                  <a:lnTo>
                    <a:pt x="513" y="382"/>
                  </a:lnTo>
                  <a:lnTo>
                    <a:pt x="513" y="384"/>
                  </a:lnTo>
                  <a:lnTo>
                    <a:pt x="511" y="384"/>
                  </a:lnTo>
                  <a:lnTo>
                    <a:pt x="511" y="382"/>
                  </a:lnTo>
                  <a:close/>
                  <a:moveTo>
                    <a:pt x="209" y="185"/>
                  </a:moveTo>
                  <a:lnTo>
                    <a:pt x="211" y="185"/>
                  </a:lnTo>
                  <a:lnTo>
                    <a:pt x="209" y="185"/>
                  </a:lnTo>
                  <a:close/>
                  <a:moveTo>
                    <a:pt x="279" y="204"/>
                  </a:moveTo>
                  <a:lnTo>
                    <a:pt x="277" y="204"/>
                  </a:lnTo>
                  <a:lnTo>
                    <a:pt x="279" y="204"/>
                  </a:lnTo>
                  <a:close/>
                  <a:moveTo>
                    <a:pt x="175" y="121"/>
                  </a:moveTo>
                  <a:lnTo>
                    <a:pt x="173" y="121"/>
                  </a:lnTo>
                  <a:lnTo>
                    <a:pt x="173" y="119"/>
                  </a:lnTo>
                  <a:lnTo>
                    <a:pt x="175" y="119"/>
                  </a:lnTo>
                  <a:lnTo>
                    <a:pt x="175" y="121"/>
                  </a:lnTo>
                  <a:close/>
                  <a:moveTo>
                    <a:pt x="279" y="202"/>
                  </a:moveTo>
                  <a:lnTo>
                    <a:pt x="279" y="200"/>
                  </a:lnTo>
                  <a:lnTo>
                    <a:pt x="279" y="202"/>
                  </a:lnTo>
                  <a:close/>
                  <a:moveTo>
                    <a:pt x="229" y="175"/>
                  </a:moveTo>
                  <a:lnTo>
                    <a:pt x="231" y="175"/>
                  </a:lnTo>
                  <a:lnTo>
                    <a:pt x="229" y="175"/>
                  </a:lnTo>
                  <a:close/>
                  <a:moveTo>
                    <a:pt x="428" y="225"/>
                  </a:moveTo>
                  <a:lnTo>
                    <a:pt x="430" y="225"/>
                  </a:lnTo>
                  <a:lnTo>
                    <a:pt x="428" y="225"/>
                  </a:lnTo>
                  <a:close/>
                  <a:moveTo>
                    <a:pt x="405" y="231"/>
                  </a:moveTo>
                  <a:lnTo>
                    <a:pt x="405" y="229"/>
                  </a:lnTo>
                  <a:lnTo>
                    <a:pt x="405" y="231"/>
                  </a:lnTo>
                  <a:close/>
                  <a:moveTo>
                    <a:pt x="538" y="327"/>
                  </a:moveTo>
                  <a:lnTo>
                    <a:pt x="536" y="327"/>
                  </a:lnTo>
                  <a:lnTo>
                    <a:pt x="538" y="327"/>
                  </a:lnTo>
                  <a:close/>
                  <a:moveTo>
                    <a:pt x="697" y="436"/>
                  </a:moveTo>
                  <a:lnTo>
                    <a:pt x="695" y="436"/>
                  </a:lnTo>
                  <a:lnTo>
                    <a:pt x="697" y="436"/>
                  </a:lnTo>
                  <a:close/>
                  <a:moveTo>
                    <a:pt x="288" y="208"/>
                  </a:moveTo>
                  <a:lnTo>
                    <a:pt x="288" y="206"/>
                  </a:lnTo>
                  <a:lnTo>
                    <a:pt x="290" y="206"/>
                  </a:lnTo>
                  <a:lnTo>
                    <a:pt x="290" y="208"/>
                  </a:lnTo>
                  <a:lnTo>
                    <a:pt x="288" y="208"/>
                  </a:lnTo>
                  <a:close/>
                  <a:moveTo>
                    <a:pt x="640" y="419"/>
                  </a:moveTo>
                  <a:lnTo>
                    <a:pt x="640" y="421"/>
                  </a:lnTo>
                  <a:lnTo>
                    <a:pt x="640" y="419"/>
                  </a:lnTo>
                  <a:close/>
                  <a:moveTo>
                    <a:pt x="732" y="515"/>
                  </a:moveTo>
                  <a:lnTo>
                    <a:pt x="732" y="513"/>
                  </a:lnTo>
                  <a:lnTo>
                    <a:pt x="732" y="515"/>
                  </a:lnTo>
                  <a:close/>
                  <a:moveTo>
                    <a:pt x="613" y="436"/>
                  </a:moveTo>
                  <a:lnTo>
                    <a:pt x="613" y="438"/>
                  </a:lnTo>
                  <a:lnTo>
                    <a:pt x="613" y="436"/>
                  </a:lnTo>
                  <a:close/>
                  <a:moveTo>
                    <a:pt x="695" y="434"/>
                  </a:moveTo>
                  <a:lnTo>
                    <a:pt x="695" y="436"/>
                  </a:lnTo>
                  <a:lnTo>
                    <a:pt x="695" y="434"/>
                  </a:lnTo>
                  <a:close/>
                  <a:moveTo>
                    <a:pt x="638" y="423"/>
                  </a:moveTo>
                  <a:lnTo>
                    <a:pt x="640" y="423"/>
                  </a:lnTo>
                  <a:lnTo>
                    <a:pt x="638" y="423"/>
                  </a:lnTo>
                  <a:close/>
                  <a:moveTo>
                    <a:pt x="490" y="275"/>
                  </a:moveTo>
                  <a:lnTo>
                    <a:pt x="490" y="277"/>
                  </a:lnTo>
                  <a:lnTo>
                    <a:pt x="490" y="275"/>
                  </a:lnTo>
                  <a:close/>
                  <a:moveTo>
                    <a:pt x="674" y="557"/>
                  </a:moveTo>
                  <a:lnTo>
                    <a:pt x="674" y="559"/>
                  </a:lnTo>
                  <a:lnTo>
                    <a:pt x="674" y="557"/>
                  </a:lnTo>
                  <a:lnTo>
                    <a:pt x="674" y="559"/>
                  </a:lnTo>
                  <a:lnTo>
                    <a:pt x="674" y="557"/>
                  </a:lnTo>
                  <a:close/>
                  <a:moveTo>
                    <a:pt x="257" y="198"/>
                  </a:moveTo>
                  <a:lnTo>
                    <a:pt x="259" y="198"/>
                  </a:lnTo>
                  <a:lnTo>
                    <a:pt x="257" y="198"/>
                  </a:lnTo>
                  <a:close/>
                  <a:moveTo>
                    <a:pt x="259" y="196"/>
                  </a:moveTo>
                  <a:lnTo>
                    <a:pt x="257" y="196"/>
                  </a:lnTo>
                  <a:lnTo>
                    <a:pt x="259" y="196"/>
                  </a:lnTo>
                  <a:close/>
                  <a:moveTo>
                    <a:pt x="175" y="114"/>
                  </a:moveTo>
                  <a:lnTo>
                    <a:pt x="173" y="114"/>
                  </a:lnTo>
                  <a:lnTo>
                    <a:pt x="175" y="114"/>
                  </a:lnTo>
                  <a:lnTo>
                    <a:pt x="175" y="112"/>
                  </a:lnTo>
                  <a:lnTo>
                    <a:pt x="175" y="114"/>
                  </a:lnTo>
                  <a:close/>
                  <a:moveTo>
                    <a:pt x="254" y="194"/>
                  </a:moveTo>
                  <a:lnTo>
                    <a:pt x="252" y="194"/>
                  </a:lnTo>
                  <a:lnTo>
                    <a:pt x="254" y="194"/>
                  </a:lnTo>
                  <a:close/>
                  <a:moveTo>
                    <a:pt x="634" y="423"/>
                  </a:moveTo>
                  <a:lnTo>
                    <a:pt x="632" y="423"/>
                  </a:lnTo>
                  <a:lnTo>
                    <a:pt x="632" y="425"/>
                  </a:lnTo>
                  <a:lnTo>
                    <a:pt x="632" y="423"/>
                  </a:lnTo>
                  <a:lnTo>
                    <a:pt x="632" y="425"/>
                  </a:lnTo>
                  <a:lnTo>
                    <a:pt x="632" y="423"/>
                  </a:lnTo>
                  <a:lnTo>
                    <a:pt x="634" y="423"/>
                  </a:lnTo>
                  <a:lnTo>
                    <a:pt x="632" y="423"/>
                  </a:lnTo>
                  <a:lnTo>
                    <a:pt x="634" y="423"/>
                  </a:lnTo>
                  <a:close/>
                  <a:moveTo>
                    <a:pt x="17" y="10"/>
                  </a:moveTo>
                  <a:lnTo>
                    <a:pt x="17" y="12"/>
                  </a:lnTo>
                  <a:lnTo>
                    <a:pt x="17" y="10"/>
                  </a:lnTo>
                  <a:close/>
                  <a:moveTo>
                    <a:pt x="693" y="434"/>
                  </a:moveTo>
                  <a:lnTo>
                    <a:pt x="691" y="434"/>
                  </a:lnTo>
                  <a:lnTo>
                    <a:pt x="693" y="434"/>
                  </a:lnTo>
                  <a:close/>
                  <a:moveTo>
                    <a:pt x="246" y="196"/>
                  </a:moveTo>
                  <a:lnTo>
                    <a:pt x="244" y="196"/>
                  </a:lnTo>
                  <a:lnTo>
                    <a:pt x="244" y="194"/>
                  </a:lnTo>
                  <a:lnTo>
                    <a:pt x="246" y="194"/>
                  </a:lnTo>
                  <a:lnTo>
                    <a:pt x="246" y="196"/>
                  </a:lnTo>
                  <a:close/>
                  <a:moveTo>
                    <a:pt x="394" y="210"/>
                  </a:moveTo>
                  <a:lnTo>
                    <a:pt x="392" y="210"/>
                  </a:lnTo>
                  <a:lnTo>
                    <a:pt x="394" y="210"/>
                  </a:lnTo>
                  <a:close/>
                  <a:moveTo>
                    <a:pt x="279" y="212"/>
                  </a:moveTo>
                  <a:lnTo>
                    <a:pt x="279" y="210"/>
                  </a:lnTo>
                  <a:lnTo>
                    <a:pt x="279" y="212"/>
                  </a:lnTo>
                  <a:close/>
                  <a:moveTo>
                    <a:pt x="402" y="204"/>
                  </a:moveTo>
                  <a:lnTo>
                    <a:pt x="402" y="206"/>
                  </a:lnTo>
                  <a:lnTo>
                    <a:pt x="402" y="204"/>
                  </a:lnTo>
                  <a:close/>
                  <a:moveTo>
                    <a:pt x="227" y="185"/>
                  </a:moveTo>
                  <a:lnTo>
                    <a:pt x="227" y="183"/>
                  </a:lnTo>
                  <a:lnTo>
                    <a:pt x="229" y="183"/>
                  </a:lnTo>
                  <a:lnTo>
                    <a:pt x="227" y="185"/>
                  </a:lnTo>
                  <a:close/>
                  <a:moveTo>
                    <a:pt x="718" y="505"/>
                  </a:moveTo>
                  <a:lnTo>
                    <a:pt x="718" y="507"/>
                  </a:lnTo>
                  <a:lnTo>
                    <a:pt x="718" y="505"/>
                  </a:lnTo>
                  <a:close/>
                  <a:moveTo>
                    <a:pt x="152" y="114"/>
                  </a:moveTo>
                  <a:lnTo>
                    <a:pt x="150" y="114"/>
                  </a:lnTo>
                  <a:lnTo>
                    <a:pt x="152" y="114"/>
                  </a:lnTo>
                  <a:close/>
                  <a:moveTo>
                    <a:pt x="492" y="277"/>
                  </a:moveTo>
                  <a:lnTo>
                    <a:pt x="494" y="277"/>
                  </a:lnTo>
                  <a:lnTo>
                    <a:pt x="492" y="277"/>
                  </a:lnTo>
                  <a:close/>
                  <a:moveTo>
                    <a:pt x="638" y="425"/>
                  </a:moveTo>
                  <a:lnTo>
                    <a:pt x="638" y="427"/>
                  </a:lnTo>
                  <a:lnTo>
                    <a:pt x="638" y="425"/>
                  </a:lnTo>
                  <a:close/>
                  <a:moveTo>
                    <a:pt x="273" y="204"/>
                  </a:moveTo>
                  <a:lnTo>
                    <a:pt x="273" y="206"/>
                  </a:lnTo>
                  <a:lnTo>
                    <a:pt x="273" y="204"/>
                  </a:lnTo>
                  <a:close/>
                  <a:moveTo>
                    <a:pt x="713" y="532"/>
                  </a:moveTo>
                  <a:lnTo>
                    <a:pt x="715" y="532"/>
                  </a:lnTo>
                  <a:lnTo>
                    <a:pt x="713" y="532"/>
                  </a:lnTo>
                  <a:lnTo>
                    <a:pt x="713" y="530"/>
                  </a:lnTo>
                  <a:lnTo>
                    <a:pt x="713" y="532"/>
                  </a:lnTo>
                  <a:close/>
                  <a:moveTo>
                    <a:pt x="10" y="4"/>
                  </a:moveTo>
                  <a:lnTo>
                    <a:pt x="10" y="2"/>
                  </a:lnTo>
                  <a:lnTo>
                    <a:pt x="10" y="4"/>
                  </a:lnTo>
                  <a:close/>
                  <a:moveTo>
                    <a:pt x="200" y="169"/>
                  </a:moveTo>
                  <a:lnTo>
                    <a:pt x="202" y="169"/>
                  </a:lnTo>
                  <a:lnTo>
                    <a:pt x="200" y="169"/>
                  </a:lnTo>
                  <a:close/>
                  <a:moveTo>
                    <a:pt x="691" y="423"/>
                  </a:moveTo>
                  <a:lnTo>
                    <a:pt x="691" y="425"/>
                  </a:lnTo>
                  <a:lnTo>
                    <a:pt x="691" y="423"/>
                  </a:lnTo>
                  <a:close/>
                  <a:moveTo>
                    <a:pt x="208" y="165"/>
                  </a:moveTo>
                  <a:lnTo>
                    <a:pt x="209" y="165"/>
                  </a:lnTo>
                  <a:lnTo>
                    <a:pt x="208" y="165"/>
                  </a:lnTo>
                  <a:close/>
                  <a:moveTo>
                    <a:pt x="405" y="225"/>
                  </a:moveTo>
                  <a:lnTo>
                    <a:pt x="403" y="225"/>
                  </a:lnTo>
                  <a:lnTo>
                    <a:pt x="405" y="225"/>
                  </a:lnTo>
                  <a:close/>
                  <a:moveTo>
                    <a:pt x="217" y="169"/>
                  </a:moveTo>
                  <a:lnTo>
                    <a:pt x="217" y="171"/>
                  </a:lnTo>
                  <a:lnTo>
                    <a:pt x="217" y="169"/>
                  </a:lnTo>
                  <a:close/>
                  <a:moveTo>
                    <a:pt x="605" y="438"/>
                  </a:moveTo>
                  <a:lnTo>
                    <a:pt x="607" y="438"/>
                  </a:lnTo>
                  <a:lnTo>
                    <a:pt x="605" y="438"/>
                  </a:lnTo>
                  <a:lnTo>
                    <a:pt x="607" y="438"/>
                  </a:lnTo>
                  <a:lnTo>
                    <a:pt x="605" y="438"/>
                  </a:lnTo>
                  <a:close/>
                  <a:moveTo>
                    <a:pt x="215" y="188"/>
                  </a:moveTo>
                  <a:lnTo>
                    <a:pt x="217" y="188"/>
                  </a:lnTo>
                  <a:lnTo>
                    <a:pt x="215" y="188"/>
                  </a:lnTo>
                  <a:close/>
                  <a:moveTo>
                    <a:pt x="786" y="490"/>
                  </a:moveTo>
                  <a:lnTo>
                    <a:pt x="786" y="492"/>
                  </a:lnTo>
                  <a:lnTo>
                    <a:pt x="787" y="492"/>
                  </a:lnTo>
                  <a:lnTo>
                    <a:pt x="786" y="492"/>
                  </a:lnTo>
                  <a:lnTo>
                    <a:pt x="787" y="492"/>
                  </a:lnTo>
                  <a:lnTo>
                    <a:pt x="786" y="492"/>
                  </a:lnTo>
                  <a:lnTo>
                    <a:pt x="787" y="492"/>
                  </a:lnTo>
                  <a:lnTo>
                    <a:pt x="786" y="492"/>
                  </a:lnTo>
                  <a:lnTo>
                    <a:pt x="786" y="490"/>
                  </a:lnTo>
                  <a:close/>
                  <a:moveTo>
                    <a:pt x="739" y="511"/>
                  </a:moveTo>
                  <a:lnTo>
                    <a:pt x="739" y="513"/>
                  </a:lnTo>
                  <a:lnTo>
                    <a:pt x="738" y="513"/>
                  </a:lnTo>
                  <a:lnTo>
                    <a:pt x="739" y="513"/>
                  </a:lnTo>
                  <a:lnTo>
                    <a:pt x="739" y="511"/>
                  </a:lnTo>
                  <a:close/>
                  <a:moveTo>
                    <a:pt x="325" y="304"/>
                  </a:moveTo>
                  <a:lnTo>
                    <a:pt x="325" y="302"/>
                  </a:lnTo>
                  <a:lnTo>
                    <a:pt x="325" y="304"/>
                  </a:lnTo>
                  <a:close/>
                  <a:moveTo>
                    <a:pt x="194" y="167"/>
                  </a:moveTo>
                  <a:lnTo>
                    <a:pt x="194" y="169"/>
                  </a:lnTo>
                  <a:lnTo>
                    <a:pt x="194" y="167"/>
                  </a:lnTo>
                  <a:close/>
                  <a:moveTo>
                    <a:pt x="638" y="423"/>
                  </a:moveTo>
                  <a:lnTo>
                    <a:pt x="640" y="423"/>
                  </a:lnTo>
                  <a:lnTo>
                    <a:pt x="638" y="423"/>
                  </a:lnTo>
                  <a:close/>
                  <a:moveTo>
                    <a:pt x="438" y="238"/>
                  </a:moveTo>
                  <a:lnTo>
                    <a:pt x="440" y="236"/>
                  </a:lnTo>
                  <a:lnTo>
                    <a:pt x="440" y="238"/>
                  </a:lnTo>
                  <a:lnTo>
                    <a:pt x="438" y="238"/>
                  </a:lnTo>
                  <a:close/>
                  <a:moveTo>
                    <a:pt x="281" y="210"/>
                  </a:moveTo>
                  <a:lnTo>
                    <a:pt x="281" y="212"/>
                  </a:lnTo>
                  <a:lnTo>
                    <a:pt x="281" y="210"/>
                  </a:lnTo>
                  <a:close/>
                  <a:moveTo>
                    <a:pt x="432" y="235"/>
                  </a:moveTo>
                  <a:lnTo>
                    <a:pt x="432" y="236"/>
                  </a:lnTo>
                  <a:lnTo>
                    <a:pt x="432" y="235"/>
                  </a:lnTo>
                  <a:close/>
                  <a:moveTo>
                    <a:pt x="695" y="425"/>
                  </a:moveTo>
                  <a:lnTo>
                    <a:pt x="695" y="427"/>
                  </a:lnTo>
                  <a:lnTo>
                    <a:pt x="693" y="427"/>
                  </a:lnTo>
                  <a:lnTo>
                    <a:pt x="695" y="427"/>
                  </a:lnTo>
                  <a:lnTo>
                    <a:pt x="695" y="425"/>
                  </a:lnTo>
                  <a:close/>
                  <a:moveTo>
                    <a:pt x="638" y="409"/>
                  </a:moveTo>
                  <a:lnTo>
                    <a:pt x="638" y="411"/>
                  </a:lnTo>
                  <a:lnTo>
                    <a:pt x="638" y="409"/>
                  </a:lnTo>
                  <a:close/>
                  <a:moveTo>
                    <a:pt x="678" y="551"/>
                  </a:moveTo>
                  <a:lnTo>
                    <a:pt x="678" y="553"/>
                  </a:lnTo>
                  <a:lnTo>
                    <a:pt x="678" y="551"/>
                  </a:lnTo>
                  <a:close/>
                  <a:moveTo>
                    <a:pt x="636" y="415"/>
                  </a:moveTo>
                  <a:lnTo>
                    <a:pt x="636" y="417"/>
                  </a:lnTo>
                  <a:lnTo>
                    <a:pt x="636" y="415"/>
                  </a:lnTo>
                  <a:close/>
                  <a:moveTo>
                    <a:pt x="549" y="617"/>
                  </a:moveTo>
                  <a:lnTo>
                    <a:pt x="549" y="619"/>
                  </a:lnTo>
                  <a:lnTo>
                    <a:pt x="549" y="617"/>
                  </a:lnTo>
                  <a:lnTo>
                    <a:pt x="549" y="619"/>
                  </a:lnTo>
                  <a:lnTo>
                    <a:pt x="549" y="617"/>
                  </a:lnTo>
                  <a:close/>
                  <a:moveTo>
                    <a:pt x="647" y="411"/>
                  </a:moveTo>
                  <a:lnTo>
                    <a:pt x="649" y="411"/>
                  </a:lnTo>
                  <a:lnTo>
                    <a:pt x="649" y="413"/>
                  </a:lnTo>
                  <a:lnTo>
                    <a:pt x="647" y="413"/>
                  </a:lnTo>
                  <a:lnTo>
                    <a:pt x="647" y="411"/>
                  </a:lnTo>
                  <a:close/>
                  <a:moveTo>
                    <a:pt x="256" y="202"/>
                  </a:moveTo>
                  <a:lnTo>
                    <a:pt x="257" y="202"/>
                  </a:lnTo>
                  <a:lnTo>
                    <a:pt x="257" y="204"/>
                  </a:lnTo>
                  <a:lnTo>
                    <a:pt x="256" y="204"/>
                  </a:lnTo>
                  <a:lnTo>
                    <a:pt x="256" y="202"/>
                  </a:lnTo>
                  <a:close/>
                  <a:moveTo>
                    <a:pt x="517" y="315"/>
                  </a:moveTo>
                  <a:lnTo>
                    <a:pt x="517" y="313"/>
                  </a:lnTo>
                  <a:lnTo>
                    <a:pt x="517" y="315"/>
                  </a:lnTo>
                  <a:close/>
                  <a:moveTo>
                    <a:pt x="288" y="206"/>
                  </a:moveTo>
                  <a:lnTo>
                    <a:pt x="288" y="204"/>
                  </a:lnTo>
                  <a:lnTo>
                    <a:pt x="288" y="206"/>
                  </a:lnTo>
                  <a:close/>
                  <a:moveTo>
                    <a:pt x="29" y="21"/>
                  </a:moveTo>
                  <a:lnTo>
                    <a:pt x="27" y="21"/>
                  </a:lnTo>
                  <a:lnTo>
                    <a:pt x="29" y="21"/>
                  </a:lnTo>
                  <a:close/>
                  <a:moveTo>
                    <a:pt x="461" y="235"/>
                  </a:moveTo>
                  <a:lnTo>
                    <a:pt x="461" y="236"/>
                  </a:lnTo>
                  <a:lnTo>
                    <a:pt x="461" y="235"/>
                  </a:lnTo>
                  <a:lnTo>
                    <a:pt x="463" y="235"/>
                  </a:lnTo>
                  <a:lnTo>
                    <a:pt x="461" y="235"/>
                  </a:lnTo>
                  <a:close/>
                  <a:moveTo>
                    <a:pt x="208" y="185"/>
                  </a:moveTo>
                  <a:lnTo>
                    <a:pt x="208" y="183"/>
                  </a:lnTo>
                  <a:lnTo>
                    <a:pt x="208" y="185"/>
                  </a:lnTo>
                  <a:lnTo>
                    <a:pt x="206" y="185"/>
                  </a:lnTo>
                  <a:lnTo>
                    <a:pt x="208" y="185"/>
                  </a:lnTo>
                  <a:close/>
                  <a:moveTo>
                    <a:pt x="478" y="246"/>
                  </a:moveTo>
                  <a:lnTo>
                    <a:pt x="480" y="246"/>
                  </a:lnTo>
                  <a:lnTo>
                    <a:pt x="478" y="246"/>
                  </a:lnTo>
                  <a:close/>
                  <a:moveTo>
                    <a:pt x="499" y="283"/>
                  </a:moveTo>
                  <a:lnTo>
                    <a:pt x="501" y="283"/>
                  </a:lnTo>
                  <a:lnTo>
                    <a:pt x="499" y="283"/>
                  </a:lnTo>
                  <a:close/>
                  <a:moveTo>
                    <a:pt x="709" y="540"/>
                  </a:moveTo>
                  <a:lnTo>
                    <a:pt x="709" y="538"/>
                  </a:lnTo>
                  <a:lnTo>
                    <a:pt x="709" y="540"/>
                  </a:lnTo>
                  <a:close/>
                  <a:moveTo>
                    <a:pt x="488" y="275"/>
                  </a:moveTo>
                  <a:lnTo>
                    <a:pt x="486" y="275"/>
                  </a:lnTo>
                  <a:lnTo>
                    <a:pt x="488" y="275"/>
                  </a:lnTo>
                  <a:close/>
                  <a:moveTo>
                    <a:pt x="496" y="288"/>
                  </a:moveTo>
                  <a:lnTo>
                    <a:pt x="494" y="288"/>
                  </a:lnTo>
                  <a:lnTo>
                    <a:pt x="496" y="288"/>
                  </a:lnTo>
                  <a:close/>
                  <a:moveTo>
                    <a:pt x="705" y="440"/>
                  </a:moveTo>
                  <a:lnTo>
                    <a:pt x="707" y="440"/>
                  </a:lnTo>
                  <a:lnTo>
                    <a:pt x="705" y="440"/>
                  </a:lnTo>
                  <a:close/>
                  <a:moveTo>
                    <a:pt x="392" y="206"/>
                  </a:moveTo>
                  <a:lnTo>
                    <a:pt x="392" y="204"/>
                  </a:lnTo>
                  <a:lnTo>
                    <a:pt x="392" y="206"/>
                  </a:lnTo>
                  <a:close/>
                  <a:moveTo>
                    <a:pt x="494" y="273"/>
                  </a:moveTo>
                  <a:lnTo>
                    <a:pt x="494" y="275"/>
                  </a:lnTo>
                  <a:lnTo>
                    <a:pt x="494" y="273"/>
                  </a:lnTo>
                  <a:close/>
                  <a:moveTo>
                    <a:pt x="163" y="116"/>
                  </a:moveTo>
                  <a:lnTo>
                    <a:pt x="165" y="116"/>
                  </a:lnTo>
                  <a:lnTo>
                    <a:pt x="163" y="116"/>
                  </a:lnTo>
                  <a:close/>
                  <a:moveTo>
                    <a:pt x="695" y="526"/>
                  </a:moveTo>
                  <a:lnTo>
                    <a:pt x="695" y="528"/>
                  </a:lnTo>
                  <a:lnTo>
                    <a:pt x="695" y="526"/>
                  </a:lnTo>
                  <a:close/>
                  <a:moveTo>
                    <a:pt x="517" y="302"/>
                  </a:moveTo>
                  <a:lnTo>
                    <a:pt x="517" y="300"/>
                  </a:lnTo>
                  <a:lnTo>
                    <a:pt x="517" y="302"/>
                  </a:lnTo>
                  <a:close/>
                  <a:moveTo>
                    <a:pt x="707" y="438"/>
                  </a:moveTo>
                  <a:lnTo>
                    <a:pt x="707" y="440"/>
                  </a:lnTo>
                  <a:lnTo>
                    <a:pt x="707" y="438"/>
                  </a:lnTo>
                  <a:close/>
                  <a:moveTo>
                    <a:pt x="638" y="423"/>
                  </a:moveTo>
                  <a:lnTo>
                    <a:pt x="638" y="425"/>
                  </a:lnTo>
                  <a:lnTo>
                    <a:pt x="638" y="423"/>
                  </a:lnTo>
                  <a:close/>
                  <a:moveTo>
                    <a:pt x="499" y="281"/>
                  </a:moveTo>
                  <a:lnTo>
                    <a:pt x="498" y="281"/>
                  </a:lnTo>
                  <a:lnTo>
                    <a:pt x="499" y="281"/>
                  </a:lnTo>
                  <a:close/>
                  <a:moveTo>
                    <a:pt x="208" y="164"/>
                  </a:moveTo>
                  <a:lnTo>
                    <a:pt x="209" y="164"/>
                  </a:lnTo>
                  <a:lnTo>
                    <a:pt x="208" y="164"/>
                  </a:lnTo>
                  <a:close/>
                  <a:moveTo>
                    <a:pt x="594" y="588"/>
                  </a:moveTo>
                  <a:lnTo>
                    <a:pt x="594" y="586"/>
                  </a:lnTo>
                  <a:lnTo>
                    <a:pt x="594" y="588"/>
                  </a:lnTo>
                  <a:close/>
                  <a:moveTo>
                    <a:pt x="446" y="235"/>
                  </a:moveTo>
                  <a:lnTo>
                    <a:pt x="448" y="235"/>
                  </a:lnTo>
                  <a:lnTo>
                    <a:pt x="446" y="236"/>
                  </a:lnTo>
                  <a:lnTo>
                    <a:pt x="446" y="235"/>
                  </a:lnTo>
                  <a:close/>
                  <a:moveTo>
                    <a:pt x="657" y="413"/>
                  </a:moveTo>
                  <a:lnTo>
                    <a:pt x="657" y="411"/>
                  </a:lnTo>
                  <a:lnTo>
                    <a:pt x="657" y="413"/>
                  </a:lnTo>
                  <a:close/>
                  <a:moveTo>
                    <a:pt x="194" y="185"/>
                  </a:moveTo>
                  <a:lnTo>
                    <a:pt x="194" y="187"/>
                  </a:lnTo>
                  <a:lnTo>
                    <a:pt x="194" y="185"/>
                  </a:lnTo>
                  <a:close/>
                  <a:moveTo>
                    <a:pt x="96" y="87"/>
                  </a:moveTo>
                  <a:lnTo>
                    <a:pt x="96" y="89"/>
                  </a:lnTo>
                  <a:lnTo>
                    <a:pt x="96" y="87"/>
                  </a:lnTo>
                  <a:close/>
                  <a:moveTo>
                    <a:pt x="722" y="507"/>
                  </a:moveTo>
                  <a:lnTo>
                    <a:pt x="724" y="507"/>
                  </a:lnTo>
                  <a:lnTo>
                    <a:pt x="724" y="509"/>
                  </a:lnTo>
                  <a:lnTo>
                    <a:pt x="722" y="509"/>
                  </a:lnTo>
                  <a:lnTo>
                    <a:pt x="724" y="509"/>
                  </a:lnTo>
                  <a:lnTo>
                    <a:pt x="722" y="509"/>
                  </a:lnTo>
                  <a:lnTo>
                    <a:pt x="724" y="507"/>
                  </a:lnTo>
                  <a:lnTo>
                    <a:pt x="722" y="507"/>
                  </a:lnTo>
                  <a:lnTo>
                    <a:pt x="722" y="509"/>
                  </a:lnTo>
                  <a:lnTo>
                    <a:pt x="722" y="507"/>
                  </a:lnTo>
                  <a:close/>
                  <a:moveTo>
                    <a:pt x="461" y="238"/>
                  </a:moveTo>
                  <a:lnTo>
                    <a:pt x="463" y="238"/>
                  </a:lnTo>
                  <a:lnTo>
                    <a:pt x="461" y="240"/>
                  </a:lnTo>
                  <a:lnTo>
                    <a:pt x="461" y="238"/>
                  </a:lnTo>
                  <a:close/>
                  <a:moveTo>
                    <a:pt x="271" y="213"/>
                  </a:moveTo>
                  <a:lnTo>
                    <a:pt x="269" y="213"/>
                  </a:lnTo>
                  <a:lnTo>
                    <a:pt x="271" y="213"/>
                  </a:lnTo>
                  <a:close/>
                  <a:moveTo>
                    <a:pt x="509" y="569"/>
                  </a:moveTo>
                  <a:lnTo>
                    <a:pt x="511" y="569"/>
                  </a:lnTo>
                  <a:lnTo>
                    <a:pt x="509" y="569"/>
                  </a:lnTo>
                  <a:close/>
                  <a:moveTo>
                    <a:pt x="215" y="179"/>
                  </a:moveTo>
                  <a:lnTo>
                    <a:pt x="217" y="179"/>
                  </a:lnTo>
                  <a:lnTo>
                    <a:pt x="215" y="179"/>
                  </a:lnTo>
                  <a:close/>
                  <a:moveTo>
                    <a:pt x="492" y="283"/>
                  </a:moveTo>
                  <a:lnTo>
                    <a:pt x="490" y="283"/>
                  </a:lnTo>
                  <a:lnTo>
                    <a:pt x="492" y="283"/>
                  </a:lnTo>
                  <a:close/>
                  <a:moveTo>
                    <a:pt x="486" y="265"/>
                  </a:moveTo>
                  <a:lnTo>
                    <a:pt x="486" y="263"/>
                  </a:lnTo>
                  <a:lnTo>
                    <a:pt x="486" y="265"/>
                  </a:lnTo>
                  <a:close/>
                  <a:moveTo>
                    <a:pt x="198" y="156"/>
                  </a:moveTo>
                  <a:lnTo>
                    <a:pt x="200" y="156"/>
                  </a:lnTo>
                  <a:lnTo>
                    <a:pt x="198" y="156"/>
                  </a:lnTo>
                  <a:close/>
                  <a:moveTo>
                    <a:pt x="665" y="402"/>
                  </a:moveTo>
                  <a:lnTo>
                    <a:pt x="665" y="400"/>
                  </a:lnTo>
                  <a:lnTo>
                    <a:pt x="665" y="402"/>
                  </a:lnTo>
                  <a:close/>
                  <a:moveTo>
                    <a:pt x="273" y="221"/>
                  </a:moveTo>
                  <a:lnTo>
                    <a:pt x="273" y="223"/>
                  </a:lnTo>
                  <a:lnTo>
                    <a:pt x="273" y="221"/>
                  </a:lnTo>
                  <a:close/>
                  <a:moveTo>
                    <a:pt x="304" y="208"/>
                  </a:moveTo>
                  <a:lnTo>
                    <a:pt x="304" y="210"/>
                  </a:lnTo>
                  <a:lnTo>
                    <a:pt x="304" y="208"/>
                  </a:lnTo>
                  <a:close/>
                  <a:moveTo>
                    <a:pt x="275" y="210"/>
                  </a:moveTo>
                  <a:lnTo>
                    <a:pt x="277" y="210"/>
                  </a:lnTo>
                  <a:lnTo>
                    <a:pt x="275" y="210"/>
                  </a:lnTo>
                  <a:close/>
                  <a:moveTo>
                    <a:pt x="21" y="18"/>
                  </a:moveTo>
                  <a:lnTo>
                    <a:pt x="21" y="16"/>
                  </a:lnTo>
                  <a:lnTo>
                    <a:pt x="21" y="18"/>
                  </a:lnTo>
                  <a:close/>
                  <a:moveTo>
                    <a:pt x="204" y="167"/>
                  </a:moveTo>
                  <a:lnTo>
                    <a:pt x="204" y="165"/>
                  </a:lnTo>
                  <a:lnTo>
                    <a:pt x="204" y="167"/>
                  </a:lnTo>
                  <a:close/>
                  <a:moveTo>
                    <a:pt x="355" y="271"/>
                  </a:moveTo>
                  <a:lnTo>
                    <a:pt x="357" y="271"/>
                  </a:lnTo>
                  <a:lnTo>
                    <a:pt x="355" y="271"/>
                  </a:lnTo>
                  <a:close/>
                  <a:moveTo>
                    <a:pt x="522" y="513"/>
                  </a:moveTo>
                  <a:lnTo>
                    <a:pt x="521" y="513"/>
                  </a:lnTo>
                  <a:lnTo>
                    <a:pt x="522" y="513"/>
                  </a:lnTo>
                  <a:close/>
                  <a:moveTo>
                    <a:pt x="474" y="242"/>
                  </a:moveTo>
                  <a:lnTo>
                    <a:pt x="474" y="240"/>
                  </a:lnTo>
                  <a:lnTo>
                    <a:pt x="474" y="242"/>
                  </a:lnTo>
                  <a:close/>
                  <a:moveTo>
                    <a:pt x="663" y="400"/>
                  </a:moveTo>
                  <a:lnTo>
                    <a:pt x="663" y="402"/>
                  </a:lnTo>
                  <a:lnTo>
                    <a:pt x="663" y="400"/>
                  </a:lnTo>
                  <a:close/>
                  <a:moveTo>
                    <a:pt x="551" y="357"/>
                  </a:moveTo>
                  <a:lnTo>
                    <a:pt x="549" y="357"/>
                  </a:lnTo>
                  <a:lnTo>
                    <a:pt x="551" y="357"/>
                  </a:lnTo>
                  <a:close/>
                  <a:moveTo>
                    <a:pt x="563" y="452"/>
                  </a:moveTo>
                  <a:lnTo>
                    <a:pt x="561" y="452"/>
                  </a:lnTo>
                  <a:lnTo>
                    <a:pt x="563" y="452"/>
                  </a:lnTo>
                  <a:lnTo>
                    <a:pt x="561" y="452"/>
                  </a:lnTo>
                  <a:lnTo>
                    <a:pt x="563" y="452"/>
                  </a:lnTo>
                  <a:close/>
                  <a:moveTo>
                    <a:pt x="384" y="204"/>
                  </a:moveTo>
                  <a:lnTo>
                    <a:pt x="386" y="204"/>
                  </a:lnTo>
                  <a:lnTo>
                    <a:pt x="384" y="204"/>
                  </a:lnTo>
                  <a:close/>
                  <a:moveTo>
                    <a:pt x="691" y="588"/>
                  </a:moveTo>
                  <a:lnTo>
                    <a:pt x="691" y="586"/>
                  </a:lnTo>
                  <a:lnTo>
                    <a:pt x="691" y="588"/>
                  </a:lnTo>
                  <a:close/>
                  <a:moveTo>
                    <a:pt x="490" y="275"/>
                  </a:moveTo>
                  <a:lnTo>
                    <a:pt x="492" y="275"/>
                  </a:lnTo>
                  <a:lnTo>
                    <a:pt x="492" y="277"/>
                  </a:lnTo>
                  <a:lnTo>
                    <a:pt x="490" y="275"/>
                  </a:lnTo>
                  <a:close/>
                  <a:moveTo>
                    <a:pt x="718" y="503"/>
                  </a:moveTo>
                  <a:lnTo>
                    <a:pt x="720" y="503"/>
                  </a:lnTo>
                  <a:lnTo>
                    <a:pt x="718" y="503"/>
                  </a:lnTo>
                  <a:close/>
                  <a:moveTo>
                    <a:pt x="188" y="142"/>
                  </a:moveTo>
                  <a:lnTo>
                    <a:pt x="188" y="144"/>
                  </a:lnTo>
                  <a:lnTo>
                    <a:pt x="188" y="142"/>
                  </a:lnTo>
                  <a:close/>
                  <a:moveTo>
                    <a:pt x="217" y="183"/>
                  </a:moveTo>
                  <a:lnTo>
                    <a:pt x="217" y="181"/>
                  </a:lnTo>
                  <a:lnTo>
                    <a:pt x="217" y="183"/>
                  </a:lnTo>
                  <a:close/>
                  <a:moveTo>
                    <a:pt x="206" y="181"/>
                  </a:moveTo>
                  <a:lnTo>
                    <a:pt x="206" y="179"/>
                  </a:lnTo>
                  <a:lnTo>
                    <a:pt x="206" y="181"/>
                  </a:lnTo>
                  <a:close/>
                  <a:moveTo>
                    <a:pt x="601" y="588"/>
                  </a:moveTo>
                  <a:lnTo>
                    <a:pt x="599" y="588"/>
                  </a:lnTo>
                  <a:lnTo>
                    <a:pt x="601" y="588"/>
                  </a:lnTo>
                  <a:close/>
                  <a:moveTo>
                    <a:pt x="334" y="212"/>
                  </a:moveTo>
                  <a:lnTo>
                    <a:pt x="334" y="213"/>
                  </a:lnTo>
                  <a:lnTo>
                    <a:pt x="334" y="212"/>
                  </a:lnTo>
                  <a:close/>
                  <a:moveTo>
                    <a:pt x="695" y="425"/>
                  </a:moveTo>
                  <a:lnTo>
                    <a:pt x="695" y="427"/>
                  </a:lnTo>
                  <a:lnTo>
                    <a:pt x="695" y="425"/>
                  </a:lnTo>
                  <a:close/>
                  <a:moveTo>
                    <a:pt x="198" y="154"/>
                  </a:moveTo>
                  <a:lnTo>
                    <a:pt x="198" y="152"/>
                  </a:lnTo>
                  <a:lnTo>
                    <a:pt x="198" y="154"/>
                  </a:lnTo>
                  <a:close/>
                  <a:moveTo>
                    <a:pt x="636" y="427"/>
                  </a:moveTo>
                  <a:lnTo>
                    <a:pt x="634" y="427"/>
                  </a:lnTo>
                  <a:lnTo>
                    <a:pt x="636" y="427"/>
                  </a:lnTo>
                  <a:close/>
                  <a:moveTo>
                    <a:pt x="638" y="407"/>
                  </a:moveTo>
                  <a:lnTo>
                    <a:pt x="638" y="409"/>
                  </a:lnTo>
                  <a:lnTo>
                    <a:pt x="638" y="407"/>
                  </a:lnTo>
                  <a:close/>
                  <a:moveTo>
                    <a:pt x="547" y="352"/>
                  </a:moveTo>
                  <a:lnTo>
                    <a:pt x="547" y="350"/>
                  </a:lnTo>
                  <a:lnTo>
                    <a:pt x="547" y="352"/>
                  </a:lnTo>
                  <a:close/>
                  <a:moveTo>
                    <a:pt x="626" y="438"/>
                  </a:moveTo>
                  <a:lnTo>
                    <a:pt x="626" y="436"/>
                  </a:lnTo>
                  <a:lnTo>
                    <a:pt x="626" y="438"/>
                  </a:lnTo>
                  <a:close/>
                  <a:moveTo>
                    <a:pt x="223" y="185"/>
                  </a:moveTo>
                  <a:lnTo>
                    <a:pt x="223" y="187"/>
                  </a:lnTo>
                  <a:lnTo>
                    <a:pt x="223" y="185"/>
                  </a:lnTo>
                  <a:close/>
                  <a:moveTo>
                    <a:pt x="194" y="148"/>
                  </a:moveTo>
                  <a:lnTo>
                    <a:pt x="192" y="148"/>
                  </a:lnTo>
                  <a:lnTo>
                    <a:pt x="194" y="148"/>
                  </a:lnTo>
                  <a:close/>
                  <a:moveTo>
                    <a:pt x="277" y="213"/>
                  </a:moveTo>
                  <a:lnTo>
                    <a:pt x="277" y="212"/>
                  </a:lnTo>
                  <a:lnTo>
                    <a:pt x="277" y="213"/>
                  </a:lnTo>
                  <a:close/>
                  <a:moveTo>
                    <a:pt x="697" y="440"/>
                  </a:moveTo>
                  <a:lnTo>
                    <a:pt x="699" y="440"/>
                  </a:lnTo>
                  <a:lnTo>
                    <a:pt x="697" y="440"/>
                  </a:lnTo>
                  <a:close/>
                  <a:moveTo>
                    <a:pt x="542" y="354"/>
                  </a:moveTo>
                  <a:lnTo>
                    <a:pt x="542" y="356"/>
                  </a:lnTo>
                  <a:lnTo>
                    <a:pt x="542" y="354"/>
                  </a:lnTo>
                  <a:close/>
                  <a:moveTo>
                    <a:pt x="221" y="190"/>
                  </a:moveTo>
                  <a:lnTo>
                    <a:pt x="219" y="190"/>
                  </a:lnTo>
                  <a:lnTo>
                    <a:pt x="221" y="190"/>
                  </a:lnTo>
                  <a:close/>
                  <a:moveTo>
                    <a:pt x="292" y="215"/>
                  </a:moveTo>
                  <a:lnTo>
                    <a:pt x="292" y="217"/>
                  </a:lnTo>
                  <a:lnTo>
                    <a:pt x="292" y="215"/>
                  </a:lnTo>
                  <a:close/>
                  <a:moveTo>
                    <a:pt x="17" y="8"/>
                  </a:moveTo>
                  <a:lnTo>
                    <a:pt x="19" y="8"/>
                  </a:lnTo>
                  <a:lnTo>
                    <a:pt x="17" y="8"/>
                  </a:lnTo>
                  <a:close/>
                  <a:moveTo>
                    <a:pt x="724" y="513"/>
                  </a:moveTo>
                  <a:lnTo>
                    <a:pt x="724" y="511"/>
                  </a:lnTo>
                  <a:lnTo>
                    <a:pt x="724" y="513"/>
                  </a:lnTo>
                  <a:close/>
                  <a:moveTo>
                    <a:pt x="707" y="446"/>
                  </a:moveTo>
                  <a:lnTo>
                    <a:pt x="707" y="444"/>
                  </a:lnTo>
                  <a:lnTo>
                    <a:pt x="707" y="446"/>
                  </a:lnTo>
                  <a:close/>
                  <a:moveTo>
                    <a:pt x="211" y="175"/>
                  </a:moveTo>
                  <a:lnTo>
                    <a:pt x="211" y="173"/>
                  </a:lnTo>
                  <a:lnTo>
                    <a:pt x="211" y="175"/>
                  </a:lnTo>
                  <a:close/>
                  <a:moveTo>
                    <a:pt x="142" y="104"/>
                  </a:moveTo>
                  <a:lnTo>
                    <a:pt x="144" y="104"/>
                  </a:lnTo>
                  <a:lnTo>
                    <a:pt x="142" y="104"/>
                  </a:lnTo>
                  <a:close/>
                  <a:moveTo>
                    <a:pt x="709" y="563"/>
                  </a:moveTo>
                  <a:lnTo>
                    <a:pt x="711" y="563"/>
                  </a:lnTo>
                  <a:lnTo>
                    <a:pt x="709" y="563"/>
                  </a:lnTo>
                  <a:close/>
                  <a:moveTo>
                    <a:pt x="590" y="590"/>
                  </a:moveTo>
                  <a:lnTo>
                    <a:pt x="588" y="590"/>
                  </a:lnTo>
                  <a:lnTo>
                    <a:pt x="590" y="590"/>
                  </a:lnTo>
                  <a:close/>
                  <a:moveTo>
                    <a:pt x="599" y="438"/>
                  </a:moveTo>
                  <a:lnTo>
                    <a:pt x="601" y="438"/>
                  </a:lnTo>
                  <a:lnTo>
                    <a:pt x="599" y="438"/>
                  </a:lnTo>
                  <a:close/>
                  <a:moveTo>
                    <a:pt x="695" y="436"/>
                  </a:moveTo>
                  <a:lnTo>
                    <a:pt x="693" y="436"/>
                  </a:lnTo>
                  <a:lnTo>
                    <a:pt x="695" y="436"/>
                  </a:lnTo>
                  <a:close/>
                  <a:moveTo>
                    <a:pt x="699" y="428"/>
                  </a:moveTo>
                  <a:lnTo>
                    <a:pt x="701" y="428"/>
                  </a:lnTo>
                  <a:lnTo>
                    <a:pt x="699" y="428"/>
                  </a:lnTo>
                  <a:close/>
                  <a:moveTo>
                    <a:pt x="709" y="540"/>
                  </a:moveTo>
                  <a:lnTo>
                    <a:pt x="709" y="538"/>
                  </a:lnTo>
                  <a:lnTo>
                    <a:pt x="709" y="540"/>
                  </a:lnTo>
                  <a:close/>
                  <a:moveTo>
                    <a:pt x="695" y="409"/>
                  </a:moveTo>
                  <a:lnTo>
                    <a:pt x="695" y="411"/>
                  </a:lnTo>
                  <a:lnTo>
                    <a:pt x="693" y="411"/>
                  </a:lnTo>
                  <a:lnTo>
                    <a:pt x="695" y="411"/>
                  </a:lnTo>
                  <a:lnTo>
                    <a:pt x="695" y="409"/>
                  </a:lnTo>
                  <a:close/>
                  <a:moveTo>
                    <a:pt x="601" y="432"/>
                  </a:moveTo>
                  <a:lnTo>
                    <a:pt x="601" y="434"/>
                  </a:lnTo>
                  <a:lnTo>
                    <a:pt x="601" y="432"/>
                  </a:lnTo>
                  <a:close/>
                  <a:moveTo>
                    <a:pt x="703" y="434"/>
                  </a:moveTo>
                  <a:lnTo>
                    <a:pt x="701" y="434"/>
                  </a:lnTo>
                  <a:lnTo>
                    <a:pt x="703" y="434"/>
                  </a:lnTo>
                  <a:close/>
                  <a:moveTo>
                    <a:pt x="327" y="302"/>
                  </a:moveTo>
                  <a:lnTo>
                    <a:pt x="325" y="302"/>
                  </a:lnTo>
                  <a:lnTo>
                    <a:pt x="327" y="302"/>
                  </a:lnTo>
                  <a:close/>
                  <a:moveTo>
                    <a:pt x="722" y="521"/>
                  </a:moveTo>
                  <a:lnTo>
                    <a:pt x="722" y="519"/>
                  </a:lnTo>
                  <a:lnTo>
                    <a:pt x="722" y="521"/>
                  </a:lnTo>
                  <a:close/>
                  <a:moveTo>
                    <a:pt x="599" y="586"/>
                  </a:moveTo>
                  <a:lnTo>
                    <a:pt x="599" y="588"/>
                  </a:lnTo>
                  <a:lnTo>
                    <a:pt x="599" y="586"/>
                  </a:lnTo>
                  <a:close/>
                  <a:moveTo>
                    <a:pt x="419" y="238"/>
                  </a:moveTo>
                  <a:lnTo>
                    <a:pt x="419" y="236"/>
                  </a:lnTo>
                  <a:lnTo>
                    <a:pt x="419" y="238"/>
                  </a:lnTo>
                  <a:close/>
                  <a:moveTo>
                    <a:pt x="524" y="548"/>
                  </a:moveTo>
                  <a:lnTo>
                    <a:pt x="524" y="549"/>
                  </a:lnTo>
                  <a:lnTo>
                    <a:pt x="524" y="548"/>
                  </a:lnTo>
                  <a:close/>
                  <a:moveTo>
                    <a:pt x="651" y="553"/>
                  </a:moveTo>
                  <a:lnTo>
                    <a:pt x="653" y="553"/>
                  </a:lnTo>
                  <a:lnTo>
                    <a:pt x="651" y="553"/>
                  </a:lnTo>
                  <a:close/>
                  <a:moveTo>
                    <a:pt x="200" y="162"/>
                  </a:moveTo>
                  <a:lnTo>
                    <a:pt x="200" y="160"/>
                  </a:lnTo>
                  <a:lnTo>
                    <a:pt x="200" y="162"/>
                  </a:lnTo>
                  <a:close/>
                  <a:moveTo>
                    <a:pt x="549" y="354"/>
                  </a:moveTo>
                  <a:lnTo>
                    <a:pt x="549" y="352"/>
                  </a:lnTo>
                  <a:lnTo>
                    <a:pt x="549" y="354"/>
                  </a:lnTo>
                  <a:close/>
                  <a:moveTo>
                    <a:pt x="551" y="615"/>
                  </a:moveTo>
                  <a:lnTo>
                    <a:pt x="551" y="617"/>
                  </a:lnTo>
                  <a:lnTo>
                    <a:pt x="551" y="615"/>
                  </a:lnTo>
                  <a:close/>
                  <a:moveTo>
                    <a:pt x="601" y="584"/>
                  </a:moveTo>
                  <a:lnTo>
                    <a:pt x="599" y="584"/>
                  </a:lnTo>
                  <a:lnTo>
                    <a:pt x="599" y="586"/>
                  </a:lnTo>
                  <a:lnTo>
                    <a:pt x="599" y="584"/>
                  </a:lnTo>
                  <a:lnTo>
                    <a:pt x="601" y="584"/>
                  </a:lnTo>
                  <a:close/>
                  <a:moveTo>
                    <a:pt x="747" y="453"/>
                  </a:moveTo>
                  <a:lnTo>
                    <a:pt x="747" y="455"/>
                  </a:lnTo>
                  <a:lnTo>
                    <a:pt x="747" y="453"/>
                  </a:lnTo>
                  <a:close/>
                  <a:moveTo>
                    <a:pt x="340" y="213"/>
                  </a:moveTo>
                  <a:lnTo>
                    <a:pt x="340" y="212"/>
                  </a:lnTo>
                  <a:lnTo>
                    <a:pt x="340" y="213"/>
                  </a:lnTo>
                  <a:close/>
                  <a:moveTo>
                    <a:pt x="655" y="404"/>
                  </a:moveTo>
                  <a:lnTo>
                    <a:pt x="653" y="404"/>
                  </a:lnTo>
                  <a:lnTo>
                    <a:pt x="655" y="404"/>
                  </a:lnTo>
                  <a:close/>
                  <a:moveTo>
                    <a:pt x="672" y="567"/>
                  </a:moveTo>
                  <a:lnTo>
                    <a:pt x="672" y="569"/>
                  </a:lnTo>
                  <a:lnTo>
                    <a:pt x="672" y="567"/>
                  </a:lnTo>
                  <a:close/>
                  <a:moveTo>
                    <a:pt x="640" y="417"/>
                  </a:moveTo>
                  <a:lnTo>
                    <a:pt x="642" y="417"/>
                  </a:lnTo>
                  <a:lnTo>
                    <a:pt x="642" y="419"/>
                  </a:lnTo>
                  <a:lnTo>
                    <a:pt x="640" y="419"/>
                  </a:lnTo>
                  <a:lnTo>
                    <a:pt x="642" y="419"/>
                  </a:lnTo>
                  <a:lnTo>
                    <a:pt x="640" y="419"/>
                  </a:lnTo>
                  <a:lnTo>
                    <a:pt x="642" y="419"/>
                  </a:lnTo>
                  <a:lnTo>
                    <a:pt x="640" y="419"/>
                  </a:lnTo>
                  <a:lnTo>
                    <a:pt x="642" y="419"/>
                  </a:lnTo>
                  <a:lnTo>
                    <a:pt x="640" y="419"/>
                  </a:lnTo>
                  <a:lnTo>
                    <a:pt x="640" y="417"/>
                  </a:lnTo>
                  <a:close/>
                  <a:moveTo>
                    <a:pt x="649" y="409"/>
                  </a:moveTo>
                  <a:lnTo>
                    <a:pt x="647" y="409"/>
                  </a:lnTo>
                  <a:lnTo>
                    <a:pt x="649" y="409"/>
                  </a:lnTo>
                  <a:close/>
                  <a:moveTo>
                    <a:pt x="509" y="396"/>
                  </a:moveTo>
                  <a:lnTo>
                    <a:pt x="509" y="398"/>
                  </a:lnTo>
                  <a:lnTo>
                    <a:pt x="509" y="396"/>
                  </a:lnTo>
                  <a:close/>
                  <a:moveTo>
                    <a:pt x="563" y="605"/>
                  </a:moveTo>
                  <a:lnTo>
                    <a:pt x="563" y="607"/>
                  </a:lnTo>
                  <a:lnTo>
                    <a:pt x="563" y="605"/>
                  </a:lnTo>
                  <a:close/>
                  <a:moveTo>
                    <a:pt x="693" y="428"/>
                  </a:moveTo>
                  <a:lnTo>
                    <a:pt x="691" y="428"/>
                  </a:lnTo>
                  <a:lnTo>
                    <a:pt x="693" y="428"/>
                  </a:lnTo>
                  <a:close/>
                  <a:moveTo>
                    <a:pt x="632" y="428"/>
                  </a:moveTo>
                  <a:lnTo>
                    <a:pt x="632" y="430"/>
                  </a:lnTo>
                  <a:lnTo>
                    <a:pt x="632" y="428"/>
                  </a:lnTo>
                  <a:close/>
                  <a:moveTo>
                    <a:pt x="505" y="340"/>
                  </a:moveTo>
                  <a:lnTo>
                    <a:pt x="507" y="340"/>
                  </a:lnTo>
                  <a:lnTo>
                    <a:pt x="505" y="340"/>
                  </a:lnTo>
                  <a:close/>
                  <a:moveTo>
                    <a:pt x="524" y="609"/>
                  </a:moveTo>
                  <a:lnTo>
                    <a:pt x="524" y="611"/>
                  </a:lnTo>
                  <a:lnTo>
                    <a:pt x="524" y="609"/>
                  </a:lnTo>
                  <a:close/>
                  <a:moveTo>
                    <a:pt x="607" y="442"/>
                  </a:moveTo>
                  <a:lnTo>
                    <a:pt x="607" y="444"/>
                  </a:lnTo>
                  <a:lnTo>
                    <a:pt x="607" y="442"/>
                  </a:lnTo>
                  <a:close/>
                  <a:moveTo>
                    <a:pt x="653" y="415"/>
                  </a:moveTo>
                  <a:lnTo>
                    <a:pt x="653" y="417"/>
                  </a:lnTo>
                  <a:lnTo>
                    <a:pt x="653" y="415"/>
                  </a:lnTo>
                  <a:close/>
                  <a:moveTo>
                    <a:pt x="668" y="398"/>
                  </a:moveTo>
                  <a:lnTo>
                    <a:pt x="667" y="398"/>
                  </a:lnTo>
                  <a:lnTo>
                    <a:pt x="668" y="398"/>
                  </a:lnTo>
                  <a:close/>
                  <a:moveTo>
                    <a:pt x="611" y="586"/>
                  </a:moveTo>
                  <a:lnTo>
                    <a:pt x="611" y="588"/>
                  </a:lnTo>
                  <a:lnTo>
                    <a:pt x="611" y="586"/>
                  </a:lnTo>
                  <a:close/>
                  <a:moveTo>
                    <a:pt x="642" y="404"/>
                  </a:moveTo>
                  <a:lnTo>
                    <a:pt x="643" y="404"/>
                  </a:lnTo>
                  <a:lnTo>
                    <a:pt x="642" y="404"/>
                  </a:lnTo>
                  <a:lnTo>
                    <a:pt x="643" y="404"/>
                  </a:lnTo>
                  <a:lnTo>
                    <a:pt x="643" y="405"/>
                  </a:lnTo>
                  <a:lnTo>
                    <a:pt x="642" y="405"/>
                  </a:lnTo>
                  <a:lnTo>
                    <a:pt x="643" y="405"/>
                  </a:lnTo>
                  <a:lnTo>
                    <a:pt x="642" y="405"/>
                  </a:lnTo>
                  <a:lnTo>
                    <a:pt x="642" y="404"/>
                  </a:lnTo>
                  <a:close/>
                  <a:moveTo>
                    <a:pt x="724" y="505"/>
                  </a:moveTo>
                  <a:lnTo>
                    <a:pt x="722" y="505"/>
                  </a:lnTo>
                  <a:lnTo>
                    <a:pt x="724" y="505"/>
                  </a:lnTo>
                  <a:close/>
                  <a:moveTo>
                    <a:pt x="728" y="471"/>
                  </a:moveTo>
                  <a:lnTo>
                    <a:pt x="728" y="473"/>
                  </a:lnTo>
                  <a:lnTo>
                    <a:pt x="728" y="471"/>
                  </a:lnTo>
                  <a:close/>
                  <a:moveTo>
                    <a:pt x="555" y="613"/>
                  </a:moveTo>
                  <a:lnTo>
                    <a:pt x="555" y="615"/>
                  </a:lnTo>
                  <a:lnTo>
                    <a:pt x="553" y="615"/>
                  </a:lnTo>
                  <a:lnTo>
                    <a:pt x="555" y="615"/>
                  </a:lnTo>
                  <a:lnTo>
                    <a:pt x="555" y="613"/>
                  </a:lnTo>
                  <a:lnTo>
                    <a:pt x="555" y="615"/>
                  </a:lnTo>
                  <a:lnTo>
                    <a:pt x="553" y="615"/>
                  </a:lnTo>
                  <a:lnTo>
                    <a:pt x="553" y="613"/>
                  </a:lnTo>
                  <a:lnTo>
                    <a:pt x="555" y="613"/>
                  </a:lnTo>
                  <a:close/>
                  <a:moveTo>
                    <a:pt x="699" y="427"/>
                  </a:moveTo>
                  <a:lnTo>
                    <a:pt x="699" y="428"/>
                  </a:lnTo>
                  <a:lnTo>
                    <a:pt x="697" y="428"/>
                  </a:lnTo>
                  <a:lnTo>
                    <a:pt x="699" y="427"/>
                  </a:lnTo>
                  <a:close/>
                  <a:moveTo>
                    <a:pt x="691" y="425"/>
                  </a:moveTo>
                  <a:lnTo>
                    <a:pt x="691" y="423"/>
                  </a:lnTo>
                  <a:lnTo>
                    <a:pt x="691" y="425"/>
                  </a:lnTo>
                  <a:close/>
                  <a:moveTo>
                    <a:pt x="657" y="551"/>
                  </a:moveTo>
                  <a:lnTo>
                    <a:pt x="655" y="551"/>
                  </a:lnTo>
                  <a:lnTo>
                    <a:pt x="657" y="551"/>
                  </a:lnTo>
                  <a:close/>
                  <a:moveTo>
                    <a:pt x="565" y="603"/>
                  </a:moveTo>
                  <a:lnTo>
                    <a:pt x="565" y="605"/>
                  </a:lnTo>
                  <a:lnTo>
                    <a:pt x="565" y="603"/>
                  </a:lnTo>
                  <a:close/>
                  <a:moveTo>
                    <a:pt x="630" y="432"/>
                  </a:moveTo>
                  <a:lnTo>
                    <a:pt x="628" y="432"/>
                  </a:lnTo>
                  <a:lnTo>
                    <a:pt x="628" y="430"/>
                  </a:lnTo>
                  <a:lnTo>
                    <a:pt x="630" y="430"/>
                  </a:lnTo>
                  <a:lnTo>
                    <a:pt x="630" y="432"/>
                  </a:lnTo>
                  <a:close/>
                  <a:moveTo>
                    <a:pt x="547" y="354"/>
                  </a:moveTo>
                  <a:lnTo>
                    <a:pt x="547" y="356"/>
                  </a:lnTo>
                  <a:lnTo>
                    <a:pt x="547" y="354"/>
                  </a:lnTo>
                  <a:close/>
                  <a:moveTo>
                    <a:pt x="682" y="534"/>
                  </a:moveTo>
                  <a:lnTo>
                    <a:pt x="682" y="536"/>
                  </a:lnTo>
                  <a:lnTo>
                    <a:pt x="682" y="534"/>
                  </a:lnTo>
                  <a:close/>
                  <a:moveTo>
                    <a:pt x="668" y="551"/>
                  </a:moveTo>
                  <a:lnTo>
                    <a:pt x="667" y="551"/>
                  </a:lnTo>
                  <a:lnTo>
                    <a:pt x="668" y="551"/>
                  </a:lnTo>
                  <a:close/>
                  <a:moveTo>
                    <a:pt x="711" y="536"/>
                  </a:moveTo>
                  <a:lnTo>
                    <a:pt x="711" y="534"/>
                  </a:lnTo>
                  <a:lnTo>
                    <a:pt x="711" y="536"/>
                  </a:lnTo>
                  <a:close/>
                  <a:moveTo>
                    <a:pt x="511" y="361"/>
                  </a:moveTo>
                  <a:lnTo>
                    <a:pt x="511" y="359"/>
                  </a:lnTo>
                  <a:lnTo>
                    <a:pt x="513" y="359"/>
                  </a:lnTo>
                  <a:lnTo>
                    <a:pt x="511" y="359"/>
                  </a:lnTo>
                  <a:lnTo>
                    <a:pt x="511" y="361"/>
                  </a:lnTo>
                  <a:close/>
                  <a:moveTo>
                    <a:pt x="738" y="511"/>
                  </a:moveTo>
                  <a:lnTo>
                    <a:pt x="738" y="513"/>
                  </a:lnTo>
                  <a:lnTo>
                    <a:pt x="738" y="511"/>
                  </a:lnTo>
                  <a:close/>
                  <a:moveTo>
                    <a:pt x="697" y="440"/>
                  </a:moveTo>
                  <a:lnTo>
                    <a:pt x="695" y="440"/>
                  </a:lnTo>
                  <a:lnTo>
                    <a:pt x="697" y="440"/>
                  </a:lnTo>
                  <a:close/>
                  <a:moveTo>
                    <a:pt x="649" y="390"/>
                  </a:moveTo>
                  <a:lnTo>
                    <a:pt x="647" y="390"/>
                  </a:lnTo>
                  <a:lnTo>
                    <a:pt x="649" y="390"/>
                  </a:lnTo>
                  <a:close/>
                  <a:moveTo>
                    <a:pt x="688" y="530"/>
                  </a:moveTo>
                  <a:lnTo>
                    <a:pt x="686" y="530"/>
                  </a:lnTo>
                  <a:lnTo>
                    <a:pt x="688" y="530"/>
                  </a:lnTo>
                  <a:close/>
                  <a:moveTo>
                    <a:pt x="724" y="498"/>
                  </a:moveTo>
                  <a:lnTo>
                    <a:pt x="724" y="496"/>
                  </a:lnTo>
                  <a:lnTo>
                    <a:pt x="724" y="498"/>
                  </a:lnTo>
                  <a:close/>
                  <a:moveTo>
                    <a:pt x="739" y="517"/>
                  </a:moveTo>
                  <a:lnTo>
                    <a:pt x="739" y="515"/>
                  </a:lnTo>
                  <a:lnTo>
                    <a:pt x="739" y="517"/>
                  </a:lnTo>
                  <a:close/>
                  <a:moveTo>
                    <a:pt x="701" y="440"/>
                  </a:moveTo>
                  <a:lnTo>
                    <a:pt x="701" y="438"/>
                  </a:lnTo>
                  <a:lnTo>
                    <a:pt x="701" y="440"/>
                  </a:lnTo>
                  <a:close/>
                  <a:moveTo>
                    <a:pt x="632" y="430"/>
                  </a:moveTo>
                  <a:lnTo>
                    <a:pt x="632" y="432"/>
                  </a:lnTo>
                  <a:lnTo>
                    <a:pt x="632" y="430"/>
                  </a:lnTo>
                  <a:close/>
                  <a:moveTo>
                    <a:pt x="592" y="436"/>
                  </a:moveTo>
                  <a:lnTo>
                    <a:pt x="592" y="438"/>
                  </a:lnTo>
                  <a:lnTo>
                    <a:pt x="592" y="436"/>
                  </a:lnTo>
                  <a:close/>
                  <a:moveTo>
                    <a:pt x="697" y="438"/>
                  </a:moveTo>
                  <a:lnTo>
                    <a:pt x="695" y="438"/>
                  </a:lnTo>
                  <a:lnTo>
                    <a:pt x="697" y="438"/>
                  </a:lnTo>
                  <a:close/>
                  <a:moveTo>
                    <a:pt x="691" y="405"/>
                  </a:moveTo>
                  <a:lnTo>
                    <a:pt x="691" y="407"/>
                  </a:lnTo>
                  <a:lnTo>
                    <a:pt x="691" y="405"/>
                  </a:lnTo>
                  <a:close/>
                  <a:moveTo>
                    <a:pt x="688" y="438"/>
                  </a:moveTo>
                  <a:lnTo>
                    <a:pt x="688" y="436"/>
                  </a:lnTo>
                  <a:lnTo>
                    <a:pt x="688" y="438"/>
                  </a:lnTo>
                  <a:close/>
                  <a:moveTo>
                    <a:pt x="588" y="434"/>
                  </a:moveTo>
                  <a:lnTo>
                    <a:pt x="588" y="436"/>
                  </a:lnTo>
                  <a:lnTo>
                    <a:pt x="588" y="434"/>
                  </a:lnTo>
                  <a:lnTo>
                    <a:pt x="588" y="436"/>
                  </a:lnTo>
                  <a:lnTo>
                    <a:pt x="588" y="434"/>
                  </a:lnTo>
                  <a:close/>
                  <a:moveTo>
                    <a:pt x="707" y="436"/>
                  </a:moveTo>
                  <a:lnTo>
                    <a:pt x="707" y="438"/>
                  </a:lnTo>
                  <a:lnTo>
                    <a:pt x="707" y="436"/>
                  </a:lnTo>
                  <a:close/>
                  <a:moveTo>
                    <a:pt x="688" y="432"/>
                  </a:moveTo>
                  <a:lnTo>
                    <a:pt x="690" y="432"/>
                  </a:lnTo>
                  <a:lnTo>
                    <a:pt x="688" y="432"/>
                  </a:lnTo>
                  <a:close/>
                  <a:moveTo>
                    <a:pt x="709" y="567"/>
                  </a:moveTo>
                  <a:lnTo>
                    <a:pt x="709" y="565"/>
                  </a:lnTo>
                  <a:lnTo>
                    <a:pt x="709" y="567"/>
                  </a:lnTo>
                  <a:close/>
                  <a:moveTo>
                    <a:pt x="672" y="402"/>
                  </a:moveTo>
                  <a:lnTo>
                    <a:pt x="672" y="404"/>
                  </a:lnTo>
                  <a:lnTo>
                    <a:pt x="672" y="402"/>
                  </a:lnTo>
                  <a:close/>
                  <a:moveTo>
                    <a:pt x="578" y="592"/>
                  </a:moveTo>
                  <a:lnTo>
                    <a:pt x="578" y="594"/>
                  </a:lnTo>
                  <a:lnTo>
                    <a:pt x="578" y="592"/>
                  </a:lnTo>
                  <a:close/>
                  <a:moveTo>
                    <a:pt x="519" y="465"/>
                  </a:moveTo>
                  <a:lnTo>
                    <a:pt x="519" y="463"/>
                  </a:lnTo>
                  <a:lnTo>
                    <a:pt x="519" y="465"/>
                  </a:lnTo>
                  <a:close/>
                  <a:moveTo>
                    <a:pt x="643" y="411"/>
                  </a:moveTo>
                  <a:lnTo>
                    <a:pt x="643" y="413"/>
                  </a:lnTo>
                  <a:lnTo>
                    <a:pt x="643" y="411"/>
                  </a:lnTo>
                  <a:lnTo>
                    <a:pt x="645" y="411"/>
                  </a:lnTo>
                  <a:lnTo>
                    <a:pt x="643" y="411"/>
                  </a:lnTo>
                  <a:close/>
                  <a:moveTo>
                    <a:pt x="730" y="459"/>
                  </a:moveTo>
                  <a:lnTo>
                    <a:pt x="728" y="459"/>
                  </a:lnTo>
                  <a:lnTo>
                    <a:pt x="730" y="459"/>
                  </a:lnTo>
                  <a:close/>
                  <a:moveTo>
                    <a:pt x="684" y="404"/>
                  </a:moveTo>
                  <a:lnTo>
                    <a:pt x="684" y="405"/>
                  </a:lnTo>
                  <a:lnTo>
                    <a:pt x="684" y="404"/>
                  </a:lnTo>
                  <a:close/>
                  <a:moveTo>
                    <a:pt x="536" y="557"/>
                  </a:moveTo>
                  <a:lnTo>
                    <a:pt x="536" y="555"/>
                  </a:lnTo>
                  <a:lnTo>
                    <a:pt x="536" y="557"/>
                  </a:lnTo>
                  <a:close/>
                  <a:moveTo>
                    <a:pt x="638" y="425"/>
                  </a:moveTo>
                  <a:lnTo>
                    <a:pt x="638" y="423"/>
                  </a:lnTo>
                  <a:lnTo>
                    <a:pt x="638" y="425"/>
                  </a:lnTo>
                  <a:close/>
                  <a:moveTo>
                    <a:pt x="668" y="394"/>
                  </a:moveTo>
                  <a:lnTo>
                    <a:pt x="668" y="396"/>
                  </a:lnTo>
                  <a:lnTo>
                    <a:pt x="668" y="394"/>
                  </a:lnTo>
                  <a:close/>
                  <a:moveTo>
                    <a:pt x="695" y="440"/>
                  </a:moveTo>
                  <a:lnTo>
                    <a:pt x="697" y="440"/>
                  </a:lnTo>
                  <a:lnTo>
                    <a:pt x="695" y="440"/>
                  </a:lnTo>
                  <a:close/>
                  <a:moveTo>
                    <a:pt x="728" y="461"/>
                  </a:moveTo>
                  <a:lnTo>
                    <a:pt x="730" y="461"/>
                  </a:lnTo>
                  <a:lnTo>
                    <a:pt x="728" y="461"/>
                  </a:lnTo>
                  <a:close/>
                  <a:moveTo>
                    <a:pt x="732" y="509"/>
                  </a:moveTo>
                  <a:lnTo>
                    <a:pt x="730" y="509"/>
                  </a:lnTo>
                  <a:lnTo>
                    <a:pt x="732" y="509"/>
                  </a:lnTo>
                  <a:close/>
                  <a:moveTo>
                    <a:pt x="509" y="398"/>
                  </a:moveTo>
                  <a:lnTo>
                    <a:pt x="509" y="396"/>
                  </a:lnTo>
                  <a:lnTo>
                    <a:pt x="509" y="398"/>
                  </a:lnTo>
                  <a:close/>
                  <a:moveTo>
                    <a:pt x="638" y="425"/>
                  </a:moveTo>
                  <a:lnTo>
                    <a:pt x="636" y="425"/>
                  </a:lnTo>
                  <a:lnTo>
                    <a:pt x="636" y="423"/>
                  </a:lnTo>
                  <a:lnTo>
                    <a:pt x="638" y="423"/>
                  </a:lnTo>
                  <a:lnTo>
                    <a:pt x="638" y="425"/>
                  </a:lnTo>
                  <a:close/>
                  <a:moveTo>
                    <a:pt x="701" y="432"/>
                  </a:moveTo>
                  <a:lnTo>
                    <a:pt x="699" y="432"/>
                  </a:lnTo>
                  <a:lnTo>
                    <a:pt x="701" y="432"/>
                  </a:lnTo>
                  <a:close/>
                  <a:moveTo>
                    <a:pt x="705" y="438"/>
                  </a:moveTo>
                  <a:lnTo>
                    <a:pt x="707" y="438"/>
                  </a:lnTo>
                  <a:lnTo>
                    <a:pt x="707" y="440"/>
                  </a:lnTo>
                  <a:lnTo>
                    <a:pt x="705" y="440"/>
                  </a:lnTo>
                  <a:lnTo>
                    <a:pt x="705" y="438"/>
                  </a:lnTo>
                  <a:close/>
                  <a:moveTo>
                    <a:pt x="691" y="415"/>
                  </a:moveTo>
                  <a:lnTo>
                    <a:pt x="691" y="417"/>
                  </a:lnTo>
                  <a:lnTo>
                    <a:pt x="691" y="415"/>
                  </a:lnTo>
                  <a:close/>
                  <a:moveTo>
                    <a:pt x="640" y="427"/>
                  </a:moveTo>
                  <a:lnTo>
                    <a:pt x="638" y="427"/>
                  </a:lnTo>
                  <a:lnTo>
                    <a:pt x="640" y="427"/>
                  </a:lnTo>
                  <a:close/>
                  <a:moveTo>
                    <a:pt x="638" y="421"/>
                  </a:moveTo>
                  <a:lnTo>
                    <a:pt x="640" y="421"/>
                  </a:lnTo>
                  <a:lnTo>
                    <a:pt x="638" y="421"/>
                  </a:lnTo>
                  <a:close/>
                  <a:moveTo>
                    <a:pt x="638" y="427"/>
                  </a:moveTo>
                  <a:lnTo>
                    <a:pt x="640" y="427"/>
                  </a:lnTo>
                  <a:lnTo>
                    <a:pt x="638" y="427"/>
                  </a:lnTo>
                  <a:close/>
                  <a:moveTo>
                    <a:pt x="705" y="446"/>
                  </a:moveTo>
                  <a:lnTo>
                    <a:pt x="703" y="446"/>
                  </a:lnTo>
                  <a:lnTo>
                    <a:pt x="705" y="446"/>
                  </a:lnTo>
                  <a:close/>
                  <a:moveTo>
                    <a:pt x="722" y="501"/>
                  </a:moveTo>
                  <a:lnTo>
                    <a:pt x="724" y="501"/>
                  </a:lnTo>
                  <a:lnTo>
                    <a:pt x="722" y="501"/>
                  </a:lnTo>
                  <a:close/>
                  <a:moveTo>
                    <a:pt x="638" y="425"/>
                  </a:moveTo>
                  <a:lnTo>
                    <a:pt x="638" y="423"/>
                  </a:lnTo>
                  <a:lnTo>
                    <a:pt x="638" y="425"/>
                  </a:lnTo>
                  <a:close/>
                  <a:moveTo>
                    <a:pt x="538" y="356"/>
                  </a:moveTo>
                  <a:lnTo>
                    <a:pt x="538" y="357"/>
                  </a:lnTo>
                  <a:lnTo>
                    <a:pt x="538" y="356"/>
                  </a:lnTo>
                  <a:lnTo>
                    <a:pt x="540" y="356"/>
                  </a:lnTo>
                  <a:lnTo>
                    <a:pt x="540" y="357"/>
                  </a:lnTo>
                  <a:lnTo>
                    <a:pt x="538" y="357"/>
                  </a:lnTo>
                  <a:lnTo>
                    <a:pt x="538" y="356"/>
                  </a:lnTo>
                  <a:close/>
                  <a:moveTo>
                    <a:pt x="547" y="352"/>
                  </a:moveTo>
                  <a:lnTo>
                    <a:pt x="549" y="352"/>
                  </a:lnTo>
                  <a:lnTo>
                    <a:pt x="547" y="352"/>
                  </a:lnTo>
                  <a:close/>
                  <a:moveTo>
                    <a:pt x="690" y="427"/>
                  </a:moveTo>
                  <a:lnTo>
                    <a:pt x="691" y="427"/>
                  </a:lnTo>
                  <a:lnTo>
                    <a:pt x="690" y="427"/>
                  </a:lnTo>
                  <a:close/>
                  <a:moveTo>
                    <a:pt x="559" y="611"/>
                  </a:moveTo>
                  <a:lnTo>
                    <a:pt x="559" y="609"/>
                  </a:lnTo>
                  <a:lnTo>
                    <a:pt x="559" y="611"/>
                  </a:lnTo>
                  <a:close/>
                  <a:moveTo>
                    <a:pt x="605" y="446"/>
                  </a:moveTo>
                  <a:lnTo>
                    <a:pt x="603" y="446"/>
                  </a:lnTo>
                  <a:lnTo>
                    <a:pt x="605" y="446"/>
                  </a:lnTo>
                  <a:close/>
                  <a:moveTo>
                    <a:pt x="786" y="496"/>
                  </a:moveTo>
                  <a:lnTo>
                    <a:pt x="787" y="496"/>
                  </a:lnTo>
                  <a:lnTo>
                    <a:pt x="786" y="496"/>
                  </a:lnTo>
                  <a:close/>
                  <a:moveTo>
                    <a:pt x="691" y="407"/>
                  </a:moveTo>
                  <a:lnTo>
                    <a:pt x="691" y="409"/>
                  </a:lnTo>
                  <a:lnTo>
                    <a:pt x="690" y="409"/>
                  </a:lnTo>
                  <a:lnTo>
                    <a:pt x="691" y="407"/>
                  </a:lnTo>
                  <a:close/>
                  <a:moveTo>
                    <a:pt x="509" y="369"/>
                  </a:moveTo>
                  <a:lnTo>
                    <a:pt x="509" y="371"/>
                  </a:lnTo>
                  <a:lnTo>
                    <a:pt x="509" y="369"/>
                  </a:lnTo>
                  <a:close/>
                  <a:moveTo>
                    <a:pt x="682" y="538"/>
                  </a:moveTo>
                  <a:lnTo>
                    <a:pt x="682" y="536"/>
                  </a:lnTo>
                  <a:lnTo>
                    <a:pt x="682" y="538"/>
                  </a:lnTo>
                  <a:close/>
                  <a:moveTo>
                    <a:pt x="738" y="511"/>
                  </a:moveTo>
                  <a:lnTo>
                    <a:pt x="738" y="509"/>
                  </a:lnTo>
                  <a:lnTo>
                    <a:pt x="738" y="511"/>
                  </a:lnTo>
                  <a:close/>
                  <a:moveTo>
                    <a:pt x="613" y="442"/>
                  </a:moveTo>
                  <a:lnTo>
                    <a:pt x="613" y="440"/>
                  </a:lnTo>
                  <a:lnTo>
                    <a:pt x="613" y="442"/>
                  </a:lnTo>
                  <a:close/>
                  <a:moveTo>
                    <a:pt x="325" y="304"/>
                  </a:moveTo>
                  <a:lnTo>
                    <a:pt x="325" y="302"/>
                  </a:lnTo>
                  <a:lnTo>
                    <a:pt x="325" y="304"/>
                  </a:lnTo>
                  <a:close/>
                  <a:moveTo>
                    <a:pt x="517" y="394"/>
                  </a:moveTo>
                  <a:lnTo>
                    <a:pt x="517" y="392"/>
                  </a:lnTo>
                  <a:lnTo>
                    <a:pt x="517" y="394"/>
                  </a:lnTo>
                  <a:close/>
                  <a:moveTo>
                    <a:pt x="544" y="622"/>
                  </a:moveTo>
                  <a:lnTo>
                    <a:pt x="542" y="622"/>
                  </a:lnTo>
                  <a:lnTo>
                    <a:pt x="544" y="622"/>
                  </a:lnTo>
                  <a:close/>
                  <a:moveTo>
                    <a:pt x="636" y="425"/>
                  </a:moveTo>
                  <a:lnTo>
                    <a:pt x="636" y="427"/>
                  </a:lnTo>
                  <a:lnTo>
                    <a:pt x="636" y="425"/>
                  </a:lnTo>
                  <a:close/>
                  <a:moveTo>
                    <a:pt x="559" y="609"/>
                  </a:moveTo>
                  <a:lnTo>
                    <a:pt x="559" y="611"/>
                  </a:lnTo>
                  <a:lnTo>
                    <a:pt x="559" y="609"/>
                  </a:lnTo>
                  <a:close/>
                  <a:moveTo>
                    <a:pt x="701" y="436"/>
                  </a:moveTo>
                  <a:lnTo>
                    <a:pt x="699" y="436"/>
                  </a:lnTo>
                  <a:lnTo>
                    <a:pt x="701" y="436"/>
                  </a:lnTo>
                  <a:close/>
                  <a:moveTo>
                    <a:pt x="546" y="331"/>
                  </a:moveTo>
                  <a:lnTo>
                    <a:pt x="546" y="329"/>
                  </a:lnTo>
                  <a:lnTo>
                    <a:pt x="546" y="331"/>
                  </a:lnTo>
                  <a:close/>
                  <a:moveTo>
                    <a:pt x="528" y="551"/>
                  </a:moveTo>
                  <a:lnTo>
                    <a:pt x="528" y="553"/>
                  </a:lnTo>
                  <a:lnTo>
                    <a:pt x="528" y="551"/>
                  </a:lnTo>
                  <a:close/>
                  <a:moveTo>
                    <a:pt x="722" y="509"/>
                  </a:moveTo>
                  <a:lnTo>
                    <a:pt x="722" y="507"/>
                  </a:lnTo>
                  <a:lnTo>
                    <a:pt x="722" y="509"/>
                  </a:lnTo>
                  <a:close/>
                  <a:moveTo>
                    <a:pt x="630" y="430"/>
                  </a:moveTo>
                  <a:lnTo>
                    <a:pt x="628" y="430"/>
                  </a:lnTo>
                  <a:lnTo>
                    <a:pt x="630" y="430"/>
                  </a:lnTo>
                  <a:close/>
                  <a:moveTo>
                    <a:pt x="701" y="434"/>
                  </a:moveTo>
                  <a:lnTo>
                    <a:pt x="701" y="432"/>
                  </a:lnTo>
                  <a:lnTo>
                    <a:pt x="701" y="434"/>
                  </a:lnTo>
                  <a:close/>
                  <a:moveTo>
                    <a:pt x="613" y="438"/>
                  </a:moveTo>
                  <a:lnTo>
                    <a:pt x="615" y="438"/>
                  </a:lnTo>
                  <a:lnTo>
                    <a:pt x="613" y="438"/>
                  </a:lnTo>
                  <a:lnTo>
                    <a:pt x="615" y="438"/>
                  </a:lnTo>
                  <a:lnTo>
                    <a:pt x="613" y="438"/>
                  </a:lnTo>
                  <a:close/>
                  <a:moveTo>
                    <a:pt x="628" y="421"/>
                  </a:moveTo>
                  <a:lnTo>
                    <a:pt x="630" y="421"/>
                  </a:lnTo>
                  <a:lnTo>
                    <a:pt x="628" y="421"/>
                  </a:lnTo>
                  <a:close/>
                  <a:moveTo>
                    <a:pt x="693" y="427"/>
                  </a:moveTo>
                  <a:lnTo>
                    <a:pt x="695" y="427"/>
                  </a:lnTo>
                  <a:lnTo>
                    <a:pt x="693" y="427"/>
                  </a:lnTo>
                  <a:close/>
                  <a:moveTo>
                    <a:pt x="653" y="407"/>
                  </a:moveTo>
                  <a:lnTo>
                    <a:pt x="653" y="405"/>
                  </a:lnTo>
                  <a:lnTo>
                    <a:pt x="653" y="407"/>
                  </a:lnTo>
                  <a:close/>
                  <a:moveTo>
                    <a:pt x="561" y="599"/>
                  </a:moveTo>
                  <a:lnTo>
                    <a:pt x="563" y="599"/>
                  </a:lnTo>
                  <a:lnTo>
                    <a:pt x="561" y="599"/>
                  </a:lnTo>
                  <a:close/>
                  <a:moveTo>
                    <a:pt x="690" y="409"/>
                  </a:moveTo>
                  <a:lnTo>
                    <a:pt x="690" y="407"/>
                  </a:lnTo>
                  <a:lnTo>
                    <a:pt x="691" y="407"/>
                  </a:lnTo>
                  <a:lnTo>
                    <a:pt x="690" y="409"/>
                  </a:lnTo>
                  <a:close/>
                  <a:moveTo>
                    <a:pt x="636" y="413"/>
                  </a:moveTo>
                  <a:lnTo>
                    <a:pt x="636" y="411"/>
                  </a:lnTo>
                  <a:lnTo>
                    <a:pt x="636" y="413"/>
                  </a:lnTo>
                  <a:close/>
                  <a:moveTo>
                    <a:pt x="603" y="436"/>
                  </a:moveTo>
                  <a:lnTo>
                    <a:pt x="601" y="436"/>
                  </a:lnTo>
                  <a:lnTo>
                    <a:pt x="603" y="436"/>
                  </a:lnTo>
                  <a:close/>
                  <a:moveTo>
                    <a:pt x="530" y="332"/>
                  </a:moveTo>
                  <a:lnTo>
                    <a:pt x="530" y="334"/>
                  </a:lnTo>
                  <a:lnTo>
                    <a:pt x="530" y="332"/>
                  </a:lnTo>
                  <a:lnTo>
                    <a:pt x="530" y="334"/>
                  </a:lnTo>
                  <a:lnTo>
                    <a:pt x="530" y="332"/>
                  </a:lnTo>
                  <a:close/>
                  <a:moveTo>
                    <a:pt x="655" y="394"/>
                  </a:moveTo>
                  <a:lnTo>
                    <a:pt x="653" y="394"/>
                  </a:lnTo>
                  <a:lnTo>
                    <a:pt x="655" y="394"/>
                  </a:lnTo>
                  <a:close/>
                  <a:moveTo>
                    <a:pt x="697" y="440"/>
                  </a:moveTo>
                  <a:lnTo>
                    <a:pt x="697" y="442"/>
                  </a:lnTo>
                  <a:lnTo>
                    <a:pt x="697" y="440"/>
                  </a:lnTo>
                  <a:close/>
                  <a:moveTo>
                    <a:pt x="509" y="404"/>
                  </a:moveTo>
                  <a:lnTo>
                    <a:pt x="507" y="404"/>
                  </a:lnTo>
                  <a:lnTo>
                    <a:pt x="509" y="404"/>
                  </a:lnTo>
                  <a:close/>
                  <a:moveTo>
                    <a:pt x="638" y="428"/>
                  </a:moveTo>
                  <a:lnTo>
                    <a:pt x="636" y="428"/>
                  </a:lnTo>
                  <a:lnTo>
                    <a:pt x="638" y="428"/>
                  </a:lnTo>
                  <a:close/>
                  <a:moveTo>
                    <a:pt x="626" y="428"/>
                  </a:moveTo>
                  <a:lnTo>
                    <a:pt x="626" y="430"/>
                  </a:lnTo>
                  <a:lnTo>
                    <a:pt x="626" y="428"/>
                  </a:lnTo>
                  <a:close/>
                  <a:moveTo>
                    <a:pt x="509" y="367"/>
                  </a:moveTo>
                  <a:lnTo>
                    <a:pt x="511" y="367"/>
                  </a:lnTo>
                  <a:lnTo>
                    <a:pt x="509" y="367"/>
                  </a:lnTo>
                  <a:close/>
                  <a:moveTo>
                    <a:pt x="565" y="442"/>
                  </a:moveTo>
                  <a:lnTo>
                    <a:pt x="563" y="442"/>
                  </a:lnTo>
                  <a:lnTo>
                    <a:pt x="565" y="442"/>
                  </a:lnTo>
                  <a:lnTo>
                    <a:pt x="563" y="442"/>
                  </a:lnTo>
                  <a:lnTo>
                    <a:pt x="565" y="442"/>
                  </a:lnTo>
                  <a:close/>
                  <a:moveTo>
                    <a:pt x="547" y="619"/>
                  </a:moveTo>
                  <a:lnTo>
                    <a:pt x="547" y="620"/>
                  </a:lnTo>
                  <a:lnTo>
                    <a:pt x="547" y="619"/>
                  </a:lnTo>
                  <a:close/>
                  <a:moveTo>
                    <a:pt x="642" y="409"/>
                  </a:moveTo>
                  <a:lnTo>
                    <a:pt x="642" y="411"/>
                  </a:lnTo>
                  <a:lnTo>
                    <a:pt x="642" y="409"/>
                  </a:lnTo>
                  <a:close/>
                  <a:moveTo>
                    <a:pt x="528" y="521"/>
                  </a:moveTo>
                  <a:lnTo>
                    <a:pt x="526" y="521"/>
                  </a:lnTo>
                  <a:lnTo>
                    <a:pt x="528" y="521"/>
                  </a:lnTo>
                  <a:close/>
                  <a:moveTo>
                    <a:pt x="569" y="377"/>
                  </a:moveTo>
                  <a:lnTo>
                    <a:pt x="569" y="379"/>
                  </a:lnTo>
                  <a:lnTo>
                    <a:pt x="569" y="377"/>
                  </a:lnTo>
                  <a:close/>
                  <a:moveTo>
                    <a:pt x="521" y="513"/>
                  </a:moveTo>
                  <a:lnTo>
                    <a:pt x="521" y="511"/>
                  </a:lnTo>
                  <a:lnTo>
                    <a:pt x="521" y="513"/>
                  </a:lnTo>
                  <a:close/>
                  <a:moveTo>
                    <a:pt x="511" y="379"/>
                  </a:moveTo>
                  <a:lnTo>
                    <a:pt x="513" y="379"/>
                  </a:lnTo>
                  <a:lnTo>
                    <a:pt x="511" y="379"/>
                  </a:lnTo>
                  <a:close/>
                  <a:moveTo>
                    <a:pt x="691" y="428"/>
                  </a:moveTo>
                  <a:lnTo>
                    <a:pt x="690" y="428"/>
                  </a:lnTo>
                  <a:lnTo>
                    <a:pt x="691" y="428"/>
                  </a:lnTo>
                  <a:lnTo>
                    <a:pt x="691" y="427"/>
                  </a:lnTo>
                  <a:lnTo>
                    <a:pt x="691" y="428"/>
                  </a:lnTo>
                  <a:close/>
                  <a:moveTo>
                    <a:pt x="549" y="617"/>
                  </a:moveTo>
                  <a:lnTo>
                    <a:pt x="549" y="619"/>
                  </a:lnTo>
                  <a:lnTo>
                    <a:pt x="549" y="617"/>
                  </a:lnTo>
                  <a:close/>
                  <a:moveTo>
                    <a:pt x="699" y="430"/>
                  </a:moveTo>
                  <a:lnTo>
                    <a:pt x="697" y="430"/>
                  </a:lnTo>
                  <a:lnTo>
                    <a:pt x="699" y="430"/>
                  </a:lnTo>
                  <a:close/>
                  <a:moveTo>
                    <a:pt x="649" y="415"/>
                  </a:moveTo>
                  <a:lnTo>
                    <a:pt x="647" y="415"/>
                  </a:lnTo>
                  <a:lnTo>
                    <a:pt x="649" y="415"/>
                  </a:lnTo>
                  <a:close/>
                  <a:moveTo>
                    <a:pt x="645" y="398"/>
                  </a:moveTo>
                  <a:lnTo>
                    <a:pt x="647" y="398"/>
                  </a:lnTo>
                  <a:lnTo>
                    <a:pt x="645" y="398"/>
                  </a:lnTo>
                  <a:close/>
                  <a:moveTo>
                    <a:pt x="25" y="18"/>
                  </a:moveTo>
                  <a:lnTo>
                    <a:pt x="25" y="16"/>
                  </a:lnTo>
                  <a:lnTo>
                    <a:pt x="25" y="18"/>
                  </a:lnTo>
                  <a:close/>
                  <a:moveTo>
                    <a:pt x="642" y="417"/>
                  </a:moveTo>
                  <a:lnTo>
                    <a:pt x="642" y="419"/>
                  </a:lnTo>
                  <a:lnTo>
                    <a:pt x="642" y="417"/>
                  </a:lnTo>
                  <a:close/>
                  <a:moveTo>
                    <a:pt x="636" y="411"/>
                  </a:moveTo>
                  <a:lnTo>
                    <a:pt x="636" y="413"/>
                  </a:lnTo>
                  <a:lnTo>
                    <a:pt x="636" y="411"/>
                  </a:lnTo>
                  <a:close/>
                  <a:moveTo>
                    <a:pt x="617" y="434"/>
                  </a:moveTo>
                  <a:lnTo>
                    <a:pt x="617" y="432"/>
                  </a:lnTo>
                  <a:lnTo>
                    <a:pt x="617" y="434"/>
                  </a:lnTo>
                  <a:close/>
                  <a:moveTo>
                    <a:pt x="632" y="432"/>
                  </a:moveTo>
                  <a:lnTo>
                    <a:pt x="630" y="432"/>
                  </a:lnTo>
                  <a:lnTo>
                    <a:pt x="632" y="432"/>
                  </a:lnTo>
                  <a:close/>
                  <a:moveTo>
                    <a:pt x="651" y="421"/>
                  </a:moveTo>
                  <a:lnTo>
                    <a:pt x="651" y="419"/>
                  </a:lnTo>
                  <a:lnTo>
                    <a:pt x="651" y="421"/>
                  </a:lnTo>
                  <a:close/>
                  <a:moveTo>
                    <a:pt x="724" y="513"/>
                  </a:moveTo>
                  <a:lnTo>
                    <a:pt x="722" y="513"/>
                  </a:lnTo>
                  <a:lnTo>
                    <a:pt x="724" y="513"/>
                  </a:lnTo>
                  <a:close/>
                  <a:moveTo>
                    <a:pt x="538" y="357"/>
                  </a:moveTo>
                  <a:lnTo>
                    <a:pt x="536" y="357"/>
                  </a:lnTo>
                  <a:lnTo>
                    <a:pt x="538" y="357"/>
                  </a:lnTo>
                  <a:close/>
                  <a:moveTo>
                    <a:pt x="638" y="440"/>
                  </a:moveTo>
                  <a:lnTo>
                    <a:pt x="636" y="440"/>
                  </a:lnTo>
                  <a:lnTo>
                    <a:pt x="638" y="440"/>
                  </a:lnTo>
                  <a:close/>
                  <a:moveTo>
                    <a:pt x="327" y="304"/>
                  </a:moveTo>
                  <a:lnTo>
                    <a:pt x="327" y="302"/>
                  </a:lnTo>
                  <a:lnTo>
                    <a:pt x="327" y="304"/>
                  </a:lnTo>
                  <a:close/>
                  <a:moveTo>
                    <a:pt x="684" y="544"/>
                  </a:moveTo>
                  <a:lnTo>
                    <a:pt x="686" y="544"/>
                  </a:lnTo>
                  <a:lnTo>
                    <a:pt x="684" y="544"/>
                  </a:lnTo>
                  <a:close/>
                  <a:moveTo>
                    <a:pt x="636" y="417"/>
                  </a:moveTo>
                  <a:lnTo>
                    <a:pt x="636" y="419"/>
                  </a:lnTo>
                  <a:lnTo>
                    <a:pt x="636" y="417"/>
                  </a:lnTo>
                  <a:close/>
                  <a:moveTo>
                    <a:pt x="572" y="419"/>
                  </a:moveTo>
                  <a:lnTo>
                    <a:pt x="571" y="419"/>
                  </a:lnTo>
                  <a:lnTo>
                    <a:pt x="572" y="419"/>
                  </a:lnTo>
                  <a:close/>
                  <a:moveTo>
                    <a:pt x="693" y="584"/>
                  </a:moveTo>
                  <a:lnTo>
                    <a:pt x="693" y="586"/>
                  </a:lnTo>
                  <a:lnTo>
                    <a:pt x="693" y="584"/>
                  </a:lnTo>
                  <a:close/>
                  <a:moveTo>
                    <a:pt x="697" y="438"/>
                  </a:moveTo>
                  <a:lnTo>
                    <a:pt x="697" y="436"/>
                  </a:lnTo>
                  <a:lnTo>
                    <a:pt x="697" y="438"/>
                  </a:lnTo>
                  <a:close/>
                  <a:moveTo>
                    <a:pt x="695" y="438"/>
                  </a:moveTo>
                  <a:lnTo>
                    <a:pt x="695" y="436"/>
                  </a:lnTo>
                  <a:lnTo>
                    <a:pt x="695" y="438"/>
                  </a:lnTo>
                  <a:close/>
                  <a:moveTo>
                    <a:pt x="622" y="440"/>
                  </a:moveTo>
                  <a:lnTo>
                    <a:pt x="622" y="442"/>
                  </a:lnTo>
                  <a:lnTo>
                    <a:pt x="622" y="440"/>
                  </a:lnTo>
                  <a:close/>
                  <a:moveTo>
                    <a:pt x="536" y="350"/>
                  </a:moveTo>
                  <a:lnTo>
                    <a:pt x="534" y="350"/>
                  </a:lnTo>
                  <a:lnTo>
                    <a:pt x="536" y="350"/>
                  </a:lnTo>
                  <a:close/>
                  <a:moveTo>
                    <a:pt x="651" y="409"/>
                  </a:moveTo>
                  <a:lnTo>
                    <a:pt x="651" y="407"/>
                  </a:lnTo>
                  <a:lnTo>
                    <a:pt x="651" y="409"/>
                  </a:lnTo>
                  <a:close/>
                  <a:moveTo>
                    <a:pt x="578" y="594"/>
                  </a:moveTo>
                  <a:lnTo>
                    <a:pt x="578" y="592"/>
                  </a:lnTo>
                  <a:lnTo>
                    <a:pt x="578" y="594"/>
                  </a:lnTo>
                  <a:close/>
                  <a:moveTo>
                    <a:pt x="325" y="300"/>
                  </a:moveTo>
                  <a:lnTo>
                    <a:pt x="327" y="300"/>
                  </a:lnTo>
                  <a:lnTo>
                    <a:pt x="325" y="300"/>
                  </a:lnTo>
                  <a:close/>
                  <a:moveTo>
                    <a:pt x="613" y="440"/>
                  </a:moveTo>
                  <a:lnTo>
                    <a:pt x="613" y="438"/>
                  </a:lnTo>
                  <a:lnTo>
                    <a:pt x="613" y="440"/>
                  </a:lnTo>
                  <a:close/>
                  <a:moveTo>
                    <a:pt x="732" y="484"/>
                  </a:moveTo>
                  <a:lnTo>
                    <a:pt x="732" y="482"/>
                  </a:lnTo>
                  <a:lnTo>
                    <a:pt x="732" y="484"/>
                  </a:lnTo>
                  <a:close/>
                  <a:moveTo>
                    <a:pt x="549" y="352"/>
                  </a:moveTo>
                  <a:lnTo>
                    <a:pt x="549" y="354"/>
                  </a:lnTo>
                  <a:lnTo>
                    <a:pt x="549" y="352"/>
                  </a:lnTo>
                  <a:close/>
                  <a:moveTo>
                    <a:pt x="563" y="599"/>
                  </a:moveTo>
                  <a:lnTo>
                    <a:pt x="561" y="599"/>
                  </a:lnTo>
                  <a:lnTo>
                    <a:pt x="563" y="599"/>
                  </a:lnTo>
                  <a:close/>
                  <a:moveTo>
                    <a:pt x="649" y="407"/>
                  </a:moveTo>
                  <a:lnTo>
                    <a:pt x="647" y="407"/>
                  </a:lnTo>
                  <a:lnTo>
                    <a:pt x="649" y="407"/>
                  </a:lnTo>
                  <a:close/>
                  <a:moveTo>
                    <a:pt x="325" y="302"/>
                  </a:moveTo>
                  <a:lnTo>
                    <a:pt x="327" y="302"/>
                  </a:lnTo>
                  <a:lnTo>
                    <a:pt x="325" y="302"/>
                  </a:lnTo>
                  <a:close/>
                  <a:moveTo>
                    <a:pt x="732" y="432"/>
                  </a:moveTo>
                  <a:lnTo>
                    <a:pt x="732" y="434"/>
                  </a:lnTo>
                  <a:lnTo>
                    <a:pt x="732" y="432"/>
                  </a:lnTo>
                  <a:lnTo>
                    <a:pt x="732" y="434"/>
                  </a:lnTo>
                  <a:lnTo>
                    <a:pt x="732" y="432"/>
                  </a:lnTo>
                  <a:lnTo>
                    <a:pt x="732" y="434"/>
                  </a:lnTo>
                  <a:lnTo>
                    <a:pt x="732" y="432"/>
                  </a:lnTo>
                  <a:lnTo>
                    <a:pt x="732" y="434"/>
                  </a:lnTo>
                  <a:lnTo>
                    <a:pt x="732" y="432"/>
                  </a:lnTo>
                  <a:close/>
                  <a:moveTo>
                    <a:pt x="703" y="448"/>
                  </a:moveTo>
                  <a:lnTo>
                    <a:pt x="701" y="448"/>
                  </a:lnTo>
                  <a:lnTo>
                    <a:pt x="703" y="448"/>
                  </a:lnTo>
                  <a:close/>
                  <a:moveTo>
                    <a:pt x="31" y="25"/>
                  </a:moveTo>
                  <a:lnTo>
                    <a:pt x="33" y="25"/>
                  </a:lnTo>
                  <a:lnTo>
                    <a:pt x="31" y="25"/>
                  </a:lnTo>
                  <a:close/>
                  <a:moveTo>
                    <a:pt x="724" y="511"/>
                  </a:moveTo>
                  <a:lnTo>
                    <a:pt x="724" y="513"/>
                  </a:lnTo>
                  <a:lnTo>
                    <a:pt x="724" y="511"/>
                  </a:lnTo>
                  <a:close/>
                  <a:moveTo>
                    <a:pt x="547" y="352"/>
                  </a:moveTo>
                  <a:lnTo>
                    <a:pt x="547" y="350"/>
                  </a:lnTo>
                  <a:lnTo>
                    <a:pt x="547" y="352"/>
                  </a:lnTo>
                  <a:close/>
                  <a:moveTo>
                    <a:pt x="574" y="427"/>
                  </a:moveTo>
                  <a:lnTo>
                    <a:pt x="574" y="425"/>
                  </a:lnTo>
                  <a:lnTo>
                    <a:pt x="574" y="427"/>
                  </a:lnTo>
                  <a:close/>
                  <a:moveTo>
                    <a:pt x="327" y="308"/>
                  </a:moveTo>
                  <a:lnTo>
                    <a:pt x="327" y="306"/>
                  </a:lnTo>
                  <a:lnTo>
                    <a:pt x="327" y="308"/>
                  </a:lnTo>
                  <a:close/>
                  <a:moveTo>
                    <a:pt x="594" y="442"/>
                  </a:moveTo>
                  <a:lnTo>
                    <a:pt x="594" y="444"/>
                  </a:lnTo>
                  <a:lnTo>
                    <a:pt x="594" y="442"/>
                  </a:lnTo>
                  <a:close/>
                  <a:moveTo>
                    <a:pt x="547" y="619"/>
                  </a:moveTo>
                  <a:lnTo>
                    <a:pt x="547" y="620"/>
                  </a:lnTo>
                  <a:lnTo>
                    <a:pt x="547" y="619"/>
                  </a:lnTo>
                  <a:close/>
                  <a:moveTo>
                    <a:pt x="705" y="450"/>
                  </a:moveTo>
                  <a:lnTo>
                    <a:pt x="705" y="448"/>
                  </a:lnTo>
                  <a:lnTo>
                    <a:pt x="705" y="450"/>
                  </a:lnTo>
                  <a:close/>
                  <a:moveTo>
                    <a:pt x="538" y="329"/>
                  </a:moveTo>
                  <a:lnTo>
                    <a:pt x="536" y="329"/>
                  </a:lnTo>
                  <a:lnTo>
                    <a:pt x="538" y="329"/>
                  </a:lnTo>
                  <a:close/>
                  <a:moveTo>
                    <a:pt x="555" y="371"/>
                  </a:moveTo>
                  <a:lnTo>
                    <a:pt x="555" y="369"/>
                  </a:lnTo>
                  <a:lnTo>
                    <a:pt x="555" y="371"/>
                  </a:lnTo>
                  <a:close/>
                  <a:moveTo>
                    <a:pt x="738" y="496"/>
                  </a:moveTo>
                  <a:lnTo>
                    <a:pt x="739" y="496"/>
                  </a:lnTo>
                  <a:lnTo>
                    <a:pt x="738" y="496"/>
                  </a:lnTo>
                  <a:close/>
                  <a:moveTo>
                    <a:pt x="638" y="438"/>
                  </a:moveTo>
                  <a:lnTo>
                    <a:pt x="636" y="438"/>
                  </a:lnTo>
                  <a:lnTo>
                    <a:pt x="636" y="436"/>
                  </a:lnTo>
                  <a:lnTo>
                    <a:pt x="638" y="436"/>
                  </a:lnTo>
                  <a:lnTo>
                    <a:pt x="638" y="438"/>
                  </a:lnTo>
                  <a:close/>
                  <a:moveTo>
                    <a:pt x="632" y="415"/>
                  </a:moveTo>
                  <a:lnTo>
                    <a:pt x="634" y="415"/>
                  </a:lnTo>
                  <a:lnTo>
                    <a:pt x="632" y="415"/>
                  </a:lnTo>
                  <a:lnTo>
                    <a:pt x="632" y="417"/>
                  </a:lnTo>
                  <a:lnTo>
                    <a:pt x="632" y="415"/>
                  </a:lnTo>
                  <a:close/>
                  <a:moveTo>
                    <a:pt x="715" y="534"/>
                  </a:moveTo>
                  <a:lnTo>
                    <a:pt x="715" y="532"/>
                  </a:lnTo>
                  <a:lnTo>
                    <a:pt x="715" y="534"/>
                  </a:lnTo>
                  <a:close/>
                  <a:moveTo>
                    <a:pt x="632" y="428"/>
                  </a:moveTo>
                  <a:lnTo>
                    <a:pt x="632" y="430"/>
                  </a:lnTo>
                  <a:lnTo>
                    <a:pt x="632" y="428"/>
                  </a:lnTo>
                  <a:close/>
                  <a:moveTo>
                    <a:pt x="728" y="471"/>
                  </a:moveTo>
                  <a:lnTo>
                    <a:pt x="728" y="473"/>
                  </a:lnTo>
                  <a:lnTo>
                    <a:pt x="728" y="471"/>
                  </a:lnTo>
                  <a:close/>
                  <a:moveTo>
                    <a:pt x="724" y="511"/>
                  </a:moveTo>
                  <a:lnTo>
                    <a:pt x="722" y="511"/>
                  </a:lnTo>
                  <a:lnTo>
                    <a:pt x="724" y="511"/>
                  </a:lnTo>
                  <a:close/>
                  <a:moveTo>
                    <a:pt x="724" y="515"/>
                  </a:moveTo>
                  <a:lnTo>
                    <a:pt x="724" y="513"/>
                  </a:lnTo>
                  <a:lnTo>
                    <a:pt x="724" y="515"/>
                  </a:lnTo>
                  <a:close/>
                  <a:moveTo>
                    <a:pt x="511" y="379"/>
                  </a:moveTo>
                  <a:lnTo>
                    <a:pt x="511" y="377"/>
                  </a:lnTo>
                  <a:lnTo>
                    <a:pt x="511" y="379"/>
                  </a:lnTo>
                  <a:close/>
                  <a:moveTo>
                    <a:pt x="726" y="461"/>
                  </a:moveTo>
                  <a:lnTo>
                    <a:pt x="726" y="459"/>
                  </a:lnTo>
                  <a:lnTo>
                    <a:pt x="726" y="461"/>
                  </a:lnTo>
                  <a:close/>
                  <a:moveTo>
                    <a:pt x="595" y="446"/>
                  </a:moveTo>
                  <a:lnTo>
                    <a:pt x="595" y="444"/>
                  </a:lnTo>
                  <a:lnTo>
                    <a:pt x="595" y="446"/>
                  </a:lnTo>
                  <a:close/>
                  <a:moveTo>
                    <a:pt x="726" y="461"/>
                  </a:moveTo>
                  <a:lnTo>
                    <a:pt x="726" y="463"/>
                  </a:lnTo>
                  <a:lnTo>
                    <a:pt x="726" y="461"/>
                  </a:lnTo>
                  <a:close/>
                  <a:moveTo>
                    <a:pt x="724" y="505"/>
                  </a:moveTo>
                  <a:lnTo>
                    <a:pt x="724" y="507"/>
                  </a:lnTo>
                  <a:lnTo>
                    <a:pt x="724" y="505"/>
                  </a:lnTo>
                  <a:close/>
                  <a:moveTo>
                    <a:pt x="603" y="436"/>
                  </a:moveTo>
                  <a:lnTo>
                    <a:pt x="601" y="436"/>
                  </a:lnTo>
                  <a:lnTo>
                    <a:pt x="603" y="436"/>
                  </a:lnTo>
                  <a:close/>
                  <a:moveTo>
                    <a:pt x="561" y="607"/>
                  </a:moveTo>
                  <a:lnTo>
                    <a:pt x="561" y="609"/>
                  </a:lnTo>
                  <a:lnTo>
                    <a:pt x="561" y="607"/>
                  </a:lnTo>
                  <a:lnTo>
                    <a:pt x="561" y="609"/>
                  </a:lnTo>
                  <a:lnTo>
                    <a:pt x="561" y="607"/>
                  </a:lnTo>
                  <a:close/>
                  <a:moveTo>
                    <a:pt x="519" y="469"/>
                  </a:moveTo>
                  <a:lnTo>
                    <a:pt x="519" y="467"/>
                  </a:lnTo>
                  <a:lnTo>
                    <a:pt x="519" y="469"/>
                  </a:lnTo>
                  <a:close/>
                  <a:moveTo>
                    <a:pt x="503" y="350"/>
                  </a:moveTo>
                  <a:lnTo>
                    <a:pt x="501" y="350"/>
                  </a:lnTo>
                  <a:lnTo>
                    <a:pt x="503" y="350"/>
                  </a:lnTo>
                  <a:close/>
                  <a:moveTo>
                    <a:pt x="642" y="432"/>
                  </a:moveTo>
                  <a:lnTo>
                    <a:pt x="642" y="430"/>
                  </a:lnTo>
                  <a:lnTo>
                    <a:pt x="642" y="432"/>
                  </a:lnTo>
                  <a:close/>
                  <a:moveTo>
                    <a:pt x="691" y="432"/>
                  </a:moveTo>
                  <a:lnTo>
                    <a:pt x="691" y="430"/>
                  </a:lnTo>
                  <a:lnTo>
                    <a:pt x="691" y="432"/>
                  </a:lnTo>
                  <a:close/>
                  <a:moveTo>
                    <a:pt x="638" y="427"/>
                  </a:moveTo>
                  <a:lnTo>
                    <a:pt x="636" y="427"/>
                  </a:lnTo>
                  <a:lnTo>
                    <a:pt x="638" y="427"/>
                  </a:lnTo>
                  <a:close/>
                  <a:moveTo>
                    <a:pt x="730" y="478"/>
                  </a:moveTo>
                  <a:lnTo>
                    <a:pt x="730" y="476"/>
                  </a:lnTo>
                  <a:lnTo>
                    <a:pt x="730" y="478"/>
                  </a:lnTo>
                  <a:close/>
                  <a:moveTo>
                    <a:pt x="544" y="379"/>
                  </a:moveTo>
                  <a:lnTo>
                    <a:pt x="544" y="380"/>
                  </a:lnTo>
                  <a:lnTo>
                    <a:pt x="544" y="379"/>
                  </a:lnTo>
                  <a:close/>
                  <a:moveTo>
                    <a:pt x="553" y="613"/>
                  </a:moveTo>
                  <a:lnTo>
                    <a:pt x="553" y="615"/>
                  </a:lnTo>
                  <a:lnTo>
                    <a:pt x="553" y="613"/>
                  </a:lnTo>
                  <a:close/>
                  <a:moveTo>
                    <a:pt x="722" y="511"/>
                  </a:moveTo>
                  <a:lnTo>
                    <a:pt x="724" y="511"/>
                  </a:lnTo>
                  <a:lnTo>
                    <a:pt x="722" y="511"/>
                  </a:lnTo>
                  <a:close/>
                  <a:moveTo>
                    <a:pt x="571" y="379"/>
                  </a:moveTo>
                  <a:lnTo>
                    <a:pt x="569" y="379"/>
                  </a:lnTo>
                  <a:lnTo>
                    <a:pt x="571" y="379"/>
                  </a:lnTo>
                  <a:close/>
                  <a:moveTo>
                    <a:pt x="709" y="546"/>
                  </a:moveTo>
                  <a:lnTo>
                    <a:pt x="709" y="544"/>
                  </a:lnTo>
                  <a:lnTo>
                    <a:pt x="709" y="546"/>
                  </a:lnTo>
                  <a:close/>
                  <a:moveTo>
                    <a:pt x="686" y="440"/>
                  </a:moveTo>
                  <a:lnTo>
                    <a:pt x="686" y="442"/>
                  </a:lnTo>
                  <a:lnTo>
                    <a:pt x="686" y="440"/>
                  </a:lnTo>
                  <a:lnTo>
                    <a:pt x="686" y="442"/>
                  </a:lnTo>
                  <a:lnTo>
                    <a:pt x="686" y="440"/>
                  </a:lnTo>
                  <a:close/>
                  <a:moveTo>
                    <a:pt x="578" y="592"/>
                  </a:moveTo>
                  <a:lnTo>
                    <a:pt x="578" y="594"/>
                  </a:lnTo>
                  <a:lnTo>
                    <a:pt x="578" y="592"/>
                  </a:lnTo>
                  <a:close/>
                  <a:moveTo>
                    <a:pt x="697" y="436"/>
                  </a:moveTo>
                  <a:lnTo>
                    <a:pt x="695" y="436"/>
                  </a:lnTo>
                  <a:lnTo>
                    <a:pt x="697" y="436"/>
                  </a:lnTo>
                  <a:close/>
                  <a:moveTo>
                    <a:pt x="684" y="442"/>
                  </a:moveTo>
                  <a:lnTo>
                    <a:pt x="684" y="444"/>
                  </a:lnTo>
                  <a:lnTo>
                    <a:pt x="682" y="444"/>
                  </a:lnTo>
                  <a:lnTo>
                    <a:pt x="682" y="442"/>
                  </a:lnTo>
                  <a:lnTo>
                    <a:pt x="684" y="442"/>
                  </a:lnTo>
                  <a:close/>
                  <a:moveTo>
                    <a:pt x="703" y="555"/>
                  </a:moveTo>
                  <a:lnTo>
                    <a:pt x="705" y="555"/>
                  </a:lnTo>
                  <a:lnTo>
                    <a:pt x="703" y="555"/>
                  </a:lnTo>
                  <a:lnTo>
                    <a:pt x="705" y="555"/>
                  </a:lnTo>
                  <a:lnTo>
                    <a:pt x="703" y="555"/>
                  </a:lnTo>
                  <a:close/>
                  <a:moveTo>
                    <a:pt x="661" y="546"/>
                  </a:moveTo>
                  <a:lnTo>
                    <a:pt x="659" y="546"/>
                  </a:lnTo>
                  <a:lnTo>
                    <a:pt x="661" y="546"/>
                  </a:lnTo>
                  <a:close/>
                  <a:moveTo>
                    <a:pt x="25" y="14"/>
                  </a:moveTo>
                  <a:lnTo>
                    <a:pt x="25" y="16"/>
                  </a:lnTo>
                  <a:lnTo>
                    <a:pt x="25" y="14"/>
                  </a:lnTo>
                  <a:close/>
                  <a:moveTo>
                    <a:pt x="707" y="450"/>
                  </a:moveTo>
                  <a:lnTo>
                    <a:pt x="707" y="448"/>
                  </a:lnTo>
                  <a:lnTo>
                    <a:pt x="707" y="450"/>
                  </a:lnTo>
                  <a:lnTo>
                    <a:pt x="707" y="448"/>
                  </a:lnTo>
                  <a:lnTo>
                    <a:pt x="707" y="450"/>
                  </a:lnTo>
                  <a:close/>
                  <a:moveTo>
                    <a:pt x="645" y="404"/>
                  </a:moveTo>
                  <a:lnTo>
                    <a:pt x="645" y="405"/>
                  </a:lnTo>
                  <a:lnTo>
                    <a:pt x="645" y="404"/>
                  </a:lnTo>
                  <a:close/>
                  <a:moveTo>
                    <a:pt x="576" y="596"/>
                  </a:moveTo>
                  <a:lnTo>
                    <a:pt x="576" y="597"/>
                  </a:lnTo>
                  <a:lnTo>
                    <a:pt x="576" y="596"/>
                  </a:lnTo>
                  <a:close/>
                  <a:moveTo>
                    <a:pt x="691" y="407"/>
                  </a:moveTo>
                  <a:lnTo>
                    <a:pt x="690" y="407"/>
                  </a:lnTo>
                  <a:lnTo>
                    <a:pt x="691" y="407"/>
                  </a:lnTo>
                  <a:close/>
                  <a:moveTo>
                    <a:pt x="724" y="513"/>
                  </a:moveTo>
                  <a:lnTo>
                    <a:pt x="722" y="513"/>
                  </a:lnTo>
                  <a:lnTo>
                    <a:pt x="722" y="511"/>
                  </a:lnTo>
                  <a:lnTo>
                    <a:pt x="724" y="511"/>
                  </a:lnTo>
                  <a:lnTo>
                    <a:pt x="724" y="513"/>
                  </a:lnTo>
                  <a:close/>
                  <a:moveTo>
                    <a:pt x="325" y="300"/>
                  </a:moveTo>
                  <a:lnTo>
                    <a:pt x="325" y="298"/>
                  </a:lnTo>
                  <a:lnTo>
                    <a:pt x="325" y="300"/>
                  </a:lnTo>
                  <a:close/>
                  <a:moveTo>
                    <a:pt x="329" y="306"/>
                  </a:moveTo>
                  <a:lnTo>
                    <a:pt x="327" y="306"/>
                  </a:lnTo>
                  <a:lnTo>
                    <a:pt x="329" y="306"/>
                  </a:lnTo>
                  <a:close/>
                  <a:moveTo>
                    <a:pt x="764" y="480"/>
                  </a:moveTo>
                  <a:lnTo>
                    <a:pt x="764" y="478"/>
                  </a:lnTo>
                  <a:lnTo>
                    <a:pt x="764" y="480"/>
                  </a:lnTo>
                  <a:close/>
                  <a:moveTo>
                    <a:pt x="329" y="311"/>
                  </a:moveTo>
                  <a:lnTo>
                    <a:pt x="329" y="309"/>
                  </a:lnTo>
                  <a:lnTo>
                    <a:pt x="329" y="311"/>
                  </a:lnTo>
                  <a:close/>
                  <a:moveTo>
                    <a:pt x="323" y="300"/>
                  </a:moveTo>
                  <a:lnTo>
                    <a:pt x="321" y="300"/>
                  </a:lnTo>
                  <a:lnTo>
                    <a:pt x="323" y="300"/>
                  </a:lnTo>
                  <a:close/>
                  <a:moveTo>
                    <a:pt x="327" y="302"/>
                  </a:moveTo>
                  <a:lnTo>
                    <a:pt x="325" y="302"/>
                  </a:lnTo>
                  <a:lnTo>
                    <a:pt x="327" y="302"/>
                  </a:lnTo>
                  <a:close/>
                  <a:moveTo>
                    <a:pt x="507" y="392"/>
                  </a:moveTo>
                  <a:lnTo>
                    <a:pt x="509" y="392"/>
                  </a:lnTo>
                  <a:lnTo>
                    <a:pt x="507" y="392"/>
                  </a:lnTo>
                  <a:close/>
                  <a:moveTo>
                    <a:pt x="325" y="304"/>
                  </a:moveTo>
                  <a:lnTo>
                    <a:pt x="325" y="302"/>
                  </a:lnTo>
                  <a:lnTo>
                    <a:pt x="325" y="304"/>
                  </a:lnTo>
                  <a:close/>
                  <a:moveTo>
                    <a:pt x="763" y="490"/>
                  </a:moveTo>
                  <a:lnTo>
                    <a:pt x="764" y="490"/>
                  </a:lnTo>
                  <a:lnTo>
                    <a:pt x="763" y="490"/>
                  </a:lnTo>
                  <a:close/>
                  <a:moveTo>
                    <a:pt x="776" y="469"/>
                  </a:moveTo>
                  <a:lnTo>
                    <a:pt x="774" y="469"/>
                  </a:lnTo>
                  <a:lnTo>
                    <a:pt x="776" y="469"/>
                  </a:lnTo>
                  <a:close/>
                </a:path>
              </a:pathLst>
            </a:custGeom>
            <a:solidFill>
              <a:srgbClr val="FD685D"/>
            </a:solidFill>
            <a:ln w="3175">
              <a:solidFill>
                <a:sysClr val="window" lastClr="FFFF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black"/>
                </a:solidFill>
                <a:effectLst/>
                <a:uLnTx/>
                <a:uFillTx/>
                <a:ea typeface="宋体" panose="02010600030101010101" pitchFamily="2" charset="-122"/>
              </a:endParaRPr>
            </a:p>
          </p:txBody>
        </p:sp>
        <p:sp>
          <p:nvSpPr>
            <p:cNvPr id="65" name="Freeform 1004">
              <a:extLst>
                <a:ext uri="{FF2B5EF4-FFF2-40B4-BE49-F238E27FC236}">
                  <a16:creationId xmlns:a16="http://schemas.microsoft.com/office/drawing/2014/main" id="{74ACA0C4-A314-1A4A-985C-1D30AC07ADDB}"/>
                </a:ext>
              </a:extLst>
            </p:cNvPr>
            <p:cNvSpPr>
              <a:spLocks noEditPoints="1"/>
            </p:cNvSpPr>
            <p:nvPr/>
          </p:nvSpPr>
          <p:spPr bwMode="auto">
            <a:xfrm>
              <a:off x="5973763" y="3848101"/>
              <a:ext cx="384175" cy="384175"/>
            </a:xfrm>
            <a:custGeom>
              <a:avLst/>
              <a:gdLst>
                <a:gd name="T0" fmla="*/ 162 w 242"/>
                <a:gd name="T1" fmla="*/ 21 h 242"/>
                <a:gd name="T2" fmla="*/ 160 w 242"/>
                <a:gd name="T3" fmla="*/ 23 h 242"/>
                <a:gd name="T4" fmla="*/ 160 w 242"/>
                <a:gd name="T5" fmla="*/ 35 h 242"/>
                <a:gd name="T6" fmla="*/ 164 w 242"/>
                <a:gd name="T7" fmla="*/ 42 h 242"/>
                <a:gd name="T8" fmla="*/ 160 w 242"/>
                <a:gd name="T9" fmla="*/ 54 h 242"/>
                <a:gd name="T10" fmla="*/ 158 w 242"/>
                <a:gd name="T11" fmla="*/ 67 h 242"/>
                <a:gd name="T12" fmla="*/ 175 w 242"/>
                <a:gd name="T13" fmla="*/ 60 h 242"/>
                <a:gd name="T14" fmla="*/ 175 w 242"/>
                <a:gd name="T15" fmla="*/ 75 h 242"/>
                <a:gd name="T16" fmla="*/ 185 w 242"/>
                <a:gd name="T17" fmla="*/ 81 h 242"/>
                <a:gd name="T18" fmla="*/ 185 w 242"/>
                <a:gd name="T19" fmla="*/ 81 h 242"/>
                <a:gd name="T20" fmla="*/ 196 w 242"/>
                <a:gd name="T21" fmla="*/ 88 h 242"/>
                <a:gd name="T22" fmla="*/ 206 w 242"/>
                <a:gd name="T23" fmla="*/ 102 h 242"/>
                <a:gd name="T24" fmla="*/ 225 w 242"/>
                <a:gd name="T25" fmla="*/ 98 h 242"/>
                <a:gd name="T26" fmla="*/ 240 w 242"/>
                <a:gd name="T27" fmla="*/ 94 h 242"/>
                <a:gd name="T28" fmla="*/ 231 w 242"/>
                <a:gd name="T29" fmla="*/ 108 h 242"/>
                <a:gd name="T30" fmla="*/ 223 w 242"/>
                <a:gd name="T31" fmla="*/ 127 h 242"/>
                <a:gd name="T32" fmla="*/ 215 w 242"/>
                <a:gd name="T33" fmla="*/ 136 h 242"/>
                <a:gd name="T34" fmla="*/ 213 w 242"/>
                <a:gd name="T35" fmla="*/ 142 h 242"/>
                <a:gd name="T36" fmla="*/ 202 w 242"/>
                <a:gd name="T37" fmla="*/ 158 h 242"/>
                <a:gd name="T38" fmla="*/ 192 w 242"/>
                <a:gd name="T39" fmla="*/ 175 h 242"/>
                <a:gd name="T40" fmla="*/ 177 w 242"/>
                <a:gd name="T41" fmla="*/ 186 h 242"/>
                <a:gd name="T42" fmla="*/ 167 w 242"/>
                <a:gd name="T43" fmla="*/ 196 h 242"/>
                <a:gd name="T44" fmla="*/ 158 w 242"/>
                <a:gd name="T45" fmla="*/ 204 h 242"/>
                <a:gd name="T46" fmla="*/ 146 w 242"/>
                <a:gd name="T47" fmla="*/ 211 h 242"/>
                <a:gd name="T48" fmla="*/ 144 w 242"/>
                <a:gd name="T49" fmla="*/ 209 h 242"/>
                <a:gd name="T50" fmla="*/ 140 w 242"/>
                <a:gd name="T51" fmla="*/ 209 h 242"/>
                <a:gd name="T52" fmla="*/ 135 w 242"/>
                <a:gd name="T53" fmla="*/ 211 h 242"/>
                <a:gd name="T54" fmla="*/ 127 w 242"/>
                <a:gd name="T55" fmla="*/ 211 h 242"/>
                <a:gd name="T56" fmla="*/ 112 w 242"/>
                <a:gd name="T57" fmla="*/ 207 h 242"/>
                <a:gd name="T58" fmla="*/ 102 w 242"/>
                <a:gd name="T59" fmla="*/ 188 h 242"/>
                <a:gd name="T60" fmla="*/ 91 w 242"/>
                <a:gd name="T61" fmla="*/ 190 h 242"/>
                <a:gd name="T62" fmla="*/ 87 w 242"/>
                <a:gd name="T63" fmla="*/ 188 h 242"/>
                <a:gd name="T64" fmla="*/ 73 w 242"/>
                <a:gd name="T65" fmla="*/ 152 h 242"/>
                <a:gd name="T66" fmla="*/ 54 w 242"/>
                <a:gd name="T67" fmla="*/ 110 h 242"/>
                <a:gd name="T68" fmla="*/ 27 w 242"/>
                <a:gd name="T69" fmla="*/ 108 h 242"/>
                <a:gd name="T70" fmla="*/ 4 w 242"/>
                <a:gd name="T71" fmla="*/ 119 h 242"/>
                <a:gd name="T72" fmla="*/ 20 w 242"/>
                <a:gd name="T73" fmla="*/ 92 h 242"/>
                <a:gd name="T74" fmla="*/ 33 w 242"/>
                <a:gd name="T75" fmla="*/ 56 h 242"/>
                <a:gd name="T76" fmla="*/ 58 w 242"/>
                <a:gd name="T77" fmla="*/ 54 h 242"/>
                <a:gd name="T78" fmla="*/ 77 w 242"/>
                <a:gd name="T79" fmla="*/ 37 h 242"/>
                <a:gd name="T80" fmla="*/ 94 w 242"/>
                <a:gd name="T81" fmla="*/ 31 h 242"/>
                <a:gd name="T82" fmla="*/ 125 w 242"/>
                <a:gd name="T83" fmla="*/ 38 h 242"/>
                <a:gd name="T84" fmla="*/ 133 w 242"/>
                <a:gd name="T85" fmla="*/ 35 h 242"/>
                <a:gd name="T86" fmla="*/ 148 w 242"/>
                <a:gd name="T87" fmla="*/ 19 h 242"/>
                <a:gd name="T88" fmla="*/ 167 w 242"/>
                <a:gd name="T89" fmla="*/ 14 h 242"/>
                <a:gd name="T90" fmla="*/ 160 w 242"/>
                <a:gd name="T91" fmla="*/ 14 h 242"/>
                <a:gd name="T92" fmla="*/ 156 w 242"/>
                <a:gd name="T93" fmla="*/ 229 h 242"/>
                <a:gd name="T94" fmla="*/ 152 w 242"/>
                <a:gd name="T95" fmla="*/ 232 h 242"/>
                <a:gd name="T96" fmla="*/ 164 w 242"/>
                <a:gd name="T97" fmla="*/ 8 h 242"/>
                <a:gd name="T98" fmla="*/ 144 w 242"/>
                <a:gd name="T99" fmla="*/ 227 h 242"/>
                <a:gd name="T100" fmla="*/ 140 w 242"/>
                <a:gd name="T101" fmla="*/ 223 h 242"/>
                <a:gd name="T102" fmla="*/ 156 w 242"/>
                <a:gd name="T103" fmla="*/ 15 h 242"/>
                <a:gd name="T104" fmla="*/ 100 w 242"/>
                <a:gd name="T105" fmla="*/ 29 h 242"/>
                <a:gd name="T106" fmla="*/ 164 w 242"/>
                <a:gd name="T107" fmla="*/ 63 h 242"/>
                <a:gd name="T108" fmla="*/ 185 w 242"/>
                <a:gd name="T109" fmla="*/ 79 h 242"/>
                <a:gd name="T110" fmla="*/ 140 w 242"/>
                <a:gd name="T111" fmla="*/ 215 h 242"/>
                <a:gd name="T112" fmla="*/ 142 w 242"/>
                <a:gd name="T113" fmla="*/ 219 h 242"/>
                <a:gd name="T114" fmla="*/ 162 w 242"/>
                <a:gd name="T115" fmla="*/ 33 h 242"/>
                <a:gd name="T116" fmla="*/ 140 w 242"/>
                <a:gd name="T117" fmla="*/ 217 h 242"/>
                <a:gd name="T118" fmla="*/ 87 w 242"/>
                <a:gd name="T119" fmla="*/ 188 h 242"/>
                <a:gd name="T120" fmla="*/ 140 w 242"/>
                <a:gd name="T121" fmla="*/ 219 h 242"/>
                <a:gd name="T122" fmla="*/ 140 w 242"/>
                <a:gd name="T123" fmla="*/ 213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42" h="242">
                  <a:moveTo>
                    <a:pt x="156" y="17"/>
                  </a:moveTo>
                  <a:lnTo>
                    <a:pt x="158" y="17"/>
                  </a:lnTo>
                  <a:lnTo>
                    <a:pt x="158" y="19"/>
                  </a:lnTo>
                  <a:lnTo>
                    <a:pt x="158" y="17"/>
                  </a:lnTo>
                  <a:lnTo>
                    <a:pt x="158" y="19"/>
                  </a:lnTo>
                  <a:lnTo>
                    <a:pt x="156" y="19"/>
                  </a:lnTo>
                  <a:lnTo>
                    <a:pt x="158" y="19"/>
                  </a:lnTo>
                  <a:lnTo>
                    <a:pt x="156" y="19"/>
                  </a:lnTo>
                  <a:lnTo>
                    <a:pt x="156" y="21"/>
                  </a:lnTo>
                  <a:lnTo>
                    <a:pt x="154" y="21"/>
                  </a:lnTo>
                  <a:lnTo>
                    <a:pt x="156" y="21"/>
                  </a:lnTo>
                  <a:lnTo>
                    <a:pt x="158" y="21"/>
                  </a:lnTo>
                  <a:lnTo>
                    <a:pt x="156" y="21"/>
                  </a:lnTo>
                  <a:lnTo>
                    <a:pt x="158" y="21"/>
                  </a:lnTo>
                  <a:lnTo>
                    <a:pt x="156" y="21"/>
                  </a:lnTo>
                  <a:lnTo>
                    <a:pt x="158" y="21"/>
                  </a:lnTo>
                  <a:lnTo>
                    <a:pt x="158" y="19"/>
                  </a:lnTo>
                  <a:lnTo>
                    <a:pt x="158" y="21"/>
                  </a:lnTo>
                  <a:lnTo>
                    <a:pt x="160" y="21"/>
                  </a:lnTo>
                  <a:lnTo>
                    <a:pt x="160" y="23"/>
                  </a:lnTo>
                  <a:lnTo>
                    <a:pt x="162" y="23"/>
                  </a:lnTo>
                  <a:lnTo>
                    <a:pt x="160" y="23"/>
                  </a:lnTo>
                  <a:lnTo>
                    <a:pt x="160" y="21"/>
                  </a:lnTo>
                  <a:lnTo>
                    <a:pt x="162" y="21"/>
                  </a:lnTo>
                  <a:lnTo>
                    <a:pt x="160" y="21"/>
                  </a:lnTo>
                  <a:lnTo>
                    <a:pt x="160" y="19"/>
                  </a:lnTo>
                  <a:lnTo>
                    <a:pt x="160" y="17"/>
                  </a:lnTo>
                  <a:lnTo>
                    <a:pt x="162" y="17"/>
                  </a:lnTo>
                  <a:lnTo>
                    <a:pt x="162" y="19"/>
                  </a:lnTo>
                  <a:lnTo>
                    <a:pt x="162" y="17"/>
                  </a:lnTo>
                  <a:lnTo>
                    <a:pt x="162" y="19"/>
                  </a:lnTo>
                  <a:lnTo>
                    <a:pt x="162" y="17"/>
                  </a:lnTo>
                  <a:lnTo>
                    <a:pt x="162" y="19"/>
                  </a:lnTo>
                  <a:lnTo>
                    <a:pt x="164" y="19"/>
                  </a:lnTo>
                  <a:lnTo>
                    <a:pt x="164" y="21"/>
                  </a:lnTo>
                  <a:lnTo>
                    <a:pt x="164" y="19"/>
                  </a:lnTo>
                  <a:lnTo>
                    <a:pt x="164" y="21"/>
                  </a:lnTo>
                  <a:lnTo>
                    <a:pt x="162" y="21"/>
                  </a:lnTo>
                  <a:lnTo>
                    <a:pt x="162" y="23"/>
                  </a:lnTo>
                  <a:lnTo>
                    <a:pt x="162" y="21"/>
                  </a:lnTo>
                  <a:lnTo>
                    <a:pt x="164" y="21"/>
                  </a:lnTo>
                  <a:lnTo>
                    <a:pt x="162" y="21"/>
                  </a:lnTo>
                  <a:lnTo>
                    <a:pt x="162" y="23"/>
                  </a:lnTo>
                  <a:lnTo>
                    <a:pt x="162" y="25"/>
                  </a:lnTo>
                  <a:lnTo>
                    <a:pt x="160" y="25"/>
                  </a:lnTo>
                  <a:lnTo>
                    <a:pt x="160" y="23"/>
                  </a:lnTo>
                  <a:lnTo>
                    <a:pt x="160" y="25"/>
                  </a:lnTo>
                  <a:lnTo>
                    <a:pt x="160" y="23"/>
                  </a:lnTo>
                  <a:lnTo>
                    <a:pt x="158" y="23"/>
                  </a:lnTo>
                  <a:lnTo>
                    <a:pt x="158" y="25"/>
                  </a:lnTo>
                  <a:lnTo>
                    <a:pt x="158" y="23"/>
                  </a:lnTo>
                  <a:lnTo>
                    <a:pt x="158" y="25"/>
                  </a:lnTo>
                  <a:lnTo>
                    <a:pt x="160" y="25"/>
                  </a:lnTo>
                  <a:lnTo>
                    <a:pt x="160" y="27"/>
                  </a:lnTo>
                  <a:lnTo>
                    <a:pt x="162" y="27"/>
                  </a:lnTo>
                  <a:lnTo>
                    <a:pt x="162" y="25"/>
                  </a:lnTo>
                  <a:lnTo>
                    <a:pt x="162" y="27"/>
                  </a:lnTo>
                  <a:lnTo>
                    <a:pt x="162" y="29"/>
                  </a:lnTo>
                  <a:lnTo>
                    <a:pt x="162" y="31"/>
                  </a:lnTo>
                  <a:lnTo>
                    <a:pt x="162" y="29"/>
                  </a:lnTo>
                  <a:lnTo>
                    <a:pt x="160" y="29"/>
                  </a:lnTo>
                  <a:lnTo>
                    <a:pt x="162" y="29"/>
                  </a:lnTo>
                  <a:lnTo>
                    <a:pt x="162" y="31"/>
                  </a:lnTo>
                  <a:lnTo>
                    <a:pt x="160" y="31"/>
                  </a:lnTo>
                  <a:lnTo>
                    <a:pt x="160" y="33"/>
                  </a:lnTo>
                  <a:lnTo>
                    <a:pt x="160" y="31"/>
                  </a:lnTo>
                  <a:lnTo>
                    <a:pt x="160" y="33"/>
                  </a:lnTo>
                  <a:lnTo>
                    <a:pt x="160" y="31"/>
                  </a:lnTo>
                  <a:lnTo>
                    <a:pt x="160" y="33"/>
                  </a:lnTo>
                  <a:lnTo>
                    <a:pt x="160" y="31"/>
                  </a:lnTo>
                  <a:lnTo>
                    <a:pt x="160" y="33"/>
                  </a:lnTo>
                  <a:lnTo>
                    <a:pt x="160" y="35"/>
                  </a:lnTo>
                  <a:lnTo>
                    <a:pt x="162" y="35"/>
                  </a:lnTo>
                  <a:lnTo>
                    <a:pt x="160" y="35"/>
                  </a:lnTo>
                  <a:lnTo>
                    <a:pt x="162" y="35"/>
                  </a:lnTo>
                  <a:lnTo>
                    <a:pt x="160" y="35"/>
                  </a:lnTo>
                  <a:lnTo>
                    <a:pt x="160" y="37"/>
                  </a:lnTo>
                  <a:lnTo>
                    <a:pt x="162" y="37"/>
                  </a:lnTo>
                  <a:lnTo>
                    <a:pt x="160" y="37"/>
                  </a:lnTo>
                  <a:lnTo>
                    <a:pt x="162" y="37"/>
                  </a:lnTo>
                  <a:lnTo>
                    <a:pt x="162" y="35"/>
                  </a:lnTo>
                  <a:lnTo>
                    <a:pt x="162" y="37"/>
                  </a:lnTo>
                  <a:lnTo>
                    <a:pt x="162" y="35"/>
                  </a:lnTo>
                  <a:lnTo>
                    <a:pt x="162" y="37"/>
                  </a:lnTo>
                  <a:lnTo>
                    <a:pt x="160" y="37"/>
                  </a:lnTo>
                  <a:lnTo>
                    <a:pt x="162" y="37"/>
                  </a:lnTo>
                  <a:lnTo>
                    <a:pt x="162" y="38"/>
                  </a:lnTo>
                  <a:lnTo>
                    <a:pt x="162" y="37"/>
                  </a:lnTo>
                  <a:lnTo>
                    <a:pt x="164" y="37"/>
                  </a:lnTo>
                  <a:lnTo>
                    <a:pt x="164" y="38"/>
                  </a:lnTo>
                  <a:lnTo>
                    <a:pt x="164" y="40"/>
                  </a:lnTo>
                  <a:lnTo>
                    <a:pt x="164" y="42"/>
                  </a:lnTo>
                  <a:lnTo>
                    <a:pt x="164" y="44"/>
                  </a:lnTo>
                  <a:lnTo>
                    <a:pt x="164" y="42"/>
                  </a:lnTo>
                  <a:lnTo>
                    <a:pt x="162" y="42"/>
                  </a:lnTo>
                  <a:lnTo>
                    <a:pt x="164" y="42"/>
                  </a:lnTo>
                  <a:lnTo>
                    <a:pt x="162" y="42"/>
                  </a:lnTo>
                  <a:lnTo>
                    <a:pt x="164" y="42"/>
                  </a:lnTo>
                  <a:lnTo>
                    <a:pt x="162" y="42"/>
                  </a:lnTo>
                  <a:lnTo>
                    <a:pt x="164" y="42"/>
                  </a:lnTo>
                  <a:lnTo>
                    <a:pt x="164" y="44"/>
                  </a:lnTo>
                  <a:lnTo>
                    <a:pt x="162" y="44"/>
                  </a:lnTo>
                  <a:lnTo>
                    <a:pt x="164" y="44"/>
                  </a:lnTo>
                  <a:lnTo>
                    <a:pt x="162" y="44"/>
                  </a:lnTo>
                  <a:lnTo>
                    <a:pt x="164" y="44"/>
                  </a:lnTo>
                  <a:lnTo>
                    <a:pt x="162" y="44"/>
                  </a:lnTo>
                  <a:lnTo>
                    <a:pt x="164" y="44"/>
                  </a:lnTo>
                  <a:lnTo>
                    <a:pt x="162" y="44"/>
                  </a:lnTo>
                  <a:lnTo>
                    <a:pt x="162" y="46"/>
                  </a:lnTo>
                  <a:lnTo>
                    <a:pt x="164" y="46"/>
                  </a:lnTo>
                  <a:lnTo>
                    <a:pt x="162" y="46"/>
                  </a:lnTo>
                  <a:lnTo>
                    <a:pt x="164" y="46"/>
                  </a:lnTo>
                  <a:lnTo>
                    <a:pt x="164" y="48"/>
                  </a:lnTo>
                  <a:lnTo>
                    <a:pt x="164" y="50"/>
                  </a:lnTo>
                  <a:lnTo>
                    <a:pt x="162" y="50"/>
                  </a:lnTo>
                  <a:lnTo>
                    <a:pt x="162" y="52"/>
                  </a:lnTo>
                  <a:lnTo>
                    <a:pt x="162" y="54"/>
                  </a:lnTo>
                  <a:lnTo>
                    <a:pt x="160" y="54"/>
                  </a:lnTo>
                  <a:lnTo>
                    <a:pt x="160" y="56"/>
                  </a:lnTo>
                  <a:lnTo>
                    <a:pt x="160" y="54"/>
                  </a:lnTo>
                  <a:lnTo>
                    <a:pt x="160" y="56"/>
                  </a:lnTo>
                  <a:lnTo>
                    <a:pt x="160" y="58"/>
                  </a:lnTo>
                  <a:lnTo>
                    <a:pt x="160" y="60"/>
                  </a:lnTo>
                  <a:lnTo>
                    <a:pt x="158" y="60"/>
                  </a:lnTo>
                  <a:lnTo>
                    <a:pt x="158" y="62"/>
                  </a:lnTo>
                  <a:lnTo>
                    <a:pt x="158" y="60"/>
                  </a:lnTo>
                  <a:lnTo>
                    <a:pt x="158" y="62"/>
                  </a:lnTo>
                  <a:lnTo>
                    <a:pt x="158" y="63"/>
                  </a:lnTo>
                  <a:lnTo>
                    <a:pt x="156" y="63"/>
                  </a:lnTo>
                  <a:lnTo>
                    <a:pt x="156" y="65"/>
                  </a:lnTo>
                  <a:lnTo>
                    <a:pt x="154" y="65"/>
                  </a:lnTo>
                  <a:lnTo>
                    <a:pt x="154" y="67"/>
                  </a:lnTo>
                  <a:lnTo>
                    <a:pt x="154" y="69"/>
                  </a:lnTo>
                  <a:lnTo>
                    <a:pt x="154" y="67"/>
                  </a:lnTo>
                  <a:lnTo>
                    <a:pt x="154" y="69"/>
                  </a:lnTo>
                  <a:lnTo>
                    <a:pt x="156" y="69"/>
                  </a:lnTo>
                  <a:lnTo>
                    <a:pt x="156" y="67"/>
                  </a:lnTo>
                  <a:lnTo>
                    <a:pt x="156" y="69"/>
                  </a:lnTo>
                  <a:lnTo>
                    <a:pt x="156" y="67"/>
                  </a:lnTo>
                  <a:lnTo>
                    <a:pt x="156" y="69"/>
                  </a:lnTo>
                  <a:lnTo>
                    <a:pt x="156" y="67"/>
                  </a:lnTo>
                  <a:lnTo>
                    <a:pt x="158" y="67"/>
                  </a:lnTo>
                  <a:lnTo>
                    <a:pt x="158" y="69"/>
                  </a:lnTo>
                  <a:lnTo>
                    <a:pt x="158" y="67"/>
                  </a:lnTo>
                  <a:lnTo>
                    <a:pt x="158" y="69"/>
                  </a:lnTo>
                  <a:lnTo>
                    <a:pt x="158" y="67"/>
                  </a:lnTo>
                  <a:lnTo>
                    <a:pt x="160" y="65"/>
                  </a:lnTo>
                  <a:lnTo>
                    <a:pt x="160" y="67"/>
                  </a:lnTo>
                  <a:lnTo>
                    <a:pt x="162" y="67"/>
                  </a:lnTo>
                  <a:lnTo>
                    <a:pt x="164" y="67"/>
                  </a:lnTo>
                  <a:lnTo>
                    <a:pt x="164" y="65"/>
                  </a:lnTo>
                  <a:lnTo>
                    <a:pt x="164" y="63"/>
                  </a:lnTo>
                  <a:lnTo>
                    <a:pt x="165" y="63"/>
                  </a:lnTo>
                  <a:lnTo>
                    <a:pt x="165" y="62"/>
                  </a:lnTo>
                  <a:lnTo>
                    <a:pt x="167" y="62"/>
                  </a:lnTo>
                  <a:lnTo>
                    <a:pt x="167" y="63"/>
                  </a:lnTo>
                  <a:lnTo>
                    <a:pt x="167" y="62"/>
                  </a:lnTo>
                  <a:lnTo>
                    <a:pt x="167" y="63"/>
                  </a:lnTo>
                  <a:lnTo>
                    <a:pt x="169" y="63"/>
                  </a:lnTo>
                  <a:lnTo>
                    <a:pt x="171" y="63"/>
                  </a:lnTo>
                  <a:lnTo>
                    <a:pt x="171" y="62"/>
                  </a:lnTo>
                  <a:lnTo>
                    <a:pt x="169" y="62"/>
                  </a:lnTo>
                  <a:lnTo>
                    <a:pt x="171" y="62"/>
                  </a:lnTo>
                  <a:lnTo>
                    <a:pt x="169" y="62"/>
                  </a:lnTo>
                  <a:lnTo>
                    <a:pt x="171" y="62"/>
                  </a:lnTo>
                  <a:lnTo>
                    <a:pt x="171" y="60"/>
                  </a:lnTo>
                  <a:lnTo>
                    <a:pt x="173" y="60"/>
                  </a:lnTo>
                  <a:lnTo>
                    <a:pt x="175" y="60"/>
                  </a:lnTo>
                  <a:lnTo>
                    <a:pt x="177" y="60"/>
                  </a:lnTo>
                  <a:lnTo>
                    <a:pt x="175" y="60"/>
                  </a:lnTo>
                  <a:lnTo>
                    <a:pt x="175" y="62"/>
                  </a:lnTo>
                  <a:lnTo>
                    <a:pt x="177" y="62"/>
                  </a:lnTo>
                  <a:lnTo>
                    <a:pt x="177" y="63"/>
                  </a:lnTo>
                  <a:lnTo>
                    <a:pt x="177" y="65"/>
                  </a:lnTo>
                  <a:lnTo>
                    <a:pt x="179" y="65"/>
                  </a:lnTo>
                  <a:lnTo>
                    <a:pt x="177" y="65"/>
                  </a:lnTo>
                  <a:lnTo>
                    <a:pt x="177" y="67"/>
                  </a:lnTo>
                  <a:lnTo>
                    <a:pt x="177" y="69"/>
                  </a:lnTo>
                  <a:lnTo>
                    <a:pt x="177" y="71"/>
                  </a:lnTo>
                  <a:lnTo>
                    <a:pt x="175" y="71"/>
                  </a:lnTo>
                  <a:lnTo>
                    <a:pt x="177" y="71"/>
                  </a:lnTo>
                  <a:lnTo>
                    <a:pt x="177" y="73"/>
                  </a:lnTo>
                  <a:lnTo>
                    <a:pt x="177" y="75"/>
                  </a:lnTo>
                  <a:lnTo>
                    <a:pt x="177" y="73"/>
                  </a:lnTo>
                  <a:lnTo>
                    <a:pt x="177" y="71"/>
                  </a:lnTo>
                  <a:lnTo>
                    <a:pt x="177" y="73"/>
                  </a:lnTo>
                  <a:lnTo>
                    <a:pt x="175" y="73"/>
                  </a:lnTo>
                  <a:lnTo>
                    <a:pt x="177" y="73"/>
                  </a:lnTo>
                  <a:lnTo>
                    <a:pt x="175" y="73"/>
                  </a:lnTo>
                  <a:lnTo>
                    <a:pt x="177" y="73"/>
                  </a:lnTo>
                  <a:lnTo>
                    <a:pt x="177" y="75"/>
                  </a:lnTo>
                  <a:lnTo>
                    <a:pt x="175" y="75"/>
                  </a:lnTo>
                  <a:lnTo>
                    <a:pt x="175" y="77"/>
                  </a:lnTo>
                  <a:lnTo>
                    <a:pt x="173" y="77"/>
                  </a:lnTo>
                  <a:lnTo>
                    <a:pt x="173" y="75"/>
                  </a:lnTo>
                  <a:lnTo>
                    <a:pt x="173" y="77"/>
                  </a:lnTo>
                  <a:lnTo>
                    <a:pt x="175" y="77"/>
                  </a:lnTo>
                  <a:lnTo>
                    <a:pt x="175" y="75"/>
                  </a:lnTo>
                  <a:lnTo>
                    <a:pt x="175" y="77"/>
                  </a:lnTo>
                  <a:lnTo>
                    <a:pt x="175" y="75"/>
                  </a:lnTo>
                  <a:lnTo>
                    <a:pt x="177" y="75"/>
                  </a:lnTo>
                  <a:lnTo>
                    <a:pt x="179" y="75"/>
                  </a:lnTo>
                  <a:lnTo>
                    <a:pt x="177" y="75"/>
                  </a:lnTo>
                  <a:lnTo>
                    <a:pt x="179" y="75"/>
                  </a:lnTo>
                  <a:lnTo>
                    <a:pt x="179" y="77"/>
                  </a:lnTo>
                  <a:lnTo>
                    <a:pt x="177" y="77"/>
                  </a:lnTo>
                  <a:lnTo>
                    <a:pt x="179" y="77"/>
                  </a:lnTo>
                  <a:lnTo>
                    <a:pt x="179" y="75"/>
                  </a:lnTo>
                  <a:lnTo>
                    <a:pt x="179" y="77"/>
                  </a:lnTo>
                  <a:lnTo>
                    <a:pt x="181" y="77"/>
                  </a:lnTo>
                  <a:lnTo>
                    <a:pt x="181" y="79"/>
                  </a:lnTo>
                  <a:lnTo>
                    <a:pt x="183" y="79"/>
                  </a:lnTo>
                  <a:lnTo>
                    <a:pt x="181" y="79"/>
                  </a:lnTo>
                  <a:lnTo>
                    <a:pt x="183" y="79"/>
                  </a:lnTo>
                  <a:lnTo>
                    <a:pt x="185" y="79"/>
                  </a:lnTo>
                  <a:lnTo>
                    <a:pt x="185" y="81"/>
                  </a:lnTo>
                  <a:lnTo>
                    <a:pt x="187" y="81"/>
                  </a:lnTo>
                  <a:lnTo>
                    <a:pt x="187" y="83"/>
                  </a:lnTo>
                  <a:lnTo>
                    <a:pt x="187" y="81"/>
                  </a:lnTo>
                  <a:lnTo>
                    <a:pt x="187" y="83"/>
                  </a:lnTo>
                  <a:lnTo>
                    <a:pt x="187" y="81"/>
                  </a:lnTo>
                  <a:lnTo>
                    <a:pt x="189" y="81"/>
                  </a:lnTo>
                  <a:lnTo>
                    <a:pt x="189" y="83"/>
                  </a:lnTo>
                  <a:lnTo>
                    <a:pt x="189" y="81"/>
                  </a:lnTo>
                  <a:lnTo>
                    <a:pt x="189" y="83"/>
                  </a:lnTo>
                  <a:lnTo>
                    <a:pt x="189" y="81"/>
                  </a:lnTo>
                  <a:lnTo>
                    <a:pt x="189" y="79"/>
                  </a:lnTo>
                  <a:lnTo>
                    <a:pt x="189" y="81"/>
                  </a:lnTo>
                  <a:lnTo>
                    <a:pt x="189" y="79"/>
                  </a:lnTo>
                  <a:lnTo>
                    <a:pt x="189" y="81"/>
                  </a:lnTo>
                  <a:lnTo>
                    <a:pt x="189" y="79"/>
                  </a:lnTo>
                  <a:lnTo>
                    <a:pt x="189" y="81"/>
                  </a:lnTo>
                  <a:lnTo>
                    <a:pt x="189" y="79"/>
                  </a:lnTo>
                  <a:lnTo>
                    <a:pt x="189" y="81"/>
                  </a:lnTo>
                  <a:lnTo>
                    <a:pt x="189" y="79"/>
                  </a:lnTo>
                  <a:lnTo>
                    <a:pt x="187" y="79"/>
                  </a:lnTo>
                  <a:lnTo>
                    <a:pt x="187" y="81"/>
                  </a:lnTo>
                  <a:lnTo>
                    <a:pt x="187" y="79"/>
                  </a:lnTo>
                  <a:lnTo>
                    <a:pt x="187" y="81"/>
                  </a:lnTo>
                  <a:lnTo>
                    <a:pt x="185" y="81"/>
                  </a:lnTo>
                  <a:lnTo>
                    <a:pt x="187" y="81"/>
                  </a:lnTo>
                  <a:lnTo>
                    <a:pt x="187" y="79"/>
                  </a:lnTo>
                  <a:lnTo>
                    <a:pt x="189" y="79"/>
                  </a:lnTo>
                  <a:lnTo>
                    <a:pt x="189" y="81"/>
                  </a:lnTo>
                  <a:lnTo>
                    <a:pt x="190" y="81"/>
                  </a:lnTo>
                  <a:lnTo>
                    <a:pt x="190" y="83"/>
                  </a:lnTo>
                  <a:lnTo>
                    <a:pt x="190" y="85"/>
                  </a:lnTo>
                  <a:lnTo>
                    <a:pt x="192" y="85"/>
                  </a:lnTo>
                  <a:lnTo>
                    <a:pt x="190" y="85"/>
                  </a:lnTo>
                  <a:lnTo>
                    <a:pt x="190" y="86"/>
                  </a:lnTo>
                  <a:lnTo>
                    <a:pt x="190" y="85"/>
                  </a:lnTo>
                  <a:lnTo>
                    <a:pt x="192" y="85"/>
                  </a:lnTo>
                  <a:lnTo>
                    <a:pt x="192" y="86"/>
                  </a:lnTo>
                  <a:lnTo>
                    <a:pt x="192" y="88"/>
                  </a:lnTo>
                  <a:lnTo>
                    <a:pt x="194" y="88"/>
                  </a:lnTo>
                  <a:lnTo>
                    <a:pt x="196" y="88"/>
                  </a:lnTo>
                  <a:lnTo>
                    <a:pt x="198" y="88"/>
                  </a:lnTo>
                  <a:lnTo>
                    <a:pt x="198" y="90"/>
                  </a:lnTo>
                  <a:lnTo>
                    <a:pt x="200" y="90"/>
                  </a:lnTo>
                  <a:lnTo>
                    <a:pt x="198" y="90"/>
                  </a:lnTo>
                  <a:lnTo>
                    <a:pt x="200" y="90"/>
                  </a:lnTo>
                  <a:lnTo>
                    <a:pt x="198" y="90"/>
                  </a:lnTo>
                  <a:lnTo>
                    <a:pt x="198" y="88"/>
                  </a:lnTo>
                  <a:lnTo>
                    <a:pt x="196" y="88"/>
                  </a:lnTo>
                  <a:lnTo>
                    <a:pt x="194" y="88"/>
                  </a:lnTo>
                  <a:lnTo>
                    <a:pt x="196" y="88"/>
                  </a:lnTo>
                  <a:lnTo>
                    <a:pt x="196" y="90"/>
                  </a:lnTo>
                  <a:lnTo>
                    <a:pt x="196" y="92"/>
                  </a:lnTo>
                  <a:lnTo>
                    <a:pt x="198" y="92"/>
                  </a:lnTo>
                  <a:lnTo>
                    <a:pt x="200" y="92"/>
                  </a:lnTo>
                  <a:lnTo>
                    <a:pt x="200" y="94"/>
                  </a:lnTo>
                  <a:lnTo>
                    <a:pt x="202" y="94"/>
                  </a:lnTo>
                  <a:lnTo>
                    <a:pt x="202" y="96"/>
                  </a:lnTo>
                  <a:lnTo>
                    <a:pt x="202" y="98"/>
                  </a:lnTo>
                  <a:lnTo>
                    <a:pt x="204" y="98"/>
                  </a:lnTo>
                  <a:lnTo>
                    <a:pt x="206" y="98"/>
                  </a:lnTo>
                  <a:lnTo>
                    <a:pt x="204" y="98"/>
                  </a:lnTo>
                  <a:lnTo>
                    <a:pt x="206" y="98"/>
                  </a:lnTo>
                  <a:lnTo>
                    <a:pt x="204" y="98"/>
                  </a:lnTo>
                  <a:lnTo>
                    <a:pt x="204" y="96"/>
                  </a:lnTo>
                  <a:lnTo>
                    <a:pt x="206" y="96"/>
                  </a:lnTo>
                  <a:lnTo>
                    <a:pt x="208" y="96"/>
                  </a:lnTo>
                  <a:lnTo>
                    <a:pt x="208" y="98"/>
                  </a:lnTo>
                  <a:lnTo>
                    <a:pt x="208" y="100"/>
                  </a:lnTo>
                  <a:lnTo>
                    <a:pt x="208" y="98"/>
                  </a:lnTo>
                  <a:lnTo>
                    <a:pt x="206" y="98"/>
                  </a:lnTo>
                  <a:lnTo>
                    <a:pt x="206" y="100"/>
                  </a:lnTo>
                  <a:lnTo>
                    <a:pt x="206" y="102"/>
                  </a:lnTo>
                  <a:lnTo>
                    <a:pt x="208" y="102"/>
                  </a:lnTo>
                  <a:lnTo>
                    <a:pt x="208" y="104"/>
                  </a:lnTo>
                  <a:lnTo>
                    <a:pt x="210" y="104"/>
                  </a:lnTo>
                  <a:lnTo>
                    <a:pt x="210" y="102"/>
                  </a:lnTo>
                  <a:lnTo>
                    <a:pt x="210" y="104"/>
                  </a:lnTo>
                  <a:lnTo>
                    <a:pt x="210" y="102"/>
                  </a:lnTo>
                  <a:lnTo>
                    <a:pt x="212" y="102"/>
                  </a:lnTo>
                  <a:lnTo>
                    <a:pt x="213" y="102"/>
                  </a:lnTo>
                  <a:lnTo>
                    <a:pt x="213" y="100"/>
                  </a:lnTo>
                  <a:lnTo>
                    <a:pt x="213" y="102"/>
                  </a:lnTo>
                  <a:lnTo>
                    <a:pt x="213" y="100"/>
                  </a:lnTo>
                  <a:lnTo>
                    <a:pt x="212" y="100"/>
                  </a:lnTo>
                  <a:lnTo>
                    <a:pt x="213" y="100"/>
                  </a:lnTo>
                  <a:lnTo>
                    <a:pt x="212" y="100"/>
                  </a:lnTo>
                  <a:lnTo>
                    <a:pt x="212" y="102"/>
                  </a:lnTo>
                  <a:lnTo>
                    <a:pt x="212" y="100"/>
                  </a:lnTo>
                  <a:lnTo>
                    <a:pt x="213" y="100"/>
                  </a:lnTo>
                  <a:lnTo>
                    <a:pt x="215" y="100"/>
                  </a:lnTo>
                  <a:lnTo>
                    <a:pt x="217" y="100"/>
                  </a:lnTo>
                  <a:lnTo>
                    <a:pt x="217" y="98"/>
                  </a:lnTo>
                  <a:lnTo>
                    <a:pt x="219" y="98"/>
                  </a:lnTo>
                  <a:lnTo>
                    <a:pt x="221" y="98"/>
                  </a:lnTo>
                  <a:lnTo>
                    <a:pt x="223" y="98"/>
                  </a:lnTo>
                  <a:lnTo>
                    <a:pt x="225" y="98"/>
                  </a:lnTo>
                  <a:lnTo>
                    <a:pt x="225" y="100"/>
                  </a:lnTo>
                  <a:lnTo>
                    <a:pt x="227" y="100"/>
                  </a:lnTo>
                  <a:lnTo>
                    <a:pt x="225" y="100"/>
                  </a:lnTo>
                  <a:lnTo>
                    <a:pt x="227" y="100"/>
                  </a:lnTo>
                  <a:lnTo>
                    <a:pt x="227" y="98"/>
                  </a:lnTo>
                  <a:lnTo>
                    <a:pt x="229" y="98"/>
                  </a:lnTo>
                  <a:lnTo>
                    <a:pt x="229" y="100"/>
                  </a:lnTo>
                  <a:lnTo>
                    <a:pt x="231" y="100"/>
                  </a:lnTo>
                  <a:lnTo>
                    <a:pt x="229" y="100"/>
                  </a:lnTo>
                  <a:lnTo>
                    <a:pt x="229" y="98"/>
                  </a:lnTo>
                  <a:lnTo>
                    <a:pt x="231" y="98"/>
                  </a:lnTo>
                  <a:lnTo>
                    <a:pt x="229" y="98"/>
                  </a:lnTo>
                  <a:lnTo>
                    <a:pt x="229" y="96"/>
                  </a:lnTo>
                  <a:lnTo>
                    <a:pt x="231" y="96"/>
                  </a:lnTo>
                  <a:lnTo>
                    <a:pt x="233" y="96"/>
                  </a:lnTo>
                  <a:lnTo>
                    <a:pt x="235" y="96"/>
                  </a:lnTo>
                  <a:lnTo>
                    <a:pt x="237" y="96"/>
                  </a:lnTo>
                  <a:lnTo>
                    <a:pt x="237" y="94"/>
                  </a:lnTo>
                  <a:lnTo>
                    <a:pt x="237" y="96"/>
                  </a:lnTo>
                  <a:lnTo>
                    <a:pt x="238" y="96"/>
                  </a:lnTo>
                  <a:lnTo>
                    <a:pt x="238" y="94"/>
                  </a:lnTo>
                  <a:lnTo>
                    <a:pt x="240" y="94"/>
                  </a:lnTo>
                  <a:lnTo>
                    <a:pt x="238" y="94"/>
                  </a:lnTo>
                  <a:lnTo>
                    <a:pt x="240" y="94"/>
                  </a:lnTo>
                  <a:lnTo>
                    <a:pt x="238" y="94"/>
                  </a:lnTo>
                  <a:lnTo>
                    <a:pt x="240" y="94"/>
                  </a:lnTo>
                  <a:lnTo>
                    <a:pt x="242" y="94"/>
                  </a:lnTo>
                  <a:lnTo>
                    <a:pt x="242" y="96"/>
                  </a:lnTo>
                  <a:lnTo>
                    <a:pt x="242" y="98"/>
                  </a:lnTo>
                  <a:lnTo>
                    <a:pt x="240" y="98"/>
                  </a:lnTo>
                  <a:lnTo>
                    <a:pt x="240" y="100"/>
                  </a:lnTo>
                  <a:lnTo>
                    <a:pt x="238" y="100"/>
                  </a:lnTo>
                  <a:lnTo>
                    <a:pt x="238" y="102"/>
                  </a:lnTo>
                  <a:lnTo>
                    <a:pt x="238" y="100"/>
                  </a:lnTo>
                  <a:lnTo>
                    <a:pt x="238" y="102"/>
                  </a:lnTo>
                  <a:lnTo>
                    <a:pt x="238" y="100"/>
                  </a:lnTo>
                  <a:lnTo>
                    <a:pt x="238" y="102"/>
                  </a:lnTo>
                  <a:lnTo>
                    <a:pt x="237" y="102"/>
                  </a:lnTo>
                  <a:lnTo>
                    <a:pt x="235" y="102"/>
                  </a:lnTo>
                  <a:lnTo>
                    <a:pt x="235" y="104"/>
                  </a:lnTo>
                  <a:lnTo>
                    <a:pt x="233" y="104"/>
                  </a:lnTo>
                  <a:lnTo>
                    <a:pt x="233" y="106"/>
                  </a:lnTo>
                  <a:lnTo>
                    <a:pt x="231" y="106"/>
                  </a:lnTo>
                  <a:lnTo>
                    <a:pt x="233" y="106"/>
                  </a:lnTo>
                  <a:lnTo>
                    <a:pt x="231" y="106"/>
                  </a:lnTo>
                  <a:lnTo>
                    <a:pt x="231" y="108"/>
                  </a:lnTo>
                  <a:lnTo>
                    <a:pt x="231" y="106"/>
                  </a:lnTo>
                  <a:lnTo>
                    <a:pt x="231" y="108"/>
                  </a:lnTo>
                  <a:lnTo>
                    <a:pt x="233" y="108"/>
                  </a:lnTo>
                  <a:lnTo>
                    <a:pt x="233" y="106"/>
                  </a:lnTo>
                  <a:lnTo>
                    <a:pt x="233" y="108"/>
                  </a:lnTo>
                  <a:lnTo>
                    <a:pt x="233" y="106"/>
                  </a:lnTo>
                  <a:lnTo>
                    <a:pt x="233" y="108"/>
                  </a:lnTo>
                  <a:lnTo>
                    <a:pt x="233" y="106"/>
                  </a:lnTo>
                  <a:lnTo>
                    <a:pt x="233" y="108"/>
                  </a:lnTo>
                  <a:lnTo>
                    <a:pt x="235" y="108"/>
                  </a:lnTo>
                  <a:lnTo>
                    <a:pt x="231" y="110"/>
                  </a:lnTo>
                  <a:lnTo>
                    <a:pt x="231" y="111"/>
                  </a:lnTo>
                  <a:lnTo>
                    <a:pt x="231" y="113"/>
                  </a:lnTo>
                  <a:lnTo>
                    <a:pt x="231" y="115"/>
                  </a:lnTo>
                  <a:lnTo>
                    <a:pt x="231" y="117"/>
                  </a:lnTo>
                  <a:lnTo>
                    <a:pt x="229" y="117"/>
                  </a:lnTo>
                  <a:lnTo>
                    <a:pt x="229" y="119"/>
                  </a:lnTo>
                  <a:lnTo>
                    <a:pt x="229" y="121"/>
                  </a:lnTo>
                  <a:lnTo>
                    <a:pt x="229" y="119"/>
                  </a:lnTo>
                  <a:lnTo>
                    <a:pt x="227" y="119"/>
                  </a:lnTo>
                  <a:lnTo>
                    <a:pt x="227" y="121"/>
                  </a:lnTo>
                  <a:lnTo>
                    <a:pt x="225" y="121"/>
                  </a:lnTo>
                  <a:lnTo>
                    <a:pt x="225" y="123"/>
                  </a:lnTo>
                  <a:lnTo>
                    <a:pt x="225" y="125"/>
                  </a:lnTo>
                  <a:lnTo>
                    <a:pt x="225" y="127"/>
                  </a:lnTo>
                  <a:lnTo>
                    <a:pt x="223" y="127"/>
                  </a:lnTo>
                  <a:lnTo>
                    <a:pt x="223" y="129"/>
                  </a:lnTo>
                  <a:lnTo>
                    <a:pt x="223" y="131"/>
                  </a:lnTo>
                  <a:lnTo>
                    <a:pt x="223" y="133"/>
                  </a:lnTo>
                  <a:lnTo>
                    <a:pt x="221" y="133"/>
                  </a:lnTo>
                  <a:lnTo>
                    <a:pt x="221" y="131"/>
                  </a:lnTo>
                  <a:lnTo>
                    <a:pt x="221" y="129"/>
                  </a:lnTo>
                  <a:lnTo>
                    <a:pt x="221" y="127"/>
                  </a:lnTo>
                  <a:lnTo>
                    <a:pt x="221" y="125"/>
                  </a:lnTo>
                  <a:lnTo>
                    <a:pt x="219" y="125"/>
                  </a:lnTo>
                  <a:lnTo>
                    <a:pt x="217" y="127"/>
                  </a:lnTo>
                  <a:lnTo>
                    <a:pt x="217" y="129"/>
                  </a:lnTo>
                  <a:lnTo>
                    <a:pt x="217" y="131"/>
                  </a:lnTo>
                  <a:lnTo>
                    <a:pt x="217" y="133"/>
                  </a:lnTo>
                  <a:lnTo>
                    <a:pt x="215" y="133"/>
                  </a:lnTo>
                  <a:lnTo>
                    <a:pt x="215" y="134"/>
                  </a:lnTo>
                  <a:lnTo>
                    <a:pt x="213" y="134"/>
                  </a:lnTo>
                  <a:lnTo>
                    <a:pt x="213" y="136"/>
                  </a:lnTo>
                  <a:lnTo>
                    <a:pt x="213" y="134"/>
                  </a:lnTo>
                  <a:lnTo>
                    <a:pt x="215" y="134"/>
                  </a:lnTo>
                  <a:lnTo>
                    <a:pt x="217" y="134"/>
                  </a:lnTo>
                  <a:lnTo>
                    <a:pt x="215" y="134"/>
                  </a:lnTo>
                  <a:lnTo>
                    <a:pt x="215" y="136"/>
                  </a:lnTo>
                  <a:lnTo>
                    <a:pt x="217" y="136"/>
                  </a:lnTo>
                  <a:lnTo>
                    <a:pt x="215" y="136"/>
                  </a:lnTo>
                  <a:lnTo>
                    <a:pt x="215" y="138"/>
                  </a:lnTo>
                  <a:lnTo>
                    <a:pt x="215" y="136"/>
                  </a:lnTo>
                  <a:lnTo>
                    <a:pt x="217" y="136"/>
                  </a:lnTo>
                  <a:lnTo>
                    <a:pt x="215" y="136"/>
                  </a:lnTo>
                  <a:lnTo>
                    <a:pt x="217" y="136"/>
                  </a:lnTo>
                  <a:lnTo>
                    <a:pt x="217" y="138"/>
                  </a:lnTo>
                  <a:lnTo>
                    <a:pt x="217" y="140"/>
                  </a:lnTo>
                  <a:lnTo>
                    <a:pt x="215" y="140"/>
                  </a:lnTo>
                  <a:lnTo>
                    <a:pt x="217" y="140"/>
                  </a:lnTo>
                  <a:lnTo>
                    <a:pt x="217" y="138"/>
                  </a:lnTo>
                  <a:lnTo>
                    <a:pt x="217" y="140"/>
                  </a:lnTo>
                  <a:lnTo>
                    <a:pt x="215" y="140"/>
                  </a:lnTo>
                  <a:lnTo>
                    <a:pt x="215" y="142"/>
                  </a:lnTo>
                  <a:lnTo>
                    <a:pt x="215" y="144"/>
                  </a:lnTo>
                  <a:lnTo>
                    <a:pt x="215" y="142"/>
                  </a:lnTo>
                  <a:lnTo>
                    <a:pt x="215" y="140"/>
                  </a:lnTo>
                  <a:lnTo>
                    <a:pt x="215" y="142"/>
                  </a:lnTo>
                  <a:lnTo>
                    <a:pt x="215" y="144"/>
                  </a:lnTo>
                  <a:lnTo>
                    <a:pt x="215" y="142"/>
                  </a:lnTo>
                  <a:lnTo>
                    <a:pt x="213" y="142"/>
                  </a:lnTo>
                  <a:lnTo>
                    <a:pt x="215" y="142"/>
                  </a:lnTo>
                  <a:lnTo>
                    <a:pt x="213" y="142"/>
                  </a:lnTo>
                  <a:lnTo>
                    <a:pt x="215" y="142"/>
                  </a:lnTo>
                  <a:lnTo>
                    <a:pt x="213" y="142"/>
                  </a:lnTo>
                  <a:lnTo>
                    <a:pt x="213" y="144"/>
                  </a:lnTo>
                  <a:lnTo>
                    <a:pt x="212" y="144"/>
                  </a:lnTo>
                  <a:lnTo>
                    <a:pt x="210" y="144"/>
                  </a:lnTo>
                  <a:lnTo>
                    <a:pt x="210" y="146"/>
                  </a:lnTo>
                  <a:lnTo>
                    <a:pt x="210" y="148"/>
                  </a:lnTo>
                  <a:lnTo>
                    <a:pt x="208" y="148"/>
                  </a:lnTo>
                  <a:lnTo>
                    <a:pt x="210" y="148"/>
                  </a:lnTo>
                  <a:lnTo>
                    <a:pt x="208" y="148"/>
                  </a:lnTo>
                  <a:lnTo>
                    <a:pt x="210" y="148"/>
                  </a:lnTo>
                  <a:lnTo>
                    <a:pt x="208" y="148"/>
                  </a:lnTo>
                  <a:lnTo>
                    <a:pt x="208" y="150"/>
                  </a:lnTo>
                  <a:lnTo>
                    <a:pt x="208" y="148"/>
                  </a:lnTo>
                  <a:lnTo>
                    <a:pt x="208" y="150"/>
                  </a:lnTo>
                  <a:lnTo>
                    <a:pt x="210" y="150"/>
                  </a:lnTo>
                  <a:lnTo>
                    <a:pt x="208" y="150"/>
                  </a:lnTo>
                  <a:lnTo>
                    <a:pt x="208" y="152"/>
                  </a:lnTo>
                  <a:lnTo>
                    <a:pt x="206" y="152"/>
                  </a:lnTo>
                  <a:lnTo>
                    <a:pt x="206" y="154"/>
                  </a:lnTo>
                  <a:lnTo>
                    <a:pt x="204" y="154"/>
                  </a:lnTo>
                  <a:lnTo>
                    <a:pt x="204" y="156"/>
                  </a:lnTo>
                  <a:lnTo>
                    <a:pt x="204" y="154"/>
                  </a:lnTo>
                  <a:lnTo>
                    <a:pt x="204" y="156"/>
                  </a:lnTo>
                  <a:lnTo>
                    <a:pt x="202" y="156"/>
                  </a:lnTo>
                  <a:lnTo>
                    <a:pt x="202" y="158"/>
                  </a:lnTo>
                  <a:lnTo>
                    <a:pt x="200" y="158"/>
                  </a:lnTo>
                  <a:lnTo>
                    <a:pt x="200" y="159"/>
                  </a:lnTo>
                  <a:lnTo>
                    <a:pt x="198" y="159"/>
                  </a:lnTo>
                  <a:lnTo>
                    <a:pt x="200" y="159"/>
                  </a:lnTo>
                  <a:lnTo>
                    <a:pt x="198" y="159"/>
                  </a:lnTo>
                  <a:lnTo>
                    <a:pt x="198" y="161"/>
                  </a:lnTo>
                  <a:lnTo>
                    <a:pt x="198" y="159"/>
                  </a:lnTo>
                  <a:lnTo>
                    <a:pt x="198" y="161"/>
                  </a:lnTo>
                  <a:lnTo>
                    <a:pt x="198" y="163"/>
                  </a:lnTo>
                  <a:lnTo>
                    <a:pt x="196" y="163"/>
                  </a:lnTo>
                  <a:lnTo>
                    <a:pt x="196" y="165"/>
                  </a:lnTo>
                  <a:lnTo>
                    <a:pt x="194" y="165"/>
                  </a:lnTo>
                  <a:lnTo>
                    <a:pt x="194" y="167"/>
                  </a:lnTo>
                  <a:lnTo>
                    <a:pt x="192" y="167"/>
                  </a:lnTo>
                  <a:lnTo>
                    <a:pt x="192" y="169"/>
                  </a:lnTo>
                  <a:lnTo>
                    <a:pt x="194" y="169"/>
                  </a:lnTo>
                  <a:lnTo>
                    <a:pt x="192" y="169"/>
                  </a:lnTo>
                  <a:lnTo>
                    <a:pt x="192" y="171"/>
                  </a:lnTo>
                  <a:lnTo>
                    <a:pt x="190" y="171"/>
                  </a:lnTo>
                  <a:lnTo>
                    <a:pt x="190" y="173"/>
                  </a:lnTo>
                  <a:lnTo>
                    <a:pt x="190" y="171"/>
                  </a:lnTo>
                  <a:lnTo>
                    <a:pt x="190" y="173"/>
                  </a:lnTo>
                  <a:lnTo>
                    <a:pt x="192" y="173"/>
                  </a:lnTo>
                  <a:lnTo>
                    <a:pt x="192" y="175"/>
                  </a:lnTo>
                  <a:lnTo>
                    <a:pt x="190" y="175"/>
                  </a:lnTo>
                  <a:lnTo>
                    <a:pt x="190" y="177"/>
                  </a:lnTo>
                  <a:lnTo>
                    <a:pt x="189" y="177"/>
                  </a:lnTo>
                  <a:lnTo>
                    <a:pt x="189" y="179"/>
                  </a:lnTo>
                  <a:lnTo>
                    <a:pt x="187" y="179"/>
                  </a:lnTo>
                  <a:lnTo>
                    <a:pt x="187" y="177"/>
                  </a:lnTo>
                  <a:lnTo>
                    <a:pt x="187" y="179"/>
                  </a:lnTo>
                  <a:lnTo>
                    <a:pt x="189" y="179"/>
                  </a:lnTo>
                  <a:lnTo>
                    <a:pt x="187" y="179"/>
                  </a:lnTo>
                  <a:lnTo>
                    <a:pt x="187" y="181"/>
                  </a:lnTo>
                  <a:lnTo>
                    <a:pt x="185" y="181"/>
                  </a:lnTo>
                  <a:lnTo>
                    <a:pt x="185" y="182"/>
                  </a:lnTo>
                  <a:lnTo>
                    <a:pt x="183" y="182"/>
                  </a:lnTo>
                  <a:lnTo>
                    <a:pt x="181" y="182"/>
                  </a:lnTo>
                  <a:lnTo>
                    <a:pt x="183" y="182"/>
                  </a:lnTo>
                  <a:lnTo>
                    <a:pt x="181" y="182"/>
                  </a:lnTo>
                  <a:lnTo>
                    <a:pt x="183" y="182"/>
                  </a:lnTo>
                  <a:lnTo>
                    <a:pt x="183" y="184"/>
                  </a:lnTo>
                  <a:lnTo>
                    <a:pt x="181" y="184"/>
                  </a:lnTo>
                  <a:lnTo>
                    <a:pt x="181" y="186"/>
                  </a:lnTo>
                  <a:lnTo>
                    <a:pt x="181" y="188"/>
                  </a:lnTo>
                  <a:lnTo>
                    <a:pt x="179" y="188"/>
                  </a:lnTo>
                  <a:lnTo>
                    <a:pt x="177" y="188"/>
                  </a:lnTo>
                  <a:lnTo>
                    <a:pt x="177" y="186"/>
                  </a:lnTo>
                  <a:lnTo>
                    <a:pt x="177" y="188"/>
                  </a:lnTo>
                  <a:lnTo>
                    <a:pt x="175" y="188"/>
                  </a:lnTo>
                  <a:lnTo>
                    <a:pt x="175" y="186"/>
                  </a:lnTo>
                  <a:lnTo>
                    <a:pt x="173" y="186"/>
                  </a:lnTo>
                  <a:lnTo>
                    <a:pt x="173" y="184"/>
                  </a:lnTo>
                  <a:lnTo>
                    <a:pt x="173" y="186"/>
                  </a:lnTo>
                  <a:lnTo>
                    <a:pt x="171" y="186"/>
                  </a:lnTo>
                  <a:lnTo>
                    <a:pt x="173" y="186"/>
                  </a:lnTo>
                  <a:lnTo>
                    <a:pt x="171" y="186"/>
                  </a:lnTo>
                  <a:lnTo>
                    <a:pt x="171" y="188"/>
                  </a:lnTo>
                  <a:lnTo>
                    <a:pt x="173" y="188"/>
                  </a:lnTo>
                  <a:lnTo>
                    <a:pt x="171" y="188"/>
                  </a:lnTo>
                  <a:lnTo>
                    <a:pt x="171" y="190"/>
                  </a:lnTo>
                  <a:lnTo>
                    <a:pt x="169" y="190"/>
                  </a:lnTo>
                  <a:lnTo>
                    <a:pt x="169" y="192"/>
                  </a:lnTo>
                  <a:lnTo>
                    <a:pt x="169" y="190"/>
                  </a:lnTo>
                  <a:lnTo>
                    <a:pt x="169" y="192"/>
                  </a:lnTo>
                  <a:lnTo>
                    <a:pt x="169" y="194"/>
                  </a:lnTo>
                  <a:lnTo>
                    <a:pt x="169" y="192"/>
                  </a:lnTo>
                  <a:lnTo>
                    <a:pt x="169" y="194"/>
                  </a:lnTo>
                  <a:lnTo>
                    <a:pt x="169" y="196"/>
                  </a:lnTo>
                  <a:lnTo>
                    <a:pt x="167" y="196"/>
                  </a:lnTo>
                  <a:lnTo>
                    <a:pt x="167" y="198"/>
                  </a:lnTo>
                  <a:lnTo>
                    <a:pt x="167" y="196"/>
                  </a:lnTo>
                  <a:lnTo>
                    <a:pt x="167" y="198"/>
                  </a:lnTo>
                  <a:lnTo>
                    <a:pt x="167" y="196"/>
                  </a:lnTo>
                  <a:lnTo>
                    <a:pt x="167" y="198"/>
                  </a:lnTo>
                  <a:lnTo>
                    <a:pt x="165" y="198"/>
                  </a:lnTo>
                  <a:lnTo>
                    <a:pt x="164" y="198"/>
                  </a:lnTo>
                  <a:lnTo>
                    <a:pt x="165" y="198"/>
                  </a:lnTo>
                  <a:lnTo>
                    <a:pt x="164" y="198"/>
                  </a:lnTo>
                  <a:lnTo>
                    <a:pt x="165" y="198"/>
                  </a:lnTo>
                  <a:lnTo>
                    <a:pt x="165" y="200"/>
                  </a:lnTo>
                  <a:lnTo>
                    <a:pt x="164" y="200"/>
                  </a:lnTo>
                  <a:lnTo>
                    <a:pt x="164" y="202"/>
                  </a:lnTo>
                  <a:lnTo>
                    <a:pt x="162" y="202"/>
                  </a:lnTo>
                  <a:lnTo>
                    <a:pt x="164" y="202"/>
                  </a:lnTo>
                  <a:lnTo>
                    <a:pt x="162" y="200"/>
                  </a:lnTo>
                  <a:lnTo>
                    <a:pt x="162" y="202"/>
                  </a:lnTo>
                  <a:lnTo>
                    <a:pt x="162" y="204"/>
                  </a:lnTo>
                  <a:lnTo>
                    <a:pt x="160" y="204"/>
                  </a:lnTo>
                  <a:lnTo>
                    <a:pt x="162" y="204"/>
                  </a:lnTo>
                  <a:lnTo>
                    <a:pt x="162" y="206"/>
                  </a:lnTo>
                  <a:lnTo>
                    <a:pt x="160" y="206"/>
                  </a:lnTo>
                  <a:lnTo>
                    <a:pt x="160" y="204"/>
                  </a:lnTo>
                  <a:lnTo>
                    <a:pt x="158" y="204"/>
                  </a:lnTo>
                  <a:lnTo>
                    <a:pt x="158" y="206"/>
                  </a:lnTo>
                  <a:lnTo>
                    <a:pt x="158" y="204"/>
                  </a:lnTo>
                  <a:lnTo>
                    <a:pt x="158" y="202"/>
                  </a:lnTo>
                  <a:lnTo>
                    <a:pt x="160" y="202"/>
                  </a:lnTo>
                  <a:lnTo>
                    <a:pt x="158" y="202"/>
                  </a:lnTo>
                  <a:lnTo>
                    <a:pt x="160" y="202"/>
                  </a:lnTo>
                  <a:lnTo>
                    <a:pt x="158" y="202"/>
                  </a:lnTo>
                  <a:lnTo>
                    <a:pt x="158" y="204"/>
                  </a:lnTo>
                  <a:lnTo>
                    <a:pt x="156" y="204"/>
                  </a:lnTo>
                  <a:lnTo>
                    <a:pt x="156" y="202"/>
                  </a:lnTo>
                  <a:lnTo>
                    <a:pt x="156" y="204"/>
                  </a:lnTo>
                  <a:lnTo>
                    <a:pt x="154" y="204"/>
                  </a:lnTo>
                  <a:lnTo>
                    <a:pt x="154" y="206"/>
                  </a:lnTo>
                  <a:lnTo>
                    <a:pt x="152" y="206"/>
                  </a:lnTo>
                  <a:lnTo>
                    <a:pt x="154" y="206"/>
                  </a:lnTo>
                  <a:lnTo>
                    <a:pt x="152" y="206"/>
                  </a:lnTo>
                  <a:lnTo>
                    <a:pt x="152" y="207"/>
                  </a:lnTo>
                  <a:lnTo>
                    <a:pt x="152" y="209"/>
                  </a:lnTo>
                  <a:lnTo>
                    <a:pt x="150" y="209"/>
                  </a:lnTo>
                  <a:lnTo>
                    <a:pt x="150" y="211"/>
                  </a:lnTo>
                  <a:lnTo>
                    <a:pt x="148" y="211"/>
                  </a:lnTo>
                  <a:lnTo>
                    <a:pt x="148" y="209"/>
                  </a:lnTo>
                  <a:lnTo>
                    <a:pt x="150" y="209"/>
                  </a:lnTo>
                  <a:lnTo>
                    <a:pt x="148" y="209"/>
                  </a:lnTo>
                  <a:lnTo>
                    <a:pt x="148" y="211"/>
                  </a:lnTo>
                  <a:lnTo>
                    <a:pt x="146" y="211"/>
                  </a:lnTo>
                  <a:lnTo>
                    <a:pt x="146" y="213"/>
                  </a:lnTo>
                  <a:lnTo>
                    <a:pt x="146" y="211"/>
                  </a:lnTo>
                  <a:lnTo>
                    <a:pt x="146" y="213"/>
                  </a:lnTo>
                  <a:lnTo>
                    <a:pt x="146" y="211"/>
                  </a:lnTo>
                  <a:lnTo>
                    <a:pt x="146" y="213"/>
                  </a:lnTo>
                  <a:lnTo>
                    <a:pt x="144" y="213"/>
                  </a:lnTo>
                  <a:lnTo>
                    <a:pt x="144" y="211"/>
                  </a:lnTo>
                  <a:lnTo>
                    <a:pt x="146" y="211"/>
                  </a:lnTo>
                  <a:lnTo>
                    <a:pt x="144" y="211"/>
                  </a:lnTo>
                  <a:lnTo>
                    <a:pt x="146" y="211"/>
                  </a:lnTo>
                  <a:lnTo>
                    <a:pt x="146" y="209"/>
                  </a:lnTo>
                  <a:lnTo>
                    <a:pt x="146" y="211"/>
                  </a:lnTo>
                  <a:lnTo>
                    <a:pt x="146" y="209"/>
                  </a:lnTo>
                  <a:lnTo>
                    <a:pt x="144" y="209"/>
                  </a:lnTo>
                  <a:lnTo>
                    <a:pt x="146" y="209"/>
                  </a:lnTo>
                  <a:lnTo>
                    <a:pt x="144" y="209"/>
                  </a:lnTo>
                  <a:lnTo>
                    <a:pt x="146" y="209"/>
                  </a:lnTo>
                  <a:lnTo>
                    <a:pt x="146" y="207"/>
                  </a:lnTo>
                  <a:lnTo>
                    <a:pt x="144" y="207"/>
                  </a:lnTo>
                  <a:lnTo>
                    <a:pt x="144" y="209"/>
                  </a:lnTo>
                  <a:lnTo>
                    <a:pt x="146" y="209"/>
                  </a:lnTo>
                  <a:lnTo>
                    <a:pt x="144" y="209"/>
                  </a:lnTo>
                  <a:lnTo>
                    <a:pt x="144" y="211"/>
                  </a:lnTo>
                  <a:lnTo>
                    <a:pt x="144" y="209"/>
                  </a:lnTo>
                  <a:lnTo>
                    <a:pt x="144" y="211"/>
                  </a:lnTo>
                  <a:lnTo>
                    <a:pt x="144" y="209"/>
                  </a:lnTo>
                  <a:lnTo>
                    <a:pt x="144" y="211"/>
                  </a:lnTo>
                  <a:lnTo>
                    <a:pt x="144" y="213"/>
                  </a:lnTo>
                  <a:lnTo>
                    <a:pt x="144" y="211"/>
                  </a:lnTo>
                  <a:lnTo>
                    <a:pt x="142" y="211"/>
                  </a:lnTo>
                  <a:lnTo>
                    <a:pt x="144" y="211"/>
                  </a:lnTo>
                  <a:lnTo>
                    <a:pt x="142" y="211"/>
                  </a:lnTo>
                  <a:lnTo>
                    <a:pt x="144" y="211"/>
                  </a:lnTo>
                  <a:lnTo>
                    <a:pt x="142" y="211"/>
                  </a:lnTo>
                  <a:lnTo>
                    <a:pt x="142" y="213"/>
                  </a:lnTo>
                  <a:lnTo>
                    <a:pt x="144" y="213"/>
                  </a:lnTo>
                  <a:lnTo>
                    <a:pt x="142" y="213"/>
                  </a:lnTo>
                  <a:lnTo>
                    <a:pt x="144" y="213"/>
                  </a:lnTo>
                  <a:lnTo>
                    <a:pt x="142" y="213"/>
                  </a:lnTo>
                  <a:lnTo>
                    <a:pt x="142" y="215"/>
                  </a:lnTo>
                  <a:lnTo>
                    <a:pt x="142" y="213"/>
                  </a:lnTo>
                  <a:lnTo>
                    <a:pt x="140" y="213"/>
                  </a:lnTo>
                  <a:lnTo>
                    <a:pt x="142" y="213"/>
                  </a:lnTo>
                  <a:lnTo>
                    <a:pt x="140" y="213"/>
                  </a:lnTo>
                  <a:lnTo>
                    <a:pt x="140" y="211"/>
                  </a:lnTo>
                  <a:lnTo>
                    <a:pt x="139" y="211"/>
                  </a:lnTo>
                  <a:lnTo>
                    <a:pt x="140" y="211"/>
                  </a:lnTo>
                  <a:lnTo>
                    <a:pt x="140" y="209"/>
                  </a:lnTo>
                  <a:lnTo>
                    <a:pt x="140" y="211"/>
                  </a:lnTo>
                  <a:lnTo>
                    <a:pt x="140" y="209"/>
                  </a:lnTo>
                  <a:lnTo>
                    <a:pt x="139" y="209"/>
                  </a:lnTo>
                  <a:lnTo>
                    <a:pt x="137" y="209"/>
                  </a:lnTo>
                  <a:lnTo>
                    <a:pt x="139" y="209"/>
                  </a:lnTo>
                  <a:lnTo>
                    <a:pt x="137" y="209"/>
                  </a:lnTo>
                  <a:lnTo>
                    <a:pt x="139" y="209"/>
                  </a:lnTo>
                  <a:lnTo>
                    <a:pt x="137" y="209"/>
                  </a:lnTo>
                  <a:lnTo>
                    <a:pt x="137" y="207"/>
                  </a:lnTo>
                  <a:lnTo>
                    <a:pt x="135" y="207"/>
                  </a:lnTo>
                  <a:lnTo>
                    <a:pt x="137" y="207"/>
                  </a:lnTo>
                  <a:lnTo>
                    <a:pt x="137" y="209"/>
                  </a:lnTo>
                  <a:lnTo>
                    <a:pt x="135" y="209"/>
                  </a:lnTo>
                  <a:lnTo>
                    <a:pt x="135" y="207"/>
                  </a:lnTo>
                  <a:lnTo>
                    <a:pt x="135" y="209"/>
                  </a:lnTo>
                  <a:lnTo>
                    <a:pt x="137" y="209"/>
                  </a:lnTo>
                  <a:lnTo>
                    <a:pt x="135" y="209"/>
                  </a:lnTo>
                  <a:lnTo>
                    <a:pt x="135" y="211"/>
                  </a:lnTo>
                  <a:lnTo>
                    <a:pt x="135" y="209"/>
                  </a:lnTo>
                  <a:lnTo>
                    <a:pt x="133" y="209"/>
                  </a:lnTo>
                  <a:lnTo>
                    <a:pt x="133" y="211"/>
                  </a:lnTo>
                  <a:lnTo>
                    <a:pt x="135" y="211"/>
                  </a:lnTo>
                  <a:lnTo>
                    <a:pt x="135" y="213"/>
                  </a:lnTo>
                  <a:lnTo>
                    <a:pt x="135" y="211"/>
                  </a:lnTo>
                  <a:lnTo>
                    <a:pt x="133" y="211"/>
                  </a:lnTo>
                  <a:lnTo>
                    <a:pt x="133" y="213"/>
                  </a:lnTo>
                  <a:lnTo>
                    <a:pt x="133" y="215"/>
                  </a:lnTo>
                  <a:lnTo>
                    <a:pt x="135" y="215"/>
                  </a:lnTo>
                  <a:lnTo>
                    <a:pt x="135" y="213"/>
                  </a:lnTo>
                  <a:lnTo>
                    <a:pt x="135" y="215"/>
                  </a:lnTo>
                  <a:lnTo>
                    <a:pt x="133" y="215"/>
                  </a:lnTo>
                  <a:lnTo>
                    <a:pt x="131" y="215"/>
                  </a:lnTo>
                  <a:lnTo>
                    <a:pt x="131" y="213"/>
                  </a:lnTo>
                  <a:lnTo>
                    <a:pt x="129" y="213"/>
                  </a:lnTo>
                  <a:lnTo>
                    <a:pt x="129" y="211"/>
                  </a:lnTo>
                  <a:lnTo>
                    <a:pt x="129" y="209"/>
                  </a:lnTo>
                  <a:lnTo>
                    <a:pt x="127" y="209"/>
                  </a:lnTo>
                  <a:lnTo>
                    <a:pt x="127" y="207"/>
                  </a:lnTo>
                  <a:lnTo>
                    <a:pt x="127" y="209"/>
                  </a:lnTo>
                  <a:lnTo>
                    <a:pt x="127" y="211"/>
                  </a:lnTo>
                  <a:lnTo>
                    <a:pt x="129" y="211"/>
                  </a:lnTo>
                  <a:lnTo>
                    <a:pt x="127" y="211"/>
                  </a:lnTo>
                  <a:lnTo>
                    <a:pt x="127" y="209"/>
                  </a:lnTo>
                  <a:lnTo>
                    <a:pt x="125" y="209"/>
                  </a:lnTo>
                  <a:lnTo>
                    <a:pt x="125" y="207"/>
                  </a:lnTo>
                  <a:lnTo>
                    <a:pt x="125" y="209"/>
                  </a:lnTo>
                  <a:lnTo>
                    <a:pt x="125" y="211"/>
                  </a:lnTo>
                  <a:lnTo>
                    <a:pt x="127" y="211"/>
                  </a:lnTo>
                  <a:lnTo>
                    <a:pt x="125" y="211"/>
                  </a:lnTo>
                  <a:lnTo>
                    <a:pt x="127" y="211"/>
                  </a:lnTo>
                  <a:lnTo>
                    <a:pt x="127" y="213"/>
                  </a:lnTo>
                  <a:lnTo>
                    <a:pt x="127" y="211"/>
                  </a:lnTo>
                  <a:lnTo>
                    <a:pt x="127" y="213"/>
                  </a:lnTo>
                  <a:lnTo>
                    <a:pt x="125" y="213"/>
                  </a:lnTo>
                  <a:lnTo>
                    <a:pt x="123" y="213"/>
                  </a:lnTo>
                  <a:lnTo>
                    <a:pt x="123" y="211"/>
                  </a:lnTo>
                  <a:lnTo>
                    <a:pt x="123" y="213"/>
                  </a:lnTo>
                  <a:lnTo>
                    <a:pt x="121" y="213"/>
                  </a:lnTo>
                  <a:lnTo>
                    <a:pt x="121" y="215"/>
                  </a:lnTo>
                  <a:lnTo>
                    <a:pt x="123" y="215"/>
                  </a:lnTo>
                  <a:lnTo>
                    <a:pt x="121" y="215"/>
                  </a:lnTo>
                  <a:lnTo>
                    <a:pt x="121" y="217"/>
                  </a:lnTo>
                  <a:lnTo>
                    <a:pt x="119" y="217"/>
                  </a:lnTo>
                  <a:lnTo>
                    <a:pt x="117" y="217"/>
                  </a:lnTo>
                  <a:lnTo>
                    <a:pt x="117" y="215"/>
                  </a:lnTo>
                  <a:lnTo>
                    <a:pt x="116" y="215"/>
                  </a:lnTo>
                  <a:lnTo>
                    <a:pt x="116" y="213"/>
                  </a:lnTo>
                  <a:lnTo>
                    <a:pt x="114" y="213"/>
                  </a:lnTo>
                  <a:lnTo>
                    <a:pt x="114" y="211"/>
                  </a:lnTo>
                  <a:lnTo>
                    <a:pt x="112" y="211"/>
                  </a:lnTo>
                  <a:lnTo>
                    <a:pt x="112" y="209"/>
                  </a:lnTo>
                  <a:lnTo>
                    <a:pt x="112" y="207"/>
                  </a:lnTo>
                  <a:lnTo>
                    <a:pt x="112" y="206"/>
                  </a:lnTo>
                  <a:lnTo>
                    <a:pt x="112" y="204"/>
                  </a:lnTo>
                  <a:lnTo>
                    <a:pt x="110" y="204"/>
                  </a:lnTo>
                  <a:lnTo>
                    <a:pt x="110" y="202"/>
                  </a:lnTo>
                  <a:lnTo>
                    <a:pt x="108" y="202"/>
                  </a:lnTo>
                  <a:lnTo>
                    <a:pt x="108" y="200"/>
                  </a:lnTo>
                  <a:lnTo>
                    <a:pt x="106" y="200"/>
                  </a:lnTo>
                  <a:lnTo>
                    <a:pt x="106" y="198"/>
                  </a:lnTo>
                  <a:lnTo>
                    <a:pt x="108" y="198"/>
                  </a:lnTo>
                  <a:lnTo>
                    <a:pt x="106" y="198"/>
                  </a:lnTo>
                  <a:lnTo>
                    <a:pt x="108" y="196"/>
                  </a:lnTo>
                  <a:lnTo>
                    <a:pt x="108" y="198"/>
                  </a:lnTo>
                  <a:lnTo>
                    <a:pt x="108" y="196"/>
                  </a:lnTo>
                  <a:lnTo>
                    <a:pt x="110" y="196"/>
                  </a:lnTo>
                  <a:lnTo>
                    <a:pt x="108" y="196"/>
                  </a:lnTo>
                  <a:lnTo>
                    <a:pt x="108" y="194"/>
                  </a:lnTo>
                  <a:lnTo>
                    <a:pt x="108" y="192"/>
                  </a:lnTo>
                  <a:lnTo>
                    <a:pt x="106" y="192"/>
                  </a:lnTo>
                  <a:lnTo>
                    <a:pt x="106" y="190"/>
                  </a:lnTo>
                  <a:lnTo>
                    <a:pt x="104" y="190"/>
                  </a:lnTo>
                  <a:lnTo>
                    <a:pt x="106" y="190"/>
                  </a:lnTo>
                  <a:lnTo>
                    <a:pt x="104" y="190"/>
                  </a:lnTo>
                  <a:lnTo>
                    <a:pt x="102" y="190"/>
                  </a:lnTo>
                  <a:lnTo>
                    <a:pt x="102" y="188"/>
                  </a:lnTo>
                  <a:lnTo>
                    <a:pt x="102" y="190"/>
                  </a:lnTo>
                  <a:lnTo>
                    <a:pt x="102" y="192"/>
                  </a:lnTo>
                  <a:lnTo>
                    <a:pt x="102" y="190"/>
                  </a:lnTo>
                  <a:lnTo>
                    <a:pt x="102" y="192"/>
                  </a:lnTo>
                  <a:lnTo>
                    <a:pt x="102" y="190"/>
                  </a:lnTo>
                  <a:lnTo>
                    <a:pt x="102" y="192"/>
                  </a:lnTo>
                  <a:lnTo>
                    <a:pt x="102" y="190"/>
                  </a:lnTo>
                  <a:lnTo>
                    <a:pt x="100" y="190"/>
                  </a:lnTo>
                  <a:lnTo>
                    <a:pt x="100" y="192"/>
                  </a:lnTo>
                  <a:lnTo>
                    <a:pt x="102" y="192"/>
                  </a:lnTo>
                  <a:lnTo>
                    <a:pt x="100" y="192"/>
                  </a:lnTo>
                  <a:lnTo>
                    <a:pt x="98" y="192"/>
                  </a:lnTo>
                  <a:lnTo>
                    <a:pt x="100" y="192"/>
                  </a:lnTo>
                  <a:lnTo>
                    <a:pt x="98" y="192"/>
                  </a:lnTo>
                  <a:lnTo>
                    <a:pt x="98" y="194"/>
                  </a:lnTo>
                  <a:lnTo>
                    <a:pt x="98" y="192"/>
                  </a:lnTo>
                  <a:lnTo>
                    <a:pt x="96" y="192"/>
                  </a:lnTo>
                  <a:lnTo>
                    <a:pt x="94" y="192"/>
                  </a:lnTo>
                  <a:lnTo>
                    <a:pt x="96" y="192"/>
                  </a:lnTo>
                  <a:lnTo>
                    <a:pt x="96" y="194"/>
                  </a:lnTo>
                  <a:lnTo>
                    <a:pt x="94" y="192"/>
                  </a:lnTo>
                  <a:lnTo>
                    <a:pt x="92" y="192"/>
                  </a:lnTo>
                  <a:lnTo>
                    <a:pt x="92" y="190"/>
                  </a:lnTo>
                  <a:lnTo>
                    <a:pt x="91" y="190"/>
                  </a:lnTo>
                  <a:lnTo>
                    <a:pt x="92" y="190"/>
                  </a:lnTo>
                  <a:lnTo>
                    <a:pt x="92" y="188"/>
                  </a:lnTo>
                  <a:lnTo>
                    <a:pt x="91" y="188"/>
                  </a:lnTo>
                  <a:lnTo>
                    <a:pt x="91" y="190"/>
                  </a:lnTo>
                  <a:lnTo>
                    <a:pt x="92" y="190"/>
                  </a:lnTo>
                  <a:lnTo>
                    <a:pt x="91" y="190"/>
                  </a:lnTo>
                  <a:lnTo>
                    <a:pt x="92" y="192"/>
                  </a:lnTo>
                  <a:lnTo>
                    <a:pt x="91" y="192"/>
                  </a:lnTo>
                  <a:lnTo>
                    <a:pt x="89" y="192"/>
                  </a:lnTo>
                  <a:lnTo>
                    <a:pt x="89" y="190"/>
                  </a:lnTo>
                  <a:lnTo>
                    <a:pt x="91" y="190"/>
                  </a:lnTo>
                  <a:lnTo>
                    <a:pt x="89" y="190"/>
                  </a:lnTo>
                  <a:lnTo>
                    <a:pt x="87" y="190"/>
                  </a:lnTo>
                  <a:lnTo>
                    <a:pt x="89" y="190"/>
                  </a:lnTo>
                  <a:lnTo>
                    <a:pt x="91" y="190"/>
                  </a:lnTo>
                  <a:lnTo>
                    <a:pt x="89" y="190"/>
                  </a:lnTo>
                  <a:lnTo>
                    <a:pt x="89" y="188"/>
                  </a:lnTo>
                  <a:lnTo>
                    <a:pt x="87" y="188"/>
                  </a:lnTo>
                  <a:lnTo>
                    <a:pt x="89" y="188"/>
                  </a:lnTo>
                  <a:lnTo>
                    <a:pt x="89" y="186"/>
                  </a:lnTo>
                  <a:lnTo>
                    <a:pt x="89" y="188"/>
                  </a:lnTo>
                  <a:lnTo>
                    <a:pt x="89" y="186"/>
                  </a:lnTo>
                  <a:lnTo>
                    <a:pt x="87" y="186"/>
                  </a:lnTo>
                  <a:lnTo>
                    <a:pt x="87" y="188"/>
                  </a:lnTo>
                  <a:lnTo>
                    <a:pt x="87" y="186"/>
                  </a:lnTo>
                  <a:lnTo>
                    <a:pt x="87" y="184"/>
                  </a:lnTo>
                  <a:lnTo>
                    <a:pt x="87" y="186"/>
                  </a:lnTo>
                  <a:lnTo>
                    <a:pt x="87" y="184"/>
                  </a:lnTo>
                  <a:lnTo>
                    <a:pt x="87" y="182"/>
                  </a:lnTo>
                  <a:lnTo>
                    <a:pt x="85" y="182"/>
                  </a:lnTo>
                  <a:lnTo>
                    <a:pt x="85" y="181"/>
                  </a:lnTo>
                  <a:lnTo>
                    <a:pt x="85" y="179"/>
                  </a:lnTo>
                  <a:lnTo>
                    <a:pt x="85" y="177"/>
                  </a:lnTo>
                  <a:lnTo>
                    <a:pt x="83" y="177"/>
                  </a:lnTo>
                  <a:lnTo>
                    <a:pt x="83" y="175"/>
                  </a:lnTo>
                  <a:lnTo>
                    <a:pt x="83" y="173"/>
                  </a:lnTo>
                  <a:lnTo>
                    <a:pt x="81" y="173"/>
                  </a:lnTo>
                  <a:lnTo>
                    <a:pt x="81" y="171"/>
                  </a:lnTo>
                  <a:lnTo>
                    <a:pt x="81" y="169"/>
                  </a:lnTo>
                  <a:lnTo>
                    <a:pt x="81" y="167"/>
                  </a:lnTo>
                  <a:lnTo>
                    <a:pt x="79" y="167"/>
                  </a:lnTo>
                  <a:lnTo>
                    <a:pt x="79" y="165"/>
                  </a:lnTo>
                  <a:lnTo>
                    <a:pt x="77" y="161"/>
                  </a:lnTo>
                  <a:lnTo>
                    <a:pt x="77" y="159"/>
                  </a:lnTo>
                  <a:lnTo>
                    <a:pt x="75" y="158"/>
                  </a:lnTo>
                  <a:lnTo>
                    <a:pt x="75" y="156"/>
                  </a:lnTo>
                  <a:lnTo>
                    <a:pt x="75" y="154"/>
                  </a:lnTo>
                  <a:lnTo>
                    <a:pt x="73" y="152"/>
                  </a:lnTo>
                  <a:lnTo>
                    <a:pt x="73" y="150"/>
                  </a:lnTo>
                  <a:lnTo>
                    <a:pt x="71" y="148"/>
                  </a:lnTo>
                  <a:lnTo>
                    <a:pt x="71" y="146"/>
                  </a:lnTo>
                  <a:lnTo>
                    <a:pt x="71" y="144"/>
                  </a:lnTo>
                  <a:lnTo>
                    <a:pt x="69" y="144"/>
                  </a:lnTo>
                  <a:lnTo>
                    <a:pt x="69" y="142"/>
                  </a:lnTo>
                  <a:lnTo>
                    <a:pt x="69" y="140"/>
                  </a:lnTo>
                  <a:lnTo>
                    <a:pt x="68" y="140"/>
                  </a:lnTo>
                  <a:lnTo>
                    <a:pt x="68" y="138"/>
                  </a:lnTo>
                  <a:lnTo>
                    <a:pt x="68" y="136"/>
                  </a:lnTo>
                  <a:lnTo>
                    <a:pt x="66" y="134"/>
                  </a:lnTo>
                  <a:lnTo>
                    <a:pt x="66" y="133"/>
                  </a:lnTo>
                  <a:lnTo>
                    <a:pt x="66" y="131"/>
                  </a:lnTo>
                  <a:lnTo>
                    <a:pt x="64" y="129"/>
                  </a:lnTo>
                  <a:lnTo>
                    <a:pt x="64" y="127"/>
                  </a:lnTo>
                  <a:lnTo>
                    <a:pt x="62" y="125"/>
                  </a:lnTo>
                  <a:lnTo>
                    <a:pt x="62" y="123"/>
                  </a:lnTo>
                  <a:lnTo>
                    <a:pt x="60" y="119"/>
                  </a:lnTo>
                  <a:lnTo>
                    <a:pt x="58" y="115"/>
                  </a:lnTo>
                  <a:lnTo>
                    <a:pt x="58" y="113"/>
                  </a:lnTo>
                  <a:lnTo>
                    <a:pt x="58" y="111"/>
                  </a:lnTo>
                  <a:lnTo>
                    <a:pt x="56" y="111"/>
                  </a:lnTo>
                  <a:lnTo>
                    <a:pt x="56" y="110"/>
                  </a:lnTo>
                  <a:lnTo>
                    <a:pt x="54" y="110"/>
                  </a:lnTo>
                  <a:lnTo>
                    <a:pt x="52" y="110"/>
                  </a:lnTo>
                  <a:lnTo>
                    <a:pt x="52" y="108"/>
                  </a:lnTo>
                  <a:lnTo>
                    <a:pt x="50" y="108"/>
                  </a:lnTo>
                  <a:lnTo>
                    <a:pt x="48" y="108"/>
                  </a:lnTo>
                  <a:lnTo>
                    <a:pt x="48" y="106"/>
                  </a:lnTo>
                  <a:lnTo>
                    <a:pt x="46" y="106"/>
                  </a:lnTo>
                  <a:lnTo>
                    <a:pt x="46" y="104"/>
                  </a:lnTo>
                  <a:lnTo>
                    <a:pt x="44" y="106"/>
                  </a:lnTo>
                  <a:lnTo>
                    <a:pt x="44" y="104"/>
                  </a:lnTo>
                  <a:lnTo>
                    <a:pt x="43" y="104"/>
                  </a:lnTo>
                  <a:lnTo>
                    <a:pt x="41" y="104"/>
                  </a:lnTo>
                  <a:lnTo>
                    <a:pt x="41" y="102"/>
                  </a:lnTo>
                  <a:lnTo>
                    <a:pt x="39" y="102"/>
                  </a:lnTo>
                  <a:lnTo>
                    <a:pt x="37" y="102"/>
                  </a:lnTo>
                  <a:lnTo>
                    <a:pt x="37" y="100"/>
                  </a:lnTo>
                  <a:lnTo>
                    <a:pt x="35" y="100"/>
                  </a:lnTo>
                  <a:lnTo>
                    <a:pt x="33" y="100"/>
                  </a:lnTo>
                  <a:lnTo>
                    <a:pt x="31" y="100"/>
                  </a:lnTo>
                  <a:lnTo>
                    <a:pt x="29" y="100"/>
                  </a:lnTo>
                  <a:lnTo>
                    <a:pt x="29" y="102"/>
                  </a:lnTo>
                  <a:lnTo>
                    <a:pt x="27" y="102"/>
                  </a:lnTo>
                  <a:lnTo>
                    <a:pt x="27" y="104"/>
                  </a:lnTo>
                  <a:lnTo>
                    <a:pt x="27" y="106"/>
                  </a:lnTo>
                  <a:lnTo>
                    <a:pt x="27" y="108"/>
                  </a:lnTo>
                  <a:lnTo>
                    <a:pt x="25" y="108"/>
                  </a:lnTo>
                  <a:lnTo>
                    <a:pt x="23" y="108"/>
                  </a:lnTo>
                  <a:lnTo>
                    <a:pt x="21" y="108"/>
                  </a:lnTo>
                  <a:lnTo>
                    <a:pt x="21" y="110"/>
                  </a:lnTo>
                  <a:lnTo>
                    <a:pt x="20" y="110"/>
                  </a:lnTo>
                  <a:lnTo>
                    <a:pt x="20" y="111"/>
                  </a:lnTo>
                  <a:lnTo>
                    <a:pt x="20" y="113"/>
                  </a:lnTo>
                  <a:lnTo>
                    <a:pt x="18" y="113"/>
                  </a:lnTo>
                  <a:lnTo>
                    <a:pt x="16" y="113"/>
                  </a:lnTo>
                  <a:lnTo>
                    <a:pt x="16" y="115"/>
                  </a:lnTo>
                  <a:lnTo>
                    <a:pt x="14" y="115"/>
                  </a:lnTo>
                  <a:lnTo>
                    <a:pt x="14" y="117"/>
                  </a:lnTo>
                  <a:lnTo>
                    <a:pt x="12" y="117"/>
                  </a:lnTo>
                  <a:lnTo>
                    <a:pt x="12" y="119"/>
                  </a:lnTo>
                  <a:lnTo>
                    <a:pt x="10" y="119"/>
                  </a:lnTo>
                  <a:lnTo>
                    <a:pt x="10" y="121"/>
                  </a:lnTo>
                  <a:lnTo>
                    <a:pt x="8" y="121"/>
                  </a:lnTo>
                  <a:lnTo>
                    <a:pt x="8" y="119"/>
                  </a:lnTo>
                  <a:lnTo>
                    <a:pt x="6" y="119"/>
                  </a:lnTo>
                  <a:lnTo>
                    <a:pt x="6" y="121"/>
                  </a:lnTo>
                  <a:lnTo>
                    <a:pt x="6" y="119"/>
                  </a:lnTo>
                  <a:lnTo>
                    <a:pt x="6" y="121"/>
                  </a:lnTo>
                  <a:lnTo>
                    <a:pt x="6" y="119"/>
                  </a:lnTo>
                  <a:lnTo>
                    <a:pt x="4" y="119"/>
                  </a:lnTo>
                  <a:lnTo>
                    <a:pt x="2" y="119"/>
                  </a:lnTo>
                  <a:lnTo>
                    <a:pt x="0" y="119"/>
                  </a:lnTo>
                  <a:lnTo>
                    <a:pt x="0" y="117"/>
                  </a:lnTo>
                  <a:lnTo>
                    <a:pt x="0" y="115"/>
                  </a:lnTo>
                  <a:lnTo>
                    <a:pt x="2" y="115"/>
                  </a:lnTo>
                  <a:lnTo>
                    <a:pt x="4" y="113"/>
                  </a:lnTo>
                  <a:lnTo>
                    <a:pt x="6" y="111"/>
                  </a:lnTo>
                  <a:lnTo>
                    <a:pt x="8" y="111"/>
                  </a:lnTo>
                  <a:lnTo>
                    <a:pt x="8" y="110"/>
                  </a:lnTo>
                  <a:lnTo>
                    <a:pt x="10" y="110"/>
                  </a:lnTo>
                  <a:lnTo>
                    <a:pt x="10" y="108"/>
                  </a:lnTo>
                  <a:lnTo>
                    <a:pt x="12" y="108"/>
                  </a:lnTo>
                  <a:lnTo>
                    <a:pt x="12" y="106"/>
                  </a:lnTo>
                  <a:lnTo>
                    <a:pt x="14" y="106"/>
                  </a:lnTo>
                  <a:lnTo>
                    <a:pt x="14" y="104"/>
                  </a:lnTo>
                  <a:lnTo>
                    <a:pt x="16" y="104"/>
                  </a:lnTo>
                  <a:lnTo>
                    <a:pt x="16" y="102"/>
                  </a:lnTo>
                  <a:lnTo>
                    <a:pt x="18" y="102"/>
                  </a:lnTo>
                  <a:lnTo>
                    <a:pt x="18" y="100"/>
                  </a:lnTo>
                  <a:lnTo>
                    <a:pt x="18" y="98"/>
                  </a:lnTo>
                  <a:lnTo>
                    <a:pt x="20" y="98"/>
                  </a:lnTo>
                  <a:lnTo>
                    <a:pt x="20" y="96"/>
                  </a:lnTo>
                  <a:lnTo>
                    <a:pt x="20" y="94"/>
                  </a:lnTo>
                  <a:lnTo>
                    <a:pt x="20" y="92"/>
                  </a:lnTo>
                  <a:lnTo>
                    <a:pt x="21" y="92"/>
                  </a:lnTo>
                  <a:lnTo>
                    <a:pt x="21" y="90"/>
                  </a:lnTo>
                  <a:lnTo>
                    <a:pt x="21" y="88"/>
                  </a:lnTo>
                  <a:lnTo>
                    <a:pt x="20" y="88"/>
                  </a:lnTo>
                  <a:lnTo>
                    <a:pt x="20" y="86"/>
                  </a:lnTo>
                  <a:lnTo>
                    <a:pt x="20" y="85"/>
                  </a:lnTo>
                  <a:lnTo>
                    <a:pt x="18" y="83"/>
                  </a:lnTo>
                  <a:lnTo>
                    <a:pt x="18" y="81"/>
                  </a:lnTo>
                  <a:lnTo>
                    <a:pt x="18" y="79"/>
                  </a:lnTo>
                  <a:lnTo>
                    <a:pt x="16" y="77"/>
                  </a:lnTo>
                  <a:lnTo>
                    <a:pt x="16" y="75"/>
                  </a:lnTo>
                  <a:lnTo>
                    <a:pt x="14" y="73"/>
                  </a:lnTo>
                  <a:lnTo>
                    <a:pt x="14" y="71"/>
                  </a:lnTo>
                  <a:lnTo>
                    <a:pt x="14" y="69"/>
                  </a:lnTo>
                  <a:lnTo>
                    <a:pt x="16" y="69"/>
                  </a:lnTo>
                  <a:lnTo>
                    <a:pt x="18" y="67"/>
                  </a:lnTo>
                  <a:lnTo>
                    <a:pt x="20" y="67"/>
                  </a:lnTo>
                  <a:lnTo>
                    <a:pt x="23" y="65"/>
                  </a:lnTo>
                  <a:lnTo>
                    <a:pt x="21" y="60"/>
                  </a:lnTo>
                  <a:lnTo>
                    <a:pt x="25" y="60"/>
                  </a:lnTo>
                  <a:lnTo>
                    <a:pt x="27" y="58"/>
                  </a:lnTo>
                  <a:lnTo>
                    <a:pt x="29" y="58"/>
                  </a:lnTo>
                  <a:lnTo>
                    <a:pt x="31" y="56"/>
                  </a:lnTo>
                  <a:lnTo>
                    <a:pt x="33" y="56"/>
                  </a:lnTo>
                  <a:lnTo>
                    <a:pt x="35" y="56"/>
                  </a:lnTo>
                  <a:lnTo>
                    <a:pt x="37" y="54"/>
                  </a:lnTo>
                  <a:lnTo>
                    <a:pt x="39" y="54"/>
                  </a:lnTo>
                  <a:lnTo>
                    <a:pt x="41" y="52"/>
                  </a:lnTo>
                  <a:lnTo>
                    <a:pt x="43" y="52"/>
                  </a:lnTo>
                  <a:lnTo>
                    <a:pt x="43" y="54"/>
                  </a:lnTo>
                  <a:lnTo>
                    <a:pt x="43" y="56"/>
                  </a:lnTo>
                  <a:lnTo>
                    <a:pt x="44" y="56"/>
                  </a:lnTo>
                  <a:lnTo>
                    <a:pt x="46" y="56"/>
                  </a:lnTo>
                  <a:lnTo>
                    <a:pt x="48" y="56"/>
                  </a:lnTo>
                  <a:lnTo>
                    <a:pt x="50" y="56"/>
                  </a:lnTo>
                  <a:lnTo>
                    <a:pt x="52" y="56"/>
                  </a:lnTo>
                  <a:lnTo>
                    <a:pt x="54" y="56"/>
                  </a:lnTo>
                  <a:lnTo>
                    <a:pt x="54" y="58"/>
                  </a:lnTo>
                  <a:lnTo>
                    <a:pt x="56" y="58"/>
                  </a:lnTo>
                  <a:lnTo>
                    <a:pt x="54" y="58"/>
                  </a:lnTo>
                  <a:lnTo>
                    <a:pt x="54" y="56"/>
                  </a:lnTo>
                  <a:lnTo>
                    <a:pt x="56" y="56"/>
                  </a:lnTo>
                  <a:lnTo>
                    <a:pt x="54" y="56"/>
                  </a:lnTo>
                  <a:lnTo>
                    <a:pt x="56" y="56"/>
                  </a:lnTo>
                  <a:lnTo>
                    <a:pt x="56" y="54"/>
                  </a:lnTo>
                  <a:lnTo>
                    <a:pt x="54" y="54"/>
                  </a:lnTo>
                  <a:lnTo>
                    <a:pt x="56" y="54"/>
                  </a:lnTo>
                  <a:lnTo>
                    <a:pt x="58" y="54"/>
                  </a:lnTo>
                  <a:lnTo>
                    <a:pt x="60" y="54"/>
                  </a:lnTo>
                  <a:lnTo>
                    <a:pt x="60" y="52"/>
                  </a:lnTo>
                  <a:lnTo>
                    <a:pt x="60" y="54"/>
                  </a:lnTo>
                  <a:lnTo>
                    <a:pt x="62" y="52"/>
                  </a:lnTo>
                  <a:lnTo>
                    <a:pt x="64" y="52"/>
                  </a:lnTo>
                  <a:lnTo>
                    <a:pt x="64" y="50"/>
                  </a:lnTo>
                  <a:lnTo>
                    <a:pt x="62" y="50"/>
                  </a:lnTo>
                  <a:lnTo>
                    <a:pt x="64" y="50"/>
                  </a:lnTo>
                  <a:lnTo>
                    <a:pt x="64" y="48"/>
                  </a:lnTo>
                  <a:lnTo>
                    <a:pt x="66" y="48"/>
                  </a:lnTo>
                  <a:lnTo>
                    <a:pt x="66" y="46"/>
                  </a:lnTo>
                  <a:lnTo>
                    <a:pt x="66" y="48"/>
                  </a:lnTo>
                  <a:lnTo>
                    <a:pt x="68" y="48"/>
                  </a:lnTo>
                  <a:lnTo>
                    <a:pt x="69" y="48"/>
                  </a:lnTo>
                  <a:lnTo>
                    <a:pt x="71" y="48"/>
                  </a:lnTo>
                  <a:lnTo>
                    <a:pt x="69" y="46"/>
                  </a:lnTo>
                  <a:lnTo>
                    <a:pt x="69" y="44"/>
                  </a:lnTo>
                  <a:lnTo>
                    <a:pt x="69" y="42"/>
                  </a:lnTo>
                  <a:lnTo>
                    <a:pt x="69" y="40"/>
                  </a:lnTo>
                  <a:lnTo>
                    <a:pt x="71" y="40"/>
                  </a:lnTo>
                  <a:lnTo>
                    <a:pt x="73" y="40"/>
                  </a:lnTo>
                  <a:lnTo>
                    <a:pt x="75" y="38"/>
                  </a:lnTo>
                  <a:lnTo>
                    <a:pt x="77" y="38"/>
                  </a:lnTo>
                  <a:lnTo>
                    <a:pt x="77" y="37"/>
                  </a:lnTo>
                  <a:lnTo>
                    <a:pt x="79" y="37"/>
                  </a:lnTo>
                  <a:lnTo>
                    <a:pt x="79" y="35"/>
                  </a:lnTo>
                  <a:lnTo>
                    <a:pt x="81" y="35"/>
                  </a:lnTo>
                  <a:lnTo>
                    <a:pt x="81" y="33"/>
                  </a:lnTo>
                  <a:lnTo>
                    <a:pt x="83" y="33"/>
                  </a:lnTo>
                  <a:lnTo>
                    <a:pt x="83" y="31"/>
                  </a:lnTo>
                  <a:lnTo>
                    <a:pt x="83" y="29"/>
                  </a:lnTo>
                  <a:lnTo>
                    <a:pt x="85" y="29"/>
                  </a:lnTo>
                  <a:lnTo>
                    <a:pt x="87" y="29"/>
                  </a:lnTo>
                  <a:lnTo>
                    <a:pt x="87" y="27"/>
                  </a:lnTo>
                  <a:lnTo>
                    <a:pt x="89" y="27"/>
                  </a:lnTo>
                  <a:lnTo>
                    <a:pt x="91" y="27"/>
                  </a:lnTo>
                  <a:lnTo>
                    <a:pt x="91" y="29"/>
                  </a:lnTo>
                  <a:lnTo>
                    <a:pt x="89" y="29"/>
                  </a:lnTo>
                  <a:lnTo>
                    <a:pt x="89" y="31"/>
                  </a:lnTo>
                  <a:lnTo>
                    <a:pt x="91" y="31"/>
                  </a:lnTo>
                  <a:lnTo>
                    <a:pt x="89" y="31"/>
                  </a:lnTo>
                  <a:lnTo>
                    <a:pt x="91" y="31"/>
                  </a:lnTo>
                  <a:lnTo>
                    <a:pt x="89" y="31"/>
                  </a:lnTo>
                  <a:lnTo>
                    <a:pt x="89" y="33"/>
                  </a:lnTo>
                  <a:lnTo>
                    <a:pt x="89" y="31"/>
                  </a:lnTo>
                  <a:lnTo>
                    <a:pt x="91" y="31"/>
                  </a:lnTo>
                  <a:lnTo>
                    <a:pt x="92" y="31"/>
                  </a:lnTo>
                  <a:lnTo>
                    <a:pt x="94" y="31"/>
                  </a:lnTo>
                  <a:lnTo>
                    <a:pt x="96" y="31"/>
                  </a:lnTo>
                  <a:lnTo>
                    <a:pt x="98" y="31"/>
                  </a:lnTo>
                  <a:lnTo>
                    <a:pt x="100" y="31"/>
                  </a:lnTo>
                  <a:lnTo>
                    <a:pt x="98" y="31"/>
                  </a:lnTo>
                  <a:lnTo>
                    <a:pt x="100" y="31"/>
                  </a:lnTo>
                  <a:lnTo>
                    <a:pt x="102" y="31"/>
                  </a:lnTo>
                  <a:lnTo>
                    <a:pt x="104" y="31"/>
                  </a:lnTo>
                  <a:lnTo>
                    <a:pt x="106" y="31"/>
                  </a:lnTo>
                  <a:lnTo>
                    <a:pt x="108" y="31"/>
                  </a:lnTo>
                  <a:lnTo>
                    <a:pt x="110" y="31"/>
                  </a:lnTo>
                  <a:lnTo>
                    <a:pt x="110" y="29"/>
                  </a:lnTo>
                  <a:lnTo>
                    <a:pt x="112" y="29"/>
                  </a:lnTo>
                  <a:lnTo>
                    <a:pt x="114" y="29"/>
                  </a:lnTo>
                  <a:lnTo>
                    <a:pt x="116" y="29"/>
                  </a:lnTo>
                  <a:lnTo>
                    <a:pt x="117" y="29"/>
                  </a:lnTo>
                  <a:lnTo>
                    <a:pt x="117" y="31"/>
                  </a:lnTo>
                  <a:lnTo>
                    <a:pt x="119" y="31"/>
                  </a:lnTo>
                  <a:lnTo>
                    <a:pt x="119" y="33"/>
                  </a:lnTo>
                  <a:lnTo>
                    <a:pt x="121" y="33"/>
                  </a:lnTo>
                  <a:lnTo>
                    <a:pt x="121" y="35"/>
                  </a:lnTo>
                  <a:lnTo>
                    <a:pt x="123" y="35"/>
                  </a:lnTo>
                  <a:lnTo>
                    <a:pt x="123" y="37"/>
                  </a:lnTo>
                  <a:lnTo>
                    <a:pt x="123" y="38"/>
                  </a:lnTo>
                  <a:lnTo>
                    <a:pt x="125" y="38"/>
                  </a:lnTo>
                  <a:lnTo>
                    <a:pt x="127" y="38"/>
                  </a:lnTo>
                  <a:lnTo>
                    <a:pt x="129" y="38"/>
                  </a:lnTo>
                  <a:lnTo>
                    <a:pt x="129" y="40"/>
                  </a:lnTo>
                  <a:lnTo>
                    <a:pt x="129" y="38"/>
                  </a:lnTo>
                  <a:lnTo>
                    <a:pt x="129" y="40"/>
                  </a:lnTo>
                  <a:lnTo>
                    <a:pt x="129" y="38"/>
                  </a:lnTo>
                  <a:lnTo>
                    <a:pt x="127" y="38"/>
                  </a:lnTo>
                  <a:lnTo>
                    <a:pt x="127" y="40"/>
                  </a:lnTo>
                  <a:lnTo>
                    <a:pt x="127" y="42"/>
                  </a:lnTo>
                  <a:lnTo>
                    <a:pt x="127" y="44"/>
                  </a:lnTo>
                  <a:lnTo>
                    <a:pt x="129" y="44"/>
                  </a:lnTo>
                  <a:lnTo>
                    <a:pt x="129" y="42"/>
                  </a:lnTo>
                  <a:lnTo>
                    <a:pt x="127" y="42"/>
                  </a:lnTo>
                  <a:lnTo>
                    <a:pt x="129" y="42"/>
                  </a:lnTo>
                  <a:lnTo>
                    <a:pt x="129" y="40"/>
                  </a:lnTo>
                  <a:lnTo>
                    <a:pt x="129" y="42"/>
                  </a:lnTo>
                  <a:lnTo>
                    <a:pt x="129" y="40"/>
                  </a:lnTo>
                  <a:lnTo>
                    <a:pt x="129" y="38"/>
                  </a:lnTo>
                  <a:lnTo>
                    <a:pt x="129" y="40"/>
                  </a:lnTo>
                  <a:lnTo>
                    <a:pt x="129" y="38"/>
                  </a:lnTo>
                  <a:lnTo>
                    <a:pt x="131" y="38"/>
                  </a:lnTo>
                  <a:lnTo>
                    <a:pt x="131" y="37"/>
                  </a:lnTo>
                  <a:lnTo>
                    <a:pt x="133" y="37"/>
                  </a:lnTo>
                  <a:lnTo>
                    <a:pt x="133" y="35"/>
                  </a:lnTo>
                  <a:lnTo>
                    <a:pt x="135" y="35"/>
                  </a:lnTo>
                  <a:lnTo>
                    <a:pt x="135" y="33"/>
                  </a:lnTo>
                  <a:lnTo>
                    <a:pt x="135" y="31"/>
                  </a:lnTo>
                  <a:lnTo>
                    <a:pt x="137" y="31"/>
                  </a:lnTo>
                  <a:lnTo>
                    <a:pt x="137" y="29"/>
                  </a:lnTo>
                  <a:lnTo>
                    <a:pt x="139" y="29"/>
                  </a:lnTo>
                  <a:lnTo>
                    <a:pt x="139" y="27"/>
                  </a:lnTo>
                  <a:lnTo>
                    <a:pt x="139" y="25"/>
                  </a:lnTo>
                  <a:lnTo>
                    <a:pt x="140" y="25"/>
                  </a:lnTo>
                  <a:lnTo>
                    <a:pt x="139" y="25"/>
                  </a:lnTo>
                  <a:lnTo>
                    <a:pt x="140" y="25"/>
                  </a:lnTo>
                  <a:lnTo>
                    <a:pt x="140" y="23"/>
                  </a:lnTo>
                  <a:lnTo>
                    <a:pt x="142" y="23"/>
                  </a:lnTo>
                  <a:lnTo>
                    <a:pt x="142" y="21"/>
                  </a:lnTo>
                  <a:lnTo>
                    <a:pt x="144" y="21"/>
                  </a:lnTo>
                  <a:lnTo>
                    <a:pt x="144" y="19"/>
                  </a:lnTo>
                  <a:lnTo>
                    <a:pt x="146" y="19"/>
                  </a:lnTo>
                  <a:lnTo>
                    <a:pt x="148" y="19"/>
                  </a:lnTo>
                  <a:lnTo>
                    <a:pt x="148" y="17"/>
                  </a:lnTo>
                  <a:lnTo>
                    <a:pt x="150" y="17"/>
                  </a:lnTo>
                  <a:lnTo>
                    <a:pt x="150" y="19"/>
                  </a:lnTo>
                  <a:lnTo>
                    <a:pt x="148" y="19"/>
                  </a:lnTo>
                  <a:lnTo>
                    <a:pt x="148" y="17"/>
                  </a:lnTo>
                  <a:lnTo>
                    <a:pt x="148" y="19"/>
                  </a:lnTo>
                  <a:lnTo>
                    <a:pt x="148" y="21"/>
                  </a:lnTo>
                  <a:lnTo>
                    <a:pt x="146" y="21"/>
                  </a:lnTo>
                  <a:lnTo>
                    <a:pt x="146" y="23"/>
                  </a:lnTo>
                  <a:lnTo>
                    <a:pt x="146" y="21"/>
                  </a:lnTo>
                  <a:lnTo>
                    <a:pt x="146" y="23"/>
                  </a:lnTo>
                  <a:lnTo>
                    <a:pt x="148" y="23"/>
                  </a:lnTo>
                  <a:lnTo>
                    <a:pt x="146" y="23"/>
                  </a:lnTo>
                  <a:lnTo>
                    <a:pt x="148" y="23"/>
                  </a:lnTo>
                  <a:lnTo>
                    <a:pt x="146" y="23"/>
                  </a:lnTo>
                  <a:lnTo>
                    <a:pt x="148" y="23"/>
                  </a:lnTo>
                  <a:lnTo>
                    <a:pt x="148" y="21"/>
                  </a:lnTo>
                  <a:lnTo>
                    <a:pt x="150" y="21"/>
                  </a:lnTo>
                  <a:lnTo>
                    <a:pt x="150" y="19"/>
                  </a:lnTo>
                  <a:lnTo>
                    <a:pt x="152" y="19"/>
                  </a:lnTo>
                  <a:lnTo>
                    <a:pt x="154" y="19"/>
                  </a:lnTo>
                  <a:lnTo>
                    <a:pt x="154" y="17"/>
                  </a:lnTo>
                  <a:lnTo>
                    <a:pt x="156" y="17"/>
                  </a:lnTo>
                  <a:close/>
                  <a:moveTo>
                    <a:pt x="165" y="8"/>
                  </a:moveTo>
                  <a:lnTo>
                    <a:pt x="167" y="8"/>
                  </a:lnTo>
                  <a:lnTo>
                    <a:pt x="167" y="10"/>
                  </a:lnTo>
                  <a:lnTo>
                    <a:pt x="167" y="12"/>
                  </a:lnTo>
                  <a:lnTo>
                    <a:pt x="167" y="14"/>
                  </a:lnTo>
                  <a:lnTo>
                    <a:pt x="165" y="14"/>
                  </a:lnTo>
                  <a:lnTo>
                    <a:pt x="167" y="14"/>
                  </a:lnTo>
                  <a:lnTo>
                    <a:pt x="165" y="14"/>
                  </a:lnTo>
                  <a:lnTo>
                    <a:pt x="165" y="15"/>
                  </a:lnTo>
                  <a:lnTo>
                    <a:pt x="165" y="17"/>
                  </a:lnTo>
                  <a:lnTo>
                    <a:pt x="165" y="19"/>
                  </a:lnTo>
                  <a:lnTo>
                    <a:pt x="164" y="19"/>
                  </a:lnTo>
                  <a:lnTo>
                    <a:pt x="165" y="19"/>
                  </a:lnTo>
                  <a:lnTo>
                    <a:pt x="165" y="17"/>
                  </a:lnTo>
                  <a:lnTo>
                    <a:pt x="164" y="17"/>
                  </a:lnTo>
                  <a:lnTo>
                    <a:pt x="162" y="17"/>
                  </a:lnTo>
                  <a:lnTo>
                    <a:pt x="162" y="15"/>
                  </a:lnTo>
                  <a:lnTo>
                    <a:pt x="164" y="15"/>
                  </a:lnTo>
                  <a:lnTo>
                    <a:pt x="164" y="14"/>
                  </a:lnTo>
                  <a:lnTo>
                    <a:pt x="164" y="15"/>
                  </a:lnTo>
                  <a:lnTo>
                    <a:pt x="162" y="15"/>
                  </a:lnTo>
                  <a:lnTo>
                    <a:pt x="164" y="15"/>
                  </a:lnTo>
                  <a:lnTo>
                    <a:pt x="162" y="15"/>
                  </a:lnTo>
                  <a:lnTo>
                    <a:pt x="164" y="15"/>
                  </a:lnTo>
                  <a:lnTo>
                    <a:pt x="162" y="15"/>
                  </a:lnTo>
                  <a:lnTo>
                    <a:pt x="164" y="15"/>
                  </a:lnTo>
                  <a:lnTo>
                    <a:pt x="162" y="15"/>
                  </a:lnTo>
                  <a:lnTo>
                    <a:pt x="162" y="14"/>
                  </a:lnTo>
                  <a:lnTo>
                    <a:pt x="162" y="15"/>
                  </a:lnTo>
                  <a:lnTo>
                    <a:pt x="162" y="14"/>
                  </a:lnTo>
                  <a:lnTo>
                    <a:pt x="160" y="14"/>
                  </a:lnTo>
                  <a:lnTo>
                    <a:pt x="160" y="15"/>
                  </a:lnTo>
                  <a:lnTo>
                    <a:pt x="160" y="14"/>
                  </a:lnTo>
                  <a:lnTo>
                    <a:pt x="162" y="14"/>
                  </a:lnTo>
                  <a:lnTo>
                    <a:pt x="160" y="15"/>
                  </a:lnTo>
                  <a:lnTo>
                    <a:pt x="160" y="14"/>
                  </a:lnTo>
                  <a:lnTo>
                    <a:pt x="160" y="12"/>
                  </a:lnTo>
                  <a:lnTo>
                    <a:pt x="160" y="10"/>
                  </a:lnTo>
                  <a:lnTo>
                    <a:pt x="162" y="10"/>
                  </a:lnTo>
                  <a:lnTo>
                    <a:pt x="160" y="10"/>
                  </a:lnTo>
                  <a:lnTo>
                    <a:pt x="162" y="10"/>
                  </a:lnTo>
                  <a:lnTo>
                    <a:pt x="160" y="10"/>
                  </a:lnTo>
                  <a:lnTo>
                    <a:pt x="162" y="10"/>
                  </a:lnTo>
                  <a:lnTo>
                    <a:pt x="162" y="8"/>
                  </a:lnTo>
                  <a:lnTo>
                    <a:pt x="164" y="8"/>
                  </a:lnTo>
                  <a:lnTo>
                    <a:pt x="164" y="10"/>
                  </a:lnTo>
                  <a:lnTo>
                    <a:pt x="165" y="10"/>
                  </a:lnTo>
                  <a:lnTo>
                    <a:pt x="165" y="8"/>
                  </a:lnTo>
                  <a:lnTo>
                    <a:pt x="165" y="10"/>
                  </a:lnTo>
                  <a:lnTo>
                    <a:pt x="165" y="8"/>
                  </a:lnTo>
                  <a:lnTo>
                    <a:pt x="165" y="6"/>
                  </a:lnTo>
                  <a:lnTo>
                    <a:pt x="165" y="8"/>
                  </a:lnTo>
                  <a:close/>
                  <a:moveTo>
                    <a:pt x="154" y="227"/>
                  </a:moveTo>
                  <a:lnTo>
                    <a:pt x="154" y="229"/>
                  </a:lnTo>
                  <a:lnTo>
                    <a:pt x="156" y="229"/>
                  </a:lnTo>
                  <a:lnTo>
                    <a:pt x="154" y="229"/>
                  </a:lnTo>
                  <a:lnTo>
                    <a:pt x="154" y="230"/>
                  </a:lnTo>
                  <a:lnTo>
                    <a:pt x="156" y="230"/>
                  </a:lnTo>
                  <a:lnTo>
                    <a:pt x="158" y="230"/>
                  </a:lnTo>
                  <a:lnTo>
                    <a:pt x="158" y="232"/>
                  </a:lnTo>
                  <a:lnTo>
                    <a:pt x="156" y="232"/>
                  </a:lnTo>
                  <a:lnTo>
                    <a:pt x="158" y="232"/>
                  </a:lnTo>
                  <a:lnTo>
                    <a:pt x="156" y="232"/>
                  </a:lnTo>
                  <a:lnTo>
                    <a:pt x="158" y="232"/>
                  </a:lnTo>
                  <a:lnTo>
                    <a:pt x="158" y="234"/>
                  </a:lnTo>
                  <a:lnTo>
                    <a:pt x="156" y="234"/>
                  </a:lnTo>
                  <a:lnTo>
                    <a:pt x="158" y="234"/>
                  </a:lnTo>
                  <a:lnTo>
                    <a:pt x="158" y="236"/>
                  </a:lnTo>
                  <a:lnTo>
                    <a:pt x="156" y="236"/>
                  </a:lnTo>
                  <a:lnTo>
                    <a:pt x="154" y="236"/>
                  </a:lnTo>
                  <a:lnTo>
                    <a:pt x="154" y="238"/>
                  </a:lnTo>
                  <a:lnTo>
                    <a:pt x="154" y="240"/>
                  </a:lnTo>
                  <a:lnTo>
                    <a:pt x="152" y="240"/>
                  </a:lnTo>
                  <a:lnTo>
                    <a:pt x="152" y="242"/>
                  </a:lnTo>
                  <a:lnTo>
                    <a:pt x="152" y="240"/>
                  </a:lnTo>
                  <a:lnTo>
                    <a:pt x="152" y="238"/>
                  </a:lnTo>
                  <a:lnTo>
                    <a:pt x="152" y="236"/>
                  </a:lnTo>
                  <a:lnTo>
                    <a:pt x="152" y="234"/>
                  </a:lnTo>
                  <a:lnTo>
                    <a:pt x="152" y="232"/>
                  </a:lnTo>
                  <a:lnTo>
                    <a:pt x="152" y="230"/>
                  </a:lnTo>
                  <a:lnTo>
                    <a:pt x="152" y="232"/>
                  </a:lnTo>
                  <a:lnTo>
                    <a:pt x="152" y="230"/>
                  </a:lnTo>
                  <a:lnTo>
                    <a:pt x="152" y="229"/>
                  </a:lnTo>
                  <a:lnTo>
                    <a:pt x="152" y="227"/>
                  </a:lnTo>
                  <a:lnTo>
                    <a:pt x="154" y="227"/>
                  </a:lnTo>
                  <a:close/>
                  <a:moveTo>
                    <a:pt x="162" y="0"/>
                  </a:moveTo>
                  <a:lnTo>
                    <a:pt x="164" y="0"/>
                  </a:lnTo>
                  <a:lnTo>
                    <a:pt x="165" y="0"/>
                  </a:lnTo>
                  <a:lnTo>
                    <a:pt x="165" y="2"/>
                  </a:lnTo>
                  <a:lnTo>
                    <a:pt x="165" y="0"/>
                  </a:lnTo>
                  <a:lnTo>
                    <a:pt x="164" y="0"/>
                  </a:lnTo>
                  <a:lnTo>
                    <a:pt x="164" y="2"/>
                  </a:lnTo>
                  <a:lnTo>
                    <a:pt x="165" y="2"/>
                  </a:lnTo>
                  <a:lnTo>
                    <a:pt x="164" y="2"/>
                  </a:lnTo>
                  <a:lnTo>
                    <a:pt x="165" y="2"/>
                  </a:lnTo>
                  <a:lnTo>
                    <a:pt x="165" y="4"/>
                  </a:lnTo>
                  <a:lnTo>
                    <a:pt x="164" y="4"/>
                  </a:lnTo>
                  <a:lnTo>
                    <a:pt x="165" y="4"/>
                  </a:lnTo>
                  <a:lnTo>
                    <a:pt x="164" y="4"/>
                  </a:lnTo>
                  <a:lnTo>
                    <a:pt x="164" y="6"/>
                  </a:lnTo>
                  <a:lnTo>
                    <a:pt x="164" y="8"/>
                  </a:lnTo>
                  <a:lnTo>
                    <a:pt x="162" y="8"/>
                  </a:lnTo>
                  <a:lnTo>
                    <a:pt x="164" y="8"/>
                  </a:lnTo>
                  <a:lnTo>
                    <a:pt x="162" y="8"/>
                  </a:lnTo>
                  <a:lnTo>
                    <a:pt x="162" y="6"/>
                  </a:lnTo>
                  <a:lnTo>
                    <a:pt x="162" y="4"/>
                  </a:lnTo>
                  <a:lnTo>
                    <a:pt x="162" y="2"/>
                  </a:lnTo>
                  <a:lnTo>
                    <a:pt x="162" y="0"/>
                  </a:lnTo>
                  <a:close/>
                  <a:moveTo>
                    <a:pt x="144" y="219"/>
                  </a:moveTo>
                  <a:lnTo>
                    <a:pt x="144" y="221"/>
                  </a:lnTo>
                  <a:lnTo>
                    <a:pt x="142" y="221"/>
                  </a:lnTo>
                  <a:lnTo>
                    <a:pt x="144" y="221"/>
                  </a:lnTo>
                  <a:lnTo>
                    <a:pt x="144" y="223"/>
                  </a:lnTo>
                  <a:lnTo>
                    <a:pt x="146" y="223"/>
                  </a:lnTo>
                  <a:lnTo>
                    <a:pt x="144" y="223"/>
                  </a:lnTo>
                  <a:lnTo>
                    <a:pt x="146" y="223"/>
                  </a:lnTo>
                  <a:lnTo>
                    <a:pt x="146" y="225"/>
                  </a:lnTo>
                  <a:lnTo>
                    <a:pt x="144" y="225"/>
                  </a:lnTo>
                  <a:lnTo>
                    <a:pt x="146" y="225"/>
                  </a:lnTo>
                  <a:lnTo>
                    <a:pt x="144" y="225"/>
                  </a:lnTo>
                  <a:lnTo>
                    <a:pt x="144" y="227"/>
                  </a:lnTo>
                  <a:lnTo>
                    <a:pt x="146" y="227"/>
                  </a:lnTo>
                  <a:lnTo>
                    <a:pt x="146" y="229"/>
                  </a:lnTo>
                  <a:lnTo>
                    <a:pt x="146" y="227"/>
                  </a:lnTo>
                  <a:lnTo>
                    <a:pt x="144" y="227"/>
                  </a:lnTo>
                  <a:lnTo>
                    <a:pt x="144" y="229"/>
                  </a:lnTo>
                  <a:lnTo>
                    <a:pt x="144" y="227"/>
                  </a:lnTo>
                  <a:lnTo>
                    <a:pt x="144" y="229"/>
                  </a:lnTo>
                  <a:lnTo>
                    <a:pt x="144" y="227"/>
                  </a:lnTo>
                  <a:lnTo>
                    <a:pt x="142" y="227"/>
                  </a:lnTo>
                  <a:lnTo>
                    <a:pt x="142" y="225"/>
                  </a:lnTo>
                  <a:lnTo>
                    <a:pt x="144" y="225"/>
                  </a:lnTo>
                  <a:lnTo>
                    <a:pt x="142" y="225"/>
                  </a:lnTo>
                  <a:lnTo>
                    <a:pt x="142" y="223"/>
                  </a:lnTo>
                  <a:lnTo>
                    <a:pt x="144" y="223"/>
                  </a:lnTo>
                  <a:lnTo>
                    <a:pt x="144" y="225"/>
                  </a:lnTo>
                  <a:lnTo>
                    <a:pt x="142" y="225"/>
                  </a:lnTo>
                  <a:lnTo>
                    <a:pt x="144" y="225"/>
                  </a:lnTo>
                  <a:lnTo>
                    <a:pt x="144" y="223"/>
                  </a:lnTo>
                  <a:lnTo>
                    <a:pt x="142" y="223"/>
                  </a:lnTo>
                  <a:lnTo>
                    <a:pt x="142" y="221"/>
                  </a:lnTo>
                  <a:lnTo>
                    <a:pt x="144" y="221"/>
                  </a:lnTo>
                  <a:lnTo>
                    <a:pt x="144" y="219"/>
                  </a:lnTo>
                  <a:close/>
                  <a:moveTo>
                    <a:pt x="140" y="217"/>
                  </a:moveTo>
                  <a:lnTo>
                    <a:pt x="140" y="219"/>
                  </a:lnTo>
                  <a:lnTo>
                    <a:pt x="140" y="217"/>
                  </a:lnTo>
                  <a:lnTo>
                    <a:pt x="140" y="219"/>
                  </a:lnTo>
                  <a:lnTo>
                    <a:pt x="140" y="221"/>
                  </a:lnTo>
                  <a:lnTo>
                    <a:pt x="140" y="219"/>
                  </a:lnTo>
                  <a:lnTo>
                    <a:pt x="140" y="221"/>
                  </a:lnTo>
                  <a:lnTo>
                    <a:pt x="140" y="223"/>
                  </a:lnTo>
                  <a:lnTo>
                    <a:pt x="139" y="221"/>
                  </a:lnTo>
                  <a:lnTo>
                    <a:pt x="139" y="219"/>
                  </a:lnTo>
                  <a:lnTo>
                    <a:pt x="140" y="219"/>
                  </a:lnTo>
                  <a:lnTo>
                    <a:pt x="140" y="221"/>
                  </a:lnTo>
                  <a:lnTo>
                    <a:pt x="140" y="219"/>
                  </a:lnTo>
                  <a:lnTo>
                    <a:pt x="139" y="219"/>
                  </a:lnTo>
                  <a:lnTo>
                    <a:pt x="140" y="219"/>
                  </a:lnTo>
                  <a:lnTo>
                    <a:pt x="139" y="219"/>
                  </a:lnTo>
                  <a:lnTo>
                    <a:pt x="140" y="219"/>
                  </a:lnTo>
                  <a:lnTo>
                    <a:pt x="139" y="219"/>
                  </a:lnTo>
                  <a:lnTo>
                    <a:pt x="140" y="219"/>
                  </a:lnTo>
                  <a:lnTo>
                    <a:pt x="139" y="219"/>
                  </a:lnTo>
                  <a:lnTo>
                    <a:pt x="139" y="221"/>
                  </a:lnTo>
                  <a:lnTo>
                    <a:pt x="139" y="219"/>
                  </a:lnTo>
                  <a:lnTo>
                    <a:pt x="139" y="217"/>
                  </a:lnTo>
                  <a:lnTo>
                    <a:pt x="140" y="217"/>
                  </a:lnTo>
                  <a:close/>
                  <a:moveTo>
                    <a:pt x="158" y="15"/>
                  </a:moveTo>
                  <a:lnTo>
                    <a:pt x="158" y="17"/>
                  </a:lnTo>
                  <a:lnTo>
                    <a:pt x="160" y="17"/>
                  </a:lnTo>
                  <a:lnTo>
                    <a:pt x="158" y="17"/>
                  </a:lnTo>
                  <a:lnTo>
                    <a:pt x="156" y="17"/>
                  </a:lnTo>
                  <a:lnTo>
                    <a:pt x="156" y="15"/>
                  </a:lnTo>
                  <a:lnTo>
                    <a:pt x="158" y="15"/>
                  </a:lnTo>
                  <a:lnTo>
                    <a:pt x="156" y="15"/>
                  </a:lnTo>
                  <a:lnTo>
                    <a:pt x="158" y="15"/>
                  </a:lnTo>
                  <a:lnTo>
                    <a:pt x="156" y="15"/>
                  </a:lnTo>
                  <a:lnTo>
                    <a:pt x="158" y="15"/>
                  </a:lnTo>
                  <a:close/>
                  <a:moveTo>
                    <a:pt x="160" y="234"/>
                  </a:moveTo>
                  <a:lnTo>
                    <a:pt x="162" y="234"/>
                  </a:lnTo>
                  <a:lnTo>
                    <a:pt x="160" y="234"/>
                  </a:lnTo>
                  <a:lnTo>
                    <a:pt x="160" y="236"/>
                  </a:lnTo>
                  <a:lnTo>
                    <a:pt x="162" y="236"/>
                  </a:lnTo>
                  <a:lnTo>
                    <a:pt x="160" y="236"/>
                  </a:lnTo>
                  <a:lnTo>
                    <a:pt x="160" y="234"/>
                  </a:lnTo>
                  <a:close/>
                  <a:moveTo>
                    <a:pt x="165" y="60"/>
                  </a:moveTo>
                  <a:lnTo>
                    <a:pt x="167" y="60"/>
                  </a:lnTo>
                  <a:lnTo>
                    <a:pt x="167" y="62"/>
                  </a:lnTo>
                  <a:lnTo>
                    <a:pt x="169" y="62"/>
                  </a:lnTo>
                  <a:lnTo>
                    <a:pt x="167" y="62"/>
                  </a:lnTo>
                  <a:lnTo>
                    <a:pt x="167" y="60"/>
                  </a:lnTo>
                  <a:lnTo>
                    <a:pt x="165" y="60"/>
                  </a:lnTo>
                  <a:close/>
                  <a:moveTo>
                    <a:pt x="100" y="29"/>
                  </a:moveTo>
                  <a:lnTo>
                    <a:pt x="98" y="29"/>
                  </a:lnTo>
                  <a:lnTo>
                    <a:pt x="96" y="29"/>
                  </a:lnTo>
                  <a:lnTo>
                    <a:pt x="98" y="29"/>
                  </a:lnTo>
                  <a:lnTo>
                    <a:pt x="96" y="29"/>
                  </a:lnTo>
                  <a:lnTo>
                    <a:pt x="98" y="29"/>
                  </a:lnTo>
                  <a:lnTo>
                    <a:pt x="100" y="29"/>
                  </a:lnTo>
                  <a:close/>
                  <a:moveTo>
                    <a:pt x="158" y="234"/>
                  </a:moveTo>
                  <a:lnTo>
                    <a:pt x="158" y="232"/>
                  </a:lnTo>
                  <a:lnTo>
                    <a:pt x="158" y="234"/>
                  </a:lnTo>
                  <a:close/>
                  <a:moveTo>
                    <a:pt x="144" y="213"/>
                  </a:moveTo>
                  <a:lnTo>
                    <a:pt x="144" y="215"/>
                  </a:lnTo>
                  <a:lnTo>
                    <a:pt x="144" y="213"/>
                  </a:lnTo>
                  <a:lnTo>
                    <a:pt x="144" y="211"/>
                  </a:lnTo>
                  <a:lnTo>
                    <a:pt x="144" y="213"/>
                  </a:lnTo>
                  <a:lnTo>
                    <a:pt x="144" y="211"/>
                  </a:lnTo>
                  <a:lnTo>
                    <a:pt x="144" y="213"/>
                  </a:lnTo>
                  <a:close/>
                  <a:moveTo>
                    <a:pt x="164" y="58"/>
                  </a:moveTo>
                  <a:lnTo>
                    <a:pt x="165" y="58"/>
                  </a:lnTo>
                  <a:lnTo>
                    <a:pt x="164" y="58"/>
                  </a:lnTo>
                  <a:lnTo>
                    <a:pt x="164" y="56"/>
                  </a:lnTo>
                  <a:lnTo>
                    <a:pt x="164" y="58"/>
                  </a:lnTo>
                  <a:close/>
                  <a:moveTo>
                    <a:pt x="187" y="79"/>
                  </a:moveTo>
                  <a:lnTo>
                    <a:pt x="187" y="81"/>
                  </a:lnTo>
                  <a:lnTo>
                    <a:pt x="187" y="79"/>
                  </a:lnTo>
                  <a:close/>
                  <a:moveTo>
                    <a:pt x="208" y="100"/>
                  </a:moveTo>
                  <a:lnTo>
                    <a:pt x="208" y="102"/>
                  </a:lnTo>
                  <a:lnTo>
                    <a:pt x="208" y="100"/>
                  </a:lnTo>
                  <a:close/>
                  <a:moveTo>
                    <a:pt x="164" y="63"/>
                  </a:moveTo>
                  <a:lnTo>
                    <a:pt x="164" y="62"/>
                  </a:lnTo>
                  <a:lnTo>
                    <a:pt x="164" y="63"/>
                  </a:lnTo>
                  <a:close/>
                  <a:moveTo>
                    <a:pt x="156" y="240"/>
                  </a:moveTo>
                  <a:lnTo>
                    <a:pt x="156" y="238"/>
                  </a:lnTo>
                  <a:lnTo>
                    <a:pt x="156" y="240"/>
                  </a:lnTo>
                  <a:close/>
                  <a:moveTo>
                    <a:pt x="202" y="94"/>
                  </a:moveTo>
                  <a:lnTo>
                    <a:pt x="202" y="96"/>
                  </a:lnTo>
                  <a:lnTo>
                    <a:pt x="204" y="96"/>
                  </a:lnTo>
                  <a:lnTo>
                    <a:pt x="202" y="96"/>
                  </a:lnTo>
                  <a:lnTo>
                    <a:pt x="202" y="94"/>
                  </a:lnTo>
                  <a:close/>
                  <a:moveTo>
                    <a:pt x="135" y="213"/>
                  </a:moveTo>
                  <a:lnTo>
                    <a:pt x="133" y="213"/>
                  </a:lnTo>
                  <a:lnTo>
                    <a:pt x="135" y="213"/>
                  </a:lnTo>
                  <a:close/>
                  <a:moveTo>
                    <a:pt x="177" y="75"/>
                  </a:moveTo>
                  <a:lnTo>
                    <a:pt x="179" y="75"/>
                  </a:lnTo>
                  <a:lnTo>
                    <a:pt x="179" y="77"/>
                  </a:lnTo>
                  <a:lnTo>
                    <a:pt x="181" y="77"/>
                  </a:lnTo>
                  <a:lnTo>
                    <a:pt x="179" y="77"/>
                  </a:lnTo>
                  <a:lnTo>
                    <a:pt x="179" y="75"/>
                  </a:lnTo>
                  <a:lnTo>
                    <a:pt x="177" y="75"/>
                  </a:lnTo>
                  <a:close/>
                  <a:moveTo>
                    <a:pt x="181" y="77"/>
                  </a:moveTo>
                  <a:lnTo>
                    <a:pt x="183" y="77"/>
                  </a:lnTo>
                  <a:lnTo>
                    <a:pt x="183" y="79"/>
                  </a:lnTo>
                  <a:lnTo>
                    <a:pt x="185" y="79"/>
                  </a:lnTo>
                  <a:lnTo>
                    <a:pt x="187" y="79"/>
                  </a:lnTo>
                  <a:lnTo>
                    <a:pt x="185" y="79"/>
                  </a:lnTo>
                  <a:lnTo>
                    <a:pt x="183" y="79"/>
                  </a:lnTo>
                  <a:lnTo>
                    <a:pt x="181" y="77"/>
                  </a:lnTo>
                  <a:close/>
                  <a:moveTo>
                    <a:pt x="164" y="52"/>
                  </a:moveTo>
                  <a:lnTo>
                    <a:pt x="164" y="54"/>
                  </a:lnTo>
                  <a:lnTo>
                    <a:pt x="164" y="56"/>
                  </a:lnTo>
                  <a:lnTo>
                    <a:pt x="164" y="54"/>
                  </a:lnTo>
                  <a:lnTo>
                    <a:pt x="164" y="52"/>
                  </a:lnTo>
                  <a:lnTo>
                    <a:pt x="164" y="54"/>
                  </a:lnTo>
                  <a:lnTo>
                    <a:pt x="164" y="52"/>
                  </a:lnTo>
                  <a:close/>
                  <a:moveTo>
                    <a:pt x="162" y="35"/>
                  </a:moveTo>
                  <a:lnTo>
                    <a:pt x="162" y="37"/>
                  </a:lnTo>
                  <a:lnTo>
                    <a:pt x="162" y="35"/>
                  </a:lnTo>
                  <a:close/>
                  <a:moveTo>
                    <a:pt x="164" y="44"/>
                  </a:moveTo>
                  <a:lnTo>
                    <a:pt x="164" y="46"/>
                  </a:lnTo>
                  <a:lnTo>
                    <a:pt x="165" y="46"/>
                  </a:lnTo>
                  <a:lnTo>
                    <a:pt x="164" y="46"/>
                  </a:lnTo>
                  <a:lnTo>
                    <a:pt x="164" y="48"/>
                  </a:lnTo>
                  <a:lnTo>
                    <a:pt x="164" y="46"/>
                  </a:lnTo>
                  <a:lnTo>
                    <a:pt x="164" y="44"/>
                  </a:lnTo>
                  <a:close/>
                  <a:moveTo>
                    <a:pt x="140" y="215"/>
                  </a:moveTo>
                  <a:lnTo>
                    <a:pt x="140" y="217"/>
                  </a:lnTo>
                  <a:lnTo>
                    <a:pt x="139" y="217"/>
                  </a:lnTo>
                  <a:lnTo>
                    <a:pt x="140" y="217"/>
                  </a:lnTo>
                  <a:lnTo>
                    <a:pt x="140" y="215"/>
                  </a:lnTo>
                  <a:close/>
                  <a:moveTo>
                    <a:pt x="154" y="17"/>
                  </a:moveTo>
                  <a:lnTo>
                    <a:pt x="152" y="17"/>
                  </a:lnTo>
                  <a:lnTo>
                    <a:pt x="154" y="17"/>
                  </a:lnTo>
                  <a:close/>
                  <a:moveTo>
                    <a:pt x="160" y="234"/>
                  </a:moveTo>
                  <a:lnTo>
                    <a:pt x="160" y="236"/>
                  </a:lnTo>
                  <a:lnTo>
                    <a:pt x="158" y="236"/>
                  </a:lnTo>
                  <a:lnTo>
                    <a:pt x="158" y="234"/>
                  </a:lnTo>
                  <a:lnTo>
                    <a:pt x="160" y="234"/>
                  </a:lnTo>
                  <a:close/>
                  <a:moveTo>
                    <a:pt x="158" y="17"/>
                  </a:moveTo>
                  <a:lnTo>
                    <a:pt x="160" y="17"/>
                  </a:lnTo>
                  <a:lnTo>
                    <a:pt x="158" y="17"/>
                  </a:lnTo>
                  <a:close/>
                  <a:moveTo>
                    <a:pt x="100" y="192"/>
                  </a:moveTo>
                  <a:lnTo>
                    <a:pt x="100" y="194"/>
                  </a:lnTo>
                  <a:lnTo>
                    <a:pt x="100" y="192"/>
                  </a:lnTo>
                  <a:lnTo>
                    <a:pt x="98" y="192"/>
                  </a:lnTo>
                  <a:lnTo>
                    <a:pt x="100" y="192"/>
                  </a:lnTo>
                  <a:close/>
                  <a:moveTo>
                    <a:pt x="160" y="240"/>
                  </a:moveTo>
                  <a:lnTo>
                    <a:pt x="160" y="238"/>
                  </a:lnTo>
                  <a:lnTo>
                    <a:pt x="160" y="240"/>
                  </a:lnTo>
                  <a:close/>
                  <a:moveTo>
                    <a:pt x="102" y="192"/>
                  </a:moveTo>
                  <a:lnTo>
                    <a:pt x="100" y="192"/>
                  </a:lnTo>
                  <a:lnTo>
                    <a:pt x="102" y="192"/>
                  </a:lnTo>
                  <a:close/>
                  <a:moveTo>
                    <a:pt x="142" y="217"/>
                  </a:moveTo>
                  <a:lnTo>
                    <a:pt x="142" y="219"/>
                  </a:lnTo>
                  <a:lnTo>
                    <a:pt x="140" y="219"/>
                  </a:lnTo>
                  <a:lnTo>
                    <a:pt x="140" y="217"/>
                  </a:lnTo>
                  <a:lnTo>
                    <a:pt x="142" y="217"/>
                  </a:lnTo>
                  <a:close/>
                  <a:moveTo>
                    <a:pt x="158" y="230"/>
                  </a:moveTo>
                  <a:lnTo>
                    <a:pt x="156" y="230"/>
                  </a:lnTo>
                  <a:lnTo>
                    <a:pt x="158" y="230"/>
                  </a:lnTo>
                  <a:close/>
                  <a:moveTo>
                    <a:pt x="102" y="192"/>
                  </a:moveTo>
                  <a:lnTo>
                    <a:pt x="104" y="192"/>
                  </a:lnTo>
                  <a:lnTo>
                    <a:pt x="102" y="192"/>
                  </a:lnTo>
                  <a:close/>
                  <a:moveTo>
                    <a:pt x="156" y="238"/>
                  </a:moveTo>
                  <a:lnTo>
                    <a:pt x="156" y="240"/>
                  </a:lnTo>
                  <a:lnTo>
                    <a:pt x="156" y="238"/>
                  </a:lnTo>
                  <a:close/>
                  <a:moveTo>
                    <a:pt x="142" y="223"/>
                  </a:moveTo>
                  <a:lnTo>
                    <a:pt x="140" y="223"/>
                  </a:lnTo>
                  <a:lnTo>
                    <a:pt x="142" y="223"/>
                  </a:lnTo>
                  <a:close/>
                  <a:moveTo>
                    <a:pt x="104" y="190"/>
                  </a:moveTo>
                  <a:lnTo>
                    <a:pt x="104" y="192"/>
                  </a:lnTo>
                  <a:lnTo>
                    <a:pt x="102" y="190"/>
                  </a:lnTo>
                  <a:lnTo>
                    <a:pt x="104" y="190"/>
                  </a:lnTo>
                  <a:close/>
                  <a:moveTo>
                    <a:pt x="162" y="54"/>
                  </a:moveTo>
                  <a:lnTo>
                    <a:pt x="162" y="56"/>
                  </a:lnTo>
                  <a:lnTo>
                    <a:pt x="160" y="56"/>
                  </a:lnTo>
                  <a:lnTo>
                    <a:pt x="162" y="54"/>
                  </a:lnTo>
                  <a:close/>
                  <a:moveTo>
                    <a:pt x="162" y="33"/>
                  </a:moveTo>
                  <a:lnTo>
                    <a:pt x="162" y="35"/>
                  </a:lnTo>
                  <a:lnTo>
                    <a:pt x="162" y="33"/>
                  </a:lnTo>
                  <a:close/>
                  <a:moveTo>
                    <a:pt x="144" y="213"/>
                  </a:moveTo>
                  <a:lnTo>
                    <a:pt x="146" y="213"/>
                  </a:lnTo>
                  <a:lnTo>
                    <a:pt x="144" y="213"/>
                  </a:lnTo>
                  <a:lnTo>
                    <a:pt x="144" y="215"/>
                  </a:lnTo>
                  <a:lnTo>
                    <a:pt x="144" y="213"/>
                  </a:lnTo>
                  <a:lnTo>
                    <a:pt x="144" y="215"/>
                  </a:lnTo>
                  <a:lnTo>
                    <a:pt x="144" y="213"/>
                  </a:lnTo>
                  <a:close/>
                  <a:moveTo>
                    <a:pt x="152" y="217"/>
                  </a:moveTo>
                  <a:lnTo>
                    <a:pt x="152" y="219"/>
                  </a:lnTo>
                  <a:lnTo>
                    <a:pt x="152" y="217"/>
                  </a:lnTo>
                  <a:lnTo>
                    <a:pt x="150" y="217"/>
                  </a:lnTo>
                  <a:lnTo>
                    <a:pt x="152" y="217"/>
                  </a:lnTo>
                  <a:close/>
                  <a:moveTo>
                    <a:pt x="125" y="209"/>
                  </a:moveTo>
                  <a:lnTo>
                    <a:pt x="127" y="209"/>
                  </a:lnTo>
                  <a:lnTo>
                    <a:pt x="125" y="209"/>
                  </a:lnTo>
                  <a:close/>
                  <a:moveTo>
                    <a:pt x="104" y="190"/>
                  </a:moveTo>
                  <a:lnTo>
                    <a:pt x="102" y="190"/>
                  </a:lnTo>
                  <a:lnTo>
                    <a:pt x="104" y="190"/>
                  </a:lnTo>
                  <a:close/>
                  <a:moveTo>
                    <a:pt x="140" y="215"/>
                  </a:moveTo>
                  <a:lnTo>
                    <a:pt x="142" y="215"/>
                  </a:lnTo>
                  <a:lnTo>
                    <a:pt x="140" y="215"/>
                  </a:lnTo>
                  <a:lnTo>
                    <a:pt x="140" y="217"/>
                  </a:lnTo>
                  <a:lnTo>
                    <a:pt x="140" y="215"/>
                  </a:lnTo>
                  <a:close/>
                  <a:moveTo>
                    <a:pt x="160" y="19"/>
                  </a:moveTo>
                  <a:lnTo>
                    <a:pt x="158" y="19"/>
                  </a:lnTo>
                  <a:lnTo>
                    <a:pt x="160" y="19"/>
                  </a:lnTo>
                  <a:close/>
                  <a:moveTo>
                    <a:pt x="150" y="217"/>
                  </a:moveTo>
                  <a:lnTo>
                    <a:pt x="152" y="217"/>
                  </a:lnTo>
                  <a:lnTo>
                    <a:pt x="150" y="217"/>
                  </a:lnTo>
                  <a:close/>
                  <a:moveTo>
                    <a:pt x="137" y="211"/>
                  </a:moveTo>
                  <a:lnTo>
                    <a:pt x="135" y="211"/>
                  </a:lnTo>
                  <a:lnTo>
                    <a:pt x="137" y="211"/>
                  </a:lnTo>
                  <a:close/>
                  <a:moveTo>
                    <a:pt x="142" y="217"/>
                  </a:moveTo>
                  <a:lnTo>
                    <a:pt x="140" y="217"/>
                  </a:lnTo>
                  <a:lnTo>
                    <a:pt x="142" y="217"/>
                  </a:lnTo>
                  <a:lnTo>
                    <a:pt x="140" y="217"/>
                  </a:lnTo>
                  <a:lnTo>
                    <a:pt x="142" y="217"/>
                  </a:lnTo>
                  <a:close/>
                  <a:moveTo>
                    <a:pt x="156" y="204"/>
                  </a:moveTo>
                  <a:lnTo>
                    <a:pt x="154" y="204"/>
                  </a:lnTo>
                  <a:lnTo>
                    <a:pt x="156" y="204"/>
                  </a:lnTo>
                  <a:close/>
                  <a:moveTo>
                    <a:pt x="154" y="67"/>
                  </a:moveTo>
                  <a:lnTo>
                    <a:pt x="156" y="67"/>
                  </a:lnTo>
                  <a:lnTo>
                    <a:pt x="154" y="67"/>
                  </a:lnTo>
                  <a:close/>
                  <a:moveTo>
                    <a:pt x="87" y="188"/>
                  </a:moveTo>
                  <a:lnTo>
                    <a:pt x="87" y="186"/>
                  </a:lnTo>
                  <a:lnTo>
                    <a:pt x="87" y="188"/>
                  </a:lnTo>
                  <a:close/>
                  <a:moveTo>
                    <a:pt x="164" y="50"/>
                  </a:moveTo>
                  <a:lnTo>
                    <a:pt x="164" y="48"/>
                  </a:lnTo>
                  <a:lnTo>
                    <a:pt x="164" y="50"/>
                  </a:lnTo>
                  <a:close/>
                  <a:moveTo>
                    <a:pt x="160" y="240"/>
                  </a:moveTo>
                  <a:lnTo>
                    <a:pt x="158" y="240"/>
                  </a:lnTo>
                  <a:lnTo>
                    <a:pt x="160" y="240"/>
                  </a:lnTo>
                  <a:close/>
                  <a:moveTo>
                    <a:pt x="171" y="190"/>
                  </a:moveTo>
                  <a:lnTo>
                    <a:pt x="171" y="192"/>
                  </a:lnTo>
                  <a:lnTo>
                    <a:pt x="171" y="190"/>
                  </a:lnTo>
                  <a:close/>
                  <a:moveTo>
                    <a:pt x="162" y="33"/>
                  </a:moveTo>
                  <a:lnTo>
                    <a:pt x="162" y="31"/>
                  </a:lnTo>
                  <a:lnTo>
                    <a:pt x="162" y="33"/>
                  </a:lnTo>
                  <a:close/>
                  <a:moveTo>
                    <a:pt x="164" y="50"/>
                  </a:moveTo>
                  <a:lnTo>
                    <a:pt x="164" y="52"/>
                  </a:lnTo>
                  <a:lnTo>
                    <a:pt x="164" y="50"/>
                  </a:lnTo>
                  <a:close/>
                  <a:moveTo>
                    <a:pt x="152" y="206"/>
                  </a:moveTo>
                  <a:lnTo>
                    <a:pt x="152" y="207"/>
                  </a:lnTo>
                  <a:lnTo>
                    <a:pt x="152" y="206"/>
                  </a:lnTo>
                  <a:close/>
                  <a:moveTo>
                    <a:pt x="104" y="192"/>
                  </a:moveTo>
                  <a:lnTo>
                    <a:pt x="102" y="192"/>
                  </a:lnTo>
                  <a:lnTo>
                    <a:pt x="104" y="192"/>
                  </a:lnTo>
                  <a:close/>
                  <a:moveTo>
                    <a:pt x="142" y="219"/>
                  </a:moveTo>
                  <a:lnTo>
                    <a:pt x="140" y="221"/>
                  </a:lnTo>
                  <a:lnTo>
                    <a:pt x="140" y="219"/>
                  </a:lnTo>
                  <a:lnTo>
                    <a:pt x="142" y="219"/>
                  </a:lnTo>
                  <a:lnTo>
                    <a:pt x="140" y="219"/>
                  </a:lnTo>
                  <a:lnTo>
                    <a:pt x="142" y="219"/>
                  </a:lnTo>
                  <a:close/>
                  <a:moveTo>
                    <a:pt x="140" y="213"/>
                  </a:moveTo>
                  <a:lnTo>
                    <a:pt x="140" y="215"/>
                  </a:lnTo>
                  <a:lnTo>
                    <a:pt x="140" y="213"/>
                  </a:lnTo>
                  <a:close/>
                  <a:moveTo>
                    <a:pt x="106" y="192"/>
                  </a:moveTo>
                  <a:lnTo>
                    <a:pt x="106" y="190"/>
                  </a:lnTo>
                  <a:lnTo>
                    <a:pt x="106" y="192"/>
                  </a:lnTo>
                  <a:close/>
                  <a:moveTo>
                    <a:pt x="146" y="211"/>
                  </a:moveTo>
                  <a:lnTo>
                    <a:pt x="144" y="211"/>
                  </a:lnTo>
                  <a:lnTo>
                    <a:pt x="146" y="211"/>
                  </a:lnTo>
                  <a:close/>
                  <a:moveTo>
                    <a:pt x="152" y="217"/>
                  </a:moveTo>
                  <a:lnTo>
                    <a:pt x="150" y="217"/>
                  </a:lnTo>
                  <a:lnTo>
                    <a:pt x="152" y="217"/>
                  </a:lnTo>
                  <a:close/>
                  <a:moveTo>
                    <a:pt x="202" y="96"/>
                  </a:moveTo>
                  <a:lnTo>
                    <a:pt x="202" y="94"/>
                  </a:lnTo>
                  <a:lnTo>
                    <a:pt x="202" y="96"/>
                  </a:lnTo>
                  <a:close/>
                  <a:moveTo>
                    <a:pt x="142" y="213"/>
                  </a:moveTo>
                  <a:lnTo>
                    <a:pt x="142" y="215"/>
                  </a:lnTo>
                  <a:lnTo>
                    <a:pt x="140" y="215"/>
                  </a:lnTo>
                  <a:lnTo>
                    <a:pt x="140" y="213"/>
                  </a:lnTo>
                  <a:lnTo>
                    <a:pt x="140" y="215"/>
                  </a:lnTo>
                  <a:lnTo>
                    <a:pt x="140" y="213"/>
                  </a:lnTo>
                  <a:lnTo>
                    <a:pt x="142" y="213"/>
                  </a:lnTo>
                  <a:close/>
                  <a:moveTo>
                    <a:pt x="212" y="102"/>
                  </a:moveTo>
                  <a:lnTo>
                    <a:pt x="212" y="100"/>
                  </a:lnTo>
                  <a:lnTo>
                    <a:pt x="212" y="102"/>
                  </a:lnTo>
                  <a:close/>
                  <a:moveTo>
                    <a:pt x="92" y="190"/>
                  </a:moveTo>
                  <a:lnTo>
                    <a:pt x="91" y="190"/>
                  </a:lnTo>
                  <a:lnTo>
                    <a:pt x="92" y="190"/>
                  </a:lnTo>
                  <a:close/>
                  <a:moveTo>
                    <a:pt x="164" y="52"/>
                  </a:moveTo>
                  <a:lnTo>
                    <a:pt x="164" y="50"/>
                  </a:lnTo>
                  <a:lnTo>
                    <a:pt x="164" y="52"/>
                  </a:lnTo>
                  <a:close/>
                  <a:moveTo>
                    <a:pt x="129" y="40"/>
                  </a:moveTo>
                  <a:lnTo>
                    <a:pt x="129" y="42"/>
                  </a:lnTo>
                  <a:lnTo>
                    <a:pt x="129" y="40"/>
                  </a:lnTo>
                  <a:close/>
                  <a:moveTo>
                    <a:pt x="92" y="190"/>
                  </a:moveTo>
                  <a:lnTo>
                    <a:pt x="91" y="190"/>
                  </a:lnTo>
                  <a:lnTo>
                    <a:pt x="92" y="190"/>
                  </a:lnTo>
                  <a:close/>
                  <a:moveTo>
                    <a:pt x="129" y="40"/>
                  </a:moveTo>
                  <a:lnTo>
                    <a:pt x="127" y="40"/>
                  </a:lnTo>
                  <a:lnTo>
                    <a:pt x="129" y="40"/>
                  </a:lnTo>
                  <a:close/>
                  <a:moveTo>
                    <a:pt x="144" y="211"/>
                  </a:moveTo>
                  <a:lnTo>
                    <a:pt x="144" y="209"/>
                  </a:lnTo>
                  <a:lnTo>
                    <a:pt x="144" y="211"/>
                  </a:lnTo>
                  <a:close/>
                </a:path>
              </a:pathLst>
            </a:custGeom>
            <a:solidFill>
              <a:srgbClr val="FD685D"/>
            </a:solidFill>
            <a:ln w="3175">
              <a:solidFill>
                <a:sysClr val="window" lastClr="FFFF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black"/>
                </a:solidFill>
                <a:effectLst/>
                <a:uLnTx/>
                <a:uFillTx/>
                <a:ea typeface="宋体" panose="02010600030101010101" pitchFamily="2" charset="-122"/>
              </a:endParaRPr>
            </a:p>
          </p:txBody>
        </p:sp>
        <p:sp>
          <p:nvSpPr>
            <p:cNvPr id="66" name="Freeform 774">
              <a:extLst>
                <a:ext uri="{FF2B5EF4-FFF2-40B4-BE49-F238E27FC236}">
                  <a16:creationId xmlns:a16="http://schemas.microsoft.com/office/drawing/2014/main" id="{BF3194C5-9CF8-B9A3-438E-2F5E51106FC1}"/>
                </a:ext>
              </a:extLst>
            </p:cNvPr>
            <p:cNvSpPr>
              <a:spLocks noEditPoints="1"/>
            </p:cNvSpPr>
            <p:nvPr/>
          </p:nvSpPr>
          <p:spPr bwMode="auto">
            <a:xfrm>
              <a:off x="6264276" y="3784601"/>
              <a:ext cx="454025" cy="533400"/>
            </a:xfrm>
            <a:custGeom>
              <a:avLst/>
              <a:gdLst>
                <a:gd name="T0" fmla="*/ 153 w 286"/>
                <a:gd name="T1" fmla="*/ 126 h 336"/>
                <a:gd name="T2" fmla="*/ 174 w 286"/>
                <a:gd name="T3" fmla="*/ 126 h 336"/>
                <a:gd name="T4" fmla="*/ 192 w 286"/>
                <a:gd name="T5" fmla="*/ 126 h 336"/>
                <a:gd name="T6" fmla="*/ 184 w 286"/>
                <a:gd name="T7" fmla="*/ 140 h 336"/>
                <a:gd name="T8" fmla="*/ 165 w 286"/>
                <a:gd name="T9" fmla="*/ 159 h 336"/>
                <a:gd name="T10" fmla="*/ 159 w 286"/>
                <a:gd name="T11" fmla="*/ 169 h 336"/>
                <a:gd name="T12" fmla="*/ 148 w 286"/>
                <a:gd name="T13" fmla="*/ 182 h 336"/>
                <a:gd name="T14" fmla="*/ 132 w 286"/>
                <a:gd name="T15" fmla="*/ 199 h 336"/>
                <a:gd name="T16" fmla="*/ 123 w 286"/>
                <a:gd name="T17" fmla="*/ 207 h 336"/>
                <a:gd name="T18" fmla="*/ 115 w 286"/>
                <a:gd name="T19" fmla="*/ 213 h 336"/>
                <a:gd name="T20" fmla="*/ 113 w 286"/>
                <a:gd name="T21" fmla="*/ 224 h 336"/>
                <a:gd name="T22" fmla="*/ 94 w 286"/>
                <a:gd name="T23" fmla="*/ 222 h 336"/>
                <a:gd name="T24" fmla="*/ 80 w 286"/>
                <a:gd name="T25" fmla="*/ 238 h 336"/>
                <a:gd name="T26" fmla="*/ 88 w 286"/>
                <a:gd name="T27" fmla="*/ 247 h 336"/>
                <a:gd name="T28" fmla="*/ 80 w 286"/>
                <a:gd name="T29" fmla="*/ 265 h 336"/>
                <a:gd name="T30" fmla="*/ 77 w 286"/>
                <a:gd name="T31" fmla="*/ 286 h 336"/>
                <a:gd name="T32" fmla="*/ 65 w 286"/>
                <a:gd name="T33" fmla="*/ 299 h 336"/>
                <a:gd name="T34" fmla="*/ 61 w 286"/>
                <a:gd name="T35" fmla="*/ 317 h 336"/>
                <a:gd name="T36" fmla="*/ 42 w 286"/>
                <a:gd name="T37" fmla="*/ 318 h 336"/>
                <a:gd name="T38" fmla="*/ 27 w 286"/>
                <a:gd name="T39" fmla="*/ 309 h 336"/>
                <a:gd name="T40" fmla="*/ 19 w 286"/>
                <a:gd name="T41" fmla="*/ 311 h 336"/>
                <a:gd name="T42" fmla="*/ 4 w 286"/>
                <a:gd name="T43" fmla="*/ 282 h 336"/>
                <a:gd name="T44" fmla="*/ 32 w 286"/>
                <a:gd name="T45" fmla="*/ 224 h 336"/>
                <a:gd name="T46" fmla="*/ 69 w 286"/>
                <a:gd name="T47" fmla="*/ 196 h 336"/>
                <a:gd name="T48" fmla="*/ 88 w 286"/>
                <a:gd name="T49" fmla="*/ 174 h 336"/>
                <a:gd name="T50" fmla="*/ 48 w 286"/>
                <a:gd name="T51" fmla="*/ 192 h 336"/>
                <a:gd name="T52" fmla="*/ 44 w 286"/>
                <a:gd name="T53" fmla="*/ 171 h 336"/>
                <a:gd name="T54" fmla="*/ 73 w 286"/>
                <a:gd name="T55" fmla="*/ 148 h 336"/>
                <a:gd name="T56" fmla="*/ 90 w 286"/>
                <a:gd name="T57" fmla="*/ 148 h 336"/>
                <a:gd name="T58" fmla="*/ 117 w 286"/>
                <a:gd name="T59" fmla="*/ 142 h 336"/>
                <a:gd name="T60" fmla="*/ 136 w 286"/>
                <a:gd name="T61" fmla="*/ 121 h 336"/>
                <a:gd name="T62" fmla="*/ 176 w 286"/>
                <a:gd name="T63" fmla="*/ 34 h 336"/>
                <a:gd name="T64" fmla="*/ 186 w 286"/>
                <a:gd name="T65" fmla="*/ 61 h 336"/>
                <a:gd name="T66" fmla="*/ 174 w 286"/>
                <a:gd name="T67" fmla="*/ 90 h 336"/>
                <a:gd name="T68" fmla="*/ 176 w 286"/>
                <a:gd name="T69" fmla="*/ 90 h 336"/>
                <a:gd name="T70" fmla="*/ 174 w 286"/>
                <a:gd name="T71" fmla="*/ 105 h 336"/>
                <a:gd name="T72" fmla="*/ 190 w 286"/>
                <a:gd name="T73" fmla="*/ 94 h 336"/>
                <a:gd name="T74" fmla="*/ 182 w 286"/>
                <a:gd name="T75" fmla="*/ 86 h 336"/>
                <a:gd name="T76" fmla="*/ 199 w 286"/>
                <a:gd name="T77" fmla="*/ 55 h 336"/>
                <a:gd name="T78" fmla="*/ 217 w 286"/>
                <a:gd name="T79" fmla="*/ 69 h 336"/>
                <a:gd name="T80" fmla="*/ 201 w 286"/>
                <a:gd name="T81" fmla="*/ 98 h 336"/>
                <a:gd name="T82" fmla="*/ 182 w 286"/>
                <a:gd name="T83" fmla="*/ 109 h 336"/>
                <a:gd name="T84" fmla="*/ 151 w 286"/>
                <a:gd name="T85" fmla="*/ 96 h 336"/>
                <a:gd name="T86" fmla="*/ 153 w 286"/>
                <a:gd name="T87" fmla="*/ 52 h 336"/>
                <a:gd name="T88" fmla="*/ 192 w 286"/>
                <a:gd name="T89" fmla="*/ 61 h 336"/>
                <a:gd name="T90" fmla="*/ 184 w 286"/>
                <a:gd name="T91" fmla="*/ 117 h 336"/>
                <a:gd name="T92" fmla="*/ 52 w 286"/>
                <a:gd name="T93" fmla="*/ 324 h 336"/>
                <a:gd name="T94" fmla="*/ 223 w 286"/>
                <a:gd name="T95" fmla="*/ 59 h 336"/>
                <a:gd name="T96" fmla="*/ 86 w 286"/>
                <a:gd name="T97" fmla="*/ 259 h 336"/>
                <a:gd name="T98" fmla="*/ 86 w 286"/>
                <a:gd name="T99" fmla="*/ 244 h 336"/>
                <a:gd name="T100" fmla="*/ 32 w 286"/>
                <a:gd name="T101" fmla="*/ 315 h 336"/>
                <a:gd name="T102" fmla="*/ 34 w 286"/>
                <a:gd name="T103" fmla="*/ 317 h 336"/>
                <a:gd name="T104" fmla="*/ 194 w 286"/>
                <a:gd name="T105" fmla="*/ 123 h 336"/>
                <a:gd name="T106" fmla="*/ 182 w 286"/>
                <a:gd name="T107" fmla="*/ 117 h 336"/>
                <a:gd name="T108" fmla="*/ 190 w 286"/>
                <a:gd name="T109" fmla="*/ 96 h 336"/>
                <a:gd name="T110" fmla="*/ 82 w 286"/>
                <a:gd name="T111" fmla="*/ 240 h 336"/>
                <a:gd name="T112" fmla="*/ 146 w 286"/>
                <a:gd name="T113" fmla="*/ 186 h 336"/>
                <a:gd name="T114" fmla="*/ 88 w 286"/>
                <a:gd name="T115" fmla="*/ 246 h 336"/>
                <a:gd name="T116" fmla="*/ 36 w 286"/>
                <a:gd name="T117" fmla="*/ 317 h 336"/>
                <a:gd name="T118" fmla="*/ 153 w 286"/>
                <a:gd name="T119" fmla="*/ 182 h 336"/>
                <a:gd name="T120" fmla="*/ 150 w 286"/>
                <a:gd name="T121" fmla="*/ 182 h 336"/>
                <a:gd name="T122" fmla="*/ 138 w 286"/>
                <a:gd name="T123" fmla="*/ 192 h 336"/>
                <a:gd name="T124" fmla="*/ 155 w 286"/>
                <a:gd name="T125" fmla="*/ 173 h 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86" h="336">
                  <a:moveTo>
                    <a:pt x="140" y="113"/>
                  </a:moveTo>
                  <a:lnTo>
                    <a:pt x="142" y="113"/>
                  </a:lnTo>
                  <a:lnTo>
                    <a:pt x="140" y="113"/>
                  </a:lnTo>
                  <a:lnTo>
                    <a:pt x="140" y="115"/>
                  </a:lnTo>
                  <a:lnTo>
                    <a:pt x="142" y="115"/>
                  </a:lnTo>
                  <a:lnTo>
                    <a:pt x="142" y="117"/>
                  </a:lnTo>
                  <a:lnTo>
                    <a:pt x="144" y="117"/>
                  </a:lnTo>
                  <a:lnTo>
                    <a:pt x="144" y="119"/>
                  </a:lnTo>
                  <a:lnTo>
                    <a:pt x="144" y="117"/>
                  </a:lnTo>
                  <a:lnTo>
                    <a:pt x="144" y="119"/>
                  </a:lnTo>
                  <a:lnTo>
                    <a:pt x="146" y="119"/>
                  </a:lnTo>
                  <a:lnTo>
                    <a:pt x="146" y="121"/>
                  </a:lnTo>
                  <a:lnTo>
                    <a:pt x="146" y="123"/>
                  </a:lnTo>
                  <a:lnTo>
                    <a:pt x="148" y="123"/>
                  </a:lnTo>
                  <a:lnTo>
                    <a:pt x="146" y="123"/>
                  </a:lnTo>
                  <a:lnTo>
                    <a:pt x="146" y="125"/>
                  </a:lnTo>
                  <a:lnTo>
                    <a:pt x="148" y="125"/>
                  </a:lnTo>
                  <a:lnTo>
                    <a:pt x="146" y="125"/>
                  </a:lnTo>
                  <a:lnTo>
                    <a:pt x="146" y="123"/>
                  </a:lnTo>
                  <a:lnTo>
                    <a:pt x="148" y="123"/>
                  </a:lnTo>
                  <a:lnTo>
                    <a:pt x="148" y="125"/>
                  </a:lnTo>
                  <a:lnTo>
                    <a:pt x="148" y="123"/>
                  </a:lnTo>
                  <a:lnTo>
                    <a:pt x="148" y="125"/>
                  </a:lnTo>
                  <a:lnTo>
                    <a:pt x="146" y="125"/>
                  </a:lnTo>
                  <a:lnTo>
                    <a:pt x="148" y="125"/>
                  </a:lnTo>
                  <a:lnTo>
                    <a:pt x="146" y="125"/>
                  </a:lnTo>
                  <a:lnTo>
                    <a:pt x="146" y="126"/>
                  </a:lnTo>
                  <a:lnTo>
                    <a:pt x="146" y="128"/>
                  </a:lnTo>
                  <a:lnTo>
                    <a:pt x="146" y="126"/>
                  </a:lnTo>
                  <a:lnTo>
                    <a:pt x="146" y="128"/>
                  </a:lnTo>
                  <a:lnTo>
                    <a:pt x="146" y="126"/>
                  </a:lnTo>
                  <a:lnTo>
                    <a:pt x="146" y="128"/>
                  </a:lnTo>
                  <a:lnTo>
                    <a:pt x="146" y="126"/>
                  </a:lnTo>
                  <a:lnTo>
                    <a:pt x="148" y="126"/>
                  </a:lnTo>
                  <a:lnTo>
                    <a:pt x="148" y="128"/>
                  </a:lnTo>
                  <a:lnTo>
                    <a:pt x="148" y="126"/>
                  </a:lnTo>
                  <a:lnTo>
                    <a:pt x="148" y="128"/>
                  </a:lnTo>
                  <a:lnTo>
                    <a:pt x="148" y="126"/>
                  </a:lnTo>
                  <a:lnTo>
                    <a:pt x="148" y="128"/>
                  </a:lnTo>
                  <a:lnTo>
                    <a:pt x="148" y="126"/>
                  </a:lnTo>
                  <a:lnTo>
                    <a:pt x="148" y="128"/>
                  </a:lnTo>
                  <a:lnTo>
                    <a:pt x="148" y="126"/>
                  </a:lnTo>
                  <a:lnTo>
                    <a:pt x="148" y="125"/>
                  </a:lnTo>
                  <a:lnTo>
                    <a:pt x="148" y="123"/>
                  </a:lnTo>
                  <a:lnTo>
                    <a:pt x="150" y="123"/>
                  </a:lnTo>
                  <a:lnTo>
                    <a:pt x="151" y="123"/>
                  </a:lnTo>
                  <a:lnTo>
                    <a:pt x="151" y="125"/>
                  </a:lnTo>
                  <a:lnTo>
                    <a:pt x="150" y="125"/>
                  </a:lnTo>
                  <a:lnTo>
                    <a:pt x="151" y="125"/>
                  </a:lnTo>
                  <a:lnTo>
                    <a:pt x="150" y="125"/>
                  </a:lnTo>
                  <a:lnTo>
                    <a:pt x="151" y="125"/>
                  </a:lnTo>
                  <a:lnTo>
                    <a:pt x="150" y="125"/>
                  </a:lnTo>
                  <a:lnTo>
                    <a:pt x="151" y="125"/>
                  </a:lnTo>
                  <a:lnTo>
                    <a:pt x="151" y="126"/>
                  </a:lnTo>
                  <a:lnTo>
                    <a:pt x="153" y="126"/>
                  </a:lnTo>
                  <a:lnTo>
                    <a:pt x="151" y="126"/>
                  </a:lnTo>
                  <a:lnTo>
                    <a:pt x="153" y="126"/>
                  </a:lnTo>
                  <a:lnTo>
                    <a:pt x="153" y="125"/>
                  </a:lnTo>
                  <a:lnTo>
                    <a:pt x="153" y="126"/>
                  </a:lnTo>
                  <a:lnTo>
                    <a:pt x="153" y="125"/>
                  </a:lnTo>
                  <a:lnTo>
                    <a:pt x="153" y="126"/>
                  </a:lnTo>
                  <a:lnTo>
                    <a:pt x="153" y="125"/>
                  </a:lnTo>
                  <a:lnTo>
                    <a:pt x="151" y="125"/>
                  </a:lnTo>
                  <a:lnTo>
                    <a:pt x="153" y="125"/>
                  </a:lnTo>
                  <a:lnTo>
                    <a:pt x="153" y="123"/>
                  </a:lnTo>
                  <a:lnTo>
                    <a:pt x="151" y="123"/>
                  </a:lnTo>
                  <a:lnTo>
                    <a:pt x="151" y="125"/>
                  </a:lnTo>
                  <a:lnTo>
                    <a:pt x="151" y="123"/>
                  </a:lnTo>
                  <a:lnTo>
                    <a:pt x="153" y="123"/>
                  </a:lnTo>
                  <a:lnTo>
                    <a:pt x="155" y="123"/>
                  </a:lnTo>
                  <a:lnTo>
                    <a:pt x="155" y="121"/>
                  </a:lnTo>
                  <a:lnTo>
                    <a:pt x="155" y="123"/>
                  </a:lnTo>
                  <a:lnTo>
                    <a:pt x="155" y="121"/>
                  </a:lnTo>
                  <a:lnTo>
                    <a:pt x="157" y="121"/>
                  </a:lnTo>
                  <a:lnTo>
                    <a:pt x="157" y="123"/>
                  </a:lnTo>
                  <a:lnTo>
                    <a:pt x="157" y="121"/>
                  </a:lnTo>
                  <a:lnTo>
                    <a:pt x="157" y="123"/>
                  </a:lnTo>
                  <a:lnTo>
                    <a:pt x="157" y="121"/>
                  </a:lnTo>
                  <a:lnTo>
                    <a:pt x="159" y="121"/>
                  </a:lnTo>
                  <a:lnTo>
                    <a:pt x="159" y="119"/>
                  </a:lnTo>
                  <a:lnTo>
                    <a:pt x="161" y="119"/>
                  </a:lnTo>
                  <a:lnTo>
                    <a:pt x="159" y="119"/>
                  </a:lnTo>
                  <a:lnTo>
                    <a:pt x="161" y="119"/>
                  </a:lnTo>
                  <a:lnTo>
                    <a:pt x="159" y="119"/>
                  </a:lnTo>
                  <a:lnTo>
                    <a:pt x="159" y="117"/>
                  </a:lnTo>
                  <a:lnTo>
                    <a:pt x="159" y="115"/>
                  </a:lnTo>
                  <a:lnTo>
                    <a:pt x="159" y="117"/>
                  </a:lnTo>
                  <a:lnTo>
                    <a:pt x="159" y="115"/>
                  </a:lnTo>
                  <a:lnTo>
                    <a:pt x="161" y="115"/>
                  </a:lnTo>
                  <a:lnTo>
                    <a:pt x="163" y="115"/>
                  </a:lnTo>
                  <a:lnTo>
                    <a:pt x="161" y="115"/>
                  </a:lnTo>
                  <a:lnTo>
                    <a:pt x="163" y="115"/>
                  </a:lnTo>
                  <a:lnTo>
                    <a:pt x="165" y="115"/>
                  </a:lnTo>
                  <a:lnTo>
                    <a:pt x="167" y="115"/>
                  </a:lnTo>
                  <a:lnTo>
                    <a:pt x="165" y="115"/>
                  </a:lnTo>
                  <a:lnTo>
                    <a:pt x="167" y="115"/>
                  </a:lnTo>
                  <a:lnTo>
                    <a:pt x="169" y="115"/>
                  </a:lnTo>
                  <a:lnTo>
                    <a:pt x="169" y="117"/>
                  </a:lnTo>
                  <a:lnTo>
                    <a:pt x="171" y="117"/>
                  </a:lnTo>
                  <a:lnTo>
                    <a:pt x="171" y="119"/>
                  </a:lnTo>
                  <a:lnTo>
                    <a:pt x="173" y="119"/>
                  </a:lnTo>
                  <a:lnTo>
                    <a:pt x="174" y="119"/>
                  </a:lnTo>
                  <a:lnTo>
                    <a:pt x="176" y="119"/>
                  </a:lnTo>
                  <a:lnTo>
                    <a:pt x="178" y="119"/>
                  </a:lnTo>
                  <a:lnTo>
                    <a:pt x="178" y="121"/>
                  </a:lnTo>
                  <a:lnTo>
                    <a:pt x="178" y="123"/>
                  </a:lnTo>
                  <a:lnTo>
                    <a:pt x="178" y="125"/>
                  </a:lnTo>
                  <a:lnTo>
                    <a:pt x="176" y="125"/>
                  </a:lnTo>
                  <a:lnTo>
                    <a:pt x="178" y="125"/>
                  </a:lnTo>
                  <a:lnTo>
                    <a:pt x="176" y="125"/>
                  </a:lnTo>
                  <a:lnTo>
                    <a:pt x="176" y="126"/>
                  </a:lnTo>
                  <a:lnTo>
                    <a:pt x="176" y="125"/>
                  </a:lnTo>
                  <a:lnTo>
                    <a:pt x="176" y="126"/>
                  </a:lnTo>
                  <a:lnTo>
                    <a:pt x="174" y="126"/>
                  </a:lnTo>
                  <a:lnTo>
                    <a:pt x="174" y="128"/>
                  </a:lnTo>
                  <a:lnTo>
                    <a:pt x="174" y="126"/>
                  </a:lnTo>
                  <a:lnTo>
                    <a:pt x="174" y="128"/>
                  </a:lnTo>
                  <a:lnTo>
                    <a:pt x="174" y="126"/>
                  </a:lnTo>
                  <a:lnTo>
                    <a:pt x="174" y="128"/>
                  </a:lnTo>
                  <a:lnTo>
                    <a:pt x="173" y="128"/>
                  </a:lnTo>
                  <a:lnTo>
                    <a:pt x="174" y="128"/>
                  </a:lnTo>
                  <a:lnTo>
                    <a:pt x="173" y="128"/>
                  </a:lnTo>
                  <a:lnTo>
                    <a:pt x="173" y="130"/>
                  </a:lnTo>
                  <a:lnTo>
                    <a:pt x="173" y="132"/>
                  </a:lnTo>
                  <a:lnTo>
                    <a:pt x="171" y="132"/>
                  </a:lnTo>
                  <a:lnTo>
                    <a:pt x="173" y="132"/>
                  </a:lnTo>
                  <a:lnTo>
                    <a:pt x="173" y="130"/>
                  </a:lnTo>
                  <a:lnTo>
                    <a:pt x="171" y="130"/>
                  </a:lnTo>
                  <a:lnTo>
                    <a:pt x="173" y="130"/>
                  </a:lnTo>
                  <a:lnTo>
                    <a:pt x="171" y="130"/>
                  </a:lnTo>
                  <a:lnTo>
                    <a:pt x="171" y="132"/>
                  </a:lnTo>
                  <a:lnTo>
                    <a:pt x="173" y="132"/>
                  </a:lnTo>
                  <a:lnTo>
                    <a:pt x="171" y="132"/>
                  </a:lnTo>
                  <a:lnTo>
                    <a:pt x="173" y="132"/>
                  </a:lnTo>
                  <a:lnTo>
                    <a:pt x="174" y="132"/>
                  </a:lnTo>
                  <a:lnTo>
                    <a:pt x="176" y="132"/>
                  </a:lnTo>
                  <a:lnTo>
                    <a:pt x="178" y="132"/>
                  </a:lnTo>
                  <a:lnTo>
                    <a:pt x="176" y="132"/>
                  </a:lnTo>
                  <a:lnTo>
                    <a:pt x="178" y="132"/>
                  </a:lnTo>
                  <a:lnTo>
                    <a:pt x="178" y="130"/>
                  </a:lnTo>
                  <a:lnTo>
                    <a:pt x="180" y="130"/>
                  </a:lnTo>
                  <a:lnTo>
                    <a:pt x="182" y="130"/>
                  </a:lnTo>
                  <a:lnTo>
                    <a:pt x="182" y="128"/>
                  </a:lnTo>
                  <a:lnTo>
                    <a:pt x="184" y="128"/>
                  </a:lnTo>
                  <a:lnTo>
                    <a:pt x="184" y="126"/>
                  </a:lnTo>
                  <a:lnTo>
                    <a:pt x="186" y="126"/>
                  </a:lnTo>
                  <a:lnTo>
                    <a:pt x="188" y="126"/>
                  </a:lnTo>
                  <a:lnTo>
                    <a:pt x="190" y="126"/>
                  </a:lnTo>
                  <a:lnTo>
                    <a:pt x="190" y="125"/>
                  </a:lnTo>
                  <a:lnTo>
                    <a:pt x="192" y="125"/>
                  </a:lnTo>
                  <a:lnTo>
                    <a:pt x="194" y="125"/>
                  </a:lnTo>
                  <a:lnTo>
                    <a:pt x="196" y="125"/>
                  </a:lnTo>
                  <a:lnTo>
                    <a:pt x="194" y="125"/>
                  </a:lnTo>
                  <a:lnTo>
                    <a:pt x="194" y="126"/>
                  </a:lnTo>
                  <a:lnTo>
                    <a:pt x="194" y="125"/>
                  </a:lnTo>
                  <a:lnTo>
                    <a:pt x="196" y="125"/>
                  </a:lnTo>
                  <a:lnTo>
                    <a:pt x="194" y="125"/>
                  </a:lnTo>
                  <a:lnTo>
                    <a:pt x="196" y="125"/>
                  </a:lnTo>
                  <a:lnTo>
                    <a:pt x="196" y="126"/>
                  </a:lnTo>
                  <a:lnTo>
                    <a:pt x="194" y="126"/>
                  </a:lnTo>
                  <a:lnTo>
                    <a:pt x="196" y="126"/>
                  </a:lnTo>
                  <a:lnTo>
                    <a:pt x="194" y="126"/>
                  </a:lnTo>
                  <a:lnTo>
                    <a:pt x="196" y="126"/>
                  </a:lnTo>
                  <a:lnTo>
                    <a:pt x="196" y="128"/>
                  </a:lnTo>
                  <a:lnTo>
                    <a:pt x="196" y="126"/>
                  </a:lnTo>
                  <a:lnTo>
                    <a:pt x="196" y="128"/>
                  </a:lnTo>
                  <a:lnTo>
                    <a:pt x="196" y="126"/>
                  </a:lnTo>
                  <a:lnTo>
                    <a:pt x="196" y="128"/>
                  </a:lnTo>
                  <a:lnTo>
                    <a:pt x="194" y="128"/>
                  </a:lnTo>
                  <a:lnTo>
                    <a:pt x="196" y="128"/>
                  </a:lnTo>
                  <a:lnTo>
                    <a:pt x="194" y="128"/>
                  </a:lnTo>
                  <a:lnTo>
                    <a:pt x="194" y="126"/>
                  </a:lnTo>
                  <a:lnTo>
                    <a:pt x="194" y="128"/>
                  </a:lnTo>
                  <a:lnTo>
                    <a:pt x="194" y="126"/>
                  </a:lnTo>
                  <a:lnTo>
                    <a:pt x="194" y="128"/>
                  </a:lnTo>
                  <a:lnTo>
                    <a:pt x="194" y="126"/>
                  </a:lnTo>
                  <a:lnTo>
                    <a:pt x="192" y="126"/>
                  </a:lnTo>
                  <a:lnTo>
                    <a:pt x="192" y="128"/>
                  </a:lnTo>
                  <a:lnTo>
                    <a:pt x="192" y="126"/>
                  </a:lnTo>
                  <a:lnTo>
                    <a:pt x="192" y="128"/>
                  </a:lnTo>
                  <a:lnTo>
                    <a:pt x="192" y="126"/>
                  </a:lnTo>
                  <a:lnTo>
                    <a:pt x="192" y="128"/>
                  </a:lnTo>
                  <a:lnTo>
                    <a:pt x="194" y="128"/>
                  </a:lnTo>
                  <a:lnTo>
                    <a:pt x="194" y="130"/>
                  </a:lnTo>
                  <a:lnTo>
                    <a:pt x="192" y="130"/>
                  </a:lnTo>
                  <a:lnTo>
                    <a:pt x="194" y="130"/>
                  </a:lnTo>
                  <a:lnTo>
                    <a:pt x="192" y="130"/>
                  </a:lnTo>
                  <a:lnTo>
                    <a:pt x="194" y="130"/>
                  </a:lnTo>
                  <a:lnTo>
                    <a:pt x="194" y="132"/>
                  </a:lnTo>
                  <a:lnTo>
                    <a:pt x="192" y="132"/>
                  </a:lnTo>
                  <a:lnTo>
                    <a:pt x="192" y="130"/>
                  </a:lnTo>
                  <a:lnTo>
                    <a:pt x="192" y="132"/>
                  </a:lnTo>
                  <a:lnTo>
                    <a:pt x="194" y="132"/>
                  </a:lnTo>
                  <a:lnTo>
                    <a:pt x="192" y="132"/>
                  </a:lnTo>
                  <a:lnTo>
                    <a:pt x="192" y="134"/>
                  </a:lnTo>
                  <a:lnTo>
                    <a:pt x="190" y="134"/>
                  </a:lnTo>
                  <a:lnTo>
                    <a:pt x="190" y="132"/>
                  </a:lnTo>
                  <a:lnTo>
                    <a:pt x="190" y="130"/>
                  </a:lnTo>
                  <a:lnTo>
                    <a:pt x="188" y="130"/>
                  </a:lnTo>
                  <a:lnTo>
                    <a:pt x="188" y="132"/>
                  </a:lnTo>
                  <a:lnTo>
                    <a:pt x="188" y="134"/>
                  </a:lnTo>
                  <a:lnTo>
                    <a:pt x="190" y="134"/>
                  </a:lnTo>
                  <a:lnTo>
                    <a:pt x="190" y="136"/>
                  </a:lnTo>
                  <a:lnTo>
                    <a:pt x="190" y="134"/>
                  </a:lnTo>
                  <a:lnTo>
                    <a:pt x="188" y="134"/>
                  </a:lnTo>
                  <a:lnTo>
                    <a:pt x="188" y="136"/>
                  </a:lnTo>
                  <a:lnTo>
                    <a:pt x="188" y="134"/>
                  </a:lnTo>
                  <a:lnTo>
                    <a:pt x="186" y="134"/>
                  </a:lnTo>
                  <a:lnTo>
                    <a:pt x="186" y="132"/>
                  </a:lnTo>
                  <a:lnTo>
                    <a:pt x="186" y="134"/>
                  </a:lnTo>
                  <a:lnTo>
                    <a:pt x="186" y="132"/>
                  </a:lnTo>
                  <a:lnTo>
                    <a:pt x="186" y="134"/>
                  </a:lnTo>
                  <a:lnTo>
                    <a:pt x="184" y="134"/>
                  </a:lnTo>
                  <a:lnTo>
                    <a:pt x="186" y="134"/>
                  </a:lnTo>
                  <a:lnTo>
                    <a:pt x="184" y="134"/>
                  </a:lnTo>
                  <a:lnTo>
                    <a:pt x="184" y="136"/>
                  </a:lnTo>
                  <a:lnTo>
                    <a:pt x="184" y="134"/>
                  </a:lnTo>
                  <a:lnTo>
                    <a:pt x="182" y="134"/>
                  </a:lnTo>
                  <a:lnTo>
                    <a:pt x="184" y="134"/>
                  </a:lnTo>
                  <a:lnTo>
                    <a:pt x="184" y="136"/>
                  </a:lnTo>
                  <a:lnTo>
                    <a:pt x="182" y="136"/>
                  </a:lnTo>
                  <a:lnTo>
                    <a:pt x="182" y="134"/>
                  </a:lnTo>
                  <a:lnTo>
                    <a:pt x="182" y="136"/>
                  </a:lnTo>
                  <a:lnTo>
                    <a:pt x="182" y="138"/>
                  </a:lnTo>
                  <a:lnTo>
                    <a:pt x="180" y="138"/>
                  </a:lnTo>
                  <a:lnTo>
                    <a:pt x="182" y="138"/>
                  </a:lnTo>
                  <a:lnTo>
                    <a:pt x="182" y="140"/>
                  </a:lnTo>
                  <a:lnTo>
                    <a:pt x="180" y="140"/>
                  </a:lnTo>
                  <a:lnTo>
                    <a:pt x="182" y="140"/>
                  </a:lnTo>
                  <a:lnTo>
                    <a:pt x="180" y="140"/>
                  </a:lnTo>
                  <a:lnTo>
                    <a:pt x="182" y="140"/>
                  </a:lnTo>
                  <a:lnTo>
                    <a:pt x="180" y="140"/>
                  </a:lnTo>
                  <a:lnTo>
                    <a:pt x="182" y="140"/>
                  </a:lnTo>
                  <a:lnTo>
                    <a:pt x="180" y="140"/>
                  </a:lnTo>
                  <a:lnTo>
                    <a:pt x="182" y="140"/>
                  </a:lnTo>
                  <a:lnTo>
                    <a:pt x="184" y="140"/>
                  </a:lnTo>
                  <a:lnTo>
                    <a:pt x="184" y="138"/>
                  </a:lnTo>
                  <a:lnTo>
                    <a:pt x="184" y="140"/>
                  </a:lnTo>
                  <a:lnTo>
                    <a:pt x="182" y="140"/>
                  </a:lnTo>
                  <a:lnTo>
                    <a:pt x="182" y="142"/>
                  </a:lnTo>
                  <a:lnTo>
                    <a:pt x="180" y="142"/>
                  </a:lnTo>
                  <a:lnTo>
                    <a:pt x="180" y="144"/>
                  </a:lnTo>
                  <a:lnTo>
                    <a:pt x="180" y="142"/>
                  </a:lnTo>
                  <a:lnTo>
                    <a:pt x="178" y="142"/>
                  </a:lnTo>
                  <a:lnTo>
                    <a:pt x="178" y="144"/>
                  </a:lnTo>
                  <a:lnTo>
                    <a:pt x="180" y="144"/>
                  </a:lnTo>
                  <a:lnTo>
                    <a:pt x="178" y="146"/>
                  </a:lnTo>
                  <a:lnTo>
                    <a:pt x="178" y="144"/>
                  </a:lnTo>
                  <a:lnTo>
                    <a:pt x="178" y="146"/>
                  </a:lnTo>
                  <a:lnTo>
                    <a:pt x="176" y="146"/>
                  </a:lnTo>
                  <a:lnTo>
                    <a:pt x="174" y="148"/>
                  </a:lnTo>
                  <a:lnTo>
                    <a:pt x="173" y="148"/>
                  </a:lnTo>
                  <a:lnTo>
                    <a:pt x="171" y="148"/>
                  </a:lnTo>
                  <a:lnTo>
                    <a:pt x="171" y="146"/>
                  </a:lnTo>
                  <a:lnTo>
                    <a:pt x="169" y="146"/>
                  </a:lnTo>
                  <a:lnTo>
                    <a:pt x="171" y="146"/>
                  </a:lnTo>
                  <a:lnTo>
                    <a:pt x="171" y="148"/>
                  </a:lnTo>
                  <a:lnTo>
                    <a:pt x="169" y="148"/>
                  </a:lnTo>
                  <a:lnTo>
                    <a:pt x="167" y="148"/>
                  </a:lnTo>
                  <a:lnTo>
                    <a:pt x="167" y="146"/>
                  </a:lnTo>
                  <a:lnTo>
                    <a:pt x="165" y="146"/>
                  </a:lnTo>
                  <a:lnTo>
                    <a:pt x="167" y="146"/>
                  </a:lnTo>
                  <a:lnTo>
                    <a:pt x="165" y="146"/>
                  </a:lnTo>
                  <a:lnTo>
                    <a:pt x="163" y="146"/>
                  </a:lnTo>
                  <a:lnTo>
                    <a:pt x="165" y="146"/>
                  </a:lnTo>
                  <a:lnTo>
                    <a:pt x="163" y="146"/>
                  </a:lnTo>
                  <a:lnTo>
                    <a:pt x="165" y="146"/>
                  </a:lnTo>
                  <a:lnTo>
                    <a:pt x="167" y="146"/>
                  </a:lnTo>
                  <a:lnTo>
                    <a:pt x="167" y="148"/>
                  </a:lnTo>
                  <a:lnTo>
                    <a:pt x="169" y="148"/>
                  </a:lnTo>
                  <a:lnTo>
                    <a:pt x="171" y="150"/>
                  </a:lnTo>
                  <a:lnTo>
                    <a:pt x="173" y="150"/>
                  </a:lnTo>
                  <a:lnTo>
                    <a:pt x="173" y="151"/>
                  </a:lnTo>
                  <a:lnTo>
                    <a:pt x="171" y="151"/>
                  </a:lnTo>
                  <a:lnTo>
                    <a:pt x="173" y="151"/>
                  </a:lnTo>
                  <a:lnTo>
                    <a:pt x="174" y="151"/>
                  </a:lnTo>
                  <a:lnTo>
                    <a:pt x="173" y="151"/>
                  </a:lnTo>
                  <a:lnTo>
                    <a:pt x="173" y="153"/>
                  </a:lnTo>
                  <a:lnTo>
                    <a:pt x="171" y="153"/>
                  </a:lnTo>
                  <a:lnTo>
                    <a:pt x="169" y="153"/>
                  </a:lnTo>
                  <a:lnTo>
                    <a:pt x="169" y="155"/>
                  </a:lnTo>
                  <a:lnTo>
                    <a:pt x="171" y="155"/>
                  </a:lnTo>
                  <a:lnTo>
                    <a:pt x="169" y="155"/>
                  </a:lnTo>
                  <a:lnTo>
                    <a:pt x="167" y="155"/>
                  </a:lnTo>
                  <a:lnTo>
                    <a:pt x="165" y="155"/>
                  </a:lnTo>
                  <a:lnTo>
                    <a:pt x="167" y="155"/>
                  </a:lnTo>
                  <a:lnTo>
                    <a:pt x="167" y="157"/>
                  </a:lnTo>
                  <a:lnTo>
                    <a:pt x="167" y="155"/>
                  </a:lnTo>
                  <a:lnTo>
                    <a:pt x="167" y="157"/>
                  </a:lnTo>
                  <a:lnTo>
                    <a:pt x="165" y="157"/>
                  </a:lnTo>
                  <a:lnTo>
                    <a:pt x="167" y="157"/>
                  </a:lnTo>
                  <a:lnTo>
                    <a:pt x="167" y="159"/>
                  </a:lnTo>
                  <a:lnTo>
                    <a:pt x="165" y="159"/>
                  </a:lnTo>
                  <a:lnTo>
                    <a:pt x="163" y="159"/>
                  </a:lnTo>
                  <a:lnTo>
                    <a:pt x="165" y="159"/>
                  </a:lnTo>
                  <a:lnTo>
                    <a:pt x="163" y="159"/>
                  </a:lnTo>
                  <a:lnTo>
                    <a:pt x="161" y="159"/>
                  </a:lnTo>
                  <a:lnTo>
                    <a:pt x="161" y="157"/>
                  </a:lnTo>
                  <a:lnTo>
                    <a:pt x="159" y="157"/>
                  </a:lnTo>
                  <a:lnTo>
                    <a:pt x="159" y="155"/>
                  </a:lnTo>
                  <a:lnTo>
                    <a:pt x="159" y="157"/>
                  </a:lnTo>
                  <a:lnTo>
                    <a:pt x="159" y="155"/>
                  </a:lnTo>
                  <a:lnTo>
                    <a:pt x="157" y="153"/>
                  </a:lnTo>
                  <a:lnTo>
                    <a:pt x="155" y="153"/>
                  </a:lnTo>
                  <a:lnTo>
                    <a:pt x="155" y="151"/>
                  </a:lnTo>
                  <a:lnTo>
                    <a:pt x="155" y="153"/>
                  </a:lnTo>
                  <a:lnTo>
                    <a:pt x="157" y="153"/>
                  </a:lnTo>
                  <a:lnTo>
                    <a:pt x="157" y="155"/>
                  </a:lnTo>
                  <a:lnTo>
                    <a:pt x="159" y="155"/>
                  </a:lnTo>
                  <a:lnTo>
                    <a:pt x="159" y="157"/>
                  </a:lnTo>
                  <a:lnTo>
                    <a:pt x="159" y="155"/>
                  </a:lnTo>
                  <a:lnTo>
                    <a:pt x="159" y="157"/>
                  </a:lnTo>
                  <a:lnTo>
                    <a:pt x="161" y="157"/>
                  </a:lnTo>
                  <a:lnTo>
                    <a:pt x="161" y="159"/>
                  </a:lnTo>
                  <a:lnTo>
                    <a:pt x="163" y="159"/>
                  </a:lnTo>
                  <a:lnTo>
                    <a:pt x="165" y="159"/>
                  </a:lnTo>
                  <a:lnTo>
                    <a:pt x="167" y="159"/>
                  </a:lnTo>
                  <a:lnTo>
                    <a:pt x="167" y="161"/>
                  </a:lnTo>
                  <a:lnTo>
                    <a:pt x="165" y="161"/>
                  </a:lnTo>
                  <a:lnTo>
                    <a:pt x="163" y="161"/>
                  </a:lnTo>
                  <a:lnTo>
                    <a:pt x="163" y="159"/>
                  </a:lnTo>
                  <a:lnTo>
                    <a:pt x="161" y="159"/>
                  </a:lnTo>
                  <a:lnTo>
                    <a:pt x="163" y="159"/>
                  </a:lnTo>
                  <a:lnTo>
                    <a:pt x="161" y="159"/>
                  </a:lnTo>
                  <a:lnTo>
                    <a:pt x="161" y="161"/>
                  </a:lnTo>
                  <a:lnTo>
                    <a:pt x="161" y="159"/>
                  </a:lnTo>
                  <a:lnTo>
                    <a:pt x="161" y="161"/>
                  </a:lnTo>
                  <a:lnTo>
                    <a:pt x="163" y="161"/>
                  </a:lnTo>
                  <a:lnTo>
                    <a:pt x="163" y="163"/>
                  </a:lnTo>
                  <a:lnTo>
                    <a:pt x="165" y="163"/>
                  </a:lnTo>
                  <a:lnTo>
                    <a:pt x="163" y="163"/>
                  </a:lnTo>
                  <a:lnTo>
                    <a:pt x="161" y="163"/>
                  </a:lnTo>
                  <a:lnTo>
                    <a:pt x="161" y="165"/>
                  </a:lnTo>
                  <a:lnTo>
                    <a:pt x="161" y="163"/>
                  </a:lnTo>
                  <a:lnTo>
                    <a:pt x="161" y="165"/>
                  </a:lnTo>
                  <a:lnTo>
                    <a:pt x="159" y="165"/>
                  </a:lnTo>
                  <a:lnTo>
                    <a:pt x="157" y="165"/>
                  </a:lnTo>
                  <a:lnTo>
                    <a:pt x="157" y="167"/>
                  </a:lnTo>
                  <a:lnTo>
                    <a:pt x="159" y="167"/>
                  </a:lnTo>
                  <a:lnTo>
                    <a:pt x="159" y="165"/>
                  </a:lnTo>
                  <a:lnTo>
                    <a:pt x="161" y="165"/>
                  </a:lnTo>
                  <a:lnTo>
                    <a:pt x="163" y="165"/>
                  </a:lnTo>
                  <a:lnTo>
                    <a:pt x="163" y="167"/>
                  </a:lnTo>
                  <a:lnTo>
                    <a:pt x="161" y="167"/>
                  </a:lnTo>
                  <a:lnTo>
                    <a:pt x="161" y="169"/>
                  </a:lnTo>
                  <a:lnTo>
                    <a:pt x="161" y="167"/>
                  </a:lnTo>
                  <a:lnTo>
                    <a:pt x="159" y="167"/>
                  </a:lnTo>
                  <a:lnTo>
                    <a:pt x="161" y="167"/>
                  </a:lnTo>
                  <a:lnTo>
                    <a:pt x="161" y="169"/>
                  </a:lnTo>
                  <a:lnTo>
                    <a:pt x="161" y="167"/>
                  </a:lnTo>
                  <a:lnTo>
                    <a:pt x="159" y="167"/>
                  </a:lnTo>
                  <a:lnTo>
                    <a:pt x="159" y="169"/>
                  </a:lnTo>
                  <a:lnTo>
                    <a:pt x="161" y="169"/>
                  </a:lnTo>
                  <a:lnTo>
                    <a:pt x="159" y="169"/>
                  </a:lnTo>
                  <a:lnTo>
                    <a:pt x="157" y="169"/>
                  </a:lnTo>
                  <a:lnTo>
                    <a:pt x="159" y="169"/>
                  </a:lnTo>
                  <a:lnTo>
                    <a:pt x="157" y="169"/>
                  </a:lnTo>
                  <a:lnTo>
                    <a:pt x="159" y="169"/>
                  </a:lnTo>
                  <a:lnTo>
                    <a:pt x="157" y="169"/>
                  </a:lnTo>
                  <a:lnTo>
                    <a:pt x="157" y="171"/>
                  </a:lnTo>
                  <a:lnTo>
                    <a:pt x="157" y="169"/>
                  </a:lnTo>
                  <a:lnTo>
                    <a:pt x="157" y="171"/>
                  </a:lnTo>
                  <a:lnTo>
                    <a:pt x="157" y="173"/>
                  </a:lnTo>
                  <a:lnTo>
                    <a:pt x="157" y="171"/>
                  </a:lnTo>
                  <a:lnTo>
                    <a:pt x="155" y="171"/>
                  </a:lnTo>
                  <a:lnTo>
                    <a:pt x="155" y="173"/>
                  </a:lnTo>
                  <a:lnTo>
                    <a:pt x="155" y="171"/>
                  </a:lnTo>
                  <a:lnTo>
                    <a:pt x="153" y="171"/>
                  </a:lnTo>
                  <a:lnTo>
                    <a:pt x="153" y="173"/>
                  </a:lnTo>
                  <a:lnTo>
                    <a:pt x="153" y="174"/>
                  </a:lnTo>
                  <a:lnTo>
                    <a:pt x="151" y="174"/>
                  </a:lnTo>
                  <a:lnTo>
                    <a:pt x="153" y="176"/>
                  </a:lnTo>
                  <a:lnTo>
                    <a:pt x="151" y="176"/>
                  </a:lnTo>
                  <a:lnTo>
                    <a:pt x="150" y="176"/>
                  </a:lnTo>
                  <a:lnTo>
                    <a:pt x="150" y="174"/>
                  </a:lnTo>
                  <a:lnTo>
                    <a:pt x="150" y="176"/>
                  </a:lnTo>
                  <a:lnTo>
                    <a:pt x="150" y="174"/>
                  </a:lnTo>
                  <a:lnTo>
                    <a:pt x="150" y="176"/>
                  </a:lnTo>
                  <a:lnTo>
                    <a:pt x="150" y="174"/>
                  </a:lnTo>
                  <a:lnTo>
                    <a:pt x="150" y="176"/>
                  </a:lnTo>
                  <a:lnTo>
                    <a:pt x="151" y="176"/>
                  </a:lnTo>
                  <a:lnTo>
                    <a:pt x="151" y="178"/>
                  </a:lnTo>
                  <a:lnTo>
                    <a:pt x="151" y="176"/>
                  </a:lnTo>
                  <a:lnTo>
                    <a:pt x="151" y="178"/>
                  </a:lnTo>
                  <a:lnTo>
                    <a:pt x="150" y="178"/>
                  </a:lnTo>
                  <a:lnTo>
                    <a:pt x="150" y="176"/>
                  </a:lnTo>
                  <a:lnTo>
                    <a:pt x="150" y="178"/>
                  </a:lnTo>
                  <a:lnTo>
                    <a:pt x="150" y="176"/>
                  </a:lnTo>
                  <a:lnTo>
                    <a:pt x="150" y="178"/>
                  </a:lnTo>
                  <a:lnTo>
                    <a:pt x="148" y="178"/>
                  </a:lnTo>
                  <a:lnTo>
                    <a:pt x="150" y="180"/>
                  </a:lnTo>
                  <a:lnTo>
                    <a:pt x="148" y="180"/>
                  </a:lnTo>
                  <a:lnTo>
                    <a:pt x="150" y="180"/>
                  </a:lnTo>
                  <a:lnTo>
                    <a:pt x="150" y="182"/>
                  </a:lnTo>
                  <a:lnTo>
                    <a:pt x="150" y="180"/>
                  </a:lnTo>
                  <a:lnTo>
                    <a:pt x="148" y="180"/>
                  </a:lnTo>
                  <a:lnTo>
                    <a:pt x="148" y="182"/>
                  </a:lnTo>
                  <a:lnTo>
                    <a:pt x="150" y="182"/>
                  </a:lnTo>
                  <a:lnTo>
                    <a:pt x="148" y="182"/>
                  </a:lnTo>
                  <a:lnTo>
                    <a:pt x="150" y="182"/>
                  </a:lnTo>
                  <a:lnTo>
                    <a:pt x="148" y="182"/>
                  </a:lnTo>
                  <a:lnTo>
                    <a:pt x="148" y="180"/>
                  </a:lnTo>
                  <a:lnTo>
                    <a:pt x="148" y="182"/>
                  </a:lnTo>
                  <a:lnTo>
                    <a:pt x="150" y="182"/>
                  </a:lnTo>
                  <a:lnTo>
                    <a:pt x="150" y="184"/>
                  </a:lnTo>
                  <a:lnTo>
                    <a:pt x="148" y="184"/>
                  </a:lnTo>
                  <a:lnTo>
                    <a:pt x="150" y="184"/>
                  </a:lnTo>
                  <a:lnTo>
                    <a:pt x="148" y="184"/>
                  </a:lnTo>
                  <a:lnTo>
                    <a:pt x="150" y="184"/>
                  </a:lnTo>
                  <a:lnTo>
                    <a:pt x="148" y="184"/>
                  </a:lnTo>
                  <a:lnTo>
                    <a:pt x="148" y="182"/>
                  </a:lnTo>
                  <a:lnTo>
                    <a:pt x="148" y="184"/>
                  </a:lnTo>
                  <a:lnTo>
                    <a:pt x="148" y="182"/>
                  </a:lnTo>
                  <a:lnTo>
                    <a:pt x="146" y="182"/>
                  </a:lnTo>
                  <a:lnTo>
                    <a:pt x="146" y="180"/>
                  </a:lnTo>
                  <a:lnTo>
                    <a:pt x="144" y="180"/>
                  </a:lnTo>
                  <a:lnTo>
                    <a:pt x="142" y="180"/>
                  </a:lnTo>
                  <a:lnTo>
                    <a:pt x="144" y="180"/>
                  </a:lnTo>
                  <a:lnTo>
                    <a:pt x="146" y="180"/>
                  </a:lnTo>
                  <a:lnTo>
                    <a:pt x="146" y="182"/>
                  </a:lnTo>
                  <a:lnTo>
                    <a:pt x="146" y="184"/>
                  </a:lnTo>
                  <a:lnTo>
                    <a:pt x="146" y="182"/>
                  </a:lnTo>
                  <a:lnTo>
                    <a:pt x="146" y="184"/>
                  </a:lnTo>
                  <a:lnTo>
                    <a:pt x="144" y="184"/>
                  </a:lnTo>
                  <a:lnTo>
                    <a:pt x="144" y="186"/>
                  </a:lnTo>
                  <a:lnTo>
                    <a:pt x="146" y="186"/>
                  </a:lnTo>
                  <a:lnTo>
                    <a:pt x="146" y="188"/>
                  </a:lnTo>
                  <a:lnTo>
                    <a:pt x="146" y="186"/>
                  </a:lnTo>
                  <a:lnTo>
                    <a:pt x="146" y="188"/>
                  </a:lnTo>
                  <a:lnTo>
                    <a:pt x="146" y="186"/>
                  </a:lnTo>
                  <a:lnTo>
                    <a:pt x="144" y="186"/>
                  </a:lnTo>
                  <a:lnTo>
                    <a:pt x="142" y="186"/>
                  </a:lnTo>
                  <a:lnTo>
                    <a:pt x="142" y="188"/>
                  </a:lnTo>
                  <a:lnTo>
                    <a:pt x="142" y="190"/>
                  </a:lnTo>
                  <a:lnTo>
                    <a:pt x="140" y="190"/>
                  </a:lnTo>
                  <a:lnTo>
                    <a:pt x="142" y="190"/>
                  </a:lnTo>
                  <a:lnTo>
                    <a:pt x="140" y="190"/>
                  </a:lnTo>
                  <a:lnTo>
                    <a:pt x="138" y="190"/>
                  </a:lnTo>
                  <a:lnTo>
                    <a:pt x="140" y="190"/>
                  </a:lnTo>
                  <a:lnTo>
                    <a:pt x="140" y="192"/>
                  </a:lnTo>
                  <a:lnTo>
                    <a:pt x="138" y="192"/>
                  </a:lnTo>
                  <a:lnTo>
                    <a:pt x="138" y="194"/>
                  </a:lnTo>
                  <a:lnTo>
                    <a:pt x="138" y="192"/>
                  </a:lnTo>
                  <a:lnTo>
                    <a:pt x="138" y="194"/>
                  </a:lnTo>
                  <a:lnTo>
                    <a:pt x="136" y="194"/>
                  </a:lnTo>
                  <a:lnTo>
                    <a:pt x="134" y="194"/>
                  </a:lnTo>
                  <a:lnTo>
                    <a:pt x="134" y="192"/>
                  </a:lnTo>
                  <a:lnTo>
                    <a:pt x="132" y="192"/>
                  </a:lnTo>
                  <a:lnTo>
                    <a:pt x="132" y="194"/>
                  </a:lnTo>
                  <a:lnTo>
                    <a:pt x="134" y="194"/>
                  </a:lnTo>
                  <a:lnTo>
                    <a:pt x="136" y="194"/>
                  </a:lnTo>
                  <a:lnTo>
                    <a:pt x="136" y="196"/>
                  </a:lnTo>
                  <a:lnTo>
                    <a:pt x="136" y="198"/>
                  </a:lnTo>
                  <a:lnTo>
                    <a:pt x="136" y="196"/>
                  </a:lnTo>
                  <a:lnTo>
                    <a:pt x="138" y="196"/>
                  </a:lnTo>
                  <a:lnTo>
                    <a:pt x="138" y="198"/>
                  </a:lnTo>
                  <a:lnTo>
                    <a:pt x="138" y="196"/>
                  </a:lnTo>
                  <a:lnTo>
                    <a:pt x="138" y="198"/>
                  </a:lnTo>
                  <a:lnTo>
                    <a:pt x="136" y="198"/>
                  </a:lnTo>
                  <a:lnTo>
                    <a:pt x="138" y="198"/>
                  </a:lnTo>
                  <a:lnTo>
                    <a:pt x="136" y="198"/>
                  </a:lnTo>
                  <a:lnTo>
                    <a:pt x="136" y="199"/>
                  </a:lnTo>
                  <a:lnTo>
                    <a:pt x="136" y="198"/>
                  </a:lnTo>
                  <a:lnTo>
                    <a:pt x="134" y="198"/>
                  </a:lnTo>
                  <a:lnTo>
                    <a:pt x="136" y="198"/>
                  </a:lnTo>
                  <a:lnTo>
                    <a:pt x="134" y="198"/>
                  </a:lnTo>
                  <a:lnTo>
                    <a:pt x="134" y="199"/>
                  </a:lnTo>
                  <a:lnTo>
                    <a:pt x="134" y="198"/>
                  </a:lnTo>
                  <a:lnTo>
                    <a:pt x="132" y="198"/>
                  </a:lnTo>
                  <a:lnTo>
                    <a:pt x="134" y="198"/>
                  </a:lnTo>
                  <a:lnTo>
                    <a:pt x="132" y="198"/>
                  </a:lnTo>
                  <a:lnTo>
                    <a:pt x="132" y="199"/>
                  </a:lnTo>
                  <a:lnTo>
                    <a:pt x="130" y="199"/>
                  </a:lnTo>
                  <a:lnTo>
                    <a:pt x="132" y="199"/>
                  </a:lnTo>
                  <a:lnTo>
                    <a:pt x="130" y="199"/>
                  </a:lnTo>
                  <a:lnTo>
                    <a:pt x="130" y="201"/>
                  </a:lnTo>
                  <a:lnTo>
                    <a:pt x="130" y="199"/>
                  </a:lnTo>
                  <a:lnTo>
                    <a:pt x="128" y="199"/>
                  </a:lnTo>
                  <a:lnTo>
                    <a:pt x="128" y="198"/>
                  </a:lnTo>
                  <a:lnTo>
                    <a:pt x="126" y="198"/>
                  </a:lnTo>
                  <a:lnTo>
                    <a:pt x="128" y="198"/>
                  </a:lnTo>
                  <a:lnTo>
                    <a:pt x="126" y="198"/>
                  </a:lnTo>
                  <a:lnTo>
                    <a:pt x="126" y="196"/>
                  </a:lnTo>
                  <a:lnTo>
                    <a:pt x="126" y="198"/>
                  </a:lnTo>
                  <a:lnTo>
                    <a:pt x="128" y="198"/>
                  </a:lnTo>
                  <a:lnTo>
                    <a:pt x="126" y="198"/>
                  </a:lnTo>
                  <a:lnTo>
                    <a:pt x="128" y="198"/>
                  </a:lnTo>
                  <a:lnTo>
                    <a:pt x="126" y="198"/>
                  </a:lnTo>
                  <a:lnTo>
                    <a:pt x="128" y="198"/>
                  </a:lnTo>
                  <a:lnTo>
                    <a:pt x="126" y="198"/>
                  </a:lnTo>
                  <a:lnTo>
                    <a:pt x="125" y="198"/>
                  </a:lnTo>
                  <a:lnTo>
                    <a:pt x="126" y="198"/>
                  </a:lnTo>
                  <a:lnTo>
                    <a:pt x="126" y="199"/>
                  </a:lnTo>
                  <a:lnTo>
                    <a:pt x="125" y="199"/>
                  </a:lnTo>
                  <a:lnTo>
                    <a:pt x="126" y="199"/>
                  </a:lnTo>
                  <a:lnTo>
                    <a:pt x="126" y="201"/>
                  </a:lnTo>
                  <a:lnTo>
                    <a:pt x="126" y="199"/>
                  </a:lnTo>
                  <a:lnTo>
                    <a:pt x="126" y="201"/>
                  </a:lnTo>
                  <a:lnTo>
                    <a:pt x="128" y="201"/>
                  </a:lnTo>
                  <a:lnTo>
                    <a:pt x="130" y="201"/>
                  </a:lnTo>
                  <a:lnTo>
                    <a:pt x="130" y="203"/>
                  </a:lnTo>
                  <a:lnTo>
                    <a:pt x="128" y="203"/>
                  </a:lnTo>
                  <a:lnTo>
                    <a:pt x="128" y="205"/>
                  </a:lnTo>
                  <a:lnTo>
                    <a:pt x="128" y="203"/>
                  </a:lnTo>
                  <a:lnTo>
                    <a:pt x="126" y="203"/>
                  </a:lnTo>
                  <a:lnTo>
                    <a:pt x="126" y="205"/>
                  </a:lnTo>
                  <a:lnTo>
                    <a:pt x="125" y="205"/>
                  </a:lnTo>
                  <a:lnTo>
                    <a:pt x="125" y="207"/>
                  </a:lnTo>
                  <a:lnTo>
                    <a:pt x="123" y="207"/>
                  </a:lnTo>
                  <a:lnTo>
                    <a:pt x="123" y="205"/>
                  </a:lnTo>
                  <a:lnTo>
                    <a:pt x="125" y="205"/>
                  </a:lnTo>
                  <a:lnTo>
                    <a:pt x="123" y="205"/>
                  </a:lnTo>
                  <a:lnTo>
                    <a:pt x="125" y="205"/>
                  </a:lnTo>
                  <a:lnTo>
                    <a:pt x="123" y="205"/>
                  </a:lnTo>
                  <a:lnTo>
                    <a:pt x="123" y="203"/>
                  </a:lnTo>
                  <a:lnTo>
                    <a:pt x="123" y="201"/>
                  </a:lnTo>
                  <a:lnTo>
                    <a:pt x="123" y="199"/>
                  </a:lnTo>
                  <a:lnTo>
                    <a:pt x="121" y="199"/>
                  </a:lnTo>
                  <a:lnTo>
                    <a:pt x="121" y="201"/>
                  </a:lnTo>
                  <a:lnTo>
                    <a:pt x="123" y="201"/>
                  </a:lnTo>
                  <a:lnTo>
                    <a:pt x="121" y="201"/>
                  </a:lnTo>
                  <a:lnTo>
                    <a:pt x="123" y="201"/>
                  </a:lnTo>
                  <a:lnTo>
                    <a:pt x="123" y="203"/>
                  </a:lnTo>
                  <a:lnTo>
                    <a:pt x="123" y="205"/>
                  </a:lnTo>
                  <a:lnTo>
                    <a:pt x="123" y="203"/>
                  </a:lnTo>
                  <a:lnTo>
                    <a:pt x="123" y="205"/>
                  </a:lnTo>
                  <a:lnTo>
                    <a:pt x="123" y="207"/>
                  </a:lnTo>
                  <a:lnTo>
                    <a:pt x="121" y="207"/>
                  </a:lnTo>
                  <a:lnTo>
                    <a:pt x="123" y="207"/>
                  </a:lnTo>
                  <a:lnTo>
                    <a:pt x="121" y="207"/>
                  </a:lnTo>
                  <a:lnTo>
                    <a:pt x="123" y="207"/>
                  </a:lnTo>
                  <a:lnTo>
                    <a:pt x="121" y="207"/>
                  </a:lnTo>
                  <a:lnTo>
                    <a:pt x="121" y="205"/>
                  </a:lnTo>
                  <a:lnTo>
                    <a:pt x="119" y="205"/>
                  </a:lnTo>
                  <a:lnTo>
                    <a:pt x="119" y="203"/>
                  </a:lnTo>
                  <a:lnTo>
                    <a:pt x="119" y="205"/>
                  </a:lnTo>
                  <a:lnTo>
                    <a:pt x="119" y="207"/>
                  </a:lnTo>
                  <a:lnTo>
                    <a:pt x="121" y="207"/>
                  </a:lnTo>
                  <a:lnTo>
                    <a:pt x="121" y="209"/>
                  </a:lnTo>
                  <a:lnTo>
                    <a:pt x="121" y="211"/>
                  </a:lnTo>
                  <a:lnTo>
                    <a:pt x="119" y="211"/>
                  </a:lnTo>
                  <a:lnTo>
                    <a:pt x="119" y="209"/>
                  </a:lnTo>
                  <a:lnTo>
                    <a:pt x="119" y="211"/>
                  </a:lnTo>
                  <a:lnTo>
                    <a:pt x="121" y="211"/>
                  </a:lnTo>
                  <a:lnTo>
                    <a:pt x="119" y="211"/>
                  </a:lnTo>
                  <a:lnTo>
                    <a:pt x="121" y="211"/>
                  </a:lnTo>
                  <a:lnTo>
                    <a:pt x="119" y="211"/>
                  </a:lnTo>
                  <a:lnTo>
                    <a:pt x="117" y="211"/>
                  </a:lnTo>
                  <a:lnTo>
                    <a:pt x="117" y="213"/>
                  </a:lnTo>
                  <a:lnTo>
                    <a:pt x="117" y="211"/>
                  </a:lnTo>
                  <a:lnTo>
                    <a:pt x="117" y="213"/>
                  </a:lnTo>
                  <a:lnTo>
                    <a:pt x="115" y="213"/>
                  </a:lnTo>
                  <a:lnTo>
                    <a:pt x="117" y="213"/>
                  </a:lnTo>
                  <a:lnTo>
                    <a:pt x="117" y="211"/>
                  </a:lnTo>
                  <a:lnTo>
                    <a:pt x="115" y="211"/>
                  </a:lnTo>
                  <a:lnTo>
                    <a:pt x="115" y="213"/>
                  </a:lnTo>
                  <a:lnTo>
                    <a:pt x="117" y="213"/>
                  </a:lnTo>
                  <a:lnTo>
                    <a:pt x="115" y="213"/>
                  </a:lnTo>
                  <a:lnTo>
                    <a:pt x="115" y="211"/>
                  </a:lnTo>
                  <a:lnTo>
                    <a:pt x="115" y="213"/>
                  </a:lnTo>
                  <a:lnTo>
                    <a:pt x="113" y="213"/>
                  </a:lnTo>
                  <a:lnTo>
                    <a:pt x="115" y="213"/>
                  </a:lnTo>
                  <a:lnTo>
                    <a:pt x="115" y="211"/>
                  </a:lnTo>
                  <a:lnTo>
                    <a:pt x="115" y="213"/>
                  </a:lnTo>
                  <a:lnTo>
                    <a:pt x="115" y="211"/>
                  </a:lnTo>
                  <a:lnTo>
                    <a:pt x="113" y="211"/>
                  </a:lnTo>
                  <a:lnTo>
                    <a:pt x="113" y="213"/>
                  </a:lnTo>
                  <a:lnTo>
                    <a:pt x="113" y="211"/>
                  </a:lnTo>
                  <a:lnTo>
                    <a:pt x="113" y="213"/>
                  </a:lnTo>
                  <a:lnTo>
                    <a:pt x="113" y="211"/>
                  </a:lnTo>
                  <a:lnTo>
                    <a:pt x="113" y="213"/>
                  </a:lnTo>
                  <a:lnTo>
                    <a:pt x="113" y="211"/>
                  </a:lnTo>
                  <a:lnTo>
                    <a:pt x="113" y="213"/>
                  </a:lnTo>
                  <a:lnTo>
                    <a:pt x="113" y="211"/>
                  </a:lnTo>
                  <a:lnTo>
                    <a:pt x="111" y="211"/>
                  </a:lnTo>
                  <a:lnTo>
                    <a:pt x="111" y="213"/>
                  </a:lnTo>
                  <a:lnTo>
                    <a:pt x="111" y="211"/>
                  </a:lnTo>
                  <a:lnTo>
                    <a:pt x="111" y="213"/>
                  </a:lnTo>
                  <a:lnTo>
                    <a:pt x="113" y="213"/>
                  </a:lnTo>
                  <a:lnTo>
                    <a:pt x="111" y="213"/>
                  </a:lnTo>
                  <a:lnTo>
                    <a:pt x="113" y="213"/>
                  </a:lnTo>
                  <a:lnTo>
                    <a:pt x="115" y="213"/>
                  </a:lnTo>
                  <a:lnTo>
                    <a:pt x="113" y="213"/>
                  </a:lnTo>
                  <a:lnTo>
                    <a:pt x="115" y="213"/>
                  </a:lnTo>
                  <a:lnTo>
                    <a:pt x="113" y="213"/>
                  </a:lnTo>
                  <a:lnTo>
                    <a:pt x="115" y="213"/>
                  </a:lnTo>
                  <a:lnTo>
                    <a:pt x="113" y="213"/>
                  </a:lnTo>
                  <a:lnTo>
                    <a:pt x="115" y="213"/>
                  </a:lnTo>
                  <a:lnTo>
                    <a:pt x="113" y="213"/>
                  </a:lnTo>
                  <a:lnTo>
                    <a:pt x="115" y="213"/>
                  </a:lnTo>
                  <a:lnTo>
                    <a:pt x="115" y="215"/>
                  </a:lnTo>
                  <a:lnTo>
                    <a:pt x="115" y="217"/>
                  </a:lnTo>
                  <a:lnTo>
                    <a:pt x="115" y="215"/>
                  </a:lnTo>
                  <a:lnTo>
                    <a:pt x="113" y="215"/>
                  </a:lnTo>
                  <a:lnTo>
                    <a:pt x="113" y="217"/>
                  </a:lnTo>
                  <a:lnTo>
                    <a:pt x="115" y="217"/>
                  </a:lnTo>
                  <a:lnTo>
                    <a:pt x="113" y="217"/>
                  </a:lnTo>
                  <a:lnTo>
                    <a:pt x="111" y="217"/>
                  </a:lnTo>
                  <a:lnTo>
                    <a:pt x="113" y="217"/>
                  </a:lnTo>
                  <a:lnTo>
                    <a:pt x="111" y="217"/>
                  </a:lnTo>
                  <a:lnTo>
                    <a:pt x="109" y="217"/>
                  </a:lnTo>
                  <a:lnTo>
                    <a:pt x="109" y="215"/>
                  </a:lnTo>
                  <a:lnTo>
                    <a:pt x="109" y="217"/>
                  </a:lnTo>
                  <a:lnTo>
                    <a:pt x="109" y="215"/>
                  </a:lnTo>
                  <a:lnTo>
                    <a:pt x="107" y="215"/>
                  </a:lnTo>
                  <a:lnTo>
                    <a:pt x="105" y="215"/>
                  </a:lnTo>
                  <a:lnTo>
                    <a:pt x="103" y="215"/>
                  </a:lnTo>
                  <a:lnTo>
                    <a:pt x="103" y="213"/>
                  </a:lnTo>
                  <a:lnTo>
                    <a:pt x="103" y="215"/>
                  </a:lnTo>
                  <a:lnTo>
                    <a:pt x="102" y="215"/>
                  </a:lnTo>
                  <a:lnTo>
                    <a:pt x="103" y="215"/>
                  </a:lnTo>
                  <a:lnTo>
                    <a:pt x="103" y="217"/>
                  </a:lnTo>
                  <a:lnTo>
                    <a:pt x="105" y="217"/>
                  </a:lnTo>
                  <a:lnTo>
                    <a:pt x="105" y="215"/>
                  </a:lnTo>
                  <a:lnTo>
                    <a:pt x="107" y="215"/>
                  </a:lnTo>
                  <a:lnTo>
                    <a:pt x="105" y="215"/>
                  </a:lnTo>
                  <a:lnTo>
                    <a:pt x="107" y="215"/>
                  </a:lnTo>
                  <a:lnTo>
                    <a:pt x="105" y="215"/>
                  </a:lnTo>
                  <a:lnTo>
                    <a:pt x="107" y="215"/>
                  </a:lnTo>
                  <a:lnTo>
                    <a:pt x="107" y="217"/>
                  </a:lnTo>
                  <a:lnTo>
                    <a:pt x="107" y="215"/>
                  </a:lnTo>
                  <a:lnTo>
                    <a:pt x="107" y="217"/>
                  </a:lnTo>
                  <a:lnTo>
                    <a:pt x="107" y="215"/>
                  </a:lnTo>
                  <a:lnTo>
                    <a:pt x="107" y="217"/>
                  </a:lnTo>
                  <a:lnTo>
                    <a:pt x="107" y="215"/>
                  </a:lnTo>
                  <a:lnTo>
                    <a:pt x="107" y="217"/>
                  </a:lnTo>
                  <a:lnTo>
                    <a:pt x="109" y="217"/>
                  </a:lnTo>
                  <a:lnTo>
                    <a:pt x="109" y="219"/>
                  </a:lnTo>
                  <a:lnTo>
                    <a:pt x="109" y="217"/>
                  </a:lnTo>
                  <a:lnTo>
                    <a:pt x="109" y="219"/>
                  </a:lnTo>
                  <a:lnTo>
                    <a:pt x="107" y="219"/>
                  </a:lnTo>
                  <a:lnTo>
                    <a:pt x="107" y="217"/>
                  </a:lnTo>
                  <a:lnTo>
                    <a:pt x="105" y="217"/>
                  </a:lnTo>
                  <a:lnTo>
                    <a:pt x="107" y="217"/>
                  </a:lnTo>
                  <a:lnTo>
                    <a:pt x="107" y="219"/>
                  </a:lnTo>
                  <a:lnTo>
                    <a:pt x="107" y="217"/>
                  </a:lnTo>
                  <a:lnTo>
                    <a:pt x="107" y="219"/>
                  </a:lnTo>
                  <a:lnTo>
                    <a:pt x="107" y="217"/>
                  </a:lnTo>
                  <a:lnTo>
                    <a:pt x="107" y="219"/>
                  </a:lnTo>
                  <a:lnTo>
                    <a:pt x="107" y="217"/>
                  </a:lnTo>
                  <a:lnTo>
                    <a:pt x="107" y="219"/>
                  </a:lnTo>
                  <a:lnTo>
                    <a:pt x="109" y="219"/>
                  </a:lnTo>
                  <a:lnTo>
                    <a:pt x="107" y="219"/>
                  </a:lnTo>
                  <a:lnTo>
                    <a:pt x="109" y="219"/>
                  </a:lnTo>
                  <a:lnTo>
                    <a:pt x="111" y="219"/>
                  </a:lnTo>
                  <a:lnTo>
                    <a:pt x="111" y="221"/>
                  </a:lnTo>
                  <a:lnTo>
                    <a:pt x="111" y="222"/>
                  </a:lnTo>
                  <a:lnTo>
                    <a:pt x="113" y="222"/>
                  </a:lnTo>
                  <a:lnTo>
                    <a:pt x="113" y="224"/>
                  </a:lnTo>
                  <a:lnTo>
                    <a:pt x="115" y="224"/>
                  </a:lnTo>
                  <a:lnTo>
                    <a:pt x="113" y="224"/>
                  </a:lnTo>
                  <a:lnTo>
                    <a:pt x="115" y="224"/>
                  </a:lnTo>
                  <a:lnTo>
                    <a:pt x="113" y="224"/>
                  </a:lnTo>
                  <a:lnTo>
                    <a:pt x="115" y="224"/>
                  </a:lnTo>
                  <a:lnTo>
                    <a:pt x="113" y="224"/>
                  </a:lnTo>
                  <a:lnTo>
                    <a:pt x="115" y="224"/>
                  </a:lnTo>
                  <a:lnTo>
                    <a:pt x="113" y="224"/>
                  </a:lnTo>
                  <a:lnTo>
                    <a:pt x="115" y="224"/>
                  </a:lnTo>
                  <a:lnTo>
                    <a:pt x="113" y="224"/>
                  </a:lnTo>
                  <a:lnTo>
                    <a:pt x="113" y="226"/>
                  </a:lnTo>
                  <a:lnTo>
                    <a:pt x="113" y="228"/>
                  </a:lnTo>
                  <a:lnTo>
                    <a:pt x="113" y="226"/>
                  </a:lnTo>
                  <a:lnTo>
                    <a:pt x="111" y="226"/>
                  </a:lnTo>
                  <a:lnTo>
                    <a:pt x="111" y="228"/>
                  </a:lnTo>
                  <a:lnTo>
                    <a:pt x="111" y="230"/>
                  </a:lnTo>
                  <a:lnTo>
                    <a:pt x="111" y="228"/>
                  </a:lnTo>
                  <a:lnTo>
                    <a:pt x="111" y="226"/>
                  </a:lnTo>
                  <a:lnTo>
                    <a:pt x="111" y="228"/>
                  </a:lnTo>
                  <a:lnTo>
                    <a:pt x="109" y="228"/>
                  </a:lnTo>
                  <a:lnTo>
                    <a:pt x="107" y="228"/>
                  </a:lnTo>
                  <a:lnTo>
                    <a:pt x="105" y="228"/>
                  </a:lnTo>
                  <a:lnTo>
                    <a:pt x="107" y="228"/>
                  </a:lnTo>
                  <a:lnTo>
                    <a:pt x="107" y="230"/>
                  </a:lnTo>
                  <a:lnTo>
                    <a:pt x="105" y="230"/>
                  </a:lnTo>
                  <a:lnTo>
                    <a:pt x="107" y="230"/>
                  </a:lnTo>
                  <a:lnTo>
                    <a:pt x="105" y="230"/>
                  </a:lnTo>
                  <a:lnTo>
                    <a:pt x="107" y="230"/>
                  </a:lnTo>
                  <a:lnTo>
                    <a:pt x="105" y="230"/>
                  </a:lnTo>
                  <a:lnTo>
                    <a:pt x="105" y="228"/>
                  </a:lnTo>
                  <a:lnTo>
                    <a:pt x="105" y="230"/>
                  </a:lnTo>
                  <a:lnTo>
                    <a:pt x="103" y="230"/>
                  </a:lnTo>
                  <a:lnTo>
                    <a:pt x="103" y="228"/>
                  </a:lnTo>
                  <a:lnTo>
                    <a:pt x="103" y="226"/>
                  </a:lnTo>
                  <a:lnTo>
                    <a:pt x="103" y="228"/>
                  </a:lnTo>
                  <a:lnTo>
                    <a:pt x="103" y="230"/>
                  </a:lnTo>
                  <a:lnTo>
                    <a:pt x="102" y="230"/>
                  </a:lnTo>
                  <a:lnTo>
                    <a:pt x="102" y="228"/>
                  </a:lnTo>
                  <a:lnTo>
                    <a:pt x="102" y="226"/>
                  </a:lnTo>
                  <a:lnTo>
                    <a:pt x="102" y="228"/>
                  </a:lnTo>
                  <a:lnTo>
                    <a:pt x="102" y="230"/>
                  </a:lnTo>
                  <a:lnTo>
                    <a:pt x="102" y="228"/>
                  </a:lnTo>
                  <a:lnTo>
                    <a:pt x="100" y="228"/>
                  </a:lnTo>
                  <a:lnTo>
                    <a:pt x="100" y="230"/>
                  </a:lnTo>
                  <a:lnTo>
                    <a:pt x="102" y="230"/>
                  </a:lnTo>
                  <a:lnTo>
                    <a:pt x="100" y="230"/>
                  </a:lnTo>
                  <a:lnTo>
                    <a:pt x="100" y="232"/>
                  </a:lnTo>
                  <a:lnTo>
                    <a:pt x="98" y="232"/>
                  </a:lnTo>
                  <a:lnTo>
                    <a:pt x="96" y="232"/>
                  </a:lnTo>
                  <a:lnTo>
                    <a:pt x="96" y="230"/>
                  </a:lnTo>
                  <a:lnTo>
                    <a:pt x="96" y="228"/>
                  </a:lnTo>
                  <a:lnTo>
                    <a:pt x="96" y="226"/>
                  </a:lnTo>
                  <a:lnTo>
                    <a:pt x="96" y="228"/>
                  </a:lnTo>
                  <a:lnTo>
                    <a:pt x="96" y="226"/>
                  </a:lnTo>
                  <a:lnTo>
                    <a:pt x="94" y="226"/>
                  </a:lnTo>
                  <a:lnTo>
                    <a:pt x="94" y="224"/>
                  </a:lnTo>
                  <a:lnTo>
                    <a:pt x="94" y="222"/>
                  </a:lnTo>
                  <a:lnTo>
                    <a:pt x="94" y="224"/>
                  </a:lnTo>
                  <a:lnTo>
                    <a:pt x="94" y="222"/>
                  </a:lnTo>
                  <a:lnTo>
                    <a:pt x="94" y="221"/>
                  </a:lnTo>
                  <a:lnTo>
                    <a:pt x="94" y="222"/>
                  </a:lnTo>
                  <a:lnTo>
                    <a:pt x="94" y="221"/>
                  </a:lnTo>
                  <a:lnTo>
                    <a:pt x="94" y="222"/>
                  </a:lnTo>
                  <a:lnTo>
                    <a:pt x="94" y="221"/>
                  </a:lnTo>
                  <a:lnTo>
                    <a:pt x="92" y="221"/>
                  </a:lnTo>
                  <a:lnTo>
                    <a:pt x="94" y="221"/>
                  </a:lnTo>
                  <a:lnTo>
                    <a:pt x="92" y="221"/>
                  </a:lnTo>
                  <a:lnTo>
                    <a:pt x="94" y="221"/>
                  </a:lnTo>
                  <a:lnTo>
                    <a:pt x="92" y="221"/>
                  </a:lnTo>
                  <a:lnTo>
                    <a:pt x="92" y="222"/>
                  </a:lnTo>
                  <a:lnTo>
                    <a:pt x="94" y="222"/>
                  </a:lnTo>
                  <a:lnTo>
                    <a:pt x="94" y="221"/>
                  </a:lnTo>
                  <a:lnTo>
                    <a:pt x="94" y="222"/>
                  </a:lnTo>
                  <a:lnTo>
                    <a:pt x="92" y="222"/>
                  </a:lnTo>
                  <a:lnTo>
                    <a:pt x="90" y="222"/>
                  </a:lnTo>
                  <a:lnTo>
                    <a:pt x="92" y="222"/>
                  </a:lnTo>
                  <a:lnTo>
                    <a:pt x="92" y="224"/>
                  </a:lnTo>
                  <a:lnTo>
                    <a:pt x="90" y="224"/>
                  </a:lnTo>
                  <a:lnTo>
                    <a:pt x="92" y="224"/>
                  </a:lnTo>
                  <a:lnTo>
                    <a:pt x="90" y="224"/>
                  </a:lnTo>
                  <a:lnTo>
                    <a:pt x="90" y="226"/>
                  </a:lnTo>
                  <a:lnTo>
                    <a:pt x="88" y="226"/>
                  </a:lnTo>
                  <a:lnTo>
                    <a:pt x="88" y="228"/>
                  </a:lnTo>
                  <a:lnTo>
                    <a:pt x="90" y="228"/>
                  </a:lnTo>
                  <a:lnTo>
                    <a:pt x="88" y="228"/>
                  </a:lnTo>
                  <a:lnTo>
                    <a:pt x="90" y="228"/>
                  </a:lnTo>
                  <a:lnTo>
                    <a:pt x="90" y="230"/>
                  </a:lnTo>
                  <a:lnTo>
                    <a:pt x="92" y="230"/>
                  </a:lnTo>
                  <a:lnTo>
                    <a:pt x="92" y="232"/>
                  </a:lnTo>
                  <a:lnTo>
                    <a:pt x="94" y="232"/>
                  </a:lnTo>
                  <a:lnTo>
                    <a:pt x="92" y="232"/>
                  </a:lnTo>
                  <a:lnTo>
                    <a:pt x="92" y="234"/>
                  </a:lnTo>
                  <a:lnTo>
                    <a:pt x="92" y="236"/>
                  </a:lnTo>
                  <a:lnTo>
                    <a:pt x="90" y="236"/>
                  </a:lnTo>
                  <a:lnTo>
                    <a:pt x="88" y="236"/>
                  </a:lnTo>
                  <a:lnTo>
                    <a:pt x="88" y="234"/>
                  </a:lnTo>
                  <a:lnTo>
                    <a:pt x="90" y="234"/>
                  </a:lnTo>
                  <a:lnTo>
                    <a:pt x="88" y="234"/>
                  </a:lnTo>
                  <a:lnTo>
                    <a:pt x="88" y="232"/>
                  </a:lnTo>
                  <a:lnTo>
                    <a:pt x="86" y="232"/>
                  </a:lnTo>
                  <a:lnTo>
                    <a:pt x="84" y="232"/>
                  </a:lnTo>
                  <a:lnTo>
                    <a:pt x="84" y="230"/>
                  </a:lnTo>
                  <a:lnTo>
                    <a:pt x="84" y="232"/>
                  </a:lnTo>
                  <a:lnTo>
                    <a:pt x="84" y="230"/>
                  </a:lnTo>
                  <a:lnTo>
                    <a:pt x="84" y="232"/>
                  </a:lnTo>
                  <a:lnTo>
                    <a:pt x="84" y="234"/>
                  </a:lnTo>
                  <a:lnTo>
                    <a:pt x="84" y="236"/>
                  </a:lnTo>
                  <a:lnTo>
                    <a:pt x="82" y="236"/>
                  </a:lnTo>
                  <a:lnTo>
                    <a:pt x="80" y="236"/>
                  </a:lnTo>
                  <a:lnTo>
                    <a:pt x="82" y="236"/>
                  </a:lnTo>
                  <a:lnTo>
                    <a:pt x="80" y="236"/>
                  </a:lnTo>
                  <a:lnTo>
                    <a:pt x="82" y="236"/>
                  </a:lnTo>
                  <a:lnTo>
                    <a:pt x="80" y="236"/>
                  </a:lnTo>
                  <a:lnTo>
                    <a:pt x="82" y="236"/>
                  </a:lnTo>
                  <a:lnTo>
                    <a:pt x="80" y="236"/>
                  </a:lnTo>
                  <a:lnTo>
                    <a:pt x="80" y="238"/>
                  </a:lnTo>
                  <a:lnTo>
                    <a:pt x="82" y="238"/>
                  </a:lnTo>
                  <a:lnTo>
                    <a:pt x="80" y="238"/>
                  </a:lnTo>
                  <a:lnTo>
                    <a:pt x="82" y="238"/>
                  </a:lnTo>
                  <a:lnTo>
                    <a:pt x="80" y="238"/>
                  </a:lnTo>
                  <a:lnTo>
                    <a:pt x="80" y="240"/>
                  </a:lnTo>
                  <a:lnTo>
                    <a:pt x="82" y="240"/>
                  </a:lnTo>
                  <a:lnTo>
                    <a:pt x="80" y="240"/>
                  </a:lnTo>
                  <a:lnTo>
                    <a:pt x="82" y="240"/>
                  </a:lnTo>
                  <a:lnTo>
                    <a:pt x="80" y="240"/>
                  </a:lnTo>
                  <a:lnTo>
                    <a:pt x="82" y="240"/>
                  </a:lnTo>
                  <a:lnTo>
                    <a:pt x="80" y="240"/>
                  </a:lnTo>
                  <a:lnTo>
                    <a:pt x="82" y="240"/>
                  </a:lnTo>
                  <a:lnTo>
                    <a:pt x="80" y="240"/>
                  </a:lnTo>
                  <a:lnTo>
                    <a:pt x="82" y="240"/>
                  </a:lnTo>
                  <a:lnTo>
                    <a:pt x="82" y="242"/>
                  </a:lnTo>
                  <a:lnTo>
                    <a:pt x="80" y="242"/>
                  </a:lnTo>
                  <a:lnTo>
                    <a:pt x="82" y="242"/>
                  </a:lnTo>
                  <a:lnTo>
                    <a:pt x="80" y="242"/>
                  </a:lnTo>
                  <a:lnTo>
                    <a:pt x="82" y="242"/>
                  </a:lnTo>
                  <a:lnTo>
                    <a:pt x="80" y="242"/>
                  </a:lnTo>
                  <a:lnTo>
                    <a:pt x="82" y="242"/>
                  </a:lnTo>
                  <a:lnTo>
                    <a:pt x="82" y="244"/>
                  </a:lnTo>
                  <a:lnTo>
                    <a:pt x="80" y="244"/>
                  </a:lnTo>
                  <a:lnTo>
                    <a:pt x="82" y="244"/>
                  </a:lnTo>
                  <a:lnTo>
                    <a:pt x="80" y="244"/>
                  </a:lnTo>
                  <a:lnTo>
                    <a:pt x="82" y="244"/>
                  </a:lnTo>
                  <a:lnTo>
                    <a:pt x="82" y="246"/>
                  </a:lnTo>
                  <a:lnTo>
                    <a:pt x="84" y="246"/>
                  </a:lnTo>
                  <a:lnTo>
                    <a:pt x="84" y="244"/>
                  </a:lnTo>
                  <a:lnTo>
                    <a:pt x="86" y="244"/>
                  </a:lnTo>
                  <a:lnTo>
                    <a:pt x="84" y="244"/>
                  </a:lnTo>
                  <a:lnTo>
                    <a:pt x="84" y="246"/>
                  </a:lnTo>
                  <a:lnTo>
                    <a:pt x="84" y="244"/>
                  </a:lnTo>
                  <a:lnTo>
                    <a:pt x="84" y="246"/>
                  </a:lnTo>
                  <a:lnTo>
                    <a:pt x="82" y="246"/>
                  </a:lnTo>
                  <a:lnTo>
                    <a:pt x="84" y="246"/>
                  </a:lnTo>
                  <a:lnTo>
                    <a:pt x="82" y="246"/>
                  </a:lnTo>
                  <a:lnTo>
                    <a:pt x="84" y="246"/>
                  </a:lnTo>
                  <a:lnTo>
                    <a:pt x="86" y="246"/>
                  </a:lnTo>
                  <a:lnTo>
                    <a:pt x="84" y="246"/>
                  </a:lnTo>
                  <a:lnTo>
                    <a:pt x="86" y="246"/>
                  </a:lnTo>
                  <a:lnTo>
                    <a:pt x="84" y="246"/>
                  </a:lnTo>
                  <a:lnTo>
                    <a:pt x="86" y="246"/>
                  </a:lnTo>
                  <a:lnTo>
                    <a:pt x="88" y="246"/>
                  </a:lnTo>
                  <a:lnTo>
                    <a:pt x="86" y="246"/>
                  </a:lnTo>
                  <a:lnTo>
                    <a:pt x="86" y="247"/>
                  </a:lnTo>
                  <a:lnTo>
                    <a:pt x="86" y="246"/>
                  </a:lnTo>
                  <a:lnTo>
                    <a:pt x="86" y="247"/>
                  </a:lnTo>
                  <a:lnTo>
                    <a:pt x="84" y="247"/>
                  </a:lnTo>
                  <a:lnTo>
                    <a:pt x="84" y="246"/>
                  </a:lnTo>
                  <a:lnTo>
                    <a:pt x="84" y="247"/>
                  </a:lnTo>
                  <a:lnTo>
                    <a:pt x="84" y="249"/>
                  </a:lnTo>
                  <a:lnTo>
                    <a:pt x="86" y="249"/>
                  </a:lnTo>
                  <a:lnTo>
                    <a:pt x="86" y="247"/>
                  </a:lnTo>
                  <a:lnTo>
                    <a:pt x="86" y="249"/>
                  </a:lnTo>
                  <a:lnTo>
                    <a:pt x="86" y="247"/>
                  </a:lnTo>
                  <a:lnTo>
                    <a:pt x="86" y="249"/>
                  </a:lnTo>
                  <a:lnTo>
                    <a:pt x="88" y="249"/>
                  </a:lnTo>
                  <a:lnTo>
                    <a:pt x="88" y="247"/>
                  </a:lnTo>
                  <a:lnTo>
                    <a:pt x="88" y="249"/>
                  </a:lnTo>
                  <a:lnTo>
                    <a:pt x="88" y="247"/>
                  </a:lnTo>
                  <a:lnTo>
                    <a:pt x="88" y="249"/>
                  </a:lnTo>
                  <a:lnTo>
                    <a:pt x="86" y="249"/>
                  </a:lnTo>
                  <a:lnTo>
                    <a:pt x="86" y="251"/>
                  </a:lnTo>
                  <a:lnTo>
                    <a:pt x="88" y="251"/>
                  </a:lnTo>
                  <a:lnTo>
                    <a:pt x="86" y="251"/>
                  </a:lnTo>
                  <a:lnTo>
                    <a:pt x="88" y="251"/>
                  </a:lnTo>
                  <a:lnTo>
                    <a:pt x="86" y="251"/>
                  </a:lnTo>
                  <a:lnTo>
                    <a:pt x="88" y="251"/>
                  </a:lnTo>
                  <a:lnTo>
                    <a:pt x="90" y="251"/>
                  </a:lnTo>
                  <a:lnTo>
                    <a:pt x="90" y="249"/>
                  </a:lnTo>
                  <a:lnTo>
                    <a:pt x="90" y="251"/>
                  </a:lnTo>
                  <a:lnTo>
                    <a:pt x="90" y="253"/>
                  </a:lnTo>
                  <a:lnTo>
                    <a:pt x="88" y="253"/>
                  </a:lnTo>
                  <a:lnTo>
                    <a:pt x="90" y="253"/>
                  </a:lnTo>
                  <a:lnTo>
                    <a:pt x="88" y="253"/>
                  </a:lnTo>
                  <a:lnTo>
                    <a:pt x="90" y="253"/>
                  </a:lnTo>
                  <a:lnTo>
                    <a:pt x="88" y="253"/>
                  </a:lnTo>
                  <a:lnTo>
                    <a:pt x="86" y="253"/>
                  </a:lnTo>
                  <a:lnTo>
                    <a:pt x="86" y="251"/>
                  </a:lnTo>
                  <a:lnTo>
                    <a:pt x="86" y="253"/>
                  </a:lnTo>
                  <a:lnTo>
                    <a:pt x="84" y="253"/>
                  </a:lnTo>
                  <a:lnTo>
                    <a:pt x="86" y="253"/>
                  </a:lnTo>
                  <a:lnTo>
                    <a:pt x="84" y="253"/>
                  </a:lnTo>
                  <a:lnTo>
                    <a:pt x="86" y="253"/>
                  </a:lnTo>
                  <a:lnTo>
                    <a:pt x="84" y="253"/>
                  </a:lnTo>
                  <a:lnTo>
                    <a:pt x="84" y="255"/>
                  </a:lnTo>
                  <a:lnTo>
                    <a:pt x="86" y="255"/>
                  </a:lnTo>
                  <a:lnTo>
                    <a:pt x="84" y="255"/>
                  </a:lnTo>
                  <a:lnTo>
                    <a:pt x="84" y="257"/>
                  </a:lnTo>
                  <a:lnTo>
                    <a:pt x="86" y="257"/>
                  </a:lnTo>
                  <a:lnTo>
                    <a:pt x="84" y="257"/>
                  </a:lnTo>
                  <a:lnTo>
                    <a:pt x="82" y="257"/>
                  </a:lnTo>
                  <a:lnTo>
                    <a:pt x="84" y="257"/>
                  </a:lnTo>
                  <a:lnTo>
                    <a:pt x="82" y="257"/>
                  </a:lnTo>
                  <a:lnTo>
                    <a:pt x="84" y="257"/>
                  </a:lnTo>
                  <a:lnTo>
                    <a:pt x="84" y="259"/>
                  </a:lnTo>
                  <a:lnTo>
                    <a:pt x="84" y="257"/>
                  </a:lnTo>
                  <a:lnTo>
                    <a:pt x="84" y="259"/>
                  </a:lnTo>
                  <a:lnTo>
                    <a:pt x="84" y="261"/>
                  </a:lnTo>
                  <a:lnTo>
                    <a:pt x="82" y="261"/>
                  </a:lnTo>
                  <a:lnTo>
                    <a:pt x="82" y="263"/>
                  </a:lnTo>
                  <a:lnTo>
                    <a:pt x="84" y="263"/>
                  </a:lnTo>
                  <a:lnTo>
                    <a:pt x="82" y="263"/>
                  </a:lnTo>
                  <a:lnTo>
                    <a:pt x="84" y="263"/>
                  </a:lnTo>
                  <a:lnTo>
                    <a:pt x="82" y="263"/>
                  </a:lnTo>
                  <a:lnTo>
                    <a:pt x="84" y="263"/>
                  </a:lnTo>
                  <a:lnTo>
                    <a:pt x="82" y="263"/>
                  </a:lnTo>
                  <a:lnTo>
                    <a:pt x="82" y="265"/>
                  </a:lnTo>
                  <a:lnTo>
                    <a:pt x="82" y="263"/>
                  </a:lnTo>
                  <a:lnTo>
                    <a:pt x="82" y="265"/>
                  </a:lnTo>
                  <a:lnTo>
                    <a:pt x="82" y="263"/>
                  </a:lnTo>
                  <a:lnTo>
                    <a:pt x="82" y="265"/>
                  </a:lnTo>
                  <a:lnTo>
                    <a:pt x="82" y="263"/>
                  </a:lnTo>
                  <a:lnTo>
                    <a:pt x="82" y="265"/>
                  </a:lnTo>
                  <a:lnTo>
                    <a:pt x="82" y="263"/>
                  </a:lnTo>
                  <a:lnTo>
                    <a:pt x="82" y="265"/>
                  </a:lnTo>
                  <a:lnTo>
                    <a:pt x="82" y="263"/>
                  </a:lnTo>
                  <a:lnTo>
                    <a:pt x="80" y="263"/>
                  </a:lnTo>
                  <a:lnTo>
                    <a:pt x="80" y="265"/>
                  </a:lnTo>
                  <a:lnTo>
                    <a:pt x="80" y="263"/>
                  </a:lnTo>
                  <a:lnTo>
                    <a:pt x="80" y="265"/>
                  </a:lnTo>
                  <a:lnTo>
                    <a:pt x="78" y="265"/>
                  </a:lnTo>
                  <a:lnTo>
                    <a:pt x="80" y="265"/>
                  </a:lnTo>
                  <a:lnTo>
                    <a:pt x="78" y="265"/>
                  </a:lnTo>
                  <a:lnTo>
                    <a:pt x="78" y="267"/>
                  </a:lnTo>
                  <a:lnTo>
                    <a:pt x="78" y="265"/>
                  </a:lnTo>
                  <a:lnTo>
                    <a:pt x="78" y="267"/>
                  </a:lnTo>
                  <a:lnTo>
                    <a:pt x="78" y="265"/>
                  </a:lnTo>
                  <a:lnTo>
                    <a:pt x="78" y="267"/>
                  </a:lnTo>
                  <a:lnTo>
                    <a:pt x="78" y="265"/>
                  </a:lnTo>
                  <a:lnTo>
                    <a:pt x="78" y="267"/>
                  </a:lnTo>
                  <a:lnTo>
                    <a:pt x="80" y="267"/>
                  </a:lnTo>
                  <a:lnTo>
                    <a:pt x="82" y="267"/>
                  </a:lnTo>
                  <a:lnTo>
                    <a:pt x="80" y="267"/>
                  </a:lnTo>
                  <a:lnTo>
                    <a:pt x="82" y="267"/>
                  </a:lnTo>
                  <a:lnTo>
                    <a:pt x="80" y="267"/>
                  </a:lnTo>
                  <a:lnTo>
                    <a:pt x="80" y="269"/>
                  </a:lnTo>
                  <a:lnTo>
                    <a:pt x="82" y="269"/>
                  </a:lnTo>
                  <a:lnTo>
                    <a:pt x="80" y="269"/>
                  </a:lnTo>
                  <a:lnTo>
                    <a:pt x="82" y="269"/>
                  </a:lnTo>
                  <a:lnTo>
                    <a:pt x="80" y="269"/>
                  </a:lnTo>
                  <a:lnTo>
                    <a:pt x="80" y="267"/>
                  </a:lnTo>
                  <a:lnTo>
                    <a:pt x="82" y="267"/>
                  </a:lnTo>
                  <a:lnTo>
                    <a:pt x="82" y="269"/>
                  </a:lnTo>
                  <a:lnTo>
                    <a:pt x="80" y="269"/>
                  </a:lnTo>
                  <a:lnTo>
                    <a:pt x="82" y="269"/>
                  </a:lnTo>
                  <a:lnTo>
                    <a:pt x="82" y="270"/>
                  </a:lnTo>
                  <a:lnTo>
                    <a:pt x="80" y="270"/>
                  </a:lnTo>
                  <a:lnTo>
                    <a:pt x="82" y="270"/>
                  </a:lnTo>
                  <a:lnTo>
                    <a:pt x="82" y="269"/>
                  </a:lnTo>
                  <a:lnTo>
                    <a:pt x="80" y="269"/>
                  </a:lnTo>
                  <a:lnTo>
                    <a:pt x="80" y="270"/>
                  </a:lnTo>
                  <a:lnTo>
                    <a:pt x="78" y="270"/>
                  </a:lnTo>
                  <a:lnTo>
                    <a:pt x="78" y="272"/>
                  </a:lnTo>
                  <a:lnTo>
                    <a:pt x="77" y="272"/>
                  </a:lnTo>
                  <a:lnTo>
                    <a:pt x="77" y="274"/>
                  </a:lnTo>
                  <a:lnTo>
                    <a:pt x="78" y="274"/>
                  </a:lnTo>
                  <a:lnTo>
                    <a:pt x="80" y="274"/>
                  </a:lnTo>
                  <a:lnTo>
                    <a:pt x="80" y="276"/>
                  </a:lnTo>
                  <a:lnTo>
                    <a:pt x="78" y="276"/>
                  </a:lnTo>
                  <a:lnTo>
                    <a:pt x="78" y="278"/>
                  </a:lnTo>
                  <a:lnTo>
                    <a:pt x="77" y="278"/>
                  </a:lnTo>
                  <a:lnTo>
                    <a:pt x="78" y="278"/>
                  </a:lnTo>
                  <a:lnTo>
                    <a:pt x="78" y="280"/>
                  </a:lnTo>
                  <a:lnTo>
                    <a:pt x="77" y="280"/>
                  </a:lnTo>
                  <a:lnTo>
                    <a:pt x="75" y="280"/>
                  </a:lnTo>
                  <a:lnTo>
                    <a:pt x="75" y="282"/>
                  </a:lnTo>
                  <a:lnTo>
                    <a:pt x="75" y="280"/>
                  </a:lnTo>
                  <a:lnTo>
                    <a:pt x="75" y="282"/>
                  </a:lnTo>
                  <a:lnTo>
                    <a:pt x="75" y="284"/>
                  </a:lnTo>
                  <a:lnTo>
                    <a:pt x="75" y="282"/>
                  </a:lnTo>
                  <a:lnTo>
                    <a:pt x="75" y="284"/>
                  </a:lnTo>
                  <a:lnTo>
                    <a:pt x="77" y="284"/>
                  </a:lnTo>
                  <a:lnTo>
                    <a:pt x="78" y="284"/>
                  </a:lnTo>
                  <a:lnTo>
                    <a:pt x="78" y="286"/>
                  </a:lnTo>
                  <a:lnTo>
                    <a:pt x="77" y="286"/>
                  </a:lnTo>
                  <a:lnTo>
                    <a:pt x="78" y="286"/>
                  </a:lnTo>
                  <a:lnTo>
                    <a:pt x="77" y="286"/>
                  </a:lnTo>
                  <a:lnTo>
                    <a:pt x="78" y="286"/>
                  </a:lnTo>
                  <a:lnTo>
                    <a:pt x="78" y="288"/>
                  </a:lnTo>
                  <a:lnTo>
                    <a:pt x="77" y="288"/>
                  </a:lnTo>
                  <a:lnTo>
                    <a:pt x="77" y="290"/>
                  </a:lnTo>
                  <a:lnTo>
                    <a:pt x="78" y="290"/>
                  </a:lnTo>
                  <a:lnTo>
                    <a:pt x="77" y="290"/>
                  </a:lnTo>
                  <a:lnTo>
                    <a:pt x="77" y="288"/>
                  </a:lnTo>
                  <a:lnTo>
                    <a:pt x="75" y="288"/>
                  </a:lnTo>
                  <a:lnTo>
                    <a:pt x="73" y="288"/>
                  </a:lnTo>
                  <a:lnTo>
                    <a:pt x="75" y="288"/>
                  </a:lnTo>
                  <a:lnTo>
                    <a:pt x="75" y="290"/>
                  </a:lnTo>
                  <a:lnTo>
                    <a:pt x="75" y="292"/>
                  </a:lnTo>
                  <a:lnTo>
                    <a:pt x="77" y="292"/>
                  </a:lnTo>
                  <a:lnTo>
                    <a:pt x="75" y="292"/>
                  </a:lnTo>
                  <a:lnTo>
                    <a:pt x="73" y="292"/>
                  </a:lnTo>
                  <a:lnTo>
                    <a:pt x="73" y="290"/>
                  </a:lnTo>
                  <a:lnTo>
                    <a:pt x="71" y="290"/>
                  </a:lnTo>
                  <a:lnTo>
                    <a:pt x="71" y="288"/>
                  </a:lnTo>
                  <a:lnTo>
                    <a:pt x="71" y="290"/>
                  </a:lnTo>
                  <a:lnTo>
                    <a:pt x="71" y="288"/>
                  </a:lnTo>
                  <a:lnTo>
                    <a:pt x="71" y="290"/>
                  </a:lnTo>
                  <a:lnTo>
                    <a:pt x="73" y="290"/>
                  </a:lnTo>
                  <a:lnTo>
                    <a:pt x="73" y="292"/>
                  </a:lnTo>
                  <a:lnTo>
                    <a:pt x="75" y="292"/>
                  </a:lnTo>
                  <a:lnTo>
                    <a:pt x="75" y="294"/>
                  </a:lnTo>
                  <a:lnTo>
                    <a:pt x="75" y="295"/>
                  </a:lnTo>
                  <a:lnTo>
                    <a:pt x="73" y="295"/>
                  </a:lnTo>
                  <a:lnTo>
                    <a:pt x="71" y="295"/>
                  </a:lnTo>
                  <a:lnTo>
                    <a:pt x="71" y="297"/>
                  </a:lnTo>
                  <a:lnTo>
                    <a:pt x="73" y="297"/>
                  </a:lnTo>
                  <a:lnTo>
                    <a:pt x="73" y="299"/>
                  </a:lnTo>
                  <a:lnTo>
                    <a:pt x="71" y="299"/>
                  </a:lnTo>
                  <a:lnTo>
                    <a:pt x="73" y="299"/>
                  </a:lnTo>
                  <a:lnTo>
                    <a:pt x="73" y="301"/>
                  </a:lnTo>
                  <a:lnTo>
                    <a:pt x="73" y="299"/>
                  </a:lnTo>
                  <a:lnTo>
                    <a:pt x="71" y="299"/>
                  </a:lnTo>
                  <a:lnTo>
                    <a:pt x="71" y="301"/>
                  </a:lnTo>
                  <a:lnTo>
                    <a:pt x="71" y="299"/>
                  </a:lnTo>
                  <a:lnTo>
                    <a:pt x="71" y="301"/>
                  </a:lnTo>
                  <a:lnTo>
                    <a:pt x="71" y="299"/>
                  </a:lnTo>
                  <a:lnTo>
                    <a:pt x="69" y="299"/>
                  </a:lnTo>
                  <a:lnTo>
                    <a:pt x="71" y="299"/>
                  </a:lnTo>
                  <a:lnTo>
                    <a:pt x="69" y="299"/>
                  </a:lnTo>
                  <a:lnTo>
                    <a:pt x="69" y="297"/>
                  </a:lnTo>
                  <a:lnTo>
                    <a:pt x="69" y="299"/>
                  </a:lnTo>
                  <a:lnTo>
                    <a:pt x="69" y="301"/>
                  </a:lnTo>
                  <a:lnTo>
                    <a:pt x="69" y="299"/>
                  </a:lnTo>
                  <a:lnTo>
                    <a:pt x="69" y="301"/>
                  </a:lnTo>
                  <a:lnTo>
                    <a:pt x="69" y="299"/>
                  </a:lnTo>
                  <a:lnTo>
                    <a:pt x="69" y="301"/>
                  </a:lnTo>
                  <a:lnTo>
                    <a:pt x="69" y="303"/>
                  </a:lnTo>
                  <a:lnTo>
                    <a:pt x="69" y="305"/>
                  </a:lnTo>
                  <a:lnTo>
                    <a:pt x="69" y="303"/>
                  </a:lnTo>
                  <a:lnTo>
                    <a:pt x="67" y="303"/>
                  </a:lnTo>
                  <a:lnTo>
                    <a:pt x="67" y="301"/>
                  </a:lnTo>
                  <a:lnTo>
                    <a:pt x="67" y="299"/>
                  </a:lnTo>
                  <a:lnTo>
                    <a:pt x="67" y="301"/>
                  </a:lnTo>
                  <a:lnTo>
                    <a:pt x="65" y="301"/>
                  </a:lnTo>
                  <a:lnTo>
                    <a:pt x="65" y="299"/>
                  </a:lnTo>
                  <a:lnTo>
                    <a:pt x="65" y="301"/>
                  </a:lnTo>
                  <a:lnTo>
                    <a:pt x="67" y="301"/>
                  </a:lnTo>
                  <a:lnTo>
                    <a:pt x="67" y="303"/>
                  </a:lnTo>
                  <a:lnTo>
                    <a:pt x="65" y="303"/>
                  </a:lnTo>
                  <a:lnTo>
                    <a:pt x="65" y="301"/>
                  </a:lnTo>
                  <a:lnTo>
                    <a:pt x="63" y="301"/>
                  </a:lnTo>
                  <a:lnTo>
                    <a:pt x="63" y="299"/>
                  </a:lnTo>
                  <a:lnTo>
                    <a:pt x="63" y="301"/>
                  </a:lnTo>
                  <a:lnTo>
                    <a:pt x="63" y="299"/>
                  </a:lnTo>
                  <a:lnTo>
                    <a:pt x="61" y="299"/>
                  </a:lnTo>
                  <a:lnTo>
                    <a:pt x="61" y="297"/>
                  </a:lnTo>
                  <a:lnTo>
                    <a:pt x="61" y="299"/>
                  </a:lnTo>
                  <a:lnTo>
                    <a:pt x="61" y="297"/>
                  </a:lnTo>
                  <a:lnTo>
                    <a:pt x="61" y="299"/>
                  </a:lnTo>
                  <a:lnTo>
                    <a:pt x="61" y="301"/>
                  </a:lnTo>
                  <a:lnTo>
                    <a:pt x="61" y="299"/>
                  </a:lnTo>
                  <a:lnTo>
                    <a:pt x="61" y="301"/>
                  </a:lnTo>
                  <a:lnTo>
                    <a:pt x="63" y="301"/>
                  </a:lnTo>
                  <a:lnTo>
                    <a:pt x="63" y="303"/>
                  </a:lnTo>
                  <a:lnTo>
                    <a:pt x="65" y="303"/>
                  </a:lnTo>
                  <a:lnTo>
                    <a:pt x="63" y="303"/>
                  </a:lnTo>
                  <a:lnTo>
                    <a:pt x="63" y="305"/>
                  </a:lnTo>
                  <a:lnTo>
                    <a:pt x="65" y="305"/>
                  </a:lnTo>
                  <a:lnTo>
                    <a:pt x="63" y="305"/>
                  </a:lnTo>
                  <a:lnTo>
                    <a:pt x="65" y="305"/>
                  </a:lnTo>
                  <a:lnTo>
                    <a:pt x="65" y="307"/>
                  </a:lnTo>
                  <a:lnTo>
                    <a:pt x="65" y="305"/>
                  </a:lnTo>
                  <a:lnTo>
                    <a:pt x="63" y="305"/>
                  </a:lnTo>
                  <a:lnTo>
                    <a:pt x="63" y="307"/>
                  </a:lnTo>
                  <a:lnTo>
                    <a:pt x="61" y="307"/>
                  </a:lnTo>
                  <a:lnTo>
                    <a:pt x="63" y="307"/>
                  </a:lnTo>
                  <a:lnTo>
                    <a:pt x="63" y="309"/>
                  </a:lnTo>
                  <a:lnTo>
                    <a:pt x="65" y="309"/>
                  </a:lnTo>
                  <a:lnTo>
                    <a:pt x="63" y="309"/>
                  </a:lnTo>
                  <a:lnTo>
                    <a:pt x="61" y="309"/>
                  </a:lnTo>
                  <a:lnTo>
                    <a:pt x="63" y="309"/>
                  </a:lnTo>
                  <a:lnTo>
                    <a:pt x="61" y="309"/>
                  </a:lnTo>
                  <a:lnTo>
                    <a:pt x="61" y="307"/>
                  </a:lnTo>
                  <a:lnTo>
                    <a:pt x="61" y="309"/>
                  </a:lnTo>
                  <a:lnTo>
                    <a:pt x="61" y="311"/>
                  </a:lnTo>
                  <a:lnTo>
                    <a:pt x="61" y="313"/>
                  </a:lnTo>
                  <a:lnTo>
                    <a:pt x="61" y="311"/>
                  </a:lnTo>
                  <a:lnTo>
                    <a:pt x="59" y="311"/>
                  </a:lnTo>
                  <a:lnTo>
                    <a:pt x="59" y="313"/>
                  </a:lnTo>
                  <a:lnTo>
                    <a:pt x="61" y="313"/>
                  </a:lnTo>
                  <a:lnTo>
                    <a:pt x="59" y="313"/>
                  </a:lnTo>
                  <a:lnTo>
                    <a:pt x="61" y="313"/>
                  </a:lnTo>
                  <a:lnTo>
                    <a:pt x="59" y="313"/>
                  </a:lnTo>
                  <a:lnTo>
                    <a:pt x="61" y="313"/>
                  </a:lnTo>
                  <a:lnTo>
                    <a:pt x="63" y="313"/>
                  </a:lnTo>
                  <a:lnTo>
                    <a:pt x="61" y="313"/>
                  </a:lnTo>
                  <a:lnTo>
                    <a:pt x="61" y="315"/>
                  </a:lnTo>
                  <a:lnTo>
                    <a:pt x="63" y="315"/>
                  </a:lnTo>
                  <a:lnTo>
                    <a:pt x="63" y="317"/>
                  </a:lnTo>
                  <a:lnTo>
                    <a:pt x="63" y="315"/>
                  </a:lnTo>
                  <a:lnTo>
                    <a:pt x="61" y="315"/>
                  </a:lnTo>
                  <a:lnTo>
                    <a:pt x="63" y="315"/>
                  </a:lnTo>
                  <a:lnTo>
                    <a:pt x="61" y="315"/>
                  </a:lnTo>
                  <a:lnTo>
                    <a:pt x="61" y="317"/>
                  </a:lnTo>
                  <a:lnTo>
                    <a:pt x="59" y="317"/>
                  </a:lnTo>
                  <a:lnTo>
                    <a:pt x="59" y="315"/>
                  </a:lnTo>
                  <a:lnTo>
                    <a:pt x="57" y="315"/>
                  </a:lnTo>
                  <a:lnTo>
                    <a:pt x="57" y="317"/>
                  </a:lnTo>
                  <a:lnTo>
                    <a:pt x="59" y="317"/>
                  </a:lnTo>
                  <a:lnTo>
                    <a:pt x="57" y="317"/>
                  </a:lnTo>
                  <a:lnTo>
                    <a:pt x="59" y="317"/>
                  </a:lnTo>
                  <a:lnTo>
                    <a:pt x="59" y="318"/>
                  </a:lnTo>
                  <a:lnTo>
                    <a:pt x="59" y="320"/>
                  </a:lnTo>
                  <a:lnTo>
                    <a:pt x="57" y="320"/>
                  </a:lnTo>
                  <a:lnTo>
                    <a:pt x="59" y="320"/>
                  </a:lnTo>
                  <a:lnTo>
                    <a:pt x="59" y="322"/>
                  </a:lnTo>
                  <a:lnTo>
                    <a:pt x="59" y="320"/>
                  </a:lnTo>
                  <a:lnTo>
                    <a:pt x="59" y="322"/>
                  </a:lnTo>
                  <a:lnTo>
                    <a:pt x="59" y="320"/>
                  </a:lnTo>
                  <a:lnTo>
                    <a:pt x="59" y="322"/>
                  </a:lnTo>
                  <a:lnTo>
                    <a:pt x="57" y="322"/>
                  </a:lnTo>
                  <a:lnTo>
                    <a:pt x="57" y="320"/>
                  </a:lnTo>
                  <a:lnTo>
                    <a:pt x="55" y="320"/>
                  </a:lnTo>
                  <a:lnTo>
                    <a:pt x="54" y="320"/>
                  </a:lnTo>
                  <a:lnTo>
                    <a:pt x="55" y="320"/>
                  </a:lnTo>
                  <a:lnTo>
                    <a:pt x="54" y="320"/>
                  </a:lnTo>
                  <a:lnTo>
                    <a:pt x="54" y="318"/>
                  </a:lnTo>
                  <a:lnTo>
                    <a:pt x="52" y="318"/>
                  </a:lnTo>
                  <a:lnTo>
                    <a:pt x="52" y="320"/>
                  </a:lnTo>
                  <a:lnTo>
                    <a:pt x="52" y="322"/>
                  </a:lnTo>
                  <a:lnTo>
                    <a:pt x="50" y="322"/>
                  </a:lnTo>
                  <a:lnTo>
                    <a:pt x="50" y="324"/>
                  </a:lnTo>
                  <a:lnTo>
                    <a:pt x="52" y="324"/>
                  </a:lnTo>
                  <a:lnTo>
                    <a:pt x="50" y="324"/>
                  </a:lnTo>
                  <a:lnTo>
                    <a:pt x="48" y="324"/>
                  </a:lnTo>
                  <a:lnTo>
                    <a:pt x="48" y="326"/>
                  </a:lnTo>
                  <a:lnTo>
                    <a:pt x="48" y="324"/>
                  </a:lnTo>
                  <a:lnTo>
                    <a:pt x="48" y="326"/>
                  </a:lnTo>
                  <a:lnTo>
                    <a:pt x="48" y="324"/>
                  </a:lnTo>
                  <a:lnTo>
                    <a:pt x="46" y="324"/>
                  </a:lnTo>
                  <a:lnTo>
                    <a:pt x="46" y="322"/>
                  </a:lnTo>
                  <a:lnTo>
                    <a:pt x="46" y="324"/>
                  </a:lnTo>
                  <a:lnTo>
                    <a:pt x="46" y="322"/>
                  </a:lnTo>
                  <a:lnTo>
                    <a:pt x="46" y="320"/>
                  </a:lnTo>
                  <a:lnTo>
                    <a:pt x="44" y="320"/>
                  </a:lnTo>
                  <a:lnTo>
                    <a:pt x="44" y="322"/>
                  </a:lnTo>
                  <a:lnTo>
                    <a:pt x="46" y="322"/>
                  </a:lnTo>
                  <a:lnTo>
                    <a:pt x="46" y="324"/>
                  </a:lnTo>
                  <a:lnTo>
                    <a:pt x="46" y="322"/>
                  </a:lnTo>
                  <a:lnTo>
                    <a:pt x="46" y="324"/>
                  </a:lnTo>
                  <a:lnTo>
                    <a:pt x="46" y="322"/>
                  </a:lnTo>
                  <a:lnTo>
                    <a:pt x="44" y="322"/>
                  </a:lnTo>
                  <a:lnTo>
                    <a:pt x="44" y="320"/>
                  </a:lnTo>
                  <a:lnTo>
                    <a:pt x="42" y="320"/>
                  </a:lnTo>
                  <a:lnTo>
                    <a:pt x="42" y="318"/>
                  </a:lnTo>
                  <a:lnTo>
                    <a:pt x="42" y="317"/>
                  </a:lnTo>
                  <a:lnTo>
                    <a:pt x="42" y="315"/>
                  </a:lnTo>
                  <a:lnTo>
                    <a:pt x="40" y="315"/>
                  </a:lnTo>
                  <a:lnTo>
                    <a:pt x="40" y="313"/>
                  </a:lnTo>
                  <a:lnTo>
                    <a:pt x="40" y="315"/>
                  </a:lnTo>
                  <a:lnTo>
                    <a:pt x="40" y="317"/>
                  </a:lnTo>
                  <a:lnTo>
                    <a:pt x="40" y="318"/>
                  </a:lnTo>
                  <a:lnTo>
                    <a:pt x="42" y="318"/>
                  </a:lnTo>
                  <a:lnTo>
                    <a:pt x="42" y="320"/>
                  </a:lnTo>
                  <a:lnTo>
                    <a:pt x="40" y="320"/>
                  </a:lnTo>
                  <a:lnTo>
                    <a:pt x="40" y="318"/>
                  </a:lnTo>
                  <a:lnTo>
                    <a:pt x="40" y="317"/>
                  </a:lnTo>
                  <a:lnTo>
                    <a:pt x="38" y="317"/>
                  </a:lnTo>
                  <a:lnTo>
                    <a:pt x="38" y="315"/>
                  </a:lnTo>
                  <a:lnTo>
                    <a:pt x="36" y="315"/>
                  </a:lnTo>
                  <a:lnTo>
                    <a:pt x="36" y="313"/>
                  </a:lnTo>
                  <a:lnTo>
                    <a:pt x="36" y="311"/>
                  </a:lnTo>
                  <a:lnTo>
                    <a:pt x="34" y="311"/>
                  </a:lnTo>
                  <a:lnTo>
                    <a:pt x="34" y="309"/>
                  </a:lnTo>
                  <a:lnTo>
                    <a:pt x="32" y="309"/>
                  </a:lnTo>
                  <a:lnTo>
                    <a:pt x="34" y="309"/>
                  </a:lnTo>
                  <a:lnTo>
                    <a:pt x="34" y="311"/>
                  </a:lnTo>
                  <a:lnTo>
                    <a:pt x="34" y="313"/>
                  </a:lnTo>
                  <a:lnTo>
                    <a:pt x="34" y="311"/>
                  </a:lnTo>
                  <a:lnTo>
                    <a:pt x="34" y="313"/>
                  </a:lnTo>
                  <a:lnTo>
                    <a:pt x="34" y="311"/>
                  </a:lnTo>
                  <a:lnTo>
                    <a:pt x="34" y="313"/>
                  </a:lnTo>
                  <a:lnTo>
                    <a:pt x="34" y="311"/>
                  </a:lnTo>
                  <a:lnTo>
                    <a:pt x="32" y="311"/>
                  </a:lnTo>
                  <a:lnTo>
                    <a:pt x="30" y="311"/>
                  </a:lnTo>
                  <a:lnTo>
                    <a:pt x="32" y="311"/>
                  </a:lnTo>
                  <a:lnTo>
                    <a:pt x="32" y="309"/>
                  </a:lnTo>
                  <a:lnTo>
                    <a:pt x="30" y="309"/>
                  </a:lnTo>
                  <a:lnTo>
                    <a:pt x="30" y="311"/>
                  </a:lnTo>
                  <a:lnTo>
                    <a:pt x="30" y="309"/>
                  </a:lnTo>
                  <a:lnTo>
                    <a:pt x="29" y="309"/>
                  </a:lnTo>
                  <a:lnTo>
                    <a:pt x="30" y="309"/>
                  </a:lnTo>
                  <a:lnTo>
                    <a:pt x="30" y="311"/>
                  </a:lnTo>
                  <a:lnTo>
                    <a:pt x="30" y="309"/>
                  </a:lnTo>
                  <a:lnTo>
                    <a:pt x="30" y="311"/>
                  </a:lnTo>
                  <a:lnTo>
                    <a:pt x="30" y="313"/>
                  </a:lnTo>
                  <a:lnTo>
                    <a:pt x="32" y="313"/>
                  </a:lnTo>
                  <a:lnTo>
                    <a:pt x="30" y="313"/>
                  </a:lnTo>
                  <a:lnTo>
                    <a:pt x="30" y="311"/>
                  </a:lnTo>
                  <a:lnTo>
                    <a:pt x="29" y="311"/>
                  </a:lnTo>
                  <a:lnTo>
                    <a:pt x="30" y="311"/>
                  </a:lnTo>
                  <a:lnTo>
                    <a:pt x="30" y="313"/>
                  </a:lnTo>
                  <a:lnTo>
                    <a:pt x="30" y="315"/>
                  </a:lnTo>
                  <a:lnTo>
                    <a:pt x="30" y="313"/>
                  </a:lnTo>
                  <a:lnTo>
                    <a:pt x="30" y="315"/>
                  </a:lnTo>
                  <a:lnTo>
                    <a:pt x="30" y="313"/>
                  </a:lnTo>
                  <a:lnTo>
                    <a:pt x="29" y="313"/>
                  </a:lnTo>
                  <a:lnTo>
                    <a:pt x="30" y="313"/>
                  </a:lnTo>
                  <a:lnTo>
                    <a:pt x="29" y="313"/>
                  </a:lnTo>
                  <a:lnTo>
                    <a:pt x="30" y="313"/>
                  </a:lnTo>
                  <a:lnTo>
                    <a:pt x="29" y="313"/>
                  </a:lnTo>
                  <a:lnTo>
                    <a:pt x="30" y="313"/>
                  </a:lnTo>
                  <a:lnTo>
                    <a:pt x="29" y="313"/>
                  </a:lnTo>
                  <a:lnTo>
                    <a:pt x="29" y="311"/>
                  </a:lnTo>
                  <a:lnTo>
                    <a:pt x="29" y="313"/>
                  </a:lnTo>
                  <a:lnTo>
                    <a:pt x="29" y="311"/>
                  </a:lnTo>
                  <a:lnTo>
                    <a:pt x="27" y="311"/>
                  </a:lnTo>
                  <a:lnTo>
                    <a:pt x="27" y="309"/>
                  </a:lnTo>
                  <a:lnTo>
                    <a:pt x="29" y="309"/>
                  </a:lnTo>
                  <a:lnTo>
                    <a:pt x="27" y="309"/>
                  </a:lnTo>
                  <a:lnTo>
                    <a:pt x="27" y="307"/>
                  </a:lnTo>
                  <a:lnTo>
                    <a:pt x="27" y="309"/>
                  </a:lnTo>
                  <a:lnTo>
                    <a:pt x="29" y="309"/>
                  </a:lnTo>
                  <a:lnTo>
                    <a:pt x="27" y="309"/>
                  </a:lnTo>
                  <a:lnTo>
                    <a:pt x="27" y="311"/>
                  </a:lnTo>
                  <a:lnTo>
                    <a:pt x="27" y="309"/>
                  </a:lnTo>
                  <a:lnTo>
                    <a:pt x="27" y="311"/>
                  </a:lnTo>
                  <a:lnTo>
                    <a:pt x="29" y="311"/>
                  </a:lnTo>
                  <a:lnTo>
                    <a:pt x="27" y="311"/>
                  </a:lnTo>
                  <a:lnTo>
                    <a:pt x="27" y="313"/>
                  </a:lnTo>
                  <a:lnTo>
                    <a:pt x="29" y="313"/>
                  </a:lnTo>
                  <a:lnTo>
                    <a:pt x="29" y="315"/>
                  </a:lnTo>
                  <a:lnTo>
                    <a:pt x="29" y="313"/>
                  </a:lnTo>
                  <a:lnTo>
                    <a:pt x="29" y="315"/>
                  </a:lnTo>
                  <a:lnTo>
                    <a:pt x="30" y="315"/>
                  </a:lnTo>
                  <a:lnTo>
                    <a:pt x="30" y="317"/>
                  </a:lnTo>
                  <a:lnTo>
                    <a:pt x="32" y="317"/>
                  </a:lnTo>
                  <a:lnTo>
                    <a:pt x="30" y="317"/>
                  </a:lnTo>
                  <a:lnTo>
                    <a:pt x="32" y="317"/>
                  </a:lnTo>
                  <a:lnTo>
                    <a:pt x="32" y="318"/>
                  </a:lnTo>
                  <a:lnTo>
                    <a:pt x="30" y="318"/>
                  </a:lnTo>
                  <a:lnTo>
                    <a:pt x="32" y="318"/>
                  </a:lnTo>
                  <a:lnTo>
                    <a:pt x="30" y="318"/>
                  </a:lnTo>
                  <a:lnTo>
                    <a:pt x="30" y="317"/>
                  </a:lnTo>
                  <a:lnTo>
                    <a:pt x="30" y="315"/>
                  </a:lnTo>
                  <a:lnTo>
                    <a:pt x="30" y="317"/>
                  </a:lnTo>
                  <a:lnTo>
                    <a:pt x="30" y="318"/>
                  </a:lnTo>
                  <a:lnTo>
                    <a:pt x="30" y="320"/>
                  </a:lnTo>
                  <a:lnTo>
                    <a:pt x="30" y="318"/>
                  </a:lnTo>
                  <a:lnTo>
                    <a:pt x="29" y="318"/>
                  </a:lnTo>
                  <a:lnTo>
                    <a:pt x="29" y="317"/>
                  </a:lnTo>
                  <a:lnTo>
                    <a:pt x="27" y="317"/>
                  </a:lnTo>
                  <a:lnTo>
                    <a:pt x="27" y="318"/>
                  </a:lnTo>
                  <a:lnTo>
                    <a:pt x="27" y="317"/>
                  </a:lnTo>
                  <a:lnTo>
                    <a:pt x="27" y="318"/>
                  </a:lnTo>
                  <a:lnTo>
                    <a:pt x="27" y="317"/>
                  </a:lnTo>
                  <a:lnTo>
                    <a:pt x="27" y="318"/>
                  </a:lnTo>
                  <a:lnTo>
                    <a:pt x="29" y="318"/>
                  </a:lnTo>
                  <a:lnTo>
                    <a:pt x="27" y="318"/>
                  </a:lnTo>
                  <a:lnTo>
                    <a:pt x="27" y="317"/>
                  </a:lnTo>
                  <a:lnTo>
                    <a:pt x="25" y="317"/>
                  </a:lnTo>
                  <a:lnTo>
                    <a:pt x="25" y="315"/>
                  </a:lnTo>
                  <a:lnTo>
                    <a:pt x="25" y="317"/>
                  </a:lnTo>
                  <a:lnTo>
                    <a:pt x="25" y="315"/>
                  </a:lnTo>
                  <a:lnTo>
                    <a:pt x="25" y="317"/>
                  </a:lnTo>
                  <a:lnTo>
                    <a:pt x="25" y="318"/>
                  </a:lnTo>
                  <a:lnTo>
                    <a:pt x="25" y="317"/>
                  </a:lnTo>
                  <a:lnTo>
                    <a:pt x="25" y="318"/>
                  </a:lnTo>
                  <a:lnTo>
                    <a:pt x="25" y="317"/>
                  </a:lnTo>
                  <a:lnTo>
                    <a:pt x="23" y="317"/>
                  </a:lnTo>
                  <a:lnTo>
                    <a:pt x="23" y="315"/>
                  </a:lnTo>
                  <a:lnTo>
                    <a:pt x="23" y="317"/>
                  </a:lnTo>
                  <a:lnTo>
                    <a:pt x="23" y="315"/>
                  </a:lnTo>
                  <a:lnTo>
                    <a:pt x="23" y="317"/>
                  </a:lnTo>
                  <a:lnTo>
                    <a:pt x="23" y="315"/>
                  </a:lnTo>
                  <a:lnTo>
                    <a:pt x="21" y="315"/>
                  </a:lnTo>
                  <a:lnTo>
                    <a:pt x="21" y="313"/>
                  </a:lnTo>
                  <a:lnTo>
                    <a:pt x="21" y="311"/>
                  </a:lnTo>
                  <a:lnTo>
                    <a:pt x="19" y="311"/>
                  </a:lnTo>
                  <a:lnTo>
                    <a:pt x="19" y="313"/>
                  </a:lnTo>
                  <a:lnTo>
                    <a:pt x="19" y="311"/>
                  </a:lnTo>
                  <a:lnTo>
                    <a:pt x="19" y="309"/>
                  </a:lnTo>
                  <a:lnTo>
                    <a:pt x="19" y="311"/>
                  </a:lnTo>
                  <a:lnTo>
                    <a:pt x="19" y="309"/>
                  </a:lnTo>
                  <a:lnTo>
                    <a:pt x="19" y="307"/>
                  </a:lnTo>
                  <a:lnTo>
                    <a:pt x="17" y="307"/>
                  </a:lnTo>
                  <a:lnTo>
                    <a:pt x="17" y="305"/>
                  </a:lnTo>
                  <a:lnTo>
                    <a:pt x="17" y="303"/>
                  </a:lnTo>
                  <a:lnTo>
                    <a:pt x="15" y="303"/>
                  </a:lnTo>
                  <a:lnTo>
                    <a:pt x="15" y="301"/>
                  </a:lnTo>
                  <a:lnTo>
                    <a:pt x="15" y="299"/>
                  </a:lnTo>
                  <a:lnTo>
                    <a:pt x="13" y="299"/>
                  </a:lnTo>
                  <a:lnTo>
                    <a:pt x="11" y="299"/>
                  </a:lnTo>
                  <a:lnTo>
                    <a:pt x="11" y="297"/>
                  </a:lnTo>
                  <a:lnTo>
                    <a:pt x="11" y="295"/>
                  </a:lnTo>
                  <a:lnTo>
                    <a:pt x="11" y="294"/>
                  </a:lnTo>
                  <a:lnTo>
                    <a:pt x="11" y="292"/>
                  </a:lnTo>
                  <a:lnTo>
                    <a:pt x="11" y="290"/>
                  </a:lnTo>
                  <a:lnTo>
                    <a:pt x="11" y="288"/>
                  </a:lnTo>
                  <a:lnTo>
                    <a:pt x="11" y="286"/>
                  </a:lnTo>
                  <a:lnTo>
                    <a:pt x="9" y="286"/>
                  </a:lnTo>
                  <a:lnTo>
                    <a:pt x="9" y="284"/>
                  </a:lnTo>
                  <a:lnTo>
                    <a:pt x="9" y="282"/>
                  </a:lnTo>
                  <a:lnTo>
                    <a:pt x="9" y="280"/>
                  </a:lnTo>
                  <a:lnTo>
                    <a:pt x="9" y="282"/>
                  </a:lnTo>
                  <a:lnTo>
                    <a:pt x="9" y="280"/>
                  </a:lnTo>
                  <a:lnTo>
                    <a:pt x="9" y="282"/>
                  </a:lnTo>
                  <a:lnTo>
                    <a:pt x="9" y="280"/>
                  </a:lnTo>
                  <a:lnTo>
                    <a:pt x="9" y="278"/>
                  </a:lnTo>
                  <a:lnTo>
                    <a:pt x="11" y="278"/>
                  </a:lnTo>
                  <a:lnTo>
                    <a:pt x="11" y="276"/>
                  </a:lnTo>
                  <a:lnTo>
                    <a:pt x="11" y="274"/>
                  </a:lnTo>
                  <a:lnTo>
                    <a:pt x="11" y="272"/>
                  </a:lnTo>
                  <a:lnTo>
                    <a:pt x="11" y="270"/>
                  </a:lnTo>
                  <a:lnTo>
                    <a:pt x="13" y="270"/>
                  </a:lnTo>
                  <a:lnTo>
                    <a:pt x="11" y="270"/>
                  </a:lnTo>
                  <a:lnTo>
                    <a:pt x="13" y="270"/>
                  </a:lnTo>
                  <a:lnTo>
                    <a:pt x="13" y="269"/>
                  </a:lnTo>
                  <a:lnTo>
                    <a:pt x="15" y="269"/>
                  </a:lnTo>
                  <a:lnTo>
                    <a:pt x="15" y="267"/>
                  </a:lnTo>
                  <a:lnTo>
                    <a:pt x="15" y="265"/>
                  </a:lnTo>
                  <a:lnTo>
                    <a:pt x="15" y="263"/>
                  </a:lnTo>
                  <a:lnTo>
                    <a:pt x="13" y="263"/>
                  </a:lnTo>
                  <a:lnTo>
                    <a:pt x="13" y="265"/>
                  </a:lnTo>
                  <a:lnTo>
                    <a:pt x="11" y="265"/>
                  </a:lnTo>
                  <a:lnTo>
                    <a:pt x="11" y="267"/>
                  </a:lnTo>
                  <a:lnTo>
                    <a:pt x="9" y="267"/>
                  </a:lnTo>
                  <a:lnTo>
                    <a:pt x="9" y="269"/>
                  </a:lnTo>
                  <a:lnTo>
                    <a:pt x="9" y="270"/>
                  </a:lnTo>
                  <a:lnTo>
                    <a:pt x="7" y="270"/>
                  </a:lnTo>
                  <a:lnTo>
                    <a:pt x="7" y="272"/>
                  </a:lnTo>
                  <a:lnTo>
                    <a:pt x="7" y="274"/>
                  </a:lnTo>
                  <a:lnTo>
                    <a:pt x="7" y="272"/>
                  </a:lnTo>
                  <a:lnTo>
                    <a:pt x="7" y="274"/>
                  </a:lnTo>
                  <a:lnTo>
                    <a:pt x="7" y="276"/>
                  </a:lnTo>
                  <a:lnTo>
                    <a:pt x="6" y="276"/>
                  </a:lnTo>
                  <a:lnTo>
                    <a:pt x="6" y="278"/>
                  </a:lnTo>
                  <a:lnTo>
                    <a:pt x="6" y="280"/>
                  </a:lnTo>
                  <a:lnTo>
                    <a:pt x="6" y="282"/>
                  </a:lnTo>
                  <a:lnTo>
                    <a:pt x="4" y="282"/>
                  </a:lnTo>
                  <a:lnTo>
                    <a:pt x="6" y="282"/>
                  </a:lnTo>
                  <a:lnTo>
                    <a:pt x="4" y="282"/>
                  </a:lnTo>
                  <a:lnTo>
                    <a:pt x="6" y="282"/>
                  </a:lnTo>
                  <a:lnTo>
                    <a:pt x="4" y="282"/>
                  </a:lnTo>
                  <a:lnTo>
                    <a:pt x="4" y="280"/>
                  </a:lnTo>
                  <a:lnTo>
                    <a:pt x="4" y="278"/>
                  </a:lnTo>
                  <a:lnTo>
                    <a:pt x="6" y="278"/>
                  </a:lnTo>
                  <a:lnTo>
                    <a:pt x="4" y="278"/>
                  </a:lnTo>
                  <a:lnTo>
                    <a:pt x="6" y="278"/>
                  </a:lnTo>
                  <a:lnTo>
                    <a:pt x="4" y="278"/>
                  </a:lnTo>
                  <a:lnTo>
                    <a:pt x="6" y="278"/>
                  </a:lnTo>
                  <a:lnTo>
                    <a:pt x="6" y="276"/>
                  </a:lnTo>
                  <a:lnTo>
                    <a:pt x="6" y="274"/>
                  </a:lnTo>
                  <a:lnTo>
                    <a:pt x="6" y="272"/>
                  </a:lnTo>
                  <a:lnTo>
                    <a:pt x="6" y="270"/>
                  </a:lnTo>
                  <a:lnTo>
                    <a:pt x="7" y="270"/>
                  </a:lnTo>
                  <a:lnTo>
                    <a:pt x="6" y="270"/>
                  </a:lnTo>
                  <a:lnTo>
                    <a:pt x="7" y="270"/>
                  </a:lnTo>
                  <a:lnTo>
                    <a:pt x="7" y="269"/>
                  </a:lnTo>
                  <a:lnTo>
                    <a:pt x="7" y="267"/>
                  </a:lnTo>
                  <a:lnTo>
                    <a:pt x="9" y="267"/>
                  </a:lnTo>
                  <a:lnTo>
                    <a:pt x="9" y="265"/>
                  </a:lnTo>
                  <a:lnTo>
                    <a:pt x="9" y="263"/>
                  </a:lnTo>
                  <a:lnTo>
                    <a:pt x="11" y="263"/>
                  </a:lnTo>
                  <a:lnTo>
                    <a:pt x="11" y="261"/>
                  </a:lnTo>
                  <a:lnTo>
                    <a:pt x="11" y="259"/>
                  </a:lnTo>
                  <a:lnTo>
                    <a:pt x="13" y="259"/>
                  </a:lnTo>
                  <a:lnTo>
                    <a:pt x="13" y="257"/>
                  </a:lnTo>
                  <a:lnTo>
                    <a:pt x="13" y="255"/>
                  </a:lnTo>
                  <a:lnTo>
                    <a:pt x="15" y="255"/>
                  </a:lnTo>
                  <a:lnTo>
                    <a:pt x="15" y="257"/>
                  </a:lnTo>
                  <a:lnTo>
                    <a:pt x="17" y="257"/>
                  </a:lnTo>
                  <a:lnTo>
                    <a:pt x="17" y="255"/>
                  </a:lnTo>
                  <a:lnTo>
                    <a:pt x="15" y="255"/>
                  </a:lnTo>
                  <a:lnTo>
                    <a:pt x="15" y="253"/>
                  </a:lnTo>
                  <a:lnTo>
                    <a:pt x="17" y="253"/>
                  </a:lnTo>
                  <a:lnTo>
                    <a:pt x="17" y="251"/>
                  </a:lnTo>
                  <a:lnTo>
                    <a:pt x="17" y="249"/>
                  </a:lnTo>
                  <a:lnTo>
                    <a:pt x="19" y="249"/>
                  </a:lnTo>
                  <a:lnTo>
                    <a:pt x="19" y="247"/>
                  </a:lnTo>
                  <a:lnTo>
                    <a:pt x="19" y="246"/>
                  </a:lnTo>
                  <a:lnTo>
                    <a:pt x="21" y="246"/>
                  </a:lnTo>
                  <a:lnTo>
                    <a:pt x="21" y="244"/>
                  </a:lnTo>
                  <a:lnTo>
                    <a:pt x="23" y="244"/>
                  </a:lnTo>
                  <a:lnTo>
                    <a:pt x="23" y="242"/>
                  </a:lnTo>
                  <a:lnTo>
                    <a:pt x="23" y="240"/>
                  </a:lnTo>
                  <a:lnTo>
                    <a:pt x="25" y="240"/>
                  </a:lnTo>
                  <a:lnTo>
                    <a:pt x="25" y="238"/>
                  </a:lnTo>
                  <a:lnTo>
                    <a:pt x="27" y="238"/>
                  </a:lnTo>
                  <a:lnTo>
                    <a:pt x="27" y="236"/>
                  </a:lnTo>
                  <a:lnTo>
                    <a:pt x="27" y="234"/>
                  </a:lnTo>
                  <a:lnTo>
                    <a:pt x="29" y="234"/>
                  </a:lnTo>
                  <a:lnTo>
                    <a:pt x="29" y="232"/>
                  </a:lnTo>
                  <a:lnTo>
                    <a:pt x="29" y="230"/>
                  </a:lnTo>
                  <a:lnTo>
                    <a:pt x="30" y="230"/>
                  </a:lnTo>
                  <a:lnTo>
                    <a:pt x="30" y="228"/>
                  </a:lnTo>
                  <a:lnTo>
                    <a:pt x="32" y="228"/>
                  </a:lnTo>
                  <a:lnTo>
                    <a:pt x="32" y="226"/>
                  </a:lnTo>
                  <a:lnTo>
                    <a:pt x="32" y="224"/>
                  </a:lnTo>
                  <a:lnTo>
                    <a:pt x="34" y="224"/>
                  </a:lnTo>
                  <a:lnTo>
                    <a:pt x="34" y="222"/>
                  </a:lnTo>
                  <a:lnTo>
                    <a:pt x="34" y="221"/>
                  </a:lnTo>
                  <a:lnTo>
                    <a:pt x="36" y="221"/>
                  </a:lnTo>
                  <a:lnTo>
                    <a:pt x="36" y="219"/>
                  </a:lnTo>
                  <a:lnTo>
                    <a:pt x="38" y="219"/>
                  </a:lnTo>
                  <a:lnTo>
                    <a:pt x="38" y="217"/>
                  </a:lnTo>
                  <a:lnTo>
                    <a:pt x="40" y="215"/>
                  </a:lnTo>
                  <a:lnTo>
                    <a:pt x="40" y="213"/>
                  </a:lnTo>
                  <a:lnTo>
                    <a:pt x="42" y="213"/>
                  </a:lnTo>
                  <a:lnTo>
                    <a:pt x="42" y="211"/>
                  </a:lnTo>
                  <a:lnTo>
                    <a:pt x="44" y="211"/>
                  </a:lnTo>
                  <a:lnTo>
                    <a:pt x="44" y="209"/>
                  </a:lnTo>
                  <a:lnTo>
                    <a:pt x="46" y="209"/>
                  </a:lnTo>
                  <a:lnTo>
                    <a:pt x="46" y="207"/>
                  </a:lnTo>
                  <a:lnTo>
                    <a:pt x="48" y="207"/>
                  </a:lnTo>
                  <a:lnTo>
                    <a:pt x="48" y="205"/>
                  </a:lnTo>
                  <a:lnTo>
                    <a:pt x="50" y="205"/>
                  </a:lnTo>
                  <a:lnTo>
                    <a:pt x="50" y="203"/>
                  </a:lnTo>
                  <a:lnTo>
                    <a:pt x="52" y="203"/>
                  </a:lnTo>
                  <a:lnTo>
                    <a:pt x="52" y="201"/>
                  </a:lnTo>
                  <a:lnTo>
                    <a:pt x="54" y="201"/>
                  </a:lnTo>
                  <a:lnTo>
                    <a:pt x="54" y="199"/>
                  </a:lnTo>
                  <a:lnTo>
                    <a:pt x="55" y="199"/>
                  </a:lnTo>
                  <a:lnTo>
                    <a:pt x="55" y="198"/>
                  </a:lnTo>
                  <a:lnTo>
                    <a:pt x="55" y="196"/>
                  </a:lnTo>
                  <a:lnTo>
                    <a:pt x="57" y="196"/>
                  </a:lnTo>
                  <a:lnTo>
                    <a:pt x="55" y="196"/>
                  </a:lnTo>
                  <a:lnTo>
                    <a:pt x="57" y="196"/>
                  </a:lnTo>
                  <a:lnTo>
                    <a:pt x="55" y="196"/>
                  </a:lnTo>
                  <a:lnTo>
                    <a:pt x="55" y="194"/>
                  </a:lnTo>
                  <a:lnTo>
                    <a:pt x="54" y="194"/>
                  </a:lnTo>
                  <a:lnTo>
                    <a:pt x="52" y="194"/>
                  </a:lnTo>
                  <a:lnTo>
                    <a:pt x="54" y="194"/>
                  </a:lnTo>
                  <a:lnTo>
                    <a:pt x="55" y="194"/>
                  </a:lnTo>
                  <a:lnTo>
                    <a:pt x="57" y="194"/>
                  </a:lnTo>
                  <a:lnTo>
                    <a:pt x="59" y="194"/>
                  </a:lnTo>
                  <a:lnTo>
                    <a:pt x="59" y="196"/>
                  </a:lnTo>
                  <a:lnTo>
                    <a:pt x="59" y="198"/>
                  </a:lnTo>
                  <a:lnTo>
                    <a:pt x="59" y="199"/>
                  </a:lnTo>
                  <a:lnTo>
                    <a:pt x="61" y="199"/>
                  </a:lnTo>
                  <a:lnTo>
                    <a:pt x="61" y="201"/>
                  </a:lnTo>
                  <a:lnTo>
                    <a:pt x="61" y="203"/>
                  </a:lnTo>
                  <a:lnTo>
                    <a:pt x="59" y="203"/>
                  </a:lnTo>
                  <a:lnTo>
                    <a:pt x="61" y="203"/>
                  </a:lnTo>
                  <a:lnTo>
                    <a:pt x="61" y="205"/>
                  </a:lnTo>
                  <a:lnTo>
                    <a:pt x="61" y="203"/>
                  </a:lnTo>
                  <a:lnTo>
                    <a:pt x="63" y="203"/>
                  </a:lnTo>
                  <a:lnTo>
                    <a:pt x="63" y="205"/>
                  </a:lnTo>
                  <a:lnTo>
                    <a:pt x="63" y="203"/>
                  </a:lnTo>
                  <a:lnTo>
                    <a:pt x="63" y="201"/>
                  </a:lnTo>
                  <a:lnTo>
                    <a:pt x="65" y="201"/>
                  </a:lnTo>
                  <a:lnTo>
                    <a:pt x="65" y="203"/>
                  </a:lnTo>
                  <a:lnTo>
                    <a:pt x="67" y="203"/>
                  </a:lnTo>
                  <a:lnTo>
                    <a:pt x="67" y="201"/>
                  </a:lnTo>
                  <a:lnTo>
                    <a:pt x="69" y="201"/>
                  </a:lnTo>
                  <a:lnTo>
                    <a:pt x="69" y="199"/>
                  </a:lnTo>
                  <a:lnTo>
                    <a:pt x="69" y="198"/>
                  </a:lnTo>
                  <a:lnTo>
                    <a:pt x="69" y="196"/>
                  </a:lnTo>
                  <a:lnTo>
                    <a:pt x="69" y="194"/>
                  </a:lnTo>
                  <a:lnTo>
                    <a:pt x="71" y="194"/>
                  </a:lnTo>
                  <a:lnTo>
                    <a:pt x="71" y="192"/>
                  </a:lnTo>
                  <a:lnTo>
                    <a:pt x="73" y="192"/>
                  </a:lnTo>
                  <a:lnTo>
                    <a:pt x="75" y="192"/>
                  </a:lnTo>
                  <a:lnTo>
                    <a:pt x="77" y="192"/>
                  </a:lnTo>
                  <a:lnTo>
                    <a:pt x="75" y="192"/>
                  </a:lnTo>
                  <a:lnTo>
                    <a:pt x="75" y="190"/>
                  </a:lnTo>
                  <a:lnTo>
                    <a:pt x="73" y="190"/>
                  </a:lnTo>
                  <a:lnTo>
                    <a:pt x="75" y="190"/>
                  </a:lnTo>
                  <a:lnTo>
                    <a:pt x="75" y="188"/>
                  </a:lnTo>
                  <a:lnTo>
                    <a:pt x="77" y="188"/>
                  </a:lnTo>
                  <a:lnTo>
                    <a:pt x="77" y="186"/>
                  </a:lnTo>
                  <a:lnTo>
                    <a:pt x="78" y="186"/>
                  </a:lnTo>
                  <a:lnTo>
                    <a:pt x="78" y="184"/>
                  </a:lnTo>
                  <a:lnTo>
                    <a:pt x="80" y="184"/>
                  </a:lnTo>
                  <a:lnTo>
                    <a:pt x="78" y="184"/>
                  </a:lnTo>
                  <a:lnTo>
                    <a:pt x="80" y="184"/>
                  </a:lnTo>
                  <a:lnTo>
                    <a:pt x="80" y="182"/>
                  </a:lnTo>
                  <a:lnTo>
                    <a:pt x="80" y="184"/>
                  </a:lnTo>
                  <a:lnTo>
                    <a:pt x="80" y="182"/>
                  </a:lnTo>
                  <a:lnTo>
                    <a:pt x="82" y="182"/>
                  </a:lnTo>
                  <a:lnTo>
                    <a:pt x="84" y="182"/>
                  </a:lnTo>
                  <a:lnTo>
                    <a:pt x="82" y="182"/>
                  </a:lnTo>
                  <a:lnTo>
                    <a:pt x="84" y="182"/>
                  </a:lnTo>
                  <a:lnTo>
                    <a:pt x="84" y="180"/>
                  </a:lnTo>
                  <a:lnTo>
                    <a:pt x="82" y="180"/>
                  </a:lnTo>
                  <a:lnTo>
                    <a:pt x="84" y="180"/>
                  </a:lnTo>
                  <a:lnTo>
                    <a:pt x="82" y="180"/>
                  </a:lnTo>
                  <a:lnTo>
                    <a:pt x="84" y="180"/>
                  </a:lnTo>
                  <a:lnTo>
                    <a:pt x="82" y="180"/>
                  </a:lnTo>
                  <a:lnTo>
                    <a:pt x="84" y="180"/>
                  </a:lnTo>
                  <a:lnTo>
                    <a:pt x="86" y="180"/>
                  </a:lnTo>
                  <a:lnTo>
                    <a:pt x="84" y="180"/>
                  </a:lnTo>
                  <a:lnTo>
                    <a:pt x="86" y="180"/>
                  </a:lnTo>
                  <a:lnTo>
                    <a:pt x="84" y="180"/>
                  </a:lnTo>
                  <a:lnTo>
                    <a:pt x="86" y="180"/>
                  </a:lnTo>
                  <a:lnTo>
                    <a:pt x="86" y="178"/>
                  </a:lnTo>
                  <a:lnTo>
                    <a:pt x="88" y="178"/>
                  </a:lnTo>
                  <a:lnTo>
                    <a:pt x="90" y="178"/>
                  </a:lnTo>
                  <a:lnTo>
                    <a:pt x="90" y="176"/>
                  </a:lnTo>
                  <a:lnTo>
                    <a:pt x="90" y="178"/>
                  </a:lnTo>
                  <a:lnTo>
                    <a:pt x="90" y="176"/>
                  </a:lnTo>
                  <a:lnTo>
                    <a:pt x="92" y="176"/>
                  </a:lnTo>
                  <a:lnTo>
                    <a:pt x="94" y="176"/>
                  </a:lnTo>
                  <a:lnTo>
                    <a:pt x="94" y="174"/>
                  </a:lnTo>
                  <a:lnTo>
                    <a:pt x="94" y="173"/>
                  </a:lnTo>
                  <a:lnTo>
                    <a:pt x="96" y="173"/>
                  </a:lnTo>
                  <a:lnTo>
                    <a:pt x="96" y="171"/>
                  </a:lnTo>
                  <a:lnTo>
                    <a:pt x="96" y="173"/>
                  </a:lnTo>
                  <a:lnTo>
                    <a:pt x="94" y="173"/>
                  </a:lnTo>
                  <a:lnTo>
                    <a:pt x="94" y="171"/>
                  </a:lnTo>
                  <a:lnTo>
                    <a:pt x="94" y="173"/>
                  </a:lnTo>
                  <a:lnTo>
                    <a:pt x="92" y="173"/>
                  </a:lnTo>
                  <a:lnTo>
                    <a:pt x="90" y="173"/>
                  </a:lnTo>
                  <a:lnTo>
                    <a:pt x="88" y="173"/>
                  </a:lnTo>
                  <a:lnTo>
                    <a:pt x="88" y="174"/>
                  </a:lnTo>
                  <a:lnTo>
                    <a:pt x="88" y="173"/>
                  </a:lnTo>
                  <a:lnTo>
                    <a:pt x="88" y="174"/>
                  </a:lnTo>
                  <a:lnTo>
                    <a:pt x="86" y="174"/>
                  </a:lnTo>
                  <a:lnTo>
                    <a:pt x="84" y="174"/>
                  </a:lnTo>
                  <a:lnTo>
                    <a:pt x="82" y="174"/>
                  </a:lnTo>
                  <a:lnTo>
                    <a:pt x="84" y="174"/>
                  </a:lnTo>
                  <a:lnTo>
                    <a:pt x="82" y="174"/>
                  </a:lnTo>
                  <a:lnTo>
                    <a:pt x="82" y="176"/>
                  </a:lnTo>
                  <a:lnTo>
                    <a:pt x="80" y="176"/>
                  </a:lnTo>
                  <a:lnTo>
                    <a:pt x="82" y="176"/>
                  </a:lnTo>
                  <a:lnTo>
                    <a:pt x="80" y="176"/>
                  </a:lnTo>
                  <a:lnTo>
                    <a:pt x="78" y="176"/>
                  </a:lnTo>
                  <a:lnTo>
                    <a:pt x="78" y="178"/>
                  </a:lnTo>
                  <a:lnTo>
                    <a:pt x="77" y="178"/>
                  </a:lnTo>
                  <a:lnTo>
                    <a:pt x="77" y="180"/>
                  </a:lnTo>
                  <a:lnTo>
                    <a:pt x="75" y="180"/>
                  </a:lnTo>
                  <a:lnTo>
                    <a:pt x="77" y="180"/>
                  </a:lnTo>
                  <a:lnTo>
                    <a:pt x="75" y="180"/>
                  </a:lnTo>
                  <a:lnTo>
                    <a:pt x="77" y="180"/>
                  </a:lnTo>
                  <a:lnTo>
                    <a:pt x="75" y="180"/>
                  </a:lnTo>
                  <a:lnTo>
                    <a:pt x="77" y="182"/>
                  </a:lnTo>
                  <a:lnTo>
                    <a:pt x="77" y="180"/>
                  </a:lnTo>
                  <a:lnTo>
                    <a:pt x="77" y="182"/>
                  </a:lnTo>
                  <a:lnTo>
                    <a:pt x="75" y="182"/>
                  </a:lnTo>
                  <a:lnTo>
                    <a:pt x="75" y="180"/>
                  </a:lnTo>
                  <a:lnTo>
                    <a:pt x="73" y="180"/>
                  </a:lnTo>
                  <a:lnTo>
                    <a:pt x="71" y="180"/>
                  </a:lnTo>
                  <a:lnTo>
                    <a:pt x="71" y="182"/>
                  </a:lnTo>
                  <a:lnTo>
                    <a:pt x="69" y="182"/>
                  </a:lnTo>
                  <a:lnTo>
                    <a:pt x="67" y="182"/>
                  </a:lnTo>
                  <a:lnTo>
                    <a:pt x="67" y="180"/>
                  </a:lnTo>
                  <a:lnTo>
                    <a:pt x="69" y="180"/>
                  </a:lnTo>
                  <a:lnTo>
                    <a:pt x="67" y="180"/>
                  </a:lnTo>
                  <a:lnTo>
                    <a:pt x="67" y="182"/>
                  </a:lnTo>
                  <a:lnTo>
                    <a:pt x="65" y="182"/>
                  </a:lnTo>
                  <a:lnTo>
                    <a:pt x="67" y="182"/>
                  </a:lnTo>
                  <a:lnTo>
                    <a:pt x="65" y="182"/>
                  </a:lnTo>
                  <a:lnTo>
                    <a:pt x="67" y="182"/>
                  </a:lnTo>
                  <a:lnTo>
                    <a:pt x="65" y="182"/>
                  </a:lnTo>
                  <a:lnTo>
                    <a:pt x="65" y="184"/>
                  </a:lnTo>
                  <a:lnTo>
                    <a:pt x="63" y="184"/>
                  </a:lnTo>
                  <a:lnTo>
                    <a:pt x="61" y="184"/>
                  </a:lnTo>
                  <a:lnTo>
                    <a:pt x="61" y="186"/>
                  </a:lnTo>
                  <a:lnTo>
                    <a:pt x="59" y="186"/>
                  </a:lnTo>
                  <a:lnTo>
                    <a:pt x="61" y="186"/>
                  </a:lnTo>
                  <a:lnTo>
                    <a:pt x="59" y="186"/>
                  </a:lnTo>
                  <a:lnTo>
                    <a:pt x="59" y="188"/>
                  </a:lnTo>
                  <a:lnTo>
                    <a:pt x="57" y="188"/>
                  </a:lnTo>
                  <a:lnTo>
                    <a:pt x="55" y="188"/>
                  </a:lnTo>
                  <a:lnTo>
                    <a:pt x="57" y="188"/>
                  </a:lnTo>
                  <a:lnTo>
                    <a:pt x="57" y="190"/>
                  </a:lnTo>
                  <a:lnTo>
                    <a:pt x="57" y="188"/>
                  </a:lnTo>
                  <a:lnTo>
                    <a:pt x="55" y="188"/>
                  </a:lnTo>
                  <a:lnTo>
                    <a:pt x="55" y="190"/>
                  </a:lnTo>
                  <a:lnTo>
                    <a:pt x="54" y="190"/>
                  </a:lnTo>
                  <a:lnTo>
                    <a:pt x="52" y="190"/>
                  </a:lnTo>
                  <a:lnTo>
                    <a:pt x="52" y="188"/>
                  </a:lnTo>
                  <a:lnTo>
                    <a:pt x="52" y="190"/>
                  </a:lnTo>
                  <a:lnTo>
                    <a:pt x="50" y="190"/>
                  </a:lnTo>
                  <a:lnTo>
                    <a:pt x="50" y="192"/>
                  </a:lnTo>
                  <a:lnTo>
                    <a:pt x="48" y="192"/>
                  </a:lnTo>
                  <a:lnTo>
                    <a:pt x="48" y="190"/>
                  </a:lnTo>
                  <a:lnTo>
                    <a:pt x="48" y="192"/>
                  </a:lnTo>
                  <a:lnTo>
                    <a:pt x="46" y="192"/>
                  </a:lnTo>
                  <a:lnTo>
                    <a:pt x="48" y="192"/>
                  </a:lnTo>
                  <a:lnTo>
                    <a:pt x="46" y="192"/>
                  </a:lnTo>
                  <a:lnTo>
                    <a:pt x="44" y="192"/>
                  </a:lnTo>
                  <a:lnTo>
                    <a:pt x="44" y="194"/>
                  </a:lnTo>
                  <a:lnTo>
                    <a:pt x="42" y="194"/>
                  </a:lnTo>
                  <a:lnTo>
                    <a:pt x="42" y="196"/>
                  </a:lnTo>
                  <a:lnTo>
                    <a:pt x="42" y="198"/>
                  </a:lnTo>
                  <a:lnTo>
                    <a:pt x="42" y="199"/>
                  </a:lnTo>
                  <a:lnTo>
                    <a:pt x="44" y="199"/>
                  </a:lnTo>
                  <a:lnTo>
                    <a:pt x="42" y="199"/>
                  </a:lnTo>
                  <a:lnTo>
                    <a:pt x="42" y="201"/>
                  </a:lnTo>
                  <a:lnTo>
                    <a:pt x="40" y="201"/>
                  </a:lnTo>
                  <a:lnTo>
                    <a:pt x="42" y="201"/>
                  </a:lnTo>
                  <a:lnTo>
                    <a:pt x="40" y="201"/>
                  </a:lnTo>
                  <a:lnTo>
                    <a:pt x="40" y="199"/>
                  </a:lnTo>
                  <a:lnTo>
                    <a:pt x="40" y="201"/>
                  </a:lnTo>
                  <a:lnTo>
                    <a:pt x="40" y="199"/>
                  </a:lnTo>
                  <a:lnTo>
                    <a:pt x="38" y="199"/>
                  </a:lnTo>
                  <a:lnTo>
                    <a:pt x="40" y="199"/>
                  </a:lnTo>
                  <a:lnTo>
                    <a:pt x="38" y="199"/>
                  </a:lnTo>
                  <a:lnTo>
                    <a:pt x="36" y="199"/>
                  </a:lnTo>
                  <a:lnTo>
                    <a:pt x="36" y="201"/>
                  </a:lnTo>
                  <a:lnTo>
                    <a:pt x="34" y="201"/>
                  </a:lnTo>
                  <a:lnTo>
                    <a:pt x="34" y="203"/>
                  </a:lnTo>
                  <a:lnTo>
                    <a:pt x="32" y="203"/>
                  </a:lnTo>
                  <a:lnTo>
                    <a:pt x="32" y="201"/>
                  </a:lnTo>
                  <a:lnTo>
                    <a:pt x="32" y="199"/>
                  </a:lnTo>
                  <a:lnTo>
                    <a:pt x="32" y="198"/>
                  </a:lnTo>
                  <a:lnTo>
                    <a:pt x="30" y="198"/>
                  </a:lnTo>
                  <a:lnTo>
                    <a:pt x="32" y="198"/>
                  </a:lnTo>
                  <a:lnTo>
                    <a:pt x="32" y="196"/>
                  </a:lnTo>
                  <a:lnTo>
                    <a:pt x="32" y="194"/>
                  </a:lnTo>
                  <a:lnTo>
                    <a:pt x="34" y="194"/>
                  </a:lnTo>
                  <a:lnTo>
                    <a:pt x="34" y="192"/>
                  </a:lnTo>
                  <a:lnTo>
                    <a:pt x="36" y="192"/>
                  </a:lnTo>
                  <a:lnTo>
                    <a:pt x="34" y="192"/>
                  </a:lnTo>
                  <a:lnTo>
                    <a:pt x="32" y="192"/>
                  </a:lnTo>
                  <a:lnTo>
                    <a:pt x="32" y="194"/>
                  </a:lnTo>
                  <a:lnTo>
                    <a:pt x="32" y="192"/>
                  </a:lnTo>
                  <a:lnTo>
                    <a:pt x="34" y="192"/>
                  </a:lnTo>
                  <a:lnTo>
                    <a:pt x="34" y="190"/>
                  </a:lnTo>
                  <a:lnTo>
                    <a:pt x="36" y="190"/>
                  </a:lnTo>
                  <a:lnTo>
                    <a:pt x="36" y="188"/>
                  </a:lnTo>
                  <a:lnTo>
                    <a:pt x="36" y="186"/>
                  </a:lnTo>
                  <a:lnTo>
                    <a:pt x="38" y="186"/>
                  </a:lnTo>
                  <a:lnTo>
                    <a:pt x="38" y="184"/>
                  </a:lnTo>
                  <a:lnTo>
                    <a:pt x="38" y="182"/>
                  </a:lnTo>
                  <a:lnTo>
                    <a:pt x="40" y="182"/>
                  </a:lnTo>
                  <a:lnTo>
                    <a:pt x="40" y="180"/>
                  </a:lnTo>
                  <a:lnTo>
                    <a:pt x="40" y="178"/>
                  </a:lnTo>
                  <a:lnTo>
                    <a:pt x="42" y="178"/>
                  </a:lnTo>
                  <a:lnTo>
                    <a:pt x="42" y="176"/>
                  </a:lnTo>
                  <a:lnTo>
                    <a:pt x="42" y="174"/>
                  </a:lnTo>
                  <a:lnTo>
                    <a:pt x="44" y="174"/>
                  </a:lnTo>
                  <a:lnTo>
                    <a:pt x="44" y="173"/>
                  </a:lnTo>
                  <a:lnTo>
                    <a:pt x="44" y="171"/>
                  </a:lnTo>
                  <a:lnTo>
                    <a:pt x="42" y="171"/>
                  </a:lnTo>
                  <a:lnTo>
                    <a:pt x="42" y="169"/>
                  </a:lnTo>
                  <a:lnTo>
                    <a:pt x="44" y="169"/>
                  </a:lnTo>
                  <a:lnTo>
                    <a:pt x="44" y="167"/>
                  </a:lnTo>
                  <a:lnTo>
                    <a:pt x="44" y="165"/>
                  </a:lnTo>
                  <a:lnTo>
                    <a:pt x="44" y="163"/>
                  </a:lnTo>
                  <a:lnTo>
                    <a:pt x="46" y="163"/>
                  </a:lnTo>
                  <a:lnTo>
                    <a:pt x="46" y="165"/>
                  </a:lnTo>
                  <a:lnTo>
                    <a:pt x="46" y="167"/>
                  </a:lnTo>
                  <a:lnTo>
                    <a:pt x="48" y="167"/>
                  </a:lnTo>
                  <a:lnTo>
                    <a:pt x="48" y="165"/>
                  </a:lnTo>
                  <a:lnTo>
                    <a:pt x="48" y="163"/>
                  </a:lnTo>
                  <a:lnTo>
                    <a:pt x="48" y="161"/>
                  </a:lnTo>
                  <a:lnTo>
                    <a:pt x="46" y="161"/>
                  </a:lnTo>
                  <a:lnTo>
                    <a:pt x="46" y="159"/>
                  </a:lnTo>
                  <a:lnTo>
                    <a:pt x="46" y="157"/>
                  </a:lnTo>
                  <a:lnTo>
                    <a:pt x="48" y="157"/>
                  </a:lnTo>
                  <a:lnTo>
                    <a:pt x="48" y="155"/>
                  </a:lnTo>
                  <a:lnTo>
                    <a:pt x="48" y="153"/>
                  </a:lnTo>
                  <a:lnTo>
                    <a:pt x="48" y="151"/>
                  </a:lnTo>
                  <a:lnTo>
                    <a:pt x="48" y="150"/>
                  </a:lnTo>
                  <a:lnTo>
                    <a:pt x="52" y="148"/>
                  </a:lnTo>
                  <a:lnTo>
                    <a:pt x="52" y="146"/>
                  </a:lnTo>
                  <a:lnTo>
                    <a:pt x="54" y="146"/>
                  </a:lnTo>
                  <a:lnTo>
                    <a:pt x="55" y="146"/>
                  </a:lnTo>
                  <a:lnTo>
                    <a:pt x="57" y="146"/>
                  </a:lnTo>
                  <a:lnTo>
                    <a:pt x="59" y="146"/>
                  </a:lnTo>
                  <a:lnTo>
                    <a:pt x="59" y="148"/>
                  </a:lnTo>
                  <a:lnTo>
                    <a:pt x="61" y="148"/>
                  </a:lnTo>
                  <a:lnTo>
                    <a:pt x="63" y="148"/>
                  </a:lnTo>
                  <a:lnTo>
                    <a:pt x="63" y="150"/>
                  </a:lnTo>
                  <a:lnTo>
                    <a:pt x="65" y="150"/>
                  </a:lnTo>
                  <a:lnTo>
                    <a:pt x="65" y="148"/>
                  </a:lnTo>
                  <a:lnTo>
                    <a:pt x="65" y="150"/>
                  </a:lnTo>
                  <a:lnTo>
                    <a:pt x="65" y="148"/>
                  </a:lnTo>
                  <a:lnTo>
                    <a:pt x="65" y="150"/>
                  </a:lnTo>
                  <a:lnTo>
                    <a:pt x="67" y="150"/>
                  </a:lnTo>
                  <a:lnTo>
                    <a:pt x="67" y="148"/>
                  </a:lnTo>
                  <a:lnTo>
                    <a:pt x="69" y="148"/>
                  </a:lnTo>
                  <a:lnTo>
                    <a:pt x="69" y="150"/>
                  </a:lnTo>
                  <a:lnTo>
                    <a:pt x="71" y="150"/>
                  </a:lnTo>
                  <a:lnTo>
                    <a:pt x="71" y="148"/>
                  </a:lnTo>
                  <a:lnTo>
                    <a:pt x="71" y="150"/>
                  </a:lnTo>
                  <a:lnTo>
                    <a:pt x="71" y="148"/>
                  </a:lnTo>
                  <a:lnTo>
                    <a:pt x="71" y="150"/>
                  </a:lnTo>
                  <a:lnTo>
                    <a:pt x="71" y="148"/>
                  </a:lnTo>
                  <a:lnTo>
                    <a:pt x="71" y="150"/>
                  </a:lnTo>
                  <a:lnTo>
                    <a:pt x="71" y="148"/>
                  </a:lnTo>
                  <a:lnTo>
                    <a:pt x="71" y="150"/>
                  </a:lnTo>
                  <a:lnTo>
                    <a:pt x="71" y="148"/>
                  </a:lnTo>
                  <a:lnTo>
                    <a:pt x="71" y="150"/>
                  </a:lnTo>
                  <a:lnTo>
                    <a:pt x="71" y="148"/>
                  </a:lnTo>
                  <a:lnTo>
                    <a:pt x="71" y="150"/>
                  </a:lnTo>
                  <a:lnTo>
                    <a:pt x="71" y="148"/>
                  </a:lnTo>
                  <a:lnTo>
                    <a:pt x="73" y="148"/>
                  </a:lnTo>
                  <a:lnTo>
                    <a:pt x="71" y="148"/>
                  </a:lnTo>
                  <a:lnTo>
                    <a:pt x="73" y="148"/>
                  </a:lnTo>
                  <a:lnTo>
                    <a:pt x="71" y="148"/>
                  </a:lnTo>
                  <a:lnTo>
                    <a:pt x="73" y="148"/>
                  </a:lnTo>
                  <a:lnTo>
                    <a:pt x="71" y="148"/>
                  </a:lnTo>
                  <a:lnTo>
                    <a:pt x="71" y="150"/>
                  </a:lnTo>
                  <a:lnTo>
                    <a:pt x="71" y="148"/>
                  </a:lnTo>
                  <a:lnTo>
                    <a:pt x="71" y="146"/>
                  </a:lnTo>
                  <a:lnTo>
                    <a:pt x="73" y="146"/>
                  </a:lnTo>
                  <a:lnTo>
                    <a:pt x="75" y="146"/>
                  </a:lnTo>
                  <a:lnTo>
                    <a:pt x="75" y="144"/>
                  </a:lnTo>
                  <a:lnTo>
                    <a:pt x="77" y="144"/>
                  </a:lnTo>
                  <a:lnTo>
                    <a:pt x="78" y="144"/>
                  </a:lnTo>
                  <a:lnTo>
                    <a:pt x="80" y="144"/>
                  </a:lnTo>
                  <a:lnTo>
                    <a:pt x="78" y="144"/>
                  </a:lnTo>
                  <a:lnTo>
                    <a:pt x="78" y="146"/>
                  </a:lnTo>
                  <a:lnTo>
                    <a:pt x="80" y="146"/>
                  </a:lnTo>
                  <a:lnTo>
                    <a:pt x="80" y="144"/>
                  </a:lnTo>
                  <a:lnTo>
                    <a:pt x="80" y="146"/>
                  </a:lnTo>
                  <a:lnTo>
                    <a:pt x="82" y="146"/>
                  </a:lnTo>
                  <a:lnTo>
                    <a:pt x="80" y="146"/>
                  </a:lnTo>
                  <a:lnTo>
                    <a:pt x="78" y="146"/>
                  </a:lnTo>
                  <a:lnTo>
                    <a:pt x="78" y="148"/>
                  </a:lnTo>
                  <a:lnTo>
                    <a:pt x="78" y="146"/>
                  </a:lnTo>
                  <a:lnTo>
                    <a:pt x="78" y="148"/>
                  </a:lnTo>
                  <a:lnTo>
                    <a:pt x="77" y="148"/>
                  </a:lnTo>
                  <a:lnTo>
                    <a:pt x="77" y="146"/>
                  </a:lnTo>
                  <a:lnTo>
                    <a:pt x="77" y="148"/>
                  </a:lnTo>
                  <a:lnTo>
                    <a:pt x="75" y="148"/>
                  </a:lnTo>
                  <a:lnTo>
                    <a:pt x="77" y="148"/>
                  </a:lnTo>
                  <a:lnTo>
                    <a:pt x="75" y="148"/>
                  </a:lnTo>
                  <a:lnTo>
                    <a:pt x="77" y="148"/>
                  </a:lnTo>
                  <a:lnTo>
                    <a:pt x="78" y="148"/>
                  </a:lnTo>
                  <a:lnTo>
                    <a:pt x="80" y="148"/>
                  </a:lnTo>
                  <a:lnTo>
                    <a:pt x="82" y="148"/>
                  </a:lnTo>
                  <a:lnTo>
                    <a:pt x="82" y="146"/>
                  </a:lnTo>
                  <a:lnTo>
                    <a:pt x="80" y="146"/>
                  </a:lnTo>
                  <a:lnTo>
                    <a:pt x="82" y="146"/>
                  </a:lnTo>
                  <a:lnTo>
                    <a:pt x="84" y="146"/>
                  </a:lnTo>
                  <a:lnTo>
                    <a:pt x="86" y="146"/>
                  </a:lnTo>
                  <a:lnTo>
                    <a:pt x="86" y="144"/>
                  </a:lnTo>
                  <a:lnTo>
                    <a:pt x="88" y="144"/>
                  </a:lnTo>
                  <a:lnTo>
                    <a:pt x="90" y="144"/>
                  </a:lnTo>
                  <a:lnTo>
                    <a:pt x="88" y="144"/>
                  </a:lnTo>
                  <a:lnTo>
                    <a:pt x="88" y="142"/>
                  </a:lnTo>
                  <a:lnTo>
                    <a:pt x="88" y="144"/>
                  </a:lnTo>
                  <a:lnTo>
                    <a:pt x="90" y="144"/>
                  </a:lnTo>
                  <a:lnTo>
                    <a:pt x="88" y="144"/>
                  </a:lnTo>
                  <a:lnTo>
                    <a:pt x="88" y="146"/>
                  </a:lnTo>
                  <a:lnTo>
                    <a:pt x="88" y="148"/>
                  </a:lnTo>
                  <a:lnTo>
                    <a:pt x="86" y="148"/>
                  </a:lnTo>
                  <a:lnTo>
                    <a:pt x="84" y="148"/>
                  </a:lnTo>
                  <a:lnTo>
                    <a:pt x="86" y="148"/>
                  </a:lnTo>
                  <a:lnTo>
                    <a:pt x="86" y="150"/>
                  </a:lnTo>
                  <a:lnTo>
                    <a:pt x="84" y="150"/>
                  </a:lnTo>
                  <a:lnTo>
                    <a:pt x="86" y="150"/>
                  </a:lnTo>
                  <a:lnTo>
                    <a:pt x="88" y="150"/>
                  </a:lnTo>
                  <a:lnTo>
                    <a:pt x="88" y="148"/>
                  </a:lnTo>
                  <a:lnTo>
                    <a:pt x="88" y="150"/>
                  </a:lnTo>
                  <a:lnTo>
                    <a:pt x="88" y="148"/>
                  </a:lnTo>
                  <a:lnTo>
                    <a:pt x="90" y="148"/>
                  </a:lnTo>
                  <a:lnTo>
                    <a:pt x="90" y="146"/>
                  </a:lnTo>
                  <a:lnTo>
                    <a:pt x="90" y="148"/>
                  </a:lnTo>
                  <a:lnTo>
                    <a:pt x="92" y="148"/>
                  </a:lnTo>
                  <a:lnTo>
                    <a:pt x="92" y="146"/>
                  </a:lnTo>
                  <a:lnTo>
                    <a:pt x="92" y="144"/>
                  </a:lnTo>
                  <a:lnTo>
                    <a:pt x="94" y="144"/>
                  </a:lnTo>
                  <a:lnTo>
                    <a:pt x="92" y="144"/>
                  </a:lnTo>
                  <a:lnTo>
                    <a:pt x="92" y="146"/>
                  </a:lnTo>
                  <a:lnTo>
                    <a:pt x="94" y="146"/>
                  </a:lnTo>
                  <a:lnTo>
                    <a:pt x="94" y="144"/>
                  </a:lnTo>
                  <a:lnTo>
                    <a:pt x="96" y="144"/>
                  </a:lnTo>
                  <a:lnTo>
                    <a:pt x="96" y="142"/>
                  </a:lnTo>
                  <a:lnTo>
                    <a:pt x="98" y="142"/>
                  </a:lnTo>
                  <a:lnTo>
                    <a:pt x="96" y="142"/>
                  </a:lnTo>
                  <a:lnTo>
                    <a:pt x="94" y="142"/>
                  </a:lnTo>
                  <a:lnTo>
                    <a:pt x="94" y="140"/>
                  </a:lnTo>
                  <a:lnTo>
                    <a:pt x="96" y="140"/>
                  </a:lnTo>
                  <a:lnTo>
                    <a:pt x="98" y="140"/>
                  </a:lnTo>
                  <a:lnTo>
                    <a:pt x="100" y="140"/>
                  </a:lnTo>
                  <a:lnTo>
                    <a:pt x="100" y="138"/>
                  </a:lnTo>
                  <a:lnTo>
                    <a:pt x="102" y="138"/>
                  </a:lnTo>
                  <a:lnTo>
                    <a:pt x="103" y="138"/>
                  </a:lnTo>
                  <a:lnTo>
                    <a:pt x="105" y="138"/>
                  </a:lnTo>
                  <a:lnTo>
                    <a:pt x="107" y="138"/>
                  </a:lnTo>
                  <a:lnTo>
                    <a:pt x="107" y="136"/>
                  </a:lnTo>
                  <a:lnTo>
                    <a:pt x="109" y="136"/>
                  </a:lnTo>
                  <a:lnTo>
                    <a:pt x="111" y="136"/>
                  </a:lnTo>
                  <a:lnTo>
                    <a:pt x="111" y="134"/>
                  </a:lnTo>
                  <a:lnTo>
                    <a:pt x="113" y="134"/>
                  </a:lnTo>
                  <a:lnTo>
                    <a:pt x="111" y="134"/>
                  </a:lnTo>
                  <a:lnTo>
                    <a:pt x="111" y="136"/>
                  </a:lnTo>
                  <a:lnTo>
                    <a:pt x="113" y="136"/>
                  </a:lnTo>
                  <a:lnTo>
                    <a:pt x="111" y="136"/>
                  </a:lnTo>
                  <a:lnTo>
                    <a:pt x="113" y="136"/>
                  </a:lnTo>
                  <a:lnTo>
                    <a:pt x="111" y="136"/>
                  </a:lnTo>
                  <a:lnTo>
                    <a:pt x="109" y="136"/>
                  </a:lnTo>
                  <a:lnTo>
                    <a:pt x="111" y="136"/>
                  </a:lnTo>
                  <a:lnTo>
                    <a:pt x="111" y="138"/>
                  </a:lnTo>
                  <a:lnTo>
                    <a:pt x="113" y="138"/>
                  </a:lnTo>
                  <a:lnTo>
                    <a:pt x="113" y="136"/>
                  </a:lnTo>
                  <a:lnTo>
                    <a:pt x="115" y="136"/>
                  </a:lnTo>
                  <a:lnTo>
                    <a:pt x="117" y="136"/>
                  </a:lnTo>
                  <a:lnTo>
                    <a:pt x="117" y="138"/>
                  </a:lnTo>
                  <a:lnTo>
                    <a:pt x="115" y="138"/>
                  </a:lnTo>
                  <a:lnTo>
                    <a:pt x="115" y="140"/>
                  </a:lnTo>
                  <a:lnTo>
                    <a:pt x="113" y="140"/>
                  </a:lnTo>
                  <a:lnTo>
                    <a:pt x="113" y="142"/>
                  </a:lnTo>
                  <a:lnTo>
                    <a:pt x="113" y="140"/>
                  </a:lnTo>
                  <a:lnTo>
                    <a:pt x="113" y="142"/>
                  </a:lnTo>
                  <a:lnTo>
                    <a:pt x="111" y="142"/>
                  </a:lnTo>
                  <a:lnTo>
                    <a:pt x="111" y="144"/>
                  </a:lnTo>
                  <a:lnTo>
                    <a:pt x="113" y="144"/>
                  </a:lnTo>
                  <a:lnTo>
                    <a:pt x="111" y="144"/>
                  </a:lnTo>
                  <a:lnTo>
                    <a:pt x="113" y="144"/>
                  </a:lnTo>
                  <a:lnTo>
                    <a:pt x="111" y="144"/>
                  </a:lnTo>
                  <a:lnTo>
                    <a:pt x="113" y="144"/>
                  </a:lnTo>
                  <a:lnTo>
                    <a:pt x="113" y="142"/>
                  </a:lnTo>
                  <a:lnTo>
                    <a:pt x="115" y="142"/>
                  </a:lnTo>
                  <a:lnTo>
                    <a:pt x="117" y="142"/>
                  </a:lnTo>
                  <a:lnTo>
                    <a:pt x="119" y="142"/>
                  </a:lnTo>
                  <a:lnTo>
                    <a:pt x="117" y="142"/>
                  </a:lnTo>
                  <a:lnTo>
                    <a:pt x="119" y="142"/>
                  </a:lnTo>
                  <a:lnTo>
                    <a:pt x="117" y="142"/>
                  </a:lnTo>
                  <a:lnTo>
                    <a:pt x="119" y="142"/>
                  </a:lnTo>
                  <a:lnTo>
                    <a:pt x="119" y="140"/>
                  </a:lnTo>
                  <a:lnTo>
                    <a:pt x="117" y="140"/>
                  </a:lnTo>
                  <a:lnTo>
                    <a:pt x="119" y="140"/>
                  </a:lnTo>
                  <a:lnTo>
                    <a:pt x="117" y="140"/>
                  </a:lnTo>
                  <a:lnTo>
                    <a:pt x="117" y="142"/>
                  </a:lnTo>
                  <a:lnTo>
                    <a:pt x="117" y="140"/>
                  </a:lnTo>
                  <a:lnTo>
                    <a:pt x="115" y="140"/>
                  </a:lnTo>
                  <a:lnTo>
                    <a:pt x="115" y="138"/>
                  </a:lnTo>
                  <a:lnTo>
                    <a:pt x="115" y="140"/>
                  </a:lnTo>
                  <a:lnTo>
                    <a:pt x="115" y="138"/>
                  </a:lnTo>
                  <a:lnTo>
                    <a:pt x="117" y="138"/>
                  </a:lnTo>
                  <a:lnTo>
                    <a:pt x="115" y="138"/>
                  </a:lnTo>
                  <a:lnTo>
                    <a:pt x="117" y="138"/>
                  </a:lnTo>
                  <a:lnTo>
                    <a:pt x="117" y="140"/>
                  </a:lnTo>
                  <a:lnTo>
                    <a:pt x="117" y="138"/>
                  </a:lnTo>
                  <a:lnTo>
                    <a:pt x="117" y="140"/>
                  </a:lnTo>
                  <a:lnTo>
                    <a:pt x="117" y="138"/>
                  </a:lnTo>
                  <a:lnTo>
                    <a:pt x="119" y="138"/>
                  </a:lnTo>
                  <a:lnTo>
                    <a:pt x="119" y="136"/>
                  </a:lnTo>
                  <a:lnTo>
                    <a:pt x="121" y="136"/>
                  </a:lnTo>
                  <a:lnTo>
                    <a:pt x="121" y="138"/>
                  </a:lnTo>
                  <a:lnTo>
                    <a:pt x="119" y="138"/>
                  </a:lnTo>
                  <a:lnTo>
                    <a:pt x="121" y="138"/>
                  </a:lnTo>
                  <a:lnTo>
                    <a:pt x="119" y="138"/>
                  </a:lnTo>
                  <a:lnTo>
                    <a:pt x="121" y="138"/>
                  </a:lnTo>
                  <a:lnTo>
                    <a:pt x="121" y="136"/>
                  </a:lnTo>
                  <a:lnTo>
                    <a:pt x="121" y="138"/>
                  </a:lnTo>
                  <a:lnTo>
                    <a:pt x="121" y="136"/>
                  </a:lnTo>
                  <a:lnTo>
                    <a:pt x="121" y="138"/>
                  </a:lnTo>
                  <a:lnTo>
                    <a:pt x="121" y="136"/>
                  </a:lnTo>
                  <a:lnTo>
                    <a:pt x="121" y="138"/>
                  </a:lnTo>
                  <a:lnTo>
                    <a:pt x="123" y="138"/>
                  </a:lnTo>
                  <a:lnTo>
                    <a:pt x="121" y="138"/>
                  </a:lnTo>
                  <a:lnTo>
                    <a:pt x="123" y="138"/>
                  </a:lnTo>
                  <a:lnTo>
                    <a:pt x="123" y="136"/>
                  </a:lnTo>
                  <a:lnTo>
                    <a:pt x="123" y="138"/>
                  </a:lnTo>
                  <a:lnTo>
                    <a:pt x="121" y="138"/>
                  </a:lnTo>
                  <a:lnTo>
                    <a:pt x="123" y="138"/>
                  </a:lnTo>
                  <a:lnTo>
                    <a:pt x="123" y="136"/>
                  </a:lnTo>
                  <a:lnTo>
                    <a:pt x="125" y="136"/>
                  </a:lnTo>
                  <a:lnTo>
                    <a:pt x="125" y="134"/>
                  </a:lnTo>
                  <a:lnTo>
                    <a:pt x="126" y="134"/>
                  </a:lnTo>
                  <a:lnTo>
                    <a:pt x="128" y="134"/>
                  </a:lnTo>
                  <a:lnTo>
                    <a:pt x="128" y="132"/>
                  </a:lnTo>
                  <a:lnTo>
                    <a:pt x="130" y="132"/>
                  </a:lnTo>
                  <a:lnTo>
                    <a:pt x="130" y="130"/>
                  </a:lnTo>
                  <a:lnTo>
                    <a:pt x="130" y="128"/>
                  </a:lnTo>
                  <a:lnTo>
                    <a:pt x="130" y="130"/>
                  </a:lnTo>
                  <a:lnTo>
                    <a:pt x="130" y="128"/>
                  </a:lnTo>
                  <a:lnTo>
                    <a:pt x="132" y="128"/>
                  </a:lnTo>
                  <a:lnTo>
                    <a:pt x="132" y="126"/>
                  </a:lnTo>
                  <a:lnTo>
                    <a:pt x="132" y="125"/>
                  </a:lnTo>
                  <a:lnTo>
                    <a:pt x="134" y="125"/>
                  </a:lnTo>
                  <a:lnTo>
                    <a:pt x="134" y="123"/>
                  </a:lnTo>
                  <a:lnTo>
                    <a:pt x="136" y="123"/>
                  </a:lnTo>
                  <a:lnTo>
                    <a:pt x="136" y="121"/>
                  </a:lnTo>
                  <a:lnTo>
                    <a:pt x="136" y="119"/>
                  </a:lnTo>
                  <a:lnTo>
                    <a:pt x="136" y="117"/>
                  </a:lnTo>
                  <a:lnTo>
                    <a:pt x="138" y="117"/>
                  </a:lnTo>
                  <a:lnTo>
                    <a:pt x="138" y="115"/>
                  </a:lnTo>
                  <a:lnTo>
                    <a:pt x="138" y="113"/>
                  </a:lnTo>
                  <a:lnTo>
                    <a:pt x="140" y="113"/>
                  </a:lnTo>
                  <a:lnTo>
                    <a:pt x="140" y="111"/>
                  </a:lnTo>
                  <a:lnTo>
                    <a:pt x="140" y="113"/>
                  </a:lnTo>
                  <a:close/>
                  <a:moveTo>
                    <a:pt x="75" y="150"/>
                  </a:moveTo>
                  <a:lnTo>
                    <a:pt x="75" y="148"/>
                  </a:lnTo>
                  <a:lnTo>
                    <a:pt x="75" y="150"/>
                  </a:lnTo>
                  <a:lnTo>
                    <a:pt x="75" y="148"/>
                  </a:lnTo>
                  <a:lnTo>
                    <a:pt x="75" y="150"/>
                  </a:lnTo>
                  <a:close/>
                  <a:moveTo>
                    <a:pt x="65" y="150"/>
                  </a:moveTo>
                  <a:lnTo>
                    <a:pt x="63" y="150"/>
                  </a:lnTo>
                  <a:lnTo>
                    <a:pt x="65" y="150"/>
                  </a:lnTo>
                  <a:close/>
                  <a:moveTo>
                    <a:pt x="173" y="132"/>
                  </a:moveTo>
                  <a:lnTo>
                    <a:pt x="173" y="130"/>
                  </a:lnTo>
                  <a:lnTo>
                    <a:pt x="173" y="132"/>
                  </a:lnTo>
                  <a:close/>
                  <a:moveTo>
                    <a:pt x="46" y="322"/>
                  </a:moveTo>
                  <a:lnTo>
                    <a:pt x="46" y="324"/>
                  </a:lnTo>
                  <a:lnTo>
                    <a:pt x="46" y="322"/>
                  </a:lnTo>
                  <a:close/>
                  <a:moveTo>
                    <a:pt x="165" y="17"/>
                  </a:moveTo>
                  <a:lnTo>
                    <a:pt x="167" y="17"/>
                  </a:lnTo>
                  <a:lnTo>
                    <a:pt x="167" y="19"/>
                  </a:lnTo>
                  <a:lnTo>
                    <a:pt x="165" y="19"/>
                  </a:lnTo>
                  <a:lnTo>
                    <a:pt x="167" y="19"/>
                  </a:lnTo>
                  <a:lnTo>
                    <a:pt x="165" y="21"/>
                  </a:lnTo>
                  <a:lnTo>
                    <a:pt x="165" y="23"/>
                  </a:lnTo>
                  <a:lnTo>
                    <a:pt x="167" y="23"/>
                  </a:lnTo>
                  <a:lnTo>
                    <a:pt x="165" y="23"/>
                  </a:lnTo>
                  <a:lnTo>
                    <a:pt x="165" y="25"/>
                  </a:lnTo>
                  <a:lnTo>
                    <a:pt x="165" y="27"/>
                  </a:lnTo>
                  <a:lnTo>
                    <a:pt x="165" y="25"/>
                  </a:lnTo>
                  <a:lnTo>
                    <a:pt x="167" y="25"/>
                  </a:lnTo>
                  <a:lnTo>
                    <a:pt x="167" y="23"/>
                  </a:lnTo>
                  <a:lnTo>
                    <a:pt x="167" y="25"/>
                  </a:lnTo>
                  <a:lnTo>
                    <a:pt x="167" y="27"/>
                  </a:lnTo>
                  <a:lnTo>
                    <a:pt x="167" y="25"/>
                  </a:lnTo>
                  <a:lnTo>
                    <a:pt x="167" y="27"/>
                  </a:lnTo>
                  <a:lnTo>
                    <a:pt x="167" y="25"/>
                  </a:lnTo>
                  <a:lnTo>
                    <a:pt x="169" y="25"/>
                  </a:lnTo>
                  <a:lnTo>
                    <a:pt x="167" y="25"/>
                  </a:lnTo>
                  <a:lnTo>
                    <a:pt x="167" y="27"/>
                  </a:lnTo>
                  <a:lnTo>
                    <a:pt x="169" y="27"/>
                  </a:lnTo>
                  <a:lnTo>
                    <a:pt x="169" y="25"/>
                  </a:lnTo>
                  <a:lnTo>
                    <a:pt x="171" y="25"/>
                  </a:lnTo>
                  <a:lnTo>
                    <a:pt x="173" y="25"/>
                  </a:lnTo>
                  <a:lnTo>
                    <a:pt x="173" y="23"/>
                  </a:lnTo>
                  <a:lnTo>
                    <a:pt x="171" y="23"/>
                  </a:lnTo>
                  <a:lnTo>
                    <a:pt x="173" y="23"/>
                  </a:lnTo>
                  <a:lnTo>
                    <a:pt x="173" y="25"/>
                  </a:lnTo>
                  <a:lnTo>
                    <a:pt x="174" y="25"/>
                  </a:lnTo>
                  <a:lnTo>
                    <a:pt x="174" y="27"/>
                  </a:lnTo>
                  <a:lnTo>
                    <a:pt x="174" y="29"/>
                  </a:lnTo>
                  <a:lnTo>
                    <a:pt x="176" y="29"/>
                  </a:lnTo>
                  <a:lnTo>
                    <a:pt x="176" y="30"/>
                  </a:lnTo>
                  <a:lnTo>
                    <a:pt x="176" y="32"/>
                  </a:lnTo>
                  <a:lnTo>
                    <a:pt x="176" y="34"/>
                  </a:lnTo>
                  <a:lnTo>
                    <a:pt x="176" y="32"/>
                  </a:lnTo>
                  <a:lnTo>
                    <a:pt x="176" y="34"/>
                  </a:lnTo>
                  <a:lnTo>
                    <a:pt x="178" y="34"/>
                  </a:lnTo>
                  <a:lnTo>
                    <a:pt x="176" y="34"/>
                  </a:lnTo>
                  <a:lnTo>
                    <a:pt x="176" y="36"/>
                  </a:lnTo>
                  <a:lnTo>
                    <a:pt x="176" y="38"/>
                  </a:lnTo>
                  <a:lnTo>
                    <a:pt x="176" y="36"/>
                  </a:lnTo>
                  <a:lnTo>
                    <a:pt x="178" y="36"/>
                  </a:lnTo>
                  <a:lnTo>
                    <a:pt x="176" y="36"/>
                  </a:lnTo>
                  <a:lnTo>
                    <a:pt x="176" y="38"/>
                  </a:lnTo>
                  <a:lnTo>
                    <a:pt x="176" y="36"/>
                  </a:lnTo>
                  <a:lnTo>
                    <a:pt x="176" y="38"/>
                  </a:lnTo>
                  <a:lnTo>
                    <a:pt x="178" y="38"/>
                  </a:lnTo>
                  <a:lnTo>
                    <a:pt x="176" y="38"/>
                  </a:lnTo>
                  <a:lnTo>
                    <a:pt x="178" y="38"/>
                  </a:lnTo>
                  <a:lnTo>
                    <a:pt x="176" y="38"/>
                  </a:lnTo>
                  <a:lnTo>
                    <a:pt x="176" y="40"/>
                  </a:lnTo>
                  <a:lnTo>
                    <a:pt x="176" y="38"/>
                  </a:lnTo>
                  <a:lnTo>
                    <a:pt x="178" y="38"/>
                  </a:lnTo>
                  <a:lnTo>
                    <a:pt x="180" y="38"/>
                  </a:lnTo>
                  <a:lnTo>
                    <a:pt x="180" y="40"/>
                  </a:lnTo>
                  <a:lnTo>
                    <a:pt x="180" y="42"/>
                  </a:lnTo>
                  <a:lnTo>
                    <a:pt x="180" y="44"/>
                  </a:lnTo>
                  <a:lnTo>
                    <a:pt x="180" y="46"/>
                  </a:lnTo>
                  <a:lnTo>
                    <a:pt x="180" y="48"/>
                  </a:lnTo>
                  <a:lnTo>
                    <a:pt x="180" y="50"/>
                  </a:lnTo>
                  <a:lnTo>
                    <a:pt x="180" y="52"/>
                  </a:lnTo>
                  <a:lnTo>
                    <a:pt x="180" y="54"/>
                  </a:lnTo>
                  <a:lnTo>
                    <a:pt x="180" y="55"/>
                  </a:lnTo>
                  <a:lnTo>
                    <a:pt x="180" y="57"/>
                  </a:lnTo>
                  <a:lnTo>
                    <a:pt x="182" y="57"/>
                  </a:lnTo>
                  <a:lnTo>
                    <a:pt x="180" y="57"/>
                  </a:lnTo>
                  <a:lnTo>
                    <a:pt x="182" y="57"/>
                  </a:lnTo>
                  <a:lnTo>
                    <a:pt x="182" y="59"/>
                  </a:lnTo>
                  <a:lnTo>
                    <a:pt x="180" y="59"/>
                  </a:lnTo>
                  <a:lnTo>
                    <a:pt x="182" y="59"/>
                  </a:lnTo>
                  <a:lnTo>
                    <a:pt x="182" y="61"/>
                  </a:lnTo>
                  <a:lnTo>
                    <a:pt x="182" y="59"/>
                  </a:lnTo>
                  <a:lnTo>
                    <a:pt x="182" y="61"/>
                  </a:lnTo>
                  <a:lnTo>
                    <a:pt x="182" y="63"/>
                  </a:lnTo>
                  <a:lnTo>
                    <a:pt x="180" y="63"/>
                  </a:lnTo>
                  <a:lnTo>
                    <a:pt x="182" y="63"/>
                  </a:lnTo>
                  <a:lnTo>
                    <a:pt x="180" y="63"/>
                  </a:lnTo>
                  <a:lnTo>
                    <a:pt x="180" y="65"/>
                  </a:lnTo>
                  <a:lnTo>
                    <a:pt x="182" y="65"/>
                  </a:lnTo>
                  <a:lnTo>
                    <a:pt x="182" y="67"/>
                  </a:lnTo>
                  <a:lnTo>
                    <a:pt x="182" y="65"/>
                  </a:lnTo>
                  <a:lnTo>
                    <a:pt x="182" y="67"/>
                  </a:lnTo>
                  <a:lnTo>
                    <a:pt x="182" y="65"/>
                  </a:lnTo>
                  <a:lnTo>
                    <a:pt x="182" y="63"/>
                  </a:lnTo>
                  <a:lnTo>
                    <a:pt x="182" y="61"/>
                  </a:lnTo>
                  <a:lnTo>
                    <a:pt x="182" y="59"/>
                  </a:lnTo>
                  <a:lnTo>
                    <a:pt x="184" y="59"/>
                  </a:lnTo>
                  <a:lnTo>
                    <a:pt x="184" y="57"/>
                  </a:lnTo>
                  <a:lnTo>
                    <a:pt x="184" y="55"/>
                  </a:lnTo>
                  <a:lnTo>
                    <a:pt x="186" y="55"/>
                  </a:lnTo>
                  <a:lnTo>
                    <a:pt x="186" y="57"/>
                  </a:lnTo>
                  <a:lnTo>
                    <a:pt x="186" y="59"/>
                  </a:lnTo>
                  <a:lnTo>
                    <a:pt x="186" y="61"/>
                  </a:lnTo>
                  <a:lnTo>
                    <a:pt x="186" y="63"/>
                  </a:lnTo>
                  <a:lnTo>
                    <a:pt x="186" y="65"/>
                  </a:lnTo>
                  <a:lnTo>
                    <a:pt x="184" y="65"/>
                  </a:lnTo>
                  <a:lnTo>
                    <a:pt x="184" y="63"/>
                  </a:lnTo>
                  <a:lnTo>
                    <a:pt x="184" y="65"/>
                  </a:lnTo>
                  <a:lnTo>
                    <a:pt x="184" y="67"/>
                  </a:lnTo>
                  <a:lnTo>
                    <a:pt x="184" y="69"/>
                  </a:lnTo>
                  <a:lnTo>
                    <a:pt x="184" y="71"/>
                  </a:lnTo>
                  <a:lnTo>
                    <a:pt x="182" y="71"/>
                  </a:lnTo>
                  <a:lnTo>
                    <a:pt x="184" y="71"/>
                  </a:lnTo>
                  <a:lnTo>
                    <a:pt x="182" y="71"/>
                  </a:lnTo>
                  <a:lnTo>
                    <a:pt x="184" y="71"/>
                  </a:lnTo>
                  <a:lnTo>
                    <a:pt x="184" y="73"/>
                  </a:lnTo>
                  <a:lnTo>
                    <a:pt x="182" y="73"/>
                  </a:lnTo>
                  <a:lnTo>
                    <a:pt x="182" y="75"/>
                  </a:lnTo>
                  <a:lnTo>
                    <a:pt x="180" y="75"/>
                  </a:lnTo>
                  <a:lnTo>
                    <a:pt x="180" y="73"/>
                  </a:lnTo>
                  <a:lnTo>
                    <a:pt x="180" y="75"/>
                  </a:lnTo>
                  <a:lnTo>
                    <a:pt x="180" y="77"/>
                  </a:lnTo>
                  <a:lnTo>
                    <a:pt x="178" y="77"/>
                  </a:lnTo>
                  <a:lnTo>
                    <a:pt x="178" y="78"/>
                  </a:lnTo>
                  <a:lnTo>
                    <a:pt x="176" y="78"/>
                  </a:lnTo>
                  <a:lnTo>
                    <a:pt x="176" y="80"/>
                  </a:lnTo>
                  <a:lnTo>
                    <a:pt x="176" y="78"/>
                  </a:lnTo>
                  <a:lnTo>
                    <a:pt x="176" y="80"/>
                  </a:lnTo>
                  <a:lnTo>
                    <a:pt x="174" y="80"/>
                  </a:lnTo>
                  <a:lnTo>
                    <a:pt x="176" y="80"/>
                  </a:lnTo>
                  <a:lnTo>
                    <a:pt x="176" y="78"/>
                  </a:lnTo>
                  <a:lnTo>
                    <a:pt x="176" y="80"/>
                  </a:lnTo>
                  <a:lnTo>
                    <a:pt x="176" y="78"/>
                  </a:lnTo>
                  <a:lnTo>
                    <a:pt x="174" y="78"/>
                  </a:lnTo>
                  <a:lnTo>
                    <a:pt x="174" y="80"/>
                  </a:lnTo>
                  <a:lnTo>
                    <a:pt x="174" y="82"/>
                  </a:lnTo>
                  <a:lnTo>
                    <a:pt x="174" y="84"/>
                  </a:lnTo>
                  <a:lnTo>
                    <a:pt x="173" y="84"/>
                  </a:lnTo>
                  <a:lnTo>
                    <a:pt x="174" y="84"/>
                  </a:lnTo>
                  <a:lnTo>
                    <a:pt x="173" y="84"/>
                  </a:lnTo>
                  <a:lnTo>
                    <a:pt x="173" y="86"/>
                  </a:lnTo>
                  <a:lnTo>
                    <a:pt x="174" y="86"/>
                  </a:lnTo>
                  <a:lnTo>
                    <a:pt x="173" y="86"/>
                  </a:lnTo>
                  <a:lnTo>
                    <a:pt x="174" y="86"/>
                  </a:lnTo>
                  <a:lnTo>
                    <a:pt x="174" y="88"/>
                  </a:lnTo>
                  <a:lnTo>
                    <a:pt x="173" y="88"/>
                  </a:lnTo>
                  <a:lnTo>
                    <a:pt x="173" y="90"/>
                  </a:lnTo>
                  <a:lnTo>
                    <a:pt x="171" y="90"/>
                  </a:lnTo>
                  <a:lnTo>
                    <a:pt x="171" y="92"/>
                  </a:lnTo>
                  <a:lnTo>
                    <a:pt x="169" y="92"/>
                  </a:lnTo>
                  <a:lnTo>
                    <a:pt x="169" y="90"/>
                  </a:lnTo>
                  <a:lnTo>
                    <a:pt x="169" y="92"/>
                  </a:lnTo>
                  <a:lnTo>
                    <a:pt x="169" y="94"/>
                  </a:lnTo>
                  <a:lnTo>
                    <a:pt x="171" y="94"/>
                  </a:lnTo>
                  <a:lnTo>
                    <a:pt x="169" y="94"/>
                  </a:lnTo>
                  <a:lnTo>
                    <a:pt x="171" y="94"/>
                  </a:lnTo>
                  <a:lnTo>
                    <a:pt x="171" y="92"/>
                  </a:lnTo>
                  <a:lnTo>
                    <a:pt x="173" y="92"/>
                  </a:lnTo>
                  <a:lnTo>
                    <a:pt x="173" y="90"/>
                  </a:lnTo>
                  <a:lnTo>
                    <a:pt x="174" y="90"/>
                  </a:lnTo>
                  <a:lnTo>
                    <a:pt x="174" y="88"/>
                  </a:lnTo>
                  <a:lnTo>
                    <a:pt x="174" y="90"/>
                  </a:lnTo>
                  <a:lnTo>
                    <a:pt x="174" y="88"/>
                  </a:lnTo>
                  <a:lnTo>
                    <a:pt x="174" y="90"/>
                  </a:lnTo>
                  <a:lnTo>
                    <a:pt x="174" y="88"/>
                  </a:lnTo>
                  <a:lnTo>
                    <a:pt x="174" y="86"/>
                  </a:lnTo>
                  <a:lnTo>
                    <a:pt x="174" y="84"/>
                  </a:lnTo>
                  <a:lnTo>
                    <a:pt x="174" y="86"/>
                  </a:lnTo>
                  <a:lnTo>
                    <a:pt x="174" y="84"/>
                  </a:lnTo>
                  <a:lnTo>
                    <a:pt x="176" y="84"/>
                  </a:lnTo>
                  <a:lnTo>
                    <a:pt x="174" y="84"/>
                  </a:lnTo>
                  <a:lnTo>
                    <a:pt x="176" y="84"/>
                  </a:lnTo>
                  <a:lnTo>
                    <a:pt x="174" y="84"/>
                  </a:lnTo>
                  <a:lnTo>
                    <a:pt x="176" y="84"/>
                  </a:lnTo>
                  <a:lnTo>
                    <a:pt x="176" y="82"/>
                  </a:lnTo>
                  <a:lnTo>
                    <a:pt x="176" y="84"/>
                  </a:lnTo>
                  <a:lnTo>
                    <a:pt x="176" y="82"/>
                  </a:lnTo>
                  <a:lnTo>
                    <a:pt x="176" y="84"/>
                  </a:lnTo>
                  <a:lnTo>
                    <a:pt x="176" y="82"/>
                  </a:lnTo>
                  <a:lnTo>
                    <a:pt x="176" y="84"/>
                  </a:lnTo>
                  <a:lnTo>
                    <a:pt x="176" y="82"/>
                  </a:lnTo>
                  <a:lnTo>
                    <a:pt x="174" y="82"/>
                  </a:lnTo>
                  <a:lnTo>
                    <a:pt x="174" y="84"/>
                  </a:lnTo>
                  <a:lnTo>
                    <a:pt x="174" y="82"/>
                  </a:lnTo>
                  <a:lnTo>
                    <a:pt x="174" y="84"/>
                  </a:lnTo>
                  <a:lnTo>
                    <a:pt x="174" y="82"/>
                  </a:lnTo>
                  <a:lnTo>
                    <a:pt x="176" y="82"/>
                  </a:lnTo>
                  <a:lnTo>
                    <a:pt x="176" y="80"/>
                  </a:lnTo>
                  <a:lnTo>
                    <a:pt x="178" y="80"/>
                  </a:lnTo>
                  <a:lnTo>
                    <a:pt x="176" y="80"/>
                  </a:lnTo>
                  <a:lnTo>
                    <a:pt x="178" y="80"/>
                  </a:lnTo>
                  <a:lnTo>
                    <a:pt x="178" y="82"/>
                  </a:lnTo>
                  <a:lnTo>
                    <a:pt x="176" y="82"/>
                  </a:lnTo>
                  <a:lnTo>
                    <a:pt x="178" y="82"/>
                  </a:lnTo>
                  <a:lnTo>
                    <a:pt x="178" y="84"/>
                  </a:lnTo>
                  <a:lnTo>
                    <a:pt x="178" y="82"/>
                  </a:lnTo>
                  <a:lnTo>
                    <a:pt x="178" y="80"/>
                  </a:lnTo>
                  <a:lnTo>
                    <a:pt x="178" y="78"/>
                  </a:lnTo>
                  <a:lnTo>
                    <a:pt x="180" y="78"/>
                  </a:lnTo>
                  <a:lnTo>
                    <a:pt x="180" y="77"/>
                  </a:lnTo>
                  <a:lnTo>
                    <a:pt x="180" y="78"/>
                  </a:lnTo>
                  <a:lnTo>
                    <a:pt x="180" y="77"/>
                  </a:lnTo>
                  <a:lnTo>
                    <a:pt x="180" y="78"/>
                  </a:lnTo>
                  <a:lnTo>
                    <a:pt x="182" y="78"/>
                  </a:lnTo>
                  <a:lnTo>
                    <a:pt x="180" y="78"/>
                  </a:lnTo>
                  <a:lnTo>
                    <a:pt x="180" y="80"/>
                  </a:lnTo>
                  <a:lnTo>
                    <a:pt x="180" y="82"/>
                  </a:lnTo>
                  <a:lnTo>
                    <a:pt x="180" y="84"/>
                  </a:lnTo>
                  <a:lnTo>
                    <a:pt x="182" y="84"/>
                  </a:lnTo>
                  <a:lnTo>
                    <a:pt x="182" y="86"/>
                  </a:lnTo>
                  <a:lnTo>
                    <a:pt x="180" y="86"/>
                  </a:lnTo>
                  <a:lnTo>
                    <a:pt x="180" y="88"/>
                  </a:lnTo>
                  <a:lnTo>
                    <a:pt x="178" y="88"/>
                  </a:lnTo>
                  <a:lnTo>
                    <a:pt x="178" y="90"/>
                  </a:lnTo>
                  <a:lnTo>
                    <a:pt x="178" y="88"/>
                  </a:lnTo>
                  <a:lnTo>
                    <a:pt x="178" y="90"/>
                  </a:lnTo>
                  <a:lnTo>
                    <a:pt x="176" y="90"/>
                  </a:lnTo>
                  <a:lnTo>
                    <a:pt x="178" y="90"/>
                  </a:lnTo>
                  <a:lnTo>
                    <a:pt x="176" y="90"/>
                  </a:lnTo>
                  <a:lnTo>
                    <a:pt x="178" y="90"/>
                  </a:lnTo>
                  <a:lnTo>
                    <a:pt x="176" y="90"/>
                  </a:lnTo>
                  <a:lnTo>
                    <a:pt x="174" y="90"/>
                  </a:lnTo>
                  <a:lnTo>
                    <a:pt x="176" y="90"/>
                  </a:lnTo>
                  <a:lnTo>
                    <a:pt x="174" y="90"/>
                  </a:lnTo>
                  <a:lnTo>
                    <a:pt x="174" y="92"/>
                  </a:lnTo>
                  <a:lnTo>
                    <a:pt x="174" y="90"/>
                  </a:lnTo>
                  <a:lnTo>
                    <a:pt x="176" y="90"/>
                  </a:lnTo>
                  <a:lnTo>
                    <a:pt x="176" y="92"/>
                  </a:lnTo>
                  <a:lnTo>
                    <a:pt x="174" y="92"/>
                  </a:lnTo>
                  <a:lnTo>
                    <a:pt x="176" y="92"/>
                  </a:lnTo>
                  <a:lnTo>
                    <a:pt x="174" y="92"/>
                  </a:lnTo>
                  <a:lnTo>
                    <a:pt x="174" y="94"/>
                  </a:lnTo>
                  <a:lnTo>
                    <a:pt x="174" y="92"/>
                  </a:lnTo>
                  <a:lnTo>
                    <a:pt x="174" y="94"/>
                  </a:lnTo>
                  <a:lnTo>
                    <a:pt x="173" y="94"/>
                  </a:lnTo>
                  <a:lnTo>
                    <a:pt x="174" y="94"/>
                  </a:lnTo>
                  <a:lnTo>
                    <a:pt x="173" y="94"/>
                  </a:lnTo>
                  <a:lnTo>
                    <a:pt x="174" y="94"/>
                  </a:lnTo>
                  <a:lnTo>
                    <a:pt x="173" y="94"/>
                  </a:lnTo>
                  <a:lnTo>
                    <a:pt x="173" y="92"/>
                  </a:lnTo>
                  <a:lnTo>
                    <a:pt x="173" y="94"/>
                  </a:lnTo>
                  <a:lnTo>
                    <a:pt x="174" y="94"/>
                  </a:lnTo>
                  <a:lnTo>
                    <a:pt x="173" y="94"/>
                  </a:lnTo>
                  <a:lnTo>
                    <a:pt x="174" y="94"/>
                  </a:lnTo>
                  <a:lnTo>
                    <a:pt x="174" y="92"/>
                  </a:lnTo>
                  <a:lnTo>
                    <a:pt x="176" y="92"/>
                  </a:lnTo>
                  <a:lnTo>
                    <a:pt x="178" y="92"/>
                  </a:lnTo>
                  <a:lnTo>
                    <a:pt x="180" y="92"/>
                  </a:lnTo>
                  <a:lnTo>
                    <a:pt x="180" y="94"/>
                  </a:lnTo>
                  <a:lnTo>
                    <a:pt x="178" y="94"/>
                  </a:lnTo>
                  <a:lnTo>
                    <a:pt x="178" y="92"/>
                  </a:lnTo>
                  <a:lnTo>
                    <a:pt x="178" y="94"/>
                  </a:lnTo>
                  <a:lnTo>
                    <a:pt x="178" y="92"/>
                  </a:lnTo>
                  <a:lnTo>
                    <a:pt x="178" y="94"/>
                  </a:lnTo>
                  <a:lnTo>
                    <a:pt x="176" y="94"/>
                  </a:lnTo>
                  <a:lnTo>
                    <a:pt x="178" y="94"/>
                  </a:lnTo>
                  <a:lnTo>
                    <a:pt x="176" y="94"/>
                  </a:lnTo>
                  <a:lnTo>
                    <a:pt x="178" y="94"/>
                  </a:lnTo>
                  <a:lnTo>
                    <a:pt x="180" y="94"/>
                  </a:lnTo>
                  <a:lnTo>
                    <a:pt x="180" y="96"/>
                  </a:lnTo>
                  <a:lnTo>
                    <a:pt x="178" y="96"/>
                  </a:lnTo>
                  <a:lnTo>
                    <a:pt x="178" y="94"/>
                  </a:lnTo>
                  <a:lnTo>
                    <a:pt x="178" y="96"/>
                  </a:lnTo>
                  <a:lnTo>
                    <a:pt x="178" y="98"/>
                  </a:lnTo>
                  <a:lnTo>
                    <a:pt x="178" y="96"/>
                  </a:lnTo>
                  <a:lnTo>
                    <a:pt x="178" y="98"/>
                  </a:lnTo>
                  <a:lnTo>
                    <a:pt x="178" y="96"/>
                  </a:lnTo>
                  <a:lnTo>
                    <a:pt x="178" y="98"/>
                  </a:lnTo>
                  <a:lnTo>
                    <a:pt x="176" y="98"/>
                  </a:lnTo>
                  <a:lnTo>
                    <a:pt x="178" y="98"/>
                  </a:lnTo>
                  <a:lnTo>
                    <a:pt x="178" y="96"/>
                  </a:lnTo>
                  <a:lnTo>
                    <a:pt x="176" y="96"/>
                  </a:lnTo>
                  <a:lnTo>
                    <a:pt x="176" y="98"/>
                  </a:lnTo>
                  <a:lnTo>
                    <a:pt x="176" y="96"/>
                  </a:lnTo>
                  <a:lnTo>
                    <a:pt x="176" y="98"/>
                  </a:lnTo>
                  <a:lnTo>
                    <a:pt x="176" y="100"/>
                  </a:lnTo>
                  <a:lnTo>
                    <a:pt x="174" y="100"/>
                  </a:lnTo>
                  <a:lnTo>
                    <a:pt x="174" y="102"/>
                  </a:lnTo>
                  <a:lnTo>
                    <a:pt x="174" y="103"/>
                  </a:lnTo>
                  <a:lnTo>
                    <a:pt x="174" y="105"/>
                  </a:lnTo>
                  <a:lnTo>
                    <a:pt x="174" y="103"/>
                  </a:lnTo>
                  <a:lnTo>
                    <a:pt x="176" y="103"/>
                  </a:lnTo>
                  <a:lnTo>
                    <a:pt x="174" y="103"/>
                  </a:lnTo>
                  <a:lnTo>
                    <a:pt x="176" y="103"/>
                  </a:lnTo>
                  <a:lnTo>
                    <a:pt x="176" y="105"/>
                  </a:lnTo>
                  <a:lnTo>
                    <a:pt x="174" y="105"/>
                  </a:lnTo>
                  <a:lnTo>
                    <a:pt x="174" y="107"/>
                  </a:lnTo>
                  <a:lnTo>
                    <a:pt x="176" y="107"/>
                  </a:lnTo>
                  <a:lnTo>
                    <a:pt x="176" y="105"/>
                  </a:lnTo>
                  <a:lnTo>
                    <a:pt x="178" y="105"/>
                  </a:lnTo>
                  <a:lnTo>
                    <a:pt x="178" y="107"/>
                  </a:lnTo>
                  <a:lnTo>
                    <a:pt x="178" y="105"/>
                  </a:lnTo>
                  <a:lnTo>
                    <a:pt x="178" y="103"/>
                  </a:lnTo>
                  <a:lnTo>
                    <a:pt x="180" y="103"/>
                  </a:lnTo>
                  <a:lnTo>
                    <a:pt x="180" y="102"/>
                  </a:lnTo>
                  <a:lnTo>
                    <a:pt x="180" y="100"/>
                  </a:lnTo>
                  <a:lnTo>
                    <a:pt x="182" y="100"/>
                  </a:lnTo>
                  <a:lnTo>
                    <a:pt x="180" y="100"/>
                  </a:lnTo>
                  <a:lnTo>
                    <a:pt x="182" y="100"/>
                  </a:lnTo>
                  <a:lnTo>
                    <a:pt x="182" y="98"/>
                  </a:lnTo>
                  <a:lnTo>
                    <a:pt x="184" y="98"/>
                  </a:lnTo>
                  <a:lnTo>
                    <a:pt x="186" y="98"/>
                  </a:lnTo>
                  <a:lnTo>
                    <a:pt x="188" y="98"/>
                  </a:lnTo>
                  <a:lnTo>
                    <a:pt x="190" y="100"/>
                  </a:lnTo>
                  <a:lnTo>
                    <a:pt x="188" y="100"/>
                  </a:lnTo>
                  <a:lnTo>
                    <a:pt x="190" y="100"/>
                  </a:lnTo>
                  <a:lnTo>
                    <a:pt x="188" y="100"/>
                  </a:lnTo>
                  <a:lnTo>
                    <a:pt x="190" y="100"/>
                  </a:lnTo>
                  <a:lnTo>
                    <a:pt x="188" y="100"/>
                  </a:lnTo>
                  <a:lnTo>
                    <a:pt x="190" y="100"/>
                  </a:lnTo>
                  <a:lnTo>
                    <a:pt x="190" y="102"/>
                  </a:lnTo>
                  <a:lnTo>
                    <a:pt x="188" y="102"/>
                  </a:lnTo>
                  <a:lnTo>
                    <a:pt x="190" y="102"/>
                  </a:lnTo>
                  <a:lnTo>
                    <a:pt x="188" y="102"/>
                  </a:lnTo>
                  <a:lnTo>
                    <a:pt x="188" y="103"/>
                  </a:lnTo>
                  <a:lnTo>
                    <a:pt x="190" y="103"/>
                  </a:lnTo>
                  <a:lnTo>
                    <a:pt x="190" y="102"/>
                  </a:lnTo>
                  <a:lnTo>
                    <a:pt x="190" y="103"/>
                  </a:lnTo>
                  <a:lnTo>
                    <a:pt x="188" y="103"/>
                  </a:lnTo>
                  <a:lnTo>
                    <a:pt x="188" y="102"/>
                  </a:lnTo>
                  <a:lnTo>
                    <a:pt x="190" y="102"/>
                  </a:lnTo>
                  <a:lnTo>
                    <a:pt x="190" y="100"/>
                  </a:lnTo>
                  <a:lnTo>
                    <a:pt x="192" y="100"/>
                  </a:lnTo>
                  <a:lnTo>
                    <a:pt x="190" y="100"/>
                  </a:lnTo>
                  <a:lnTo>
                    <a:pt x="192" y="100"/>
                  </a:lnTo>
                  <a:lnTo>
                    <a:pt x="190" y="100"/>
                  </a:lnTo>
                  <a:lnTo>
                    <a:pt x="190" y="98"/>
                  </a:lnTo>
                  <a:lnTo>
                    <a:pt x="192" y="98"/>
                  </a:lnTo>
                  <a:lnTo>
                    <a:pt x="192" y="100"/>
                  </a:lnTo>
                  <a:lnTo>
                    <a:pt x="192" y="98"/>
                  </a:lnTo>
                  <a:lnTo>
                    <a:pt x="192" y="96"/>
                  </a:lnTo>
                  <a:lnTo>
                    <a:pt x="190" y="96"/>
                  </a:lnTo>
                  <a:lnTo>
                    <a:pt x="192" y="96"/>
                  </a:lnTo>
                  <a:lnTo>
                    <a:pt x="190" y="96"/>
                  </a:lnTo>
                  <a:lnTo>
                    <a:pt x="192" y="96"/>
                  </a:lnTo>
                  <a:lnTo>
                    <a:pt x="190" y="96"/>
                  </a:lnTo>
                  <a:lnTo>
                    <a:pt x="192" y="96"/>
                  </a:lnTo>
                  <a:lnTo>
                    <a:pt x="190" y="96"/>
                  </a:lnTo>
                  <a:lnTo>
                    <a:pt x="190" y="94"/>
                  </a:lnTo>
                  <a:lnTo>
                    <a:pt x="190" y="92"/>
                  </a:lnTo>
                  <a:lnTo>
                    <a:pt x="190" y="94"/>
                  </a:lnTo>
                  <a:lnTo>
                    <a:pt x="190" y="92"/>
                  </a:lnTo>
                  <a:lnTo>
                    <a:pt x="190" y="90"/>
                  </a:lnTo>
                  <a:lnTo>
                    <a:pt x="192" y="90"/>
                  </a:lnTo>
                  <a:lnTo>
                    <a:pt x="192" y="88"/>
                  </a:lnTo>
                  <a:lnTo>
                    <a:pt x="192" y="86"/>
                  </a:lnTo>
                  <a:lnTo>
                    <a:pt x="192" y="84"/>
                  </a:lnTo>
                  <a:lnTo>
                    <a:pt x="192" y="86"/>
                  </a:lnTo>
                  <a:lnTo>
                    <a:pt x="192" y="84"/>
                  </a:lnTo>
                  <a:lnTo>
                    <a:pt x="194" y="84"/>
                  </a:lnTo>
                  <a:lnTo>
                    <a:pt x="194" y="82"/>
                  </a:lnTo>
                  <a:lnTo>
                    <a:pt x="194" y="80"/>
                  </a:lnTo>
                  <a:lnTo>
                    <a:pt x="194" y="78"/>
                  </a:lnTo>
                  <a:lnTo>
                    <a:pt x="196" y="78"/>
                  </a:lnTo>
                  <a:lnTo>
                    <a:pt x="194" y="78"/>
                  </a:lnTo>
                  <a:lnTo>
                    <a:pt x="196" y="78"/>
                  </a:lnTo>
                  <a:lnTo>
                    <a:pt x="196" y="77"/>
                  </a:lnTo>
                  <a:lnTo>
                    <a:pt x="196" y="75"/>
                  </a:lnTo>
                  <a:lnTo>
                    <a:pt x="196" y="73"/>
                  </a:lnTo>
                  <a:lnTo>
                    <a:pt x="196" y="75"/>
                  </a:lnTo>
                  <a:lnTo>
                    <a:pt x="196" y="73"/>
                  </a:lnTo>
                  <a:lnTo>
                    <a:pt x="196" y="75"/>
                  </a:lnTo>
                  <a:lnTo>
                    <a:pt x="196" y="73"/>
                  </a:lnTo>
                  <a:lnTo>
                    <a:pt x="198" y="73"/>
                  </a:lnTo>
                  <a:lnTo>
                    <a:pt x="198" y="71"/>
                  </a:lnTo>
                  <a:lnTo>
                    <a:pt x="198" y="73"/>
                  </a:lnTo>
                  <a:lnTo>
                    <a:pt x="198" y="71"/>
                  </a:lnTo>
                  <a:lnTo>
                    <a:pt x="198" y="73"/>
                  </a:lnTo>
                  <a:lnTo>
                    <a:pt x="196" y="73"/>
                  </a:lnTo>
                  <a:lnTo>
                    <a:pt x="196" y="75"/>
                  </a:lnTo>
                  <a:lnTo>
                    <a:pt x="196" y="77"/>
                  </a:lnTo>
                  <a:lnTo>
                    <a:pt x="196" y="75"/>
                  </a:lnTo>
                  <a:lnTo>
                    <a:pt x="196" y="77"/>
                  </a:lnTo>
                  <a:lnTo>
                    <a:pt x="194" y="77"/>
                  </a:lnTo>
                  <a:lnTo>
                    <a:pt x="194" y="78"/>
                  </a:lnTo>
                  <a:lnTo>
                    <a:pt x="192" y="78"/>
                  </a:lnTo>
                  <a:lnTo>
                    <a:pt x="192" y="80"/>
                  </a:lnTo>
                  <a:lnTo>
                    <a:pt x="192" y="78"/>
                  </a:lnTo>
                  <a:lnTo>
                    <a:pt x="192" y="80"/>
                  </a:lnTo>
                  <a:lnTo>
                    <a:pt x="192" y="78"/>
                  </a:lnTo>
                  <a:lnTo>
                    <a:pt x="192" y="80"/>
                  </a:lnTo>
                  <a:lnTo>
                    <a:pt x="192" y="78"/>
                  </a:lnTo>
                  <a:lnTo>
                    <a:pt x="192" y="80"/>
                  </a:lnTo>
                  <a:lnTo>
                    <a:pt x="190" y="80"/>
                  </a:lnTo>
                  <a:lnTo>
                    <a:pt x="192" y="80"/>
                  </a:lnTo>
                  <a:lnTo>
                    <a:pt x="190" y="80"/>
                  </a:lnTo>
                  <a:lnTo>
                    <a:pt x="192" y="80"/>
                  </a:lnTo>
                  <a:lnTo>
                    <a:pt x="190" y="80"/>
                  </a:lnTo>
                  <a:lnTo>
                    <a:pt x="190" y="82"/>
                  </a:lnTo>
                  <a:lnTo>
                    <a:pt x="190" y="84"/>
                  </a:lnTo>
                  <a:lnTo>
                    <a:pt x="190" y="82"/>
                  </a:lnTo>
                  <a:lnTo>
                    <a:pt x="190" y="84"/>
                  </a:lnTo>
                  <a:lnTo>
                    <a:pt x="188" y="84"/>
                  </a:lnTo>
                  <a:lnTo>
                    <a:pt x="188" y="86"/>
                  </a:lnTo>
                  <a:lnTo>
                    <a:pt x="186" y="86"/>
                  </a:lnTo>
                  <a:lnTo>
                    <a:pt x="184" y="84"/>
                  </a:lnTo>
                  <a:lnTo>
                    <a:pt x="184" y="86"/>
                  </a:lnTo>
                  <a:lnTo>
                    <a:pt x="182" y="86"/>
                  </a:lnTo>
                  <a:lnTo>
                    <a:pt x="182" y="84"/>
                  </a:lnTo>
                  <a:lnTo>
                    <a:pt x="184" y="84"/>
                  </a:lnTo>
                  <a:lnTo>
                    <a:pt x="184" y="82"/>
                  </a:lnTo>
                  <a:lnTo>
                    <a:pt x="184" y="84"/>
                  </a:lnTo>
                  <a:lnTo>
                    <a:pt x="184" y="82"/>
                  </a:lnTo>
                  <a:lnTo>
                    <a:pt x="184" y="80"/>
                  </a:lnTo>
                  <a:lnTo>
                    <a:pt x="184" y="78"/>
                  </a:lnTo>
                  <a:lnTo>
                    <a:pt x="186" y="78"/>
                  </a:lnTo>
                  <a:lnTo>
                    <a:pt x="186" y="77"/>
                  </a:lnTo>
                  <a:lnTo>
                    <a:pt x="188" y="77"/>
                  </a:lnTo>
                  <a:lnTo>
                    <a:pt x="188" y="75"/>
                  </a:lnTo>
                  <a:lnTo>
                    <a:pt x="188" y="73"/>
                  </a:lnTo>
                  <a:lnTo>
                    <a:pt x="190" y="73"/>
                  </a:lnTo>
                  <a:lnTo>
                    <a:pt x="190" y="71"/>
                  </a:lnTo>
                  <a:lnTo>
                    <a:pt x="190" y="69"/>
                  </a:lnTo>
                  <a:lnTo>
                    <a:pt x="190" y="67"/>
                  </a:lnTo>
                  <a:lnTo>
                    <a:pt x="192" y="67"/>
                  </a:lnTo>
                  <a:lnTo>
                    <a:pt x="190" y="67"/>
                  </a:lnTo>
                  <a:lnTo>
                    <a:pt x="192" y="67"/>
                  </a:lnTo>
                  <a:lnTo>
                    <a:pt x="190" y="67"/>
                  </a:lnTo>
                  <a:lnTo>
                    <a:pt x="192" y="67"/>
                  </a:lnTo>
                  <a:lnTo>
                    <a:pt x="192" y="65"/>
                  </a:lnTo>
                  <a:lnTo>
                    <a:pt x="190" y="65"/>
                  </a:lnTo>
                  <a:lnTo>
                    <a:pt x="190" y="63"/>
                  </a:lnTo>
                  <a:lnTo>
                    <a:pt x="192" y="63"/>
                  </a:lnTo>
                  <a:lnTo>
                    <a:pt x="192" y="61"/>
                  </a:lnTo>
                  <a:lnTo>
                    <a:pt x="192" y="63"/>
                  </a:lnTo>
                  <a:lnTo>
                    <a:pt x="192" y="61"/>
                  </a:lnTo>
                  <a:lnTo>
                    <a:pt x="194" y="61"/>
                  </a:lnTo>
                  <a:lnTo>
                    <a:pt x="194" y="59"/>
                  </a:lnTo>
                  <a:lnTo>
                    <a:pt x="194" y="57"/>
                  </a:lnTo>
                  <a:lnTo>
                    <a:pt x="192" y="57"/>
                  </a:lnTo>
                  <a:lnTo>
                    <a:pt x="192" y="55"/>
                  </a:lnTo>
                  <a:lnTo>
                    <a:pt x="192" y="54"/>
                  </a:lnTo>
                  <a:lnTo>
                    <a:pt x="192" y="55"/>
                  </a:lnTo>
                  <a:lnTo>
                    <a:pt x="194" y="55"/>
                  </a:lnTo>
                  <a:lnTo>
                    <a:pt x="196" y="55"/>
                  </a:lnTo>
                  <a:lnTo>
                    <a:pt x="196" y="57"/>
                  </a:lnTo>
                  <a:lnTo>
                    <a:pt x="196" y="59"/>
                  </a:lnTo>
                  <a:lnTo>
                    <a:pt x="196" y="61"/>
                  </a:lnTo>
                  <a:lnTo>
                    <a:pt x="196" y="63"/>
                  </a:lnTo>
                  <a:lnTo>
                    <a:pt x="194" y="63"/>
                  </a:lnTo>
                  <a:lnTo>
                    <a:pt x="196" y="63"/>
                  </a:lnTo>
                  <a:lnTo>
                    <a:pt x="196" y="65"/>
                  </a:lnTo>
                  <a:lnTo>
                    <a:pt x="196" y="63"/>
                  </a:lnTo>
                  <a:lnTo>
                    <a:pt x="196" y="61"/>
                  </a:lnTo>
                  <a:lnTo>
                    <a:pt x="198" y="61"/>
                  </a:lnTo>
                  <a:lnTo>
                    <a:pt x="198" y="59"/>
                  </a:lnTo>
                  <a:lnTo>
                    <a:pt x="198" y="61"/>
                  </a:lnTo>
                  <a:lnTo>
                    <a:pt x="199" y="61"/>
                  </a:lnTo>
                  <a:lnTo>
                    <a:pt x="199" y="63"/>
                  </a:lnTo>
                  <a:lnTo>
                    <a:pt x="199" y="61"/>
                  </a:lnTo>
                  <a:lnTo>
                    <a:pt x="199" y="59"/>
                  </a:lnTo>
                  <a:lnTo>
                    <a:pt x="198" y="59"/>
                  </a:lnTo>
                  <a:lnTo>
                    <a:pt x="198" y="57"/>
                  </a:lnTo>
                  <a:lnTo>
                    <a:pt x="198" y="59"/>
                  </a:lnTo>
                  <a:lnTo>
                    <a:pt x="198" y="57"/>
                  </a:lnTo>
                  <a:lnTo>
                    <a:pt x="198" y="55"/>
                  </a:lnTo>
                  <a:lnTo>
                    <a:pt x="199" y="55"/>
                  </a:lnTo>
                  <a:lnTo>
                    <a:pt x="199" y="54"/>
                  </a:lnTo>
                  <a:lnTo>
                    <a:pt x="201" y="54"/>
                  </a:lnTo>
                  <a:lnTo>
                    <a:pt x="203" y="54"/>
                  </a:lnTo>
                  <a:lnTo>
                    <a:pt x="203" y="55"/>
                  </a:lnTo>
                  <a:lnTo>
                    <a:pt x="201" y="55"/>
                  </a:lnTo>
                  <a:lnTo>
                    <a:pt x="203" y="55"/>
                  </a:lnTo>
                  <a:lnTo>
                    <a:pt x="203" y="54"/>
                  </a:lnTo>
                  <a:lnTo>
                    <a:pt x="205" y="54"/>
                  </a:lnTo>
                  <a:lnTo>
                    <a:pt x="203" y="54"/>
                  </a:lnTo>
                  <a:lnTo>
                    <a:pt x="205" y="54"/>
                  </a:lnTo>
                  <a:lnTo>
                    <a:pt x="207" y="54"/>
                  </a:lnTo>
                  <a:lnTo>
                    <a:pt x="207" y="52"/>
                  </a:lnTo>
                  <a:lnTo>
                    <a:pt x="207" y="54"/>
                  </a:lnTo>
                  <a:lnTo>
                    <a:pt x="209" y="54"/>
                  </a:lnTo>
                  <a:lnTo>
                    <a:pt x="209" y="55"/>
                  </a:lnTo>
                  <a:lnTo>
                    <a:pt x="209" y="54"/>
                  </a:lnTo>
                  <a:lnTo>
                    <a:pt x="211" y="54"/>
                  </a:lnTo>
                  <a:lnTo>
                    <a:pt x="211" y="52"/>
                  </a:lnTo>
                  <a:lnTo>
                    <a:pt x="213" y="52"/>
                  </a:lnTo>
                  <a:lnTo>
                    <a:pt x="215" y="52"/>
                  </a:lnTo>
                  <a:lnTo>
                    <a:pt x="213" y="52"/>
                  </a:lnTo>
                  <a:lnTo>
                    <a:pt x="213" y="54"/>
                  </a:lnTo>
                  <a:lnTo>
                    <a:pt x="213" y="55"/>
                  </a:lnTo>
                  <a:lnTo>
                    <a:pt x="213" y="57"/>
                  </a:lnTo>
                  <a:lnTo>
                    <a:pt x="213" y="59"/>
                  </a:lnTo>
                  <a:lnTo>
                    <a:pt x="213" y="57"/>
                  </a:lnTo>
                  <a:lnTo>
                    <a:pt x="213" y="59"/>
                  </a:lnTo>
                  <a:lnTo>
                    <a:pt x="213" y="57"/>
                  </a:lnTo>
                  <a:lnTo>
                    <a:pt x="213" y="59"/>
                  </a:lnTo>
                  <a:lnTo>
                    <a:pt x="213" y="57"/>
                  </a:lnTo>
                  <a:lnTo>
                    <a:pt x="215" y="57"/>
                  </a:lnTo>
                  <a:lnTo>
                    <a:pt x="213" y="59"/>
                  </a:lnTo>
                  <a:lnTo>
                    <a:pt x="215" y="59"/>
                  </a:lnTo>
                  <a:lnTo>
                    <a:pt x="213" y="59"/>
                  </a:lnTo>
                  <a:lnTo>
                    <a:pt x="215" y="59"/>
                  </a:lnTo>
                  <a:lnTo>
                    <a:pt x="215" y="61"/>
                  </a:lnTo>
                  <a:lnTo>
                    <a:pt x="213" y="61"/>
                  </a:lnTo>
                  <a:lnTo>
                    <a:pt x="213" y="63"/>
                  </a:lnTo>
                  <a:lnTo>
                    <a:pt x="215" y="63"/>
                  </a:lnTo>
                  <a:lnTo>
                    <a:pt x="217" y="63"/>
                  </a:lnTo>
                  <a:lnTo>
                    <a:pt x="217" y="61"/>
                  </a:lnTo>
                  <a:lnTo>
                    <a:pt x="219" y="61"/>
                  </a:lnTo>
                  <a:lnTo>
                    <a:pt x="219" y="63"/>
                  </a:lnTo>
                  <a:lnTo>
                    <a:pt x="221" y="63"/>
                  </a:lnTo>
                  <a:lnTo>
                    <a:pt x="223" y="63"/>
                  </a:lnTo>
                  <a:lnTo>
                    <a:pt x="223" y="65"/>
                  </a:lnTo>
                  <a:lnTo>
                    <a:pt x="221" y="65"/>
                  </a:lnTo>
                  <a:lnTo>
                    <a:pt x="221" y="63"/>
                  </a:lnTo>
                  <a:lnTo>
                    <a:pt x="221" y="65"/>
                  </a:lnTo>
                  <a:lnTo>
                    <a:pt x="219" y="65"/>
                  </a:lnTo>
                  <a:lnTo>
                    <a:pt x="219" y="67"/>
                  </a:lnTo>
                  <a:lnTo>
                    <a:pt x="217" y="67"/>
                  </a:lnTo>
                  <a:lnTo>
                    <a:pt x="219" y="67"/>
                  </a:lnTo>
                  <a:lnTo>
                    <a:pt x="217" y="67"/>
                  </a:lnTo>
                  <a:lnTo>
                    <a:pt x="217" y="69"/>
                  </a:lnTo>
                  <a:lnTo>
                    <a:pt x="217" y="67"/>
                  </a:lnTo>
                  <a:lnTo>
                    <a:pt x="217" y="69"/>
                  </a:lnTo>
                  <a:lnTo>
                    <a:pt x="219" y="69"/>
                  </a:lnTo>
                  <a:lnTo>
                    <a:pt x="217" y="69"/>
                  </a:lnTo>
                  <a:lnTo>
                    <a:pt x="219" y="69"/>
                  </a:lnTo>
                  <a:lnTo>
                    <a:pt x="217" y="69"/>
                  </a:lnTo>
                  <a:lnTo>
                    <a:pt x="217" y="71"/>
                  </a:lnTo>
                  <a:lnTo>
                    <a:pt x="217" y="69"/>
                  </a:lnTo>
                  <a:lnTo>
                    <a:pt x="215" y="69"/>
                  </a:lnTo>
                  <a:lnTo>
                    <a:pt x="215" y="71"/>
                  </a:lnTo>
                  <a:lnTo>
                    <a:pt x="217" y="71"/>
                  </a:lnTo>
                  <a:lnTo>
                    <a:pt x="217" y="73"/>
                  </a:lnTo>
                  <a:lnTo>
                    <a:pt x="217" y="71"/>
                  </a:lnTo>
                  <a:lnTo>
                    <a:pt x="217" y="73"/>
                  </a:lnTo>
                  <a:lnTo>
                    <a:pt x="215" y="73"/>
                  </a:lnTo>
                  <a:lnTo>
                    <a:pt x="213" y="75"/>
                  </a:lnTo>
                  <a:lnTo>
                    <a:pt x="211" y="75"/>
                  </a:lnTo>
                  <a:lnTo>
                    <a:pt x="211" y="77"/>
                  </a:lnTo>
                  <a:lnTo>
                    <a:pt x="209" y="77"/>
                  </a:lnTo>
                  <a:lnTo>
                    <a:pt x="211" y="77"/>
                  </a:lnTo>
                  <a:lnTo>
                    <a:pt x="209" y="77"/>
                  </a:lnTo>
                  <a:lnTo>
                    <a:pt x="209" y="78"/>
                  </a:lnTo>
                  <a:lnTo>
                    <a:pt x="211" y="78"/>
                  </a:lnTo>
                  <a:lnTo>
                    <a:pt x="211" y="77"/>
                  </a:lnTo>
                  <a:lnTo>
                    <a:pt x="211" y="78"/>
                  </a:lnTo>
                  <a:lnTo>
                    <a:pt x="213" y="78"/>
                  </a:lnTo>
                  <a:lnTo>
                    <a:pt x="215" y="78"/>
                  </a:lnTo>
                  <a:lnTo>
                    <a:pt x="215" y="77"/>
                  </a:lnTo>
                  <a:lnTo>
                    <a:pt x="215" y="78"/>
                  </a:lnTo>
                  <a:lnTo>
                    <a:pt x="215" y="80"/>
                  </a:lnTo>
                  <a:lnTo>
                    <a:pt x="213" y="80"/>
                  </a:lnTo>
                  <a:lnTo>
                    <a:pt x="213" y="82"/>
                  </a:lnTo>
                  <a:lnTo>
                    <a:pt x="211" y="82"/>
                  </a:lnTo>
                  <a:lnTo>
                    <a:pt x="211" y="84"/>
                  </a:lnTo>
                  <a:lnTo>
                    <a:pt x="211" y="86"/>
                  </a:lnTo>
                  <a:lnTo>
                    <a:pt x="211" y="88"/>
                  </a:lnTo>
                  <a:lnTo>
                    <a:pt x="209" y="88"/>
                  </a:lnTo>
                  <a:lnTo>
                    <a:pt x="211" y="88"/>
                  </a:lnTo>
                  <a:lnTo>
                    <a:pt x="209" y="88"/>
                  </a:lnTo>
                  <a:lnTo>
                    <a:pt x="211" y="86"/>
                  </a:lnTo>
                  <a:lnTo>
                    <a:pt x="209" y="86"/>
                  </a:lnTo>
                  <a:lnTo>
                    <a:pt x="209" y="88"/>
                  </a:lnTo>
                  <a:lnTo>
                    <a:pt x="207" y="88"/>
                  </a:lnTo>
                  <a:lnTo>
                    <a:pt x="209" y="88"/>
                  </a:lnTo>
                  <a:lnTo>
                    <a:pt x="207" y="88"/>
                  </a:lnTo>
                  <a:lnTo>
                    <a:pt x="209" y="88"/>
                  </a:lnTo>
                  <a:lnTo>
                    <a:pt x="209" y="90"/>
                  </a:lnTo>
                  <a:lnTo>
                    <a:pt x="209" y="88"/>
                  </a:lnTo>
                  <a:lnTo>
                    <a:pt x="209" y="90"/>
                  </a:lnTo>
                  <a:lnTo>
                    <a:pt x="207" y="90"/>
                  </a:lnTo>
                  <a:lnTo>
                    <a:pt x="209" y="90"/>
                  </a:lnTo>
                  <a:lnTo>
                    <a:pt x="209" y="92"/>
                  </a:lnTo>
                  <a:lnTo>
                    <a:pt x="207" y="92"/>
                  </a:lnTo>
                  <a:lnTo>
                    <a:pt x="207" y="94"/>
                  </a:lnTo>
                  <a:lnTo>
                    <a:pt x="207" y="96"/>
                  </a:lnTo>
                  <a:lnTo>
                    <a:pt x="205" y="96"/>
                  </a:lnTo>
                  <a:lnTo>
                    <a:pt x="205" y="94"/>
                  </a:lnTo>
                  <a:lnTo>
                    <a:pt x="205" y="96"/>
                  </a:lnTo>
                  <a:lnTo>
                    <a:pt x="203" y="96"/>
                  </a:lnTo>
                  <a:lnTo>
                    <a:pt x="203" y="98"/>
                  </a:lnTo>
                  <a:lnTo>
                    <a:pt x="203" y="96"/>
                  </a:lnTo>
                  <a:lnTo>
                    <a:pt x="203" y="98"/>
                  </a:lnTo>
                  <a:lnTo>
                    <a:pt x="201" y="98"/>
                  </a:lnTo>
                  <a:lnTo>
                    <a:pt x="201" y="100"/>
                  </a:lnTo>
                  <a:lnTo>
                    <a:pt x="199" y="100"/>
                  </a:lnTo>
                  <a:lnTo>
                    <a:pt x="201" y="100"/>
                  </a:lnTo>
                  <a:lnTo>
                    <a:pt x="199" y="100"/>
                  </a:lnTo>
                  <a:lnTo>
                    <a:pt x="199" y="102"/>
                  </a:lnTo>
                  <a:lnTo>
                    <a:pt x="198" y="103"/>
                  </a:lnTo>
                  <a:lnTo>
                    <a:pt x="198" y="105"/>
                  </a:lnTo>
                  <a:lnTo>
                    <a:pt x="198" y="103"/>
                  </a:lnTo>
                  <a:lnTo>
                    <a:pt x="198" y="105"/>
                  </a:lnTo>
                  <a:lnTo>
                    <a:pt x="196" y="105"/>
                  </a:lnTo>
                  <a:lnTo>
                    <a:pt x="196" y="103"/>
                  </a:lnTo>
                  <a:lnTo>
                    <a:pt x="194" y="103"/>
                  </a:lnTo>
                  <a:lnTo>
                    <a:pt x="194" y="105"/>
                  </a:lnTo>
                  <a:lnTo>
                    <a:pt x="194" y="103"/>
                  </a:lnTo>
                  <a:lnTo>
                    <a:pt x="194" y="105"/>
                  </a:lnTo>
                  <a:lnTo>
                    <a:pt x="192" y="105"/>
                  </a:lnTo>
                  <a:lnTo>
                    <a:pt x="192" y="103"/>
                  </a:lnTo>
                  <a:lnTo>
                    <a:pt x="192" y="105"/>
                  </a:lnTo>
                  <a:lnTo>
                    <a:pt x="190" y="105"/>
                  </a:lnTo>
                  <a:lnTo>
                    <a:pt x="192" y="105"/>
                  </a:lnTo>
                  <a:lnTo>
                    <a:pt x="190" y="105"/>
                  </a:lnTo>
                  <a:lnTo>
                    <a:pt x="190" y="103"/>
                  </a:lnTo>
                  <a:lnTo>
                    <a:pt x="190" y="105"/>
                  </a:lnTo>
                  <a:lnTo>
                    <a:pt x="190" y="103"/>
                  </a:lnTo>
                  <a:lnTo>
                    <a:pt x="188" y="103"/>
                  </a:lnTo>
                  <a:lnTo>
                    <a:pt x="188" y="105"/>
                  </a:lnTo>
                  <a:lnTo>
                    <a:pt x="188" y="103"/>
                  </a:lnTo>
                  <a:lnTo>
                    <a:pt x="188" y="105"/>
                  </a:lnTo>
                  <a:lnTo>
                    <a:pt x="188" y="103"/>
                  </a:lnTo>
                  <a:lnTo>
                    <a:pt x="186" y="103"/>
                  </a:lnTo>
                  <a:lnTo>
                    <a:pt x="186" y="105"/>
                  </a:lnTo>
                  <a:lnTo>
                    <a:pt x="186" y="103"/>
                  </a:lnTo>
                  <a:lnTo>
                    <a:pt x="186" y="105"/>
                  </a:lnTo>
                  <a:lnTo>
                    <a:pt x="188" y="105"/>
                  </a:lnTo>
                  <a:lnTo>
                    <a:pt x="186" y="105"/>
                  </a:lnTo>
                  <a:lnTo>
                    <a:pt x="188" y="105"/>
                  </a:lnTo>
                  <a:lnTo>
                    <a:pt x="188" y="107"/>
                  </a:lnTo>
                  <a:lnTo>
                    <a:pt x="186" y="107"/>
                  </a:lnTo>
                  <a:lnTo>
                    <a:pt x="186" y="105"/>
                  </a:lnTo>
                  <a:lnTo>
                    <a:pt x="186" y="107"/>
                  </a:lnTo>
                  <a:lnTo>
                    <a:pt x="188" y="107"/>
                  </a:lnTo>
                  <a:lnTo>
                    <a:pt x="188" y="105"/>
                  </a:lnTo>
                  <a:lnTo>
                    <a:pt x="186" y="105"/>
                  </a:lnTo>
                  <a:lnTo>
                    <a:pt x="186" y="107"/>
                  </a:lnTo>
                  <a:lnTo>
                    <a:pt x="186" y="105"/>
                  </a:lnTo>
                  <a:lnTo>
                    <a:pt x="186" y="107"/>
                  </a:lnTo>
                  <a:lnTo>
                    <a:pt x="186" y="105"/>
                  </a:lnTo>
                  <a:lnTo>
                    <a:pt x="186" y="107"/>
                  </a:lnTo>
                  <a:lnTo>
                    <a:pt x="186" y="105"/>
                  </a:lnTo>
                  <a:lnTo>
                    <a:pt x="186" y="107"/>
                  </a:lnTo>
                  <a:lnTo>
                    <a:pt x="184" y="107"/>
                  </a:lnTo>
                  <a:lnTo>
                    <a:pt x="186" y="107"/>
                  </a:lnTo>
                  <a:lnTo>
                    <a:pt x="184" y="107"/>
                  </a:lnTo>
                  <a:lnTo>
                    <a:pt x="184" y="109"/>
                  </a:lnTo>
                  <a:lnTo>
                    <a:pt x="184" y="107"/>
                  </a:lnTo>
                  <a:lnTo>
                    <a:pt x="186" y="107"/>
                  </a:lnTo>
                  <a:lnTo>
                    <a:pt x="184" y="107"/>
                  </a:lnTo>
                  <a:lnTo>
                    <a:pt x="184" y="109"/>
                  </a:lnTo>
                  <a:lnTo>
                    <a:pt x="182" y="109"/>
                  </a:lnTo>
                  <a:lnTo>
                    <a:pt x="182" y="107"/>
                  </a:lnTo>
                  <a:lnTo>
                    <a:pt x="182" y="109"/>
                  </a:lnTo>
                  <a:lnTo>
                    <a:pt x="184" y="109"/>
                  </a:lnTo>
                  <a:lnTo>
                    <a:pt x="182" y="109"/>
                  </a:lnTo>
                  <a:lnTo>
                    <a:pt x="184" y="109"/>
                  </a:lnTo>
                  <a:lnTo>
                    <a:pt x="182" y="109"/>
                  </a:lnTo>
                  <a:lnTo>
                    <a:pt x="184" y="109"/>
                  </a:lnTo>
                  <a:lnTo>
                    <a:pt x="184" y="111"/>
                  </a:lnTo>
                  <a:lnTo>
                    <a:pt x="182" y="111"/>
                  </a:lnTo>
                  <a:lnTo>
                    <a:pt x="182" y="113"/>
                  </a:lnTo>
                  <a:lnTo>
                    <a:pt x="180" y="113"/>
                  </a:lnTo>
                  <a:lnTo>
                    <a:pt x="180" y="115"/>
                  </a:lnTo>
                  <a:lnTo>
                    <a:pt x="178" y="115"/>
                  </a:lnTo>
                  <a:lnTo>
                    <a:pt x="178" y="113"/>
                  </a:lnTo>
                  <a:lnTo>
                    <a:pt x="176" y="113"/>
                  </a:lnTo>
                  <a:lnTo>
                    <a:pt x="176" y="115"/>
                  </a:lnTo>
                  <a:lnTo>
                    <a:pt x="174" y="115"/>
                  </a:lnTo>
                  <a:lnTo>
                    <a:pt x="174" y="117"/>
                  </a:lnTo>
                  <a:lnTo>
                    <a:pt x="174" y="119"/>
                  </a:lnTo>
                  <a:lnTo>
                    <a:pt x="174" y="117"/>
                  </a:lnTo>
                  <a:lnTo>
                    <a:pt x="174" y="119"/>
                  </a:lnTo>
                  <a:lnTo>
                    <a:pt x="173" y="119"/>
                  </a:lnTo>
                  <a:lnTo>
                    <a:pt x="173" y="117"/>
                  </a:lnTo>
                  <a:lnTo>
                    <a:pt x="171" y="117"/>
                  </a:lnTo>
                  <a:lnTo>
                    <a:pt x="169" y="117"/>
                  </a:lnTo>
                  <a:lnTo>
                    <a:pt x="169" y="115"/>
                  </a:lnTo>
                  <a:lnTo>
                    <a:pt x="167" y="115"/>
                  </a:lnTo>
                  <a:lnTo>
                    <a:pt x="165" y="115"/>
                  </a:lnTo>
                  <a:lnTo>
                    <a:pt x="167" y="115"/>
                  </a:lnTo>
                  <a:lnTo>
                    <a:pt x="165" y="115"/>
                  </a:lnTo>
                  <a:lnTo>
                    <a:pt x="167" y="115"/>
                  </a:lnTo>
                  <a:lnTo>
                    <a:pt x="165" y="115"/>
                  </a:lnTo>
                  <a:lnTo>
                    <a:pt x="165" y="113"/>
                  </a:lnTo>
                  <a:lnTo>
                    <a:pt x="163" y="113"/>
                  </a:lnTo>
                  <a:lnTo>
                    <a:pt x="165" y="113"/>
                  </a:lnTo>
                  <a:lnTo>
                    <a:pt x="163" y="113"/>
                  </a:lnTo>
                  <a:lnTo>
                    <a:pt x="163" y="111"/>
                  </a:lnTo>
                  <a:lnTo>
                    <a:pt x="161" y="111"/>
                  </a:lnTo>
                  <a:lnTo>
                    <a:pt x="161" y="109"/>
                  </a:lnTo>
                  <a:lnTo>
                    <a:pt x="159" y="109"/>
                  </a:lnTo>
                  <a:lnTo>
                    <a:pt x="159" y="107"/>
                  </a:lnTo>
                  <a:lnTo>
                    <a:pt x="157" y="105"/>
                  </a:lnTo>
                  <a:lnTo>
                    <a:pt x="157" y="103"/>
                  </a:lnTo>
                  <a:lnTo>
                    <a:pt x="155" y="103"/>
                  </a:lnTo>
                  <a:lnTo>
                    <a:pt x="157" y="103"/>
                  </a:lnTo>
                  <a:lnTo>
                    <a:pt x="157" y="102"/>
                  </a:lnTo>
                  <a:lnTo>
                    <a:pt x="157" y="103"/>
                  </a:lnTo>
                  <a:lnTo>
                    <a:pt x="157" y="102"/>
                  </a:lnTo>
                  <a:lnTo>
                    <a:pt x="157" y="103"/>
                  </a:lnTo>
                  <a:lnTo>
                    <a:pt x="155" y="103"/>
                  </a:lnTo>
                  <a:lnTo>
                    <a:pt x="155" y="102"/>
                  </a:lnTo>
                  <a:lnTo>
                    <a:pt x="155" y="103"/>
                  </a:lnTo>
                  <a:lnTo>
                    <a:pt x="155" y="102"/>
                  </a:lnTo>
                  <a:lnTo>
                    <a:pt x="153" y="102"/>
                  </a:lnTo>
                  <a:lnTo>
                    <a:pt x="153" y="100"/>
                  </a:lnTo>
                  <a:lnTo>
                    <a:pt x="153" y="98"/>
                  </a:lnTo>
                  <a:lnTo>
                    <a:pt x="153" y="100"/>
                  </a:lnTo>
                  <a:lnTo>
                    <a:pt x="151" y="98"/>
                  </a:lnTo>
                  <a:lnTo>
                    <a:pt x="151" y="96"/>
                  </a:lnTo>
                  <a:lnTo>
                    <a:pt x="150" y="96"/>
                  </a:lnTo>
                  <a:lnTo>
                    <a:pt x="150" y="94"/>
                  </a:lnTo>
                  <a:lnTo>
                    <a:pt x="151" y="94"/>
                  </a:lnTo>
                  <a:lnTo>
                    <a:pt x="151" y="92"/>
                  </a:lnTo>
                  <a:lnTo>
                    <a:pt x="153" y="92"/>
                  </a:lnTo>
                  <a:lnTo>
                    <a:pt x="155" y="92"/>
                  </a:lnTo>
                  <a:lnTo>
                    <a:pt x="153" y="92"/>
                  </a:lnTo>
                  <a:lnTo>
                    <a:pt x="155" y="92"/>
                  </a:lnTo>
                  <a:lnTo>
                    <a:pt x="153" y="92"/>
                  </a:lnTo>
                  <a:lnTo>
                    <a:pt x="153" y="94"/>
                  </a:lnTo>
                  <a:lnTo>
                    <a:pt x="153" y="92"/>
                  </a:lnTo>
                  <a:lnTo>
                    <a:pt x="153" y="94"/>
                  </a:lnTo>
                  <a:lnTo>
                    <a:pt x="153" y="92"/>
                  </a:lnTo>
                  <a:lnTo>
                    <a:pt x="155" y="92"/>
                  </a:lnTo>
                  <a:lnTo>
                    <a:pt x="153" y="92"/>
                  </a:lnTo>
                  <a:lnTo>
                    <a:pt x="155" y="92"/>
                  </a:lnTo>
                  <a:lnTo>
                    <a:pt x="155" y="90"/>
                  </a:lnTo>
                  <a:lnTo>
                    <a:pt x="155" y="92"/>
                  </a:lnTo>
                  <a:lnTo>
                    <a:pt x="155" y="90"/>
                  </a:lnTo>
                  <a:lnTo>
                    <a:pt x="153" y="90"/>
                  </a:lnTo>
                  <a:lnTo>
                    <a:pt x="155" y="90"/>
                  </a:lnTo>
                  <a:lnTo>
                    <a:pt x="153" y="90"/>
                  </a:lnTo>
                  <a:lnTo>
                    <a:pt x="153" y="92"/>
                  </a:lnTo>
                  <a:lnTo>
                    <a:pt x="151" y="92"/>
                  </a:lnTo>
                  <a:lnTo>
                    <a:pt x="153" y="92"/>
                  </a:lnTo>
                  <a:lnTo>
                    <a:pt x="151" y="92"/>
                  </a:lnTo>
                  <a:lnTo>
                    <a:pt x="151" y="90"/>
                  </a:lnTo>
                  <a:lnTo>
                    <a:pt x="151" y="88"/>
                  </a:lnTo>
                  <a:lnTo>
                    <a:pt x="151" y="86"/>
                  </a:lnTo>
                  <a:lnTo>
                    <a:pt x="151" y="84"/>
                  </a:lnTo>
                  <a:lnTo>
                    <a:pt x="151" y="82"/>
                  </a:lnTo>
                  <a:lnTo>
                    <a:pt x="153" y="82"/>
                  </a:lnTo>
                  <a:lnTo>
                    <a:pt x="153" y="80"/>
                  </a:lnTo>
                  <a:lnTo>
                    <a:pt x="153" y="78"/>
                  </a:lnTo>
                  <a:lnTo>
                    <a:pt x="153" y="77"/>
                  </a:lnTo>
                  <a:lnTo>
                    <a:pt x="153" y="75"/>
                  </a:lnTo>
                  <a:lnTo>
                    <a:pt x="153" y="73"/>
                  </a:lnTo>
                  <a:lnTo>
                    <a:pt x="155" y="73"/>
                  </a:lnTo>
                  <a:lnTo>
                    <a:pt x="155" y="71"/>
                  </a:lnTo>
                  <a:lnTo>
                    <a:pt x="155" y="69"/>
                  </a:lnTo>
                  <a:lnTo>
                    <a:pt x="155" y="67"/>
                  </a:lnTo>
                  <a:lnTo>
                    <a:pt x="155" y="65"/>
                  </a:lnTo>
                  <a:lnTo>
                    <a:pt x="157" y="65"/>
                  </a:lnTo>
                  <a:lnTo>
                    <a:pt x="155" y="65"/>
                  </a:lnTo>
                  <a:lnTo>
                    <a:pt x="155" y="63"/>
                  </a:lnTo>
                  <a:lnTo>
                    <a:pt x="155" y="65"/>
                  </a:lnTo>
                  <a:lnTo>
                    <a:pt x="155" y="63"/>
                  </a:lnTo>
                  <a:lnTo>
                    <a:pt x="155" y="61"/>
                  </a:lnTo>
                  <a:lnTo>
                    <a:pt x="155" y="59"/>
                  </a:lnTo>
                  <a:lnTo>
                    <a:pt x="153" y="59"/>
                  </a:lnTo>
                  <a:lnTo>
                    <a:pt x="155" y="59"/>
                  </a:lnTo>
                  <a:lnTo>
                    <a:pt x="153" y="59"/>
                  </a:lnTo>
                  <a:lnTo>
                    <a:pt x="155" y="59"/>
                  </a:lnTo>
                  <a:lnTo>
                    <a:pt x="153" y="57"/>
                  </a:lnTo>
                  <a:lnTo>
                    <a:pt x="155" y="57"/>
                  </a:lnTo>
                  <a:lnTo>
                    <a:pt x="155" y="55"/>
                  </a:lnTo>
                  <a:lnTo>
                    <a:pt x="155" y="54"/>
                  </a:lnTo>
                  <a:lnTo>
                    <a:pt x="153" y="54"/>
                  </a:lnTo>
                  <a:lnTo>
                    <a:pt x="153" y="52"/>
                  </a:lnTo>
                  <a:lnTo>
                    <a:pt x="153" y="50"/>
                  </a:lnTo>
                  <a:lnTo>
                    <a:pt x="153" y="52"/>
                  </a:lnTo>
                  <a:lnTo>
                    <a:pt x="153" y="54"/>
                  </a:lnTo>
                  <a:lnTo>
                    <a:pt x="155" y="54"/>
                  </a:lnTo>
                  <a:lnTo>
                    <a:pt x="153" y="54"/>
                  </a:lnTo>
                  <a:lnTo>
                    <a:pt x="153" y="52"/>
                  </a:lnTo>
                  <a:lnTo>
                    <a:pt x="153" y="54"/>
                  </a:lnTo>
                  <a:lnTo>
                    <a:pt x="153" y="52"/>
                  </a:lnTo>
                  <a:lnTo>
                    <a:pt x="153" y="50"/>
                  </a:lnTo>
                  <a:lnTo>
                    <a:pt x="153" y="48"/>
                  </a:lnTo>
                  <a:lnTo>
                    <a:pt x="155" y="48"/>
                  </a:lnTo>
                  <a:lnTo>
                    <a:pt x="155" y="50"/>
                  </a:lnTo>
                  <a:lnTo>
                    <a:pt x="155" y="48"/>
                  </a:lnTo>
                  <a:lnTo>
                    <a:pt x="153" y="48"/>
                  </a:lnTo>
                  <a:lnTo>
                    <a:pt x="153" y="46"/>
                  </a:lnTo>
                  <a:lnTo>
                    <a:pt x="153" y="44"/>
                  </a:lnTo>
                  <a:lnTo>
                    <a:pt x="153" y="42"/>
                  </a:lnTo>
                  <a:lnTo>
                    <a:pt x="153" y="40"/>
                  </a:lnTo>
                  <a:lnTo>
                    <a:pt x="153" y="38"/>
                  </a:lnTo>
                  <a:lnTo>
                    <a:pt x="155" y="38"/>
                  </a:lnTo>
                  <a:lnTo>
                    <a:pt x="155" y="36"/>
                  </a:lnTo>
                  <a:lnTo>
                    <a:pt x="155" y="34"/>
                  </a:lnTo>
                  <a:lnTo>
                    <a:pt x="157" y="34"/>
                  </a:lnTo>
                  <a:lnTo>
                    <a:pt x="155" y="34"/>
                  </a:lnTo>
                  <a:lnTo>
                    <a:pt x="155" y="32"/>
                  </a:lnTo>
                  <a:lnTo>
                    <a:pt x="157" y="32"/>
                  </a:lnTo>
                  <a:lnTo>
                    <a:pt x="157" y="30"/>
                  </a:lnTo>
                  <a:lnTo>
                    <a:pt x="157" y="29"/>
                  </a:lnTo>
                  <a:lnTo>
                    <a:pt x="157" y="27"/>
                  </a:lnTo>
                  <a:lnTo>
                    <a:pt x="157" y="25"/>
                  </a:lnTo>
                  <a:lnTo>
                    <a:pt x="157" y="23"/>
                  </a:lnTo>
                  <a:lnTo>
                    <a:pt x="157" y="21"/>
                  </a:lnTo>
                  <a:lnTo>
                    <a:pt x="157" y="19"/>
                  </a:lnTo>
                  <a:lnTo>
                    <a:pt x="159" y="19"/>
                  </a:lnTo>
                  <a:lnTo>
                    <a:pt x="161" y="19"/>
                  </a:lnTo>
                  <a:lnTo>
                    <a:pt x="161" y="21"/>
                  </a:lnTo>
                  <a:lnTo>
                    <a:pt x="163" y="21"/>
                  </a:lnTo>
                  <a:lnTo>
                    <a:pt x="163" y="19"/>
                  </a:lnTo>
                  <a:lnTo>
                    <a:pt x="165" y="19"/>
                  </a:lnTo>
                  <a:lnTo>
                    <a:pt x="165" y="17"/>
                  </a:lnTo>
                  <a:close/>
                  <a:moveTo>
                    <a:pt x="173" y="92"/>
                  </a:moveTo>
                  <a:lnTo>
                    <a:pt x="171" y="92"/>
                  </a:lnTo>
                  <a:lnTo>
                    <a:pt x="173" y="92"/>
                  </a:lnTo>
                  <a:close/>
                  <a:moveTo>
                    <a:pt x="198" y="63"/>
                  </a:moveTo>
                  <a:lnTo>
                    <a:pt x="196" y="63"/>
                  </a:lnTo>
                  <a:lnTo>
                    <a:pt x="196" y="61"/>
                  </a:lnTo>
                  <a:lnTo>
                    <a:pt x="196" y="63"/>
                  </a:lnTo>
                  <a:lnTo>
                    <a:pt x="198" y="63"/>
                  </a:lnTo>
                  <a:close/>
                  <a:moveTo>
                    <a:pt x="192" y="54"/>
                  </a:moveTo>
                  <a:lnTo>
                    <a:pt x="192" y="55"/>
                  </a:lnTo>
                  <a:lnTo>
                    <a:pt x="192" y="54"/>
                  </a:lnTo>
                  <a:lnTo>
                    <a:pt x="192" y="55"/>
                  </a:lnTo>
                  <a:lnTo>
                    <a:pt x="192" y="57"/>
                  </a:lnTo>
                  <a:lnTo>
                    <a:pt x="194" y="57"/>
                  </a:lnTo>
                  <a:lnTo>
                    <a:pt x="192" y="57"/>
                  </a:lnTo>
                  <a:lnTo>
                    <a:pt x="194" y="57"/>
                  </a:lnTo>
                  <a:lnTo>
                    <a:pt x="192" y="57"/>
                  </a:lnTo>
                  <a:lnTo>
                    <a:pt x="192" y="59"/>
                  </a:lnTo>
                  <a:lnTo>
                    <a:pt x="192" y="61"/>
                  </a:lnTo>
                  <a:lnTo>
                    <a:pt x="192" y="59"/>
                  </a:lnTo>
                  <a:lnTo>
                    <a:pt x="190" y="59"/>
                  </a:lnTo>
                  <a:lnTo>
                    <a:pt x="190" y="61"/>
                  </a:lnTo>
                  <a:lnTo>
                    <a:pt x="190" y="63"/>
                  </a:lnTo>
                  <a:lnTo>
                    <a:pt x="188" y="63"/>
                  </a:lnTo>
                  <a:lnTo>
                    <a:pt x="188" y="65"/>
                  </a:lnTo>
                  <a:lnTo>
                    <a:pt x="188" y="67"/>
                  </a:lnTo>
                  <a:lnTo>
                    <a:pt x="188" y="69"/>
                  </a:lnTo>
                  <a:lnTo>
                    <a:pt x="186" y="69"/>
                  </a:lnTo>
                  <a:lnTo>
                    <a:pt x="186" y="71"/>
                  </a:lnTo>
                  <a:lnTo>
                    <a:pt x="186" y="69"/>
                  </a:lnTo>
                  <a:lnTo>
                    <a:pt x="188" y="69"/>
                  </a:lnTo>
                  <a:lnTo>
                    <a:pt x="186" y="69"/>
                  </a:lnTo>
                  <a:lnTo>
                    <a:pt x="188" y="69"/>
                  </a:lnTo>
                  <a:lnTo>
                    <a:pt x="188" y="71"/>
                  </a:lnTo>
                  <a:lnTo>
                    <a:pt x="186" y="71"/>
                  </a:lnTo>
                  <a:lnTo>
                    <a:pt x="186" y="73"/>
                  </a:lnTo>
                  <a:lnTo>
                    <a:pt x="186" y="75"/>
                  </a:lnTo>
                  <a:lnTo>
                    <a:pt x="184" y="75"/>
                  </a:lnTo>
                  <a:lnTo>
                    <a:pt x="184" y="77"/>
                  </a:lnTo>
                  <a:lnTo>
                    <a:pt x="184" y="75"/>
                  </a:lnTo>
                  <a:lnTo>
                    <a:pt x="184" y="73"/>
                  </a:lnTo>
                  <a:lnTo>
                    <a:pt x="184" y="71"/>
                  </a:lnTo>
                  <a:lnTo>
                    <a:pt x="184" y="69"/>
                  </a:lnTo>
                  <a:lnTo>
                    <a:pt x="184" y="67"/>
                  </a:lnTo>
                  <a:lnTo>
                    <a:pt x="186" y="67"/>
                  </a:lnTo>
                  <a:lnTo>
                    <a:pt x="186" y="65"/>
                  </a:lnTo>
                  <a:lnTo>
                    <a:pt x="186" y="63"/>
                  </a:lnTo>
                  <a:lnTo>
                    <a:pt x="186" y="61"/>
                  </a:lnTo>
                  <a:lnTo>
                    <a:pt x="188" y="59"/>
                  </a:lnTo>
                  <a:lnTo>
                    <a:pt x="186" y="59"/>
                  </a:lnTo>
                  <a:lnTo>
                    <a:pt x="188" y="59"/>
                  </a:lnTo>
                  <a:lnTo>
                    <a:pt x="186" y="59"/>
                  </a:lnTo>
                  <a:lnTo>
                    <a:pt x="188" y="59"/>
                  </a:lnTo>
                  <a:lnTo>
                    <a:pt x="188" y="57"/>
                  </a:lnTo>
                  <a:lnTo>
                    <a:pt x="188" y="55"/>
                  </a:lnTo>
                  <a:lnTo>
                    <a:pt x="190" y="55"/>
                  </a:lnTo>
                  <a:lnTo>
                    <a:pt x="190" y="54"/>
                  </a:lnTo>
                  <a:lnTo>
                    <a:pt x="192" y="54"/>
                  </a:lnTo>
                  <a:close/>
                  <a:moveTo>
                    <a:pt x="190" y="109"/>
                  </a:moveTo>
                  <a:lnTo>
                    <a:pt x="188" y="109"/>
                  </a:lnTo>
                  <a:lnTo>
                    <a:pt x="188" y="111"/>
                  </a:lnTo>
                  <a:lnTo>
                    <a:pt x="188" y="113"/>
                  </a:lnTo>
                  <a:lnTo>
                    <a:pt x="190" y="113"/>
                  </a:lnTo>
                  <a:lnTo>
                    <a:pt x="190" y="115"/>
                  </a:lnTo>
                  <a:lnTo>
                    <a:pt x="188" y="115"/>
                  </a:lnTo>
                  <a:lnTo>
                    <a:pt x="190" y="115"/>
                  </a:lnTo>
                  <a:lnTo>
                    <a:pt x="188" y="115"/>
                  </a:lnTo>
                  <a:lnTo>
                    <a:pt x="188" y="117"/>
                  </a:lnTo>
                  <a:lnTo>
                    <a:pt x="188" y="115"/>
                  </a:lnTo>
                  <a:lnTo>
                    <a:pt x="188" y="117"/>
                  </a:lnTo>
                  <a:lnTo>
                    <a:pt x="186" y="117"/>
                  </a:lnTo>
                  <a:lnTo>
                    <a:pt x="188" y="117"/>
                  </a:lnTo>
                  <a:lnTo>
                    <a:pt x="188" y="115"/>
                  </a:lnTo>
                  <a:lnTo>
                    <a:pt x="186" y="115"/>
                  </a:lnTo>
                  <a:lnTo>
                    <a:pt x="184" y="115"/>
                  </a:lnTo>
                  <a:lnTo>
                    <a:pt x="184" y="117"/>
                  </a:lnTo>
                  <a:lnTo>
                    <a:pt x="184" y="115"/>
                  </a:lnTo>
                  <a:lnTo>
                    <a:pt x="184" y="117"/>
                  </a:lnTo>
                  <a:lnTo>
                    <a:pt x="184" y="115"/>
                  </a:lnTo>
                  <a:lnTo>
                    <a:pt x="184" y="117"/>
                  </a:lnTo>
                  <a:lnTo>
                    <a:pt x="184" y="115"/>
                  </a:lnTo>
                  <a:lnTo>
                    <a:pt x="184" y="117"/>
                  </a:lnTo>
                  <a:lnTo>
                    <a:pt x="184" y="115"/>
                  </a:lnTo>
                  <a:lnTo>
                    <a:pt x="184" y="117"/>
                  </a:lnTo>
                  <a:lnTo>
                    <a:pt x="184" y="115"/>
                  </a:lnTo>
                  <a:lnTo>
                    <a:pt x="182" y="115"/>
                  </a:lnTo>
                  <a:lnTo>
                    <a:pt x="184" y="115"/>
                  </a:lnTo>
                  <a:lnTo>
                    <a:pt x="182" y="115"/>
                  </a:lnTo>
                  <a:lnTo>
                    <a:pt x="182" y="113"/>
                  </a:lnTo>
                  <a:lnTo>
                    <a:pt x="182" y="115"/>
                  </a:lnTo>
                  <a:lnTo>
                    <a:pt x="180" y="115"/>
                  </a:lnTo>
                  <a:lnTo>
                    <a:pt x="182" y="115"/>
                  </a:lnTo>
                  <a:lnTo>
                    <a:pt x="180" y="115"/>
                  </a:lnTo>
                  <a:lnTo>
                    <a:pt x="182" y="115"/>
                  </a:lnTo>
                  <a:lnTo>
                    <a:pt x="180" y="115"/>
                  </a:lnTo>
                  <a:lnTo>
                    <a:pt x="182" y="115"/>
                  </a:lnTo>
                  <a:lnTo>
                    <a:pt x="182" y="113"/>
                  </a:lnTo>
                  <a:lnTo>
                    <a:pt x="182" y="115"/>
                  </a:lnTo>
                  <a:lnTo>
                    <a:pt x="180" y="115"/>
                  </a:lnTo>
                  <a:lnTo>
                    <a:pt x="180" y="113"/>
                  </a:lnTo>
                  <a:lnTo>
                    <a:pt x="182" y="113"/>
                  </a:lnTo>
                  <a:lnTo>
                    <a:pt x="182" y="111"/>
                  </a:lnTo>
                  <a:lnTo>
                    <a:pt x="184" y="111"/>
                  </a:lnTo>
                  <a:lnTo>
                    <a:pt x="184" y="109"/>
                  </a:lnTo>
                  <a:lnTo>
                    <a:pt x="184" y="111"/>
                  </a:lnTo>
                  <a:lnTo>
                    <a:pt x="186" y="111"/>
                  </a:lnTo>
                  <a:lnTo>
                    <a:pt x="186" y="109"/>
                  </a:lnTo>
                  <a:lnTo>
                    <a:pt x="186" y="111"/>
                  </a:lnTo>
                  <a:lnTo>
                    <a:pt x="186" y="109"/>
                  </a:lnTo>
                  <a:lnTo>
                    <a:pt x="188" y="109"/>
                  </a:lnTo>
                  <a:lnTo>
                    <a:pt x="186" y="109"/>
                  </a:lnTo>
                  <a:lnTo>
                    <a:pt x="188" y="109"/>
                  </a:lnTo>
                  <a:lnTo>
                    <a:pt x="186" y="109"/>
                  </a:lnTo>
                  <a:lnTo>
                    <a:pt x="188" y="109"/>
                  </a:lnTo>
                  <a:lnTo>
                    <a:pt x="190" y="109"/>
                  </a:lnTo>
                  <a:lnTo>
                    <a:pt x="188" y="109"/>
                  </a:lnTo>
                  <a:lnTo>
                    <a:pt x="190" y="109"/>
                  </a:lnTo>
                  <a:lnTo>
                    <a:pt x="190" y="107"/>
                  </a:lnTo>
                  <a:lnTo>
                    <a:pt x="190" y="109"/>
                  </a:lnTo>
                  <a:close/>
                  <a:moveTo>
                    <a:pt x="52" y="322"/>
                  </a:moveTo>
                  <a:lnTo>
                    <a:pt x="54" y="322"/>
                  </a:lnTo>
                  <a:lnTo>
                    <a:pt x="55" y="322"/>
                  </a:lnTo>
                  <a:lnTo>
                    <a:pt x="55" y="324"/>
                  </a:lnTo>
                  <a:lnTo>
                    <a:pt x="55" y="326"/>
                  </a:lnTo>
                  <a:lnTo>
                    <a:pt x="55" y="328"/>
                  </a:lnTo>
                  <a:lnTo>
                    <a:pt x="54" y="328"/>
                  </a:lnTo>
                  <a:lnTo>
                    <a:pt x="55" y="328"/>
                  </a:lnTo>
                  <a:lnTo>
                    <a:pt x="54" y="328"/>
                  </a:lnTo>
                  <a:lnTo>
                    <a:pt x="54" y="326"/>
                  </a:lnTo>
                  <a:lnTo>
                    <a:pt x="52" y="326"/>
                  </a:lnTo>
                  <a:lnTo>
                    <a:pt x="52" y="324"/>
                  </a:lnTo>
                  <a:lnTo>
                    <a:pt x="54" y="324"/>
                  </a:lnTo>
                  <a:lnTo>
                    <a:pt x="52" y="324"/>
                  </a:lnTo>
                  <a:lnTo>
                    <a:pt x="54" y="324"/>
                  </a:lnTo>
                  <a:lnTo>
                    <a:pt x="52" y="324"/>
                  </a:lnTo>
                  <a:lnTo>
                    <a:pt x="54" y="324"/>
                  </a:lnTo>
                  <a:lnTo>
                    <a:pt x="52" y="324"/>
                  </a:lnTo>
                  <a:lnTo>
                    <a:pt x="52" y="322"/>
                  </a:lnTo>
                  <a:lnTo>
                    <a:pt x="54" y="322"/>
                  </a:lnTo>
                  <a:lnTo>
                    <a:pt x="52" y="322"/>
                  </a:lnTo>
                  <a:close/>
                  <a:moveTo>
                    <a:pt x="4" y="280"/>
                  </a:moveTo>
                  <a:lnTo>
                    <a:pt x="4" y="282"/>
                  </a:lnTo>
                  <a:lnTo>
                    <a:pt x="4" y="280"/>
                  </a:lnTo>
                  <a:lnTo>
                    <a:pt x="4" y="282"/>
                  </a:lnTo>
                  <a:lnTo>
                    <a:pt x="4" y="280"/>
                  </a:lnTo>
                  <a:lnTo>
                    <a:pt x="4" y="282"/>
                  </a:lnTo>
                  <a:lnTo>
                    <a:pt x="4" y="284"/>
                  </a:lnTo>
                  <a:lnTo>
                    <a:pt x="4" y="286"/>
                  </a:lnTo>
                  <a:lnTo>
                    <a:pt x="4" y="288"/>
                  </a:lnTo>
                  <a:lnTo>
                    <a:pt x="4" y="290"/>
                  </a:lnTo>
                  <a:lnTo>
                    <a:pt x="4" y="292"/>
                  </a:lnTo>
                  <a:lnTo>
                    <a:pt x="2" y="292"/>
                  </a:lnTo>
                  <a:lnTo>
                    <a:pt x="2" y="290"/>
                  </a:lnTo>
                  <a:lnTo>
                    <a:pt x="2" y="288"/>
                  </a:lnTo>
                  <a:lnTo>
                    <a:pt x="2" y="286"/>
                  </a:lnTo>
                  <a:lnTo>
                    <a:pt x="4" y="286"/>
                  </a:lnTo>
                  <a:lnTo>
                    <a:pt x="2" y="286"/>
                  </a:lnTo>
                  <a:lnTo>
                    <a:pt x="4" y="286"/>
                  </a:lnTo>
                  <a:lnTo>
                    <a:pt x="4" y="284"/>
                  </a:lnTo>
                  <a:lnTo>
                    <a:pt x="4" y="282"/>
                  </a:lnTo>
                  <a:lnTo>
                    <a:pt x="4" y="280"/>
                  </a:lnTo>
                  <a:close/>
                  <a:moveTo>
                    <a:pt x="274" y="184"/>
                  </a:moveTo>
                  <a:lnTo>
                    <a:pt x="272" y="184"/>
                  </a:lnTo>
                  <a:lnTo>
                    <a:pt x="271" y="184"/>
                  </a:lnTo>
                  <a:lnTo>
                    <a:pt x="272" y="184"/>
                  </a:lnTo>
                  <a:lnTo>
                    <a:pt x="274" y="184"/>
                  </a:lnTo>
                  <a:lnTo>
                    <a:pt x="274" y="182"/>
                  </a:lnTo>
                  <a:lnTo>
                    <a:pt x="276" y="182"/>
                  </a:lnTo>
                  <a:lnTo>
                    <a:pt x="276" y="180"/>
                  </a:lnTo>
                  <a:lnTo>
                    <a:pt x="278" y="180"/>
                  </a:lnTo>
                  <a:lnTo>
                    <a:pt x="280" y="180"/>
                  </a:lnTo>
                  <a:lnTo>
                    <a:pt x="280" y="178"/>
                  </a:lnTo>
                  <a:lnTo>
                    <a:pt x="282" y="178"/>
                  </a:lnTo>
                  <a:lnTo>
                    <a:pt x="282" y="176"/>
                  </a:lnTo>
                  <a:lnTo>
                    <a:pt x="284" y="176"/>
                  </a:lnTo>
                  <a:lnTo>
                    <a:pt x="284" y="174"/>
                  </a:lnTo>
                  <a:lnTo>
                    <a:pt x="284" y="173"/>
                  </a:lnTo>
                  <a:lnTo>
                    <a:pt x="286" y="171"/>
                  </a:lnTo>
                  <a:lnTo>
                    <a:pt x="286" y="173"/>
                  </a:lnTo>
                  <a:lnTo>
                    <a:pt x="284" y="173"/>
                  </a:lnTo>
                  <a:lnTo>
                    <a:pt x="284" y="174"/>
                  </a:lnTo>
                  <a:lnTo>
                    <a:pt x="284" y="176"/>
                  </a:lnTo>
                  <a:lnTo>
                    <a:pt x="284" y="178"/>
                  </a:lnTo>
                  <a:lnTo>
                    <a:pt x="282" y="178"/>
                  </a:lnTo>
                  <a:lnTo>
                    <a:pt x="282" y="180"/>
                  </a:lnTo>
                  <a:lnTo>
                    <a:pt x="280" y="180"/>
                  </a:lnTo>
                  <a:lnTo>
                    <a:pt x="278" y="180"/>
                  </a:lnTo>
                  <a:lnTo>
                    <a:pt x="278" y="182"/>
                  </a:lnTo>
                  <a:lnTo>
                    <a:pt x="276" y="182"/>
                  </a:lnTo>
                  <a:lnTo>
                    <a:pt x="274" y="182"/>
                  </a:lnTo>
                  <a:lnTo>
                    <a:pt x="274" y="184"/>
                  </a:lnTo>
                  <a:close/>
                  <a:moveTo>
                    <a:pt x="224" y="57"/>
                  </a:moveTo>
                  <a:lnTo>
                    <a:pt x="223" y="57"/>
                  </a:lnTo>
                  <a:lnTo>
                    <a:pt x="223" y="59"/>
                  </a:lnTo>
                  <a:lnTo>
                    <a:pt x="224" y="59"/>
                  </a:lnTo>
                  <a:lnTo>
                    <a:pt x="223" y="59"/>
                  </a:lnTo>
                  <a:lnTo>
                    <a:pt x="223" y="61"/>
                  </a:lnTo>
                  <a:lnTo>
                    <a:pt x="223" y="59"/>
                  </a:lnTo>
                  <a:lnTo>
                    <a:pt x="223" y="61"/>
                  </a:lnTo>
                  <a:lnTo>
                    <a:pt x="223" y="59"/>
                  </a:lnTo>
                  <a:lnTo>
                    <a:pt x="223" y="61"/>
                  </a:lnTo>
                  <a:lnTo>
                    <a:pt x="223" y="59"/>
                  </a:lnTo>
                  <a:lnTo>
                    <a:pt x="223" y="61"/>
                  </a:lnTo>
                  <a:lnTo>
                    <a:pt x="221" y="61"/>
                  </a:lnTo>
                  <a:lnTo>
                    <a:pt x="221" y="59"/>
                  </a:lnTo>
                  <a:lnTo>
                    <a:pt x="223" y="59"/>
                  </a:lnTo>
                  <a:lnTo>
                    <a:pt x="223" y="57"/>
                  </a:lnTo>
                  <a:lnTo>
                    <a:pt x="224" y="57"/>
                  </a:lnTo>
                  <a:close/>
                  <a:moveTo>
                    <a:pt x="217" y="55"/>
                  </a:moveTo>
                  <a:lnTo>
                    <a:pt x="215" y="55"/>
                  </a:lnTo>
                  <a:lnTo>
                    <a:pt x="215" y="57"/>
                  </a:lnTo>
                  <a:lnTo>
                    <a:pt x="215" y="59"/>
                  </a:lnTo>
                  <a:lnTo>
                    <a:pt x="213" y="59"/>
                  </a:lnTo>
                  <a:lnTo>
                    <a:pt x="215" y="59"/>
                  </a:lnTo>
                  <a:lnTo>
                    <a:pt x="215" y="57"/>
                  </a:lnTo>
                  <a:lnTo>
                    <a:pt x="213" y="57"/>
                  </a:lnTo>
                  <a:lnTo>
                    <a:pt x="215" y="57"/>
                  </a:lnTo>
                  <a:lnTo>
                    <a:pt x="215" y="55"/>
                  </a:lnTo>
                  <a:lnTo>
                    <a:pt x="215" y="54"/>
                  </a:lnTo>
                  <a:lnTo>
                    <a:pt x="217" y="54"/>
                  </a:lnTo>
                  <a:lnTo>
                    <a:pt x="217" y="55"/>
                  </a:lnTo>
                  <a:close/>
                  <a:moveTo>
                    <a:pt x="117" y="128"/>
                  </a:moveTo>
                  <a:lnTo>
                    <a:pt x="117" y="130"/>
                  </a:lnTo>
                  <a:lnTo>
                    <a:pt x="115" y="130"/>
                  </a:lnTo>
                  <a:lnTo>
                    <a:pt x="115" y="128"/>
                  </a:lnTo>
                  <a:lnTo>
                    <a:pt x="117" y="128"/>
                  </a:lnTo>
                  <a:lnTo>
                    <a:pt x="117" y="126"/>
                  </a:lnTo>
                  <a:lnTo>
                    <a:pt x="119" y="126"/>
                  </a:lnTo>
                  <a:lnTo>
                    <a:pt x="119" y="128"/>
                  </a:lnTo>
                  <a:lnTo>
                    <a:pt x="117" y="128"/>
                  </a:lnTo>
                  <a:close/>
                  <a:moveTo>
                    <a:pt x="2" y="290"/>
                  </a:moveTo>
                  <a:lnTo>
                    <a:pt x="2" y="292"/>
                  </a:lnTo>
                  <a:lnTo>
                    <a:pt x="2" y="294"/>
                  </a:lnTo>
                  <a:lnTo>
                    <a:pt x="0" y="294"/>
                  </a:lnTo>
                  <a:lnTo>
                    <a:pt x="0" y="292"/>
                  </a:lnTo>
                  <a:lnTo>
                    <a:pt x="0" y="290"/>
                  </a:lnTo>
                  <a:lnTo>
                    <a:pt x="2" y="290"/>
                  </a:lnTo>
                  <a:lnTo>
                    <a:pt x="0" y="290"/>
                  </a:lnTo>
                  <a:lnTo>
                    <a:pt x="2" y="290"/>
                  </a:lnTo>
                  <a:close/>
                  <a:moveTo>
                    <a:pt x="59" y="317"/>
                  </a:moveTo>
                  <a:lnTo>
                    <a:pt x="61" y="317"/>
                  </a:lnTo>
                  <a:lnTo>
                    <a:pt x="61" y="318"/>
                  </a:lnTo>
                  <a:lnTo>
                    <a:pt x="61" y="320"/>
                  </a:lnTo>
                  <a:lnTo>
                    <a:pt x="63" y="320"/>
                  </a:lnTo>
                  <a:lnTo>
                    <a:pt x="61" y="320"/>
                  </a:lnTo>
                  <a:lnTo>
                    <a:pt x="61" y="318"/>
                  </a:lnTo>
                  <a:lnTo>
                    <a:pt x="59" y="318"/>
                  </a:lnTo>
                  <a:lnTo>
                    <a:pt x="61" y="318"/>
                  </a:lnTo>
                  <a:lnTo>
                    <a:pt x="59" y="318"/>
                  </a:lnTo>
                  <a:lnTo>
                    <a:pt x="59" y="317"/>
                  </a:lnTo>
                  <a:close/>
                  <a:moveTo>
                    <a:pt x="88" y="257"/>
                  </a:moveTo>
                  <a:lnTo>
                    <a:pt x="88" y="259"/>
                  </a:lnTo>
                  <a:lnTo>
                    <a:pt x="86" y="259"/>
                  </a:lnTo>
                  <a:lnTo>
                    <a:pt x="86" y="257"/>
                  </a:lnTo>
                  <a:lnTo>
                    <a:pt x="86" y="259"/>
                  </a:lnTo>
                  <a:lnTo>
                    <a:pt x="86" y="257"/>
                  </a:lnTo>
                  <a:lnTo>
                    <a:pt x="88" y="257"/>
                  </a:lnTo>
                  <a:lnTo>
                    <a:pt x="86" y="257"/>
                  </a:lnTo>
                  <a:lnTo>
                    <a:pt x="88" y="257"/>
                  </a:lnTo>
                  <a:close/>
                  <a:moveTo>
                    <a:pt x="180" y="115"/>
                  </a:moveTo>
                  <a:lnTo>
                    <a:pt x="182" y="115"/>
                  </a:lnTo>
                  <a:lnTo>
                    <a:pt x="180" y="115"/>
                  </a:lnTo>
                  <a:lnTo>
                    <a:pt x="180" y="117"/>
                  </a:lnTo>
                  <a:lnTo>
                    <a:pt x="182" y="117"/>
                  </a:lnTo>
                  <a:lnTo>
                    <a:pt x="180" y="117"/>
                  </a:lnTo>
                  <a:lnTo>
                    <a:pt x="180" y="119"/>
                  </a:lnTo>
                  <a:lnTo>
                    <a:pt x="180" y="117"/>
                  </a:lnTo>
                  <a:lnTo>
                    <a:pt x="178" y="117"/>
                  </a:lnTo>
                  <a:lnTo>
                    <a:pt x="180" y="117"/>
                  </a:lnTo>
                  <a:lnTo>
                    <a:pt x="178" y="117"/>
                  </a:lnTo>
                  <a:lnTo>
                    <a:pt x="180" y="117"/>
                  </a:lnTo>
                  <a:lnTo>
                    <a:pt x="178" y="117"/>
                  </a:lnTo>
                  <a:lnTo>
                    <a:pt x="180" y="117"/>
                  </a:lnTo>
                  <a:lnTo>
                    <a:pt x="178" y="117"/>
                  </a:lnTo>
                  <a:lnTo>
                    <a:pt x="180" y="117"/>
                  </a:lnTo>
                  <a:lnTo>
                    <a:pt x="180" y="115"/>
                  </a:lnTo>
                  <a:close/>
                  <a:moveTo>
                    <a:pt x="190" y="113"/>
                  </a:moveTo>
                  <a:lnTo>
                    <a:pt x="192" y="113"/>
                  </a:lnTo>
                  <a:lnTo>
                    <a:pt x="190" y="113"/>
                  </a:lnTo>
                  <a:lnTo>
                    <a:pt x="192" y="113"/>
                  </a:lnTo>
                  <a:lnTo>
                    <a:pt x="192" y="115"/>
                  </a:lnTo>
                  <a:lnTo>
                    <a:pt x="190" y="115"/>
                  </a:lnTo>
                  <a:lnTo>
                    <a:pt x="190" y="113"/>
                  </a:lnTo>
                  <a:close/>
                  <a:moveTo>
                    <a:pt x="32" y="311"/>
                  </a:moveTo>
                  <a:lnTo>
                    <a:pt x="32" y="313"/>
                  </a:lnTo>
                  <a:lnTo>
                    <a:pt x="34" y="313"/>
                  </a:lnTo>
                  <a:lnTo>
                    <a:pt x="32" y="313"/>
                  </a:lnTo>
                  <a:lnTo>
                    <a:pt x="34" y="313"/>
                  </a:lnTo>
                  <a:lnTo>
                    <a:pt x="34" y="315"/>
                  </a:lnTo>
                  <a:lnTo>
                    <a:pt x="34" y="313"/>
                  </a:lnTo>
                  <a:lnTo>
                    <a:pt x="32" y="313"/>
                  </a:lnTo>
                  <a:lnTo>
                    <a:pt x="34" y="313"/>
                  </a:lnTo>
                  <a:lnTo>
                    <a:pt x="34" y="315"/>
                  </a:lnTo>
                  <a:lnTo>
                    <a:pt x="32" y="313"/>
                  </a:lnTo>
                  <a:lnTo>
                    <a:pt x="30" y="313"/>
                  </a:lnTo>
                  <a:lnTo>
                    <a:pt x="32" y="313"/>
                  </a:lnTo>
                  <a:lnTo>
                    <a:pt x="32" y="311"/>
                  </a:lnTo>
                  <a:lnTo>
                    <a:pt x="32" y="313"/>
                  </a:lnTo>
                  <a:lnTo>
                    <a:pt x="32" y="311"/>
                  </a:lnTo>
                  <a:close/>
                  <a:moveTo>
                    <a:pt x="88" y="238"/>
                  </a:moveTo>
                  <a:lnTo>
                    <a:pt x="90" y="238"/>
                  </a:lnTo>
                  <a:lnTo>
                    <a:pt x="88" y="238"/>
                  </a:lnTo>
                  <a:lnTo>
                    <a:pt x="88" y="240"/>
                  </a:lnTo>
                  <a:lnTo>
                    <a:pt x="90" y="240"/>
                  </a:lnTo>
                  <a:lnTo>
                    <a:pt x="88" y="240"/>
                  </a:lnTo>
                  <a:lnTo>
                    <a:pt x="88" y="238"/>
                  </a:lnTo>
                  <a:close/>
                  <a:moveTo>
                    <a:pt x="169" y="2"/>
                  </a:moveTo>
                  <a:lnTo>
                    <a:pt x="171" y="2"/>
                  </a:lnTo>
                  <a:lnTo>
                    <a:pt x="171" y="4"/>
                  </a:lnTo>
                  <a:lnTo>
                    <a:pt x="169" y="4"/>
                  </a:lnTo>
                  <a:lnTo>
                    <a:pt x="169" y="2"/>
                  </a:lnTo>
                  <a:lnTo>
                    <a:pt x="169" y="0"/>
                  </a:lnTo>
                  <a:lnTo>
                    <a:pt x="169" y="2"/>
                  </a:lnTo>
                  <a:close/>
                  <a:moveTo>
                    <a:pt x="86" y="244"/>
                  </a:moveTo>
                  <a:lnTo>
                    <a:pt x="88" y="244"/>
                  </a:lnTo>
                  <a:lnTo>
                    <a:pt x="88" y="246"/>
                  </a:lnTo>
                  <a:lnTo>
                    <a:pt x="88" y="244"/>
                  </a:lnTo>
                  <a:lnTo>
                    <a:pt x="88" y="246"/>
                  </a:lnTo>
                  <a:lnTo>
                    <a:pt x="86" y="246"/>
                  </a:lnTo>
                  <a:lnTo>
                    <a:pt x="86" y="244"/>
                  </a:lnTo>
                  <a:close/>
                  <a:moveTo>
                    <a:pt x="111" y="217"/>
                  </a:moveTo>
                  <a:lnTo>
                    <a:pt x="111" y="219"/>
                  </a:lnTo>
                  <a:lnTo>
                    <a:pt x="113" y="219"/>
                  </a:lnTo>
                  <a:lnTo>
                    <a:pt x="111" y="219"/>
                  </a:lnTo>
                  <a:lnTo>
                    <a:pt x="111" y="217"/>
                  </a:lnTo>
                  <a:lnTo>
                    <a:pt x="109" y="217"/>
                  </a:lnTo>
                  <a:lnTo>
                    <a:pt x="111" y="217"/>
                  </a:lnTo>
                  <a:close/>
                  <a:moveTo>
                    <a:pt x="30" y="320"/>
                  </a:moveTo>
                  <a:lnTo>
                    <a:pt x="32" y="320"/>
                  </a:lnTo>
                  <a:lnTo>
                    <a:pt x="32" y="322"/>
                  </a:lnTo>
                  <a:lnTo>
                    <a:pt x="30" y="322"/>
                  </a:lnTo>
                  <a:lnTo>
                    <a:pt x="30" y="320"/>
                  </a:lnTo>
                  <a:close/>
                  <a:moveTo>
                    <a:pt x="138" y="194"/>
                  </a:moveTo>
                  <a:lnTo>
                    <a:pt x="140" y="194"/>
                  </a:lnTo>
                  <a:lnTo>
                    <a:pt x="138" y="194"/>
                  </a:lnTo>
                  <a:lnTo>
                    <a:pt x="138" y="196"/>
                  </a:lnTo>
                  <a:lnTo>
                    <a:pt x="138" y="194"/>
                  </a:lnTo>
                  <a:lnTo>
                    <a:pt x="138" y="196"/>
                  </a:lnTo>
                  <a:lnTo>
                    <a:pt x="140" y="194"/>
                  </a:lnTo>
                  <a:lnTo>
                    <a:pt x="140" y="196"/>
                  </a:lnTo>
                  <a:lnTo>
                    <a:pt x="138" y="196"/>
                  </a:lnTo>
                  <a:lnTo>
                    <a:pt x="138" y="194"/>
                  </a:lnTo>
                  <a:close/>
                  <a:moveTo>
                    <a:pt x="78" y="282"/>
                  </a:moveTo>
                  <a:lnTo>
                    <a:pt x="78" y="284"/>
                  </a:lnTo>
                  <a:lnTo>
                    <a:pt x="78" y="282"/>
                  </a:lnTo>
                  <a:lnTo>
                    <a:pt x="78" y="284"/>
                  </a:lnTo>
                  <a:lnTo>
                    <a:pt x="77" y="282"/>
                  </a:lnTo>
                  <a:lnTo>
                    <a:pt x="78" y="282"/>
                  </a:lnTo>
                  <a:close/>
                  <a:moveTo>
                    <a:pt x="36" y="334"/>
                  </a:moveTo>
                  <a:lnTo>
                    <a:pt x="38" y="334"/>
                  </a:lnTo>
                  <a:lnTo>
                    <a:pt x="38" y="336"/>
                  </a:lnTo>
                  <a:lnTo>
                    <a:pt x="36" y="336"/>
                  </a:lnTo>
                  <a:lnTo>
                    <a:pt x="38" y="336"/>
                  </a:lnTo>
                  <a:lnTo>
                    <a:pt x="36" y="336"/>
                  </a:lnTo>
                  <a:lnTo>
                    <a:pt x="36" y="334"/>
                  </a:lnTo>
                  <a:close/>
                  <a:moveTo>
                    <a:pt x="165" y="163"/>
                  </a:moveTo>
                  <a:lnTo>
                    <a:pt x="165" y="165"/>
                  </a:lnTo>
                  <a:lnTo>
                    <a:pt x="163" y="165"/>
                  </a:lnTo>
                  <a:lnTo>
                    <a:pt x="163" y="163"/>
                  </a:lnTo>
                  <a:lnTo>
                    <a:pt x="165" y="163"/>
                  </a:lnTo>
                  <a:close/>
                  <a:moveTo>
                    <a:pt x="30" y="313"/>
                  </a:moveTo>
                  <a:lnTo>
                    <a:pt x="32" y="313"/>
                  </a:lnTo>
                  <a:lnTo>
                    <a:pt x="32" y="315"/>
                  </a:lnTo>
                  <a:lnTo>
                    <a:pt x="34" y="315"/>
                  </a:lnTo>
                  <a:lnTo>
                    <a:pt x="34" y="317"/>
                  </a:lnTo>
                  <a:lnTo>
                    <a:pt x="34" y="315"/>
                  </a:lnTo>
                  <a:lnTo>
                    <a:pt x="34" y="317"/>
                  </a:lnTo>
                  <a:lnTo>
                    <a:pt x="34" y="315"/>
                  </a:lnTo>
                  <a:lnTo>
                    <a:pt x="34" y="317"/>
                  </a:lnTo>
                  <a:lnTo>
                    <a:pt x="34" y="315"/>
                  </a:lnTo>
                  <a:lnTo>
                    <a:pt x="32" y="315"/>
                  </a:lnTo>
                  <a:lnTo>
                    <a:pt x="32" y="313"/>
                  </a:lnTo>
                  <a:lnTo>
                    <a:pt x="32" y="315"/>
                  </a:lnTo>
                  <a:lnTo>
                    <a:pt x="32" y="313"/>
                  </a:lnTo>
                  <a:lnTo>
                    <a:pt x="30" y="313"/>
                  </a:lnTo>
                  <a:close/>
                  <a:moveTo>
                    <a:pt x="144" y="188"/>
                  </a:moveTo>
                  <a:lnTo>
                    <a:pt x="142" y="188"/>
                  </a:lnTo>
                  <a:lnTo>
                    <a:pt x="142" y="190"/>
                  </a:lnTo>
                  <a:lnTo>
                    <a:pt x="144" y="190"/>
                  </a:lnTo>
                  <a:lnTo>
                    <a:pt x="142" y="190"/>
                  </a:lnTo>
                  <a:lnTo>
                    <a:pt x="142" y="188"/>
                  </a:lnTo>
                  <a:lnTo>
                    <a:pt x="144" y="188"/>
                  </a:lnTo>
                  <a:close/>
                  <a:moveTo>
                    <a:pt x="196" y="125"/>
                  </a:moveTo>
                  <a:lnTo>
                    <a:pt x="196" y="126"/>
                  </a:lnTo>
                  <a:lnTo>
                    <a:pt x="196" y="125"/>
                  </a:lnTo>
                  <a:close/>
                  <a:moveTo>
                    <a:pt x="61" y="317"/>
                  </a:moveTo>
                  <a:lnTo>
                    <a:pt x="63" y="317"/>
                  </a:lnTo>
                  <a:lnTo>
                    <a:pt x="63" y="318"/>
                  </a:lnTo>
                  <a:lnTo>
                    <a:pt x="63" y="317"/>
                  </a:lnTo>
                  <a:lnTo>
                    <a:pt x="61" y="317"/>
                  </a:lnTo>
                  <a:close/>
                  <a:moveTo>
                    <a:pt x="163" y="167"/>
                  </a:moveTo>
                  <a:lnTo>
                    <a:pt x="163" y="169"/>
                  </a:lnTo>
                  <a:lnTo>
                    <a:pt x="163" y="167"/>
                  </a:lnTo>
                  <a:lnTo>
                    <a:pt x="163" y="169"/>
                  </a:lnTo>
                  <a:lnTo>
                    <a:pt x="161" y="169"/>
                  </a:lnTo>
                  <a:lnTo>
                    <a:pt x="163" y="169"/>
                  </a:lnTo>
                  <a:lnTo>
                    <a:pt x="163" y="167"/>
                  </a:lnTo>
                  <a:close/>
                  <a:moveTo>
                    <a:pt x="176" y="148"/>
                  </a:moveTo>
                  <a:lnTo>
                    <a:pt x="176" y="150"/>
                  </a:lnTo>
                  <a:lnTo>
                    <a:pt x="176" y="148"/>
                  </a:lnTo>
                  <a:lnTo>
                    <a:pt x="174" y="148"/>
                  </a:lnTo>
                  <a:lnTo>
                    <a:pt x="176" y="148"/>
                  </a:lnTo>
                  <a:close/>
                  <a:moveTo>
                    <a:pt x="151" y="98"/>
                  </a:moveTo>
                  <a:lnTo>
                    <a:pt x="150" y="98"/>
                  </a:lnTo>
                  <a:lnTo>
                    <a:pt x="151" y="98"/>
                  </a:lnTo>
                  <a:lnTo>
                    <a:pt x="151" y="100"/>
                  </a:lnTo>
                  <a:lnTo>
                    <a:pt x="151" y="98"/>
                  </a:lnTo>
                  <a:lnTo>
                    <a:pt x="150" y="98"/>
                  </a:lnTo>
                  <a:lnTo>
                    <a:pt x="151" y="98"/>
                  </a:lnTo>
                  <a:close/>
                  <a:moveTo>
                    <a:pt x="192" y="123"/>
                  </a:moveTo>
                  <a:lnTo>
                    <a:pt x="192" y="125"/>
                  </a:lnTo>
                  <a:lnTo>
                    <a:pt x="192" y="123"/>
                  </a:lnTo>
                  <a:close/>
                  <a:moveTo>
                    <a:pt x="88" y="255"/>
                  </a:moveTo>
                  <a:lnTo>
                    <a:pt x="86" y="255"/>
                  </a:lnTo>
                  <a:lnTo>
                    <a:pt x="88" y="255"/>
                  </a:lnTo>
                  <a:close/>
                  <a:moveTo>
                    <a:pt x="161" y="169"/>
                  </a:moveTo>
                  <a:lnTo>
                    <a:pt x="161" y="171"/>
                  </a:lnTo>
                  <a:lnTo>
                    <a:pt x="161" y="169"/>
                  </a:lnTo>
                  <a:close/>
                  <a:moveTo>
                    <a:pt x="140" y="194"/>
                  </a:moveTo>
                  <a:lnTo>
                    <a:pt x="140" y="192"/>
                  </a:lnTo>
                  <a:lnTo>
                    <a:pt x="140" y="194"/>
                  </a:lnTo>
                  <a:lnTo>
                    <a:pt x="140" y="192"/>
                  </a:lnTo>
                  <a:lnTo>
                    <a:pt x="140" y="194"/>
                  </a:lnTo>
                  <a:close/>
                  <a:moveTo>
                    <a:pt x="190" y="65"/>
                  </a:moveTo>
                  <a:lnTo>
                    <a:pt x="190" y="63"/>
                  </a:lnTo>
                  <a:lnTo>
                    <a:pt x="190" y="65"/>
                  </a:lnTo>
                  <a:close/>
                  <a:moveTo>
                    <a:pt x="92" y="247"/>
                  </a:moveTo>
                  <a:lnTo>
                    <a:pt x="90" y="247"/>
                  </a:lnTo>
                  <a:lnTo>
                    <a:pt x="92" y="247"/>
                  </a:lnTo>
                  <a:close/>
                  <a:moveTo>
                    <a:pt x="32" y="315"/>
                  </a:moveTo>
                  <a:lnTo>
                    <a:pt x="32" y="317"/>
                  </a:lnTo>
                  <a:lnTo>
                    <a:pt x="34" y="317"/>
                  </a:lnTo>
                  <a:lnTo>
                    <a:pt x="32" y="317"/>
                  </a:lnTo>
                  <a:lnTo>
                    <a:pt x="32" y="315"/>
                  </a:lnTo>
                  <a:lnTo>
                    <a:pt x="32" y="317"/>
                  </a:lnTo>
                  <a:lnTo>
                    <a:pt x="32" y="315"/>
                  </a:lnTo>
                  <a:close/>
                  <a:moveTo>
                    <a:pt x="196" y="128"/>
                  </a:moveTo>
                  <a:lnTo>
                    <a:pt x="194" y="128"/>
                  </a:lnTo>
                  <a:lnTo>
                    <a:pt x="196" y="128"/>
                  </a:lnTo>
                  <a:close/>
                  <a:moveTo>
                    <a:pt x="21" y="315"/>
                  </a:moveTo>
                  <a:lnTo>
                    <a:pt x="21" y="317"/>
                  </a:lnTo>
                  <a:lnTo>
                    <a:pt x="21" y="315"/>
                  </a:lnTo>
                  <a:lnTo>
                    <a:pt x="21" y="317"/>
                  </a:lnTo>
                  <a:lnTo>
                    <a:pt x="21" y="315"/>
                  </a:lnTo>
                  <a:close/>
                  <a:moveTo>
                    <a:pt x="176" y="115"/>
                  </a:moveTo>
                  <a:lnTo>
                    <a:pt x="178" y="115"/>
                  </a:lnTo>
                  <a:lnTo>
                    <a:pt x="176" y="115"/>
                  </a:lnTo>
                  <a:lnTo>
                    <a:pt x="178" y="115"/>
                  </a:lnTo>
                  <a:lnTo>
                    <a:pt x="176" y="115"/>
                  </a:lnTo>
                  <a:close/>
                  <a:moveTo>
                    <a:pt x="144" y="188"/>
                  </a:moveTo>
                  <a:lnTo>
                    <a:pt x="144" y="190"/>
                  </a:lnTo>
                  <a:lnTo>
                    <a:pt x="144" y="188"/>
                  </a:lnTo>
                  <a:close/>
                  <a:moveTo>
                    <a:pt x="46" y="326"/>
                  </a:moveTo>
                  <a:lnTo>
                    <a:pt x="48" y="326"/>
                  </a:lnTo>
                  <a:lnTo>
                    <a:pt x="48" y="328"/>
                  </a:lnTo>
                  <a:lnTo>
                    <a:pt x="48" y="326"/>
                  </a:lnTo>
                  <a:lnTo>
                    <a:pt x="46" y="326"/>
                  </a:lnTo>
                  <a:close/>
                  <a:moveTo>
                    <a:pt x="84" y="247"/>
                  </a:moveTo>
                  <a:lnTo>
                    <a:pt x="84" y="249"/>
                  </a:lnTo>
                  <a:lnTo>
                    <a:pt x="86" y="249"/>
                  </a:lnTo>
                  <a:lnTo>
                    <a:pt x="84" y="249"/>
                  </a:lnTo>
                  <a:lnTo>
                    <a:pt x="84" y="247"/>
                  </a:lnTo>
                  <a:lnTo>
                    <a:pt x="84" y="249"/>
                  </a:lnTo>
                  <a:lnTo>
                    <a:pt x="84" y="247"/>
                  </a:lnTo>
                  <a:close/>
                  <a:moveTo>
                    <a:pt x="142" y="192"/>
                  </a:moveTo>
                  <a:lnTo>
                    <a:pt x="140" y="192"/>
                  </a:lnTo>
                  <a:lnTo>
                    <a:pt x="142" y="192"/>
                  </a:lnTo>
                  <a:close/>
                  <a:moveTo>
                    <a:pt x="157" y="121"/>
                  </a:moveTo>
                  <a:lnTo>
                    <a:pt x="159" y="121"/>
                  </a:lnTo>
                  <a:lnTo>
                    <a:pt x="157" y="121"/>
                  </a:lnTo>
                  <a:lnTo>
                    <a:pt x="157" y="119"/>
                  </a:lnTo>
                  <a:lnTo>
                    <a:pt x="157" y="121"/>
                  </a:lnTo>
                  <a:close/>
                  <a:moveTo>
                    <a:pt x="36" y="330"/>
                  </a:moveTo>
                  <a:lnTo>
                    <a:pt x="36" y="332"/>
                  </a:lnTo>
                  <a:lnTo>
                    <a:pt x="38" y="332"/>
                  </a:lnTo>
                  <a:lnTo>
                    <a:pt x="36" y="332"/>
                  </a:lnTo>
                  <a:lnTo>
                    <a:pt x="36" y="330"/>
                  </a:lnTo>
                  <a:close/>
                  <a:moveTo>
                    <a:pt x="32" y="209"/>
                  </a:moveTo>
                  <a:lnTo>
                    <a:pt x="32" y="207"/>
                  </a:lnTo>
                  <a:lnTo>
                    <a:pt x="32" y="209"/>
                  </a:lnTo>
                  <a:close/>
                  <a:moveTo>
                    <a:pt x="84" y="244"/>
                  </a:moveTo>
                  <a:lnTo>
                    <a:pt x="82" y="244"/>
                  </a:lnTo>
                  <a:lnTo>
                    <a:pt x="82" y="246"/>
                  </a:lnTo>
                  <a:lnTo>
                    <a:pt x="82" y="244"/>
                  </a:lnTo>
                  <a:lnTo>
                    <a:pt x="84" y="244"/>
                  </a:lnTo>
                  <a:close/>
                  <a:moveTo>
                    <a:pt x="174" y="148"/>
                  </a:moveTo>
                  <a:lnTo>
                    <a:pt x="174" y="150"/>
                  </a:lnTo>
                  <a:lnTo>
                    <a:pt x="174" y="148"/>
                  </a:lnTo>
                  <a:close/>
                  <a:moveTo>
                    <a:pt x="194" y="123"/>
                  </a:moveTo>
                  <a:lnTo>
                    <a:pt x="194" y="125"/>
                  </a:lnTo>
                  <a:lnTo>
                    <a:pt x="194" y="123"/>
                  </a:lnTo>
                  <a:close/>
                  <a:moveTo>
                    <a:pt x="194" y="130"/>
                  </a:moveTo>
                  <a:lnTo>
                    <a:pt x="194" y="132"/>
                  </a:lnTo>
                  <a:lnTo>
                    <a:pt x="194" y="130"/>
                  </a:lnTo>
                  <a:close/>
                  <a:moveTo>
                    <a:pt x="140" y="190"/>
                  </a:moveTo>
                  <a:lnTo>
                    <a:pt x="140" y="192"/>
                  </a:lnTo>
                  <a:lnTo>
                    <a:pt x="140" y="190"/>
                  </a:lnTo>
                  <a:lnTo>
                    <a:pt x="140" y="192"/>
                  </a:lnTo>
                  <a:lnTo>
                    <a:pt x="140" y="190"/>
                  </a:lnTo>
                  <a:close/>
                  <a:moveTo>
                    <a:pt x="34" y="315"/>
                  </a:moveTo>
                  <a:lnTo>
                    <a:pt x="36" y="315"/>
                  </a:lnTo>
                  <a:lnTo>
                    <a:pt x="34" y="315"/>
                  </a:lnTo>
                  <a:lnTo>
                    <a:pt x="36" y="315"/>
                  </a:lnTo>
                  <a:lnTo>
                    <a:pt x="34" y="315"/>
                  </a:lnTo>
                  <a:close/>
                  <a:moveTo>
                    <a:pt x="50" y="326"/>
                  </a:moveTo>
                  <a:lnTo>
                    <a:pt x="48" y="326"/>
                  </a:lnTo>
                  <a:lnTo>
                    <a:pt x="50" y="326"/>
                  </a:lnTo>
                  <a:close/>
                  <a:moveTo>
                    <a:pt x="150" y="100"/>
                  </a:moveTo>
                  <a:lnTo>
                    <a:pt x="150" y="102"/>
                  </a:lnTo>
                  <a:lnTo>
                    <a:pt x="150" y="100"/>
                  </a:lnTo>
                  <a:close/>
                  <a:moveTo>
                    <a:pt x="161" y="171"/>
                  </a:moveTo>
                  <a:lnTo>
                    <a:pt x="159" y="171"/>
                  </a:lnTo>
                  <a:lnTo>
                    <a:pt x="161" y="171"/>
                  </a:lnTo>
                  <a:close/>
                  <a:moveTo>
                    <a:pt x="190" y="132"/>
                  </a:moveTo>
                  <a:lnTo>
                    <a:pt x="188" y="132"/>
                  </a:lnTo>
                  <a:lnTo>
                    <a:pt x="190" y="132"/>
                  </a:lnTo>
                  <a:close/>
                  <a:moveTo>
                    <a:pt x="138" y="196"/>
                  </a:moveTo>
                  <a:lnTo>
                    <a:pt x="136" y="196"/>
                  </a:lnTo>
                  <a:lnTo>
                    <a:pt x="138" y="196"/>
                  </a:lnTo>
                  <a:close/>
                  <a:moveTo>
                    <a:pt x="25" y="317"/>
                  </a:moveTo>
                  <a:lnTo>
                    <a:pt x="27" y="317"/>
                  </a:lnTo>
                  <a:lnTo>
                    <a:pt x="25" y="318"/>
                  </a:lnTo>
                  <a:lnTo>
                    <a:pt x="27" y="318"/>
                  </a:lnTo>
                  <a:lnTo>
                    <a:pt x="27" y="317"/>
                  </a:lnTo>
                  <a:lnTo>
                    <a:pt x="27" y="318"/>
                  </a:lnTo>
                  <a:lnTo>
                    <a:pt x="25" y="318"/>
                  </a:lnTo>
                  <a:lnTo>
                    <a:pt x="25" y="317"/>
                  </a:lnTo>
                  <a:close/>
                  <a:moveTo>
                    <a:pt x="44" y="322"/>
                  </a:moveTo>
                  <a:lnTo>
                    <a:pt x="44" y="324"/>
                  </a:lnTo>
                  <a:lnTo>
                    <a:pt x="42" y="324"/>
                  </a:lnTo>
                  <a:lnTo>
                    <a:pt x="44" y="324"/>
                  </a:lnTo>
                  <a:lnTo>
                    <a:pt x="44" y="322"/>
                  </a:lnTo>
                  <a:close/>
                  <a:moveTo>
                    <a:pt x="29" y="317"/>
                  </a:moveTo>
                  <a:lnTo>
                    <a:pt x="29" y="318"/>
                  </a:lnTo>
                  <a:lnTo>
                    <a:pt x="29" y="317"/>
                  </a:lnTo>
                  <a:close/>
                  <a:moveTo>
                    <a:pt x="190" y="132"/>
                  </a:moveTo>
                  <a:lnTo>
                    <a:pt x="190" y="134"/>
                  </a:lnTo>
                  <a:lnTo>
                    <a:pt x="190" y="132"/>
                  </a:lnTo>
                  <a:close/>
                  <a:moveTo>
                    <a:pt x="151" y="71"/>
                  </a:moveTo>
                  <a:lnTo>
                    <a:pt x="151" y="73"/>
                  </a:lnTo>
                  <a:lnTo>
                    <a:pt x="151" y="71"/>
                  </a:lnTo>
                  <a:close/>
                  <a:moveTo>
                    <a:pt x="184" y="115"/>
                  </a:moveTo>
                  <a:lnTo>
                    <a:pt x="184" y="117"/>
                  </a:lnTo>
                  <a:lnTo>
                    <a:pt x="182" y="117"/>
                  </a:lnTo>
                  <a:lnTo>
                    <a:pt x="182" y="115"/>
                  </a:lnTo>
                  <a:lnTo>
                    <a:pt x="182" y="117"/>
                  </a:lnTo>
                  <a:lnTo>
                    <a:pt x="182" y="115"/>
                  </a:lnTo>
                  <a:lnTo>
                    <a:pt x="182" y="117"/>
                  </a:lnTo>
                  <a:lnTo>
                    <a:pt x="182" y="115"/>
                  </a:lnTo>
                  <a:lnTo>
                    <a:pt x="182" y="117"/>
                  </a:lnTo>
                  <a:lnTo>
                    <a:pt x="182" y="115"/>
                  </a:lnTo>
                  <a:lnTo>
                    <a:pt x="184" y="115"/>
                  </a:lnTo>
                  <a:close/>
                  <a:moveTo>
                    <a:pt x="176" y="102"/>
                  </a:moveTo>
                  <a:lnTo>
                    <a:pt x="176" y="103"/>
                  </a:lnTo>
                  <a:lnTo>
                    <a:pt x="176" y="102"/>
                  </a:lnTo>
                  <a:close/>
                  <a:moveTo>
                    <a:pt x="178" y="115"/>
                  </a:moveTo>
                  <a:lnTo>
                    <a:pt x="176" y="115"/>
                  </a:lnTo>
                  <a:lnTo>
                    <a:pt x="178" y="115"/>
                  </a:lnTo>
                  <a:lnTo>
                    <a:pt x="178" y="113"/>
                  </a:lnTo>
                  <a:lnTo>
                    <a:pt x="178" y="115"/>
                  </a:lnTo>
                  <a:close/>
                  <a:moveTo>
                    <a:pt x="82" y="144"/>
                  </a:moveTo>
                  <a:lnTo>
                    <a:pt x="80" y="144"/>
                  </a:lnTo>
                  <a:lnTo>
                    <a:pt x="82" y="144"/>
                  </a:lnTo>
                  <a:close/>
                  <a:moveTo>
                    <a:pt x="115" y="134"/>
                  </a:moveTo>
                  <a:lnTo>
                    <a:pt x="115" y="136"/>
                  </a:lnTo>
                  <a:lnTo>
                    <a:pt x="115" y="134"/>
                  </a:lnTo>
                  <a:lnTo>
                    <a:pt x="115" y="136"/>
                  </a:lnTo>
                  <a:lnTo>
                    <a:pt x="113" y="136"/>
                  </a:lnTo>
                  <a:lnTo>
                    <a:pt x="115" y="136"/>
                  </a:lnTo>
                  <a:lnTo>
                    <a:pt x="115" y="134"/>
                  </a:lnTo>
                  <a:close/>
                  <a:moveTo>
                    <a:pt x="67" y="182"/>
                  </a:moveTo>
                  <a:lnTo>
                    <a:pt x="67" y="184"/>
                  </a:lnTo>
                  <a:lnTo>
                    <a:pt x="67" y="182"/>
                  </a:lnTo>
                  <a:close/>
                  <a:moveTo>
                    <a:pt x="86" y="246"/>
                  </a:moveTo>
                  <a:lnTo>
                    <a:pt x="84" y="246"/>
                  </a:lnTo>
                  <a:lnTo>
                    <a:pt x="86" y="246"/>
                  </a:lnTo>
                  <a:close/>
                  <a:moveTo>
                    <a:pt x="171" y="92"/>
                  </a:moveTo>
                  <a:lnTo>
                    <a:pt x="169" y="92"/>
                  </a:lnTo>
                  <a:lnTo>
                    <a:pt x="171" y="92"/>
                  </a:lnTo>
                  <a:close/>
                  <a:moveTo>
                    <a:pt x="192" y="105"/>
                  </a:moveTo>
                  <a:lnTo>
                    <a:pt x="194" y="105"/>
                  </a:lnTo>
                  <a:lnTo>
                    <a:pt x="192" y="105"/>
                  </a:lnTo>
                  <a:close/>
                  <a:moveTo>
                    <a:pt x="173" y="90"/>
                  </a:moveTo>
                  <a:lnTo>
                    <a:pt x="173" y="92"/>
                  </a:lnTo>
                  <a:lnTo>
                    <a:pt x="171" y="92"/>
                  </a:lnTo>
                  <a:lnTo>
                    <a:pt x="173" y="92"/>
                  </a:lnTo>
                  <a:lnTo>
                    <a:pt x="173" y="90"/>
                  </a:lnTo>
                  <a:close/>
                  <a:moveTo>
                    <a:pt x="159" y="173"/>
                  </a:moveTo>
                  <a:lnTo>
                    <a:pt x="157" y="173"/>
                  </a:lnTo>
                  <a:lnTo>
                    <a:pt x="159" y="173"/>
                  </a:lnTo>
                  <a:close/>
                  <a:moveTo>
                    <a:pt x="55" y="328"/>
                  </a:moveTo>
                  <a:lnTo>
                    <a:pt x="55" y="330"/>
                  </a:lnTo>
                  <a:lnTo>
                    <a:pt x="54" y="330"/>
                  </a:lnTo>
                  <a:lnTo>
                    <a:pt x="54" y="328"/>
                  </a:lnTo>
                  <a:lnTo>
                    <a:pt x="54" y="330"/>
                  </a:lnTo>
                  <a:lnTo>
                    <a:pt x="54" y="328"/>
                  </a:lnTo>
                  <a:lnTo>
                    <a:pt x="54" y="330"/>
                  </a:lnTo>
                  <a:lnTo>
                    <a:pt x="54" y="328"/>
                  </a:lnTo>
                  <a:lnTo>
                    <a:pt x="54" y="330"/>
                  </a:lnTo>
                  <a:lnTo>
                    <a:pt x="54" y="328"/>
                  </a:lnTo>
                  <a:lnTo>
                    <a:pt x="54" y="330"/>
                  </a:lnTo>
                  <a:lnTo>
                    <a:pt x="54" y="328"/>
                  </a:lnTo>
                  <a:lnTo>
                    <a:pt x="55" y="330"/>
                  </a:lnTo>
                  <a:lnTo>
                    <a:pt x="55" y="328"/>
                  </a:lnTo>
                  <a:close/>
                  <a:moveTo>
                    <a:pt x="86" y="255"/>
                  </a:moveTo>
                  <a:lnTo>
                    <a:pt x="86" y="257"/>
                  </a:lnTo>
                  <a:lnTo>
                    <a:pt x="86" y="255"/>
                  </a:lnTo>
                  <a:close/>
                  <a:moveTo>
                    <a:pt x="190" y="94"/>
                  </a:moveTo>
                  <a:lnTo>
                    <a:pt x="190" y="96"/>
                  </a:lnTo>
                  <a:lnTo>
                    <a:pt x="190" y="94"/>
                  </a:lnTo>
                  <a:lnTo>
                    <a:pt x="190" y="96"/>
                  </a:lnTo>
                  <a:lnTo>
                    <a:pt x="188" y="96"/>
                  </a:lnTo>
                  <a:lnTo>
                    <a:pt x="190" y="96"/>
                  </a:lnTo>
                  <a:lnTo>
                    <a:pt x="190" y="94"/>
                  </a:lnTo>
                  <a:close/>
                  <a:moveTo>
                    <a:pt x="194" y="123"/>
                  </a:moveTo>
                  <a:lnTo>
                    <a:pt x="194" y="125"/>
                  </a:lnTo>
                  <a:lnTo>
                    <a:pt x="194" y="123"/>
                  </a:lnTo>
                  <a:close/>
                  <a:moveTo>
                    <a:pt x="86" y="257"/>
                  </a:moveTo>
                  <a:lnTo>
                    <a:pt x="86" y="255"/>
                  </a:lnTo>
                  <a:lnTo>
                    <a:pt x="86" y="257"/>
                  </a:lnTo>
                  <a:close/>
                  <a:moveTo>
                    <a:pt x="90" y="253"/>
                  </a:moveTo>
                  <a:lnTo>
                    <a:pt x="90" y="255"/>
                  </a:lnTo>
                  <a:lnTo>
                    <a:pt x="90" y="253"/>
                  </a:lnTo>
                  <a:close/>
                  <a:moveTo>
                    <a:pt x="155" y="92"/>
                  </a:moveTo>
                  <a:lnTo>
                    <a:pt x="153" y="92"/>
                  </a:lnTo>
                  <a:lnTo>
                    <a:pt x="155" y="92"/>
                  </a:lnTo>
                  <a:lnTo>
                    <a:pt x="153" y="92"/>
                  </a:lnTo>
                  <a:lnTo>
                    <a:pt x="155" y="92"/>
                  </a:lnTo>
                  <a:close/>
                  <a:moveTo>
                    <a:pt x="82" y="242"/>
                  </a:moveTo>
                  <a:lnTo>
                    <a:pt x="84" y="242"/>
                  </a:lnTo>
                  <a:lnTo>
                    <a:pt x="82" y="242"/>
                  </a:lnTo>
                  <a:lnTo>
                    <a:pt x="84" y="242"/>
                  </a:lnTo>
                  <a:lnTo>
                    <a:pt x="82" y="242"/>
                  </a:lnTo>
                  <a:lnTo>
                    <a:pt x="84" y="242"/>
                  </a:lnTo>
                  <a:lnTo>
                    <a:pt x="82" y="242"/>
                  </a:lnTo>
                  <a:close/>
                  <a:moveTo>
                    <a:pt x="92" y="240"/>
                  </a:moveTo>
                  <a:lnTo>
                    <a:pt x="90" y="240"/>
                  </a:lnTo>
                  <a:lnTo>
                    <a:pt x="92" y="240"/>
                  </a:lnTo>
                  <a:close/>
                  <a:moveTo>
                    <a:pt x="32" y="315"/>
                  </a:moveTo>
                  <a:lnTo>
                    <a:pt x="30" y="315"/>
                  </a:lnTo>
                  <a:lnTo>
                    <a:pt x="32" y="315"/>
                  </a:lnTo>
                  <a:close/>
                  <a:moveTo>
                    <a:pt x="100" y="228"/>
                  </a:moveTo>
                  <a:lnTo>
                    <a:pt x="102" y="228"/>
                  </a:lnTo>
                  <a:lnTo>
                    <a:pt x="102" y="230"/>
                  </a:lnTo>
                  <a:lnTo>
                    <a:pt x="100" y="230"/>
                  </a:lnTo>
                  <a:lnTo>
                    <a:pt x="102" y="230"/>
                  </a:lnTo>
                  <a:lnTo>
                    <a:pt x="100" y="230"/>
                  </a:lnTo>
                  <a:lnTo>
                    <a:pt x="100" y="228"/>
                  </a:lnTo>
                  <a:close/>
                  <a:moveTo>
                    <a:pt x="107" y="230"/>
                  </a:moveTo>
                  <a:lnTo>
                    <a:pt x="107" y="232"/>
                  </a:lnTo>
                  <a:lnTo>
                    <a:pt x="107" y="230"/>
                  </a:lnTo>
                  <a:lnTo>
                    <a:pt x="107" y="232"/>
                  </a:lnTo>
                  <a:lnTo>
                    <a:pt x="107" y="230"/>
                  </a:lnTo>
                  <a:close/>
                  <a:moveTo>
                    <a:pt x="153" y="176"/>
                  </a:moveTo>
                  <a:lnTo>
                    <a:pt x="153" y="174"/>
                  </a:lnTo>
                  <a:lnTo>
                    <a:pt x="153" y="176"/>
                  </a:lnTo>
                  <a:close/>
                  <a:moveTo>
                    <a:pt x="176" y="103"/>
                  </a:moveTo>
                  <a:lnTo>
                    <a:pt x="176" y="102"/>
                  </a:lnTo>
                  <a:lnTo>
                    <a:pt x="176" y="103"/>
                  </a:lnTo>
                  <a:close/>
                  <a:moveTo>
                    <a:pt x="113" y="217"/>
                  </a:moveTo>
                  <a:lnTo>
                    <a:pt x="111" y="217"/>
                  </a:lnTo>
                  <a:lnTo>
                    <a:pt x="113" y="217"/>
                  </a:lnTo>
                  <a:close/>
                  <a:moveTo>
                    <a:pt x="178" y="115"/>
                  </a:moveTo>
                  <a:lnTo>
                    <a:pt x="178" y="117"/>
                  </a:lnTo>
                  <a:lnTo>
                    <a:pt x="176" y="117"/>
                  </a:lnTo>
                  <a:lnTo>
                    <a:pt x="176" y="115"/>
                  </a:lnTo>
                  <a:lnTo>
                    <a:pt x="178" y="115"/>
                  </a:lnTo>
                  <a:close/>
                  <a:moveTo>
                    <a:pt x="82" y="240"/>
                  </a:moveTo>
                  <a:lnTo>
                    <a:pt x="84" y="240"/>
                  </a:lnTo>
                  <a:lnTo>
                    <a:pt x="82" y="240"/>
                  </a:lnTo>
                  <a:close/>
                  <a:moveTo>
                    <a:pt x="138" y="199"/>
                  </a:moveTo>
                  <a:lnTo>
                    <a:pt x="136" y="199"/>
                  </a:lnTo>
                  <a:lnTo>
                    <a:pt x="138" y="199"/>
                  </a:lnTo>
                  <a:close/>
                  <a:moveTo>
                    <a:pt x="94" y="230"/>
                  </a:moveTo>
                  <a:lnTo>
                    <a:pt x="96" y="230"/>
                  </a:lnTo>
                  <a:lnTo>
                    <a:pt x="94" y="230"/>
                  </a:lnTo>
                  <a:lnTo>
                    <a:pt x="96" y="230"/>
                  </a:lnTo>
                  <a:lnTo>
                    <a:pt x="94" y="230"/>
                  </a:lnTo>
                  <a:close/>
                  <a:moveTo>
                    <a:pt x="73" y="295"/>
                  </a:moveTo>
                  <a:lnTo>
                    <a:pt x="75" y="295"/>
                  </a:lnTo>
                  <a:lnTo>
                    <a:pt x="75" y="297"/>
                  </a:lnTo>
                  <a:lnTo>
                    <a:pt x="75" y="295"/>
                  </a:lnTo>
                  <a:lnTo>
                    <a:pt x="73" y="295"/>
                  </a:lnTo>
                  <a:close/>
                  <a:moveTo>
                    <a:pt x="25" y="315"/>
                  </a:moveTo>
                  <a:lnTo>
                    <a:pt x="25" y="317"/>
                  </a:lnTo>
                  <a:lnTo>
                    <a:pt x="25" y="315"/>
                  </a:lnTo>
                  <a:close/>
                  <a:moveTo>
                    <a:pt x="96" y="226"/>
                  </a:moveTo>
                  <a:lnTo>
                    <a:pt x="94" y="226"/>
                  </a:lnTo>
                  <a:lnTo>
                    <a:pt x="96" y="226"/>
                  </a:lnTo>
                  <a:close/>
                  <a:moveTo>
                    <a:pt x="178" y="98"/>
                  </a:moveTo>
                  <a:lnTo>
                    <a:pt x="176" y="98"/>
                  </a:lnTo>
                  <a:lnTo>
                    <a:pt x="178" y="98"/>
                  </a:lnTo>
                  <a:close/>
                  <a:moveTo>
                    <a:pt x="146" y="184"/>
                  </a:moveTo>
                  <a:lnTo>
                    <a:pt x="146" y="186"/>
                  </a:lnTo>
                  <a:lnTo>
                    <a:pt x="146" y="184"/>
                  </a:lnTo>
                  <a:close/>
                  <a:moveTo>
                    <a:pt x="119" y="205"/>
                  </a:moveTo>
                  <a:lnTo>
                    <a:pt x="121" y="205"/>
                  </a:lnTo>
                  <a:lnTo>
                    <a:pt x="121" y="207"/>
                  </a:lnTo>
                  <a:lnTo>
                    <a:pt x="119" y="207"/>
                  </a:lnTo>
                  <a:lnTo>
                    <a:pt x="119" y="205"/>
                  </a:lnTo>
                  <a:close/>
                  <a:moveTo>
                    <a:pt x="109" y="228"/>
                  </a:moveTo>
                  <a:lnTo>
                    <a:pt x="109" y="230"/>
                  </a:lnTo>
                  <a:lnTo>
                    <a:pt x="109" y="228"/>
                  </a:lnTo>
                  <a:close/>
                  <a:moveTo>
                    <a:pt x="102" y="226"/>
                  </a:moveTo>
                  <a:lnTo>
                    <a:pt x="102" y="228"/>
                  </a:lnTo>
                  <a:lnTo>
                    <a:pt x="102" y="226"/>
                  </a:lnTo>
                  <a:close/>
                  <a:moveTo>
                    <a:pt x="50" y="326"/>
                  </a:moveTo>
                  <a:lnTo>
                    <a:pt x="48" y="326"/>
                  </a:lnTo>
                  <a:lnTo>
                    <a:pt x="50" y="326"/>
                  </a:lnTo>
                  <a:close/>
                  <a:moveTo>
                    <a:pt x="84" y="240"/>
                  </a:moveTo>
                  <a:lnTo>
                    <a:pt x="82" y="240"/>
                  </a:lnTo>
                  <a:lnTo>
                    <a:pt x="84" y="240"/>
                  </a:lnTo>
                  <a:close/>
                  <a:moveTo>
                    <a:pt x="178" y="90"/>
                  </a:moveTo>
                  <a:lnTo>
                    <a:pt x="178" y="92"/>
                  </a:lnTo>
                  <a:lnTo>
                    <a:pt x="178" y="90"/>
                  </a:lnTo>
                  <a:lnTo>
                    <a:pt x="176" y="90"/>
                  </a:lnTo>
                  <a:lnTo>
                    <a:pt x="178" y="90"/>
                  </a:lnTo>
                  <a:close/>
                  <a:moveTo>
                    <a:pt x="188" y="136"/>
                  </a:moveTo>
                  <a:lnTo>
                    <a:pt x="186" y="136"/>
                  </a:lnTo>
                  <a:lnTo>
                    <a:pt x="186" y="134"/>
                  </a:lnTo>
                  <a:lnTo>
                    <a:pt x="188" y="134"/>
                  </a:lnTo>
                  <a:lnTo>
                    <a:pt x="186" y="134"/>
                  </a:lnTo>
                  <a:lnTo>
                    <a:pt x="188" y="134"/>
                  </a:lnTo>
                  <a:lnTo>
                    <a:pt x="188" y="136"/>
                  </a:lnTo>
                  <a:close/>
                  <a:moveTo>
                    <a:pt x="146" y="186"/>
                  </a:moveTo>
                  <a:lnTo>
                    <a:pt x="146" y="184"/>
                  </a:lnTo>
                  <a:lnTo>
                    <a:pt x="146" y="186"/>
                  </a:lnTo>
                  <a:close/>
                  <a:moveTo>
                    <a:pt x="84" y="240"/>
                  </a:moveTo>
                  <a:lnTo>
                    <a:pt x="84" y="242"/>
                  </a:lnTo>
                  <a:lnTo>
                    <a:pt x="84" y="240"/>
                  </a:lnTo>
                  <a:close/>
                  <a:moveTo>
                    <a:pt x="161" y="173"/>
                  </a:moveTo>
                  <a:lnTo>
                    <a:pt x="161" y="174"/>
                  </a:lnTo>
                  <a:lnTo>
                    <a:pt x="161" y="173"/>
                  </a:lnTo>
                  <a:close/>
                  <a:moveTo>
                    <a:pt x="100" y="232"/>
                  </a:moveTo>
                  <a:lnTo>
                    <a:pt x="102" y="232"/>
                  </a:lnTo>
                  <a:lnTo>
                    <a:pt x="100" y="232"/>
                  </a:lnTo>
                  <a:close/>
                  <a:moveTo>
                    <a:pt x="94" y="234"/>
                  </a:moveTo>
                  <a:lnTo>
                    <a:pt x="92" y="234"/>
                  </a:lnTo>
                  <a:lnTo>
                    <a:pt x="94" y="234"/>
                  </a:lnTo>
                  <a:close/>
                  <a:moveTo>
                    <a:pt x="178" y="98"/>
                  </a:moveTo>
                  <a:lnTo>
                    <a:pt x="178" y="96"/>
                  </a:lnTo>
                  <a:lnTo>
                    <a:pt x="178" y="98"/>
                  </a:lnTo>
                  <a:close/>
                  <a:moveTo>
                    <a:pt x="159" y="173"/>
                  </a:moveTo>
                  <a:lnTo>
                    <a:pt x="157" y="173"/>
                  </a:lnTo>
                  <a:lnTo>
                    <a:pt x="159" y="173"/>
                  </a:lnTo>
                  <a:close/>
                  <a:moveTo>
                    <a:pt x="190" y="109"/>
                  </a:moveTo>
                  <a:lnTo>
                    <a:pt x="188" y="109"/>
                  </a:lnTo>
                  <a:lnTo>
                    <a:pt x="190" y="109"/>
                  </a:lnTo>
                  <a:close/>
                  <a:moveTo>
                    <a:pt x="84" y="236"/>
                  </a:moveTo>
                  <a:lnTo>
                    <a:pt x="82" y="236"/>
                  </a:lnTo>
                  <a:lnTo>
                    <a:pt x="84" y="236"/>
                  </a:lnTo>
                  <a:close/>
                  <a:moveTo>
                    <a:pt x="190" y="102"/>
                  </a:moveTo>
                  <a:lnTo>
                    <a:pt x="188" y="102"/>
                  </a:lnTo>
                  <a:lnTo>
                    <a:pt x="190" y="102"/>
                  </a:lnTo>
                  <a:close/>
                  <a:moveTo>
                    <a:pt x="82" y="240"/>
                  </a:moveTo>
                  <a:lnTo>
                    <a:pt x="84" y="240"/>
                  </a:lnTo>
                  <a:lnTo>
                    <a:pt x="84" y="242"/>
                  </a:lnTo>
                  <a:lnTo>
                    <a:pt x="84" y="240"/>
                  </a:lnTo>
                  <a:lnTo>
                    <a:pt x="82" y="240"/>
                  </a:lnTo>
                  <a:close/>
                  <a:moveTo>
                    <a:pt x="34" y="317"/>
                  </a:moveTo>
                  <a:lnTo>
                    <a:pt x="34" y="315"/>
                  </a:lnTo>
                  <a:lnTo>
                    <a:pt x="34" y="317"/>
                  </a:lnTo>
                  <a:close/>
                  <a:moveTo>
                    <a:pt x="176" y="92"/>
                  </a:moveTo>
                  <a:lnTo>
                    <a:pt x="176" y="90"/>
                  </a:lnTo>
                  <a:lnTo>
                    <a:pt x="176" y="92"/>
                  </a:lnTo>
                  <a:close/>
                  <a:moveTo>
                    <a:pt x="36" y="311"/>
                  </a:moveTo>
                  <a:lnTo>
                    <a:pt x="34" y="311"/>
                  </a:lnTo>
                  <a:lnTo>
                    <a:pt x="36" y="311"/>
                  </a:lnTo>
                  <a:close/>
                  <a:moveTo>
                    <a:pt x="113" y="136"/>
                  </a:moveTo>
                  <a:lnTo>
                    <a:pt x="115" y="136"/>
                  </a:lnTo>
                  <a:lnTo>
                    <a:pt x="113" y="136"/>
                  </a:lnTo>
                  <a:lnTo>
                    <a:pt x="113" y="134"/>
                  </a:lnTo>
                  <a:lnTo>
                    <a:pt x="113" y="136"/>
                  </a:lnTo>
                  <a:close/>
                  <a:moveTo>
                    <a:pt x="100" y="230"/>
                  </a:moveTo>
                  <a:lnTo>
                    <a:pt x="102" y="230"/>
                  </a:lnTo>
                  <a:lnTo>
                    <a:pt x="100" y="230"/>
                  </a:lnTo>
                  <a:close/>
                  <a:moveTo>
                    <a:pt x="194" y="132"/>
                  </a:moveTo>
                  <a:lnTo>
                    <a:pt x="192" y="132"/>
                  </a:lnTo>
                  <a:lnTo>
                    <a:pt x="194" y="132"/>
                  </a:lnTo>
                  <a:close/>
                  <a:moveTo>
                    <a:pt x="173" y="153"/>
                  </a:moveTo>
                  <a:lnTo>
                    <a:pt x="171" y="153"/>
                  </a:lnTo>
                  <a:lnTo>
                    <a:pt x="173" y="153"/>
                  </a:lnTo>
                  <a:close/>
                  <a:moveTo>
                    <a:pt x="90" y="246"/>
                  </a:moveTo>
                  <a:lnTo>
                    <a:pt x="88" y="246"/>
                  </a:lnTo>
                  <a:lnTo>
                    <a:pt x="90" y="246"/>
                  </a:lnTo>
                  <a:lnTo>
                    <a:pt x="88" y="246"/>
                  </a:lnTo>
                  <a:lnTo>
                    <a:pt x="90" y="246"/>
                  </a:lnTo>
                  <a:lnTo>
                    <a:pt x="88" y="246"/>
                  </a:lnTo>
                  <a:lnTo>
                    <a:pt x="90" y="246"/>
                  </a:lnTo>
                  <a:close/>
                  <a:moveTo>
                    <a:pt x="146" y="184"/>
                  </a:moveTo>
                  <a:lnTo>
                    <a:pt x="144" y="184"/>
                  </a:lnTo>
                  <a:lnTo>
                    <a:pt x="146" y="184"/>
                  </a:lnTo>
                  <a:close/>
                  <a:moveTo>
                    <a:pt x="88" y="257"/>
                  </a:moveTo>
                  <a:lnTo>
                    <a:pt x="86" y="257"/>
                  </a:lnTo>
                  <a:lnTo>
                    <a:pt x="88" y="257"/>
                  </a:lnTo>
                  <a:lnTo>
                    <a:pt x="88" y="255"/>
                  </a:lnTo>
                  <a:lnTo>
                    <a:pt x="88" y="257"/>
                  </a:lnTo>
                  <a:close/>
                  <a:moveTo>
                    <a:pt x="86" y="246"/>
                  </a:moveTo>
                  <a:lnTo>
                    <a:pt x="86" y="244"/>
                  </a:lnTo>
                  <a:lnTo>
                    <a:pt x="86" y="246"/>
                  </a:lnTo>
                  <a:close/>
                  <a:moveTo>
                    <a:pt x="157" y="173"/>
                  </a:moveTo>
                  <a:lnTo>
                    <a:pt x="155" y="173"/>
                  </a:lnTo>
                  <a:lnTo>
                    <a:pt x="157" y="173"/>
                  </a:lnTo>
                  <a:close/>
                  <a:moveTo>
                    <a:pt x="30" y="322"/>
                  </a:moveTo>
                  <a:lnTo>
                    <a:pt x="29" y="322"/>
                  </a:lnTo>
                  <a:lnTo>
                    <a:pt x="30" y="322"/>
                  </a:lnTo>
                  <a:close/>
                  <a:moveTo>
                    <a:pt x="188" y="107"/>
                  </a:moveTo>
                  <a:lnTo>
                    <a:pt x="188" y="109"/>
                  </a:lnTo>
                  <a:lnTo>
                    <a:pt x="188" y="107"/>
                  </a:lnTo>
                  <a:lnTo>
                    <a:pt x="188" y="109"/>
                  </a:lnTo>
                  <a:lnTo>
                    <a:pt x="188" y="107"/>
                  </a:lnTo>
                  <a:close/>
                  <a:moveTo>
                    <a:pt x="36" y="317"/>
                  </a:moveTo>
                  <a:lnTo>
                    <a:pt x="34" y="317"/>
                  </a:lnTo>
                  <a:lnTo>
                    <a:pt x="36" y="317"/>
                  </a:lnTo>
                  <a:close/>
                  <a:moveTo>
                    <a:pt x="155" y="173"/>
                  </a:moveTo>
                  <a:lnTo>
                    <a:pt x="157" y="173"/>
                  </a:lnTo>
                  <a:lnTo>
                    <a:pt x="155" y="173"/>
                  </a:lnTo>
                  <a:close/>
                  <a:moveTo>
                    <a:pt x="65" y="201"/>
                  </a:moveTo>
                  <a:lnTo>
                    <a:pt x="67" y="201"/>
                  </a:lnTo>
                  <a:lnTo>
                    <a:pt x="65" y="201"/>
                  </a:lnTo>
                  <a:close/>
                  <a:moveTo>
                    <a:pt x="184" y="107"/>
                  </a:moveTo>
                  <a:lnTo>
                    <a:pt x="184" y="109"/>
                  </a:lnTo>
                  <a:lnTo>
                    <a:pt x="184" y="107"/>
                  </a:lnTo>
                  <a:close/>
                  <a:moveTo>
                    <a:pt x="36" y="313"/>
                  </a:moveTo>
                  <a:lnTo>
                    <a:pt x="34" y="313"/>
                  </a:lnTo>
                  <a:lnTo>
                    <a:pt x="36" y="313"/>
                  </a:lnTo>
                  <a:close/>
                  <a:moveTo>
                    <a:pt x="121" y="207"/>
                  </a:moveTo>
                  <a:lnTo>
                    <a:pt x="121" y="205"/>
                  </a:lnTo>
                  <a:lnTo>
                    <a:pt x="121" y="207"/>
                  </a:lnTo>
                  <a:close/>
                  <a:moveTo>
                    <a:pt x="188" y="94"/>
                  </a:moveTo>
                  <a:lnTo>
                    <a:pt x="188" y="92"/>
                  </a:lnTo>
                  <a:lnTo>
                    <a:pt x="188" y="94"/>
                  </a:lnTo>
                  <a:close/>
                  <a:moveTo>
                    <a:pt x="86" y="255"/>
                  </a:moveTo>
                  <a:lnTo>
                    <a:pt x="88" y="255"/>
                  </a:lnTo>
                  <a:lnTo>
                    <a:pt x="86" y="255"/>
                  </a:lnTo>
                  <a:close/>
                  <a:moveTo>
                    <a:pt x="186" y="107"/>
                  </a:moveTo>
                  <a:lnTo>
                    <a:pt x="186" y="109"/>
                  </a:lnTo>
                  <a:lnTo>
                    <a:pt x="186" y="107"/>
                  </a:lnTo>
                  <a:close/>
                  <a:moveTo>
                    <a:pt x="82" y="265"/>
                  </a:moveTo>
                  <a:lnTo>
                    <a:pt x="82" y="267"/>
                  </a:lnTo>
                  <a:lnTo>
                    <a:pt x="82" y="265"/>
                  </a:lnTo>
                  <a:close/>
                  <a:moveTo>
                    <a:pt x="186" y="52"/>
                  </a:moveTo>
                  <a:lnTo>
                    <a:pt x="186" y="54"/>
                  </a:lnTo>
                  <a:lnTo>
                    <a:pt x="186" y="52"/>
                  </a:lnTo>
                  <a:close/>
                  <a:moveTo>
                    <a:pt x="36" y="317"/>
                  </a:moveTo>
                  <a:lnTo>
                    <a:pt x="36" y="315"/>
                  </a:lnTo>
                  <a:lnTo>
                    <a:pt x="36" y="317"/>
                  </a:lnTo>
                  <a:close/>
                  <a:moveTo>
                    <a:pt x="29" y="318"/>
                  </a:moveTo>
                  <a:lnTo>
                    <a:pt x="29" y="317"/>
                  </a:lnTo>
                  <a:lnTo>
                    <a:pt x="29" y="318"/>
                  </a:lnTo>
                  <a:close/>
                  <a:moveTo>
                    <a:pt x="36" y="313"/>
                  </a:moveTo>
                  <a:lnTo>
                    <a:pt x="34" y="313"/>
                  </a:lnTo>
                  <a:lnTo>
                    <a:pt x="36" y="313"/>
                  </a:lnTo>
                  <a:close/>
                  <a:moveTo>
                    <a:pt x="46" y="326"/>
                  </a:moveTo>
                  <a:lnTo>
                    <a:pt x="46" y="324"/>
                  </a:lnTo>
                  <a:lnTo>
                    <a:pt x="46" y="326"/>
                  </a:lnTo>
                  <a:close/>
                  <a:moveTo>
                    <a:pt x="86" y="257"/>
                  </a:moveTo>
                  <a:lnTo>
                    <a:pt x="86" y="255"/>
                  </a:lnTo>
                  <a:lnTo>
                    <a:pt x="86" y="257"/>
                  </a:lnTo>
                  <a:close/>
                  <a:moveTo>
                    <a:pt x="178" y="102"/>
                  </a:moveTo>
                  <a:lnTo>
                    <a:pt x="176" y="102"/>
                  </a:lnTo>
                  <a:lnTo>
                    <a:pt x="178" y="102"/>
                  </a:lnTo>
                  <a:close/>
                  <a:moveTo>
                    <a:pt x="194" y="84"/>
                  </a:moveTo>
                  <a:lnTo>
                    <a:pt x="192" y="84"/>
                  </a:lnTo>
                  <a:lnTo>
                    <a:pt x="194" y="82"/>
                  </a:lnTo>
                  <a:lnTo>
                    <a:pt x="194" y="84"/>
                  </a:lnTo>
                  <a:close/>
                  <a:moveTo>
                    <a:pt x="38" y="315"/>
                  </a:moveTo>
                  <a:lnTo>
                    <a:pt x="38" y="317"/>
                  </a:lnTo>
                  <a:lnTo>
                    <a:pt x="38" y="315"/>
                  </a:lnTo>
                  <a:close/>
                  <a:moveTo>
                    <a:pt x="155" y="173"/>
                  </a:moveTo>
                  <a:lnTo>
                    <a:pt x="157" y="173"/>
                  </a:lnTo>
                  <a:lnTo>
                    <a:pt x="155" y="173"/>
                  </a:lnTo>
                  <a:close/>
                  <a:moveTo>
                    <a:pt x="151" y="178"/>
                  </a:moveTo>
                  <a:lnTo>
                    <a:pt x="153" y="178"/>
                  </a:lnTo>
                  <a:lnTo>
                    <a:pt x="151" y="178"/>
                  </a:lnTo>
                  <a:close/>
                  <a:moveTo>
                    <a:pt x="169" y="157"/>
                  </a:moveTo>
                  <a:lnTo>
                    <a:pt x="167" y="157"/>
                  </a:lnTo>
                  <a:lnTo>
                    <a:pt x="169" y="157"/>
                  </a:lnTo>
                  <a:close/>
                  <a:moveTo>
                    <a:pt x="159" y="165"/>
                  </a:moveTo>
                  <a:lnTo>
                    <a:pt x="159" y="167"/>
                  </a:lnTo>
                  <a:lnTo>
                    <a:pt x="159" y="165"/>
                  </a:lnTo>
                  <a:close/>
                  <a:moveTo>
                    <a:pt x="113" y="228"/>
                  </a:moveTo>
                  <a:lnTo>
                    <a:pt x="115" y="228"/>
                  </a:lnTo>
                  <a:lnTo>
                    <a:pt x="113" y="228"/>
                  </a:lnTo>
                  <a:close/>
                  <a:moveTo>
                    <a:pt x="115" y="219"/>
                  </a:moveTo>
                  <a:lnTo>
                    <a:pt x="115" y="217"/>
                  </a:lnTo>
                  <a:lnTo>
                    <a:pt x="115" y="219"/>
                  </a:lnTo>
                  <a:close/>
                  <a:moveTo>
                    <a:pt x="153" y="123"/>
                  </a:moveTo>
                  <a:lnTo>
                    <a:pt x="153" y="121"/>
                  </a:lnTo>
                  <a:lnTo>
                    <a:pt x="153" y="123"/>
                  </a:lnTo>
                  <a:close/>
                  <a:moveTo>
                    <a:pt x="178" y="100"/>
                  </a:moveTo>
                  <a:lnTo>
                    <a:pt x="176" y="100"/>
                  </a:lnTo>
                  <a:lnTo>
                    <a:pt x="178" y="100"/>
                  </a:lnTo>
                  <a:close/>
                  <a:moveTo>
                    <a:pt x="36" y="330"/>
                  </a:moveTo>
                  <a:lnTo>
                    <a:pt x="34" y="330"/>
                  </a:lnTo>
                  <a:lnTo>
                    <a:pt x="36" y="330"/>
                  </a:lnTo>
                  <a:close/>
                  <a:moveTo>
                    <a:pt x="186" y="109"/>
                  </a:moveTo>
                  <a:lnTo>
                    <a:pt x="184" y="109"/>
                  </a:lnTo>
                  <a:lnTo>
                    <a:pt x="186" y="109"/>
                  </a:lnTo>
                  <a:close/>
                  <a:moveTo>
                    <a:pt x="153" y="182"/>
                  </a:moveTo>
                  <a:lnTo>
                    <a:pt x="151" y="182"/>
                  </a:lnTo>
                  <a:lnTo>
                    <a:pt x="151" y="180"/>
                  </a:lnTo>
                  <a:lnTo>
                    <a:pt x="153" y="180"/>
                  </a:lnTo>
                  <a:lnTo>
                    <a:pt x="153" y="182"/>
                  </a:lnTo>
                  <a:close/>
                  <a:moveTo>
                    <a:pt x="192" y="115"/>
                  </a:moveTo>
                  <a:lnTo>
                    <a:pt x="192" y="113"/>
                  </a:lnTo>
                  <a:lnTo>
                    <a:pt x="192" y="115"/>
                  </a:lnTo>
                  <a:close/>
                  <a:moveTo>
                    <a:pt x="165" y="25"/>
                  </a:moveTo>
                  <a:lnTo>
                    <a:pt x="165" y="27"/>
                  </a:lnTo>
                  <a:lnTo>
                    <a:pt x="165" y="25"/>
                  </a:lnTo>
                  <a:close/>
                  <a:moveTo>
                    <a:pt x="86" y="257"/>
                  </a:moveTo>
                  <a:lnTo>
                    <a:pt x="86" y="255"/>
                  </a:lnTo>
                  <a:lnTo>
                    <a:pt x="88" y="255"/>
                  </a:lnTo>
                  <a:lnTo>
                    <a:pt x="86" y="255"/>
                  </a:lnTo>
                  <a:lnTo>
                    <a:pt x="86" y="257"/>
                  </a:lnTo>
                  <a:close/>
                  <a:moveTo>
                    <a:pt x="50" y="326"/>
                  </a:moveTo>
                  <a:lnTo>
                    <a:pt x="50" y="324"/>
                  </a:lnTo>
                  <a:lnTo>
                    <a:pt x="50" y="326"/>
                  </a:lnTo>
                  <a:lnTo>
                    <a:pt x="48" y="326"/>
                  </a:lnTo>
                  <a:lnTo>
                    <a:pt x="50" y="326"/>
                  </a:lnTo>
                  <a:lnTo>
                    <a:pt x="50" y="324"/>
                  </a:lnTo>
                  <a:lnTo>
                    <a:pt x="50" y="326"/>
                  </a:lnTo>
                  <a:close/>
                  <a:moveTo>
                    <a:pt x="176" y="100"/>
                  </a:moveTo>
                  <a:lnTo>
                    <a:pt x="178" y="100"/>
                  </a:lnTo>
                  <a:lnTo>
                    <a:pt x="178" y="98"/>
                  </a:lnTo>
                  <a:lnTo>
                    <a:pt x="178" y="100"/>
                  </a:lnTo>
                  <a:lnTo>
                    <a:pt x="176" y="100"/>
                  </a:lnTo>
                  <a:close/>
                  <a:moveTo>
                    <a:pt x="153" y="182"/>
                  </a:moveTo>
                  <a:lnTo>
                    <a:pt x="153" y="180"/>
                  </a:lnTo>
                  <a:lnTo>
                    <a:pt x="153" y="182"/>
                  </a:lnTo>
                  <a:close/>
                  <a:moveTo>
                    <a:pt x="63" y="305"/>
                  </a:moveTo>
                  <a:lnTo>
                    <a:pt x="63" y="303"/>
                  </a:lnTo>
                  <a:lnTo>
                    <a:pt x="63" y="305"/>
                  </a:lnTo>
                  <a:close/>
                  <a:moveTo>
                    <a:pt x="157" y="173"/>
                  </a:moveTo>
                  <a:lnTo>
                    <a:pt x="157" y="171"/>
                  </a:lnTo>
                  <a:lnTo>
                    <a:pt x="157" y="173"/>
                  </a:lnTo>
                  <a:close/>
                  <a:moveTo>
                    <a:pt x="153" y="178"/>
                  </a:moveTo>
                  <a:lnTo>
                    <a:pt x="153" y="176"/>
                  </a:lnTo>
                  <a:lnTo>
                    <a:pt x="151" y="176"/>
                  </a:lnTo>
                  <a:lnTo>
                    <a:pt x="153" y="176"/>
                  </a:lnTo>
                  <a:lnTo>
                    <a:pt x="153" y="178"/>
                  </a:lnTo>
                  <a:close/>
                  <a:moveTo>
                    <a:pt x="92" y="234"/>
                  </a:moveTo>
                  <a:lnTo>
                    <a:pt x="92" y="232"/>
                  </a:lnTo>
                  <a:lnTo>
                    <a:pt x="92" y="234"/>
                  </a:lnTo>
                  <a:close/>
                  <a:moveTo>
                    <a:pt x="36" y="315"/>
                  </a:moveTo>
                  <a:lnTo>
                    <a:pt x="36" y="313"/>
                  </a:lnTo>
                  <a:lnTo>
                    <a:pt x="36" y="315"/>
                  </a:lnTo>
                  <a:close/>
                  <a:moveTo>
                    <a:pt x="186" y="65"/>
                  </a:moveTo>
                  <a:lnTo>
                    <a:pt x="184" y="65"/>
                  </a:lnTo>
                  <a:lnTo>
                    <a:pt x="186" y="65"/>
                  </a:lnTo>
                  <a:close/>
                  <a:moveTo>
                    <a:pt x="38" y="332"/>
                  </a:moveTo>
                  <a:lnTo>
                    <a:pt x="36" y="332"/>
                  </a:lnTo>
                  <a:lnTo>
                    <a:pt x="38" y="332"/>
                  </a:lnTo>
                  <a:close/>
                  <a:moveTo>
                    <a:pt x="103" y="228"/>
                  </a:moveTo>
                  <a:lnTo>
                    <a:pt x="103" y="230"/>
                  </a:lnTo>
                  <a:lnTo>
                    <a:pt x="103" y="228"/>
                  </a:lnTo>
                  <a:close/>
                  <a:moveTo>
                    <a:pt x="142" y="190"/>
                  </a:moveTo>
                  <a:lnTo>
                    <a:pt x="142" y="188"/>
                  </a:lnTo>
                  <a:lnTo>
                    <a:pt x="142" y="190"/>
                  </a:lnTo>
                  <a:close/>
                  <a:moveTo>
                    <a:pt x="34" y="315"/>
                  </a:moveTo>
                  <a:lnTo>
                    <a:pt x="32" y="315"/>
                  </a:lnTo>
                  <a:lnTo>
                    <a:pt x="34" y="315"/>
                  </a:lnTo>
                  <a:close/>
                  <a:moveTo>
                    <a:pt x="150" y="182"/>
                  </a:moveTo>
                  <a:lnTo>
                    <a:pt x="150" y="180"/>
                  </a:lnTo>
                  <a:lnTo>
                    <a:pt x="150" y="182"/>
                  </a:lnTo>
                  <a:close/>
                  <a:moveTo>
                    <a:pt x="82" y="238"/>
                  </a:moveTo>
                  <a:lnTo>
                    <a:pt x="84" y="238"/>
                  </a:lnTo>
                  <a:lnTo>
                    <a:pt x="82" y="238"/>
                  </a:lnTo>
                  <a:close/>
                  <a:moveTo>
                    <a:pt x="105" y="232"/>
                  </a:moveTo>
                  <a:lnTo>
                    <a:pt x="103" y="232"/>
                  </a:lnTo>
                  <a:lnTo>
                    <a:pt x="105" y="232"/>
                  </a:lnTo>
                  <a:close/>
                  <a:moveTo>
                    <a:pt x="113" y="226"/>
                  </a:moveTo>
                  <a:lnTo>
                    <a:pt x="111" y="226"/>
                  </a:lnTo>
                  <a:lnTo>
                    <a:pt x="113" y="226"/>
                  </a:lnTo>
                  <a:close/>
                  <a:moveTo>
                    <a:pt x="138" y="196"/>
                  </a:moveTo>
                  <a:lnTo>
                    <a:pt x="136" y="196"/>
                  </a:lnTo>
                  <a:lnTo>
                    <a:pt x="138" y="196"/>
                  </a:lnTo>
                  <a:close/>
                  <a:moveTo>
                    <a:pt x="88" y="244"/>
                  </a:moveTo>
                  <a:lnTo>
                    <a:pt x="86" y="244"/>
                  </a:lnTo>
                  <a:lnTo>
                    <a:pt x="88" y="244"/>
                  </a:lnTo>
                  <a:close/>
                  <a:moveTo>
                    <a:pt x="38" y="317"/>
                  </a:moveTo>
                  <a:lnTo>
                    <a:pt x="40" y="317"/>
                  </a:lnTo>
                  <a:lnTo>
                    <a:pt x="38" y="317"/>
                  </a:lnTo>
                  <a:close/>
                  <a:moveTo>
                    <a:pt x="30" y="324"/>
                  </a:moveTo>
                  <a:lnTo>
                    <a:pt x="30" y="322"/>
                  </a:lnTo>
                  <a:lnTo>
                    <a:pt x="30" y="324"/>
                  </a:lnTo>
                  <a:close/>
                  <a:moveTo>
                    <a:pt x="121" y="207"/>
                  </a:moveTo>
                  <a:lnTo>
                    <a:pt x="123" y="207"/>
                  </a:lnTo>
                  <a:lnTo>
                    <a:pt x="121" y="207"/>
                  </a:lnTo>
                  <a:lnTo>
                    <a:pt x="123" y="207"/>
                  </a:lnTo>
                  <a:lnTo>
                    <a:pt x="121" y="207"/>
                  </a:lnTo>
                  <a:close/>
                  <a:moveTo>
                    <a:pt x="102" y="232"/>
                  </a:moveTo>
                  <a:lnTo>
                    <a:pt x="100" y="232"/>
                  </a:lnTo>
                  <a:lnTo>
                    <a:pt x="102" y="232"/>
                  </a:lnTo>
                  <a:close/>
                  <a:moveTo>
                    <a:pt x="25" y="322"/>
                  </a:moveTo>
                  <a:lnTo>
                    <a:pt x="25" y="320"/>
                  </a:lnTo>
                  <a:lnTo>
                    <a:pt x="25" y="322"/>
                  </a:lnTo>
                  <a:close/>
                  <a:moveTo>
                    <a:pt x="38" y="318"/>
                  </a:moveTo>
                  <a:lnTo>
                    <a:pt x="36" y="318"/>
                  </a:lnTo>
                  <a:lnTo>
                    <a:pt x="38" y="318"/>
                  </a:lnTo>
                  <a:close/>
                  <a:moveTo>
                    <a:pt x="84" y="246"/>
                  </a:moveTo>
                  <a:lnTo>
                    <a:pt x="84" y="244"/>
                  </a:lnTo>
                  <a:lnTo>
                    <a:pt x="82" y="244"/>
                  </a:lnTo>
                  <a:lnTo>
                    <a:pt x="84" y="244"/>
                  </a:lnTo>
                  <a:lnTo>
                    <a:pt x="84" y="246"/>
                  </a:lnTo>
                  <a:close/>
                  <a:moveTo>
                    <a:pt x="121" y="211"/>
                  </a:moveTo>
                  <a:lnTo>
                    <a:pt x="121" y="213"/>
                  </a:lnTo>
                  <a:lnTo>
                    <a:pt x="121" y="211"/>
                  </a:lnTo>
                  <a:close/>
                  <a:moveTo>
                    <a:pt x="86" y="236"/>
                  </a:moveTo>
                  <a:lnTo>
                    <a:pt x="84" y="236"/>
                  </a:lnTo>
                  <a:lnTo>
                    <a:pt x="86" y="236"/>
                  </a:lnTo>
                  <a:close/>
                  <a:moveTo>
                    <a:pt x="153" y="176"/>
                  </a:moveTo>
                  <a:lnTo>
                    <a:pt x="155" y="176"/>
                  </a:lnTo>
                  <a:lnTo>
                    <a:pt x="153" y="176"/>
                  </a:lnTo>
                  <a:close/>
                  <a:moveTo>
                    <a:pt x="161" y="174"/>
                  </a:moveTo>
                  <a:lnTo>
                    <a:pt x="159" y="174"/>
                  </a:lnTo>
                  <a:lnTo>
                    <a:pt x="161" y="174"/>
                  </a:lnTo>
                  <a:close/>
                  <a:moveTo>
                    <a:pt x="29" y="317"/>
                  </a:moveTo>
                  <a:lnTo>
                    <a:pt x="27" y="317"/>
                  </a:lnTo>
                  <a:lnTo>
                    <a:pt x="29" y="317"/>
                  </a:lnTo>
                  <a:close/>
                  <a:moveTo>
                    <a:pt x="138" y="194"/>
                  </a:moveTo>
                  <a:lnTo>
                    <a:pt x="138" y="192"/>
                  </a:lnTo>
                  <a:lnTo>
                    <a:pt x="138" y="194"/>
                  </a:lnTo>
                  <a:close/>
                  <a:moveTo>
                    <a:pt x="180" y="92"/>
                  </a:moveTo>
                  <a:lnTo>
                    <a:pt x="178" y="92"/>
                  </a:lnTo>
                  <a:lnTo>
                    <a:pt x="180" y="92"/>
                  </a:lnTo>
                  <a:close/>
                  <a:moveTo>
                    <a:pt x="107" y="232"/>
                  </a:moveTo>
                  <a:lnTo>
                    <a:pt x="107" y="230"/>
                  </a:lnTo>
                  <a:lnTo>
                    <a:pt x="107" y="232"/>
                  </a:lnTo>
                  <a:close/>
                  <a:moveTo>
                    <a:pt x="186" y="134"/>
                  </a:moveTo>
                  <a:lnTo>
                    <a:pt x="188" y="134"/>
                  </a:lnTo>
                  <a:lnTo>
                    <a:pt x="186" y="134"/>
                  </a:lnTo>
                  <a:close/>
                  <a:moveTo>
                    <a:pt x="123" y="201"/>
                  </a:moveTo>
                  <a:lnTo>
                    <a:pt x="123" y="203"/>
                  </a:lnTo>
                  <a:lnTo>
                    <a:pt x="123" y="201"/>
                  </a:lnTo>
                  <a:close/>
                  <a:moveTo>
                    <a:pt x="78" y="146"/>
                  </a:moveTo>
                  <a:lnTo>
                    <a:pt x="78" y="148"/>
                  </a:lnTo>
                  <a:lnTo>
                    <a:pt x="78" y="146"/>
                  </a:lnTo>
                  <a:close/>
                  <a:moveTo>
                    <a:pt x="194" y="128"/>
                  </a:moveTo>
                  <a:lnTo>
                    <a:pt x="194" y="126"/>
                  </a:lnTo>
                  <a:lnTo>
                    <a:pt x="194" y="128"/>
                  </a:lnTo>
                  <a:close/>
                  <a:moveTo>
                    <a:pt x="30" y="322"/>
                  </a:moveTo>
                  <a:lnTo>
                    <a:pt x="29" y="322"/>
                  </a:lnTo>
                  <a:lnTo>
                    <a:pt x="30" y="322"/>
                  </a:lnTo>
                  <a:close/>
                  <a:moveTo>
                    <a:pt x="96" y="226"/>
                  </a:moveTo>
                  <a:lnTo>
                    <a:pt x="96" y="228"/>
                  </a:lnTo>
                  <a:lnTo>
                    <a:pt x="96" y="226"/>
                  </a:lnTo>
                  <a:close/>
                  <a:moveTo>
                    <a:pt x="27" y="311"/>
                  </a:moveTo>
                  <a:lnTo>
                    <a:pt x="27" y="309"/>
                  </a:lnTo>
                  <a:lnTo>
                    <a:pt x="27" y="311"/>
                  </a:lnTo>
                  <a:close/>
                  <a:moveTo>
                    <a:pt x="155" y="92"/>
                  </a:moveTo>
                  <a:lnTo>
                    <a:pt x="153" y="92"/>
                  </a:lnTo>
                  <a:lnTo>
                    <a:pt x="155" y="92"/>
                  </a:lnTo>
                  <a:lnTo>
                    <a:pt x="153" y="92"/>
                  </a:lnTo>
                  <a:lnTo>
                    <a:pt x="155" y="92"/>
                  </a:lnTo>
                  <a:lnTo>
                    <a:pt x="153" y="92"/>
                  </a:lnTo>
                  <a:lnTo>
                    <a:pt x="155" y="92"/>
                  </a:lnTo>
                  <a:close/>
                  <a:moveTo>
                    <a:pt x="138" y="194"/>
                  </a:moveTo>
                  <a:lnTo>
                    <a:pt x="136" y="196"/>
                  </a:lnTo>
                  <a:lnTo>
                    <a:pt x="136" y="194"/>
                  </a:lnTo>
                  <a:lnTo>
                    <a:pt x="138" y="194"/>
                  </a:lnTo>
                  <a:close/>
                  <a:moveTo>
                    <a:pt x="90" y="246"/>
                  </a:moveTo>
                  <a:lnTo>
                    <a:pt x="88" y="246"/>
                  </a:lnTo>
                  <a:lnTo>
                    <a:pt x="90" y="246"/>
                  </a:lnTo>
                  <a:close/>
                  <a:moveTo>
                    <a:pt x="34" y="318"/>
                  </a:moveTo>
                  <a:lnTo>
                    <a:pt x="36" y="318"/>
                  </a:lnTo>
                  <a:lnTo>
                    <a:pt x="34" y="318"/>
                  </a:lnTo>
                  <a:close/>
                  <a:moveTo>
                    <a:pt x="78" y="284"/>
                  </a:moveTo>
                  <a:lnTo>
                    <a:pt x="77" y="284"/>
                  </a:lnTo>
                  <a:lnTo>
                    <a:pt x="78" y="284"/>
                  </a:lnTo>
                  <a:close/>
                  <a:moveTo>
                    <a:pt x="196" y="123"/>
                  </a:moveTo>
                  <a:lnTo>
                    <a:pt x="194" y="123"/>
                  </a:lnTo>
                  <a:lnTo>
                    <a:pt x="196" y="123"/>
                  </a:lnTo>
                  <a:close/>
                  <a:moveTo>
                    <a:pt x="107" y="230"/>
                  </a:moveTo>
                  <a:lnTo>
                    <a:pt x="105" y="230"/>
                  </a:lnTo>
                  <a:lnTo>
                    <a:pt x="107" y="230"/>
                  </a:lnTo>
                  <a:close/>
                  <a:moveTo>
                    <a:pt x="192" y="134"/>
                  </a:moveTo>
                  <a:lnTo>
                    <a:pt x="190" y="134"/>
                  </a:lnTo>
                  <a:lnTo>
                    <a:pt x="192" y="134"/>
                  </a:lnTo>
                  <a:close/>
                  <a:moveTo>
                    <a:pt x="157" y="173"/>
                  </a:moveTo>
                  <a:lnTo>
                    <a:pt x="155" y="173"/>
                  </a:lnTo>
                  <a:lnTo>
                    <a:pt x="157" y="173"/>
                  </a:lnTo>
                  <a:close/>
                  <a:moveTo>
                    <a:pt x="128" y="199"/>
                  </a:moveTo>
                  <a:lnTo>
                    <a:pt x="128" y="201"/>
                  </a:lnTo>
                  <a:lnTo>
                    <a:pt x="128" y="199"/>
                  </a:lnTo>
                  <a:close/>
                  <a:moveTo>
                    <a:pt x="34" y="311"/>
                  </a:moveTo>
                  <a:lnTo>
                    <a:pt x="34" y="313"/>
                  </a:lnTo>
                  <a:lnTo>
                    <a:pt x="34" y="311"/>
                  </a:lnTo>
                  <a:close/>
                  <a:moveTo>
                    <a:pt x="123" y="201"/>
                  </a:moveTo>
                  <a:lnTo>
                    <a:pt x="121" y="201"/>
                  </a:lnTo>
                  <a:lnTo>
                    <a:pt x="123" y="201"/>
                  </a:lnTo>
                  <a:close/>
                  <a:moveTo>
                    <a:pt x="80" y="265"/>
                  </a:moveTo>
                  <a:lnTo>
                    <a:pt x="80" y="267"/>
                  </a:lnTo>
                  <a:lnTo>
                    <a:pt x="80" y="265"/>
                  </a:lnTo>
                  <a:close/>
                  <a:moveTo>
                    <a:pt x="182" y="113"/>
                  </a:moveTo>
                  <a:lnTo>
                    <a:pt x="182" y="111"/>
                  </a:lnTo>
                  <a:lnTo>
                    <a:pt x="182" y="113"/>
                  </a:lnTo>
                  <a:close/>
                  <a:moveTo>
                    <a:pt x="34" y="311"/>
                  </a:moveTo>
                  <a:lnTo>
                    <a:pt x="34" y="309"/>
                  </a:lnTo>
                  <a:lnTo>
                    <a:pt x="34" y="311"/>
                  </a:lnTo>
                  <a:close/>
                </a:path>
              </a:pathLst>
            </a:custGeom>
            <a:solidFill>
              <a:srgbClr val="FD685D"/>
            </a:solidFill>
            <a:ln w="3175">
              <a:solidFill>
                <a:sysClr val="window" lastClr="FFFF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black"/>
                </a:solidFill>
                <a:effectLst/>
                <a:uLnTx/>
                <a:uFillTx/>
                <a:ea typeface="宋体" panose="02010600030101010101" pitchFamily="2" charset="-122"/>
              </a:endParaRPr>
            </a:p>
          </p:txBody>
        </p:sp>
      </p:grpSp>
      <p:sp>
        <p:nvSpPr>
          <p:cNvPr id="98" name="Title 1">
            <a:extLst>
              <a:ext uri="{FF2B5EF4-FFF2-40B4-BE49-F238E27FC236}">
                <a16:creationId xmlns:a16="http://schemas.microsoft.com/office/drawing/2014/main" id="{D9E69421-0E9A-6C37-6FD3-3AB449E737EB}"/>
              </a:ext>
            </a:extLst>
          </p:cNvPr>
          <p:cNvSpPr txBox="1">
            <a:spLocks/>
          </p:cNvSpPr>
          <p:nvPr/>
        </p:nvSpPr>
        <p:spPr>
          <a:xfrm>
            <a:off x="839787" y="283464"/>
            <a:ext cx="10512000" cy="505939"/>
          </a:xfrm>
          <a:prstGeom prst="rect">
            <a:avLst/>
          </a:prstGeom>
        </p:spPr>
        <p:txBody>
          <a:bodyPr wrap="none" anchor="b">
            <a:normAutofit lnSpcReduction="10000"/>
          </a:bodyPr>
          <a:lstStyle>
            <a:lvl1pPr algn="l" defTabSz="914400" rtl="0" eaLnBrk="1" latinLnBrk="0" hangingPunct="1">
              <a:lnSpc>
                <a:spcPct val="90000"/>
              </a:lnSpc>
              <a:spcBef>
                <a:spcPct val="0"/>
              </a:spcBef>
              <a:buNone/>
              <a:defRPr sz="3100" b="1" kern="1200" baseline="0">
                <a:solidFill>
                  <a:srgbClr val="66CC33"/>
                </a:solidFill>
                <a:latin typeface="Arial Narrow" panose="020B0606020202030204" pitchFamily="34" charset="0"/>
                <a:ea typeface="+mj-ea"/>
                <a:cs typeface="+mj-cs"/>
              </a:defRPr>
            </a:lvl1pPr>
          </a:lstStyle>
          <a:p>
            <a:pPr fontAlgn="auto">
              <a:spcAft>
                <a:spcPts val="0"/>
              </a:spcAft>
            </a:pPr>
            <a:r>
              <a:rPr lang="en-US"/>
              <a:t>Rep Partners and Expansion Plan: 2025 - 2026</a:t>
            </a:r>
          </a:p>
        </p:txBody>
      </p:sp>
      <p:cxnSp>
        <p:nvCxnSpPr>
          <p:cNvPr id="67" name="Straight Connector 66">
            <a:extLst>
              <a:ext uri="{FF2B5EF4-FFF2-40B4-BE49-F238E27FC236}">
                <a16:creationId xmlns:a16="http://schemas.microsoft.com/office/drawing/2014/main" id="{675BE3EC-D018-66FF-7DCD-7B3C5FCF8D9D}"/>
              </a:ext>
            </a:extLst>
          </p:cNvPr>
          <p:cNvCxnSpPr>
            <a:cxnSpLocks/>
          </p:cNvCxnSpPr>
          <p:nvPr/>
        </p:nvCxnSpPr>
        <p:spPr>
          <a:xfrm flipH="1">
            <a:off x="5897480" y="1125992"/>
            <a:ext cx="321288" cy="5043169"/>
          </a:xfrm>
          <a:prstGeom prst="line">
            <a:avLst/>
          </a:prstGeom>
          <a:ln w="38100">
            <a:solidFill>
              <a:srgbClr val="66CC33"/>
            </a:solidFill>
            <a:prstDash val="dash"/>
          </a:ln>
        </p:spPr>
        <p:style>
          <a:lnRef idx="1">
            <a:schemeClr val="accent1"/>
          </a:lnRef>
          <a:fillRef idx="0">
            <a:schemeClr val="accent1"/>
          </a:fillRef>
          <a:effectRef idx="0">
            <a:schemeClr val="accent1"/>
          </a:effectRef>
          <a:fontRef idx="minor">
            <a:schemeClr val="tx1"/>
          </a:fontRef>
        </p:style>
      </p:cxnSp>
      <p:pic>
        <p:nvPicPr>
          <p:cNvPr id="76" name="Picture 75">
            <a:extLst>
              <a:ext uri="{FF2B5EF4-FFF2-40B4-BE49-F238E27FC236}">
                <a16:creationId xmlns:a16="http://schemas.microsoft.com/office/drawing/2014/main" id="{5E78053B-D60A-C97F-1DAD-B3251E006320}"/>
              </a:ext>
            </a:extLst>
          </p:cNvPr>
          <p:cNvPicPr>
            <a:picLocks noChangeAspect="1"/>
          </p:cNvPicPr>
          <p:nvPr/>
        </p:nvPicPr>
        <p:blipFill>
          <a:blip r:embed="rId2" cstate="email">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1107562" y="2694631"/>
            <a:ext cx="853937" cy="295078"/>
          </a:xfrm>
          <a:prstGeom prst="rect">
            <a:avLst/>
          </a:prstGeom>
        </p:spPr>
      </p:pic>
      <p:pic>
        <p:nvPicPr>
          <p:cNvPr id="77" name="Picture 32" descr="A close-up of a logo&#10;&#10;Description automatically generated">
            <a:extLst>
              <a:ext uri="{FF2B5EF4-FFF2-40B4-BE49-F238E27FC236}">
                <a16:creationId xmlns:a16="http://schemas.microsoft.com/office/drawing/2014/main" id="{A531E4E9-CDAC-B1DA-494D-777A4745EDD1}"/>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1107562" y="3981020"/>
            <a:ext cx="1131919" cy="437297"/>
          </a:xfrm>
          <a:prstGeom prst="rect">
            <a:avLst/>
          </a:prstGeom>
        </p:spPr>
      </p:pic>
      <p:sp>
        <p:nvSpPr>
          <p:cNvPr id="78" name="Rectangle: Rounded Corners 77">
            <a:extLst>
              <a:ext uri="{FF2B5EF4-FFF2-40B4-BE49-F238E27FC236}">
                <a16:creationId xmlns:a16="http://schemas.microsoft.com/office/drawing/2014/main" id="{C9702858-120E-641F-0972-262220BC3362}"/>
              </a:ext>
            </a:extLst>
          </p:cNvPr>
          <p:cNvSpPr/>
          <p:nvPr/>
        </p:nvSpPr>
        <p:spPr>
          <a:xfrm>
            <a:off x="567718" y="2736801"/>
            <a:ext cx="269944" cy="218907"/>
          </a:xfrm>
          <a:prstGeom prst="roundRect">
            <a:avLst/>
          </a:prstGeom>
          <a:solidFill>
            <a:srgbClr val="816767"/>
          </a:solidFill>
          <a:ln>
            <a:no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en-US" err="1"/>
          </a:p>
        </p:txBody>
      </p:sp>
      <p:sp>
        <p:nvSpPr>
          <p:cNvPr id="81" name="Rectangle: Rounded Corners 80">
            <a:extLst>
              <a:ext uri="{FF2B5EF4-FFF2-40B4-BE49-F238E27FC236}">
                <a16:creationId xmlns:a16="http://schemas.microsoft.com/office/drawing/2014/main" id="{B1E46649-9632-CCDC-972C-FBBB93FA4124}"/>
              </a:ext>
            </a:extLst>
          </p:cNvPr>
          <p:cNvSpPr/>
          <p:nvPr/>
        </p:nvSpPr>
        <p:spPr>
          <a:xfrm>
            <a:off x="567718" y="3428711"/>
            <a:ext cx="269944" cy="218907"/>
          </a:xfrm>
          <a:prstGeom prst="roundRect">
            <a:avLst/>
          </a:prstGeom>
          <a:solidFill>
            <a:srgbClr val="4D9926"/>
          </a:solidFill>
          <a:ln>
            <a:no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en-US" err="1"/>
          </a:p>
        </p:txBody>
      </p:sp>
      <p:sp>
        <p:nvSpPr>
          <p:cNvPr id="83" name="Rectangle: Rounded Corners 82">
            <a:extLst>
              <a:ext uri="{FF2B5EF4-FFF2-40B4-BE49-F238E27FC236}">
                <a16:creationId xmlns:a16="http://schemas.microsoft.com/office/drawing/2014/main" id="{C6562CB5-95B7-ABD6-58BC-D5175858525F}"/>
              </a:ext>
            </a:extLst>
          </p:cNvPr>
          <p:cNvSpPr/>
          <p:nvPr/>
        </p:nvSpPr>
        <p:spPr>
          <a:xfrm>
            <a:off x="567718" y="4120621"/>
            <a:ext cx="269944" cy="218907"/>
          </a:xfrm>
          <a:prstGeom prst="roundRect">
            <a:avLst/>
          </a:prstGeom>
          <a:solidFill>
            <a:srgbClr val="ABAFCF"/>
          </a:solidFill>
          <a:ln>
            <a:no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en-US" err="1"/>
          </a:p>
        </p:txBody>
      </p:sp>
      <p:pic>
        <p:nvPicPr>
          <p:cNvPr id="84" name="Picture 4" descr="Mel Foster Technology Manufacturers Rep">
            <a:extLst>
              <a:ext uri="{FF2B5EF4-FFF2-40B4-BE49-F238E27FC236}">
                <a16:creationId xmlns:a16="http://schemas.microsoft.com/office/drawing/2014/main" id="{CF84E561-2135-EABE-D39E-6C66FA00F7A3}"/>
              </a:ext>
            </a:extLst>
          </p:cNvPr>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1090507" y="3260323"/>
            <a:ext cx="1011925" cy="555681"/>
          </a:xfrm>
          <a:prstGeom prst="rect">
            <a:avLst/>
          </a:prstGeom>
          <a:noFill/>
          <a:extLst>
            <a:ext uri="{909E8E84-426E-40DD-AFC4-6F175D3DCCD1}">
              <a14:hiddenFill xmlns:a14="http://schemas.microsoft.com/office/drawing/2010/main">
                <a:solidFill>
                  <a:srgbClr val="FFFFFF"/>
                </a:solidFill>
              </a14:hiddenFill>
            </a:ext>
          </a:extLst>
        </p:spPr>
      </p:pic>
      <p:sp>
        <p:nvSpPr>
          <p:cNvPr id="85" name="TextBox 84">
            <a:extLst>
              <a:ext uri="{FF2B5EF4-FFF2-40B4-BE49-F238E27FC236}">
                <a16:creationId xmlns:a16="http://schemas.microsoft.com/office/drawing/2014/main" id="{DB66E662-A5BE-92C6-439F-CB60C1F0125C}"/>
              </a:ext>
            </a:extLst>
          </p:cNvPr>
          <p:cNvSpPr txBox="1"/>
          <p:nvPr/>
        </p:nvSpPr>
        <p:spPr>
          <a:xfrm>
            <a:off x="408603" y="1716565"/>
            <a:ext cx="1993438" cy="276999"/>
          </a:xfrm>
          <a:prstGeom prst="rect">
            <a:avLst/>
          </a:prstGeom>
          <a:solidFill>
            <a:schemeClr val="accent1">
              <a:lumMod val="20000"/>
              <a:lumOff val="80000"/>
            </a:schemeClr>
          </a:solidFill>
        </p:spPr>
        <p:txBody>
          <a:bodyPr wrap="square" rtlCol="0">
            <a:spAutoFit/>
          </a:bodyPr>
          <a:lstStyle/>
          <a:p>
            <a:r>
              <a:rPr lang="en-US" sz="1200" b="1"/>
              <a:t>RSM: Gary McNelly</a:t>
            </a:r>
          </a:p>
        </p:txBody>
      </p:sp>
      <p:sp>
        <p:nvSpPr>
          <p:cNvPr id="86" name="Rectangle: Rounded Corners 85">
            <a:extLst>
              <a:ext uri="{FF2B5EF4-FFF2-40B4-BE49-F238E27FC236}">
                <a16:creationId xmlns:a16="http://schemas.microsoft.com/office/drawing/2014/main" id="{8193F145-AEEF-5E50-90E2-CB4660E7DC39}"/>
              </a:ext>
            </a:extLst>
          </p:cNvPr>
          <p:cNvSpPr/>
          <p:nvPr/>
        </p:nvSpPr>
        <p:spPr>
          <a:xfrm>
            <a:off x="522731" y="6076166"/>
            <a:ext cx="269944" cy="218907"/>
          </a:xfrm>
          <a:prstGeom prst="roundRect">
            <a:avLst/>
          </a:prstGeom>
          <a:solidFill>
            <a:srgbClr val="F8BAEF"/>
          </a:solidFill>
          <a:ln>
            <a:no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en-US" err="1"/>
          </a:p>
        </p:txBody>
      </p:sp>
      <p:sp>
        <p:nvSpPr>
          <p:cNvPr id="87" name="Rectangle: Rounded Corners 86">
            <a:extLst>
              <a:ext uri="{FF2B5EF4-FFF2-40B4-BE49-F238E27FC236}">
                <a16:creationId xmlns:a16="http://schemas.microsoft.com/office/drawing/2014/main" id="{CCAE7FFD-5B20-81B2-A382-606913AA9EA8}"/>
              </a:ext>
            </a:extLst>
          </p:cNvPr>
          <p:cNvSpPr/>
          <p:nvPr/>
        </p:nvSpPr>
        <p:spPr>
          <a:xfrm>
            <a:off x="512571" y="5564088"/>
            <a:ext cx="269944" cy="218907"/>
          </a:xfrm>
          <a:prstGeom prst="roundRect">
            <a:avLst/>
          </a:prstGeom>
          <a:solidFill>
            <a:srgbClr val="EDFD51"/>
          </a:solidFill>
          <a:ln>
            <a:no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en-US" err="1"/>
          </a:p>
        </p:txBody>
      </p:sp>
      <p:sp>
        <p:nvSpPr>
          <p:cNvPr id="88" name="Rectangle: Rounded Corners 87">
            <a:extLst>
              <a:ext uri="{FF2B5EF4-FFF2-40B4-BE49-F238E27FC236}">
                <a16:creationId xmlns:a16="http://schemas.microsoft.com/office/drawing/2014/main" id="{E7FB03E1-5461-32A8-F68B-5FE660A3847A}"/>
              </a:ext>
            </a:extLst>
          </p:cNvPr>
          <p:cNvSpPr/>
          <p:nvPr/>
        </p:nvSpPr>
        <p:spPr>
          <a:xfrm>
            <a:off x="534366" y="5038438"/>
            <a:ext cx="269944" cy="218907"/>
          </a:xfrm>
          <a:prstGeom prst="roundRect">
            <a:avLst/>
          </a:prstGeom>
          <a:solidFill>
            <a:srgbClr val="74F283"/>
          </a:solidFill>
          <a:ln>
            <a:no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en-US" err="1"/>
          </a:p>
        </p:txBody>
      </p:sp>
      <p:sp>
        <p:nvSpPr>
          <p:cNvPr id="89" name="TextBox 88">
            <a:extLst>
              <a:ext uri="{FF2B5EF4-FFF2-40B4-BE49-F238E27FC236}">
                <a16:creationId xmlns:a16="http://schemas.microsoft.com/office/drawing/2014/main" id="{3469A48C-EB66-2804-74B5-3AF1A33C9F97}"/>
              </a:ext>
            </a:extLst>
          </p:cNvPr>
          <p:cNvSpPr txBox="1"/>
          <p:nvPr/>
        </p:nvSpPr>
        <p:spPr>
          <a:xfrm>
            <a:off x="825457" y="6017771"/>
            <a:ext cx="2835965" cy="307777"/>
          </a:xfrm>
          <a:prstGeom prst="rect">
            <a:avLst/>
          </a:prstGeom>
          <a:noFill/>
          <a:ln>
            <a:noFill/>
          </a:ln>
        </p:spPr>
        <p:txBody>
          <a:bodyPr wrap="square">
            <a:spAutoFit/>
          </a:bodyPr>
          <a:lstStyle/>
          <a:p>
            <a:pPr lvl="0" rtl="0">
              <a:buNone/>
            </a:pPr>
            <a:r>
              <a:rPr lang="en-US" sz="1400">
                <a:solidFill>
                  <a:schemeClr val="tx1"/>
                </a:solidFill>
                <a:effectLst/>
              </a:rPr>
              <a:t>Mountain States (CO, UT, WY)​</a:t>
            </a:r>
          </a:p>
        </p:txBody>
      </p:sp>
      <p:sp>
        <p:nvSpPr>
          <p:cNvPr id="90" name="TextBox 89">
            <a:extLst>
              <a:ext uri="{FF2B5EF4-FFF2-40B4-BE49-F238E27FC236}">
                <a16:creationId xmlns:a16="http://schemas.microsoft.com/office/drawing/2014/main" id="{4B80D766-2693-5A82-5C69-5595C484AD67}"/>
              </a:ext>
            </a:extLst>
          </p:cNvPr>
          <p:cNvSpPr txBox="1"/>
          <p:nvPr/>
        </p:nvSpPr>
        <p:spPr>
          <a:xfrm>
            <a:off x="444856" y="4577776"/>
            <a:ext cx="3332137" cy="307777"/>
          </a:xfrm>
          <a:prstGeom prst="rect">
            <a:avLst/>
          </a:prstGeom>
          <a:noFill/>
          <a:ln>
            <a:noFill/>
          </a:ln>
        </p:spPr>
        <p:txBody>
          <a:bodyPr wrap="square">
            <a:spAutoFit/>
          </a:bodyPr>
          <a:lstStyle/>
          <a:p>
            <a:pPr lvl="0" rtl="0">
              <a:buNone/>
            </a:pPr>
            <a:r>
              <a:rPr lang="en-US" sz="1400" b="1">
                <a:solidFill>
                  <a:schemeClr val="tx1"/>
                </a:solidFill>
                <a:effectLst/>
              </a:rPr>
              <a:t>2026 Territor</a:t>
            </a:r>
            <a:r>
              <a:rPr lang="en-US" sz="1400" b="1"/>
              <a:t>ies</a:t>
            </a:r>
            <a:r>
              <a:rPr lang="en-US" sz="1400" b="1">
                <a:solidFill>
                  <a:schemeClr val="tx1"/>
                </a:solidFill>
                <a:effectLst/>
              </a:rPr>
              <a:t> to Add REPS</a:t>
            </a:r>
          </a:p>
        </p:txBody>
      </p:sp>
      <p:sp>
        <p:nvSpPr>
          <p:cNvPr id="91" name="TextBox 90">
            <a:extLst>
              <a:ext uri="{FF2B5EF4-FFF2-40B4-BE49-F238E27FC236}">
                <a16:creationId xmlns:a16="http://schemas.microsoft.com/office/drawing/2014/main" id="{E180477B-9CC5-5946-A87C-90B280F417D6}"/>
              </a:ext>
            </a:extLst>
          </p:cNvPr>
          <p:cNvSpPr txBox="1"/>
          <p:nvPr/>
        </p:nvSpPr>
        <p:spPr>
          <a:xfrm>
            <a:off x="830918" y="5534200"/>
            <a:ext cx="2212566" cy="307777"/>
          </a:xfrm>
          <a:prstGeom prst="rect">
            <a:avLst/>
          </a:prstGeom>
          <a:noFill/>
          <a:ln>
            <a:noFill/>
          </a:ln>
        </p:spPr>
        <p:txBody>
          <a:bodyPr wrap="square">
            <a:spAutoFit/>
          </a:bodyPr>
          <a:lstStyle/>
          <a:p>
            <a:pPr lvl="0" rtl="0">
              <a:buNone/>
            </a:pPr>
            <a:r>
              <a:rPr lang="en-US" sz="1400">
                <a:solidFill>
                  <a:schemeClr val="tx1"/>
                </a:solidFill>
                <a:effectLst/>
              </a:rPr>
              <a:t>KS-MO-So IL Rep</a:t>
            </a:r>
          </a:p>
        </p:txBody>
      </p:sp>
      <p:sp>
        <p:nvSpPr>
          <p:cNvPr id="92" name="TextBox 91">
            <a:extLst>
              <a:ext uri="{FF2B5EF4-FFF2-40B4-BE49-F238E27FC236}">
                <a16:creationId xmlns:a16="http://schemas.microsoft.com/office/drawing/2014/main" id="{81261C63-6F2C-095F-4814-1D4081ED8505}"/>
              </a:ext>
            </a:extLst>
          </p:cNvPr>
          <p:cNvSpPr txBox="1"/>
          <p:nvPr/>
        </p:nvSpPr>
        <p:spPr>
          <a:xfrm>
            <a:off x="851238" y="4963522"/>
            <a:ext cx="1735046" cy="307777"/>
          </a:xfrm>
          <a:prstGeom prst="rect">
            <a:avLst/>
          </a:prstGeom>
          <a:noFill/>
          <a:ln>
            <a:noFill/>
          </a:ln>
        </p:spPr>
        <p:txBody>
          <a:bodyPr wrap="square">
            <a:spAutoFit/>
          </a:bodyPr>
          <a:lstStyle/>
          <a:p>
            <a:pPr lvl="0" rtl="0">
              <a:buNone/>
            </a:pPr>
            <a:r>
              <a:rPr lang="en-US" sz="1400">
                <a:solidFill>
                  <a:schemeClr val="tx1"/>
                </a:solidFill>
                <a:effectLst/>
              </a:rPr>
              <a:t>IL / WI Rep</a:t>
            </a:r>
          </a:p>
        </p:txBody>
      </p:sp>
      <p:pic>
        <p:nvPicPr>
          <p:cNvPr id="93" name="Picture 92">
            <a:extLst>
              <a:ext uri="{FF2B5EF4-FFF2-40B4-BE49-F238E27FC236}">
                <a16:creationId xmlns:a16="http://schemas.microsoft.com/office/drawing/2014/main" id="{0D23645C-CD4F-EF40-23E3-5F25C1E1DE94}"/>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9111969" y="3364248"/>
            <a:ext cx="1389651" cy="284627"/>
          </a:xfrm>
          <a:prstGeom prst="rect">
            <a:avLst/>
          </a:prstGeom>
        </p:spPr>
      </p:pic>
      <p:sp>
        <p:nvSpPr>
          <p:cNvPr id="94" name="Rectangle: Rounded Corners 93">
            <a:extLst>
              <a:ext uri="{FF2B5EF4-FFF2-40B4-BE49-F238E27FC236}">
                <a16:creationId xmlns:a16="http://schemas.microsoft.com/office/drawing/2014/main" id="{353EDE17-8DBC-6F6D-5FD7-CE40B2721021}"/>
              </a:ext>
            </a:extLst>
          </p:cNvPr>
          <p:cNvSpPr/>
          <p:nvPr/>
        </p:nvSpPr>
        <p:spPr>
          <a:xfrm>
            <a:off x="8582285" y="4001747"/>
            <a:ext cx="269944" cy="218907"/>
          </a:xfrm>
          <a:prstGeom prst="roundRect">
            <a:avLst/>
          </a:prstGeom>
          <a:solidFill>
            <a:srgbClr val="EF9F4B"/>
          </a:solidFill>
          <a:ln>
            <a:no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en-US" err="1"/>
          </a:p>
        </p:txBody>
      </p:sp>
      <p:sp>
        <p:nvSpPr>
          <p:cNvPr id="95" name="Rectangle: Rounded Corners 94">
            <a:extLst>
              <a:ext uri="{FF2B5EF4-FFF2-40B4-BE49-F238E27FC236}">
                <a16:creationId xmlns:a16="http://schemas.microsoft.com/office/drawing/2014/main" id="{A9BA6618-6F24-A293-4189-9195D47B9F18}"/>
              </a:ext>
            </a:extLst>
          </p:cNvPr>
          <p:cNvSpPr/>
          <p:nvPr/>
        </p:nvSpPr>
        <p:spPr>
          <a:xfrm>
            <a:off x="8582284" y="3386949"/>
            <a:ext cx="269944" cy="218907"/>
          </a:xfrm>
          <a:prstGeom prst="roundRect">
            <a:avLst/>
          </a:prstGeom>
          <a:solidFill>
            <a:srgbClr val="0099FF"/>
          </a:solidFill>
          <a:ln>
            <a:no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en-US" err="1"/>
          </a:p>
        </p:txBody>
      </p:sp>
      <p:sp>
        <p:nvSpPr>
          <p:cNvPr id="96" name="Rectangle: Rounded Corners 95">
            <a:extLst>
              <a:ext uri="{FF2B5EF4-FFF2-40B4-BE49-F238E27FC236}">
                <a16:creationId xmlns:a16="http://schemas.microsoft.com/office/drawing/2014/main" id="{B169BF41-7DCD-3533-E107-6A6C49B521BA}"/>
              </a:ext>
            </a:extLst>
          </p:cNvPr>
          <p:cNvSpPr/>
          <p:nvPr/>
        </p:nvSpPr>
        <p:spPr>
          <a:xfrm>
            <a:off x="8592444" y="4603257"/>
            <a:ext cx="269944" cy="218907"/>
          </a:xfrm>
          <a:prstGeom prst="roundRect">
            <a:avLst/>
          </a:prstGeom>
          <a:solidFill>
            <a:srgbClr val="575F9F"/>
          </a:solidFill>
          <a:ln>
            <a:no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en-US" err="1"/>
          </a:p>
        </p:txBody>
      </p:sp>
      <p:sp>
        <p:nvSpPr>
          <p:cNvPr id="97" name="Rectangle: Rounded Corners 96">
            <a:extLst>
              <a:ext uri="{FF2B5EF4-FFF2-40B4-BE49-F238E27FC236}">
                <a16:creationId xmlns:a16="http://schemas.microsoft.com/office/drawing/2014/main" id="{171E2C48-E818-2919-A0BE-E422CBD4EFFC}"/>
              </a:ext>
            </a:extLst>
          </p:cNvPr>
          <p:cNvSpPr/>
          <p:nvPr/>
        </p:nvSpPr>
        <p:spPr>
          <a:xfrm>
            <a:off x="8592444" y="5102995"/>
            <a:ext cx="269944" cy="218907"/>
          </a:xfrm>
          <a:prstGeom prst="roundRect">
            <a:avLst/>
          </a:prstGeom>
          <a:solidFill>
            <a:srgbClr val="9F5353"/>
          </a:solidFill>
          <a:ln>
            <a:no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en-US" err="1"/>
          </a:p>
        </p:txBody>
      </p:sp>
      <p:pic>
        <p:nvPicPr>
          <p:cNvPr id="99" name="Picture 98">
            <a:extLst>
              <a:ext uri="{FF2B5EF4-FFF2-40B4-BE49-F238E27FC236}">
                <a16:creationId xmlns:a16="http://schemas.microsoft.com/office/drawing/2014/main" id="{5A371746-1B93-D2F1-D1E2-21C2DE1D7503}"/>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9123602" y="4613417"/>
            <a:ext cx="1773143" cy="218907"/>
          </a:xfrm>
          <a:prstGeom prst="rect">
            <a:avLst/>
          </a:prstGeom>
        </p:spPr>
      </p:pic>
      <p:pic>
        <p:nvPicPr>
          <p:cNvPr id="100" name="Picture 99">
            <a:extLst>
              <a:ext uri="{FF2B5EF4-FFF2-40B4-BE49-F238E27FC236}">
                <a16:creationId xmlns:a16="http://schemas.microsoft.com/office/drawing/2014/main" id="{BAEF73F3-5ACF-43BD-9878-6B55FB796AD7}"/>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9132289" y="5058559"/>
            <a:ext cx="1100139" cy="307777"/>
          </a:xfrm>
          <a:prstGeom prst="rect">
            <a:avLst/>
          </a:prstGeom>
        </p:spPr>
      </p:pic>
      <p:sp>
        <p:nvSpPr>
          <p:cNvPr id="101" name="Rectangle: Rounded Corners 100">
            <a:extLst>
              <a:ext uri="{FF2B5EF4-FFF2-40B4-BE49-F238E27FC236}">
                <a16:creationId xmlns:a16="http://schemas.microsoft.com/office/drawing/2014/main" id="{A8C157F8-3F62-18DC-091F-5D2E51CB4552}"/>
              </a:ext>
            </a:extLst>
          </p:cNvPr>
          <p:cNvSpPr/>
          <p:nvPr/>
        </p:nvSpPr>
        <p:spPr>
          <a:xfrm>
            <a:off x="8573436" y="5830948"/>
            <a:ext cx="341091" cy="218907"/>
          </a:xfrm>
          <a:prstGeom prst="roundRect">
            <a:avLst/>
          </a:prstGeom>
          <a:solidFill>
            <a:srgbClr val="D9D9D9"/>
          </a:solidFill>
          <a:ln>
            <a:no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r>
              <a:rPr lang="en-US"/>
              <a:t>2</a:t>
            </a:r>
          </a:p>
        </p:txBody>
      </p:sp>
      <p:sp>
        <p:nvSpPr>
          <p:cNvPr id="102" name="TextBox 101">
            <a:extLst>
              <a:ext uri="{FF2B5EF4-FFF2-40B4-BE49-F238E27FC236}">
                <a16:creationId xmlns:a16="http://schemas.microsoft.com/office/drawing/2014/main" id="{CE134D76-B779-8394-E236-D4EE44F7AD67}"/>
              </a:ext>
            </a:extLst>
          </p:cNvPr>
          <p:cNvSpPr txBox="1"/>
          <p:nvPr/>
        </p:nvSpPr>
        <p:spPr>
          <a:xfrm>
            <a:off x="8473436" y="5441064"/>
            <a:ext cx="3113078" cy="307777"/>
          </a:xfrm>
          <a:prstGeom prst="rect">
            <a:avLst/>
          </a:prstGeom>
          <a:noFill/>
          <a:ln>
            <a:noFill/>
          </a:ln>
        </p:spPr>
        <p:txBody>
          <a:bodyPr wrap="square" lIns="91440" tIns="45720" rIns="91440" bIns="45720" anchor="t">
            <a:spAutoFit/>
          </a:bodyPr>
          <a:lstStyle/>
          <a:p>
            <a:pPr lvl="0" rtl="0">
              <a:buNone/>
            </a:pPr>
            <a:r>
              <a:rPr lang="en-US" sz="1400" b="1"/>
              <a:t>2025/26</a:t>
            </a:r>
            <a:r>
              <a:rPr lang="en-US" sz="1400" b="1">
                <a:effectLst/>
              </a:rPr>
              <a:t> Territor</a:t>
            </a:r>
            <a:r>
              <a:rPr lang="en-US" sz="1400" b="1"/>
              <a:t>ies</a:t>
            </a:r>
            <a:r>
              <a:rPr lang="en-US" sz="1400" b="1">
                <a:effectLst/>
              </a:rPr>
              <a:t> to Add REPS​</a:t>
            </a:r>
          </a:p>
        </p:txBody>
      </p:sp>
      <p:sp>
        <p:nvSpPr>
          <p:cNvPr id="103" name="TextBox 102">
            <a:extLst>
              <a:ext uri="{FF2B5EF4-FFF2-40B4-BE49-F238E27FC236}">
                <a16:creationId xmlns:a16="http://schemas.microsoft.com/office/drawing/2014/main" id="{E925A218-0E9A-B3AF-BB36-574119458918}"/>
              </a:ext>
            </a:extLst>
          </p:cNvPr>
          <p:cNvSpPr txBox="1"/>
          <p:nvPr/>
        </p:nvSpPr>
        <p:spPr>
          <a:xfrm>
            <a:off x="8876162" y="5786073"/>
            <a:ext cx="4028139" cy="523220"/>
          </a:xfrm>
          <a:prstGeom prst="rect">
            <a:avLst/>
          </a:prstGeom>
          <a:noFill/>
          <a:ln>
            <a:noFill/>
          </a:ln>
        </p:spPr>
        <p:txBody>
          <a:bodyPr wrap="square" lIns="91440" tIns="45720" rIns="91440" bIns="45720" anchor="t">
            <a:spAutoFit/>
          </a:bodyPr>
          <a:lstStyle/>
          <a:p>
            <a:r>
              <a:rPr lang="en-US" sz="1400">
                <a:effectLst/>
              </a:rPr>
              <a:t>Mid-Atlantic States </a:t>
            </a:r>
            <a:endParaRPr lang="en-US"/>
          </a:p>
          <a:p>
            <a:pPr lvl="0">
              <a:buNone/>
            </a:pPr>
            <a:r>
              <a:rPr lang="en-US" sz="1400">
                <a:effectLst/>
              </a:rPr>
              <a:t>(Metro NY, NJ, E. PA, VA, DE)</a:t>
            </a:r>
            <a:endParaRPr lang="en-US"/>
          </a:p>
        </p:txBody>
      </p:sp>
      <p:sp>
        <p:nvSpPr>
          <p:cNvPr id="104" name="Rectangle: Rounded Corners 103">
            <a:extLst>
              <a:ext uri="{FF2B5EF4-FFF2-40B4-BE49-F238E27FC236}">
                <a16:creationId xmlns:a16="http://schemas.microsoft.com/office/drawing/2014/main" id="{FE7EE22B-B6B8-5BEE-A436-C39561EBF500}"/>
              </a:ext>
            </a:extLst>
          </p:cNvPr>
          <p:cNvSpPr/>
          <p:nvPr/>
        </p:nvSpPr>
        <p:spPr>
          <a:xfrm>
            <a:off x="8541644" y="2807381"/>
            <a:ext cx="341091" cy="218907"/>
          </a:xfrm>
          <a:prstGeom prst="roundRect">
            <a:avLst/>
          </a:prstGeom>
          <a:solidFill>
            <a:srgbClr val="FD685D"/>
          </a:solidFill>
          <a:ln>
            <a:no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r>
              <a:rPr lang="en-US">
                <a:cs typeface="Segoe UI"/>
              </a:rPr>
              <a:t>1</a:t>
            </a:r>
          </a:p>
        </p:txBody>
      </p:sp>
      <p:pic>
        <p:nvPicPr>
          <p:cNvPr id="106" name="Picture 105">
            <a:extLst>
              <a:ext uri="{FF2B5EF4-FFF2-40B4-BE49-F238E27FC236}">
                <a16:creationId xmlns:a16="http://schemas.microsoft.com/office/drawing/2014/main" id="{0832BA91-2BE9-49EE-EF46-97C88D882FEA}"/>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9111969" y="3879392"/>
            <a:ext cx="662243" cy="490395"/>
          </a:xfrm>
          <a:prstGeom prst="rect">
            <a:avLst/>
          </a:prstGeom>
        </p:spPr>
      </p:pic>
      <p:sp>
        <p:nvSpPr>
          <p:cNvPr id="107" name="TextBox 106">
            <a:extLst>
              <a:ext uri="{FF2B5EF4-FFF2-40B4-BE49-F238E27FC236}">
                <a16:creationId xmlns:a16="http://schemas.microsoft.com/office/drawing/2014/main" id="{2CF3FF8A-C456-9C67-1574-960D263F56CF}"/>
              </a:ext>
            </a:extLst>
          </p:cNvPr>
          <p:cNvSpPr txBox="1"/>
          <p:nvPr/>
        </p:nvSpPr>
        <p:spPr>
          <a:xfrm>
            <a:off x="8504861" y="1715865"/>
            <a:ext cx="2170110" cy="276999"/>
          </a:xfrm>
          <a:prstGeom prst="rect">
            <a:avLst/>
          </a:prstGeom>
          <a:solidFill>
            <a:schemeClr val="accent1">
              <a:lumMod val="20000"/>
              <a:lumOff val="80000"/>
            </a:schemeClr>
          </a:solidFill>
        </p:spPr>
        <p:txBody>
          <a:bodyPr wrap="square" rtlCol="0">
            <a:spAutoFit/>
          </a:bodyPr>
          <a:lstStyle/>
          <a:p>
            <a:r>
              <a:rPr lang="en-US" sz="1200" b="1"/>
              <a:t>RSM: Rick Zanardo</a:t>
            </a:r>
          </a:p>
        </p:txBody>
      </p:sp>
      <p:pic>
        <p:nvPicPr>
          <p:cNvPr id="3074" name="Picture 2">
            <a:extLst>
              <a:ext uri="{FF2B5EF4-FFF2-40B4-BE49-F238E27FC236}">
                <a16:creationId xmlns:a16="http://schemas.microsoft.com/office/drawing/2014/main" id="{9FFF0253-65F5-728A-E2D3-4D548CC9D35E}"/>
              </a:ext>
            </a:extLst>
          </p:cNvPr>
          <p:cNvPicPr>
            <a:picLocks noChangeAspect="1" noChangeArrowheads="1"/>
          </p:cNvPicPr>
          <p:nvPr/>
        </p:nvPicPr>
        <p:blipFill>
          <a:blip r:embed="rId9" cstate="email">
            <a:extLst>
              <a:ext uri="{28A0092B-C50C-407E-A947-70E740481C1C}">
                <a14:useLocalDpi xmlns:a14="http://schemas.microsoft.com/office/drawing/2010/main"/>
              </a:ext>
            </a:extLst>
          </a:blip>
          <a:srcRect/>
          <a:stretch>
            <a:fillRect/>
          </a:stretch>
        </p:blipFill>
        <p:spPr bwMode="auto">
          <a:xfrm>
            <a:off x="9081489" y="2796710"/>
            <a:ext cx="774665" cy="248290"/>
          </a:xfrm>
          <a:prstGeom prst="rect">
            <a:avLst/>
          </a:prstGeom>
          <a:noFill/>
          <a:extLst>
            <a:ext uri="{909E8E84-426E-40DD-AFC4-6F175D3DCCD1}">
              <a14:hiddenFill xmlns:a14="http://schemas.microsoft.com/office/drawing/2010/main">
                <a:solidFill>
                  <a:srgbClr val="FFFFFF"/>
                </a:solidFill>
              </a14:hiddenFill>
            </a:ext>
          </a:extLst>
        </p:spPr>
      </p:pic>
      <p:sp>
        <p:nvSpPr>
          <p:cNvPr id="108" name="TextBox 107">
            <a:extLst>
              <a:ext uri="{FF2B5EF4-FFF2-40B4-BE49-F238E27FC236}">
                <a16:creationId xmlns:a16="http://schemas.microsoft.com/office/drawing/2014/main" id="{C08B9208-F2DB-323E-6C28-9C5B7982721F}"/>
              </a:ext>
            </a:extLst>
          </p:cNvPr>
          <p:cNvSpPr txBox="1"/>
          <p:nvPr/>
        </p:nvSpPr>
        <p:spPr>
          <a:xfrm>
            <a:off x="3864795" y="6119716"/>
            <a:ext cx="4065370" cy="307777"/>
          </a:xfrm>
          <a:prstGeom prst="rect">
            <a:avLst/>
          </a:prstGeom>
          <a:noFill/>
          <a:ln>
            <a:noFill/>
          </a:ln>
        </p:spPr>
        <p:txBody>
          <a:bodyPr wrap="square" lIns="91440" tIns="45720" rIns="91440" bIns="45720" anchor="t">
            <a:spAutoFit/>
          </a:bodyPr>
          <a:lstStyle/>
          <a:p>
            <a:pPr lvl="0" rtl="0">
              <a:buNone/>
            </a:pPr>
            <a:r>
              <a:rPr lang="en-US" sz="1400" b="1"/>
              <a:t>2026</a:t>
            </a:r>
            <a:r>
              <a:rPr lang="en-US" sz="1400" b="1">
                <a:effectLst/>
              </a:rPr>
              <a:t> South American Countries to Add REPS</a:t>
            </a:r>
          </a:p>
        </p:txBody>
      </p:sp>
      <p:pic>
        <p:nvPicPr>
          <p:cNvPr id="109" name="Picture 108" descr="A flag with a blue circle and white stars&#10;&#10;AI-generated content may be incorrect.">
            <a:extLst>
              <a:ext uri="{FF2B5EF4-FFF2-40B4-BE49-F238E27FC236}">
                <a16:creationId xmlns:a16="http://schemas.microsoft.com/office/drawing/2014/main" id="{EB54FFB9-551E-274D-C876-702659F8031B}"/>
              </a:ext>
            </a:extLst>
          </p:cNvPr>
          <p:cNvPicPr>
            <a:picLocks noChangeAspect="1"/>
          </p:cNvPicPr>
          <p:nvPr/>
        </p:nvPicPr>
        <p:blipFill>
          <a:blip r:embed="rId10" cstate="email">
            <a:extLst>
              <a:ext uri="{28A0092B-C50C-407E-A947-70E740481C1C}">
                <a14:useLocalDpi xmlns:a14="http://schemas.microsoft.com/office/drawing/2010/main"/>
              </a:ext>
              <a:ext uri="{837473B0-CC2E-450A-ABE3-18F120FF3D39}">
                <a1611:picAttrSrcUrl xmlns:a1611="http://schemas.microsoft.com/office/drawing/2016/11/main" r:id="rId11"/>
              </a:ext>
            </a:extLst>
          </a:blip>
          <a:stretch>
            <a:fillRect/>
          </a:stretch>
        </p:blipFill>
        <p:spPr>
          <a:xfrm>
            <a:off x="5075952" y="6360745"/>
            <a:ext cx="606114" cy="427776"/>
          </a:xfrm>
          <a:prstGeom prst="rect">
            <a:avLst/>
          </a:prstGeom>
        </p:spPr>
      </p:pic>
      <p:pic>
        <p:nvPicPr>
          <p:cNvPr id="111" name="Picture 110" descr="A hand holding a flag&#10;&#10;AI-generated content may be incorrect.">
            <a:extLst>
              <a:ext uri="{FF2B5EF4-FFF2-40B4-BE49-F238E27FC236}">
                <a16:creationId xmlns:a16="http://schemas.microsoft.com/office/drawing/2014/main" id="{FA5E3283-879F-A1B9-C4CE-D3E0D651F30E}"/>
              </a:ext>
            </a:extLst>
          </p:cNvPr>
          <p:cNvPicPr>
            <a:picLocks noChangeAspect="1"/>
          </p:cNvPicPr>
          <p:nvPr/>
        </p:nvPicPr>
        <p:blipFill>
          <a:blip r:embed="rId12" cstate="email">
            <a:extLst>
              <a:ext uri="{28A0092B-C50C-407E-A947-70E740481C1C}">
                <a14:useLocalDpi xmlns:a14="http://schemas.microsoft.com/office/drawing/2010/main"/>
              </a:ext>
              <a:ext uri="{837473B0-CC2E-450A-ABE3-18F120FF3D39}">
                <a1611:picAttrSrcUrl xmlns:a1611="http://schemas.microsoft.com/office/drawing/2016/11/main" r:id="rId13"/>
              </a:ext>
            </a:extLst>
          </a:blip>
          <a:srcRect/>
          <a:stretch/>
        </p:blipFill>
        <p:spPr>
          <a:xfrm>
            <a:off x="5876126" y="6365940"/>
            <a:ext cx="685284" cy="417192"/>
          </a:xfrm>
          <a:prstGeom prst="rect">
            <a:avLst/>
          </a:prstGeom>
        </p:spPr>
      </p:pic>
      <p:sp>
        <p:nvSpPr>
          <p:cNvPr id="112" name="TextBox 111">
            <a:extLst>
              <a:ext uri="{FF2B5EF4-FFF2-40B4-BE49-F238E27FC236}">
                <a16:creationId xmlns:a16="http://schemas.microsoft.com/office/drawing/2014/main" id="{CDA5DE71-EEAB-C545-63A6-051FA8292E30}"/>
              </a:ext>
            </a:extLst>
          </p:cNvPr>
          <p:cNvSpPr txBox="1"/>
          <p:nvPr/>
        </p:nvSpPr>
        <p:spPr>
          <a:xfrm>
            <a:off x="9856154" y="2744235"/>
            <a:ext cx="1924804" cy="360850"/>
          </a:xfrm>
          <a:prstGeom prst="rect">
            <a:avLst/>
          </a:prstGeom>
          <a:noFill/>
          <a:ln>
            <a:noFill/>
          </a:ln>
        </p:spPr>
        <p:txBody>
          <a:bodyPr wrap="none" lIns="72000" tIns="72000" rIns="72000" bIns="72000" rtlCol="0">
            <a:spAutoFit/>
          </a:bodyPr>
          <a:lstStyle/>
          <a:p>
            <a:pPr algn="l">
              <a:buClr>
                <a:schemeClr val="accent1"/>
              </a:buClr>
            </a:pPr>
            <a:r>
              <a:rPr lang="en-US" sz="1400"/>
              <a:t>(Onboarded Apr 2025)</a:t>
            </a:r>
          </a:p>
        </p:txBody>
      </p:sp>
      <p:pic>
        <p:nvPicPr>
          <p:cNvPr id="68" name="Picture 67" descr="Gary Mcnelly">
            <a:extLst>
              <a:ext uri="{FF2B5EF4-FFF2-40B4-BE49-F238E27FC236}">
                <a16:creationId xmlns:a16="http://schemas.microsoft.com/office/drawing/2014/main" id="{6787A327-E548-F7C4-1B3D-AAC255F1623F}"/>
              </a:ext>
            </a:extLst>
          </p:cNvPr>
          <p:cNvPicPr>
            <a:picLocks noChangeAspect="1"/>
          </p:cNvPicPr>
          <p:nvPr/>
        </p:nvPicPr>
        <p:blipFill>
          <a:blip r:embed="rId14"/>
          <a:stretch>
            <a:fillRect/>
          </a:stretch>
        </p:blipFill>
        <p:spPr>
          <a:xfrm>
            <a:off x="410210" y="740410"/>
            <a:ext cx="916940" cy="876300"/>
          </a:xfrm>
          <a:prstGeom prst="rect">
            <a:avLst/>
          </a:prstGeom>
          <a:effectLst>
            <a:outerShdw blurRad="50800" dist="38100" dir="2700000">
              <a:srgbClr val="000000">
                <a:alpha val="40000"/>
              </a:srgbClr>
            </a:outerShdw>
          </a:effectLst>
        </p:spPr>
      </p:pic>
      <p:pic>
        <p:nvPicPr>
          <p:cNvPr id="69" name="Picture 68" descr="Richard Zanardo">
            <a:extLst>
              <a:ext uri="{FF2B5EF4-FFF2-40B4-BE49-F238E27FC236}">
                <a16:creationId xmlns:a16="http://schemas.microsoft.com/office/drawing/2014/main" id="{080D2273-AD1C-C0B9-0E89-11A8CCA3A62C}"/>
              </a:ext>
            </a:extLst>
          </p:cNvPr>
          <p:cNvPicPr>
            <a:picLocks noChangeAspect="1"/>
          </p:cNvPicPr>
          <p:nvPr/>
        </p:nvPicPr>
        <p:blipFill>
          <a:blip r:embed="rId15"/>
          <a:stretch>
            <a:fillRect/>
          </a:stretch>
        </p:blipFill>
        <p:spPr>
          <a:xfrm>
            <a:off x="8517890" y="689610"/>
            <a:ext cx="937260" cy="957580"/>
          </a:xfrm>
          <a:prstGeom prst="rect">
            <a:avLst/>
          </a:prstGeom>
          <a:effectLst>
            <a:outerShdw blurRad="50800" dist="38100" dir="2700000">
              <a:srgbClr val="000000">
                <a:alpha val="40000"/>
              </a:srgbClr>
            </a:outerShdw>
          </a:effectLst>
        </p:spPr>
      </p:pic>
      <p:sp>
        <p:nvSpPr>
          <p:cNvPr id="70" name="TextBox 69">
            <a:extLst>
              <a:ext uri="{FF2B5EF4-FFF2-40B4-BE49-F238E27FC236}">
                <a16:creationId xmlns:a16="http://schemas.microsoft.com/office/drawing/2014/main" id="{670F5203-1AD4-92C7-15B9-A67930009B09}"/>
              </a:ext>
            </a:extLst>
          </p:cNvPr>
          <p:cNvSpPr txBox="1"/>
          <p:nvPr/>
        </p:nvSpPr>
        <p:spPr>
          <a:xfrm>
            <a:off x="408603" y="2112805"/>
            <a:ext cx="1993438" cy="276999"/>
          </a:xfrm>
          <a:prstGeom prst="rect">
            <a:avLst/>
          </a:prstGeom>
          <a:solidFill>
            <a:schemeClr val="accent1">
              <a:lumMod val="20000"/>
              <a:lumOff val="80000"/>
            </a:schemeClr>
          </a:solidFill>
        </p:spPr>
        <p:txBody>
          <a:bodyPr wrap="square" lIns="91440" tIns="45720" rIns="91440" bIns="45720" rtlCol="0" anchor="t">
            <a:spAutoFit/>
          </a:bodyPr>
          <a:lstStyle/>
          <a:p>
            <a:r>
              <a:rPr lang="en-US" sz="1200" b="1"/>
              <a:t>ISAM: Nancy Brummund</a:t>
            </a:r>
          </a:p>
        </p:txBody>
      </p:sp>
      <p:pic>
        <p:nvPicPr>
          <p:cNvPr id="72" name="Picture 71" descr="A person smiling at the camera&#10;&#10;AI-generated content may be incorrect.">
            <a:extLst>
              <a:ext uri="{FF2B5EF4-FFF2-40B4-BE49-F238E27FC236}">
                <a16:creationId xmlns:a16="http://schemas.microsoft.com/office/drawing/2014/main" id="{1A3DE656-E1E1-760C-C5BB-637BD7AFA777}"/>
              </a:ext>
            </a:extLst>
          </p:cNvPr>
          <p:cNvPicPr>
            <a:picLocks noChangeAspect="1"/>
          </p:cNvPicPr>
          <p:nvPr/>
        </p:nvPicPr>
        <p:blipFill>
          <a:blip r:embed="rId16"/>
          <a:stretch>
            <a:fillRect/>
          </a:stretch>
        </p:blipFill>
        <p:spPr>
          <a:xfrm>
            <a:off x="9681816" y="701040"/>
            <a:ext cx="975360" cy="955040"/>
          </a:xfrm>
          <a:prstGeom prst="rect">
            <a:avLst/>
          </a:prstGeom>
          <a:effectLst>
            <a:outerShdw blurRad="50800" dist="38100" dir="2700000">
              <a:srgbClr val="000000">
                <a:alpha val="40000"/>
              </a:srgbClr>
            </a:outerShdw>
          </a:effectLst>
        </p:spPr>
      </p:pic>
      <p:pic>
        <p:nvPicPr>
          <p:cNvPr id="73" name="Picture 72" descr="A close-up of a person&#10;&#10;AI-generated content may be incorrect.">
            <a:extLst>
              <a:ext uri="{FF2B5EF4-FFF2-40B4-BE49-F238E27FC236}">
                <a16:creationId xmlns:a16="http://schemas.microsoft.com/office/drawing/2014/main" id="{D666F517-D417-E710-1E4E-ED405EF0A220}"/>
              </a:ext>
            </a:extLst>
          </p:cNvPr>
          <p:cNvPicPr>
            <a:picLocks noChangeAspect="1"/>
          </p:cNvPicPr>
          <p:nvPr/>
        </p:nvPicPr>
        <p:blipFill>
          <a:blip r:embed="rId17"/>
          <a:stretch>
            <a:fillRect/>
          </a:stretch>
        </p:blipFill>
        <p:spPr>
          <a:xfrm>
            <a:off x="1520741" y="731520"/>
            <a:ext cx="853440" cy="873760"/>
          </a:xfrm>
          <a:prstGeom prst="rect">
            <a:avLst/>
          </a:prstGeom>
          <a:effectLst>
            <a:outerShdw blurRad="50800" dist="38100" dir="2700000">
              <a:srgbClr val="000000">
                <a:alpha val="40000"/>
              </a:srgbClr>
            </a:outerShdw>
          </a:effectLst>
        </p:spPr>
      </p:pic>
      <p:sp>
        <p:nvSpPr>
          <p:cNvPr id="74" name="TextBox 73">
            <a:extLst>
              <a:ext uri="{FF2B5EF4-FFF2-40B4-BE49-F238E27FC236}">
                <a16:creationId xmlns:a16="http://schemas.microsoft.com/office/drawing/2014/main" id="{17E009BC-3DE0-572C-E9A3-81DD74031624}"/>
              </a:ext>
            </a:extLst>
          </p:cNvPr>
          <p:cNvSpPr txBox="1"/>
          <p:nvPr/>
        </p:nvSpPr>
        <p:spPr>
          <a:xfrm>
            <a:off x="8515021" y="2112105"/>
            <a:ext cx="2170110" cy="276999"/>
          </a:xfrm>
          <a:prstGeom prst="rect">
            <a:avLst/>
          </a:prstGeom>
          <a:solidFill>
            <a:schemeClr val="accent1">
              <a:lumMod val="20000"/>
              <a:lumOff val="80000"/>
            </a:schemeClr>
          </a:solidFill>
        </p:spPr>
        <p:txBody>
          <a:bodyPr wrap="square" lIns="91440" tIns="45720" rIns="91440" bIns="45720" rtlCol="0" anchor="t">
            <a:spAutoFit/>
          </a:bodyPr>
          <a:lstStyle/>
          <a:p>
            <a:r>
              <a:rPr lang="en-US" sz="1200" b="1"/>
              <a:t>ISAM: Holger Oswald</a:t>
            </a:r>
          </a:p>
        </p:txBody>
      </p:sp>
    </p:spTree>
    <p:extLst>
      <p:ext uri="{BB962C8B-B14F-4D97-AF65-F5344CB8AC3E}">
        <p14:creationId xmlns:p14="http://schemas.microsoft.com/office/powerpoint/2010/main" val="22052965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098" name="Picture 2" descr="Navigating the different Sales Roles in IT">
            <a:extLst>
              <a:ext uri="{FF2B5EF4-FFF2-40B4-BE49-F238E27FC236}">
                <a16:creationId xmlns:a16="http://schemas.microsoft.com/office/drawing/2014/main" id="{B97FB5CD-BA3E-1D13-BC57-B14B21E7D8F3}"/>
              </a:ext>
            </a:extLst>
          </p:cNvPr>
          <p:cNvPicPr>
            <a:picLocks noGrp="1" noChangeAspect="1" noChangeArrowheads="1"/>
          </p:cNvPicPr>
          <p:nvPr>
            <p:ph type="pic" sz="quarter" idx="11"/>
          </p:nvPr>
        </p:nvPicPr>
        <p:blipFill>
          <a:blip r:embed="rId2" cstate="screen">
            <a:extLst>
              <a:ext uri="{28A0092B-C50C-407E-A947-70E740481C1C}">
                <a14:useLocalDpi xmlns:a14="http://schemas.microsoft.com/office/drawing/2010/main"/>
              </a:ext>
            </a:extLst>
          </a:blip>
          <a:srcRect/>
          <a:stretch/>
        </p:blipFill>
        <p:spPr bwMode="auto">
          <a:xfrm>
            <a:off x="20" y="10"/>
            <a:ext cx="6095980" cy="6857990"/>
          </a:xfrm>
          <a:prstGeom prst="rect">
            <a:avLst/>
          </a:prstGeom>
          <a:solidFill>
            <a:srgbClr val="FFFFFF"/>
          </a:solidFill>
        </p:spPr>
      </p:pic>
      <p:sp>
        <p:nvSpPr>
          <p:cNvPr id="3" name="Text Placeholder 2">
            <a:extLst>
              <a:ext uri="{FF2B5EF4-FFF2-40B4-BE49-F238E27FC236}">
                <a16:creationId xmlns:a16="http://schemas.microsoft.com/office/drawing/2014/main" id="{C6FD1A69-98E3-2ABF-E09F-DDBF314136A0}"/>
              </a:ext>
            </a:extLst>
          </p:cNvPr>
          <p:cNvSpPr>
            <a:spLocks noGrp="1"/>
          </p:cNvSpPr>
          <p:nvPr>
            <p:ph type="body" sz="quarter" idx="13"/>
          </p:nvPr>
        </p:nvSpPr>
        <p:spPr>
          <a:xfrm>
            <a:off x="6456363" y="901202"/>
            <a:ext cx="4020820" cy="602119"/>
          </a:xfrm>
        </p:spPr>
        <p:txBody>
          <a:bodyPr vert="horz" wrap="square" lIns="0" tIns="0" rIns="0" bIns="0" rtlCol="0" anchor="t">
            <a:normAutofit fontScale="92500"/>
          </a:bodyPr>
          <a:lstStyle/>
          <a:p>
            <a:r>
              <a:rPr lang="en-US"/>
              <a:t>TSM supports </a:t>
            </a:r>
            <a:r>
              <a:rPr lang="en-US" b="1"/>
              <a:t>Demand Creation </a:t>
            </a:r>
            <a:r>
              <a:rPr lang="en-US"/>
              <a:t>through</a:t>
            </a:r>
          </a:p>
          <a:p>
            <a:r>
              <a:rPr lang="en-US"/>
              <a:t> </a:t>
            </a:r>
            <a:r>
              <a:rPr lang="en-US" b="1"/>
              <a:t>Field Engagement with Partners</a:t>
            </a:r>
            <a:endParaRPr lang="en-US"/>
          </a:p>
        </p:txBody>
      </p:sp>
      <p:sp>
        <p:nvSpPr>
          <p:cNvPr id="4103" name="Content Placeholder 3">
            <a:extLst>
              <a:ext uri="{FF2B5EF4-FFF2-40B4-BE49-F238E27FC236}">
                <a16:creationId xmlns:a16="http://schemas.microsoft.com/office/drawing/2014/main" id="{6BCA83D7-F626-7F36-2423-0ACEF7EC7DAE}"/>
              </a:ext>
            </a:extLst>
          </p:cNvPr>
          <p:cNvSpPr>
            <a:spLocks noGrp="1"/>
          </p:cNvSpPr>
          <p:nvPr>
            <p:ph sz="quarter" idx="15"/>
          </p:nvPr>
        </p:nvSpPr>
        <p:spPr>
          <a:xfrm>
            <a:off x="6456363" y="1601788"/>
            <a:ext cx="5219700" cy="2563812"/>
          </a:xfrm>
        </p:spPr>
        <p:txBody>
          <a:bodyPr vert="horz" lIns="0" tIns="0" rIns="0" bIns="0" rtlCol="0" anchor="t">
            <a:noAutofit/>
          </a:bodyPr>
          <a:lstStyle/>
          <a:p>
            <a:pPr marL="179705" indent="-179705"/>
            <a:r>
              <a:rPr lang="en-US"/>
              <a:t>Buddy Calls</a:t>
            </a:r>
          </a:p>
          <a:p>
            <a:pPr marL="179705" indent="-179705"/>
            <a:r>
              <a:rPr lang="en-US"/>
              <a:t>Distribution FAE Training </a:t>
            </a:r>
            <a:r>
              <a:rPr lang="en-US" sz="1200"/>
              <a:t>(Group or 1:1 breakfast, lunch)</a:t>
            </a:r>
            <a:endParaRPr lang="en-US" sz="1200">
              <a:cs typeface="Segoe UI"/>
            </a:endParaRPr>
          </a:p>
          <a:p>
            <a:pPr marL="179705" indent="-179705"/>
            <a:r>
              <a:rPr lang="en-US"/>
              <a:t>Rep Training </a:t>
            </a:r>
            <a:r>
              <a:rPr lang="en-US" sz="1200"/>
              <a:t>(or Support Rep in Branch trainings)</a:t>
            </a:r>
            <a:endParaRPr lang="en-US" sz="1200">
              <a:cs typeface="Segoe UI"/>
            </a:endParaRPr>
          </a:p>
          <a:p>
            <a:pPr marL="179705" indent="-179705"/>
            <a:r>
              <a:rPr lang="en-US"/>
              <a:t>Opportunity Funnel Review </a:t>
            </a:r>
            <a:r>
              <a:rPr lang="en-US" sz="1200"/>
              <a:t>(support project success)</a:t>
            </a:r>
            <a:endParaRPr lang="en-US" sz="1200">
              <a:cs typeface="Segoe UI"/>
            </a:endParaRPr>
          </a:p>
          <a:p>
            <a:pPr marL="179705" indent="-179705"/>
            <a:r>
              <a:rPr lang="en-US"/>
              <a:t>Supports Reps, Distributors, RSMs and DSMs to:</a:t>
            </a:r>
            <a:endParaRPr lang="en-US">
              <a:cs typeface="Segoe UI"/>
            </a:endParaRPr>
          </a:p>
          <a:p>
            <a:pPr marL="359410" lvl="1" indent="-179705"/>
            <a:r>
              <a:rPr lang="en-US"/>
              <a:t>Increase Design Win %</a:t>
            </a:r>
            <a:endParaRPr lang="en-US">
              <a:cs typeface="Segoe UI"/>
            </a:endParaRPr>
          </a:p>
          <a:p>
            <a:pPr marL="359410" lvl="1" indent="-179705"/>
            <a:r>
              <a:rPr lang="en-US"/>
              <a:t>Grow Funnel Revenue Size</a:t>
            </a:r>
            <a:endParaRPr lang="en-US">
              <a:cs typeface="Segoe UI"/>
            </a:endParaRPr>
          </a:p>
          <a:p>
            <a:pPr marL="359410" lvl="1" indent="-179705"/>
            <a:r>
              <a:rPr lang="en-US"/>
              <a:t>Increase Customer Count</a:t>
            </a:r>
            <a:endParaRPr lang="en-US">
              <a:cs typeface="Segoe UI"/>
            </a:endParaRPr>
          </a:p>
        </p:txBody>
      </p:sp>
      <p:sp>
        <p:nvSpPr>
          <p:cNvPr id="5" name="Title 4">
            <a:extLst>
              <a:ext uri="{FF2B5EF4-FFF2-40B4-BE49-F238E27FC236}">
                <a16:creationId xmlns:a16="http://schemas.microsoft.com/office/drawing/2014/main" id="{1BB98531-8E7C-62BF-0F9D-1AB55E4FE38A}"/>
              </a:ext>
            </a:extLst>
          </p:cNvPr>
          <p:cNvSpPr>
            <a:spLocks noGrp="1"/>
          </p:cNvSpPr>
          <p:nvPr>
            <p:ph type="title"/>
          </p:nvPr>
        </p:nvSpPr>
        <p:spPr>
          <a:xfrm>
            <a:off x="6456362" y="476250"/>
            <a:ext cx="5219700" cy="430887"/>
          </a:xfrm>
        </p:spPr>
        <p:txBody>
          <a:bodyPr wrap="square" anchor="t">
            <a:normAutofit/>
          </a:bodyPr>
          <a:lstStyle/>
          <a:p>
            <a:r>
              <a:rPr lang="en-US"/>
              <a:t>Technical Sales Manager</a:t>
            </a:r>
          </a:p>
        </p:txBody>
      </p:sp>
      <p:sp>
        <p:nvSpPr>
          <p:cNvPr id="6" name="Footer Placeholder 5">
            <a:extLst>
              <a:ext uri="{FF2B5EF4-FFF2-40B4-BE49-F238E27FC236}">
                <a16:creationId xmlns:a16="http://schemas.microsoft.com/office/drawing/2014/main" id="{65A486BD-5BA5-40C8-5959-1BACF160FAB8}"/>
              </a:ext>
            </a:extLst>
          </p:cNvPr>
          <p:cNvSpPr>
            <a:spLocks noGrp="1"/>
          </p:cNvSpPr>
          <p:nvPr>
            <p:ph type="ftr" sz="quarter" idx="16"/>
          </p:nvPr>
        </p:nvSpPr>
        <p:spPr>
          <a:xfrm>
            <a:off x="1249680" y="6310083"/>
            <a:ext cx="2746800" cy="153888"/>
          </a:xfrm>
        </p:spPr>
        <p:txBody>
          <a:bodyPr anchor="ctr">
            <a:normAutofit/>
          </a:bodyPr>
          <a:lstStyle/>
          <a:p>
            <a:pPr>
              <a:spcAft>
                <a:spcPts val="600"/>
              </a:spcAft>
            </a:pPr>
            <a:r>
              <a:rPr lang="de-DE"/>
              <a:t>© Copyright </a:t>
            </a:r>
            <a:r>
              <a:rPr lang="de-DE" err="1"/>
              <a:t>Sensirion</a:t>
            </a:r>
            <a:r>
              <a:rPr lang="de-DE"/>
              <a:t>, </a:t>
            </a:r>
            <a:r>
              <a:rPr lang="de-DE" err="1"/>
              <a:t>Switzerland</a:t>
            </a:r>
          </a:p>
        </p:txBody>
      </p:sp>
      <p:sp>
        <p:nvSpPr>
          <p:cNvPr id="7" name="Slide Number Placeholder 6">
            <a:extLst>
              <a:ext uri="{FF2B5EF4-FFF2-40B4-BE49-F238E27FC236}">
                <a16:creationId xmlns:a16="http://schemas.microsoft.com/office/drawing/2014/main" id="{D4B5CAD0-D0FB-38A0-C781-E016291FFC43}"/>
              </a:ext>
            </a:extLst>
          </p:cNvPr>
          <p:cNvSpPr>
            <a:spLocks noGrp="1"/>
          </p:cNvSpPr>
          <p:nvPr>
            <p:ph type="sldNum" sz="quarter" idx="17"/>
          </p:nvPr>
        </p:nvSpPr>
        <p:spPr>
          <a:xfrm>
            <a:off x="515937" y="6310083"/>
            <a:ext cx="680403" cy="153888"/>
          </a:xfrm>
        </p:spPr>
        <p:txBody>
          <a:bodyPr wrap="square" anchor="ctr">
            <a:normAutofit/>
          </a:bodyPr>
          <a:lstStyle/>
          <a:p>
            <a:pPr>
              <a:spcAft>
                <a:spcPts val="600"/>
              </a:spcAft>
            </a:pPr>
            <a:fld id="{B1E691A1-F3A6-4574-B226-B412272B38A6}" type="slidenum">
              <a:rPr lang="de-DE" smtClean="0"/>
              <a:pPr>
                <a:spcAft>
                  <a:spcPts val="600"/>
                </a:spcAft>
              </a:pPr>
              <a:t>9</a:t>
            </a:fld>
            <a:endParaRPr lang="de-DE"/>
          </a:p>
        </p:txBody>
      </p:sp>
      <p:sp>
        <p:nvSpPr>
          <p:cNvPr id="4105" name="Text Placeholder 7">
            <a:extLst>
              <a:ext uri="{FF2B5EF4-FFF2-40B4-BE49-F238E27FC236}">
                <a16:creationId xmlns:a16="http://schemas.microsoft.com/office/drawing/2014/main" id="{256E087C-5832-0385-D8ED-6A55E5826FC8}"/>
              </a:ext>
            </a:extLst>
          </p:cNvPr>
          <p:cNvSpPr>
            <a:spLocks noGrp="1"/>
          </p:cNvSpPr>
          <p:nvPr>
            <p:ph type="body" sz="quarter" idx="18"/>
          </p:nvPr>
        </p:nvSpPr>
        <p:spPr>
          <a:xfrm>
            <a:off x="6456362" y="4553706"/>
            <a:ext cx="5219700" cy="1383544"/>
          </a:xfrm>
        </p:spPr>
        <p:txBody>
          <a:bodyPr/>
          <a:lstStyle/>
          <a:p>
            <a:r>
              <a:rPr lang="en-US" sz="2400" b="1"/>
              <a:t>TSM is focused on:</a:t>
            </a:r>
          </a:p>
          <a:p>
            <a:pPr marL="457200" indent="-457200">
              <a:buClr>
                <a:schemeClr val="bg1"/>
              </a:buClr>
              <a:buFont typeface="Wingdings" panose="05000000000000000000" pitchFamily="2" charset="2"/>
              <a:buChar char="q"/>
            </a:pPr>
            <a:r>
              <a:rPr lang="en-US" sz="2400"/>
              <a:t>Revenue Growth</a:t>
            </a:r>
          </a:p>
          <a:p>
            <a:pPr marL="457200" indent="-457200">
              <a:buClr>
                <a:schemeClr val="bg1"/>
              </a:buClr>
              <a:buFont typeface="Wingdings" panose="05000000000000000000" pitchFamily="2" charset="2"/>
              <a:buChar char="q"/>
            </a:pPr>
            <a:r>
              <a:rPr lang="en-US" sz="2400"/>
              <a:t>Scaling </a:t>
            </a:r>
            <a:r>
              <a:rPr lang="en-US" sz="2400" err="1"/>
              <a:t>Sensirion</a:t>
            </a:r>
            <a:r>
              <a:rPr lang="en-US" sz="2400"/>
              <a:t> know-how</a:t>
            </a:r>
          </a:p>
          <a:p>
            <a:pPr marL="457200" indent="-457200">
              <a:buClr>
                <a:schemeClr val="bg1"/>
              </a:buClr>
              <a:buFont typeface="Wingdings" panose="05000000000000000000" pitchFamily="2" charset="2"/>
              <a:buChar char="q"/>
            </a:pPr>
            <a:r>
              <a:rPr lang="en-US" sz="2400"/>
              <a:t>Empowering Reps</a:t>
            </a:r>
          </a:p>
        </p:txBody>
      </p:sp>
      <p:pic>
        <p:nvPicPr>
          <p:cNvPr id="2" name="Picture 1" descr="Frank D'Aliesio">
            <a:extLst>
              <a:ext uri="{FF2B5EF4-FFF2-40B4-BE49-F238E27FC236}">
                <a16:creationId xmlns:a16="http://schemas.microsoft.com/office/drawing/2014/main" id="{F235ACC1-8031-3BAE-4814-2350C2FFDC7E}"/>
              </a:ext>
            </a:extLst>
          </p:cNvPr>
          <p:cNvPicPr>
            <a:picLocks noChangeAspect="1"/>
          </p:cNvPicPr>
          <p:nvPr/>
        </p:nvPicPr>
        <p:blipFill>
          <a:blip r:embed="rId3"/>
          <a:stretch>
            <a:fillRect/>
          </a:stretch>
        </p:blipFill>
        <p:spPr>
          <a:xfrm>
            <a:off x="10763250" y="283210"/>
            <a:ext cx="1272540" cy="1221740"/>
          </a:xfrm>
          <a:prstGeom prst="rect">
            <a:avLst/>
          </a:prstGeom>
          <a:effectLst>
            <a:outerShdw blurRad="50800" dist="38100" dir="2700000">
              <a:srgbClr val="000000">
                <a:alpha val="40000"/>
              </a:srgbClr>
            </a:outerShdw>
          </a:effectLst>
        </p:spPr>
      </p:pic>
    </p:spTree>
    <p:extLst>
      <p:ext uri="{BB962C8B-B14F-4D97-AF65-F5344CB8AC3E}">
        <p14:creationId xmlns:p14="http://schemas.microsoft.com/office/powerpoint/2010/main" val="325996832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Sensirion Master">
  <a:themeElements>
    <a:clrScheme name="Sensirion colors">
      <a:dk1>
        <a:sysClr val="windowText" lastClr="000000"/>
      </a:dk1>
      <a:lt1>
        <a:sysClr val="window" lastClr="FFFFFF"/>
      </a:lt1>
      <a:dk2>
        <a:srgbClr val="000000"/>
      </a:dk2>
      <a:lt2>
        <a:srgbClr val="EEEEEE"/>
      </a:lt2>
      <a:accent1>
        <a:srgbClr val="66CC33"/>
      </a:accent1>
      <a:accent2>
        <a:srgbClr val="616161"/>
      </a:accent2>
      <a:accent3>
        <a:srgbClr val="C2EBAD"/>
      </a:accent3>
      <a:accent4>
        <a:srgbClr val="024430"/>
      </a:accent4>
      <a:accent5>
        <a:srgbClr val="004494"/>
      </a:accent5>
      <a:accent6>
        <a:srgbClr val="660099"/>
      </a:accent6>
      <a:hlink>
        <a:srgbClr val="66CC33"/>
      </a:hlink>
      <a:folHlink>
        <a:srgbClr val="616161"/>
      </a:folHlink>
    </a:clrScheme>
    <a:fontScheme name="Sensirion font">
      <a:majorFont>
        <a:latin typeface="Segoe UI"/>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108000" tIns="72000" rIns="108000" bIns="72000" rtlCol="0" anchor="ctr"/>
      <a:lstStyle>
        <a:defPPr algn="ctr">
          <a:defRPr dirty="0" err="1" smtClean="0"/>
        </a:defPPr>
      </a:lstStyle>
      <a:style>
        <a:lnRef idx="2">
          <a:schemeClr val="accent1">
            <a:shade val="15000"/>
          </a:schemeClr>
        </a:lnRef>
        <a:fillRef idx="1">
          <a:schemeClr val="accent1"/>
        </a:fillRef>
        <a:effectRef idx="0">
          <a:schemeClr val="accent1"/>
        </a:effectRef>
        <a:fontRef idx="minor">
          <a:schemeClr val="lt1"/>
        </a:fontRef>
      </a:style>
    </a:spDef>
    <a:lnDef>
      <a:spPr>
        <a:ln>
          <a:solidFill>
            <a:srgbClr val="BDBDBD"/>
          </a:solidFill>
        </a:ln>
      </a:spPr>
      <a:bodyPr/>
      <a:lstStyle/>
      <a:style>
        <a:lnRef idx="1">
          <a:schemeClr val="accent1"/>
        </a:lnRef>
        <a:fillRef idx="0">
          <a:schemeClr val="accent1"/>
        </a:fillRef>
        <a:effectRef idx="0">
          <a:schemeClr val="accent1"/>
        </a:effectRef>
        <a:fontRef idx="minor">
          <a:schemeClr val="tx1"/>
        </a:fontRef>
      </a:style>
    </a:lnDef>
    <a:txDef>
      <a:spPr>
        <a:noFill/>
        <a:ln>
          <a:noFill/>
        </a:ln>
      </a:spPr>
      <a:bodyPr wrap="square" lIns="72000" tIns="72000" rIns="72000" bIns="72000" rtlCol="0">
        <a:spAutoFit/>
      </a:bodyPr>
      <a:lstStyle>
        <a:defPPr algn="l">
          <a:buClr>
            <a:schemeClr val="accent1"/>
          </a:buClr>
          <a:defRPr sz="1400" dirty="0" smtClean="0"/>
        </a:defPPr>
      </a:lstStyle>
    </a:txDef>
  </a:objectDefaults>
  <a:extraClrSchemeLst/>
  <a:extLst>
    <a:ext uri="{05A4C25C-085E-4340-85A3-A5531E510DB2}">
      <thm15:themeFamily xmlns:thm15="http://schemas.microsoft.com/office/thememl/2012/main" name="Presentation1" id="{A2229C6A-8C85-4369-BE5C-0F90A08D888C}" vid="{704E372A-D02F-4979-B6A3-0EEA5C7823FD}"/>
    </a:ext>
  </a:extLst>
</a:theme>
</file>

<file path=ppt/theme/theme2.xml><?xml version="1.0" encoding="utf-8"?>
<a:theme xmlns:a="http://schemas.openxmlformats.org/drawingml/2006/main" name="Office">
  <a:themeElements>
    <a:clrScheme name="Sensirion colors">
      <a:dk1>
        <a:sysClr val="windowText" lastClr="000000"/>
      </a:dk1>
      <a:lt1>
        <a:sysClr val="window" lastClr="FFFFFF"/>
      </a:lt1>
      <a:dk2>
        <a:srgbClr val="000000"/>
      </a:dk2>
      <a:lt2>
        <a:srgbClr val="EEEEEE"/>
      </a:lt2>
      <a:accent1>
        <a:srgbClr val="66CC33"/>
      </a:accent1>
      <a:accent2>
        <a:srgbClr val="616161"/>
      </a:accent2>
      <a:accent3>
        <a:srgbClr val="C2EBAD"/>
      </a:accent3>
      <a:accent4>
        <a:srgbClr val="024430"/>
      </a:accent4>
      <a:accent5>
        <a:srgbClr val="004494"/>
      </a:accent5>
      <a:accent6>
        <a:srgbClr val="660099"/>
      </a:accent6>
      <a:hlink>
        <a:srgbClr val="66CC33"/>
      </a:hlink>
      <a:folHlink>
        <a:srgbClr val="616161"/>
      </a:folHlink>
    </a:clrScheme>
    <a:fontScheme name="Sensirion font">
      <a:majorFont>
        <a:latin typeface="Segoe UI"/>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Sensirion colors">
      <a:dk1>
        <a:sysClr val="windowText" lastClr="000000"/>
      </a:dk1>
      <a:lt1>
        <a:sysClr val="window" lastClr="FFFFFF"/>
      </a:lt1>
      <a:dk2>
        <a:srgbClr val="000000"/>
      </a:dk2>
      <a:lt2>
        <a:srgbClr val="EEEEEE"/>
      </a:lt2>
      <a:accent1>
        <a:srgbClr val="66CC33"/>
      </a:accent1>
      <a:accent2>
        <a:srgbClr val="616161"/>
      </a:accent2>
      <a:accent3>
        <a:srgbClr val="C2EBAD"/>
      </a:accent3>
      <a:accent4>
        <a:srgbClr val="024430"/>
      </a:accent4>
      <a:accent5>
        <a:srgbClr val="004494"/>
      </a:accent5>
      <a:accent6>
        <a:srgbClr val="660099"/>
      </a:accent6>
      <a:hlink>
        <a:srgbClr val="66CC33"/>
      </a:hlink>
      <a:folHlink>
        <a:srgbClr val="616161"/>
      </a:folHlink>
    </a:clrScheme>
    <a:fontScheme name="Sensirion font">
      <a:majorFont>
        <a:latin typeface="Segoe UI"/>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lcf76f155ced4ddcb4097134ff3c332f xmlns="dd18e9c4-b958-4bca-9283-eb4783d04f1a">
      <Terms xmlns="http://schemas.microsoft.com/office/infopath/2007/PartnerControls"/>
    </lcf76f155ced4ddcb4097134ff3c332f>
    <TaxCatchAll xmlns="e0a8a23e-255e-4b78-950b-9496fe63517d"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E437FCC4D680A84388BB6BDCCCD3F8C2" ma:contentTypeVersion="18" ma:contentTypeDescription="Create a new document." ma:contentTypeScope="" ma:versionID="70c136d30cb857e03f7a3eef030c2727">
  <xsd:schema xmlns:xsd="http://www.w3.org/2001/XMLSchema" xmlns:xs="http://www.w3.org/2001/XMLSchema" xmlns:p="http://schemas.microsoft.com/office/2006/metadata/properties" xmlns:ns2="9b096da1-55ae-40f0-828e-d96caf0055d1" xmlns:ns3="dd18e9c4-b958-4bca-9283-eb4783d04f1a" xmlns:ns4="e0a8a23e-255e-4b78-950b-9496fe63517d" targetNamespace="http://schemas.microsoft.com/office/2006/metadata/properties" ma:root="true" ma:fieldsID="bbab3ae8f178864498c1172d65d5d1bf" ns2:_="" ns3:_="" ns4:_="">
    <xsd:import namespace="9b096da1-55ae-40f0-828e-d96caf0055d1"/>
    <xsd:import namespace="dd18e9c4-b958-4bca-9283-eb4783d04f1a"/>
    <xsd:import namespace="e0a8a23e-255e-4b78-950b-9496fe63517d"/>
    <xsd:element name="properties">
      <xsd:complexType>
        <xsd:sequence>
          <xsd:element name="documentManagement">
            <xsd:complexType>
              <xsd:all>
                <xsd:element ref="ns2:SharedWithUsers" minOccurs="0"/>
                <xsd:element ref="ns2:SharedWithDetails" minOccurs="0"/>
                <xsd:element ref="ns3:MediaServiceMetadata" minOccurs="0"/>
                <xsd:element ref="ns3:MediaServiceFastMetadata" minOccurs="0"/>
                <xsd:element ref="ns3:MediaServiceDateTaken" minOccurs="0"/>
                <xsd:element ref="ns3:MediaLengthInSeconds" minOccurs="0"/>
                <xsd:element ref="ns4:TaxCatchAll" minOccurs="0"/>
                <xsd:element ref="ns3:MediaServiceOCR" minOccurs="0"/>
                <xsd:element ref="ns3:MediaServiceGenerationTime" minOccurs="0"/>
                <xsd:element ref="ns3:MediaServiceEventHashCode" minOccurs="0"/>
                <xsd:element ref="ns3:lcf76f155ced4ddcb4097134ff3c332f" minOccurs="0"/>
                <xsd:element ref="ns3:MediaServiceLocation" minOccurs="0"/>
                <xsd:element ref="ns3:MediaServiceObjectDetectorVersions" minOccurs="0"/>
                <xsd:element ref="ns3:MediaServiceSearchProperties" minOccurs="0"/>
                <xsd:element ref="ns3:MediaServiceBilling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b096da1-55ae-40f0-828e-d96caf0055d1"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dd18e9c4-b958-4bca-9283-eb4783d04f1a" elementFormDefault="qualified">
    <xsd:import namespace="http://schemas.microsoft.com/office/2006/documentManagement/types"/>
    <xsd:import namespace="http://schemas.microsoft.com/office/infopath/2007/PartnerControls"/>
    <xsd:element name="MediaServiceMetadata" ma:index="10" nillable="true" ma:displayName="MediaServiceMetadata" ma:hidden="true" ma:internalName="MediaServiceMetadata" ma:readOnly="true">
      <xsd:simpleType>
        <xsd:restriction base="dms:Note"/>
      </xsd:simpleType>
    </xsd:element>
    <xsd:element name="MediaServiceFastMetadata" ma:index="11" nillable="true" ma:displayName="MediaServiceFastMetadata" ma:hidden="true" ma:internalName="MediaServiceFastMetadata" ma:readOnly="true">
      <xsd:simpleType>
        <xsd:restriction base="dms:Note"/>
      </xsd:simpleType>
    </xsd:element>
    <xsd:element name="MediaServiceDateTaken" ma:index="12" nillable="true" ma:displayName="MediaServiceDateTaken" ma:hidden="true" ma:internalName="MediaServiceDateTaken" ma:readOnly="true">
      <xsd:simpleType>
        <xsd:restriction base="dms:Text"/>
      </xsd:simpleType>
    </xsd:element>
    <xsd:element name="MediaLengthInSeconds" ma:index="13" nillable="true" ma:displayName="MediaLengthInSeconds" ma:hidden="true" ma:internalName="MediaLengthInSeconds" ma:readOnly="true">
      <xsd:simpleType>
        <xsd:restriction base="dms:Unknown"/>
      </xsd:simple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lcf76f155ced4ddcb4097134ff3c332f" ma:index="19" nillable="true" ma:taxonomy="true" ma:internalName="lcf76f155ced4ddcb4097134ff3c332f" ma:taxonomyFieldName="MediaServiceImageTags" ma:displayName="Image Tags" ma:readOnly="false" ma:fieldId="{5cf76f15-5ced-4ddc-b409-7134ff3c332f}" ma:taxonomyMulti="true" ma:sspId="4b8de631-2c85-4ba1-af09-54e0ec8ee11a" ma:termSetId="09814cd3-568e-fe90-9814-8d621ff8fb84" ma:anchorId="fba54fb3-c3e1-fe81-a776-ca4b69148c4d" ma:open="true" ma:isKeyword="false">
      <xsd:complexType>
        <xsd:sequence>
          <xsd:element ref="pc:Terms" minOccurs="0" maxOccurs="1"/>
        </xsd:sequence>
      </xsd:complexType>
    </xsd:element>
    <xsd:element name="MediaServiceLocation" ma:index="20" nillable="true" ma:displayName="Location" ma:internalName="MediaServiceLocation" ma:readOnly="true">
      <xsd:simpleType>
        <xsd:restriction base="dms:Text"/>
      </xsd:simpleType>
    </xsd:element>
    <xsd:element name="MediaServiceObjectDetectorVersions" ma:index="21" nillable="true" ma:displayName="MediaServiceObjectDetectorVersions" ma:hidden="true" ma:indexed="true" ma:internalName="MediaServiceObjectDetectorVersions" ma:readOnly="true">
      <xsd:simpleType>
        <xsd:restriction base="dms:Text"/>
      </xsd:simpleType>
    </xsd:element>
    <xsd:element name="MediaServiceSearchProperties" ma:index="22" nillable="true" ma:displayName="MediaServiceSearchProperties" ma:hidden="true" ma:internalName="MediaServiceSearchProperties" ma:readOnly="true">
      <xsd:simpleType>
        <xsd:restriction base="dms:Note"/>
      </xsd:simpleType>
    </xsd:element>
    <xsd:element name="MediaServiceBillingMetadata" ma:index="23" nillable="true" ma:displayName="MediaServiceBillingMetadata" ma:hidden="true" ma:internalName="MediaServiceBilling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e0a8a23e-255e-4b78-950b-9496fe63517d" elementFormDefault="qualified">
    <xsd:import namespace="http://schemas.microsoft.com/office/2006/documentManagement/types"/>
    <xsd:import namespace="http://schemas.microsoft.com/office/infopath/2007/PartnerControls"/>
    <xsd:element name="TaxCatchAll" ma:index="14" nillable="true" ma:displayName="Taxonomy Catch All Column" ma:hidden="true" ma:list="{17305c04-f3cd-424c-a986-64eeb62f5627}" ma:internalName="TaxCatchAll" ma:showField="CatchAllData" ma:web="e0a8a23e-255e-4b78-950b-9496fe63517d">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FC14DE11-25CA-49F5-BF53-8B8254DCAF4B}">
  <ds:schemaRefs>
    <ds:schemaRef ds:uri="9b096da1-55ae-40f0-828e-d96caf0055d1"/>
    <ds:schemaRef ds:uri="dd18e9c4-b958-4bca-9283-eb4783d04f1a"/>
    <ds:schemaRef ds:uri="e0a8a23e-255e-4b78-950b-9496fe63517d"/>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2.xml><?xml version="1.0" encoding="utf-8"?>
<ds:datastoreItem xmlns:ds="http://schemas.openxmlformats.org/officeDocument/2006/customXml" ds:itemID="{61755E03-2B52-4AA8-B439-C31AFD25FCF8}">
  <ds:schemaRefs>
    <ds:schemaRef ds:uri="9b096da1-55ae-40f0-828e-d96caf0055d1"/>
    <ds:schemaRef ds:uri="dd18e9c4-b958-4bca-9283-eb4783d04f1a"/>
    <ds:schemaRef ds:uri="e0a8a23e-255e-4b78-950b-9496fe63517d"/>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D02C82E3-1F3C-43C7-B0BC-05F87C21E2C3}">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blank</Template>
  <Application>Microsoft Office PowerPoint</Application>
  <PresentationFormat>Widescreen</PresentationFormat>
  <Slides>45</Slides>
  <Notes>9</Notes>
  <HiddenSlides>2</HiddenSlides>
  <ScaleCrop>false</ScaleCrop>
  <HeadingPairs>
    <vt:vector size="4" baseType="variant">
      <vt:variant>
        <vt:lpstr>Theme</vt:lpstr>
      </vt:variant>
      <vt:variant>
        <vt:i4>1</vt:i4>
      </vt:variant>
      <vt:variant>
        <vt:lpstr>Slide Titles</vt:lpstr>
      </vt:variant>
      <vt:variant>
        <vt:i4>45</vt:i4>
      </vt:variant>
    </vt:vector>
  </HeadingPairs>
  <TitlesOfParts>
    <vt:vector size="46" baseType="lpstr">
      <vt:lpstr>Sensirion Master</vt:lpstr>
      <vt:lpstr>Q3 2025 Rep Call</vt:lpstr>
      <vt:lpstr>Agenda</vt:lpstr>
      <vt:lpstr>Channel team changes</vt:lpstr>
      <vt:lpstr>Summary of Org Changes</vt:lpstr>
      <vt:lpstr>Distribution Updates</vt:lpstr>
      <vt:lpstr>Wholistic Ownership</vt:lpstr>
      <vt:lpstr>Sensirion AMERICAS Distribution Partners &amp; Team 2025</vt:lpstr>
      <vt:lpstr>PowerPoint Presentation</vt:lpstr>
      <vt:lpstr>Technical Sales Manager</vt:lpstr>
      <vt:lpstr>RSM Updates</vt:lpstr>
      <vt:lpstr>SFA40</vt:lpstr>
      <vt:lpstr>Already available in small quantities</vt:lpstr>
      <vt:lpstr>STCC4</vt:lpstr>
      <vt:lpstr>CO2 Sensing Applications by Concentration</vt:lpstr>
      <vt:lpstr>Sensirion CO2 Sensing Portfolio</vt:lpstr>
      <vt:lpstr>SEN6x</vt:lpstr>
      <vt:lpstr>New SEN6x Releases!!!</vt:lpstr>
      <vt:lpstr>SEN6x – Product Family</vt:lpstr>
      <vt:lpstr>SEN6x Roadmap Summary</vt:lpstr>
      <vt:lpstr>Welding</vt:lpstr>
      <vt:lpstr>PowerPoint Presentation</vt:lpstr>
      <vt:lpstr>CURRENT SITUATION</vt:lpstr>
      <vt:lpstr>UNLOCK SUPERIOR VALUE WITH SENSIRION’S MFCS </vt:lpstr>
      <vt:lpstr>WHY SENSIRION’S MFC </vt:lpstr>
      <vt:lpstr>PowerPoint Presentation</vt:lpstr>
      <vt:lpstr>A2L Updates</vt:lpstr>
      <vt:lpstr>A2L Product Strategy: SGD43S-M3-Sx</vt:lpstr>
      <vt:lpstr>A2L Success Story KeepRite </vt:lpstr>
      <vt:lpstr>A2L Success Story Bergstrom </vt:lpstr>
      <vt:lpstr>One Pager for HVAC – R32 &amp; R454-B</vt:lpstr>
      <vt:lpstr>One Pager for Refrigeration – R-454A, R-454C &amp; R-455A</vt:lpstr>
      <vt:lpstr>Call to Action </vt:lpstr>
      <vt:lpstr>Distribution updates</vt:lpstr>
      <vt:lpstr>Upcoming NPIs</vt:lpstr>
      <vt:lpstr>Marketing updates</vt:lpstr>
      <vt:lpstr>One-pager overview</vt:lpstr>
      <vt:lpstr>One-pager overview</vt:lpstr>
      <vt:lpstr>One-pager overview </vt:lpstr>
      <vt:lpstr>Partner's Portal</vt:lpstr>
      <vt:lpstr>Inside sales updates</vt:lpstr>
      <vt:lpstr>Salesforce Cleanup Project </vt:lpstr>
      <vt:lpstr>FAE support</vt:lpstr>
      <vt:lpstr>quiz</vt:lpstr>
      <vt:lpstr>And now … win something :)  j         TOP 3 participants will win an Amazon Gift Card</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Qx 2024 Rep Call</dc:title>
  <dc:creator>Bailee Day</dc:creator>
  <cp:revision>1</cp:revision>
  <dcterms:created xsi:type="dcterms:W3CDTF">2024-03-05T16:39:26Z</dcterms:created>
  <dcterms:modified xsi:type="dcterms:W3CDTF">2025-09-15T16:30:0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437FCC4D680A84388BB6BDCCCD3F8C2</vt:lpwstr>
  </property>
  <property fmtid="{D5CDD505-2E9C-101B-9397-08002B2CF9AE}" pid="3" name="MediaServiceImageTags">
    <vt:lpwstr/>
  </property>
</Properties>
</file>